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2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notesSlides/notesSlide3.xml" ContentType="application/vnd.openxmlformats-officedocument.presentationml.notesSl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829" r:id="rId1"/>
  </p:sldMasterIdLst>
  <p:notesMasterIdLst>
    <p:notesMasterId r:id="rId30"/>
  </p:notesMasterIdLst>
  <p:handoutMasterIdLst>
    <p:handoutMasterId r:id="rId31"/>
  </p:handoutMasterIdLst>
  <p:sldIdLst>
    <p:sldId id="2147327782" r:id="rId2"/>
    <p:sldId id="2147327869" r:id="rId3"/>
    <p:sldId id="2147327801" r:id="rId4"/>
    <p:sldId id="2147327865" r:id="rId5"/>
    <p:sldId id="2147327886" r:id="rId6"/>
    <p:sldId id="2147327866" r:id="rId7"/>
    <p:sldId id="2147327885" r:id="rId8"/>
    <p:sldId id="2147327873" r:id="rId9"/>
    <p:sldId id="2147327867" r:id="rId10"/>
    <p:sldId id="2147327803" r:id="rId11"/>
    <p:sldId id="2147327863" r:id="rId12"/>
    <p:sldId id="2147327802" r:id="rId13"/>
    <p:sldId id="2147327839" r:id="rId14"/>
    <p:sldId id="2147327840" r:id="rId15"/>
    <p:sldId id="2147327841" r:id="rId16"/>
    <p:sldId id="2147327842" r:id="rId17"/>
    <p:sldId id="2147327874" r:id="rId18"/>
    <p:sldId id="2147327844" r:id="rId19"/>
    <p:sldId id="2147327845" r:id="rId20"/>
    <p:sldId id="2147327846" r:id="rId21"/>
    <p:sldId id="2147327847" r:id="rId22"/>
    <p:sldId id="2147327848" r:id="rId23"/>
    <p:sldId id="2147327876" r:id="rId24"/>
    <p:sldId id="2147327877" r:id="rId25"/>
    <p:sldId id="2147327851" r:id="rId26"/>
    <p:sldId id="2147327878" r:id="rId27"/>
    <p:sldId id="2147327879" r:id="rId28"/>
    <p:sldId id="2147327870" r:id="rId29"/>
  </p:sldIdLst>
  <p:sldSz cx="12192000" cy="6858000"/>
  <p:notesSz cx="12192000" cy="6858000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userDrawn="1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1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1F20"/>
    <a:srgbClr val="F5F1EE"/>
    <a:srgbClr val="2A4A63"/>
    <a:srgbClr val="0C2D3A"/>
    <a:srgbClr val="7B858D"/>
    <a:srgbClr val="CAB9A7"/>
    <a:srgbClr val="52463E"/>
    <a:srgbClr val="3D6C89"/>
    <a:srgbClr val="FFFFFF"/>
    <a:srgbClr val="BDAC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01" autoAdjust="0"/>
    <p:restoredTop sz="93393" autoAdjust="0"/>
  </p:normalViewPr>
  <p:slideViewPr>
    <p:cSldViewPr>
      <p:cViewPr varScale="1">
        <p:scale>
          <a:sx n="62" d="100"/>
          <a:sy n="62" d="100"/>
        </p:scale>
        <p:origin x="796" y="48"/>
      </p:cViewPr>
      <p:guideLst>
        <p:guide orient="horz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98" d="100"/>
          <a:sy n="98" d="100"/>
        </p:scale>
        <p:origin x="6165" y="4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ommentAuthors" Target="commentAuthors.xml"/><Relationship Id="rId38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RESENTATIONISTS\PROJECTS%202010%20AB\Purple%20Frog%20AB\230301%20BIHL\waterfall%202023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18114279294676"/>
          <c:y val="0.17100281323077079"/>
          <c:w val="0.75245992023038777"/>
          <c:h val="0.631194840221624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c 2022</c:v>
                </c:pt>
              </c:strCache>
            </c:strRef>
          </c:tx>
          <c:spPr>
            <a:gradFill>
              <a:gsLst>
                <a:gs pos="0">
                  <a:srgbClr val="000912"/>
                </a:gs>
                <a:gs pos="100000">
                  <a:srgbClr val="2A4A63"/>
                </a:gs>
              </a:gsLst>
              <a:lin ang="90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E$1</c:f>
              <c:strCache>
                <c:ptCount val="4"/>
                <c:pt idx="0">
                  <c:v>Recurring premium</c:v>
                </c:pt>
                <c:pt idx="1">
                  <c:v>Single premium</c:v>
                </c:pt>
                <c:pt idx="2">
                  <c:v>Fee revenue</c:v>
                </c:pt>
                <c:pt idx="3">
                  <c:v>Shareholder investment return</c:v>
                </c:pt>
              </c:strCache>
            </c:strRef>
          </c:cat>
          <c:val>
            <c:numRef>
              <c:f>Sheet1!$B$2:$E$2</c:f>
              <c:numCache>
                <c:formatCode>#,##0</c:formatCode>
                <c:ptCount val="4"/>
                <c:pt idx="0">
                  <c:v>1787</c:v>
                </c:pt>
                <c:pt idx="1">
                  <c:v>1307</c:v>
                </c:pt>
                <c:pt idx="2">
                  <c:v>139</c:v>
                </c:pt>
                <c:pt idx="3">
                  <c:v>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D66-41AA-A11B-9E67346C0B80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Dec 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E$1</c:f>
              <c:strCache>
                <c:ptCount val="4"/>
                <c:pt idx="0">
                  <c:v>Recurring premium</c:v>
                </c:pt>
                <c:pt idx="1">
                  <c:v>Single premium</c:v>
                </c:pt>
                <c:pt idx="2">
                  <c:v>Fee revenue</c:v>
                </c:pt>
                <c:pt idx="3">
                  <c:v>Shareholder investment return</c:v>
                </c:pt>
              </c:strCache>
            </c:strRef>
          </c:cat>
          <c:val>
            <c:numRef>
              <c:f>Sheet1!$B$3:$E$3</c:f>
              <c:numCache>
                <c:formatCode>#,##0</c:formatCode>
                <c:ptCount val="4"/>
                <c:pt idx="0">
                  <c:v>1766</c:v>
                </c:pt>
                <c:pt idx="1">
                  <c:v>1373</c:v>
                </c:pt>
                <c:pt idx="2">
                  <c:v>128</c:v>
                </c:pt>
                <c:pt idx="3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D66-41AA-A11B-9E67346C0B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27"/>
        <c:axId val="1151419072"/>
        <c:axId val="1151431552"/>
      </c:bar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151419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6307819477110854E-2"/>
          <c:y val="0.92302115644635352"/>
          <c:w val="0.80521977366465569"/>
          <c:h val="7.697884355364670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BW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BW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54721175163036"/>
          <c:y val="0.16587131154060289"/>
          <c:w val="0.749982652467172"/>
          <c:h val="0.6339815477610752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</c:spPr>
          <c:dPt>
            <c:idx val="0"/>
            <c:bubble3D val="0"/>
            <c:spPr>
              <a:gradFill>
                <a:gsLst>
                  <a:gs pos="0">
                    <a:srgbClr val="000912"/>
                  </a:gs>
                  <a:gs pos="100000">
                    <a:srgbClr val="2A4A63"/>
                  </a:gs>
                </a:gsLst>
                <a:lin ang="9000000" scaled="0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1C5-48F8-B921-B0E9814578F6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1C5-48F8-B921-B0E9814578F6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1C5-48F8-B921-B0E9814578F6}"/>
              </c:ext>
            </c:extLst>
          </c:dPt>
          <c:dPt>
            <c:idx val="3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1C5-48F8-B921-B0E9814578F6}"/>
              </c:ext>
            </c:extLst>
          </c:dPt>
          <c:dPt>
            <c:idx val="4"/>
            <c:bubble3D val="0"/>
            <c:spPr>
              <a:gradFill flip="none" rotWithShape="1">
                <a:gsLst>
                  <a:gs pos="0">
                    <a:schemeClr val="tx2"/>
                  </a:gs>
                  <a:gs pos="100000">
                    <a:srgbClr val="E2E3E4"/>
                  </a:gs>
                </a:gsLst>
                <a:lin ang="54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1C5-48F8-B921-B0E9814578F6}"/>
              </c:ext>
            </c:extLst>
          </c:dPt>
          <c:dPt>
            <c:idx val="5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1C5-48F8-B921-B0E9814578F6}"/>
              </c:ext>
            </c:extLst>
          </c:dPt>
          <c:dLbls>
            <c:dLbl>
              <c:idx val="3"/>
              <c:layout>
                <c:manualLayout>
                  <c:x val="1.7923823749066412E-2"/>
                  <c:y val="-5.050505050505027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1C5-48F8-B921-B0E9814578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BLIL</c:v>
                </c:pt>
                <c:pt idx="1">
                  <c:v>BIFM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9</c:v>
                </c:pt>
                <c:pt idx="1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1C5-48F8-B921-B0E9814578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2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177685780315554E-3"/>
          <c:y val="0.92522051220870116"/>
          <c:w val="0.98663169717676258"/>
          <c:h val="7.4779487791298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BW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  <a:latin typeface="+mn-lt"/>
        </a:defRPr>
      </a:pPr>
      <a:endParaRPr lang="en-BW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54721175163036"/>
          <c:y val="0.16587131154060289"/>
          <c:w val="0.749982652467172"/>
          <c:h val="0.6339815477610752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</c:spPr>
          <c:dPt>
            <c:idx val="0"/>
            <c:bubble3D val="0"/>
            <c:spPr>
              <a:gradFill>
                <a:gsLst>
                  <a:gs pos="0">
                    <a:srgbClr val="000912"/>
                  </a:gs>
                  <a:gs pos="100000">
                    <a:srgbClr val="2A4A63"/>
                  </a:gs>
                </a:gsLst>
                <a:lin ang="9000000" scaled="0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C72-43E5-95B2-E5E1FC22AB07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C72-43E5-95B2-E5E1FC22AB07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AC72-43E5-95B2-E5E1FC22AB07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AC72-43E5-95B2-E5E1FC22AB0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AC72-43E5-95B2-E5E1FC22AB07}"/>
              </c:ext>
            </c:extLst>
          </c:dPt>
          <c:dPt>
            <c:idx val="5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C72-43E5-95B2-E5E1FC22AB07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BW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AC72-43E5-95B2-E5E1FC22AB07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BW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AC72-43E5-95B2-E5E1FC22AB07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BW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AC72-43E5-95B2-E5E1FC22AB07}"/>
                </c:ext>
              </c:extLst>
            </c:dLbl>
            <c:dLbl>
              <c:idx val="3"/>
              <c:layout>
                <c:manualLayout>
                  <c:x val="4.7623217648571272E-3"/>
                  <c:y val="-5.050481582682215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BW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C72-43E5-95B2-E5E1FC22AB07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BW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AC72-43E5-95B2-E5E1FC22AB07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BW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AC72-43E5-95B2-E5E1FC22AB0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Aflife Zambia</c:v>
                </c:pt>
                <c:pt idx="1">
                  <c:v>BIC</c:v>
                </c:pt>
                <c:pt idx="2">
                  <c:v>Nico Holdings</c:v>
                </c:pt>
                <c:pt idx="3">
                  <c:v>Letshego</c:v>
                </c:pt>
                <c:pt idx="4">
                  <c:v>FSG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08</c:v>
                </c:pt>
                <c:pt idx="1">
                  <c:v>7.0000000000000007E-2</c:v>
                </c:pt>
                <c:pt idx="2">
                  <c:v>0.27</c:v>
                </c:pt>
                <c:pt idx="3">
                  <c:v>0.53</c:v>
                </c:pt>
                <c:pt idx="4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C72-43E5-95B2-E5E1FC22AB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2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177685780315554E-3"/>
          <c:y val="0.92522051220870116"/>
          <c:w val="0.98663169717676258"/>
          <c:h val="7.4779487791298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BW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  <a:latin typeface="+mn-lt"/>
        </a:defRPr>
      </a:pPr>
      <a:endParaRPr lang="en-BW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54721175163036"/>
          <c:y val="0.16587131154060289"/>
          <c:w val="0.749982652467172"/>
          <c:h val="0.6339815477610752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</c:spPr>
          <c:dPt>
            <c:idx val="0"/>
            <c:bubble3D val="0"/>
            <c:spPr>
              <a:gradFill>
                <a:gsLst>
                  <a:gs pos="0">
                    <a:srgbClr val="000912"/>
                  </a:gs>
                  <a:gs pos="100000">
                    <a:srgbClr val="2A4A63"/>
                  </a:gs>
                </a:gsLst>
                <a:lin ang="9000000" scaled="0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7EA0-46AE-8D44-BB99A2BFE98C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7EA0-46AE-8D44-BB99A2BFE98C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7EA0-46AE-8D44-BB99A2BFE98C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7EA0-46AE-8D44-BB99A2BFE98C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7EA0-46AE-8D44-BB99A2BFE98C}"/>
              </c:ext>
            </c:extLst>
          </c:dPt>
          <c:dPt>
            <c:idx val="5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7EA0-46AE-8D44-BB99A2BFE98C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BW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7EA0-46AE-8D44-BB99A2BFE98C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BW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7EA0-46AE-8D44-BB99A2BFE98C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BW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7EA0-46AE-8D44-BB99A2BFE98C}"/>
                </c:ext>
              </c:extLst>
            </c:dLbl>
            <c:dLbl>
              <c:idx val="3"/>
              <c:layout>
                <c:manualLayout>
                  <c:x val="4.7623217648571272E-3"/>
                  <c:y val="-5.050481582682215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BW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EA0-46AE-8D44-BB99A2BFE98C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BW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7EA0-46AE-8D44-BB99A2BFE98C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BW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7EA0-46AE-8D44-BB99A2BFE9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Aflife Zambia</c:v>
                </c:pt>
                <c:pt idx="1">
                  <c:v>BIC</c:v>
                </c:pt>
                <c:pt idx="2">
                  <c:v>Nico Holdings</c:v>
                </c:pt>
                <c:pt idx="3">
                  <c:v>Letshego</c:v>
                </c:pt>
                <c:pt idx="4">
                  <c:v>FSG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03</c:v>
                </c:pt>
                <c:pt idx="1">
                  <c:v>0.05</c:v>
                </c:pt>
                <c:pt idx="2">
                  <c:v>0.18</c:v>
                </c:pt>
                <c:pt idx="3">
                  <c:v>0.64</c:v>
                </c:pt>
                <c:pt idx="4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EA0-46AE-8D44-BB99A2BFE9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2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177685780315554E-3"/>
          <c:y val="0.92522051220870116"/>
          <c:w val="0.98663169717676258"/>
          <c:h val="7.4779487791298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BW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  <a:latin typeface="+mn-lt"/>
        </a:defRPr>
      </a:pPr>
      <a:endParaRPr lang="en-BW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18114279294676"/>
          <c:y val="0.17100281323077079"/>
          <c:w val="0.75245992023038777"/>
          <c:h val="0.631194840221624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c 2022</c:v>
                </c:pt>
              </c:strCache>
            </c:strRef>
          </c:tx>
          <c:spPr>
            <a:gradFill>
              <a:gsLst>
                <a:gs pos="0">
                  <a:srgbClr val="000912"/>
                </a:gs>
                <a:gs pos="100000">
                  <a:srgbClr val="2A4A63"/>
                </a:gs>
              </a:gsLst>
              <a:lin ang="9000000" scaled="0"/>
            </a:gra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gradFill>
                <a:gsLst>
                  <a:gs pos="0">
                    <a:srgbClr val="000912"/>
                  </a:gs>
                  <a:gs pos="100000">
                    <a:srgbClr val="2A4A63"/>
                  </a:gs>
                </a:gsLst>
                <a:lin ang="9000000" scaled="0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6EC4-43E9-B570-211237690C5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G$1</c:f>
              <c:strCache>
                <c:ptCount val="6"/>
                <c:pt idx="0">
                  <c:v>BLIL</c:v>
                </c:pt>
                <c:pt idx="1">
                  <c:v>Bifm Holdings</c:v>
                </c:pt>
                <c:pt idx="2">
                  <c:v>NICO Holdings</c:v>
                </c:pt>
                <c:pt idx="3">
                  <c:v>BIC</c:v>
                </c:pt>
                <c:pt idx="4">
                  <c:v>LHL</c:v>
                </c:pt>
                <c:pt idx="5">
                  <c:v>FSG</c:v>
                </c:pt>
              </c:strCache>
            </c:strRef>
          </c:cat>
          <c:val>
            <c:numRef>
              <c:f>Sheet1!$B$2:$G$2</c:f>
              <c:numCache>
                <c:formatCode>#,##0</c:formatCode>
                <c:ptCount val="6"/>
                <c:pt idx="0">
                  <c:v>358</c:v>
                </c:pt>
                <c:pt idx="1">
                  <c:v>99</c:v>
                </c:pt>
                <c:pt idx="2">
                  <c:v>57</c:v>
                </c:pt>
                <c:pt idx="3">
                  <c:v>25</c:v>
                </c:pt>
                <c:pt idx="4">
                  <c:v>103</c:v>
                </c:pt>
                <c:pt idx="5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1D-48FC-92F1-E5CAA5552AF0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Dec 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G$1</c:f>
              <c:strCache>
                <c:ptCount val="6"/>
                <c:pt idx="0">
                  <c:v>BLIL</c:v>
                </c:pt>
                <c:pt idx="1">
                  <c:v>Bifm Holdings</c:v>
                </c:pt>
                <c:pt idx="2">
                  <c:v>NICO Holdings</c:v>
                </c:pt>
                <c:pt idx="3">
                  <c:v>BIC</c:v>
                </c:pt>
                <c:pt idx="4">
                  <c:v>LHL</c:v>
                </c:pt>
                <c:pt idx="5">
                  <c:v>FSG</c:v>
                </c:pt>
              </c:strCache>
            </c:strRef>
          </c:cat>
          <c:val>
            <c:numRef>
              <c:f>Sheet1!$B$3:$G$3</c:f>
              <c:numCache>
                <c:formatCode>#,##0</c:formatCode>
                <c:ptCount val="6"/>
                <c:pt idx="0">
                  <c:v>103</c:v>
                </c:pt>
                <c:pt idx="1">
                  <c:v>42</c:v>
                </c:pt>
                <c:pt idx="2">
                  <c:v>44</c:v>
                </c:pt>
                <c:pt idx="3">
                  <c:v>23</c:v>
                </c:pt>
                <c:pt idx="4">
                  <c:v>188</c:v>
                </c:pt>
                <c:pt idx="5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1D-48FC-92F1-E5CAA5552A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1151419072"/>
        <c:axId val="1151431552"/>
      </c:bar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151419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6307819477110854E-2"/>
          <c:y val="0.92302115644635352"/>
          <c:w val="0.80521977366465569"/>
          <c:h val="7.697884355364670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BW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BW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611702025679435"/>
          <c:y val="0.26336971509093754"/>
          <c:w val="0.79097048455570351"/>
          <c:h val="0.53882793836145737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Dividend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Dec 2018</c:v>
                </c:pt>
                <c:pt idx="1">
                  <c:v>Dec 2019</c:v>
                </c:pt>
                <c:pt idx="2">
                  <c:v>Dec 2020</c:v>
                </c:pt>
                <c:pt idx="3">
                  <c:v>Dec 2021</c:v>
                </c:pt>
                <c:pt idx="4">
                  <c:v>Dec 2022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86AF-4E73-B2AF-946E983A98BA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Interim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Dec 2018</c:v>
                </c:pt>
                <c:pt idx="1">
                  <c:v>Dec 2019</c:v>
                </c:pt>
                <c:pt idx="2">
                  <c:v>Dec 2020</c:v>
                </c:pt>
                <c:pt idx="3">
                  <c:v>Dec 2021</c:v>
                </c:pt>
                <c:pt idx="4">
                  <c:v>Dec 2022</c:v>
                </c:pt>
              </c:strCache>
            </c:strRef>
          </c:cat>
          <c:val>
            <c:numRef>
              <c:f>Sheet1!$D$2:$D$6</c:f>
              <c:numCache>
                <c:formatCode>#,##0</c:formatCode>
                <c:ptCount val="5"/>
                <c:pt idx="0">
                  <c:v>60</c:v>
                </c:pt>
                <c:pt idx="1">
                  <c:v>44</c:v>
                </c:pt>
                <c:pt idx="2">
                  <c:v>57</c:v>
                </c:pt>
                <c:pt idx="4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6AF-4E73-B2AF-946E983A98BA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  <c:pt idx="0">
                  <c:v>Final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Dec 2018</c:v>
                </c:pt>
                <c:pt idx="1">
                  <c:v>Dec 2019</c:v>
                </c:pt>
                <c:pt idx="2">
                  <c:v>Dec 2020</c:v>
                </c:pt>
                <c:pt idx="3">
                  <c:v>Dec 2021</c:v>
                </c:pt>
                <c:pt idx="4">
                  <c:v>Dec 2022</c:v>
                </c:pt>
              </c:strCache>
            </c:strRef>
          </c:cat>
          <c:val>
            <c:numRef>
              <c:f>Sheet1!$C$2:$C$6</c:f>
              <c:numCache>
                <c:formatCode>#,##0</c:formatCode>
                <c:ptCount val="5"/>
                <c:pt idx="0">
                  <c:v>67</c:v>
                </c:pt>
                <c:pt idx="1">
                  <c:v>59</c:v>
                </c:pt>
                <c:pt idx="2">
                  <c:v>65</c:v>
                </c:pt>
                <c:pt idx="3">
                  <c:v>71</c:v>
                </c:pt>
                <c:pt idx="4">
                  <c:v>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1D-48FC-92F1-E5CAA5552AF0}"/>
            </c:ext>
          </c:extLst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Special</c:v>
                </c:pt>
              </c:strCache>
            </c:strRef>
          </c:tx>
          <c:spPr>
            <a:gradFill>
              <a:gsLst>
                <a:gs pos="0">
                  <a:srgbClr val="000912"/>
                </a:gs>
                <a:gs pos="100000">
                  <a:srgbClr val="2A4A63"/>
                </a:gs>
              </a:gsLst>
              <a:lin ang="90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gradFill>
                <a:gsLst>
                  <a:gs pos="0">
                    <a:srgbClr val="000912"/>
                  </a:gs>
                  <a:gs pos="100000">
                    <a:srgbClr val="2A4A63"/>
                  </a:gs>
                </a:gsLst>
                <a:lin ang="9000000" scaled="0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933D-4493-9CF2-79D435DC193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Dec 2018</c:v>
                </c:pt>
                <c:pt idx="1">
                  <c:v>Dec 2019</c:v>
                </c:pt>
                <c:pt idx="2">
                  <c:v>Dec 2020</c:v>
                </c:pt>
                <c:pt idx="3">
                  <c:v>Dec 2021</c:v>
                </c:pt>
                <c:pt idx="4">
                  <c:v>Dec 2022</c:v>
                </c:pt>
              </c:strCache>
            </c:strRef>
          </c:cat>
          <c:val>
            <c:numRef>
              <c:f>Sheet1!$B$2:$B$6</c:f>
              <c:numCache>
                <c:formatCode>#,##0</c:formatCode>
                <c:ptCount val="5"/>
                <c:pt idx="0">
                  <c:v>16</c:v>
                </c:pt>
                <c:pt idx="1">
                  <c:v>11</c:v>
                </c:pt>
                <c:pt idx="4">
                  <c:v>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1D-48FC-92F1-E5CAA5552A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51419072"/>
        <c:axId val="1151431552"/>
      </c:bar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151419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.1168289151109914"/>
          <c:y val="0.92302111690817357"/>
          <c:w val="0.81913471591279086"/>
          <c:h val="5.51215447010752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BW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BW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18114279294676"/>
          <c:y val="0.17100281323077079"/>
          <c:w val="0.75245992023038777"/>
          <c:h val="0.63119484022162409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Sheet1!$B$1</c:f>
              <c:strCache>
                <c:ptCount val="1"/>
                <c:pt idx="0">
                  <c:v>#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2791-4A3F-B800-FC273255D6D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2791-4A3F-B800-FC273255D6D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2791-4A3F-B800-FC273255D6D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2791-4A3F-B800-FC273255D6DC}"/>
              </c:ext>
            </c:extLst>
          </c:dPt>
          <c:dPt>
            <c:idx val="4"/>
            <c:invertIfNegative val="0"/>
            <c:bubble3D val="0"/>
            <c:spPr>
              <a:gradFill>
                <a:gsLst>
                  <a:gs pos="0">
                    <a:srgbClr val="000912"/>
                  </a:gs>
                  <a:gs pos="100000">
                    <a:srgbClr val="2A4A63"/>
                  </a:gs>
                </a:gsLst>
                <a:lin ang="9000000" scaled="0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6550-4534-8317-71D4ED768AC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Dec 2018</c:v>
                </c:pt>
                <c:pt idx="1">
                  <c:v>Dec 2019</c:v>
                </c:pt>
                <c:pt idx="2">
                  <c:v>Dec 2020</c:v>
                </c:pt>
                <c:pt idx="3">
                  <c:v>Dec 2021</c:v>
                </c:pt>
                <c:pt idx="4">
                  <c:v>Dec 2022</c:v>
                </c:pt>
              </c:strCache>
            </c:strRef>
          </c:cat>
          <c:val>
            <c:numRef>
              <c:f>Sheet1!$B$2:$B$6</c:f>
              <c:numCache>
                <c:formatCode>#,##0</c:formatCode>
                <c:ptCount val="5"/>
                <c:pt idx="0">
                  <c:v>147</c:v>
                </c:pt>
                <c:pt idx="1">
                  <c:v>158</c:v>
                </c:pt>
                <c:pt idx="2">
                  <c:v>129</c:v>
                </c:pt>
                <c:pt idx="3">
                  <c:v>176</c:v>
                </c:pt>
                <c:pt idx="4">
                  <c:v>1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AF-4E73-B2AF-946E983A98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51419072"/>
        <c:axId val="1151431552"/>
      </c:bar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1514190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BW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18114279294676"/>
          <c:y val="0.17100281323077079"/>
          <c:w val="0.75245992023038777"/>
          <c:h val="0.63119484022162409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Sheet1!$C$1</c:f>
              <c:strCache>
                <c:ptCount val="1"/>
                <c:pt idx="0">
                  <c:v>Shareholders net assets 2</c:v>
                </c:pt>
              </c:strCache>
            </c:strRef>
          </c:tx>
          <c:spPr>
            <a:gradFill>
              <a:gsLst>
                <a:gs pos="0">
                  <a:srgbClr val="000912"/>
                </a:gs>
                <a:gs pos="100000">
                  <a:srgbClr val="2A4A63"/>
                </a:gs>
              </a:gsLst>
              <a:lin ang="90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Dec 2018</c:v>
                </c:pt>
                <c:pt idx="1">
                  <c:v>Dec 2019</c:v>
                </c:pt>
                <c:pt idx="2">
                  <c:v>Dec 2020</c:v>
                </c:pt>
                <c:pt idx="3">
                  <c:v>Dec 2021</c:v>
                </c:pt>
                <c:pt idx="4">
                  <c:v>Dec 2022</c:v>
                </c:pt>
              </c:strCache>
            </c:strRef>
          </c:cat>
          <c:val>
            <c:numRef>
              <c:f>Sheet1!$C$2:$C$6</c:f>
              <c:numCache>
                <c:formatCode>#,##0</c:formatCode>
                <c:ptCount val="5"/>
                <c:pt idx="0">
                  <c:v>2756</c:v>
                </c:pt>
                <c:pt idx="1">
                  <c:v>2841</c:v>
                </c:pt>
                <c:pt idx="2">
                  <c:v>2911</c:v>
                </c:pt>
                <c:pt idx="3">
                  <c:v>3281</c:v>
                </c:pt>
                <c:pt idx="4">
                  <c:v>34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6AF-4E73-B2AF-946E983A98BA}"/>
            </c:ext>
          </c:extLst>
        </c:ser>
        <c:ser>
          <c:idx val="1"/>
          <c:order val="1"/>
          <c:tx>
            <c:strRef>
              <c:f>Sheet1!$D$1</c:f>
              <c:strCache>
                <c:ptCount val="1"/>
                <c:pt idx="0">
                  <c:v>Value of inforce busines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Dec 2018</c:v>
                </c:pt>
                <c:pt idx="1">
                  <c:v>Dec 2019</c:v>
                </c:pt>
                <c:pt idx="2">
                  <c:v>Dec 2020</c:v>
                </c:pt>
                <c:pt idx="3">
                  <c:v>Dec 2021</c:v>
                </c:pt>
                <c:pt idx="4">
                  <c:v>Dec 2022</c:v>
                </c:pt>
              </c:strCache>
            </c:strRef>
          </c:cat>
          <c:val>
            <c:numRef>
              <c:f>Sheet1!$D$2:$D$6</c:f>
              <c:numCache>
                <c:formatCode>#,##0</c:formatCode>
                <c:ptCount val="5"/>
                <c:pt idx="0">
                  <c:v>1664</c:v>
                </c:pt>
                <c:pt idx="1">
                  <c:v>1811</c:v>
                </c:pt>
                <c:pt idx="2">
                  <c:v>1871</c:v>
                </c:pt>
                <c:pt idx="3">
                  <c:v>2045</c:v>
                </c:pt>
                <c:pt idx="4">
                  <c:v>22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1D-48FC-92F1-E5CAA5552AF0}"/>
            </c:ext>
          </c:extLst>
        </c:ser>
        <c:ser>
          <c:idx val="3"/>
          <c:order val="2"/>
          <c:tx>
            <c:strRef>
              <c:f>Sheet1!$B$1</c:f>
              <c:strCache>
                <c:ptCount val="1"/>
                <c:pt idx="0">
                  <c:v>Shareholders net assets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Dec 2018</c:v>
                </c:pt>
                <c:pt idx="1">
                  <c:v>Dec 2019</c:v>
                </c:pt>
                <c:pt idx="2">
                  <c:v>Dec 2020</c:v>
                </c:pt>
                <c:pt idx="3">
                  <c:v>Dec 2021</c:v>
                </c:pt>
                <c:pt idx="4">
                  <c:v>Dec 2022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86AF-4E73-B2AF-946E983A98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51419072"/>
        <c:axId val="1151431552"/>
      </c:bar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151419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.1233092712550366"/>
          <c:y val="0.92302111690817357"/>
          <c:w val="0.75190662368087124"/>
          <c:h val="5.51215447010752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BW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BW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310109289617487"/>
          <c:y val="0.17100281323077079"/>
          <c:w val="0.75353997246245852"/>
          <c:h val="0.63119484022162409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Dec 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AUM</c:v>
                </c:pt>
                <c:pt idx="1">
                  <c:v>Total assets</c:v>
                </c:pt>
                <c:pt idx="2">
                  <c:v>EV</c:v>
                </c:pt>
              </c:strCache>
            </c:strRef>
          </c:cat>
          <c:val>
            <c:numRef>
              <c:f>Sheet1!$B$2:$D$2</c:f>
              <c:numCache>
                <c:formatCode>#,##0.0</c:formatCode>
                <c:ptCount val="3"/>
                <c:pt idx="0">
                  <c:v>27.5</c:v>
                </c:pt>
                <c:pt idx="1">
                  <c:v>15.81</c:v>
                </c:pt>
                <c:pt idx="2">
                  <c:v>4.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F-4CBB-B8ED-1B725A703B17}"/>
            </c:ext>
          </c:extLst>
        </c:ser>
        <c:ser>
          <c:idx val="0"/>
          <c:order val="1"/>
          <c:tx>
            <c:strRef>
              <c:f>Sheet1!$A$3</c:f>
              <c:strCache>
                <c:ptCount val="1"/>
                <c:pt idx="0">
                  <c:v>Dec 2019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AUM</c:v>
                </c:pt>
                <c:pt idx="1">
                  <c:v>Total assets</c:v>
                </c:pt>
                <c:pt idx="2">
                  <c:v>EV</c:v>
                </c:pt>
              </c:strCache>
            </c:strRef>
          </c:cat>
          <c:val>
            <c:numRef>
              <c:f>Sheet1!$B$3:$D$3</c:f>
              <c:numCache>
                <c:formatCode>#,##0.0</c:formatCode>
                <c:ptCount val="3"/>
                <c:pt idx="0">
                  <c:v>29.2</c:v>
                </c:pt>
                <c:pt idx="1">
                  <c:v>16.489999999999998</c:v>
                </c:pt>
                <c:pt idx="2">
                  <c:v>4.65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9AF-4CBB-B8ED-1B725A703B1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Dec 2020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AUM</c:v>
                </c:pt>
                <c:pt idx="1">
                  <c:v>Total assets</c:v>
                </c:pt>
                <c:pt idx="2">
                  <c:v>EV</c:v>
                </c:pt>
              </c:strCache>
            </c:strRef>
          </c:cat>
          <c:val>
            <c:numRef>
              <c:f>Sheet1!$B$4:$D$4</c:f>
              <c:numCache>
                <c:formatCode>#,##0.0</c:formatCode>
                <c:ptCount val="3"/>
                <c:pt idx="0">
                  <c:v>30.3</c:v>
                </c:pt>
                <c:pt idx="1">
                  <c:v>17.079999999999998</c:v>
                </c:pt>
                <c:pt idx="2">
                  <c:v>4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9AF-4CBB-B8ED-1B725A703B17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Dec 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AUM</c:v>
                </c:pt>
                <c:pt idx="1">
                  <c:v>Total assets</c:v>
                </c:pt>
                <c:pt idx="2">
                  <c:v>EV</c:v>
                </c:pt>
              </c:strCache>
            </c:strRef>
          </c:cat>
          <c:val>
            <c:numRef>
              <c:f>Sheet1!$B$5:$D$5</c:f>
              <c:numCache>
                <c:formatCode>#,##0.0</c:formatCode>
                <c:ptCount val="3"/>
                <c:pt idx="0">
                  <c:v>36</c:v>
                </c:pt>
                <c:pt idx="1">
                  <c:v>18.13</c:v>
                </c:pt>
                <c:pt idx="2">
                  <c:v>5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9AF-4CBB-B8ED-1B725A703B17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Dec 2022</c:v>
                </c:pt>
              </c:strCache>
            </c:strRef>
          </c:tx>
          <c:spPr>
            <a:gradFill>
              <a:gsLst>
                <a:gs pos="0">
                  <a:srgbClr val="000912"/>
                </a:gs>
                <a:gs pos="100000">
                  <a:srgbClr val="2A4A63"/>
                </a:gs>
              </a:gsLst>
              <a:lin ang="90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AUM</c:v>
                </c:pt>
                <c:pt idx="1">
                  <c:v>Total assets</c:v>
                </c:pt>
                <c:pt idx="2">
                  <c:v>EV</c:v>
                </c:pt>
              </c:strCache>
            </c:strRef>
          </c:cat>
          <c:val>
            <c:numRef>
              <c:f>Sheet1!$B$6:$D$6</c:f>
              <c:numCache>
                <c:formatCode>#,##0.0</c:formatCode>
                <c:ptCount val="3"/>
                <c:pt idx="0">
                  <c:v>38.5</c:v>
                </c:pt>
                <c:pt idx="1">
                  <c:v>18.5</c:v>
                </c:pt>
                <c:pt idx="2" formatCode="#,##0.00">
                  <c:v>5.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9AF-4CBB-B8ED-1B725A703B1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15"/>
        <c:axId val="1151419072"/>
        <c:axId val="1151431552"/>
      </c:bar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151419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2302115644635352"/>
          <c:w val="0.99861473258465638"/>
          <c:h val="7.697884355364670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BW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BW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300188210973529"/>
          <c:y val="0.14881334188582424"/>
          <c:w val="0.66295599659585713"/>
          <c:h val="0.6998588838999358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2!$C$1</c:f>
              <c:strCache>
                <c:ptCount val="1"/>
                <c:pt idx="0">
                  <c:v>Ends</c:v>
                </c:pt>
              </c:strCache>
            </c:strRef>
          </c:tx>
          <c:spPr>
            <a:gradFill>
              <a:gsLst>
                <a:gs pos="0">
                  <a:srgbClr val="000912"/>
                </a:gs>
                <a:gs pos="100000">
                  <a:srgbClr val="2A4A63"/>
                </a:gs>
              </a:gsLst>
              <a:lin ang="9000000" scaled="0"/>
            </a:gradFill>
            <a:ln w="254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gradFill>
                <a:gsLst>
                  <a:gs pos="0">
                    <a:srgbClr val="000912"/>
                  </a:gs>
                  <a:gs pos="100000">
                    <a:srgbClr val="2A4A63"/>
                  </a:gs>
                </a:gsLst>
                <a:lin ang="9000000" scaled="0"/>
              </a:gradFill>
              <a:ln w="254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2D70-4F21-8AC8-C60A702938EC}"/>
              </c:ext>
            </c:extLst>
          </c:dPt>
          <c:dPt>
            <c:idx val="11"/>
            <c:invertIfNegative val="0"/>
            <c:bubble3D val="0"/>
            <c:spPr>
              <a:gradFill>
                <a:gsLst>
                  <a:gs pos="0">
                    <a:srgbClr val="000912"/>
                  </a:gs>
                  <a:gs pos="100000">
                    <a:srgbClr val="2A4A63"/>
                  </a:gs>
                </a:gsLst>
                <a:lin ang="9000000" scaled="0"/>
              </a:gradFill>
              <a:ln w="254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2D70-4F21-8AC8-C60A702938EC}"/>
              </c:ext>
            </c:extLst>
          </c:dPt>
          <c:cat>
            <c:strRef>
              <c:f>Sheet2!$A$2:$A$13</c:f>
              <c:strCache>
                <c:ptCount val="12"/>
                <c:pt idx="0">
                  <c:v>Opening embedded value</c:v>
                </c:pt>
                <c:pt idx="1">
                  <c:v>Expected return</c:v>
                </c:pt>
                <c:pt idx="2">
                  <c:v>New business</c:v>
                </c:pt>
                <c:pt idx="3">
                  <c:v>Operating variances</c:v>
                </c:pt>
                <c:pt idx="4">
                  <c:v>Assumption changes</c:v>
                </c:pt>
                <c:pt idx="5">
                  <c:v>Economic assumption changes</c:v>
                </c:pt>
                <c:pt idx="6">
                  <c:v>Investment variances</c:v>
                </c:pt>
                <c:pt idx="7">
                  <c:v>Retutn on SH assets</c:v>
                </c:pt>
                <c:pt idx="8">
                  <c:v>Change in FV adjustments</c:v>
                </c:pt>
                <c:pt idx="9">
                  <c:v>Movement in treasury shares</c:v>
                </c:pt>
                <c:pt idx="10">
                  <c:v>Dividends</c:v>
                </c:pt>
                <c:pt idx="11">
                  <c:v>Closing embedded value</c:v>
                </c:pt>
              </c:strCache>
            </c:strRef>
          </c:cat>
          <c:val>
            <c:numRef>
              <c:f>Sheet2!$C$2:$C$13</c:f>
              <c:numCache>
                <c:formatCode>#,##0_);\(#,##0\)</c:formatCode>
                <c:ptCount val="12"/>
                <c:pt idx="0">
                  <c:v>529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58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B3-4872-923D-65011FF1FD24}"/>
            </c:ext>
          </c:extLst>
        </c:ser>
        <c:ser>
          <c:idx val="1"/>
          <c:order val="1"/>
          <c:tx>
            <c:strRef>
              <c:f>Sheet2!$D$1</c:f>
              <c:strCache>
                <c:ptCount val="1"/>
                <c:pt idx="0">
                  <c:v>Blank</c:v>
                </c:pt>
              </c:strCache>
            </c:strRef>
          </c:tx>
          <c:spPr>
            <a:noFill/>
            <a:ln w="25400">
              <a:noFill/>
            </a:ln>
            <a:effectLst/>
          </c:spPr>
          <c:invertIfNegative val="0"/>
          <c:cat>
            <c:strRef>
              <c:f>Sheet2!$A$2:$A$13</c:f>
              <c:strCache>
                <c:ptCount val="12"/>
                <c:pt idx="0">
                  <c:v>Opening embedded value</c:v>
                </c:pt>
                <c:pt idx="1">
                  <c:v>Expected return</c:v>
                </c:pt>
                <c:pt idx="2">
                  <c:v>New business</c:v>
                </c:pt>
                <c:pt idx="3">
                  <c:v>Operating variances</c:v>
                </c:pt>
                <c:pt idx="4">
                  <c:v>Assumption changes</c:v>
                </c:pt>
                <c:pt idx="5">
                  <c:v>Economic assumption changes</c:v>
                </c:pt>
                <c:pt idx="6">
                  <c:v>Investment variances</c:v>
                </c:pt>
                <c:pt idx="7">
                  <c:v>Retutn on SH assets</c:v>
                </c:pt>
                <c:pt idx="8">
                  <c:v>Change in FV adjustments</c:v>
                </c:pt>
                <c:pt idx="9">
                  <c:v>Movement in treasury shares</c:v>
                </c:pt>
                <c:pt idx="10">
                  <c:v>Dividends</c:v>
                </c:pt>
                <c:pt idx="11">
                  <c:v>Closing embedded value</c:v>
                </c:pt>
              </c:strCache>
            </c:strRef>
          </c:cat>
          <c:val>
            <c:numRef>
              <c:f>Sheet2!$D$2:$D$13</c:f>
              <c:numCache>
                <c:formatCode>#,##0_);\(#,##0\)</c:formatCode>
                <c:ptCount val="12"/>
                <c:pt idx="0">
                  <c:v>0</c:v>
                </c:pt>
                <c:pt idx="1">
                  <c:v>5292</c:v>
                </c:pt>
                <c:pt idx="2">
                  <c:v>5501</c:v>
                </c:pt>
                <c:pt idx="3">
                  <c:v>5679</c:v>
                </c:pt>
                <c:pt idx="4">
                  <c:v>5739</c:v>
                </c:pt>
                <c:pt idx="5">
                  <c:v>5721</c:v>
                </c:pt>
                <c:pt idx="6">
                  <c:v>5721</c:v>
                </c:pt>
                <c:pt idx="7">
                  <c:v>5804</c:v>
                </c:pt>
                <c:pt idx="8">
                  <c:v>6084</c:v>
                </c:pt>
                <c:pt idx="9">
                  <c:v>6227</c:v>
                </c:pt>
                <c:pt idx="10">
                  <c:v>5825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8B3-4872-923D-65011FF1FD24}"/>
            </c:ext>
          </c:extLst>
        </c:ser>
        <c:ser>
          <c:idx val="2"/>
          <c:order val="2"/>
          <c:tx>
            <c:strRef>
              <c:f>Sheet2!$E$1</c:f>
              <c:strCache>
                <c:ptCount val="1"/>
                <c:pt idx="0">
                  <c:v>NegLoss</c:v>
                </c:pt>
              </c:strCache>
            </c:strRef>
          </c:tx>
          <c:spPr>
            <a:solidFill>
              <a:srgbClr val="E41A1C"/>
            </a:solidFill>
            <a:ln w="25400">
              <a:noFill/>
            </a:ln>
            <a:effectLst/>
          </c:spPr>
          <c:invertIfNegative val="0"/>
          <c:cat>
            <c:strRef>
              <c:f>Sheet2!$A$2:$A$13</c:f>
              <c:strCache>
                <c:ptCount val="12"/>
                <c:pt idx="0">
                  <c:v>Opening embedded value</c:v>
                </c:pt>
                <c:pt idx="1">
                  <c:v>Expected return</c:v>
                </c:pt>
                <c:pt idx="2">
                  <c:v>New business</c:v>
                </c:pt>
                <c:pt idx="3">
                  <c:v>Operating variances</c:v>
                </c:pt>
                <c:pt idx="4">
                  <c:v>Assumption changes</c:v>
                </c:pt>
                <c:pt idx="5">
                  <c:v>Economic assumption changes</c:v>
                </c:pt>
                <c:pt idx="6">
                  <c:v>Investment variances</c:v>
                </c:pt>
                <c:pt idx="7">
                  <c:v>Retutn on SH assets</c:v>
                </c:pt>
                <c:pt idx="8">
                  <c:v>Change in FV adjustments</c:v>
                </c:pt>
                <c:pt idx="9">
                  <c:v>Movement in treasury shares</c:v>
                </c:pt>
                <c:pt idx="10">
                  <c:v>Dividends</c:v>
                </c:pt>
                <c:pt idx="11">
                  <c:v>Closing embedded value</c:v>
                </c:pt>
              </c:strCache>
            </c:strRef>
          </c:cat>
          <c:val>
            <c:numRef>
              <c:f>Sheet2!$E$2:$E$13</c:f>
              <c:numCache>
                <c:formatCode>#,##0_);\(#,##0\)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B3-4872-923D-65011FF1FD24}"/>
            </c:ext>
          </c:extLst>
        </c:ser>
        <c:ser>
          <c:idx val="3"/>
          <c:order val="3"/>
          <c:tx>
            <c:strRef>
              <c:f>Sheet2!$F$1</c:f>
              <c:strCache>
                <c:ptCount val="1"/>
                <c:pt idx="0">
                  <c:v>NegGain</c:v>
                </c:pt>
              </c:strCache>
            </c:strRef>
          </c:tx>
          <c:spPr>
            <a:solidFill>
              <a:srgbClr val="2CA02C"/>
            </a:solidFill>
            <a:ln w="25400">
              <a:noFill/>
            </a:ln>
            <a:effectLst/>
          </c:spPr>
          <c:invertIfNegative val="0"/>
          <c:cat>
            <c:strRef>
              <c:f>Sheet2!$A$2:$A$13</c:f>
              <c:strCache>
                <c:ptCount val="12"/>
                <c:pt idx="0">
                  <c:v>Opening embedded value</c:v>
                </c:pt>
                <c:pt idx="1">
                  <c:v>Expected return</c:v>
                </c:pt>
                <c:pt idx="2">
                  <c:v>New business</c:v>
                </c:pt>
                <c:pt idx="3">
                  <c:v>Operating variances</c:v>
                </c:pt>
                <c:pt idx="4">
                  <c:v>Assumption changes</c:v>
                </c:pt>
                <c:pt idx="5">
                  <c:v>Economic assumption changes</c:v>
                </c:pt>
                <c:pt idx="6">
                  <c:v>Investment variances</c:v>
                </c:pt>
                <c:pt idx="7">
                  <c:v>Retutn on SH assets</c:v>
                </c:pt>
                <c:pt idx="8">
                  <c:v>Change in FV adjustments</c:v>
                </c:pt>
                <c:pt idx="9">
                  <c:v>Movement in treasury shares</c:v>
                </c:pt>
                <c:pt idx="10">
                  <c:v>Dividends</c:v>
                </c:pt>
                <c:pt idx="11">
                  <c:v>Closing embedded value</c:v>
                </c:pt>
              </c:strCache>
            </c:strRef>
          </c:cat>
          <c:val>
            <c:numRef>
              <c:f>Sheet2!$F$2:$F$13</c:f>
              <c:numCache>
                <c:formatCode>#,##0_);\(#,##0\)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8B3-4872-923D-65011FF1FD24}"/>
            </c:ext>
          </c:extLst>
        </c:ser>
        <c:ser>
          <c:idx val="4"/>
          <c:order val="4"/>
          <c:tx>
            <c:strRef>
              <c:f>Sheet2!$G$1</c:f>
              <c:strCache>
                <c:ptCount val="1"/>
                <c:pt idx="0">
                  <c:v>PosLoss</c:v>
                </c:pt>
              </c:strCache>
            </c:strRef>
          </c:tx>
          <c:spPr>
            <a:solidFill>
              <a:schemeClr val="accent2"/>
            </a:solidFill>
            <a:ln w="254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strRef>
              <c:f>Sheet2!$A$2:$A$13</c:f>
              <c:strCache>
                <c:ptCount val="12"/>
                <c:pt idx="0">
                  <c:v>Opening embedded value</c:v>
                </c:pt>
                <c:pt idx="1">
                  <c:v>Expected return</c:v>
                </c:pt>
                <c:pt idx="2">
                  <c:v>New business</c:v>
                </c:pt>
                <c:pt idx="3">
                  <c:v>Operating variances</c:v>
                </c:pt>
                <c:pt idx="4">
                  <c:v>Assumption changes</c:v>
                </c:pt>
                <c:pt idx="5">
                  <c:v>Economic assumption changes</c:v>
                </c:pt>
                <c:pt idx="6">
                  <c:v>Investment variances</c:v>
                </c:pt>
                <c:pt idx="7">
                  <c:v>Retutn on SH assets</c:v>
                </c:pt>
                <c:pt idx="8">
                  <c:v>Change in FV adjustments</c:v>
                </c:pt>
                <c:pt idx="9">
                  <c:v>Movement in treasury shares</c:v>
                </c:pt>
                <c:pt idx="10">
                  <c:v>Dividends</c:v>
                </c:pt>
                <c:pt idx="11">
                  <c:v>Closing embedded value</c:v>
                </c:pt>
              </c:strCache>
            </c:strRef>
          </c:cat>
          <c:val>
            <c:numRef>
              <c:f>Sheet2!$G$2:$G$13</c:f>
              <c:numCache>
                <c:formatCode>#,##0_);\(#,##0\)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77</c:v>
                </c:pt>
                <c:pt idx="5">
                  <c:v>18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402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8B3-4872-923D-65011FF1FD24}"/>
            </c:ext>
          </c:extLst>
        </c:ser>
        <c:ser>
          <c:idx val="5"/>
          <c:order val="5"/>
          <c:tx>
            <c:strRef>
              <c:f>Sheet2!$H$1</c:f>
              <c:strCache>
                <c:ptCount val="1"/>
                <c:pt idx="0">
                  <c:v>PosGain</c:v>
                </c:pt>
              </c:strCache>
            </c:strRef>
          </c:tx>
          <c:spPr>
            <a:solidFill>
              <a:schemeClr val="accent6"/>
            </a:solidFill>
            <a:ln w="254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strRef>
              <c:f>Sheet2!$A$2:$A$13</c:f>
              <c:strCache>
                <c:ptCount val="12"/>
                <c:pt idx="0">
                  <c:v>Opening embedded value</c:v>
                </c:pt>
                <c:pt idx="1">
                  <c:v>Expected return</c:v>
                </c:pt>
                <c:pt idx="2">
                  <c:v>New business</c:v>
                </c:pt>
                <c:pt idx="3">
                  <c:v>Operating variances</c:v>
                </c:pt>
                <c:pt idx="4">
                  <c:v>Assumption changes</c:v>
                </c:pt>
                <c:pt idx="5">
                  <c:v>Economic assumption changes</c:v>
                </c:pt>
                <c:pt idx="6">
                  <c:v>Investment variances</c:v>
                </c:pt>
                <c:pt idx="7">
                  <c:v>Retutn on SH assets</c:v>
                </c:pt>
                <c:pt idx="8">
                  <c:v>Change in FV adjustments</c:v>
                </c:pt>
                <c:pt idx="9">
                  <c:v>Movement in treasury shares</c:v>
                </c:pt>
                <c:pt idx="10">
                  <c:v>Dividends</c:v>
                </c:pt>
                <c:pt idx="11">
                  <c:v>Closing embedded value</c:v>
                </c:pt>
              </c:strCache>
            </c:strRef>
          </c:cat>
          <c:val>
            <c:numRef>
              <c:f>Sheet2!$H$2:$H$13</c:f>
              <c:numCache>
                <c:formatCode>#,##0_);\(#,##0\)</c:formatCode>
                <c:ptCount val="12"/>
                <c:pt idx="0">
                  <c:v>0</c:v>
                </c:pt>
                <c:pt idx="1">
                  <c:v>209</c:v>
                </c:pt>
                <c:pt idx="2">
                  <c:v>178</c:v>
                </c:pt>
                <c:pt idx="3">
                  <c:v>137</c:v>
                </c:pt>
                <c:pt idx="4">
                  <c:v>0</c:v>
                </c:pt>
                <c:pt idx="5">
                  <c:v>0</c:v>
                </c:pt>
                <c:pt idx="6">
                  <c:v>83</c:v>
                </c:pt>
                <c:pt idx="7">
                  <c:v>280</c:v>
                </c:pt>
                <c:pt idx="8">
                  <c:v>144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8B3-4872-923D-65011FF1FD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805877215"/>
        <c:axId val="1805878879"/>
      </c:barChart>
      <c:scatterChart>
        <c:scatterStyle val="lineMarker"/>
        <c:varyColors val="0"/>
        <c:ser>
          <c:idx val="6"/>
          <c:order val="6"/>
          <c:tx>
            <c:strRef>
              <c:f>Sheet2!$K$1</c:f>
              <c:strCache>
                <c:ptCount val="1"/>
                <c:pt idx="0">
                  <c:v>Left X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tx>
                <c:rich>
                  <a:bodyPr/>
                  <a:lstStyle/>
                  <a:p>
                    <a:fld id="{F5C64BE0-9460-452C-BD2A-F5C56FC6370D}" type="CELLRANGE">
                      <a:rPr lang="en-US" dirty="0"/>
                      <a:pPr/>
                      <a:t>[CELLRANGE]</a:t>
                    </a:fld>
                    <a:endParaRPr lang="en-BW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F8B3-4872-923D-65011FF1FD2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42842D3-0CBB-4B09-8DE9-D140BF871C56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F8B3-4872-923D-65011FF1FD2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4684B04-0A86-4BA8-9438-A6464D9F3797}" type="CELLRANGE">
                      <a:rPr lang="en-US"/>
                      <a:pPr/>
                      <a:t>[CELLRANGE]</a:t>
                    </a:fld>
                    <a:endParaRPr lang="en-BW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F8B3-4872-923D-65011FF1FD24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10F337BD-A3C4-4ADF-BB47-050CE94899F1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F8B3-4872-923D-65011FF1FD24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E3BA209B-DFCA-40F1-AD28-86AC42BEDABE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F8B3-4872-923D-65011FF1FD24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C9CF1917-70BE-4812-93A5-E646295E8B62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F8B3-4872-923D-65011FF1FD24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CEC01B1B-17B4-453D-8A4A-5BDA1FDF7E07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F8B3-4872-923D-65011FF1FD24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520B54C8-D418-4983-ACE0-A49D8B17B57C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F8B3-4872-923D-65011FF1FD24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981BE0AB-6117-4F22-B634-3A37BB699107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F8B3-4872-923D-65011FF1FD24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F5DB455E-106C-4253-A161-DEFF12C8B96F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F8B3-4872-923D-65011FF1FD24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9B59E4B9-56E7-44A1-BEB0-2736303B0E41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F8B3-4872-923D-65011FF1FD24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0BFD4936-FB1A-41BA-8A77-6647ADE1986C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F8B3-4872-923D-65011FF1FD2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dLblPos val="l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2!$K$2:$K$13</c:f>
              <c:numCache>
                <c:formatCode>#,##0_);\(#,##0\)</c:formatCode>
                <c:ptCount val="12"/>
                <c:pt idx="0">
                  <c:v>0</c:v>
                </c:pt>
                <c:pt idx="1">
                  <c:v>5292</c:v>
                </c:pt>
                <c:pt idx="2">
                  <c:v>5501</c:v>
                </c:pt>
                <c:pt idx="3">
                  <c:v>5679</c:v>
                </c:pt>
                <c:pt idx="4">
                  <c:v>5739</c:v>
                </c:pt>
                <c:pt idx="5">
                  <c:v>5721</c:v>
                </c:pt>
                <c:pt idx="6">
                  <c:v>5721</c:v>
                </c:pt>
                <c:pt idx="7">
                  <c:v>5804</c:v>
                </c:pt>
                <c:pt idx="8">
                  <c:v>6084</c:v>
                </c:pt>
                <c:pt idx="9">
                  <c:v>6227</c:v>
                </c:pt>
                <c:pt idx="10">
                  <c:v>5825</c:v>
                </c:pt>
                <c:pt idx="11">
                  <c:v>0</c:v>
                </c:pt>
              </c:numCache>
            </c:numRef>
          </c:xVal>
          <c:yVal>
            <c:numRef>
              <c:f>Sheet2!$N$2:$N$13</c:f>
              <c:numCache>
                <c:formatCode>#,##0_);\(#,##0\)</c:formatCode>
                <c:ptCount val="12"/>
                <c:pt idx="0">
                  <c:v>4.1666666666666664E-2</c:v>
                </c:pt>
                <c:pt idx="1">
                  <c:v>0.125</c:v>
                </c:pt>
                <c:pt idx="2">
                  <c:v>0.20833333333333334</c:v>
                </c:pt>
                <c:pt idx="3">
                  <c:v>0.29166666666666669</c:v>
                </c:pt>
                <c:pt idx="4">
                  <c:v>0.375</c:v>
                </c:pt>
                <c:pt idx="5">
                  <c:v>0.45833333333333331</c:v>
                </c:pt>
                <c:pt idx="6">
                  <c:v>0.54166666666666663</c:v>
                </c:pt>
                <c:pt idx="7">
                  <c:v>0.625</c:v>
                </c:pt>
                <c:pt idx="8">
                  <c:v>0.70833333333333337</c:v>
                </c:pt>
                <c:pt idx="9">
                  <c:v>0.79166666666666663</c:v>
                </c:pt>
                <c:pt idx="10">
                  <c:v>0.875</c:v>
                </c:pt>
                <c:pt idx="11">
                  <c:v>0.95833333333333337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2!$O$2:$O$13</c15:f>
                <c15:dlblRangeCache>
                  <c:ptCount val="12"/>
                  <c:pt idx="4">
                    <c:v>-77</c:v>
                  </c:pt>
                  <c:pt idx="5">
                    <c:v>-18</c:v>
                  </c:pt>
                  <c:pt idx="9">
                    <c:v>-1</c:v>
                  </c:pt>
                  <c:pt idx="10">
                    <c:v>-402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2-F8B3-4872-923D-65011FF1FD24}"/>
            </c:ext>
          </c:extLst>
        </c:ser>
        <c:ser>
          <c:idx val="7"/>
          <c:order val="7"/>
          <c:tx>
            <c:strRef>
              <c:f>Sheet2!$L$1</c:f>
              <c:strCache>
                <c:ptCount val="1"/>
                <c:pt idx="0">
                  <c:v>Center X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tx>
                <c:rich>
                  <a:bodyPr/>
                  <a:lstStyle/>
                  <a:p>
                    <a:fld id="{69517263-AA85-403D-BED2-3BDAFD74FEBF}" type="CELLRANGE">
                      <a:rPr lang="en-US" dirty="0"/>
                      <a:pPr/>
                      <a:t>[CELLRANGE]</a:t>
                    </a:fld>
                    <a:endParaRPr lang="en-BW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F8B3-4872-923D-65011FF1FD2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B0E24D7-C31F-49FB-8D31-AD6222362153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F8B3-4872-923D-65011FF1FD2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D9EE59A-78FD-410A-A3A7-2EBB8173EB5D}" type="CELLRANGE">
                      <a:rPr lang="en-US"/>
                      <a:pPr/>
                      <a:t>[CELLRANGE]</a:t>
                    </a:fld>
                    <a:endParaRPr lang="en-BW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F8B3-4872-923D-65011FF1FD24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F0A7B14B-5FF3-45C0-B311-4BD857FA5F28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F8B3-4872-923D-65011FF1FD24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FFC23E87-54F9-4844-B005-43D0AB6CDAAB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F8B3-4872-923D-65011FF1FD24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2559A349-4D8B-4D6D-B004-677E28C4A5A8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F8B3-4872-923D-65011FF1FD24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BF0FB724-CDC0-4850-9F5E-3569E976E36F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F8B3-4872-923D-65011FF1FD24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92B69CDC-AF13-4CDE-AE70-AEE727A392F5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F8B3-4872-923D-65011FF1FD24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E3A11DE7-8CBE-4E18-B6B7-2317779EA8B3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F8B3-4872-923D-65011FF1FD24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E22DAEDC-DC00-4B3B-8162-ECC3F44B96DF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F8B3-4872-923D-65011FF1FD24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AC681AFC-CE78-46B6-AE34-A6261C2940E9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F8B3-4872-923D-65011FF1FD24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1EC0274C-8209-4400-9A42-BAF968F16CC1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F8B3-4872-923D-65011FF1FD2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2!$L$2:$L$13</c:f>
              <c:numCache>
                <c:formatCode>#,##0_);\(#,##0\)</c:formatCode>
                <c:ptCount val="12"/>
                <c:pt idx="0">
                  <c:v>2646</c:v>
                </c:pt>
                <c:pt idx="1">
                  <c:v>5396.5</c:v>
                </c:pt>
                <c:pt idx="2">
                  <c:v>5590</c:v>
                </c:pt>
                <c:pt idx="3">
                  <c:v>5747.5</c:v>
                </c:pt>
                <c:pt idx="4">
                  <c:v>5777.5</c:v>
                </c:pt>
                <c:pt idx="5">
                  <c:v>5730</c:v>
                </c:pt>
                <c:pt idx="6">
                  <c:v>5762.5</c:v>
                </c:pt>
                <c:pt idx="7">
                  <c:v>5944</c:v>
                </c:pt>
                <c:pt idx="8">
                  <c:v>6156</c:v>
                </c:pt>
                <c:pt idx="9">
                  <c:v>6227.5</c:v>
                </c:pt>
                <c:pt idx="10">
                  <c:v>6026</c:v>
                </c:pt>
                <c:pt idx="11">
                  <c:v>2912.5</c:v>
                </c:pt>
              </c:numCache>
            </c:numRef>
          </c:xVal>
          <c:yVal>
            <c:numRef>
              <c:f>Sheet2!$N$2:$N$13</c:f>
              <c:numCache>
                <c:formatCode>#,##0_);\(#,##0\)</c:formatCode>
                <c:ptCount val="12"/>
                <c:pt idx="0">
                  <c:v>4.1666666666666664E-2</c:v>
                </c:pt>
                <c:pt idx="1">
                  <c:v>0.125</c:v>
                </c:pt>
                <c:pt idx="2">
                  <c:v>0.20833333333333334</c:v>
                </c:pt>
                <c:pt idx="3">
                  <c:v>0.29166666666666669</c:v>
                </c:pt>
                <c:pt idx="4">
                  <c:v>0.375</c:v>
                </c:pt>
                <c:pt idx="5">
                  <c:v>0.45833333333333331</c:v>
                </c:pt>
                <c:pt idx="6">
                  <c:v>0.54166666666666663</c:v>
                </c:pt>
                <c:pt idx="7">
                  <c:v>0.625</c:v>
                </c:pt>
                <c:pt idx="8">
                  <c:v>0.70833333333333337</c:v>
                </c:pt>
                <c:pt idx="9">
                  <c:v>0.79166666666666663</c:v>
                </c:pt>
                <c:pt idx="10">
                  <c:v>0.875</c:v>
                </c:pt>
                <c:pt idx="11">
                  <c:v>0.95833333333333337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2!$P$2:$P$13</c15:f>
                <c15:dlblRangeCache>
                  <c:ptCount val="12"/>
                </c15:dlblRangeCache>
              </c15:datalabelsRange>
            </c:ext>
            <c:ext xmlns:c16="http://schemas.microsoft.com/office/drawing/2014/chart" uri="{C3380CC4-5D6E-409C-BE32-E72D297353CC}">
              <c16:uniqueId val="{0000001F-F8B3-4872-923D-65011FF1FD24}"/>
            </c:ext>
          </c:extLst>
        </c:ser>
        <c:ser>
          <c:idx val="8"/>
          <c:order val="8"/>
          <c:tx>
            <c:strRef>
              <c:f>Sheet2!$M$1</c:f>
              <c:strCache>
                <c:ptCount val="1"/>
                <c:pt idx="0">
                  <c:v>Right X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290415E-55E0-402F-A92E-E1483DD51FD4}" type="CELLRANGE">
                      <a:rPr lang="en-BW"/>
                      <a:pPr>
                        <a:defRPr sz="1200" b="1">
                          <a:solidFill>
                            <a:schemeClr val="tx1"/>
                          </a:solidFill>
                        </a:defRPr>
                      </a:pPr>
                      <a:t>[CELLRANGE]</a:t>
                    </a:fld>
                    <a:endParaRPr lang="en-BW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BW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F8B3-4872-923D-65011FF1FD2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A02F175-4A6B-499B-A1BE-BEE74426C607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1-F8B3-4872-923D-65011FF1FD2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0517D265-0273-42C2-B57B-27BBF7262B2F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F8B3-4872-923D-65011FF1FD24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73AD2272-77B0-4240-99E5-39735C1027C0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F8B3-4872-923D-65011FF1FD24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E1F0A474-E3B2-4286-9D06-56A6ECE6D4C1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F8B3-4872-923D-65011FF1FD24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8EAA039F-33F9-4D6A-86F5-E748F42BAC28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F8B3-4872-923D-65011FF1FD24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84078D0A-963D-4656-BA40-D8890B1F396B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F8B3-4872-923D-65011FF1FD24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70B9A8AD-29D1-4EF0-B61C-75C0BD9E10B7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F8B3-4872-923D-65011FF1FD24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A4EB7D0B-87E9-41A2-A1C2-4AC6851CC77E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8-F8B3-4872-923D-65011FF1FD24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A1DF6B4E-76E1-4207-BFB2-A01FDC91DA52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9-F8B3-4872-923D-65011FF1FD24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5B3067E7-E2F6-4454-82F6-F3FD96CCDC10}" type="CELLRANGE">
                      <a:rPr lang="en-BW"/>
                      <a:pPr/>
                      <a:t>[CELLRANGE]</a:t>
                    </a:fld>
                    <a:endParaRPr lang="en-BW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A-F8B3-4872-923D-65011FF1FD24}"/>
                </c:ext>
              </c:extLst>
            </c:dLbl>
            <c:dLbl>
              <c:idx val="1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5 759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BW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2B-F8B3-4872-923D-65011FF1FD2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Sheet2!$M$2:$M$13</c:f>
              <c:numCache>
                <c:formatCode>#,##0_);\(#,##0\)</c:formatCode>
                <c:ptCount val="12"/>
                <c:pt idx="0">
                  <c:v>5292</c:v>
                </c:pt>
                <c:pt idx="1">
                  <c:v>5501</c:v>
                </c:pt>
                <c:pt idx="2">
                  <c:v>5679</c:v>
                </c:pt>
                <c:pt idx="3">
                  <c:v>5816</c:v>
                </c:pt>
                <c:pt idx="4">
                  <c:v>5816</c:v>
                </c:pt>
                <c:pt idx="5">
                  <c:v>5739</c:v>
                </c:pt>
                <c:pt idx="6">
                  <c:v>5804</c:v>
                </c:pt>
                <c:pt idx="7">
                  <c:v>6084</c:v>
                </c:pt>
                <c:pt idx="8">
                  <c:v>6228</c:v>
                </c:pt>
                <c:pt idx="9">
                  <c:v>6228</c:v>
                </c:pt>
                <c:pt idx="10">
                  <c:v>6227</c:v>
                </c:pt>
                <c:pt idx="11">
                  <c:v>5825</c:v>
                </c:pt>
              </c:numCache>
            </c:numRef>
          </c:xVal>
          <c:yVal>
            <c:numRef>
              <c:f>Sheet2!$N$2:$N$13</c:f>
              <c:numCache>
                <c:formatCode>#,##0_);\(#,##0\)</c:formatCode>
                <c:ptCount val="12"/>
                <c:pt idx="0">
                  <c:v>4.1666666666666664E-2</c:v>
                </c:pt>
                <c:pt idx="1">
                  <c:v>0.125</c:v>
                </c:pt>
                <c:pt idx="2">
                  <c:v>0.20833333333333334</c:v>
                </c:pt>
                <c:pt idx="3">
                  <c:v>0.29166666666666669</c:v>
                </c:pt>
                <c:pt idx="4">
                  <c:v>0.375</c:v>
                </c:pt>
                <c:pt idx="5">
                  <c:v>0.45833333333333331</c:v>
                </c:pt>
                <c:pt idx="6">
                  <c:v>0.54166666666666663</c:v>
                </c:pt>
                <c:pt idx="7">
                  <c:v>0.625</c:v>
                </c:pt>
                <c:pt idx="8">
                  <c:v>0.70833333333333337</c:v>
                </c:pt>
                <c:pt idx="9">
                  <c:v>0.79166666666666663</c:v>
                </c:pt>
                <c:pt idx="10">
                  <c:v>0.875</c:v>
                </c:pt>
                <c:pt idx="11">
                  <c:v>0.95833333333333337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Sheet2!$Q$2:$Q$13</c15:f>
                <c15:dlblRangeCache>
                  <c:ptCount val="12"/>
                  <c:pt idx="0">
                    <c:v>5 292</c:v>
                  </c:pt>
                  <c:pt idx="1">
                    <c:v>209</c:v>
                  </c:pt>
                  <c:pt idx="2">
                    <c:v>178</c:v>
                  </c:pt>
                  <c:pt idx="3">
                    <c:v>137</c:v>
                  </c:pt>
                  <c:pt idx="6">
                    <c:v>83</c:v>
                  </c:pt>
                  <c:pt idx="7">
                    <c:v>280</c:v>
                  </c:pt>
                  <c:pt idx="8">
                    <c:v>144</c:v>
                  </c:pt>
                  <c:pt idx="11">
                    <c:v>5 825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2C-F8B3-4872-923D-65011FF1FD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805862655"/>
        <c:axId val="1805856831"/>
      </c:scatterChart>
      <c:catAx>
        <c:axId val="180587721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rgbClr val="A6A6A6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805878879"/>
        <c:crosses val="autoZero"/>
        <c:auto val="0"/>
        <c:lblAlgn val="ctr"/>
        <c:lblOffset val="100"/>
        <c:tickLblSkip val="1"/>
        <c:noMultiLvlLbl val="0"/>
      </c:catAx>
      <c:valAx>
        <c:axId val="1805878879"/>
        <c:scaling>
          <c:orientation val="minMax"/>
          <c:max val="6500"/>
          <c:min val="5000"/>
        </c:scaling>
        <c:delete val="0"/>
        <c:axPos val="b"/>
        <c:numFmt formatCode="#,##0_);\(#,##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805877215"/>
        <c:crosses val="max"/>
        <c:crossBetween val="between"/>
        <c:majorUnit val="500"/>
      </c:valAx>
      <c:valAx>
        <c:axId val="1805856831"/>
        <c:scaling>
          <c:orientation val="maxMin"/>
          <c:max val="1"/>
          <c:min val="0"/>
        </c:scaling>
        <c:delete val="0"/>
        <c:axPos val="r"/>
        <c:numFmt formatCode="#,##0_);\(#,##0\)" sourceLinked="1"/>
        <c:majorTickMark val="none"/>
        <c:minorTickMark val="none"/>
        <c:tickLblPos val="none"/>
        <c:spPr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>
                <a:noFill/>
              </a14:hiddenLine>
            </a:ext>
          </a:extLst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805862655"/>
        <c:crosses val="max"/>
        <c:crossBetween val="midCat"/>
      </c:valAx>
      <c:valAx>
        <c:axId val="1805862655"/>
        <c:scaling>
          <c:orientation val="minMax"/>
        </c:scaling>
        <c:delete val="1"/>
        <c:axPos val="t"/>
        <c:numFmt formatCode="#,##0_);\(#,##0\)" sourceLinked="1"/>
        <c:majorTickMark val="out"/>
        <c:minorTickMark val="none"/>
        <c:tickLblPos val="nextTo"/>
        <c:crossAx val="1805856831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BW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310109289617487"/>
          <c:y val="0.17100281323077079"/>
          <c:w val="0.75353997246245852"/>
          <c:h val="0.63119484022162409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ROEV</c:v>
                </c:pt>
              </c:strCache>
            </c:strRef>
          </c:tx>
          <c:spPr>
            <a:gradFill>
              <a:gsLst>
                <a:gs pos="0">
                  <a:srgbClr val="000912"/>
                </a:gs>
                <a:gs pos="100000">
                  <a:srgbClr val="2A4A63"/>
                </a:gs>
              </a:gsLst>
              <a:lin ang="90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64B5-41B7-8E77-18A9DACCB89C}"/>
              </c:ext>
            </c:extLst>
          </c:dPt>
          <c:dLbls>
            <c:dLbl>
              <c:idx val="3"/>
              <c:layout>
                <c:manualLayout>
                  <c:x val="0"/>
                  <c:y val="5.388069275176395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BW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038-411B-9F8C-0676EC1C46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BIHL Group</c:v>
                </c:pt>
                <c:pt idx="1">
                  <c:v>BLIL</c:v>
                </c:pt>
                <c:pt idx="2">
                  <c:v>BIFM</c:v>
                </c:pt>
                <c:pt idx="3">
                  <c:v>Letshego</c:v>
                </c:pt>
                <c:pt idx="4">
                  <c:v>FSG</c:v>
                </c:pt>
                <c:pt idx="5">
                  <c:v>BIC</c:v>
                </c:pt>
                <c:pt idx="6">
                  <c:v>Nico</c:v>
                </c:pt>
              </c:strCache>
            </c:strRef>
          </c:cat>
          <c:val>
            <c:numRef>
              <c:f>Sheet1!$B$2:$H$2</c:f>
              <c:numCache>
                <c:formatCode>0.0%</c:formatCode>
                <c:ptCount val="7"/>
                <c:pt idx="0">
                  <c:v>0.16900000000000001</c:v>
                </c:pt>
                <c:pt idx="1">
                  <c:v>0.19500000000000001</c:v>
                </c:pt>
                <c:pt idx="2">
                  <c:v>0.20899999999999999</c:v>
                </c:pt>
                <c:pt idx="3">
                  <c:v>6.5000000000000002E-2</c:v>
                </c:pt>
                <c:pt idx="4">
                  <c:v>0.105</c:v>
                </c:pt>
                <c:pt idx="5">
                  <c:v>0.29699999999999999</c:v>
                </c:pt>
                <c:pt idx="6">
                  <c:v>0.681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46-4B07-88D6-6E293AC22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151419072"/>
        <c:axId val="1151431552"/>
      </c:barChart>
      <c:lineChart>
        <c:grouping val="standard"/>
        <c:varyColors val="0"/>
        <c:ser>
          <c:idx val="0"/>
          <c:order val="1"/>
          <c:tx>
            <c:strRef>
              <c:f>Sheet1!$A$3</c:f>
              <c:strCache>
                <c:ptCount val="1"/>
                <c:pt idx="0">
                  <c:v>Target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BW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1446-4B07-88D6-6E293AC22BD4}"/>
                </c:ext>
              </c:extLst>
            </c:dLbl>
            <c:dLbl>
              <c:idx val="4"/>
              <c:layout>
                <c:manualLayout>
                  <c:x val="-2.971787573925606E-2"/>
                  <c:y val="7.67223083644371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4B5-41B7-8E77-18A9DACCB89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H$1</c:f>
              <c:strCache>
                <c:ptCount val="7"/>
                <c:pt idx="0">
                  <c:v>BIHL Group</c:v>
                </c:pt>
                <c:pt idx="1">
                  <c:v>BLIL</c:v>
                </c:pt>
                <c:pt idx="2">
                  <c:v>BIFM</c:v>
                </c:pt>
                <c:pt idx="3">
                  <c:v>Letshego</c:v>
                </c:pt>
                <c:pt idx="4">
                  <c:v>FSG</c:v>
                </c:pt>
                <c:pt idx="5">
                  <c:v>BIC</c:v>
                </c:pt>
                <c:pt idx="6">
                  <c:v>Nico</c:v>
                </c:pt>
              </c:strCache>
            </c:strRef>
          </c:cat>
          <c:val>
            <c:numRef>
              <c:f>Sheet1!$B$3:$H$3</c:f>
              <c:numCache>
                <c:formatCode>0.0%</c:formatCode>
                <c:ptCount val="7"/>
                <c:pt idx="0">
                  <c:v>0.14499999999999999</c:v>
                </c:pt>
                <c:pt idx="1">
                  <c:v>0.17699999999999999</c:v>
                </c:pt>
                <c:pt idx="2">
                  <c:v>0.155</c:v>
                </c:pt>
                <c:pt idx="3">
                  <c:v>0.16</c:v>
                </c:pt>
                <c:pt idx="4">
                  <c:v>0.16</c:v>
                </c:pt>
                <c:pt idx="5">
                  <c:v>0.14000000000000001</c:v>
                </c:pt>
                <c:pt idx="6">
                  <c:v>0.2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1446-4B07-88D6-6E293AC22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51419072"/>
        <c:axId val="1151431552"/>
      </c:line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151419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2100167806892996E-2"/>
          <c:y val="0.92302115644635352"/>
          <c:w val="0.96688815025171038"/>
          <c:h val="5.425157082637397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BW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BW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54721175163036"/>
          <c:y val="0.16587131154060289"/>
          <c:w val="0.749982652467172"/>
          <c:h val="0.6339815477610752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gradFill>
                <a:gsLst>
                  <a:gs pos="0">
                    <a:srgbClr val="000912"/>
                  </a:gs>
                  <a:gs pos="100000">
                    <a:srgbClr val="2A4A63"/>
                  </a:gs>
                </a:gsLst>
                <a:lin ang="9000000" scaled="0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B605-4F7C-B994-5BAB61768229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B605-4F7C-B994-5BAB61768229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B605-4F7C-B994-5BAB61768229}"/>
              </c:ext>
            </c:extLst>
          </c:dPt>
          <c:dPt>
            <c:idx val="3"/>
            <c:bubble3D val="0"/>
            <c:spPr>
              <a:solidFill>
                <a:schemeClr val="tx2">
                  <a:lumMod val="75000"/>
                  <a:lumOff val="2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B605-4F7C-B994-5BAB61768229}"/>
              </c:ext>
            </c:extLst>
          </c:dPt>
          <c:dPt>
            <c:idx val="4"/>
            <c:bubble3D val="0"/>
            <c:spPr>
              <a:gradFill flip="none" rotWithShape="1">
                <a:gsLst>
                  <a:gs pos="0">
                    <a:schemeClr val="tx2"/>
                  </a:gs>
                  <a:gs pos="100000">
                    <a:srgbClr val="E2E3E4"/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B605-4F7C-B994-5BAB61768229}"/>
              </c:ext>
            </c:extLst>
          </c:dPt>
          <c:dPt>
            <c:idx val="5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B605-4F7C-B994-5BAB61768229}"/>
              </c:ext>
            </c:extLst>
          </c:dPt>
          <c:dLbls>
            <c:dLbl>
              <c:idx val="3"/>
              <c:layout>
                <c:manualLayout>
                  <c:x val="9.1494889209347841E-3"/>
                  <c:y val="-5.050481582682239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605-4F7C-B994-5BAB617682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Recurring premium</c:v>
                </c:pt>
                <c:pt idx="1">
                  <c:v>Single premium</c:v>
                </c:pt>
                <c:pt idx="2">
                  <c:v>Fee revenue</c:v>
                </c:pt>
                <c:pt idx="3">
                  <c:v>Shareholder investment return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53</c:v>
                </c:pt>
                <c:pt idx="1">
                  <c:v>0.42</c:v>
                </c:pt>
                <c:pt idx="2">
                  <c:v>0.04</c:v>
                </c:pt>
                <c:pt idx="3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605-4F7C-B994-5BAB617682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2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177685780315554E-3"/>
          <c:y val="0.92522051220870116"/>
          <c:w val="0.98663169717676258"/>
          <c:h val="7.4779487791298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BW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  <a:latin typeface="+mn-lt"/>
        </a:defRPr>
      </a:pPr>
      <a:endParaRPr lang="en-BW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54721175163036"/>
          <c:y val="0.16587131154060289"/>
          <c:w val="0.749982652467172"/>
          <c:h val="0.6339815477610752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gradFill>
                <a:gsLst>
                  <a:gs pos="0">
                    <a:srgbClr val="000912"/>
                  </a:gs>
                  <a:gs pos="100000">
                    <a:srgbClr val="2A4A63"/>
                  </a:gs>
                </a:gsLst>
                <a:lin ang="9000000" scaled="0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C9AA-4C54-AFD2-8A4FE3798EAD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C9AA-4C54-AFD2-8A4FE3798EAD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C9AA-4C54-AFD2-8A4FE3798EAD}"/>
              </c:ext>
            </c:extLst>
          </c:dPt>
          <c:dPt>
            <c:idx val="3"/>
            <c:bubble3D val="0"/>
            <c:spPr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C9AA-4C54-AFD2-8A4FE3798EAD}"/>
              </c:ext>
            </c:extLst>
          </c:dPt>
          <c:dPt>
            <c:idx val="4"/>
            <c:bubble3D val="0"/>
            <c:spPr>
              <a:gradFill flip="none" rotWithShape="1">
                <a:gsLst>
                  <a:gs pos="0">
                    <a:schemeClr val="tx2"/>
                  </a:gs>
                  <a:gs pos="100000">
                    <a:srgbClr val="E2E3E4"/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C9AA-4C54-AFD2-8A4FE3798EAD}"/>
              </c:ext>
            </c:extLst>
          </c:dPt>
          <c:dPt>
            <c:idx val="5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C9AA-4C54-AFD2-8A4FE3798EAD}"/>
              </c:ext>
            </c:extLst>
          </c:dPt>
          <c:dLbls>
            <c:dLbl>
              <c:idx val="3"/>
              <c:layout>
                <c:manualLayout>
                  <c:x val="9.1494889209347841E-3"/>
                  <c:y val="-5.050481582682239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9AA-4C54-AFD2-8A4FE3798EA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Recurring premium</c:v>
                </c:pt>
                <c:pt idx="1">
                  <c:v>Single premium</c:v>
                </c:pt>
                <c:pt idx="2">
                  <c:v>Fee revenue</c:v>
                </c:pt>
                <c:pt idx="3">
                  <c:v>Shareholder investment return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54</c:v>
                </c:pt>
                <c:pt idx="1">
                  <c:v>0.4</c:v>
                </c:pt>
                <c:pt idx="2">
                  <c:v>0.04</c:v>
                </c:pt>
                <c:pt idx="3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C9AA-4C54-AFD2-8A4FE3798E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2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177685780315554E-3"/>
          <c:y val="0.92522051220870116"/>
          <c:w val="0.98663169717676258"/>
          <c:h val="7.4779487791298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BW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  <a:latin typeface="+mn-lt"/>
        </a:defRPr>
      </a:pPr>
      <a:endParaRPr lang="en-BW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18114279294676"/>
          <c:y val="0.17100281323077079"/>
          <c:w val="0.75245992023038777"/>
          <c:h val="0.631194840221624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c 2022</c:v>
                </c:pt>
              </c:strCache>
            </c:strRef>
          </c:tx>
          <c:spPr>
            <a:gradFill>
              <a:gsLst>
                <a:gs pos="0">
                  <a:srgbClr val="000912"/>
                </a:gs>
                <a:gs pos="100000">
                  <a:srgbClr val="2A4A63"/>
                </a:gs>
              </a:gsLst>
              <a:lin ang="900000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Claims and benefits</c:v>
                </c:pt>
                <c:pt idx="1">
                  <c:v>Sales remuneration</c:v>
                </c:pt>
                <c:pt idx="2">
                  <c:v>Administration expenses</c:v>
                </c:pt>
              </c:strCache>
            </c:strRef>
          </c:cat>
          <c:val>
            <c:numRef>
              <c:f>Sheet1!$B$2:$D$2</c:f>
              <c:numCache>
                <c:formatCode>#,##0</c:formatCode>
                <c:ptCount val="3"/>
                <c:pt idx="0">
                  <c:v>2057</c:v>
                </c:pt>
                <c:pt idx="1">
                  <c:v>569</c:v>
                </c:pt>
                <c:pt idx="2">
                  <c:v>4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D66-41AA-A11B-9E67346C0B80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Dec 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Claims and benefits</c:v>
                </c:pt>
                <c:pt idx="1">
                  <c:v>Sales remuneration</c:v>
                </c:pt>
                <c:pt idx="2">
                  <c:v>Administration expenses</c:v>
                </c:pt>
              </c:strCache>
            </c:strRef>
          </c:cat>
          <c:val>
            <c:numRef>
              <c:f>Sheet1!$B$3:$D$3</c:f>
              <c:numCache>
                <c:formatCode>#,##0</c:formatCode>
                <c:ptCount val="3"/>
                <c:pt idx="0">
                  <c:v>2462</c:v>
                </c:pt>
                <c:pt idx="1">
                  <c:v>517</c:v>
                </c:pt>
                <c:pt idx="2">
                  <c:v>4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D66-41AA-A11B-9E67346C0B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0"/>
        <c:overlap val="-27"/>
        <c:axId val="1151419072"/>
        <c:axId val="1151431552"/>
      </c:bar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151419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6307819477110854E-2"/>
          <c:y val="0.92302115644635352"/>
          <c:w val="0.80521977366465569"/>
          <c:h val="7.697884355364670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BW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BW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310109289617487"/>
          <c:y val="0.17100281323077079"/>
          <c:w val="0.75353997246245852"/>
          <c:h val="0.63119484022162409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aims and benefits</c:v>
                </c:pt>
              </c:strCache>
            </c:strRef>
          </c:tx>
          <c:spPr>
            <a:ln w="38100" cap="rnd">
              <a:solidFill>
                <a:schemeClr val="accent5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5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strRef>
              <c:f>Sheet1!$A$2:$A$6</c:f>
              <c:strCache>
                <c:ptCount val="5"/>
                <c:pt idx="0">
                  <c:v>Dec 2018</c:v>
                </c:pt>
                <c:pt idx="1">
                  <c:v>Dec 2019</c:v>
                </c:pt>
                <c:pt idx="2">
                  <c:v>Dec 2020</c:v>
                </c:pt>
                <c:pt idx="3">
                  <c:v>Dec 2021</c:v>
                </c:pt>
                <c:pt idx="4">
                  <c:v>Dec 2022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382</c:v>
                </c:pt>
                <c:pt idx="1">
                  <c:v>1499</c:v>
                </c:pt>
                <c:pt idx="2">
                  <c:v>1689</c:v>
                </c:pt>
                <c:pt idx="3">
                  <c:v>2462</c:v>
                </c:pt>
                <c:pt idx="4">
                  <c:v>20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1BC-4923-B1FB-E9BC4CE7632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dmnistration expenses</c:v>
                </c:pt>
              </c:strCache>
            </c:strRef>
          </c:tx>
          <c:spPr>
            <a:ln w="38100" cap="rnd">
              <a:solidFill>
                <a:schemeClr val="accent6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tx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strRef>
              <c:f>Sheet1!$A$2:$A$6</c:f>
              <c:strCache>
                <c:ptCount val="5"/>
                <c:pt idx="0">
                  <c:v>Dec 2018</c:v>
                </c:pt>
                <c:pt idx="1">
                  <c:v>Dec 2019</c:v>
                </c:pt>
                <c:pt idx="2">
                  <c:v>Dec 2020</c:v>
                </c:pt>
                <c:pt idx="3">
                  <c:v>Dec 2021</c:v>
                </c:pt>
                <c:pt idx="4">
                  <c:v>Dec 2022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324</c:v>
                </c:pt>
                <c:pt idx="1">
                  <c:v>316</c:v>
                </c:pt>
                <c:pt idx="2">
                  <c:v>357</c:v>
                </c:pt>
                <c:pt idx="3">
                  <c:v>420</c:v>
                </c:pt>
                <c:pt idx="4">
                  <c:v>4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1BC-4923-B1FB-E9BC4CE763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1419072"/>
        <c:axId val="1151431552"/>
      </c:line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151419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</c:legendEntry>
      <c:layout>
        <c:manualLayout>
          <c:xMode val="edge"/>
          <c:yMode val="edge"/>
          <c:x val="3.2100167806892996E-2"/>
          <c:y val="0.89271812614332302"/>
          <c:w val="0.96777161051589866"/>
          <c:h val="0.1072818738566770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BW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BW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18114279294676"/>
          <c:y val="0.17100281323077079"/>
          <c:w val="0.75245992023038777"/>
          <c:h val="0.631194840221624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c 2022</c:v>
                </c:pt>
              </c:strCache>
            </c:strRef>
          </c:tx>
          <c:spPr>
            <a:gradFill>
              <a:gsLst>
                <a:gs pos="0">
                  <a:srgbClr val="000912"/>
                </a:gs>
                <a:gs pos="100000">
                  <a:srgbClr val="2A4A63"/>
                </a:gs>
              </a:gsLst>
              <a:lin ang="9000000" scaled="0"/>
            </a:gra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gradFill>
                <a:gsLst>
                  <a:gs pos="0">
                    <a:srgbClr val="000912"/>
                  </a:gs>
                  <a:gs pos="100000">
                    <a:srgbClr val="2A4A63"/>
                  </a:gs>
                </a:gsLst>
                <a:lin ang="9000000" scaled="0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095B-4C2F-9BAD-4D2AEFD4016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E$1</c:f>
              <c:strCache>
                <c:ptCount val="4"/>
                <c:pt idx="0">
                  <c:v>Operating profit</c:v>
                </c:pt>
                <c:pt idx="1">
                  <c:v>Profit attributable to shareholders</c:v>
                </c:pt>
                <c:pt idx="2">
                  <c:v>Associate share of profit</c:v>
                </c:pt>
                <c:pt idx="3">
                  <c:v>Value of new business</c:v>
                </c:pt>
              </c:strCache>
            </c:strRef>
          </c:cat>
          <c:val>
            <c:numRef>
              <c:f>Sheet1!$B$2:$E$2</c:f>
              <c:numCache>
                <c:formatCode>#,##0</c:formatCode>
                <c:ptCount val="4"/>
                <c:pt idx="0">
                  <c:v>408</c:v>
                </c:pt>
                <c:pt idx="1">
                  <c:v>615</c:v>
                </c:pt>
                <c:pt idx="2">
                  <c:v>237</c:v>
                </c:pt>
                <c:pt idx="3">
                  <c:v>1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1D-48FC-92F1-E5CAA5552AF0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Dec 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E$1</c:f>
              <c:strCache>
                <c:ptCount val="4"/>
                <c:pt idx="0">
                  <c:v>Operating profit</c:v>
                </c:pt>
                <c:pt idx="1">
                  <c:v>Profit attributable to shareholders</c:v>
                </c:pt>
                <c:pt idx="2">
                  <c:v>Associate share of profit</c:v>
                </c:pt>
                <c:pt idx="3">
                  <c:v>Value of new business</c:v>
                </c:pt>
              </c:strCache>
            </c:strRef>
          </c:cat>
          <c:val>
            <c:numRef>
              <c:f>Sheet1!$B$3:$E$3</c:f>
              <c:numCache>
                <c:formatCode>#,##0</c:formatCode>
                <c:ptCount val="4"/>
                <c:pt idx="0">
                  <c:v>176</c:v>
                </c:pt>
                <c:pt idx="1">
                  <c:v>393</c:v>
                </c:pt>
                <c:pt idx="2">
                  <c:v>305</c:v>
                </c:pt>
                <c:pt idx="3">
                  <c:v>1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1D-48FC-92F1-E5CAA5552A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27"/>
        <c:axId val="1151419072"/>
        <c:axId val="1151431552"/>
      </c:bar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BW"/>
          </a:p>
        </c:txPr>
        <c:crossAx val="1151419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6307819477110854E-2"/>
          <c:y val="0.92302115644635352"/>
          <c:w val="0.80521977366465569"/>
          <c:h val="7.697884355364670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BW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BW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54721175163036"/>
          <c:y val="0.16587131154060289"/>
          <c:w val="0.749982652467172"/>
          <c:h val="0.6339815477610752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gradFill>
                <a:gsLst>
                  <a:gs pos="0">
                    <a:srgbClr val="000912"/>
                  </a:gs>
                  <a:gs pos="100000">
                    <a:srgbClr val="2A4A63"/>
                  </a:gs>
                </a:gsLst>
                <a:lin ang="9000000" scaled="0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1C5-48F8-B921-B0E9814578F6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1C5-48F8-B921-B0E9814578F6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A1C5-48F8-B921-B0E9814578F6}"/>
              </c:ext>
            </c:extLst>
          </c:dPt>
          <c:dPt>
            <c:idx val="3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A1C5-48F8-B921-B0E9814578F6}"/>
              </c:ext>
            </c:extLst>
          </c:dPt>
          <c:dPt>
            <c:idx val="4"/>
            <c:bubble3D val="0"/>
            <c:spPr>
              <a:gradFill flip="none" rotWithShape="1">
                <a:gsLst>
                  <a:gs pos="0">
                    <a:schemeClr val="tx2"/>
                  </a:gs>
                  <a:gs pos="100000">
                    <a:srgbClr val="E2E3E4"/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A1C5-48F8-B921-B0E9814578F6}"/>
              </c:ext>
            </c:extLst>
          </c:dPt>
          <c:dPt>
            <c:idx val="5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A1C5-48F8-B921-B0E9814578F6}"/>
              </c:ext>
            </c:extLst>
          </c:dPt>
          <c:dLbls>
            <c:dLbl>
              <c:idx val="3"/>
              <c:layout>
                <c:manualLayout>
                  <c:x val="1.7923823749066412E-2"/>
                  <c:y val="-5.050505050505027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1C5-48F8-B921-B0E9814578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Subsidiaries PAT</c:v>
                </c:pt>
                <c:pt idx="1">
                  <c:v>Associate share of profit</c:v>
                </c:pt>
                <c:pt idx="2">
                  <c:v>Investment returns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26</c:v>
                </c:pt>
                <c:pt idx="1">
                  <c:v>0.68</c:v>
                </c:pt>
                <c:pt idx="2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1C5-48F8-B921-B0E9814578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2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177685780315554E-3"/>
          <c:y val="0.92522051220870116"/>
          <c:w val="0.98663169717676258"/>
          <c:h val="7.4779487791298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BW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  <a:latin typeface="+mn-lt"/>
        </a:defRPr>
      </a:pPr>
      <a:endParaRPr lang="en-BW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54721175163036"/>
          <c:y val="0.16587131154060289"/>
          <c:w val="0.749982652467172"/>
          <c:h val="0.6339815477610752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gradFill>
                <a:gsLst>
                  <a:gs pos="0">
                    <a:srgbClr val="000912"/>
                  </a:gs>
                  <a:gs pos="100000">
                    <a:srgbClr val="2A4A63"/>
                  </a:gs>
                </a:gsLst>
                <a:lin ang="9000000" scaled="0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C9AA-4C54-AFD2-8A4FE3798EAD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C9AA-4C54-AFD2-8A4FE3798EAD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C9AA-4C54-AFD2-8A4FE3798EAD}"/>
              </c:ext>
            </c:extLst>
          </c:dPt>
          <c:dPt>
            <c:idx val="3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C9AA-4C54-AFD2-8A4FE3798EAD}"/>
              </c:ext>
            </c:extLst>
          </c:dPt>
          <c:dPt>
            <c:idx val="4"/>
            <c:bubble3D val="0"/>
            <c:spPr>
              <a:gradFill flip="none" rotWithShape="1">
                <a:gsLst>
                  <a:gs pos="0">
                    <a:schemeClr val="tx2"/>
                  </a:gs>
                  <a:gs pos="100000">
                    <a:srgbClr val="E2E3E4"/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C9AA-4C54-AFD2-8A4FE3798EAD}"/>
              </c:ext>
            </c:extLst>
          </c:dPt>
          <c:dPt>
            <c:idx val="5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C9AA-4C54-AFD2-8A4FE3798EAD}"/>
              </c:ext>
            </c:extLst>
          </c:dPt>
          <c:dLbls>
            <c:dLbl>
              <c:idx val="3"/>
              <c:layout>
                <c:manualLayout>
                  <c:x val="1.7923823749066412E-2"/>
                  <c:y val="-5.050505050505027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9AA-4C54-AFD2-8A4FE3798EA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Subsidiaries PAT</c:v>
                </c:pt>
                <c:pt idx="1">
                  <c:v>Associate share of profit</c:v>
                </c:pt>
                <c:pt idx="2">
                  <c:v>Investment returns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54</c:v>
                </c:pt>
                <c:pt idx="1">
                  <c:v>0.35</c:v>
                </c:pt>
                <c:pt idx="2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C9AA-4C54-AFD2-8A4FE3798E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2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177685780315554E-3"/>
          <c:y val="0.92522051220870116"/>
          <c:w val="0.98663169717676258"/>
          <c:h val="7.4779487791298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BW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  <a:latin typeface="+mn-lt"/>
        </a:defRPr>
      </a:pPr>
      <a:endParaRPr lang="en-BW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54721175163036"/>
          <c:y val="0.16587131154060289"/>
          <c:w val="0.749982652467172"/>
          <c:h val="0.6339815477610752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gradFill>
                <a:gsLst>
                  <a:gs pos="0">
                    <a:srgbClr val="000912"/>
                  </a:gs>
                  <a:gs pos="100000">
                    <a:srgbClr val="2A4A63"/>
                  </a:gs>
                </a:gsLst>
                <a:lin ang="9000000" scaled="0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C9AA-4C54-AFD2-8A4FE3798EAD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C9AA-4C54-AFD2-8A4FE3798EAD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C9AA-4C54-AFD2-8A4FE3798EAD}"/>
              </c:ext>
            </c:extLst>
          </c:dPt>
          <c:dPt>
            <c:idx val="3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C9AA-4C54-AFD2-8A4FE3798EAD}"/>
              </c:ext>
            </c:extLst>
          </c:dPt>
          <c:dPt>
            <c:idx val="4"/>
            <c:bubble3D val="0"/>
            <c:spPr>
              <a:gradFill flip="none" rotWithShape="1">
                <a:gsLst>
                  <a:gs pos="0">
                    <a:schemeClr val="tx2"/>
                  </a:gs>
                  <a:gs pos="100000">
                    <a:srgbClr val="E2E3E4"/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C9AA-4C54-AFD2-8A4FE3798EAD}"/>
              </c:ext>
            </c:extLst>
          </c:dPt>
          <c:dPt>
            <c:idx val="5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C9AA-4C54-AFD2-8A4FE3798EAD}"/>
              </c:ext>
            </c:extLst>
          </c:dPt>
          <c:dLbls>
            <c:dLbl>
              <c:idx val="3"/>
              <c:layout>
                <c:manualLayout>
                  <c:x val="1.7923823749066412E-2"/>
                  <c:y val="-5.050505050505027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9AA-4C54-AFD2-8A4FE3798EA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B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BLIL</c:v>
                </c:pt>
                <c:pt idx="1">
                  <c:v>BIFM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86</c:v>
                </c:pt>
                <c:pt idx="1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C9AA-4C54-AFD2-8A4FE3798E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2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177685780315554E-3"/>
          <c:y val="0.92522051220870116"/>
          <c:w val="0.98663169717676258"/>
          <c:h val="7.4779487791298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BW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  <a:latin typeface="+mn-lt"/>
        </a:defRPr>
      </a:pPr>
      <a:endParaRPr lang="en-BW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063206D-2F26-4410-A0EA-B5C5EEA352A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CAFF9A-2B14-4AEF-9262-527DE745FE4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3E7A51-4671-4572-A7CC-2E2F765B0432}" type="datetimeFigureOut">
              <a:rPr lang="en-US" smtClean="0"/>
              <a:t>3/8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FF8E5C-3B19-4346-9E67-550D9387F64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4C8220-5E64-4B7C-A190-740852E54B9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C3511B-C5F4-4B2F-9CEB-576B523CC0E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421562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BEB93-9AB2-4170-A82F-13B9577C0484}" type="datetimeFigureOut">
              <a:rPr lang="en-US" smtClean="0"/>
              <a:t>3/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1A68B7-C30D-476A-BEB0-D3EB254D569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45573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W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1A68B7-C30D-476A-BEB0-D3EB254D569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300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Delivering on our promis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1A68B7-C30D-476A-BEB0-D3EB254D569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19131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1A68B7-C30D-476A-BEB0-D3EB254D569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84010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C06BAA58-04E3-4F58-86C4-DEB4C7D1D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043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C06BAA58-04E3-4F58-86C4-DEB4C7D1DF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1" name="Group 70" hidden="1">
            <a:extLst>
              <a:ext uri="{FF2B5EF4-FFF2-40B4-BE49-F238E27FC236}">
                <a16:creationId xmlns:a16="http://schemas.microsoft.com/office/drawing/2014/main" id="{E4688A3A-498A-48BD-ABA5-7195E98C670F}"/>
              </a:ext>
            </a:extLst>
          </p:cNvPr>
          <p:cNvGrpSpPr/>
          <p:nvPr userDrawn="1"/>
        </p:nvGrpSpPr>
        <p:grpSpPr>
          <a:xfrm>
            <a:off x="9467620" y="3429000"/>
            <a:ext cx="2724380" cy="2236765"/>
            <a:chOff x="9467620" y="3429000"/>
            <a:chExt cx="2724380" cy="2236765"/>
          </a:xfrm>
        </p:grpSpPr>
        <p:sp>
          <p:nvSpPr>
            <p:cNvPr id="72" name="Freeform 491">
              <a:extLst>
                <a:ext uri="{FF2B5EF4-FFF2-40B4-BE49-F238E27FC236}">
                  <a16:creationId xmlns:a16="http://schemas.microsoft.com/office/drawing/2014/main" id="{E71360B6-DC8F-403F-A732-5D9FF3776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67620" y="3475348"/>
              <a:ext cx="514988" cy="817115"/>
            </a:xfrm>
            <a:custGeom>
              <a:avLst/>
              <a:gdLst>
                <a:gd name="T0" fmla="*/ 661 w 1323"/>
                <a:gd name="T1" fmla="*/ 2091 h 2091"/>
                <a:gd name="T2" fmla="*/ 0 w 1323"/>
                <a:gd name="T3" fmla="*/ 1382 h 2091"/>
                <a:gd name="T4" fmla="*/ 867 w 1323"/>
                <a:gd name="T5" fmla="*/ 0 h 2091"/>
                <a:gd name="T6" fmla="*/ 366 w 1323"/>
                <a:gd name="T7" fmla="*/ 702 h 2091"/>
                <a:gd name="T8" fmla="*/ 661 w 1323"/>
                <a:gd name="T9" fmla="*/ 624 h 2091"/>
                <a:gd name="T10" fmla="*/ 1323 w 1323"/>
                <a:gd name="T11" fmla="*/ 1354 h 2091"/>
                <a:gd name="T12" fmla="*/ 661 w 1323"/>
                <a:gd name="T13" fmla="*/ 2091 h 2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3" h="2091">
                  <a:moveTo>
                    <a:pt x="661" y="2091"/>
                  </a:moveTo>
                  <a:cubicBezTo>
                    <a:pt x="276" y="2091"/>
                    <a:pt x="0" y="1730"/>
                    <a:pt x="0" y="1382"/>
                  </a:cubicBezTo>
                  <a:cubicBezTo>
                    <a:pt x="0" y="361"/>
                    <a:pt x="867" y="0"/>
                    <a:pt x="867" y="0"/>
                  </a:cubicBezTo>
                  <a:cubicBezTo>
                    <a:pt x="867" y="0"/>
                    <a:pt x="443" y="290"/>
                    <a:pt x="366" y="702"/>
                  </a:cubicBezTo>
                  <a:cubicBezTo>
                    <a:pt x="456" y="652"/>
                    <a:pt x="559" y="624"/>
                    <a:pt x="661" y="624"/>
                  </a:cubicBezTo>
                  <a:cubicBezTo>
                    <a:pt x="1028" y="624"/>
                    <a:pt x="1323" y="957"/>
                    <a:pt x="1323" y="1354"/>
                  </a:cubicBezTo>
                  <a:cubicBezTo>
                    <a:pt x="1323" y="1779"/>
                    <a:pt x="1002" y="2091"/>
                    <a:pt x="661" y="209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492">
              <a:extLst>
                <a:ext uri="{FF2B5EF4-FFF2-40B4-BE49-F238E27FC236}">
                  <a16:creationId xmlns:a16="http://schemas.microsoft.com/office/drawing/2014/main" id="{8F7CC2B7-3C11-49CC-9AA3-B778B0F2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25114" y="3429000"/>
              <a:ext cx="1055726" cy="1560415"/>
            </a:xfrm>
            <a:custGeom>
              <a:avLst/>
              <a:gdLst>
                <a:gd name="T0" fmla="*/ 2467 w 2705"/>
                <a:gd name="T1" fmla="*/ 823 h 3992"/>
                <a:gd name="T2" fmla="*/ 701 w 2705"/>
                <a:gd name="T3" fmla="*/ 0 h 3992"/>
                <a:gd name="T4" fmla="*/ 1324 w 2705"/>
                <a:gd name="T5" fmla="*/ 1709 h 3992"/>
                <a:gd name="T6" fmla="*/ 0 w 2705"/>
                <a:gd name="T7" fmla="*/ 3992 h 3992"/>
                <a:gd name="T8" fmla="*/ 2326 w 2705"/>
                <a:gd name="T9" fmla="*/ 2298 h 3992"/>
                <a:gd name="T10" fmla="*/ 2467 w 2705"/>
                <a:gd name="T11" fmla="*/ 823 h 3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05" h="3992">
                  <a:moveTo>
                    <a:pt x="2467" y="823"/>
                  </a:moveTo>
                  <a:cubicBezTo>
                    <a:pt x="2268" y="426"/>
                    <a:pt x="1729" y="0"/>
                    <a:pt x="701" y="0"/>
                  </a:cubicBezTo>
                  <a:cubicBezTo>
                    <a:pt x="1337" y="177"/>
                    <a:pt x="1472" y="1120"/>
                    <a:pt x="1324" y="1709"/>
                  </a:cubicBezTo>
                  <a:cubicBezTo>
                    <a:pt x="1137" y="2446"/>
                    <a:pt x="84" y="3638"/>
                    <a:pt x="0" y="3992"/>
                  </a:cubicBezTo>
                  <a:cubicBezTo>
                    <a:pt x="424" y="3418"/>
                    <a:pt x="1934" y="2766"/>
                    <a:pt x="2326" y="2298"/>
                  </a:cubicBezTo>
                  <a:cubicBezTo>
                    <a:pt x="2686" y="1858"/>
                    <a:pt x="2705" y="1291"/>
                    <a:pt x="2467" y="82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493">
              <a:extLst>
                <a:ext uri="{FF2B5EF4-FFF2-40B4-BE49-F238E27FC236}">
                  <a16:creationId xmlns:a16="http://schemas.microsoft.com/office/drawing/2014/main" id="{50EB8D1F-8C10-470C-A1E0-842F0CBBD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4786" y="5003147"/>
              <a:ext cx="1282321" cy="662618"/>
            </a:xfrm>
            <a:custGeom>
              <a:avLst/>
              <a:gdLst>
                <a:gd name="T0" fmla="*/ 3257 w 3289"/>
                <a:gd name="T1" fmla="*/ 0 h 1694"/>
                <a:gd name="T2" fmla="*/ 2608 w 3289"/>
                <a:gd name="T3" fmla="*/ 411 h 1694"/>
                <a:gd name="T4" fmla="*/ 1464 w 3289"/>
                <a:gd name="T5" fmla="*/ 347 h 1694"/>
                <a:gd name="T6" fmla="*/ 559 w 3289"/>
                <a:gd name="T7" fmla="*/ 468 h 1694"/>
                <a:gd name="T8" fmla="*/ 0 w 3289"/>
                <a:gd name="T9" fmla="*/ 1014 h 1694"/>
                <a:gd name="T10" fmla="*/ 38 w 3289"/>
                <a:gd name="T11" fmla="*/ 971 h 1694"/>
                <a:gd name="T12" fmla="*/ 430 w 3289"/>
                <a:gd name="T13" fmla="*/ 787 h 1694"/>
                <a:gd name="T14" fmla="*/ 1201 w 3289"/>
                <a:gd name="T15" fmla="*/ 1141 h 1694"/>
                <a:gd name="T16" fmla="*/ 2235 w 3289"/>
                <a:gd name="T17" fmla="*/ 1631 h 1694"/>
                <a:gd name="T18" fmla="*/ 3180 w 3289"/>
                <a:gd name="T19" fmla="*/ 780 h 1694"/>
                <a:gd name="T20" fmla="*/ 3257 w 3289"/>
                <a:gd name="T21" fmla="*/ 0 h 1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89" h="1694">
                  <a:moveTo>
                    <a:pt x="3257" y="0"/>
                  </a:moveTo>
                  <a:cubicBezTo>
                    <a:pt x="3173" y="241"/>
                    <a:pt x="2993" y="411"/>
                    <a:pt x="2608" y="411"/>
                  </a:cubicBezTo>
                  <a:cubicBezTo>
                    <a:pt x="2222" y="411"/>
                    <a:pt x="1843" y="368"/>
                    <a:pt x="1464" y="347"/>
                  </a:cubicBezTo>
                  <a:cubicBezTo>
                    <a:pt x="1156" y="326"/>
                    <a:pt x="841" y="333"/>
                    <a:pt x="559" y="468"/>
                  </a:cubicBezTo>
                  <a:cubicBezTo>
                    <a:pt x="308" y="588"/>
                    <a:pt x="122" y="773"/>
                    <a:pt x="0" y="1014"/>
                  </a:cubicBezTo>
                  <a:cubicBezTo>
                    <a:pt x="12" y="1000"/>
                    <a:pt x="19" y="985"/>
                    <a:pt x="38" y="971"/>
                  </a:cubicBezTo>
                  <a:cubicBezTo>
                    <a:pt x="141" y="858"/>
                    <a:pt x="282" y="787"/>
                    <a:pt x="430" y="787"/>
                  </a:cubicBezTo>
                  <a:cubicBezTo>
                    <a:pt x="726" y="787"/>
                    <a:pt x="957" y="922"/>
                    <a:pt x="1201" y="1141"/>
                  </a:cubicBezTo>
                  <a:cubicBezTo>
                    <a:pt x="1497" y="1411"/>
                    <a:pt x="1818" y="1694"/>
                    <a:pt x="2235" y="1631"/>
                  </a:cubicBezTo>
                  <a:cubicBezTo>
                    <a:pt x="2679" y="1560"/>
                    <a:pt x="3032" y="1219"/>
                    <a:pt x="3180" y="780"/>
                  </a:cubicBezTo>
                  <a:cubicBezTo>
                    <a:pt x="3289" y="489"/>
                    <a:pt x="3250" y="283"/>
                    <a:pt x="325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495">
              <a:extLst>
                <a:ext uri="{FF2B5EF4-FFF2-40B4-BE49-F238E27FC236}">
                  <a16:creationId xmlns:a16="http://schemas.microsoft.com/office/drawing/2014/main" id="{A1A272E9-3F1D-4409-B858-A311BC59A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81686" y="3429000"/>
              <a:ext cx="715834" cy="2212733"/>
            </a:xfrm>
            <a:custGeom>
              <a:avLst/>
              <a:gdLst>
                <a:gd name="T0" fmla="*/ 1838 w 1838"/>
                <a:gd name="T1" fmla="*/ 0 h 5659"/>
                <a:gd name="T2" fmla="*/ 1221 w 1838"/>
                <a:gd name="T3" fmla="*/ 1645 h 5659"/>
                <a:gd name="T4" fmla="*/ 1201 w 1838"/>
                <a:gd name="T5" fmla="*/ 2829 h 5659"/>
                <a:gd name="T6" fmla="*/ 1221 w 1838"/>
                <a:gd name="T7" fmla="*/ 3985 h 5659"/>
                <a:gd name="T8" fmla="*/ 1831 w 1838"/>
                <a:gd name="T9" fmla="*/ 5659 h 5659"/>
                <a:gd name="T10" fmla="*/ 0 w 1838"/>
                <a:gd name="T11" fmla="*/ 2829 h 5659"/>
                <a:gd name="T12" fmla="*/ 1838 w 1838"/>
                <a:gd name="T13" fmla="*/ 0 h 5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8" h="5659">
                  <a:moveTo>
                    <a:pt x="1838" y="0"/>
                  </a:moveTo>
                  <a:cubicBezTo>
                    <a:pt x="1703" y="121"/>
                    <a:pt x="1253" y="326"/>
                    <a:pt x="1221" y="1645"/>
                  </a:cubicBezTo>
                  <a:cubicBezTo>
                    <a:pt x="1221" y="1645"/>
                    <a:pt x="1201" y="2283"/>
                    <a:pt x="1201" y="2829"/>
                  </a:cubicBezTo>
                  <a:cubicBezTo>
                    <a:pt x="1201" y="3390"/>
                    <a:pt x="1221" y="3985"/>
                    <a:pt x="1221" y="3985"/>
                  </a:cubicBezTo>
                  <a:cubicBezTo>
                    <a:pt x="1259" y="5339"/>
                    <a:pt x="1658" y="5510"/>
                    <a:pt x="1831" y="5659"/>
                  </a:cubicBezTo>
                  <a:cubicBezTo>
                    <a:pt x="1433" y="5659"/>
                    <a:pt x="0" y="5269"/>
                    <a:pt x="0" y="2829"/>
                  </a:cubicBezTo>
                  <a:cubicBezTo>
                    <a:pt x="0" y="348"/>
                    <a:pt x="1433" y="0"/>
                    <a:pt x="183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58CBC56C-39D9-4CCD-927C-1C413FCA287F}"/>
                </a:ext>
              </a:extLst>
            </p:cNvPr>
            <p:cNvSpPr/>
            <p:nvPr userDrawn="1"/>
          </p:nvSpPr>
          <p:spPr>
            <a:xfrm>
              <a:off x="11855450" y="3429001"/>
              <a:ext cx="336550" cy="2212733"/>
            </a:xfrm>
            <a:custGeom>
              <a:avLst/>
              <a:gdLst>
                <a:gd name="connsiteX0" fmla="*/ 0 w 336550"/>
                <a:gd name="connsiteY0" fmla="*/ 0 h 2212733"/>
                <a:gd name="connsiteX1" fmla="*/ 296520 w 336550"/>
                <a:gd name="connsiteY1" fmla="*/ 94212 h 2212733"/>
                <a:gd name="connsiteX2" fmla="*/ 336550 w 336550"/>
                <a:gd name="connsiteY2" fmla="*/ 122018 h 2212733"/>
                <a:gd name="connsiteX3" fmla="*/ 336550 w 336550"/>
                <a:gd name="connsiteY3" fmla="*/ 2086108 h 2212733"/>
                <a:gd name="connsiteX4" fmla="*/ 297187 w 336550"/>
                <a:gd name="connsiteY4" fmla="*/ 2114171 h 2212733"/>
                <a:gd name="connsiteX5" fmla="*/ 2733 w 336550"/>
                <a:gd name="connsiteY5" fmla="*/ 2212733 h 2212733"/>
                <a:gd name="connsiteX6" fmla="*/ 238533 w 336550"/>
                <a:gd name="connsiteY6" fmla="*/ 1558180 h 2212733"/>
                <a:gd name="connsiteX7" fmla="*/ 248293 w 336550"/>
                <a:gd name="connsiteY7" fmla="*/ 1106171 h 2212733"/>
                <a:gd name="connsiteX8" fmla="*/ 238533 w 336550"/>
                <a:gd name="connsiteY8" fmla="*/ 643214 h 2212733"/>
                <a:gd name="connsiteX9" fmla="*/ 0 w 336550"/>
                <a:gd name="connsiteY9" fmla="*/ 0 h 2212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6550" h="2212733">
                  <a:moveTo>
                    <a:pt x="0" y="0"/>
                  </a:moveTo>
                  <a:cubicBezTo>
                    <a:pt x="59292" y="0"/>
                    <a:pt x="175020" y="19135"/>
                    <a:pt x="296520" y="94212"/>
                  </a:cubicBezTo>
                  <a:lnTo>
                    <a:pt x="336550" y="122018"/>
                  </a:lnTo>
                  <a:lnTo>
                    <a:pt x="336550" y="2086108"/>
                  </a:lnTo>
                  <a:lnTo>
                    <a:pt x="297187" y="2114171"/>
                  </a:lnTo>
                  <a:cubicBezTo>
                    <a:pt x="176088" y="2191289"/>
                    <a:pt x="61000" y="2212733"/>
                    <a:pt x="2733" y="2212733"/>
                  </a:cubicBezTo>
                  <a:cubicBezTo>
                    <a:pt x="70271" y="2154472"/>
                    <a:pt x="225650" y="2087610"/>
                    <a:pt x="238533" y="1558180"/>
                  </a:cubicBezTo>
                  <a:cubicBezTo>
                    <a:pt x="238533" y="1558180"/>
                    <a:pt x="248293" y="1325529"/>
                    <a:pt x="248293" y="1106171"/>
                  </a:cubicBezTo>
                  <a:cubicBezTo>
                    <a:pt x="248293" y="892679"/>
                    <a:pt x="238533" y="643214"/>
                    <a:pt x="238533" y="643214"/>
                  </a:cubicBezTo>
                  <a:cubicBezTo>
                    <a:pt x="228382" y="127470"/>
                    <a:pt x="52704" y="47312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0ADDCB5-9E57-4079-95A0-51646C9B1A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6743" y="3200400"/>
            <a:ext cx="5443979" cy="1447800"/>
          </a:xfrm>
        </p:spPr>
        <p:txBody>
          <a:bodyPr vert="horz" lIns="0" tIns="0" anchor="b"/>
          <a:lstStyle>
            <a:lvl1pPr algn="l">
              <a:defRPr sz="3200" b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5A4E60-A558-41FB-B0E4-8A59FFFE9B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5901" y="4876800"/>
            <a:ext cx="5443979" cy="14478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2F102A1-4C48-4467-BBDD-8EA8E4B3FF08}"/>
              </a:ext>
            </a:extLst>
          </p:cNvPr>
          <p:cNvGrpSpPr/>
          <p:nvPr userDrawn="1"/>
        </p:nvGrpSpPr>
        <p:grpSpPr>
          <a:xfrm>
            <a:off x="8142288" y="187504"/>
            <a:ext cx="1763712" cy="879296"/>
            <a:chOff x="623888" y="300038"/>
            <a:chExt cx="2735263" cy="1363663"/>
          </a:xfrm>
          <a:solidFill>
            <a:schemeClr val="bg1"/>
          </a:solidFill>
        </p:grpSpPr>
        <p:sp>
          <p:nvSpPr>
            <p:cNvPr id="38" name="Freeform 5">
              <a:extLst>
                <a:ext uri="{FF2B5EF4-FFF2-40B4-BE49-F238E27FC236}">
                  <a16:creationId xmlns:a16="http://schemas.microsoft.com/office/drawing/2014/main" id="{E607A605-BAC0-4FBC-AF00-CF319B9FBDC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43163" y="1054100"/>
              <a:ext cx="314325" cy="311150"/>
            </a:xfrm>
            <a:custGeom>
              <a:avLst/>
              <a:gdLst>
                <a:gd name="T0" fmla="*/ 864 w 870"/>
                <a:gd name="T1" fmla="*/ 406 h 856"/>
                <a:gd name="T2" fmla="*/ 435 w 870"/>
                <a:gd name="T3" fmla="*/ 0 h 856"/>
                <a:gd name="T4" fmla="*/ 0 w 870"/>
                <a:gd name="T5" fmla="*/ 430 h 856"/>
                <a:gd name="T6" fmla="*/ 432 w 870"/>
                <a:gd name="T7" fmla="*/ 856 h 856"/>
                <a:gd name="T8" fmla="*/ 735 w 870"/>
                <a:gd name="T9" fmla="*/ 744 h 856"/>
                <a:gd name="T10" fmla="*/ 864 w 870"/>
                <a:gd name="T11" fmla="*/ 406 h 856"/>
                <a:gd name="T12" fmla="*/ 665 w 870"/>
                <a:gd name="T13" fmla="*/ 684 h 856"/>
                <a:gd name="T14" fmla="*/ 434 w 870"/>
                <a:gd name="T15" fmla="*/ 808 h 856"/>
                <a:gd name="T16" fmla="*/ 148 w 870"/>
                <a:gd name="T17" fmla="*/ 553 h 856"/>
                <a:gd name="T18" fmla="*/ 136 w 870"/>
                <a:gd name="T19" fmla="*/ 422 h 856"/>
                <a:gd name="T20" fmla="*/ 304 w 870"/>
                <a:gd name="T21" fmla="*/ 77 h 856"/>
                <a:gd name="T22" fmla="*/ 431 w 870"/>
                <a:gd name="T23" fmla="*/ 48 h 856"/>
                <a:gd name="T24" fmla="*/ 655 w 870"/>
                <a:gd name="T25" fmla="*/ 159 h 856"/>
                <a:gd name="T26" fmla="*/ 727 w 870"/>
                <a:gd name="T27" fmla="*/ 412 h 856"/>
                <a:gd name="T28" fmla="*/ 665 w 870"/>
                <a:gd name="T29" fmla="*/ 684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70" h="856">
                  <a:moveTo>
                    <a:pt x="864" y="406"/>
                  </a:moveTo>
                  <a:cubicBezTo>
                    <a:pt x="854" y="204"/>
                    <a:pt x="717" y="0"/>
                    <a:pt x="435" y="0"/>
                  </a:cubicBezTo>
                  <a:cubicBezTo>
                    <a:pt x="175" y="0"/>
                    <a:pt x="0" y="173"/>
                    <a:pt x="0" y="430"/>
                  </a:cubicBezTo>
                  <a:cubicBezTo>
                    <a:pt x="0" y="724"/>
                    <a:pt x="217" y="856"/>
                    <a:pt x="432" y="856"/>
                  </a:cubicBezTo>
                  <a:cubicBezTo>
                    <a:pt x="552" y="856"/>
                    <a:pt x="657" y="817"/>
                    <a:pt x="735" y="744"/>
                  </a:cubicBezTo>
                  <a:cubicBezTo>
                    <a:pt x="825" y="661"/>
                    <a:pt x="870" y="541"/>
                    <a:pt x="864" y="406"/>
                  </a:cubicBezTo>
                  <a:close/>
                  <a:moveTo>
                    <a:pt x="665" y="684"/>
                  </a:moveTo>
                  <a:cubicBezTo>
                    <a:pt x="590" y="796"/>
                    <a:pt x="478" y="808"/>
                    <a:pt x="434" y="808"/>
                  </a:cubicBezTo>
                  <a:cubicBezTo>
                    <a:pt x="395" y="808"/>
                    <a:pt x="199" y="796"/>
                    <a:pt x="148" y="553"/>
                  </a:cubicBezTo>
                  <a:cubicBezTo>
                    <a:pt x="140" y="514"/>
                    <a:pt x="136" y="471"/>
                    <a:pt x="136" y="422"/>
                  </a:cubicBezTo>
                  <a:cubicBezTo>
                    <a:pt x="136" y="249"/>
                    <a:pt x="193" y="133"/>
                    <a:pt x="304" y="77"/>
                  </a:cubicBezTo>
                  <a:cubicBezTo>
                    <a:pt x="341" y="58"/>
                    <a:pt x="386" y="48"/>
                    <a:pt x="431" y="48"/>
                  </a:cubicBezTo>
                  <a:cubicBezTo>
                    <a:pt x="546" y="48"/>
                    <a:pt x="617" y="109"/>
                    <a:pt x="655" y="159"/>
                  </a:cubicBezTo>
                  <a:cubicBezTo>
                    <a:pt x="717" y="243"/>
                    <a:pt x="726" y="344"/>
                    <a:pt x="727" y="412"/>
                  </a:cubicBezTo>
                  <a:cubicBezTo>
                    <a:pt x="729" y="526"/>
                    <a:pt x="708" y="617"/>
                    <a:pt x="665" y="6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44035BF7-DE34-4603-AD5A-B841CD04C8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5313" y="1057275"/>
              <a:ext cx="223838" cy="303213"/>
            </a:xfrm>
            <a:custGeom>
              <a:avLst/>
              <a:gdLst>
                <a:gd name="T0" fmla="*/ 0 w 619"/>
                <a:gd name="T1" fmla="*/ 839 h 839"/>
                <a:gd name="T2" fmla="*/ 0 w 619"/>
                <a:gd name="T3" fmla="*/ 0 h 839"/>
                <a:gd name="T4" fmla="*/ 239 w 619"/>
                <a:gd name="T5" fmla="*/ 0 h 839"/>
                <a:gd name="T6" fmla="*/ 619 w 619"/>
                <a:gd name="T7" fmla="*/ 230 h 839"/>
                <a:gd name="T8" fmla="*/ 243 w 619"/>
                <a:gd name="T9" fmla="*/ 461 h 839"/>
                <a:gd name="T10" fmla="*/ 122 w 619"/>
                <a:gd name="T11" fmla="*/ 461 h 839"/>
                <a:gd name="T12" fmla="*/ 122 w 619"/>
                <a:gd name="T13" fmla="*/ 839 h 839"/>
                <a:gd name="T14" fmla="*/ 0 w 619"/>
                <a:gd name="T15" fmla="*/ 839 h 839"/>
                <a:gd name="T16" fmla="*/ 227 w 619"/>
                <a:gd name="T17" fmla="*/ 40 h 839"/>
                <a:gd name="T18" fmla="*/ 122 w 619"/>
                <a:gd name="T19" fmla="*/ 49 h 839"/>
                <a:gd name="T20" fmla="*/ 122 w 619"/>
                <a:gd name="T21" fmla="*/ 412 h 839"/>
                <a:gd name="T22" fmla="*/ 218 w 619"/>
                <a:gd name="T23" fmla="*/ 412 h 839"/>
                <a:gd name="T24" fmla="*/ 487 w 619"/>
                <a:gd name="T25" fmla="*/ 231 h 839"/>
                <a:gd name="T26" fmla="*/ 227 w 619"/>
                <a:gd name="T27" fmla="*/ 40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9" h="839">
                  <a:moveTo>
                    <a:pt x="0" y="839"/>
                  </a:moveTo>
                  <a:lnTo>
                    <a:pt x="0" y="0"/>
                  </a:lnTo>
                  <a:lnTo>
                    <a:pt x="239" y="0"/>
                  </a:lnTo>
                  <a:cubicBezTo>
                    <a:pt x="494" y="0"/>
                    <a:pt x="619" y="76"/>
                    <a:pt x="619" y="230"/>
                  </a:cubicBezTo>
                  <a:cubicBezTo>
                    <a:pt x="619" y="446"/>
                    <a:pt x="356" y="461"/>
                    <a:pt x="243" y="461"/>
                  </a:cubicBezTo>
                  <a:lnTo>
                    <a:pt x="122" y="461"/>
                  </a:lnTo>
                  <a:lnTo>
                    <a:pt x="122" y="839"/>
                  </a:lnTo>
                  <a:lnTo>
                    <a:pt x="0" y="839"/>
                  </a:lnTo>
                  <a:close/>
                  <a:moveTo>
                    <a:pt x="227" y="40"/>
                  </a:moveTo>
                  <a:cubicBezTo>
                    <a:pt x="165" y="40"/>
                    <a:pt x="122" y="49"/>
                    <a:pt x="122" y="49"/>
                  </a:cubicBezTo>
                  <a:lnTo>
                    <a:pt x="122" y="412"/>
                  </a:lnTo>
                  <a:lnTo>
                    <a:pt x="218" y="412"/>
                  </a:lnTo>
                  <a:cubicBezTo>
                    <a:pt x="397" y="412"/>
                    <a:pt x="487" y="368"/>
                    <a:pt x="487" y="231"/>
                  </a:cubicBezTo>
                  <a:cubicBezTo>
                    <a:pt x="487" y="140"/>
                    <a:pt x="442" y="40"/>
                    <a:pt x="227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67D66323-61F3-4677-8876-8EB16F8F9C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27338" y="1057275"/>
              <a:ext cx="228600" cy="307975"/>
            </a:xfrm>
            <a:custGeom>
              <a:avLst/>
              <a:gdLst>
                <a:gd name="T0" fmla="*/ 336 w 631"/>
                <a:gd name="T1" fmla="*/ 848 h 848"/>
                <a:gd name="T2" fmla="*/ 29 w 631"/>
                <a:gd name="T3" fmla="*/ 729 h 848"/>
                <a:gd name="T4" fmla="*/ 0 w 631"/>
                <a:gd name="T5" fmla="*/ 593 h 848"/>
                <a:gd name="T6" fmla="*/ 0 w 631"/>
                <a:gd name="T7" fmla="*/ 0 h 848"/>
                <a:gd name="T8" fmla="*/ 122 w 631"/>
                <a:gd name="T9" fmla="*/ 0 h 848"/>
                <a:gd name="T10" fmla="*/ 122 w 631"/>
                <a:gd name="T11" fmla="*/ 588 h 848"/>
                <a:gd name="T12" fmla="*/ 336 w 631"/>
                <a:gd name="T13" fmla="*/ 800 h 848"/>
                <a:gd name="T14" fmla="*/ 545 w 631"/>
                <a:gd name="T15" fmla="*/ 601 h 848"/>
                <a:gd name="T16" fmla="*/ 545 w 631"/>
                <a:gd name="T17" fmla="*/ 0 h 848"/>
                <a:gd name="T18" fmla="*/ 631 w 631"/>
                <a:gd name="T19" fmla="*/ 0 h 848"/>
                <a:gd name="T20" fmla="*/ 631 w 631"/>
                <a:gd name="T21" fmla="*/ 609 h 848"/>
                <a:gd name="T22" fmla="*/ 604 w 631"/>
                <a:gd name="T23" fmla="*/ 726 h 848"/>
                <a:gd name="T24" fmla="*/ 336 w 631"/>
                <a:gd name="T25" fmla="*/ 848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1" h="848">
                  <a:moveTo>
                    <a:pt x="336" y="848"/>
                  </a:moveTo>
                  <a:cubicBezTo>
                    <a:pt x="236" y="848"/>
                    <a:pt x="88" y="835"/>
                    <a:pt x="29" y="729"/>
                  </a:cubicBezTo>
                  <a:cubicBezTo>
                    <a:pt x="11" y="697"/>
                    <a:pt x="0" y="651"/>
                    <a:pt x="0" y="593"/>
                  </a:cubicBezTo>
                  <a:lnTo>
                    <a:pt x="0" y="0"/>
                  </a:lnTo>
                  <a:lnTo>
                    <a:pt x="122" y="0"/>
                  </a:lnTo>
                  <a:lnTo>
                    <a:pt x="122" y="588"/>
                  </a:lnTo>
                  <a:cubicBezTo>
                    <a:pt x="123" y="641"/>
                    <a:pt x="128" y="800"/>
                    <a:pt x="336" y="800"/>
                  </a:cubicBezTo>
                  <a:cubicBezTo>
                    <a:pt x="399" y="800"/>
                    <a:pt x="545" y="780"/>
                    <a:pt x="545" y="601"/>
                  </a:cubicBezTo>
                  <a:lnTo>
                    <a:pt x="545" y="0"/>
                  </a:lnTo>
                  <a:lnTo>
                    <a:pt x="631" y="0"/>
                  </a:lnTo>
                  <a:lnTo>
                    <a:pt x="631" y="609"/>
                  </a:lnTo>
                  <a:cubicBezTo>
                    <a:pt x="629" y="645"/>
                    <a:pt x="628" y="686"/>
                    <a:pt x="604" y="726"/>
                  </a:cubicBezTo>
                  <a:cubicBezTo>
                    <a:pt x="579" y="771"/>
                    <a:pt x="529" y="848"/>
                    <a:pt x="336" y="8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964A0A84-6F4C-4F16-A8E5-3F8D11E48F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3400" y="1054100"/>
              <a:ext cx="277813" cy="311150"/>
            </a:xfrm>
            <a:custGeom>
              <a:avLst/>
              <a:gdLst>
                <a:gd name="T0" fmla="*/ 457 w 767"/>
                <a:gd name="T1" fmla="*/ 856 h 856"/>
                <a:gd name="T2" fmla="*/ 0 w 767"/>
                <a:gd name="T3" fmla="*/ 428 h 856"/>
                <a:gd name="T4" fmla="*/ 443 w 767"/>
                <a:gd name="T5" fmla="*/ 0 h 856"/>
                <a:gd name="T6" fmla="*/ 767 w 767"/>
                <a:gd name="T7" fmla="*/ 156 h 856"/>
                <a:gd name="T8" fmla="*/ 717 w 767"/>
                <a:gd name="T9" fmla="*/ 208 h 856"/>
                <a:gd name="T10" fmla="*/ 651 w 767"/>
                <a:gd name="T11" fmla="*/ 163 h 856"/>
                <a:gd name="T12" fmla="*/ 441 w 767"/>
                <a:gd name="T13" fmla="*/ 48 h 856"/>
                <a:gd name="T14" fmla="*/ 142 w 767"/>
                <a:gd name="T15" fmla="*/ 407 h 856"/>
                <a:gd name="T16" fmla="*/ 471 w 767"/>
                <a:gd name="T17" fmla="*/ 808 h 856"/>
                <a:gd name="T18" fmla="*/ 600 w 767"/>
                <a:gd name="T19" fmla="*/ 779 h 856"/>
                <a:gd name="T20" fmla="*/ 650 w 767"/>
                <a:gd name="T21" fmla="*/ 668 h 856"/>
                <a:gd name="T22" fmla="*/ 650 w 767"/>
                <a:gd name="T23" fmla="*/ 469 h 856"/>
                <a:gd name="T24" fmla="*/ 543 w 767"/>
                <a:gd name="T25" fmla="*/ 469 h 856"/>
                <a:gd name="T26" fmla="*/ 585 w 767"/>
                <a:gd name="T27" fmla="*/ 420 h 856"/>
                <a:gd name="T28" fmla="*/ 766 w 767"/>
                <a:gd name="T29" fmla="*/ 420 h 856"/>
                <a:gd name="T30" fmla="*/ 766 w 767"/>
                <a:gd name="T31" fmla="*/ 746 h 856"/>
                <a:gd name="T32" fmla="*/ 721 w 767"/>
                <a:gd name="T33" fmla="*/ 788 h 856"/>
                <a:gd name="T34" fmla="*/ 457 w 767"/>
                <a:gd name="T35" fmla="*/ 856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67" h="856">
                  <a:moveTo>
                    <a:pt x="457" y="856"/>
                  </a:moveTo>
                  <a:cubicBezTo>
                    <a:pt x="33" y="856"/>
                    <a:pt x="0" y="529"/>
                    <a:pt x="0" y="428"/>
                  </a:cubicBezTo>
                  <a:cubicBezTo>
                    <a:pt x="0" y="172"/>
                    <a:pt x="178" y="0"/>
                    <a:pt x="443" y="0"/>
                  </a:cubicBezTo>
                  <a:cubicBezTo>
                    <a:pt x="671" y="0"/>
                    <a:pt x="767" y="112"/>
                    <a:pt x="767" y="156"/>
                  </a:cubicBezTo>
                  <a:cubicBezTo>
                    <a:pt x="767" y="182"/>
                    <a:pt x="741" y="208"/>
                    <a:pt x="717" y="208"/>
                  </a:cubicBezTo>
                  <a:cubicBezTo>
                    <a:pt x="686" y="208"/>
                    <a:pt x="673" y="193"/>
                    <a:pt x="651" y="163"/>
                  </a:cubicBezTo>
                  <a:cubicBezTo>
                    <a:pt x="619" y="120"/>
                    <a:pt x="565" y="48"/>
                    <a:pt x="441" y="48"/>
                  </a:cubicBezTo>
                  <a:cubicBezTo>
                    <a:pt x="259" y="48"/>
                    <a:pt x="142" y="182"/>
                    <a:pt x="142" y="407"/>
                  </a:cubicBezTo>
                  <a:cubicBezTo>
                    <a:pt x="142" y="654"/>
                    <a:pt x="268" y="808"/>
                    <a:pt x="471" y="808"/>
                  </a:cubicBezTo>
                  <a:cubicBezTo>
                    <a:pt x="521" y="808"/>
                    <a:pt x="569" y="797"/>
                    <a:pt x="600" y="779"/>
                  </a:cubicBezTo>
                  <a:cubicBezTo>
                    <a:pt x="650" y="748"/>
                    <a:pt x="650" y="706"/>
                    <a:pt x="650" y="668"/>
                  </a:cubicBezTo>
                  <a:lnTo>
                    <a:pt x="650" y="469"/>
                  </a:lnTo>
                  <a:lnTo>
                    <a:pt x="543" y="469"/>
                  </a:lnTo>
                  <a:lnTo>
                    <a:pt x="585" y="420"/>
                  </a:lnTo>
                  <a:lnTo>
                    <a:pt x="766" y="420"/>
                  </a:lnTo>
                  <a:lnTo>
                    <a:pt x="766" y="746"/>
                  </a:lnTo>
                  <a:cubicBezTo>
                    <a:pt x="756" y="759"/>
                    <a:pt x="741" y="773"/>
                    <a:pt x="721" y="788"/>
                  </a:cubicBezTo>
                  <a:cubicBezTo>
                    <a:pt x="682" y="817"/>
                    <a:pt x="613" y="856"/>
                    <a:pt x="457" y="8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0916FB8C-87E1-439E-B3DA-4AFDE32C14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68525" y="1057275"/>
              <a:ext cx="233363" cy="303213"/>
            </a:xfrm>
            <a:custGeom>
              <a:avLst/>
              <a:gdLst>
                <a:gd name="T0" fmla="*/ 646 w 646"/>
                <a:gd name="T1" fmla="*/ 839 h 839"/>
                <a:gd name="T2" fmla="*/ 358 w 646"/>
                <a:gd name="T3" fmla="*/ 451 h 839"/>
                <a:gd name="T4" fmla="*/ 410 w 646"/>
                <a:gd name="T5" fmla="*/ 440 h 839"/>
                <a:gd name="T6" fmla="*/ 601 w 646"/>
                <a:gd name="T7" fmla="*/ 230 h 839"/>
                <a:gd name="T8" fmla="*/ 514 w 646"/>
                <a:gd name="T9" fmla="*/ 58 h 839"/>
                <a:gd name="T10" fmla="*/ 231 w 646"/>
                <a:gd name="T11" fmla="*/ 0 h 839"/>
                <a:gd name="T12" fmla="*/ 0 w 646"/>
                <a:gd name="T13" fmla="*/ 0 h 839"/>
                <a:gd name="T14" fmla="*/ 0 w 646"/>
                <a:gd name="T15" fmla="*/ 839 h 839"/>
                <a:gd name="T16" fmla="*/ 121 w 646"/>
                <a:gd name="T17" fmla="*/ 839 h 839"/>
                <a:gd name="T18" fmla="*/ 121 w 646"/>
                <a:gd name="T19" fmla="*/ 527 h 839"/>
                <a:gd name="T20" fmla="*/ 196 w 646"/>
                <a:gd name="T21" fmla="*/ 461 h 839"/>
                <a:gd name="T22" fmla="*/ 279 w 646"/>
                <a:gd name="T23" fmla="*/ 508 h 839"/>
                <a:gd name="T24" fmla="*/ 513 w 646"/>
                <a:gd name="T25" fmla="*/ 839 h 839"/>
                <a:gd name="T26" fmla="*/ 646 w 646"/>
                <a:gd name="T27" fmla="*/ 839 h 839"/>
                <a:gd name="T28" fmla="*/ 258 w 646"/>
                <a:gd name="T29" fmla="*/ 410 h 839"/>
                <a:gd name="T30" fmla="*/ 210 w 646"/>
                <a:gd name="T31" fmla="*/ 412 h 839"/>
                <a:gd name="T32" fmla="*/ 121 w 646"/>
                <a:gd name="T33" fmla="*/ 412 h 839"/>
                <a:gd name="T34" fmla="*/ 121 w 646"/>
                <a:gd name="T35" fmla="*/ 49 h 839"/>
                <a:gd name="T36" fmla="*/ 224 w 646"/>
                <a:gd name="T37" fmla="*/ 40 h 839"/>
                <a:gd name="T38" fmla="*/ 469 w 646"/>
                <a:gd name="T39" fmla="*/ 234 h 839"/>
                <a:gd name="T40" fmla="*/ 258 w 646"/>
                <a:gd name="T41" fmla="*/ 410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6" h="839">
                  <a:moveTo>
                    <a:pt x="646" y="839"/>
                  </a:moveTo>
                  <a:lnTo>
                    <a:pt x="358" y="451"/>
                  </a:lnTo>
                  <a:cubicBezTo>
                    <a:pt x="358" y="451"/>
                    <a:pt x="398" y="443"/>
                    <a:pt x="410" y="440"/>
                  </a:cubicBezTo>
                  <a:cubicBezTo>
                    <a:pt x="458" y="427"/>
                    <a:pt x="601" y="390"/>
                    <a:pt x="601" y="230"/>
                  </a:cubicBezTo>
                  <a:cubicBezTo>
                    <a:pt x="601" y="153"/>
                    <a:pt x="566" y="94"/>
                    <a:pt x="514" y="58"/>
                  </a:cubicBezTo>
                  <a:cubicBezTo>
                    <a:pt x="440" y="8"/>
                    <a:pt x="330" y="0"/>
                    <a:pt x="231" y="0"/>
                  </a:cubicBezTo>
                  <a:lnTo>
                    <a:pt x="0" y="0"/>
                  </a:lnTo>
                  <a:lnTo>
                    <a:pt x="0" y="839"/>
                  </a:lnTo>
                  <a:lnTo>
                    <a:pt x="121" y="839"/>
                  </a:lnTo>
                  <a:lnTo>
                    <a:pt x="121" y="527"/>
                  </a:lnTo>
                  <a:cubicBezTo>
                    <a:pt x="121" y="474"/>
                    <a:pt x="153" y="461"/>
                    <a:pt x="196" y="461"/>
                  </a:cubicBezTo>
                  <a:cubicBezTo>
                    <a:pt x="220" y="461"/>
                    <a:pt x="254" y="469"/>
                    <a:pt x="279" y="508"/>
                  </a:cubicBezTo>
                  <a:lnTo>
                    <a:pt x="513" y="839"/>
                  </a:lnTo>
                  <a:lnTo>
                    <a:pt x="646" y="839"/>
                  </a:lnTo>
                  <a:close/>
                  <a:moveTo>
                    <a:pt x="258" y="410"/>
                  </a:moveTo>
                  <a:cubicBezTo>
                    <a:pt x="242" y="412"/>
                    <a:pt x="229" y="412"/>
                    <a:pt x="210" y="412"/>
                  </a:cubicBezTo>
                  <a:lnTo>
                    <a:pt x="121" y="412"/>
                  </a:lnTo>
                  <a:lnTo>
                    <a:pt x="121" y="49"/>
                  </a:lnTo>
                  <a:cubicBezTo>
                    <a:pt x="121" y="49"/>
                    <a:pt x="163" y="40"/>
                    <a:pt x="224" y="40"/>
                  </a:cubicBezTo>
                  <a:cubicBezTo>
                    <a:pt x="387" y="40"/>
                    <a:pt x="469" y="110"/>
                    <a:pt x="469" y="234"/>
                  </a:cubicBezTo>
                  <a:cubicBezTo>
                    <a:pt x="469" y="359"/>
                    <a:pt x="390" y="397"/>
                    <a:pt x="258" y="4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77042686-ADCA-4631-B5A2-2A7F231BB3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388" y="300038"/>
              <a:ext cx="1247775" cy="538163"/>
            </a:xfrm>
            <a:custGeom>
              <a:avLst/>
              <a:gdLst>
                <a:gd name="T0" fmla="*/ 3369 w 3451"/>
                <a:gd name="T1" fmla="*/ 1140 h 1483"/>
                <a:gd name="T2" fmla="*/ 3309 w 3451"/>
                <a:gd name="T3" fmla="*/ 1133 h 1483"/>
                <a:gd name="T4" fmla="*/ 3226 w 3451"/>
                <a:gd name="T5" fmla="*/ 1142 h 1483"/>
                <a:gd name="T6" fmla="*/ 3249 w 3451"/>
                <a:gd name="T7" fmla="*/ 1310 h 1483"/>
                <a:gd name="T8" fmla="*/ 2720 w 3451"/>
                <a:gd name="T9" fmla="*/ 1296 h 1483"/>
                <a:gd name="T10" fmla="*/ 1915 w 3451"/>
                <a:gd name="T11" fmla="*/ 339 h 1483"/>
                <a:gd name="T12" fmla="*/ 920 w 3451"/>
                <a:gd name="T13" fmla="*/ 132 h 1483"/>
                <a:gd name="T14" fmla="*/ 629 w 3451"/>
                <a:gd name="T15" fmla="*/ 1140 h 1483"/>
                <a:gd name="T16" fmla="*/ 477 w 3451"/>
                <a:gd name="T17" fmla="*/ 602 h 1483"/>
                <a:gd name="T18" fmla="*/ 432 w 3451"/>
                <a:gd name="T19" fmla="*/ 614 h 1483"/>
                <a:gd name="T20" fmla="*/ 1 w 3451"/>
                <a:gd name="T21" fmla="*/ 502 h 1483"/>
                <a:gd name="T22" fmla="*/ 1 w 3451"/>
                <a:gd name="T23" fmla="*/ 508 h 1483"/>
                <a:gd name="T24" fmla="*/ 318 w 3451"/>
                <a:gd name="T25" fmla="*/ 709 h 1483"/>
                <a:gd name="T26" fmla="*/ 783 w 3451"/>
                <a:gd name="T27" fmla="*/ 1225 h 1483"/>
                <a:gd name="T28" fmla="*/ 721 w 3451"/>
                <a:gd name="T29" fmla="*/ 716 h 1483"/>
                <a:gd name="T30" fmla="*/ 1302 w 3451"/>
                <a:gd name="T31" fmla="*/ 155 h 1483"/>
                <a:gd name="T32" fmla="*/ 2060 w 3451"/>
                <a:gd name="T33" fmla="*/ 739 h 1483"/>
                <a:gd name="T34" fmla="*/ 2831 w 3451"/>
                <a:gd name="T35" fmla="*/ 1417 h 1483"/>
                <a:gd name="T36" fmla="*/ 3332 w 3451"/>
                <a:gd name="T37" fmla="*/ 1403 h 1483"/>
                <a:gd name="T38" fmla="*/ 3369 w 3451"/>
                <a:gd name="T39" fmla="*/ 1140 h 1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51" h="1483">
                  <a:moveTo>
                    <a:pt x="3369" y="1140"/>
                  </a:moveTo>
                  <a:cubicBezTo>
                    <a:pt x="3355" y="1137"/>
                    <a:pt x="3325" y="1134"/>
                    <a:pt x="3309" y="1133"/>
                  </a:cubicBezTo>
                  <a:cubicBezTo>
                    <a:pt x="3280" y="1132"/>
                    <a:pt x="3252" y="1136"/>
                    <a:pt x="3226" y="1142"/>
                  </a:cubicBezTo>
                  <a:cubicBezTo>
                    <a:pt x="3279" y="1188"/>
                    <a:pt x="3277" y="1256"/>
                    <a:pt x="3249" y="1310"/>
                  </a:cubicBezTo>
                  <a:cubicBezTo>
                    <a:pt x="3166" y="1476"/>
                    <a:pt x="2841" y="1377"/>
                    <a:pt x="2720" y="1296"/>
                  </a:cubicBezTo>
                  <a:cubicBezTo>
                    <a:pt x="2348" y="1048"/>
                    <a:pt x="2126" y="577"/>
                    <a:pt x="1915" y="339"/>
                  </a:cubicBezTo>
                  <a:cubicBezTo>
                    <a:pt x="1619" y="7"/>
                    <a:pt x="1185" y="0"/>
                    <a:pt x="920" y="132"/>
                  </a:cubicBezTo>
                  <a:cubicBezTo>
                    <a:pt x="590" y="296"/>
                    <a:pt x="509" y="754"/>
                    <a:pt x="629" y="1140"/>
                  </a:cubicBezTo>
                  <a:cubicBezTo>
                    <a:pt x="469" y="1092"/>
                    <a:pt x="401" y="783"/>
                    <a:pt x="477" y="602"/>
                  </a:cubicBezTo>
                  <a:cubicBezTo>
                    <a:pt x="463" y="606"/>
                    <a:pt x="448" y="610"/>
                    <a:pt x="432" y="614"/>
                  </a:cubicBezTo>
                  <a:cubicBezTo>
                    <a:pt x="262" y="653"/>
                    <a:pt x="95" y="605"/>
                    <a:pt x="1" y="502"/>
                  </a:cubicBezTo>
                  <a:cubicBezTo>
                    <a:pt x="0" y="504"/>
                    <a:pt x="0" y="506"/>
                    <a:pt x="1" y="508"/>
                  </a:cubicBezTo>
                  <a:cubicBezTo>
                    <a:pt x="54" y="629"/>
                    <a:pt x="163" y="706"/>
                    <a:pt x="318" y="709"/>
                  </a:cubicBezTo>
                  <a:cubicBezTo>
                    <a:pt x="308" y="1119"/>
                    <a:pt x="539" y="1245"/>
                    <a:pt x="783" y="1225"/>
                  </a:cubicBezTo>
                  <a:cubicBezTo>
                    <a:pt x="716" y="1100"/>
                    <a:pt x="698" y="880"/>
                    <a:pt x="721" y="716"/>
                  </a:cubicBezTo>
                  <a:cubicBezTo>
                    <a:pt x="743" y="563"/>
                    <a:pt x="878" y="167"/>
                    <a:pt x="1302" y="155"/>
                  </a:cubicBezTo>
                  <a:cubicBezTo>
                    <a:pt x="1710" y="143"/>
                    <a:pt x="1863" y="492"/>
                    <a:pt x="2060" y="739"/>
                  </a:cubicBezTo>
                  <a:cubicBezTo>
                    <a:pt x="2230" y="952"/>
                    <a:pt x="2501" y="1307"/>
                    <a:pt x="2831" y="1417"/>
                  </a:cubicBezTo>
                  <a:cubicBezTo>
                    <a:pt x="2984" y="1468"/>
                    <a:pt x="3195" y="1483"/>
                    <a:pt x="3332" y="1403"/>
                  </a:cubicBezTo>
                  <a:cubicBezTo>
                    <a:pt x="3417" y="1354"/>
                    <a:pt x="3451" y="1217"/>
                    <a:pt x="3369" y="1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70030274-77BE-4765-B420-7015681159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1113" y="719138"/>
              <a:ext cx="493713" cy="274638"/>
            </a:xfrm>
            <a:custGeom>
              <a:avLst/>
              <a:gdLst>
                <a:gd name="T0" fmla="*/ 1257 w 1369"/>
                <a:gd name="T1" fmla="*/ 706 h 756"/>
                <a:gd name="T2" fmla="*/ 1001 w 1369"/>
                <a:gd name="T3" fmla="*/ 535 h 756"/>
                <a:gd name="T4" fmla="*/ 912 w 1369"/>
                <a:gd name="T5" fmla="*/ 292 h 756"/>
                <a:gd name="T6" fmla="*/ 915 w 1369"/>
                <a:gd name="T7" fmla="*/ 255 h 756"/>
                <a:gd name="T8" fmla="*/ 848 w 1369"/>
                <a:gd name="T9" fmla="*/ 248 h 756"/>
                <a:gd name="T10" fmla="*/ 764 w 1369"/>
                <a:gd name="T11" fmla="*/ 257 h 756"/>
                <a:gd name="T12" fmla="*/ 420 w 1369"/>
                <a:gd name="T13" fmla="*/ 354 h 756"/>
                <a:gd name="T14" fmla="*/ 134 w 1369"/>
                <a:gd name="T15" fmla="*/ 21 h 756"/>
                <a:gd name="T16" fmla="*/ 115 w 1369"/>
                <a:gd name="T17" fmla="*/ 0 h 756"/>
                <a:gd name="T18" fmla="*/ 0 w 1369"/>
                <a:gd name="T19" fmla="*/ 38 h 756"/>
                <a:gd name="T20" fmla="*/ 84 w 1369"/>
                <a:gd name="T21" fmla="*/ 169 h 756"/>
                <a:gd name="T22" fmla="*/ 380 w 1369"/>
                <a:gd name="T23" fmla="*/ 391 h 756"/>
                <a:gd name="T24" fmla="*/ 768 w 1369"/>
                <a:gd name="T25" fmla="*/ 359 h 756"/>
                <a:gd name="T26" fmla="*/ 876 w 1369"/>
                <a:gd name="T27" fmla="*/ 567 h 756"/>
                <a:gd name="T28" fmla="*/ 1158 w 1369"/>
                <a:gd name="T29" fmla="*/ 732 h 756"/>
                <a:gd name="T30" fmla="*/ 1369 w 1369"/>
                <a:gd name="T31" fmla="*/ 735 h 756"/>
                <a:gd name="T32" fmla="*/ 1257 w 1369"/>
                <a:gd name="T33" fmla="*/ 706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9" h="756">
                  <a:moveTo>
                    <a:pt x="1257" y="706"/>
                  </a:moveTo>
                  <a:cubicBezTo>
                    <a:pt x="1149" y="670"/>
                    <a:pt x="1061" y="610"/>
                    <a:pt x="1001" y="535"/>
                  </a:cubicBezTo>
                  <a:cubicBezTo>
                    <a:pt x="944" y="465"/>
                    <a:pt x="911" y="375"/>
                    <a:pt x="912" y="292"/>
                  </a:cubicBezTo>
                  <a:cubicBezTo>
                    <a:pt x="912" y="279"/>
                    <a:pt x="915" y="255"/>
                    <a:pt x="915" y="255"/>
                  </a:cubicBezTo>
                  <a:cubicBezTo>
                    <a:pt x="915" y="255"/>
                    <a:pt x="883" y="248"/>
                    <a:pt x="848" y="248"/>
                  </a:cubicBezTo>
                  <a:cubicBezTo>
                    <a:pt x="791" y="248"/>
                    <a:pt x="764" y="257"/>
                    <a:pt x="764" y="257"/>
                  </a:cubicBezTo>
                  <a:cubicBezTo>
                    <a:pt x="764" y="257"/>
                    <a:pt x="631" y="406"/>
                    <a:pt x="420" y="354"/>
                  </a:cubicBezTo>
                  <a:cubicBezTo>
                    <a:pt x="219" y="304"/>
                    <a:pt x="225" y="126"/>
                    <a:pt x="134" y="21"/>
                  </a:cubicBezTo>
                  <a:cubicBezTo>
                    <a:pt x="128" y="13"/>
                    <a:pt x="122" y="7"/>
                    <a:pt x="115" y="0"/>
                  </a:cubicBezTo>
                  <a:lnTo>
                    <a:pt x="0" y="38"/>
                  </a:lnTo>
                  <a:cubicBezTo>
                    <a:pt x="28" y="69"/>
                    <a:pt x="57" y="111"/>
                    <a:pt x="84" y="169"/>
                  </a:cubicBezTo>
                  <a:cubicBezTo>
                    <a:pt x="123" y="256"/>
                    <a:pt x="214" y="355"/>
                    <a:pt x="380" y="391"/>
                  </a:cubicBezTo>
                  <a:cubicBezTo>
                    <a:pt x="503" y="418"/>
                    <a:pt x="639" y="411"/>
                    <a:pt x="768" y="359"/>
                  </a:cubicBezTo>
                  <a:cubicBezTo>
                    <a:pt x="782" y="433"/>
                    <a:pt x="820" y="506"/>
                    <a:pt x="876" y="567"/>
                  </a:cubicBezTo>
                  <a:cubicBezTo>
                    <a:pt x="942" y="639"/>
                    <a:pt x="1048" y="699"/>
                    <a:pt x="1158" y="732"/>
                  </a:cubicBezTo>
                  <a:cubicBezTo>
                    <a:pt x="1239" y="756"/>
                    <a:pt x="1330" y="754"/>
                    <a:pt x="1369" y="735"/>
                  </a:cubicBezTo>
                  <a:cubicBezTo>
                    <a:pt x="1331" y="728"/>
                    <a:pt x="1293" y="718"/>
                    <a:pt x="1257" y="7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12">
              <a:extLst>
                <a:ext uri="{FF2B5EF4-FFF2-40B4-BE49-F238E27FC236}">
                  <a16:creationId xmlns:a16="http://schemas.microsoft.com/office/drawing/2014/main" id="{24606A0D-781C-4317-87D0-A08660731C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8538" y="531813"/>
              <a:ext cx="350838" cy="333375"/>
            </a:xfrm>
            <a:custGeom>
              <a:avLst/>
              <a:gdLst>
                <a:gd name="T0" fmla="*/ 714 w 973"/>
                <a:gd name="T1" fmla="*/ 43 h 919"/>
                <a:gd name="T2" fmla="*/ 246 w 973"/>
                <a:gd name="T3" fmla="*/ 151 h 919"/>
                <a:gd name="T4" fmla="*/ 208 w 973"/>
                <a:gd name="T5" fmla="*/ 877 h 919"/>
                <a:gd name="T6" fmla="*/ 240 w 973"/>
                <a:gd name="T7" fmla="*/ 912 h 919"/>
                <a:gd name="T8" fmla="*/ 314 w 973"/>
                <a:gd name="T9" fmla="*/ 912 h 919"/>
                <a:gd name="T10" fmla="*/ 396 w 973"/>
                <a:gd name="T11" fmla="*/ 879 h 919"/>
                <a:gd name="T12" fmla="*/ 209 w 973"/>
                <a:gd name="T13" fmla="*/ 575 h 919"/>
                <a:gd name="T14" fmla="*/ 688 w 973"/>
                <a:gd name="T15" fmla="*/ 98 h 919"/>
                <a:gd name="T16" fmla="*/ 772 w 973"/>
                <a:gd name="T17" fmla="*/ 320 h 919"/>
                <a:gd name="T18" fmla="*/ 578 w 973"/>
                <a:gd name="T19" fmla="*/ 371 h 919"/>
                <a:gd name="T20" fmla="*/ 683 w 973"/>
                <a:gd name="T21" fmla="*/ 473 h 919"/>
                <a:gd name="T22" fmla="*/ 898 w 973"/>
                <a:gd name="T23" fmla="*/ 348 h 919"/>
                <a:gd name="T24" fmla="*/ 714 w 973"/>
                <a:gd name="T25" fmla="*/ 43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3" h="919">
                  <a:moveTo>
                    <a:pt x="714" y="43"/>
                  </a:moveTo>
                  <a:cubicBezTo>
                    <a:pt x="514" y="0"/>
                    <a:pt x="346" y="70"/>
                    <a:pt x="246" y="151"/>
                  </a:cubicBezTo>
                  <a:cubicBezTo>
                    <a:pt x="0" y="348"/>
                    <a:pt x="25" y="659"/>
                    <a:pt x="208" y="877"/>
                  </a:cubicBezTo>
                  <a:cubicBezTo>
                    <a:pt x="218" y="889"/>
                    <a:pt x="240" y="912"/>
                    <a:pt x="240" y="912"/>
                  </a:cubicBezTo>
                  <a:cubicBezTo>
                    <a:pt x="240" y="912"/>
                    <a:pt x="266" y="919"/>
                    <a:pt x="314" y="912"/>
                  </a:cubicBezTo>
                  <a:cubicBezTo>
                    <a:pt x="348" y="907"/>
                    <a:pt x="396" y="879"/>
                    <a:pt x="396" y="879"/>
                  </a:cubicBezTo>
                  <a:cubicBezTo>
                    <a:pt x="396" y="879"/>
                    <a:pt x="245" y="761"/>
                    <a:pt x="209" y="575"/>
                  </a:cubicBezTo>
                  <a:cubicBezTo>
                    <a:pt x="145" y="243"/>
                    <a:pt x="437" y="52"/>
                    <a:pt x="688" y="98"/>
                  </a:cubicBezTo>
                  <a:cubicBezTo>
                    <a:pt x="831" y="124"/>
                    <a:pt x="842" y="257"/>
                    <a:pt x="772" y="320"/>
                  </a:cubicBezTo>
                  <a:cubicBezTo>
                    <a:pt x="708" y="377"/>
                    <a:pt x="622" y="376"/>
                    <a:pt x="578" y="371"/>
                  </a:cubicBezTo>
                  <a:cubicBezTo>
                    <a:pt x="616" y="392"/>
                    <a:pt x="653" y="427"/>
                    <a:pt x="683" y="473"/>
                  </a:cubicBezTo>
                  <a:cubicBezTo>
                    <a:pt x="683" y="473"/>
                    <a:pt x="819" y="458"/>
                    <a:pt x="898" y="348"/>
                  </a:cubicBezTo>
                  <a:cubicBezTo>
                    <a:pt x="973" y="245"/>
                    <a:pt x="913" y="86"/>
                    <a:pt x="71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Rectangle 13">
              <a:extLst>
                <a:ext uri="{FF2B5EF4-FFF2-40B4-BE49-F238E27FC236}">
                  <a16:creationId xmlns:a16="http://schemas.microsoft.com/office/drawing/2014/main" id="{50BAF4A5-CAA0-4507-A9D0-31204DA1CE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62025" y="1057275"/>
              <a:ext cx="60325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14">
              <a:extLst>
                <a:ext uri="{FF2B5EF4-FFF2-40B4-BE49-F238E27FC236}">
                  <a16:creationId xmlns:a16="http://schemas.microsoft.com/office/drawing/2014/main" id="{185525E0-58BD-419D-8390-3649FB73B1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4788" y="1057275"/>
              <a:ext cx="203200" cy="303213"/>
            </a:xfrm>
            <a:custGeom>
              <a:avLst/>
              <a:gdLst>
                <a:gd name="T0" fmla="*/ 0 w 562"/>
                <a:gd name="T1" fmla="*/ 839 h 839"/>
                <a:gd name="T2" fmla="*/ 0 w 562"/>
                <a:gd name="T3" fmla="*/ 0 h 839"/>
                <a:gd name="T4" fmla="*/ 164 w 562"/>
                <a:gd name="T5" fmla="*/ 0 h 839"/>
                <a:gd name="T6" fmla="*/ 164 w 562"/>
                <a:gd name="T7" fmla="*/ 756 h 839"/>
                <a:gd name="T8" fmla="*/ 485 w 562"/>
                <a:gd name="T9" fmla="*/ 756 h 839"/>
                <a:gd name="T10" fmla="*/ 562 w 562"/>
                <a:gd name="T11" fmla="*/ 839 h 839"/>
                <a:gd name="T12" fmla="*/ 0 w 562"/>
                <a:gd name="T13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2" h="839">
                  <a:moveTo>
                    <a:pt x="0" y="839"/>
                  </a:moveTo>
                  <a:lnTo>
                    <a:pt x="0" y="0"/>
                  </a:lnTo>
                  <a:lnTo>
                    <a:pt x="164" y="0"/>
                  </a:lnTo>
                  <a:lnTo>
                    <a:pt x="164" y="756"/>
                  </a:lnTo>
                  <a:lnTo>
                    <a:pt x="485" y="756"/>
                  </a:lnTo>
                  <a:lnTo>
                    <a:pt x="562" y="839"/>
                  </a:lnTo>
                  <a:lnTo>
                    <a:pt x="0" y="8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id="{00DD7841-635B-4E54-BD9E-88320B598D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3888" y="1054100"/>
              <a:ext cx="252413" cy="311150"/>
            </a:xfrm>
            <a:custGeom>
              <a:avLst/>
              <a:gdLst>
                <a:gd name="T0" fmla="*/ 0 w 698"/>
                <a:gd name="T1" fmla="*/ 856 h 856"/>
                <a:gd name="T2" fmla="*/ 0 w 698"/>
                <a:gd name="T3" fmla="*/ 0 h 856"/>
                <a:gd name="T4" fmla="*/ 250 w 698"/>
                <a:gd name="T5" fmla="*/ 0 h 856"/>
                <a:gd name="T6" fmla="*/ 537 w 698"/>
                <a:gd name="T7" fmla="*/ 45 h 856"/>
                <a:gd name="T8" fmla="*/ 641 w 698"/>
                <a:gd name="T9" fmla="*/ 197 h 856"/>
                <a:gd name="T10" fmla="*/ 488 w 698"/>
                <a:gd name="T11" fmla="*/ 379 h 856"/>
                <a:gd name="T12" fmla="*/ 443 w 698"/>
                <a:gd name="T13" fmla="*/ 394 h 856"/>
                <a:gd name="T14" fmla="*/ 501 w 698"/>
                <a:gd name="T15" fmla="*/ 414 h 856"/>
                <a:gd name="T16" fmla="*/ 698 w 698"/>
                <a:gd name="T17" fmla="*/ 630 h 856"/>
                <a:gd name="T18" fmla="*/ 541 w 698"/>
                <a:gd name="T19" fmla="*/ 822 h 856"/>
                <a:gd name="T20" fmla="*/ 250 w 698"/>
                <a:gd name="T21" fmla="*/ 856 h 856"/>
                <a:gd name="T22" fmla="*/ 0 w 698"/>
                <a:gd name="T23" fmla="*/ 856 h 856"/>
                <a:gd name="T24" fmla="*/ 161 w 698"/>
                <a:gd name="T25" fmla="*/ 712 h 856"/>
                <a:gd name="T26" fmla="*/ 177 w 698"/>
                <a:gd name="T27" fmla="*/ 763 h 856"/>
                <a:gd name="T28" fmla="*/ 277 w 698"/>
                <a:gd name="T29" fmla="*/ 785 h 856"/>
                <a:gd name="T30" fmla="*/ 528 w 698"/>
                <a:gd name="T31" fmla="*/ 619 h 856"/>
                <a:gd name="T32" fmla="*/ 267 w 698"/>
                <a:gd name="T33" fmla="*/ 435 h 856"/>
                <a:gd name="T34" fmla="*/ 251 w 698"/>
                <a:gd name="T35" fmla="*/ 435 h 856"/>
                <a:gd name="T36" fmla="*/ 161 w 698"/>
                <a:gd name="T37" fmla="*/ 435 h 856"/>
                <a:gd name="T38" fmla="*/ 161 w 698"/>
                <a:gd name="T39" fmla="*/ 712 h 856"/>
                <a:gd name="T40" fmla="*/ 296 w 698"/>
                <a:gd name="T41" fmla="*/ 374 h 856"/>
                <a:gd name="T42" fmla="*/ 479 w 698"/>
                <a:gd name="T43" fmla="*/ 222 h 856"/>
                <a:gd name="T44" fmla="*/ 260 w 698"/>
                <a:gd name="T45" fmla="*/ 65 h 856"/>
                <a:gd name="T46" fmla="*/ 177 w 698"/>
                <a:gd name="T47" fmla="*/ 70 h 856"/>
                <a:gd name="T48" fmla="*/ 161 w 698"/>
                <a:gd name="T49" fmla="*/ 72 h 856"/>
                <a:gd name="T50" fmla="*/ 161 w 698"/>
                <a:gd name="T51" fmla="*/ 374 h 856"/>
                <a:gd name="T52" fmla="*/ 296 w 698"/>
                <a:gd name="T53" fmla="*/ 374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8" h="856">
                  <a:moveTo>
                    <a:pt x="0" y="856"/>
                  </a:moveTo>
                  <a:lnTo>
                    <a:pt x="0" y="0"/>
                  </a:lnTo>
                  <a:lnTo>
                    <a:pt x="250" y="0"/>
                  </a:lnTo>
                  <a:cubicBezTo>
                    <a:pt x="342" y="0"/>
                    <a:pt x="457" y="5"/>
                    <a:pt x="537" y="45"/>
                  </a:cubicBezTo>
                  <a:cubicBezTo>
                    <a:pt x="605" y="80"/>
                    <a:pt x="641" y="132"/>
                    <a:pt x="641" y="197"/>
                  </a:cubicBezTo>
                  <a:cubicBezTo>
                    <a:pt x="641" y="289"/>
                    <a:pt x="562" y="352"/>
                    <a:pt x="488" y="379"/>
                  </a:cubicBezTo>
                  <a:cubicBezTo>
                    <a:pt x="468" y="386"/>
                    <a:pt x="454" y="391"/>
                    <a:pt x="443" y="394"/>
                  </a:cubicBezTo>
                  <a:cubicBezTo>
                    <a:pt x="459" y="399"/>
                    <a:pt x="481" y="406"/>
                    <a:pt x="501" y="414"/>
                  </a:cubicBezTo>
                  <a:cubicBezTo>
                    <a:pt x="673" y="480"/>
                    <a:pt x="698" y="578"/>
                    <a:pt x="698" y="630"/>
                  </a:cubicBezTo>
                  <a:cubicBezTo>
                    <a:pt x="698" y="740"/>
                    <a:pt x="612" y="795"/>
                    <a:pt x="541" y="822"/>
                  </a:cubicBezTo>
                  <a:cubicBezTo>
                    <a:pt x="471" y="845"/>
                    <a:pt x="381" y="856"/>
                    <a:pt x="250" y="856"/>
                  </a:cubicBezTo>
                  <a:lnTo>
                    <a:pt x="0" y="856"/>
                  </a:lnTo>
                  <a:close/>
                  <a:moveTo>
                    <a:pt x="161" y="712"/>
                  </a:moveTo>
                  <a:cubicBezTo>
                    <a:pt x="161" y="728"/>
                    <a:pt x="160" y="748"/>
                    <a:pt x="177" y="763"/>
                  </a:cubicBezTo>
                  <a:cubicBezTo>
                    <a:pt x="194" y="779"/>
                    <a:pt x="225" y="785"/>
                    <a:pt x="277" y="785"/>
                  </a:cubicBezTo>
                  <a:cubicBezTo>
                    <a:pt x="439" y="785"/>
                    <a:pt x="528" y="726"/>
                    <a:pt x="528" y="619"/>
                  </a:cubicBezTo>
                  <a:cubicBezTo>
                    <a:pt x="528" y="505"/>
                    <a:pt x="440" y="443"/>
                    <a:pt x="267" y="435"/>
                  </a:cubicBezTo>
                  <a:cubicBezTo>
                    <a:pt x="266" y="435"/>
                    <a:pt x="252" y="435"/>
                    <a:pt x="251" y="435"/>
                  </a:cubicBezTo>
                  <a:lnTo>
                    <a:pt x="161" y="435"/>
                  </a:lnTo>
                  <a:lnTo>
                    <a:pt x="161" y="712"/>
                  </a:lnTo>
                  <a:close/>
                  <a:moveTo>
                    <a:pt x="296" y="374"/>
                  </a:moveTo>
                  <a:cubicBezTo>
                    <a:pt x="425" y="374"/>
                    <a:pt x="479" y="265"/>
                    <a:pt x="479" y="222"/>
                  </a:cubicBezTo>
                  <a:cubicBezTo>
                    <a:pt x="479" y="122"/>
                    <a:pt x="399" y="65"/>
                    <a:pt x="260" y="65"/>
                  </a:cubicBezTo>
                  <a:cubicBezTo>
                    <a:pt x="228" y="65"/>
                    <a:pt x="209" y="67"/>
                    <a:pt x="177" y="70"/>
                  </a:cubicBezTo>
                  <a:lnTo>
                    <a:pt x="161" y="72"/>
                  </a:lnTo>
                  <a:lnTo>
                    <a:pt x="161" y="374"/>
                  </a:lnTo>
                  <a:lnTo>
                    <a:pt x="296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16">
              <a:extLst>
                <a:ext uri="{FF2B5EF4-FFF2-40B4-BE49-F238E27FC236}">
                  <a16:creationId xmlns:a16="http://schemas.microsoft.com/office/drawing/2014/main" id="{5F226E6E-DD37-4301-9C1B-7A00FBFE4F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600" y="1057275"/>
              <a:ext cx="260350" cy="303213"/>
            </a:xfrm>
            <a:custGeom>
              <a:avLst/>
              <a:gdLst>
                <a:gd name="T0" fmla="*/ 558 w 723"/>
                <a:gd name="T1" fmla="*/ 0 h 839"/>
                <a:gd name="T2" fmla="*/ 558 w 723"/>
                <a:gd name="T3" fmla="*/ 364 h 839"/>
                <a:gd name="T4" fmla="*/ 165 w 723"/>
                <a:gd name="T5" fmla="*/ 364 h 839"/>
                <a:gd name="T6" fmla="*/ 165 w 723"/>
                <a:gd name="T7" fmla="*/ 0 h 839"/>
                <a:gd name="T8" fmla="*/ 0 w 723"/>
                <a:gd name="T9" fmla="*/ 0 h 839"/>
                <a:gd name="T10" fmla="*/ 0 w 723"/>
                <a:gd name="T11" fmla="*/ 839 h 839"/>
                <a:gd name="T12" fmla="*/ 165 w 723"/>
                <a:gd name="T13" fmla="*/ 839 h 839"/>
                <a:gd name="T14" fmla="*/ 165 w 723"/>
                <a:gd name="T15" fmla="*/ 480 h 839"/>
                <a:gd name="T16" fmla="*/ 212 w 723"/>
                <a:gd name="T17" fmla="*/ 442 h 839"/>
                <a:gd name="T18" fmla="*/ 512 w 723"/>
                <a:gd name="T19" fmla="*/ 442 h 839"/>
                <a:gd name="T20" fmla="*/ 558 w 723"/>
                <a:gd name="T21" fmla="*/ 480 h 839"/>
                <a:gd name="T22" fmla="*/ 558 w 723"/>
                <a:gd name="T23" fmla="*/ 839 h 839"/>
                <a:gd name="T24" fmla="*/ 723 w 723"/>
                <a:gd name="T25" fmla="*/ 839 h 839"/>
                <a:gd name="T26" fmla="*/ 723 w 723"/>
                <a:gd name="T27" fmla="*/ 0 h 839"/>
                <a:gd name="T28" fmla="*/ 558 w 723"/>
                <a:gd name="T29" fmla="*/ 0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3" h="839">
                  <a:moveTo>
                    <a:pt x="558" y="0"/>
                  </a:moveTo>
                  <a:lnTo>
                    <a:pt x="558" y="364"/>
                  </a:lnTo>
                  <a:lnTo>
                    <a:pt x="165" y="364"/>
                  </a:lnTo>
                  <a:lnTo>
                    <a:pt x="165" y="0"/>
                  </a:lnTo>
                  <a:lnTo>
                    <a:pt x="0" y="0"/>
                  </a:lnTo>
                  <a:lnTo>
                    <a:pt x="0" y="839"/>
                  </a:lnTo>
                  <a:lnTo>
                    <a:pt x="165" y="839"/>
                  </a:lnTo>
                  <a:lnTo>
                    <a:pt x="165" y="480"/>
                  </a:lnTo>
                  <a:cubicBezTo>
                    <a:pt x="165" y="454"/>
                    <a:pt x="189" y="442"/>
                    <a:pt x="212" y="442"/>
                  </a:cubicBezTo>
                  <a:lnTo>
                    <a:pt x="512" y="442"/>
                  </a:lnTo>
                  <a:cubicBezTo>
                    <a:pt x="535" y="442"/>
                    <a:pt x="558" y="454"/>
                    <a:pt x="558" y="480"/>
                  </a:cubicBezTo>
                  <a:lnTo>
                    <a:pt x="558" y="839"/>
                  </a:lnTo>
                  <a:lnTo>
                    <a:pt x="723" y="839"/>
                  </a:lnTo>
                  <a:lnTo>
                    <a:pt x="723" y="0"/>
                  </a:lnTo>
                  <a:lnTo>
                    <a:pt x="5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17">
              <a:extLst>
                <a:ext uri="{FF2B5EF4-FFF2-40B4-BE49-F238E27FC236}">
                  <a16:creationId xmlns:a16="http://schemas.microsoft.com/office/drawing/2014/main" id="{9F5BA27F-1928-4A82-BE56-9CCADB37B7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3888" y="1557338"/>
              <a:ext cx="2735263" cy="106363"/>
            </a:xfrm>
            <a:custGeom>
              <a:avLst/>
              <a:gdLst>
                <a:gd name="T0" fmla="*/ 7350 w 7569"/>
                <a:gd name="T1" fmla="*/ 285 h 292"/>
                <a:gd name="T2" fmla="*/ 7273 w 7569"/>
                <a:gd name="T3" fmla="*/ 149 h 292"/>
                <a:gd name="T4" fmla="*/ 7144 w 7569"/>
                <a:gd name="T5" fmla="*/ 7 h 292"/>
                <a:gd name="T6" fmla="*/ 7175 w 7569"/>
                <a:gd name="T7" fmla="*/ 152 h 292"/>
                <a:gd name="T8" fmla="*/ 6990 w 7569"/>
                <a:gd name="T9" fmla="*/ 278 h 292"/>
                <a:gd name="T10" fmla="*/ 6845 w 7569"/>
                <a:gd name="T11" fmla="*/ 15 h 292"/>
                <a:gd name="T12" fmla="*/ 6775 w 7569"/>
                <a:gd name="T13" fmla="*/ 279 h 292"/>
                <a:gd name="T14" fmla="*/ 6513 w 7569"/>
                <a:gd name="T15" fmla="*/ 14 h 292"/>
                <a:gd name="T16" fmla="*/ 6738 w 7569"/>
                <a:gd name="T17" fmla="*/ 65 h 292"/>
                <a:gd name="T18" fmla="*/ 6444 w 7569"/>
                <a:gd name="T19" fmla="*/ 278 h 292"/>
                <a:gd name="T20" fmla="*/ 6365 w 7569"/>
                <a:gd name="T21" fmla="*/ 282 h 292"/>
                <a:gd name="T22" fmla="*/ 6044 w 7569"/>
                <a:gd name="T23" fmla="*/ 67 h 292"/>
                <a:gd name="T24" fmla="*/ 5915 w 7569"/>
                <a:gd name="T25" fmla="*/ 213 h 292"/>
                <a:gd name="T26" fmla="*/ 5663 w 7569"/>
                <a:gd name="T27" fmla="*/ 140 h 292"/>
                <a:gd name="T28" fmla="*/ 5852 w 7569"/>
                <a:gd name="T29" fmla="*/ 238 h 292"/>
                <a:gd name="T30" fmla="*/ 5390 w 7569"/>
                <a:gd name="T31" fmla="*/ 13 h 292"/>
                <a:gd name="T32" fmla="*/ 5540 w 7569"/>
                <a:gd name="T33" fmla="*/ 280 h 292"/>
                <a:gd name="T34" fmla="*/ 5390 w 7569"/>
                <a:gd name="T35" fmla="*/ 13 h 292"/>
                <a:gd name="T36" fmla="*/ 5281 w 7569"/>
                <a:gd name="T37" fmla="*/ 14 h 292"/>
                <a:gd name="T38" fmla="*/ 4974 w 7569"/>
                <a:gd name="T39" fmla="*/ 285 h 292"/>
                <a:gd name="T40" fmla="*/ 4809 w 7569"/>
                <a:gd name="T41" fmla="*/ 7 h 292"/>
                <a:gd name="T42" fmla="*/ 4816 w 7569"/>
                <a:gd name="T43" fmla="*/ 260 h 292"/>
                <a:gd name="T44" fmla="*/ 4687 w 7569"/>
                <a:gd name="T45" fmla="*/ 139 h 292"/>
                <a:gd name="T46" fmla="*/ 4425 w 7569"/>
                <a:gd name="T47" fmla="*/ 279 h 292"/>
                <a:gd name="T48" fmla="*/ 4236 w 7569"/>
                <a:gd name="T49" fmla="*/ 7 h 292"/>
                <a:gd name="T50" fmla="*/ 4068 w 7569"/>
                <a:gd name="T51" fmla="*/ 152 h 292"/>
                <a:gd name="T52" fmla="*/ 4085 w 7569"/>
                <a:gd name="T53" fmla="*/ 7 h 292"/>
                <a:gd name="T54" fmla="*/ 3977 w 7569"/>
                <a:gd name="T55" fmla="*/ 260 h 292"/>
                <a:gd name="T56" fmla="*/ 3893 w 7569"/>
                <a:gd name="T57" fmla="*/ 248 h 292"/>
                <a:gd name="T58" fmla="*/ 3414 w 7569"/>
                <a:gd name="T59" fmla="*/ 7 h 292"/>
                <a:gd name="T60" fmla="*/ 3621 w 7569"/>
                <a:gd name="T61" fmla="*/ 286 h 292"/>
                <a:gd name="T62" fmla="*/ 3247 w 7569"/>
                <a:gd name="T63" fmla="*/ 59 h 292"/>
                <a:gd name="T64" fmla="*/ 3261 w 7569"/>
                <a:gd name="T65" fmla="*/ 7 h 292"/>
                <a:gd name="T66" fmla="*/ 3289 w 7569"/>
                <a:gd name="T67" fmla="*/ 176 h 292"/>
                <a:gd name="T68" fmla="*/ 2941 w 7569"/>
                <a:gd name="T69" fmla="*/ 286 h 292"/>
                <a:gd name="T70" fmla="*/ 3116 w 7569"/>
                <a:gd name="T71" fmla="*/ 282 h 292"/>
                <a:gd name="T72" fmla="*/ 2868 w 7569"/>
                <a:gd name="T73" fmla="*/ 14 h 292"/>
                <a:gd name="T74" fmla="*/ 2713 w 7569"/>
                <a:gd name="T75" fmla="*/ 7 h 292"/>
                <a:gd name="T76" fmla="*/ 2552 w 7569"/>
                <a:gd name="T77" fmla="*/ 122 h 292"/>
                <a:gd name="T78" fmla="*/ 2538 w 7569"/>
                <a:gd name="T79" fmla="*/ 159 h 292"/>
                <a:gd name="T80" fmla="*/ 2552 w 7569"/>
                <a:gd name="T81" fmla="*/ 122 h 292"/>
                <a:gd name="T82" fmla="*/ 2217 w 7569"/>
                <a:gd name="T83" fmla="*/ 61 h 292"/>
                <a:gd name="T84" fmla="*/ 2376 w 7569"/>
                <a:gd name="T85" fmla="*/ 219 h 292"/>
                <a:gd name="T86" fmla="*/ 2116 w 7569"/>
                <a:gd name="T87" fmla="*/ 278 h 292"/>
                <a:gd name="T88" fmla="*/ 1951 w 7569"/>
                <a:gd name="T89" fmla="*/ 282 h 292"/>
                <a:gd name="T90" fmla="*/ 1736 w 7569"/>
                <a:gd name="T91" fmla="*/ 286 h 292"/>
                <a:gd name="T92" fmla="*/ 1455 w 7569"/>
                <a:gd name="T93" fmla="*/ 278 h 292"/>
                <a:gd name="T94" fmla="*/ 1676 w 7569"/>
                <a:gd name="T95" fmla="*/ 14 h 292"/>
                <a:gd name="T96" fmla="*/ 1260 w 7569"/>
                <a:gd name="T97" fmla="*/ 153 h 292"/>
                <a:gd name="T98" fmla="*/ 1284 w 7569"/>
                <a:gd name="T99" fmla="*/ 13 h 292"/>
                <a:gd name="T100" fmla="*/ 1101 w 7569"/>
                <a:gd name="T101" fmla="*/ 280 h 292"/>
                <a:gd name="T102" fmla="*/ 1114 w 7569"/>
                <a:gd name="T103" fmla="*/ 216 h 292"/>
                <a:gd name="T104" fmla="*/ 863 w 7569"/>
                <a:gd name="T105" fmla="*/ 12 h 292"/>
                <a:gd name="T106" fmla="*/ 763 w 7569"/>
                <a:gd name="T107" fmla="*/ 24 h 292"/>
                <a:gd name="T108" fmla="*/ 770 w 7569"/>
                <a:gd name="T109" fmla="*/ 267 h 292"/>
                <a:gd name="T110" fmla="*/ 669 w 7569"/>
                <a:gd name="T111" fmla="*/ 25 h 292"/>
                <a:gd name="T112" fmla="*/ 591 w 7569"/>
                <a:gd name="T113" fmla="*/ 278 h 292"/>
                <a:gd name="T114" fmla="*/ 347 w 7569"/>
                <a:gd name="T115" fmla="*/ 24 h 292"/>
                <a:gd name="T116" fmla="*/ 133 w 7569"/>
                <a:gd name="T117" fmla="*/ 171 h 292"/>
                <a:gd name="T118" fmla="*/ 39 w 7569"/>
                <a:gd name="T119" fmla="*/ 129 h 292"/>
                <a:gd name="T120" fmla="*/ 170 w 7569"/>
                <a:gd name="T121" fmla="*/ 71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569" h="292">
                  <a:moveTo>
                    <a:pt x="7383" y="30"/>
                  </a:moveTo>
                  <a:cubicBezTo>
                    <a:pt x="7390" y="29"/>
                    <a:pt x="7396" y="28"/>
                    <a:pt x="7408" y="28"/>
                  </a:cubicBezTo>
                  <a:cubicBezTo>
                    <a:pt x="7445" y="28"/>
                    <a:pt x="7476" y="37"/>
                    <a:pt x="7498" y="62"/>
                  </a:cubicBezTo>
                  <a:cubicBezTo>
                    <a:pt x="7519" y="85"/>
                    <a:pt x="7526" y="115"/>
                    <a:pt x="7526" y="145"/>
                  </a:cubicBezTo>
                  <a:cubicBezTo>
                    <a:pt x="7526" y="216"/>
                    <a:pt x="7488" y="264"/>
                    <a:pt x="7404" y="264"/>
                  </a:cubicBezTo>
                  <a:cubicBezTo>
                    <a:pt x="7394" y="264"/>
                    <a:pt x="7388" y="263"/>
                    <a:pt x="7383" y="262"/>
                  </a:cubicBezTo>
                  <a:lnTo>
                    <a:pt x="7383" y="30"/>
                  </a:lnTo>
                  <a:close/>
                  <a:moveTo>
                    <a:pt x="7343" y="275"/>
                  </a:moveTo>
                  <a:cubicBezTo>
                    <a:pt x="7343" y="280"/>
                    <a:pt x="7344" y="283"/>
                    <a:pt x="7350" y="285"/>
                  </a:cubicBezTo>
                  <a:cubicBezTo>
                    <a:pt x="7361" y="287"/>
                    <a:pt x="7389" y="288"/>
                    <a:pt x="7403" y="288"/>
                  </a:cubicBezTo>
                  <a:cubicBezTo>
                    <a:pt x="7447" y="288"/>
                    <a:pt x="7492" y="279"/>
                    <a:pt x="7526" y="250"/>
                  </a:cubicBezTo>
                  <a:cubicBezTo>
                    <a:pt x="7541" y="236"/>
                    <a:pt x="7569" y="204"/>
                    <a:pt x="7569" y="147"/>
                  </a:cubicBezTo>
                  <a:cubicBezTo>
                    <a:pt x="7569" y="82"/>
                    <a:pt x="7530" y="4"/>
                    <a:pt x="7413" y="4"/>
                  </a:cubicBezTo>
                  <a:cubicBezTo>
                    <a:pt x="7389" y="4"/>
                    <a:pt x="7359" y="7"/>
                    <a:pt x="7349" y="11"/>
                  </a:cubicBezTo>
                  <a:cubicBezTo>
                    <a:pt x="7345" y="12"/>
                    <a:pt x="7343" y="13"/>
                    <a:pt x="7343" y="22"/>
                  </a:cubicBezTo>
                  <a:lnTo>
                    <a:pt x="7343" y="275"/>
                  </a:lnTo>
                  <a:close/>
                  <a:moveTo>
                    <a:pt x="7266" y="152"/>
                  </a:moveTo>
                  <a:cubicBezTo>
                    <a:pt x="7270" y="152"/>
                    <a:pt x="7272" y="152"/>
                    <a:pt x="7273" y="149"/>
                  </a:cubicBezTo>
                  <a:cubicBezTo>
                    <a:pt x="7273" y="147"/>
                    <a:pt x="7273" y="138"/>
                    <a:pt x="7273" y="133"/>
                  </a:cubicBezTo>
                  <a:cubicBezTo>
                    <a:pt x="7273" y="127"/>
                    <a:pt x="7270" y="127"/>
                    <a:pt x="7266" y="127"/>
                  </a:cubicBezTo>
                  <a:lnTo>
                    <a:pt x="7175" y="127"/>
                  </a:lnTo>
                  <a:lnTo>
                    <a:pt x="7175" y="32"/>
                  </a:lnTo>
                  <a:lnTo>
                    <a:pt x="7282" y="32"/>
                  </a:lnTo>
                  <a:cubicBezTo>
                    <a:pt x="7288" y="32"/>
                    <a:pt x="7289" y="31"/>
                    <a:pt x="7290" y="28"/>
                  </a:cubicBezTo>
                  <a:cubicBezTo>
                    <a:pt x="7290" y="26"/>
                    <a:pt x="7290" y="18"/>
                    <a:pt x="7290" y="13"/>
                  </a:cubicBezTo>
                  <a:cubicBezTo>
                    <a:pt x="7290" y="7"/>
                    <a:pt x="7287" y="7"/>
                    <a:pt x="7282" y="7"/>
                  </a:cubicBezTo>
                  <a:lnTo>
                    <a:pt x="7144" y="7"/>
                  </a:lnTo>
                  <a:cubicBezTo>
                    <a:pt x="7137" y="7"/>
                    <a:pt x="7136" y="9"/>
                    <a:pt x="7136" y="16"/>
                  </a:cubicBezTo>
                  <a:lnTo>
                    <a:pt x="7136" y="279"/>
                  </a:lnTo>
                  <a:cubicBezTo>
                    <a:pt x="7136" y="285"/>
                    <a:pt x="7138" y="286"/>
                    <a:pt x="7144" y="286"/>
                  </a:cubicBezTo>
                  <a:lnTo>
                    <a:pt x="7282" y="286"/>
                  </a:lnTo>
                  <a:cubicBezTo>
                    <a:pt x="7287" y="286"/>
                    <a:pt x="7290" y="285"/>
                    <a:pt x="7290" y="279"/>
                  </a:cubicBezTo>
                  <a:lnTo>
                    <a:pt x="7290" y="267"/>
                  </a:lnTo>
                  <a:cubicBezTo>
                    <a:pt x="7290" y="260"/>
                    <a:pt x="7288" y="260"/>
                    <a:pt x="7282" y="260"/>
                  </a:cubicBezTo>
                  <a:lnTo>
                    <a:pt x="7175" y="260"/>
                  </a:lnTo>
                  <a:lnTo>
                    <a:pt x="7175" y="152"/>
                  </a:lnTo>
                  <a:lnTo>
                    <a:pt x="7266" y="152"/>
                  </a:lnTo>
                  <a:close/>
                  <a:moveTo>
                    <a:pt x="7099" y="32"/>
                  </a:moveTo>
                  <a:cubicBezTo>
                    <a:pt x="7105" y="32"/>
                    <a:pt x="7107" y="30"/>
                    <a:pt x="7107" y="25"/>
                  </a:cubicBezTo>
                  <a:cubicBezTo>
                    <a:pt x="7107" y="8"/>
                    <a:pt x="7107" y="7"/>
                    <a:pt x="7099" y="7"/>
                  </a:cubicBezTo>
                  <a:lnTo>
                    <a:pt x="6921" y="7"/>
                  </a:lnTo>
                  <a:cubicBezTo>
                    <a:pt x="6913" y="7"/>
                    <a:pt x="6913" y="9"/>
                    <a:pt x="6913" y="24"/>
                  </a:cubicBezTo>
                  <a:cubicBezTo>
                    <a:pt x="6913" y="30"/>
                    <a:pt x="6915" y="32"/>
                    <a:pt x="6921" y="32"/>
                  </a:cubicBezTo>
                  <a:lnTo>
                    <a:pt x="6990" y="32"/>
                  </a:lnTo>
                  <a:lnTo>
                    <a:pt x="6990" y="278"/>
                  </a:lnTo>
                  <a:cubicBezTo>
                    <a:pt x="6991" y="285"/>
                    <a:pt x="6993" y="286"/>
                    <a:pt x="6999" y="286"/>
                  </a:cubicBezTo>
                  <a:lnTo>
                    <a:pt x="7022" y="286"/>
                  </a:lnTo>
                  <a:cubicBezTo>
                    <a:pt x="7029" y="286"/>
                    <a:pt x="7029" y="284"/>
                    <a:pt x="7029" y="278"/>
                  </a:cubicBezTo>
                  <a:lnTo>
                    <a:pt x="7029" y="32"/>
                  </a:lnTo>
                  <a:lnTo>
                    <a:pt x="7099" y="32"/>
                  </a:lnTo>
                  <a:close/>
                  <a:moveTo>
                    <a:pt x="6884" y="14"/>
                  </a:moveTo>
                  <a:cubicBezTo>
                    <a:pt x="6884" y="7"/>
                    <a:pt x="6882" y="7"/>
                    <a:pt x="6876" y="7"/>
                  </a:cubicBezTo>
                  <a:lnTo>
                    <a:pt x="6852" y="7"/>
                  </a:lnTo>
                  <a:cubicBezTo>
                    <a:pt x="6846" y="6"/>
                    <a:pt x="6845" y="8"/>
                    <a:pt x="6845" y="15"/>
                  </a:cubicBezTo>
                  <a:lnTo>
                    <a:pt x="6845" y="278"/>
                  </a:lnTo>
                  <a:cubicBezTo>
                    <a:pt x="6845" y="285"/>
                    <a:pt x="6848" y="286"/>
                    <a:pt x="6852" y="286"/>
                  </a:cubicBezTo>
                  <a:lnTo>
                    <a:pt x="6876" y="286"/>
                  </a:lnTo>
                  <a:cubicBezTo>
                    <a:pt x="6882" y="286"/>
                    <a:pt x="6884" y="285"/>
                    <a:pt x="6884" y="278"/>
                  </a:cubicBezTo>
                  <a:lnTo>
                    <a:pt x="6884" y="14"/>
                  </a:lnTo>
                  <a:close/>
                  <a:moveTo>
                    <a:pt x="6738" y="278"/>
                  </a:moveTo>
                  <a:cubicBezTo>
                    <a:pt x="6738" y="285"/>
                    <a:pt x="6739" y="286"/>
                    <a:pt x="6745" y="286"/>
                  </a:cubicBezTo>
                  <a:lnTo>
                    <a:pt x="6767" y="286"/>
                  </a:lnTo>
                  <a:cubicBezTo>
                    <a:pt x="6774" y="286"/>
                    <a:pt x="6775" y="285"/>
                    <a:pt x="6775" y="279"/>
                  </a:cubicBezTo>
                  <a:lnTo>
                    <a:pt x="6775" y="13"/>
                  </a:lnTo>
                  <a:cubicBezTo>
                    <a:pt x="6775" y="7"/>
                    <a:pt x="6773" y="7"/>
                    <a:pt x="6767" y="7"/>
                  </a:cubicBezTo>
                  <a:lnTo>
                    <a:pt x="6740" y="7"/>
                  </a:lnTo>
                  <a:cubicBezTo>
                    <a:pt x="6733" y="7"/>
                    <a:pt x="6733" y="7"/>
                    <a:pt x="6730" y="15"/>
                  </a:cubicBezTo>
                  <a:lnTo>
                    <a:pt x="6645" y="219"/>
                  </a:lnTo>
                  <a:lnTo>
                    <a:pt x="6557" y="14"/>
                  </a:lnTo>
                  <a:cubicBezTo>
                    <a:pt x="6554" y="7"/>
                    <a:pt x="6553" y="7"/>
                    <a:pt x="6547" y="7"/>
                  </a:cubicBezTo>
                  <a:lnTo>
                    <a:pt x="6520" y="7"/>
                  </a:lnTo>
                  <a:cubicBezTo>
                    <a:pt x="6514" y="7"/>
                    <a:pt x="6513" y="8"/>
                    <a:pt x="6513" y="14"/>
                  </a:cubicBezTo>
                  <a:lnTo>
                    <a:pt x="6513" y="278"/>
                  </a:lnTo>
                  <a:cubicBezTo>
                    <a:pt x="6513" y="283"/>
                    <a:pt x="6513" y="285"/>
                    <a:pt x="6517" y="286"/>
                  </a:cubicBezTo>
                  <a:lnTo>
                    <a:pt x="6536" y="286"/>
                  </a:lnTo>
                  <a:cubicBezTo>
                    <a:pt x="6541" y="286"/>
                    <a:pt x="6543" y="285"/>
                    <a:pt x="6543" y="279"/>
                  </a:cubicBezTo>
                  <a:lnTo>
                    <a:pt x="6543" y="65"/>
                  </a:lnTo>
                  <a:lnTo>
                    <a:pt x="6633" y="278"/>
                  </a:lnTo>
                  <a:cubicBezTo>
                    <a:pt x="6636" y="285"/>
                    <a:pt x="6637" y="287"/>
                    <a:pt x="6642" y="287"/>
                  </a:cubicBezTo>
                  <a:cubicBezTo>
                    <a:pt x="6646" y="287"/>
                    <a:pt x="6646" y="286"/>
                    <a:pt x="6650" y="278"/>
                  </a:cubicBezTo>
                  <a:lnTo>
                    <a:pt x="6738" y="65"/>
                  </a:lnTo>
                  <a:lnTo>
                    <a:pt x="6738" y="278"/>
                  </a:lnTo>
                  <a:close/>
                  <a:moveTo>
                    <a:pt x="6444" y="14"/>
                  </a:moveTo>
                  <a:cubicBezTo>
                    <a:pt x="6444" y="7"/>
                    <a:pt x="6441" y="7"/>
                    <a:pt x="6436" y="7"/>
                  </a:cubicBezTo>
                  <a:lnTo>
                    <a:pt x="6412" y="7"/>
                  </a:lnTo>
                  <a:cubicBezTo>
                    <a:pt x="6406" y="6"/>
                    <a:pt x="6404" y="8"/>
                    <a:pt x="6404" y="15"/>
                  </a:cubicBezTo>
                  <a:lnTo>
                    <a:pt x="6404" y="278"/>
                  </a:lnTo>
                  <a:cubicBezTo>
                    <a:pt x="6404" y="285"/>
                    <a:pt x="6407" y="286"/>
                    <a:pt x="6412" y="286"/>
                  </a:cubicBezTo>
                  <a:lnTo>
                    <a:pt x="6436" y="286"/>
                  </a:lnTo>
                  <a:cubicBezTo>
                    <a:pt x="6442" y="286"/>
                    <a:pt x="6444" y="285"/>
                    <a:pt x="6444" y="278"/>
                  </a:cubicBezTo>
                  <a:lnTo>
                    <a:pt x="6444" y="14"/>
                  </a:lnTo>
                  <a:close/>
                  <a:moveTo>
                    <a:pt x="6253" y="14"/>
                  </a:moveTo>
                  <a:cubicBezTo>
                    <a:pt x="6253" y="8"/>
                    <a:pt x="6252" y="7"/>
                    <a:pt x="6246" y="7"/>
                  </a:cubicBezTo>
                  <a:lnTo>
                    <a:pt x="6221" y="7"/>
                  </a:lnTo>
                  <a:cubicBezTo>
                    <a:pt x="6216" y="7"/>
                    <a:pt x="6214" y="7"/>
                    <a:pt x="6214" y="14"/>
                  </a:cubicBezTo>
                  <a:lnTo>
                    <a:pt x="6214" y="279"/>
                  </a:lnTo>
                  <a:cubicBezTo>
                    <a:pt x="6214" y="283"/>
                    <a:pt x="6215" y="286"/>
                    <a:pt x="6221" y="286"/>
                  </a:cubicBezTo>
                  <a:lnTo>
                    <a:pt x="6358" y="286"/>
                  </a:lnTo>
                  <a:cubicBezTo>
                    <a:pt x="6361" y="286"/>
                    <a:pt x="6364" y="286"/>
                    <a:pt x="6365" y="282"/>
                  </a:cubicBezTo>
                  <a:lnTo>
                    <a:pt x="6365" y="267"/>
                  </a:lnTo>
                  <a:cubicBezTo>
                    <a:pt x="6365" y="262"/>
                    <a:pt x="6364" y="260"/>
                    <a:pt x="6358" y="260"/>
                  </a:cubicBezTo>
                  <a:lnTo>
                    <a:pt x="6253" y="260"/>
                  </a:lnTo>
                  <a:lnTo>
                    <a:pt x="6253" y="14"/>
                  </a:lnTo>
                  <a:close/>
                  <a:moveTo>
                    <a:pt x="5991" y="122"/>
                  </a:moveTo>
                  <a:cubicBezTo>
                    <a:pt x="5960" y="109"/>
                    <a:pt x="5936" y="98"/>
                    <a:pt x="5936" y="67"/>
                  </a:cubicBezTo>
                  <a:cubicBezTo>
                    <a:pt x="5936" y="44"/>
                    <a:pt x="5954" y="24"/>
                    <a:pt x="5980" y="24"/>
                  </a:cubicBezTo>
                  <a:cubicBezTo>
                    <a:pt x="6005" y="24"/>
                    <a:pt x="6017" y="41"/>
                    <a:pt x="6025" y="53"/>
                  </a:cubicBezTo>
                  <a:cubicBezTo>
                    <a:pt x="6029" y="60"/>
                    <a:pt x="6034" y="67"/>
                    <a:pt x="6044" y="67"/>
                  </a:cubicBezTo>
                  <a:cubicBezTo>
                    <a:pt x="6054" y="67"/>
                    <a:pt x="6061" y="59"/>
                    <a:pt x="6061" y="49"/>
                  </a:cubicBezTo>
                  <a:cubicBezTo>
                    <a:pt x="6061" y="29"/>
                    <a:pt x="6029" y="1"/>
                    <a:pt x="5982" y="1"/>
                  </a:cubicBezTo>
                  <a:cubicBezTo>
                    <a:pt x="5931" y="1"/>
                    <a:pt x="5899" y="33"/>
                    <a:pt x="5899" y="75"/>
                  </a:cubicBezTo>
                  <a:cubicBezTo>
                    <a:pt x="5899" y="122"/>
                    <a:pt x="5940" y="141"/>
                    <a:pt x="5956" y="149"/>
                  </a:cubicBezTo>
                  <a:lnTo>
                    <a:pt x="5977" y="159"/>
                  </a:lnTo>
                  <a:cubicBezTo>
                    <a:pt x="6008" y="173"/>
                    <a:pt x="6035" y="187"/>
                    <a:pt x="6035" y="221"/>
                  </a:cubicBezTo>
                  <a:cubicBezTo>
                    <a:pt x="6035" y="246"/>
                    <a:pt x="6017" y="267"/>
                    <a:pt x="5987" y="267"/>
                  </a:cubicBezTo>
                  <a:cubicBezTo>
                    <a:pt x="5954" y="267"/>
                    <a:pt x="5941" y="242"/>
                    <a:pt x="5935" y="230"/>
                  </a:cubicBezTo>
                  <a:cubicBezTo>
                    <a:pt x="5931" y="221"/>
                    <a:pt x="5926" y="213"/>
                    <a:pt x="5915" y="213"/>
                  </a:cubicBezTo>
                  <a:cubicBezTo>
                    <a:pt x="5905" y="213"/>
                    <a:pt x="5896" y="219"/>
                    <a:pt x="5896" y="232"/>
                  </a:cubicBezTo>
                  <a:cubicBezTo>
                    <a:pt x="5896" y="249"/>
                    <a:pt x="5920" y="292"/>
                    <a:pt x="5984" y="292"/>
                  </a:cubicBezTo>
                  <a:cubicBezTo>
                    <a:pt x="6036" y="292"/>
                    <a:pt x="6072" y="259"/>
                    <a:pt x="6072" y="212"/>
                  </a:cubicBezTo>
                  <a:cubicBezTo>
                    <a:pt x="6072" y="162"/>
                    <a:pt x="6031" y="142"/>
                    <a:pt x="6011" y="132"/>
                  </a:cubicBezTo>
                  <a:lnTo>
                    <a:pt x="5991" y="122"/>
                  </a:lnTo>
                  <a:close/>
                  <a:moveTo>
                    <a:pt x="5814" y="228"/>
                  </a:moveTo>
                  <a:cubicBezTo>
                    <a:pt x="5814" y="241"/>
                    <a:pt x="5813" y="249"/>
                    <a:pt x="5803" y="256"/>
                  </a:cubicBezTo>
                  <a:cubicBezTo>
                    <a:pt x="5793" y="263"/>
                    <a:pt x="5777" y="266"/>
                    <a:pt x="5762" y="266"/>
                  </a:cubicBezTo>
                  <a:cubicBezTo>
                    <a:pt x="5699" y="266"/>
                    <a:pt x="5663" y="210"/>
                    <a:pt x="5663" y="140"/>
                  </a:cubicBezTo>
                  <a:cubicBezTo>
                    <a:pt x="5663" y="62"/>
                    <a:pt x="5707" y="25"/>
                    <a:pt x="5752" y="25"/>
                  </a:cubicBezTo>
                  <a:cubicBezTo>
                    <a:pt x="5787" y="25"/>
                    <a:pt x="5803" y="47"/>
                    <a:pt x="5811" y="59"/>
                  </a:cubicBezTo>
                  <a:cubicBezTo>
                    <a:pt x="5819" y="71"/>
                    <a:pt x="5824" y="79"/>
                    <a:pt x="5834" y="79"/>
                  </a:cubicBezTo>
                  <a:cubicBezTo>
                    <a:pt x="5843" y="79"/>
                    <a:pt x="5853" y="72"/>
                    <a:pt x="5853" y="60"/>
                  </a:cubicBezTo>
                  <a:cubicBezTo>
                    <a:pt x="5853" y="41"/>
                    <a:pt x="5819" y="1"/>
                    <a:pt x="5753" y="1"/>
                  </a:cubicBezTo>
                  <a:cubicBezTo>
                    <a:pt x="5673" y="1"/>
                    <a:pt x="5621" y="61"/>
                    <a:pt x="5621" y="146"/>
                  </a:cubicBezTo>
                  <a:cubicBezTo>
                    <a:pt x="5621" y="223"/>
                    <a:pt x="5662" y="292"/>
                    <a:pt x="5759" y="292"/>
                  </a:cubicBezTo>
                  <a:cubicBezTo>
                    <a:pt x="5802" y="292"/>
                    <a:pt x="5834" y="277"/>
                    <a:pt x="5847" y="260"/>
                  </a:cubicBezTo>
                  <a:cubicBezTo>
                    <a:pt x="5852" y="254"/>
                    <a:pt x="5852" y="252"/>
                    <a:pt x="5852" y="238"/>
                  </a:cubicBezTo>
                  <a:lnTo>
                    <a:pt x="5852" y="155"/>
                  </a:lnTo>
                  <a:cubicBezTo>
                    <a:pt x="5852" y="150"/>
                    <a:pt x="5852" y="147"/>
                    <a:pt x="5845" y="147"/>
                  </a:cubicBezTo>
                  <a:lnTo>
                    <a:pt x="5760" y="147"/>
                  </a:lnTo>
                  <a:cubicBezTo>
                    <a:pt x="5756" y="147"/>
                    <a:pt x="5753" y="147"/>
                    <a:pt x="5752" y="151"/>
                  </a:cubicBezTo>
                  <a:lnTo>
                    <a:pt x="5752" y="163"/>
                  </a:lnTo>
                  <a:cubicBezTo>
                    <a:pt x="5752" y="170"/>
                    <a:pt x="5753" y="170"/>
                    <a:pt x="5760" y="170"/>
                  </a:cubicBezTo>
                  <a:lnTo>
                    <a:pt x="5814" y="170"/>
                  </a:lnTo>
                  <a:lnTo>
                    <a:pt x="5814" y="228"/>
                  </a:lnTo>
                  <a:close/>
                  <a:moveTo>
                    <a:pt x="5390" y="13"/>
                  </a:moveTo>
                  <a:cubicBezTo>
                    <a:pt x="5386" y="7"/>
                    <a:pt x="5386" y="7"/>
                    <a:pt x="5381" y="7"/>
                  </a:cubicBezTo>
                  <a:lnTo>
                    <a:pt x="5358" y="7"/>
                  </a:lnTo>
                  <a:cubicBezTo>
                    <a:pt x="5351" y="7"/>
                    <a:pt x="5350" y="8"/>
                    <a:pt x="5350" y="14"/>
                  </a:cubicBezTo>
                  <a:lnTo>
                    <a:pt x="5350" y="278"/>
                  </a:lnTo>
                  <a:cubicBezTo>
                    <a:pt x="5350" y="284"/>
                    <a:pt x="5351" y="286"/>
                    <a:pt x="5357" y="286"/>
                  </a:cubicBezTo>
                  <a:cubicBezTo>
                    <a:pt x="5364" y="286"/>
                    <a:pt x="5377" y="286"/>
                    <a:pt x="5378" y="285"/>
                  </a:cubicBezTo>
                  <a:cubicBezTo>
                    <a:pt x="5381" y="285"/>
                    <a:pt x="5381" y="283"/>
                    <a:pt x="5381" y="278"/>
                  </a:cubicBezTo>
                  <a:lnTo>
                    <a:pt x="5381" y="61"/>
                  </a:lnTo>
                  <a:lnTo>
                    <a:pt x="5540" y="280"/>
                  </a:lnTo>
                  <a:cubicBezTo>
                    <a:pt x="5544" y="285"/>
                    <a:pt x="5545" y="285"/>
                    <a:pt x="5549" y="286"/>
                  </a:cubicBezTo>
                  <a:lnTo>
                    <a:pt x="5564" y="286"/>
                  </a:lnTo>
                  <a:cubicBezTo>
                    <a:pt x="5569" y="286"/>
                    <a:pt x="5571" y="285"/>
                    <a:pt x="5571" y="279"/>
                  </a:cubicBezTo>
                  <a:lnTo>
                    <a:pt x="5571" y="14"/>
                  </a:lnTo>
                  <a:cubicBezTo>
                    <a:pt x="5571" y="8"/>
                    <a:pt x="5570" y="7"/>
                    <a:pt x="5565" y="7"/>
                  </a:cubicBezTo>
                  <a:lnTo>
                    <a:pt x="5544" y="7"/>
                  </a:lnTo>
                  <a:cubicBezTo>
                    <a:pt x="5541" y="7"/>
                    <a:pt x="5540" y="9"/>
                    <a:pt x="5540" y="14"/>
                  </a:cubicBezTo>
                  <a:lnTo>
                    <a:pt x="5540" y="219"/>
                  </a:lnTo>
                  <a:lnTo>
                    <a:pt x="5390" y="13"/>
                  </a:lnTo>
                  <a:close/>
                  <a:moveTo>
                    <a:pt x="5281" y="14"/>
                  </a:moveTo>
                  <a:cubicBezTo>
                    <a:pt x="5281" y="7"/>
                    <a:pt x="5278" y="7"/>
                    <a:pt x="5273" y="7"/>
                  </a:cubicBezTo>
                  <a:lnTo>
                    <a:pt x="5249" y="7"/>
                  </a:lnTo>
                  <a:cubicBezTo>
                    <a:pt x="5243" y="6"/>
                    <a:pt x="5242" y="8"/>
                    <a:pt x="5242" y="15"/>
                  </a:cubicBezTo>
                  <a:lnTo>
                    <a:pt x="5242" y="278"/>
                  </a:lnTo>
                  <a:cubicBezTo>
                    <a:pt x="5242" y="285"/>
                    <a:pt x="5244" y="286"/>
                    <a:pt x="5249" y="286"/>
                  </a:cubicBezTo>
                  <a:lnTo>
                    <a:pt x="5273" y="286"/>
                  </a:lnTo>
                  <a:cubicBezTo>
                    <a:pt x="5279" y="286"/>
                    <a:pt x="5281" y="285"/>
                    <a:pt x="5281" y="278"/>
                  </a:cubicBezTo>
                  <a:lnTo>
                    <a:pt x="5281" y="14"/>
                  </a:lnTo>
                  <a:close/>
                  <a:moveTo>
                    <a:pt x="5007" y="30"/>
                  </a:moveTo>
                  <a:cubicBezTo>
                    <a:pt x="5014" y="29"/>
                    <a:pt x="5021" y="28"/>
                    <a:pt x="5032" y="28"/>
                  </a:cubicBezTo>
                  <a:cubicBezTo>
                    <a:pt x="5069" y="28"/>
                    <a:pt x="5100" y="37"/>
                    <a:pt x="5123" y="62"/>
                  </a:cubicBezTo>
                  <a:cubicBezTo>
                    <a:pt x="5143" y="85"/>
                    <a:pt x="5151" y="115"/>
                    <a:pt x="5151" y="145"/>
                  </a:cubicBezTo>
                  <a:cubicBezTo>
                    <a:pt x="5151" y="216"/>
                    <a:pt x="5113" y="264"/>
                    <a:pt x="5028" y="264"/>
                  </a:cubicBezTo>
                  <a:cubicBezTo>
                    <a:pt x="5019" y="264"/>
                    <a:pt x="5012" y="263"/>
                    <a:pt x="5007" y="262"/>
                  </a:cubicBezTo>
                  <a:lnTo>
                    <a:pt x="5007" y="30"/>
                  </a:lnTo>
                  <a:close/>
                  <a:moveTo>
                    <a:pt x="4968" y="275"/>
                  </a:moveTo>
                  <a:cubicBezTo>
                    <a:pt x="4968" y="280"/>
                    <a:pt x="4968" y="283"/>
                    <a:pt x="4974" y="285"/>
                  </a:cubicBezTo>
                  <a:cubicBezTo>
                    <a:pt x="4985" y="287"/>
                    <a:pt x="5013" y="288"/>
                    <a:pt x="5027" y="288"/>
                  </a:cubicBezTo>
                  <a:cubicBezTo>
                    <a:pt x="5072" y="288"/>
                    <a:pt x="5117" y="279"/>
                    <a:pt x="5150" y="250"/>
                  </a:cubicBezTo>
                  <a:cubicBezTo>
                    <a:pt x="5165" y="236"/>
                    <a:pt x="5193" y="204"/>
                    <a:pt x="5193" y="147"/>
                  </a:cubicBezTo>
                  <a:cubicBezTo>
                    <a:pt x="5193" y="82"/>
                    <a:pt x="5154" y="4"/>
                    <a:pt x="5037" y="4"/>
                  </a:cubicBezTo>
                  <a:cubicBezTo>
                    <a:pt x="5013" y="4"/>
                    <a:pt x="4984" y="7"/>
                    <a:pt x="4974" y="11"/>
                  </a:cubicBezTo>
                  <a:cubicBezTo>
                    <a:pt x="4969" y="12"/>
                    <a:pt x="4968" y="13"/>
                    <a:pt x="4968" y="22"/>
                  </a:cubicBezTo>
                  <a:lnTo>
                    <a:pt x="4968" y="275"/>
                  </a:lnTo>
                  <a:close/>
                  <a:moveTo>
                    <a:pt x="4816" y="14"/>
                  </a:moveTo>
                  <a:cubicBezTo>
                    <a:pt x="4816" y="8"/>
                    <a:pt x="4815" y="7"/>
                    <a:pt x="4809" y="7"/>
                  </a:cubicBezTo>
                  <a:lnTo>
                    <a:pt x="4784" y="7"/>
                  </a:lnTo>
                  <a:cubicBezTo>
                    <a:pt x="4779" y="7"/>
                    <a:pt x="4777" y="7"/>
                    <a:pt x="4777" y="14"/>
                  </a:cubicBezTo>
                  <a:lnTo>
                    <a:pt x="4777" y="279"/>
                  </a:lnTo>
                  <a:cubicBezTo>
                    <a:pt x="4777" y="283"/>
                    <a:pt x="4778" y="286"/>
                    <a:pt x="4784" y="286"/>
                  </a:cubicBezTo>
                  <a:lnTo>
                    <a:pt x="4921" y="286"/>
                  </a:lnTo>
                  <a:cubicBezTo>
                    <a:pt x="4924" y="286"/>
                    <a:pt x="4927" y="286"/>
                    <a:pt x="4928" y="282"/>
                  </a:cubicBezTo>
                  <a:lnTo>
                    <a:pt x="4928" y="267"/>
                  </a:lnTo>
                  <a:cubicBezTo>
                    <a:pt x="4928" y="262"/>
                    <a:pt x="4927" y="260"/>
                    <a:pt x="4921" y="260"/>
                  </a:cubicBezTo>
                  <a:lnTo>
                    <a:pt x="4816" y="260"/>
                  </a:lnTo>
                  <a:lnTo>
                    <a:pt x="4816" y="14"/>
                  </a:lnTo>
                  <a:close/>
                  <a:moveTo>
                    <a:pt x="4687" y="139"/>
                  </a:moveTo>
                  <a:cubicBezTo>
                    <a:pt x="4687" y="161"/>
                    <a:pt x="4686" y="198"/>
                    <a:pt x="4667" y="227"/>
                  </a:cubicBezTo>
                  <a:cubicBezTo>
                    <a:pt x="4650" y="254"/>
                    <a:pt x="4624" y="265"/>
                    <a:pt x="4601" y="265"/>
                  </a:cubicBezTo>
                  <a:cubicBezTo>
                    <a:pt x="4565" y="265"/>
                    <a:pt x="4530" y="238"/>
                    <a:pt x="4519" y="185"/>
                  </a:cubicBezTo>
                  <a:cubicBezTo>
                    <a:pt x="4516" y="173"/>
                    <a:pt x="4515" y="159"/>
                    <a:pt x="4515" y="144"/>
                  </a:cubicBezTo>
                  <a:cubicBezTo>
                    <a:pt x="4515" y="98"/>
                    <a:pt x="4527" y="55"/>
                    <a:pt x="4564" y="34"/>
                  </a:cubicBezTo>
                  <a:cubicBezTo>
                    <a:pt x="4575" y="28"/>
                    <a:pt x="4588" y="24"/>
                    <a:pt x="4601" y="24"/>
                  </a:cubicBezTo>
                  <a:cubicBezTo>
                    <a:pt x="4630" y="24"/>
                    <a:pt x="4684" y="46"/>
                    <a:pt x="4687" y="139"/>
                  </a:cubicBezTo>
                  <a:close/>
                  <a:moveTo>
                    <a:pt x="4728" y="138"/>
                  </a:moveTo>
                  <a:cubicBezTo>
                    <a:pt x="4725" y="69"/>
                    <a:pt x="4683" y="0"/>
                    <a:pt x="4602" y="0"/>
                  </a:cubicBezTo>
                  <a:cubicBezTo>
                    <a:pt x="4514" y="0"/>
                    <a:pt x="4474" y="76"/>
                    <a:pt x="4474" y="146"/>
                  </a:cubicBezTo>
                  <a:cubicBezTo>
                    <a:pt x="4474" y="232"/>
                    <a:pt x="4529" y="292"/>
                    <a:pt x="4602" y="292"/>
                  </a:cubicBezTo>
                  <a:cubicBezTo>
                    <a:pt x="4678" y="292"/>
                    <a:pt x="4732" y="224"/>
                    <a:pt x="4728" y="138"/>
                  </a:cubicBezTo>
                  <a:close/>
                  <a:moveTo>
                    <a:pt x="4386" y="278"/>
                  </a:moveTo>
                  <a:cubicBezTo>
                    <a:pt x="4386" y="285"/>
                    <a:pt x="4387" y="286"/>
                    <a:pt x="4393" y="286"/>
                  </a:cubicBezTo>
                  <a:lnTo>
                    <a:pt x="4418" y="286"/>
                  </a:lnTo>
                  <a:cubicBezTo>
                    <a:pt x="4423" y="286"/>
                    <a:pt x="4425" y="286"/>
                    <a:pt x="4425" y="279"/>
                  </a:cubicBezTo>
                  <a:lnTo>
                    <a:pt x="4425" y="13"/>
                  </a:lnTo>
                  <a:cubicBezTo>
                    <a:pt x="4425" y="7"/>
                    <a:pt x="4424" y="7"/>
                    <a:pt x="4418" y="7"/>
                  </a:cubicBezTo>
                  <a:lnTo>
                    <a:pt x="4393" y="7"/>
                  </a:lnTo>
                  <a:cubicBezTo>
                    <a:pt x="4386" y="6"/>
                    <a:pt x="4386" y="9"/>
                    <a:pt x="4386" y="15"/>
                  </a:cubicBezTo>
                  <a:lnTo>
                    <a:pt x="4386" y="127"/>
                  </a:lnTo>
                  <a:lnTo>
                    <a:pt x="4268" y="127"/>
                  </a:lnTo>
                  <a:lnTo>
                    <a:pt x="4268" y="13"/>
                  </a:lnTo>
                  <a:cubicBezTo>
                    <a:pt x="4268" y="7"/>
                    <a:pt x="4266" y="6"/>
                    <a:pt x="4261" y="7"/>
                  </a:cubicBezTo>
                  <a:lnTo>
                    <a:pt x="4236" y="7"/>
                  </a:lnTo>
                  <a:cubicBezTo>
                    <a:pt x="4231" y="7"/>
                    <a:pt x="4229" y="8"/>
                    <a:pt x="4229" y="13"/>
                  </a:cubicBezTo>
                  <a:lnTo>
                    <a:pt x="4229" y="278"/>
                  </a:lnTo>
                  <a:cubicBezTo>
                    <a:pt x="4229" y="285"/>
                    <a:pt x="4231" y="286"/>
                    <a:pt x="4236" y="286"/>
                  </a:cubicBezTo>
                  <a:lnTo>
                    <a:pt x="4261" y="286"/>
                  </a:lnTo>
                  <a:cubicBezTo>
                    <a:pt x="4266" y="286"/>
                    <a:pt x="4268" y="285"/>
                    <a:pt x="4268" y="278"/>
                  </a:cubicBezTo>
                  <a:lnTo>
                    <a:pt x="4268" y="152"/>
                  </a:lnTo>
                  <a:lnTo>
                    <a:pt x="4386" y="152"/>
                  </a:lnTo>
                  <a:lnTo>
                    <a:pt x="4386" y="278"/>
                  </a:lnTo>
                  <a:close/>
                  <a:moveTo>
                    <a:pt x="4068" y="152"/>
                  </a:moveTo>
                  <a:cubicBezTo>
                    <a:pt x="4072" y="152"/>
                    <a:pt x="4074" y="152"/>
                    <a:pt x="4075" y="149"/>
                  </a:cubicBezTo>
                  <a:cubicBezTo>
                    <a:pt x="4076" y="147"/>
                    <a:pt x="4076" y="138"/>
                    <a:pt x="4076" y="133"/>
                  </a:cubicBezTo>
                  <a:cubicBezTo>
                    <a:pt x="4076" y="127"/>
                    <a:pt x="4072" y="127"/>
                    <a:pt x="4068" y="127"/>
                  </a:cubicBezTo>
                  <a:lnTo>
                    <a:pt x="3977" y="127"/>
                  </a:lnTo>
                  <a:lnTo>
                    <a:pt x="3977" y="32"/>
                  </a:lnTo>
                  <a:lnTo>
                    <a:pt x="4085" y="32"/>
                  </a:lnTo>
                  <a:cubicBezTo>
                    <a:pt x="4090" y="32"/>
                    <a:pt x="4092" y="31"/>
                    <a:pt x="4092" y="28"/>
                  </a:cubicBezTo>
                  <a:cubicBezTo>
                    <a:pt x="4092" y="26"/>
                    <a:pt x="4092" y="18"/>
                    <a:pt x="4092" y="13"/>
                  </a:cubicBezTo>
                  <a:cubicBezTo>
                    <a:pt x="4092" y="7"/>
                    <a:pt x="4089" y="7"/>
                    <a:pt x="4085" y="7"/>
                  </a:cubicBezTo>
                  <a:lnTo>
                    <a:pt x="3946" y="7"/>
                  </a:lnTo>
                  <a:cubicBezTo>
                    <a:pt x="3939" y="7"/>
                    <a:pt x="3938" y="9"/>
                    <a:pt x="3938" y="16"/>
                  </a:cubicBezTo>
                  <a:lnTo>
                    <a:pt x="3938" y="279"/>
                  </a:lnTo>
                  <a:cubicBezTo>
                    <a:pt x="3938" y="285"/>
                    <a:pt x="3940" y="286"/>
                    <a:pt x="3946" y="286"/>
                  </a:cubicBezTo>
                  <a:lnTo>
                    <a:pt x="4085" y="286"/>
                  </a:lnTo>
                  <a:cubicBezTo>
                    <a:pt x="4090" y="286"/>
                    <a:pt x="4092" y="285"/>
                    <a:pt x="4092" y="279"/>
                  </a:cubicBezTo>
                  <a:lnTo>
                    <a:pt x="4092" y="267"/>
                  </a:lnTo>
                  <a:cubicBezTo>
                    <a:pt x="4092" y="260"/>
                    <a:pt x="4090" y="260"/>
                    <a:pt x="4085" y="260"/>
                  </a:cubicBezTo>
                  <a:lnTo>
                    <a:pt x="3977" y="260"/>
                  </a:lnTo>
                  <a:lnTo>
                    <a:pt x="3977" y="152"/>
                  </a:lnTo>
                  <a:lnTo>
                    <a:pt x="4068" y="152"/>
                  </a:lnTo>
                  <a:close/>
                  <a:moveTo>
                    <a:pt x="3861" y="64"/>
                  </a:moveTo>
                  <a:cubicBezTo>
                    <a:pt x="3867" y="73"/>
                    <a:pt x="3874" y="74"/>
                    <a:pt x="3879" y="74"/>
                  </a:cubicBezTo>
                  <a:cubicBezTo>
                    <a:pt x="3888" y="74"/>
                    <a:pt x="3897" y="67"/>
                    <a:pt x="3897" y="56"/>
                  </a:cubicBezTo>
                  <a:cubicBezTo>
                    <a:pt x="3897" y="35"/>
                    <a:pt x="3864" y="1"/>
                    <a:pt x="3805" y="1"/>
                  </a:cubicBezTo>
                  <a:cubicBezTo>
                    <a:pt x="3713" y="1"/>
                    <a:pt x="3677" y="77"/>
                    <a:pt x="3677" y="144"/>
                  </a:cubicBezTo>
                  <a:cubicBezTo>
                    <a:pt x="3677" y="222"/>
                    <a:pt x="3720" y="292"/>
                    <a:pt x="3807" y="292"/>
                  </a:cubicBezTo>
                  <a:cubicBezTo>
                    <a:pt x="3858" y="292"/>
                    <a:pt x="3893" y="262"/>
                    <a:pt x="3893" y="248"/>
                  </a:cubicBezTo>
                  <a:cubicBezTo>
                    <a:pt x="3893" y="243"/>
                    <a:pt x="3889" y="239"/>
                    <a:pt x="3884" y="239"/>
                  </a:cubicBezTo>
                  <a:cubicBezTo>
                    <a:pt x="3880" y="239"/>
                    <a:pt x="3877" y="241"/>
                    <a:pt x="3870" y="245"/>
                  </a:cubicBezTo>
                  <a:cubicBezTo>
                    <a:pt x="3853" y="257"/>
                    <a:pt x="3835" y="263"/>
                    <a:pt x="3815" y="263"/>
                  </a:cubicBezTo>
                  <a:cubicBezTo>
                    <a:pt x="3758" y="263"/>
                    <a:pt x="3718" y="209"/>
                    <a:pt x="3718" y="136"/>
                  </a:cubicBezTo>
                  <a:cubicBezTo>
                    <a:pt x="3718" y="67"/>
                    <a:pt x="3755" y="25"/>
                    <a:pt x="3801" y="25"/>
                  </a:cubicBezTo>
                  <a:cubicBezTo>
                    <a:pt x="3838" y="25"/>
                    <a:pt x="3854" y="52"/>
                    <a:pt x="3861" y="64"/>
                  </a:cubicBezTo>
                  <a:close/>
                  <a:moveTo>
                    <a:pt x="3447" y="13"/>
                  </a:moveTo>
                  <a:cubicBezTo>
                    <a:pt x="3443" y="7"/>
                    <a:pt x="3443" y="7"/>
                    <a:pt x="3438" y="7"/>
                  </a:cubicBezTo>
                  <a:lnTo>
                    <a:pt x="3414" y="7"/>
                  </a:lnTo>
                  <a:cubicBezTo>
                    <a:pt x="3408" y="7"/>
                    <a:pt x="3407" y="8"/>
                    <a:pt x="3407" y="14"/>
                  </a:cubicBezTo>
                  <a:lnTo>
                    <a:pt x="3407" y="278"/>
                  </a:lnTo>
                  <a:cubicBezTo>
                    <a:pt x="3407" y="284"/>
                    <a:pt x="3408" y="286"/>
                    <a:pt x="3414" y="286"/>
                  </a:cubicBezTo>
                  <a:cubicBezTo>
                    <a:pt x="3420" y="286"/>
                    <a:pt x="3434" y="286"/>
                    <a:pt x="3434" y="285"/>
                  </a:cubicBezTo>
                  <a:cubicBezTo>
                    <a:pt x="3438" y="285"/>
                    <a:pt x="3438" y="283"/>
                    <a:pt x="3438" y="278"/>
                  </a:cubicBezTo>
                  <a:lnTo>
                    <a:pt x="3438" y="61"/>
                  </a:lnTo>
                  <a:lnTo>
                    <a:pt x="3597" y="280"/>
                  </a:lnTo>
                  <a:cubicBezTo>
                    <a:pt x="3601" y="285"/>
                    <a:pt x="3602" y="285"/>
                    <a:pt x="3606" y="286"/>
                  </a:cubicBezTo>
                  <a:lnTo>
                    <a:pt x="3621" y="286"/>
                  </a:lnTo>
                  <a:cubicBezTo>
                    <a:pt x="3626" y="286"/>
                    <a:pt x="3628" y="285"/>
                    <a:pt x="3628" y="279"/>
                  </a:cubicBezTo>
                  <a:lnTo>
                    <a:pt x="3628" y="14"/>
                  </a:lnTo>
                  <a:cubicBezTo>
                    <a:pt x="3628" y="8"/>
                    <a:pt x="3627" y="7"/>
                    <a:pt x="3622" y="7"/>
                  </a:cubicBezTo>
                  <a:lnTo>
                    <a:pt x="3601" y="7"/>
                  </a:lnTo>
                  <a:cubicBezTo>
                    <a:pt x="3598" y="7"/>
                    <a:pt x="3597" y="9"/>
                    <a:pt x="3597" y="14"/>
                  </a:cubicBezTo>
                  <a:lnTo>
                    <a:pt x="3597" y="219"/>
                  </a:lnTo>
                  <a:lnTo>
                    <a:pt x="3447" y="13"/>
                  </a:lnTo>
                  <a:close/>
                  <a:moveTo>
                    <a:pt x="3212" y="153"/>
                  </a:moveTo>
                  <a:lnTo>
                    <a:pt x="3247" y="59"/>
                  </a:lnTo>
                  <a:lnTo>
                    <a:pt x="3281" y="153"/>
                  </a:lnTo>
                  <a:lnTo>
                    <a:pt x="3212" y="153"/>
                  </a:lnTo>
                  <a:close/>
                  <a:moveTo>
                    <a:pt x="3329" y="280"/>
                  </a:moveTo>
                  <a:cubicBezTo>
                    <a:pt x="3331" y="286"/>
                    <a:pt x="3332" y="286"/>
                    <a:pt x="3339" y="286"/>
                  </a:cubicBezTo>
                  <a:lnTo>
                    <a:pt x="3366" y="286"/>
                  </a:lnTo>
                  <a:cubicBezTo>
                    <a:pt x="3369" y="286"/>
                    <a:pt x="3372" y="286"/>
                    <a:pt x="3372" y="282"/>
                  </a:cubicBezTo>
                  <a:cubicBezTo>
                    <a:pt x="3372" y="280"/>
                    <a:pt x="3371" y="278"/>
                    <a:pt x="3370" y="276"/>
                  </a:cubicBezTo>
                  <a:lnTo>
                    <a:pt x="3267" y="12"/>
                  </a:lnTo>
                  <a:cubicBezTo>
                    <a:pt x="3265" y="7"/>
                    <a:pt x="3264" y="7"/>
                    <a:pt x="3261" y="7"/>
                  </a:cubicBezTo>
                  <a:lnTo>
                    <a:pt x="3244" y="7"/>
                  </a:lnTo>
                  <a:cubicBezTo>
                    <a:pt x="3239" y="7"/>
                    <a:pt x="3238" y="7"/>
                    <a:pt x="3236" y="13"/>
                  </a:cubicBezTo>
                  <a:lnTo>
                    <a:pt x="3133" y="276"/>
                  </a:lnTo>
                  <a:cubicBezTo>
                    <a:pt x="3133" y="277"/>
                    <a:pt x="3131" y="282"/>
                    <a:pt x="3131" y="282"/>
                  </a:cubicBezTo>
                  <a:cubicBezTo>
                    <a:pt x="3131" y="286"/>
                    <a:pt x="3135" y="286"/>
                    <a:pt x="3137" y="286"/>
                  </a:cubicBezTo>
                  <a:lnTo>
                    <a:pt x="3156" y="286"/>
                  </a:lnTo>
                  <a:cubicBezTo>
                    <a:pt x="3161" y="286"/>
                    <a:pt x="3163" y="286"/>
                    <a:pt x="3165" y="279"/>
                  </a:cubicBezTo>
                  <a:lnTo>
                    <a:pt x="3204" y="176"/>
                  </a:lnTo>
                  <a:lnTo>
                    <a:pt x="3289" y="176"/>
                  </a:lnTo>
                  <a:lnTo>
                    <a:pt x="3329" y="280"/>
                  </a:lnTo>
                  <a:close/>
                  <a:moveTo>
                    <a:pt x="2972" y="28"/>
                  </a:moveTo>
                  <a:cubicBezTo>
                    <a:pt x="2980" y="27"/>
                    <a:pt x="2986" y="26"/>
                    <a:pt x="2997" y="26"/>
                  </a:cubicBezTo>
                  <a:cubicBezTo>
                    <a:pt x="3014" y="26"/>
                    <a:pt x="3063" y="26"/>
                    <a:pt x="3063" y="83"/>
                  </a:cubicBezTo>
                  <a:cubicBezTo>
                    <a:pt x="3063" y="119"/>
                    <a:pt x="3038" y="138"/>
                    <a:pt x="3004" y="141"/>
                  </a:cubicBezTo>
                  <a:cubicBezTo>
                    <a:pt x="2998" y="142"/>
                    <a:pt x="2995" y="142"/>
                    <a:pt x="2972" y="141"/>
                  </a:cubicBezTo>
                  <a:lnTo>
                    <a:pt x="2972" y="28"/>
                  </a:lnTo>
                  <a:close/>
                  <a:moveTo>
                    <a:pt x="2933" y="279"/>
                  </a:moveTo>
                  <a:cubicBezTo>
                    <a:pt x="2933" y="285"/>
                    <a:pt x="2935" y="286"/>
                    <a:pt x="2941" y="286"/>
                  </a:cubicBezTo>
                  <a:lnTo>
                    <a:pt x="2964" y="286"/>
                  </a:lnTo>
                  <a:cubicBezTo>
                    <a:pt x="2970" y="286"/>
                    <a:pt x="2972" y="284"/>
                    <a:pt x="2972" y="277"/>
                  </a:cubicBezTo>
                  <a:lnTo>
                    <a:pt x="2972" y="173"/>
                  </a:lnTo>
                  <a:cubicBezTo>
                    <a:pt x="2972" y="169"/>
                    <a:pt x="2971" y="159"/>
                    <a:pt x="2982" y="159"/>
                  </a:cubicBezTo>
                  <a:cubicBezTo>
                    <a:pt x="2993" y="159"/>
                    <a:pt x="3000" y="168"/>
                    <a:pt x="3003" y="174"/>
                  </a:cubicBezTo>
                  <a:lnTo>
                    <a:pt x="3070" y="279"/>
                  </a:lnTo>
                  <a:cubicBezTo>
                    <a:pt x="3074" y="286"/>
                    <a:pt x="3074" y="286"/>
                    <a:pt x="3081" y="286"/>
                  </a:cubicBezTo>
                  <a:lnTo>
                    <a:pt x="3110" y="286"/>
                  </a:lnTo>
                  <a:cubicBezTo>
                    <a:pt x="3112" y="286"/>
                    <a:pt x="3116" y="286"/>
                    <a:pt x="3116" y="282"/>
                  </a:cubicBezTo>
                  <a:cubicBezTo>
                    <a:pt x="3116" y="279"/>
                    <a:pt x="3115" y="277"/>
                    <a:pt x="3114" y="275"/>
                  </a:cubicBezTo>
                  <a:lnTo>
                    <a:pt x="3033" y="154"/>
                  </a:lnTo>
                  <a:cubicBezTo>
                    <a:pt x="3077" y="143"/>
                    <a:pt x="3102" y="116"/>
                    <a:pt x="3102" y="79"/>
                  </a:cubicBezTo>
                  <a:cubicBezTo>
                    <a:pt x="3102" y="43"/>
                    <a:pt x="3082" y="27"/>
                    <a:pt x="3078" y="24"/>
                  </a:cubicBezTo>
                  <a:cubicBezTo>
                    <a:pt x="3057" y="5"/>
                    <a:pt x="3023" y="4"/>
                    <a:pt x="3002" y="4"/>
                  </a:cubicBezTo>
                  <a:cubicBezTo>
                    <a:pt x="2981" y="4"/>
                    <a:pt x="2949" y="6"/>
                    <a:pt x="2940" y="9"/>
                  </a:cubicBezTo>
                  <a:cubicBezTo>
                    <a:pt x="2935" y="11"/>
                    <a:pt x="2933" y="13"/>
                    <a:pt x="2933" y="22"/>
                  </a:cubicBezTo>
                  <a:lnTo>
                    <a:pt x="2933" y="279"/>
                  </a:lnTo>
                  <a:close/>
                  <a:moveTo>
                    <a:pt x="2868" y="14"/>
                  </a:moveTo>
                  <a:cubicBezTo>
                    <a:pt x="2868" y="9"/>
                    <a:pt x="2866" y="7"/>
                    <a:pt x="2863" y="7"/>
                  </a:cubicBezTo>
                  <a:cubicBezTo>
                    <a:pt x="2862" y="7"/>
                    <a:pt x="2850" y="7"/>
                    <a:pt x="2843" y="7"/>
                  </a:cubicBezTo>
                  <a:cubicBezTo>
                    <a:pt x="2838" y="7"/>
                    <a:pt x="2837" y="9"/>
                    <a:pt x="2837" y="14"/>
                  </a:cubicBezTo>
                  <a:lnTo>
                    <a:pt x="2837" y="199"/>
                  </a:lnTo>
                  <a:cubicBezTo>
                    <a:pt x="2837" y="214"/>
                    <a:pt x="2837" y="226"/>
                    <a:pt x="2828" y="239"/>
                  </a:cubicBezTo>
                  <a:cubicBezTo>
                    <a:pt x="2817" y="255"/>
                    <a:pt x="2798" y="262"/>
                    <a:pt x="2778" y="262"/>
                  </a:cubicBezTo>
                  <a:cubicBezTo>
                    <a:pt x="2721" y="262"/>
                    <a:pt x="2720" y="210"/>
                    <a:pt x="2720" y="191"/>
                  </a:cubicBezTo>
                  <a:lnTo>
                    <a:pt x="2720" y="14"/>
                  </a:lnTo>
                  <a:cubicBezTo>
                    <a:pt x="2720" y="7"/>
                    <a:pt x="2719" y="7"/>
                    <a:pt x="2713" y="7"/>
                  </a:cubicBezTo>
                  <a:lnTo>
                    <a:pt x="2688" y="7"/>
                  </a:lnTo>
                  <a:cubicBezTo>
                    <a:pt x="2682" y="7"/>
                    <a:pt x="2680" y="7"/>
                    <a:pt x="2680" y="14"/>
                  </a:cubicBezTo>
                  <a:lnTo>
                    <a:pt x="2680" y="197"/>
                  </a:lnTo>
                  <a:cubicBezTo>
                    <a:pt x="2680" y="213"/>
                    <a:pt x="2681" y="233"/>
                    <a:pt x="2691" y="251"/>
                  </a:cubicBezTo>
                  <a:cubicBezTo>
                    <a:pt x="2697" y="262"/>
                    <a:pt x="2717" y="292"/>
                    <a:pt x="2775" y="292"/>
                  </a:cubicBezTo>
                  <a:cubicBezTo>
                    <a:pt x="2811" y="292"/>
                    <a:pt x="2840" y="281"/>
                    <a:pt x="2856" y="253"/>
                  </a:cubicBezTo>
                  <a:cubicBezTo>
                    <a:pt x="2867" y="236"/>
                    <a:pt x="2867" y="219"/>
                    <a:pt x="2868" y="203"/>
                  </a:cubicBezTo>
                  <a:lnTo>
                    <a:pt x="2868" y="14"/>
                  </a:lnTo>
                  <a:close/>
                  <a:moveTo>
                    <a:pt x="2552" y="122"/>
                  </a:moveTo>
                  <a:cubicBezTo>
                    <a:pt x="2522" y="109"/>
                    <a:pt x="2497" y="98"/>
                    <a:pt x="2497" y="67"/>
                  </a:cubicBezTo>
                  <a:cubicBezTo>
                    <a:pt x="2497" y="44"/>
                    <a:pt x="2515" y="24"/>
                    <a:pt x="2541" y="24"/>
                  </a:cubicBezTo>
                  <a:cubicBezTo>
                    <a:pt x="2567" y="24"/>
                    <a:pt x="2578" y="41"/>
                    <a:pt x="2586" y="53"/>
                  </a:cubicBezTo>
                  <a:cubicBezTo>
                    <a:pt x="2590" y="60"/>
                    <a:pt x="2595" y="67"/>
                    <a:pt x="2605" y="67"/>
                  </a:cubicBezTo>
                  <a:cubicBezTo>
                    <a:pt x="2615" y="67"/>
                    <a:pt x="2622" y="59"/>
                    <a:pt x="2622" y="49"/>
                  </a:cubicBezTo>
                  <a:cubicBezTo>
                    <a:pt x="2622" y="29"/>
                    <a:pt x="2591" y="1"/>
                    <a:pt x="2543" y="1"/>
                  </a:cubicBezTo>
                  <a:cubicBezTo>
                    <a:pt x="2493" y="1"/>
                    <a:pt x="2461" y="33"/>
                    <a:pt x="2461" y="75"/>
                  </a:cubicBezTo>
                  <a:cubicBezTo>
                    <a:pt x="2461" y="122"/>
                    <a:pt x="2501" y="141"/>
                    <a:pt x="2517" y="149"/>
                  </a:cubicBezTo>
                  <a:lnTo>
                    <a:pt x="2538" y="159"/>
                  </a:lnTo>
                  <a:cubicBezTo>
                    <a:pt x="2569" y="173"/>
                    <a:pt x="2597" y="187"/>
                    <a:pt x="2597" y="221"/>
                  </a:cubicBezTo>
                  <a:cubicBezTo>
                    <a:pt x="2597" y="246"/>
                    <a:pt x="2578" y="267"/>
                    <a:pt x="2548" y="267"/>
                  </a:cubicBezTo>
                  <a:cubicBezTo>
                    <a:pt x="2515" y="267"/>
                    <a:pt x="2503" y="242"/>
                    <a:pt x="2497" y="230"/>
                  </a:cubicBezTo>
                  <a:cubicBezTo>
                    <a:pt x="2492" y="221"/>
                    <a:pt x="2487" y="213"/>
                    <a:pt x="2476" y="213"/>
                  </a:cubicBezTo>
                  <a:cubicBezTo>
                    <a:pt x="2467" y="213"/>
                    <a:pt x="2457" y="219"/>
                    <a:pt x="2457" y="232"/>
                  </a:cubicBezTo>
                  <a:cubicBezTo>
                    <a:pt x="2457" y="249"/>
                    <a:pt x="2481" y="292"/>
                    <a:pt x="2546" y="292"/>
                  </a:cubicBezTo>
                  <a:cubicBezTo>
                    <a:pt x="2597" y="292"/>
                    <a:pt x="2634" y="259"/>
                    <a:pt x="2634" y="212"/>
                  </a:cubicBezTo>
                  <a:cubicBezTo>
                    <a:pt x="2634" y="162"/>
                    <a:pt x="2593" y="142"/>
                    <a:pt x="2573" y="132"/>
                  </a:cubicBezTo>
                  <a:lnTo>
                    <a:pt x="2552" y="122"/>
                  </a:lnTo>
                  <a:close/>
                  <a:moveTo>
                    <a:pt x="2226" y="13"/>
                  </a:moveTo>
                  <a:cubicBezTo>
                    <a:pt x="2222" y="7"/>
                    <a:pt x="2222" y="7"/>
                    <a:pt x="2216" y="7"/>
                  </a:cubicBezTo>
                  <a:lnTo>
                    <a:pt x="2193" y="7"/>
                  </a:lnTo>
                  <a:cubicBezTo>
                    <a:pt x="2187" y="7"/>
                    <a:pt x="2186" y="8"/>
                    <a:pt x="2186" y="14"/>
                  </a:cubicBezTo>
                  <a:lnTo>
                    <a:pt x="2186" y="278"/>
                  </a:lnTo>
                  <a:cubicBezTo>
                    <a:pt x="2186" y="284"/>
                    <a:pt x="2187" y="286"/>
                    <a:pt x="2193" y="286"/>
                  </a:cubicBezTo>
                  <a:cubicBezTo>
                    <a:pt x="2199" y="286"/>
                    <a:pt x="2212" y="286"/>
                    <a:pt x="2213" y="285"/>
                  </a:cubicBezTo>
                  <a:cubicBezTo>
                    <a:pt x="2216" y="285"/>
                    <a:pt x="2217" y="283"/>
                    <a:pt x="2217" y="278"/>
                  </a:cubicBezTo>
                  <a:lnTo>
                    <a:pt x="2217" y="61"/>
                  </a:lnTo>
                  <a:lnTo>
                    <a:pt x="2376" y="280"/>
                  </a:lnTo>
                  <a:cubicBezTo>
                    <a:pt x="2379" y="285"/>
                    <a:pt x="2381" y="285"/>
                    <a:pt x="2385" y="286"/>
                  </a:cubicBezTo>
                  <a:lnTo>
                    <a:pt x="2400" y="286"/>
                  </a:lnTo>
                  <a:cubicBezTo>
                    <a:pt x="2405" y="286"/>
                    <a:pt x="2407" y="285"/>
                    <a:pt x="2407" y="279"/>
                  </a:cubicBezTo>
                  <a:lnTo>
                    <a:pt x="2407" y="14"/>
                  </a:lnTo>
                  <a:cubicBezTo>
                    <a:pt x="2407" y="8"/>
                    <a:pt x="2406" y="7"/>
                    <a:pt x="2401" y="7"/>
                  </a:cubicBezTo>
                  <a:lnTo>
                    <a:pt x="2380" y="7"/>
                  </a:lnTo>
                  <a:cubicBezTo>
                    <a:pt x="2377" y="7"/>
                    <a:pt x="2376" y="9"/>
                    <a:pt x="2376" y="14"/>
                  </a:cubicBezTo>
                  <a:lnTo>
                    <a:pt x="2376" y="219"/>
                  </a:lnTo>
                  <a:lnTo>
                    <a:pt x="2226" y="13"/>
                  </a:lnTo>
                  <a:close/>
                  <a:moveTo>
                    <a:pt x="2116" y="14"/>
                  </a:moveTo>
                  <a:cubicBezTo>
                    <a:pt x="2116" y="7"/>
                    <a:pt x="2114" y="7"/>
                    <a:pt x="2108" y="7"/>
                  </a:cubicBezTo>
                  <a:lnTo>
                    <a:pt x="2084" y="7"/>
                  </a:lnTo>
                  <a:cubicBezTo>
                    <a:pt x="2079" y="6"/>
                    <a:pt x="2077" y="8"/>
                    <a:pt x="2077" y="15"/>
                  </a:cubicBezTo>
                  <a:lnTo>
                    <a:pt x="2077" y="278"/>
                  </a:lnTo>
                  <a:cubicBezTo>
                    <a:pt x="2077" y="285"/>
                    <a:pt x="2080" y="286"/>
                    <a:pt x="2084" y="286"/>
                  </a:cubicBezTo>
                  <a:lnTo>
                    <a:pt x="2108" y="286"/>
                  </a:lnTo>
                  <a:cubicBezTo>
                    <a:pt x="2114" y="286"/>
                    <a:pt x="2116" y="285"/>
                    <a:pt x="2116" y="278"/>
                  </a:cubicBezTo>
                  <a:lnTo>
                    <a:pt x="2116" y="14"/>
                  </a:lnTo>
                  <a:close/>
                  <a:moveTo>
                    <a:pt x="1792" y="153"/>
                  </a:moveTo>
                  <a:lnTo>
                    <a:pt x="1826" y="59"/>
                  </a:lnTo>
                  <a:lnTo>
                    <a:pt x="1860" y="153"/>
                  </a:lnTo>
                  <a:lnTo>
                    <a:pt x="1792" y="153"/>
                  </a:lnTo>
                  <a:close/>
                  <a:moveTo>
                    <a:pt x="1908" y="280"/>
                  </a:moveTo>
                  <a:cubicBezTo>
                    <a:pt x="1911" y="286"/>
                    <a:pt x="1911" y="286"/>
                    <a:pt x="1918" y="286"/>
                  </a:cubicBezTo>
                  <a:lnTo>
                    <a:pt x="1946" y="286"/>
                  </a:lnTo>
                  <a:cubicBezTo>
                    <a:pt x="1949" y="286"/>
                    <a:pt x="1951" y="286"/>
                    <a:pt x="1951" y="282"/>
                  </a:cubicBezTo>
                  <a:cubicBezTo>
                    <a:pt x="1951" y="280"/>
                    <a:pt x="1951" y="278"/>
                    <a:pt x="1950" y="276"/>
                  </a:cubicBezTo>
                  <a:lnTo>
                    <a:pt x="1846" y="12"/>
                  </a:lnTo>
                  <a:cubicBezTo>
                    <a:pt x="1844" y="7"/>
                    <a:pt x="1843" y="7"/>
                    <a:pt x="1841" y="7"/>
                  </a:cubicBezTo>
                  <a:lnTo>
                    <a:pt x="1823" y="7"/>
                  </a:lnTo>
                  <a:cubicBezTo>
                    <a:pt x="1819" y="7"/>
                    <a:pt x="1818" y="7"/>
                    <a:pt x="1816" y="13"/>
                  </a:cubicBezTo>
                  <a:lnTo>
                    <a:pt x="1713" y="276"/>
                  </a:lnTo>
                  <a:cubicBezTo>
                    <a:pt x="1713" y="277"/>
                    <a:pt x="1711" y="282"/>
                    <a:pt x="1711" y="282"/>
                  </a:cubicBezTo>
                  <a:cubicBezTo>
                    <a:pt x="1711" y="286"/>
                    <a:pt x="1714" y="286"/>
                    <a:pt x="1717" y="286"/>
                  </a:cubicBezTo>
                  <a:lnTo>
                    <a:pt x="1736" y="286"/>
                  </a:lnTo>
                  <a:cubicBezTo>
                    <a:pt x="1741" y="286"/>
                    <a:pt x="1742" y="286"/>
                    <a:pt x="1745" y="279"/>
                  </a:cubicBezTo>
                  <a:lnTo>
                    <a:pt x="1783" y="176"/>
                  </a:lnTo>
                  <a:lnTo>
                    <a:pt x="1869" y="176"/>
                  </a:lnTo>
                  <a:lnTo>
                    <a:pt x="1908" y="280"/>
                  </a:lnTo>
                  <a:close/>
                  <a:moveTo>
                    <a:pt x="1495" y="13"/>
                  </a:moveTo>
                  <a:cubicBezTo>
                    <a:pt x="1491" y="7"/>
                    <a:pt x="1491" y="7"/>
                    <a:pt x="1485" y="7"/>
                  </a:cubicBezTo>
                  <a:lnTo>
                    <a:pt x="1462" y="7"/>
                  </a:lnTo>
                  <a:cubicBezTo>
                    <a:pt x="1456" y="7"/>
                    <a:pt x="1455" y="8"/>
                    <a:pt x="1455" y="14"/>
                  </a:cubicBezTo>
                  <a:lnTo>
                    <a:pt x="1455" y="278"/>
                  </a:lnTo>
                  <a:cubicBezTo>
                    <a:pt x="1455" y="284"/>
                    <a:pt x="1456" y="286"/>
                    <a:pt x="1462" y="286"/>
                  </a:cubicBezTo>
                  <a:cubicBezTo>
                    <a:pt x="1468" y="286"/>
                    <a:pt x="1481" y="286"/>
                    <a:pt x="1482" y="285"/>
                  </a:cubicBezTo>
                  <a:cubicBezTo>
                    <a:pt x="1485" y="285"/>
                    <a:pt x="1486" y="283"/>
                    <a:pt x="1486" y="278"/>
                  </a:cubicBezTo>
                  <a:lnTo>
                    <a:pt x="1486" y="61"/>
                  </a:lnTo>
                  <a:lnTo>
                    <a:pt x="1645" y="280"/>
                  </a:lnTo>
                  <a:cubicBezTo>
                    <a:pt x="1649" y="285"/>
                    <a:pt x="1650" y="285"/>
                    <a:pt x="1654" y="286"/>
                  </a:cubicBezTo>
                  <a:lnTo>
                    <a:pt x="1669" y="286"/>
                  </a:lnTo>
                  <a:cubicBezTo>
                    <a:pt x="1674" y="286"/>
                    <a:pt x="1676" y="285"/>
                    <a:pt x="1676" y="279"/>
                  </a:cubicBezTo>
                  <a:lnTo>
                    <a:pt x="1676" y="14"/>
                  </a:lnTo>
                  <a:cubicBezTo>
                    <a:pt x="1676" y="8"/>
                    <a:pt x="1675" y="7"/>
                    <a:pt x="1670" y="7"/>
                  </a:cubicBezTo>
                  <a:lnTo>
                    <a:pt x="1649" y="7"/>
                  </a:lnTo>
                  <a:cubicBezTo>
                    <a:pt x="1646" y="7"/>
                    <a:pt x="1645" y="9"/>
                    <a:pt x="1645" y="14"/>
                  </a:cubicBezTo>
                  <a:lnTo>
                    <a:pt x="1645" y="219"/>
                  </a:lnTo>
                  <a:lnTo>
                    <a:pt x="1495" y="13"/>
                  </a:lnTo>
                  <a:close/>
                  <a:moveTo>
                    <a:pt x="1260" y="153"/>
                  </a:moveTo>
                  <a:lnTo>
                    <a:pt x="1295" y="59"/>
                  </a:lnTo>
                  <a:lnTo>
                    <a:pt x="1329" y="153"/>
                  </a:lnTo>
                  <a:lnTo>
                    <a:pt x="1260" y="153"/>
                  </a:lnTo>
                  <a:close/>
                  <a:moveTo>
                    <a:pt x="1377" y="280"/>
                  </a:moveTo>
                  <a:cubicBezTo>
                    <a:pt x="1379" y="286"/>
                    <a:pt x="1380" y="286"/>
                    <a:pt x="1387" y="286"/>
                  </a:cubicBezTo>
                  <a:lnTo>
                    <a:pt x="1414" y="286"/>
                  </a:lnTo>
                  <a:cubicBezTo>
                    <a:pt x="1417" y="286"/>
                    <a:pt x="1420" y="286"/>
                    <a:pt x="1420" y="282"/>
                  </a:cubicBezTo>
                  <a:cubicBezTo>
                    <a:pt x="1420" y="280"/>
                    <a:pt x="1419" y="278"/>
                    <a:pt x="1418" y="276"/>
                  </a:cubicBezTo>
                  <a:lnTo>
                    <a:pt x="1314" y="12"/>
                  </a:lnTo>
                  <a:cubicBezTo>
                    <a:pt x="1312" y="7"/>
                    <a:pt x="1312" y="7"/>
                    <a:pt x="1309" y="7"/>
                  </a:cubicBezTo>
                  <a:lnTo>
                    <a:pt x="1292" y="7"/>
                  </a:lnTo>
                  <a:cubicBezTo>
                    <a:pt x="1287" y="7"/>
                    <a:pt x="1286" y="7"/>
                    <a:pt x="1284" y="13"/>
                  </a:cubicBezTo>
                  <a:lnTo>
                    <a:pt x="1181" y="276"/>
                  </a:lnTo>
                  <a:cubicBezTo>
                    <a:pt x="1181" y="277"/>
                    <a:pt x="1179" y="282"/>
                    <a:pt x="1179" y="282"/>
                  </a:cubicBezTo>
                  <a:cubicBezTo>
                    <a:pt x="1179" y="286"/>
                    <a:pt x="1183" y="286"/>
                    <a:pt x="1185" y="286"/>
                  </a:cubicBezTo>
                  <a:lnTo>
                    <a:pt x="1204" y="286"/>
                  </a:lnTo>
                  <a:cubicBezTo>
                    <a:pt x="1209" y="286"/>
                    <a:pt x="1210" y="286"/>
                    <a:pt x="1213" y="279"/>
                  </a:cubicBezTo>
                  <a:lnTo>
                    <a:pt x="1252" y="176"/>
                  </a:lnTo>
                  <a:lnTo>
                    <a:pt x="1337" y="176"/>
                  </a:lnTo>
                  <a:lnTo>
                    <a:pt x="1377" y="280"/>
                  </a:lnTo>
                  <a:close/>
                  <a:moveTo>
                    <a:pt x="1101" y="280"/>
                  </a:moveTo>
                  <a:cubicBezTo>
                    <a:pt x="1102" y="284"/>
                    <a:pt x="1104" y="285"/>
                    <a:pt x="1106" y="286"/>
                  </a:cubicBezTo>
                  <a:lnTo>
                    <a:pt x="1118" y="286"/>
                  </a:lnTo>
                  <a:cubicBezTo>
                    <a:pt x="1122" y="286"/>
                    <a:pt x="1123" y="285"/>
                    <a:pt x="1125" y="279"/>
                  </a:cubicBezTo>
                  <a:lnTo>
                    <a:pt x="1202" y="19"/>
                  </a:lnTo>
                  <a:cubicBezTo>
                    <a:pt x="1204" y="13"/>
                    <a:pt x="1204" y="13"/>
                    <a:pt x="1204" y="11"/>
                  </a:cubicBezTo>
                  <a:cubicBezTo>
                    <a:pt x="1204" y="7"/>
                    <a:pt x="1201" y="7"/>
                    <a:pt x="1199" y="7"/>
                  </a:cubicBezTo>
                  <a:lnTo>
                    <a:pt x="1178" y="7"/>
                  </a:lnTo>
                  <a:cubicBezTo>
                    <a:pt x="1173" y="7"/>
                    <a:pt x="1172" y="8"/>
                    <a:pt x="1170" y="14"/>
                  </a:cubicBezTo>
                  <a:lnTo>
                    <a:pt x="1114" y="216"/>
                  </a:lnTo>
                  <a:lnTo>
                    <a:pt x="1045" y="14"/>
                  </a:lnTo>
                  <a:cubicBezTo>
                    <a:pt x="1043" y="8"/>
                    <a:pt x="1043" y="7"/>
                    <a:pt x="1041" y="7"/>
                  </a:cubicBezTo>
                  <a:lnTo>
                    <a:pt x="1031" y="7"/>
                  </a:lnTo>
                  <a:cubicBezTo>
                    <a:pt x="1028" y="7"/>
                    <a:pt x="1028" y="7"/>
                    <a:pt x="1025" y="16"/>
                  </a:cubicBezTo>
                  <a:lnTo>
                    <a:pt x="959" y="216"/>
                  </a:lnTo>
                  <a:lnTo>
                    <a:pt x="904" y="15"/>
                  </a:lnTo>
                  <a:cubicBezTo>
                    <a:pt x="903" y="7"/>
                    <a:pt x="901" y="6"/>
                    <a:pt x="895" y="7"/>
                  </a:cubicBezTo>
                  <a:lnTo>
                    <a:pt x="870" y="7"/>
                  </a:lnTo>
                  <a:cubicBezTo>
                    <a:pt x="866" y="7"/>
                    <a:pt x="863" y="8"/>
                    <a:pt x="863" y="12"/>
                  </a:cubicBezTo>
                  <a:cubicBezTo>
                    <a:pt x="863" y="13"/>
                    <a:pt x="863" y="13"/>
                    <a:pt x="865" y="19"/>
                  </a:cubicBezTo>
                  <a:lnTo>
                    <a:pt x="942" y="279"/>
                  </a:lnTo>
                  <a:cubicBezTo>
                    <a:pt x="945" y="286"/>
                    <a:pt x="946" y="286"/>
                    <a:pt x="959" y="286"/>
                  </a:cubicBezTo>
                  <a:cubicBezTo>
                    <a:pt x="965" y="286"/>
                    <a:pt x="965" y="285"/>
                    <a:pt x="967" y="279"/>
                  </a:cubicBezTo>
                  <a:lnTo>
                    <a:pt x="1031" y="84"/>
                  </a:lnTo>
                  <a:lnTo>
                    <a:pt x="1101" y="280"/>
                  </a:lnTo>
                  <a:close/>
                  <a:moveTo>
                    <a:pt x="774" y="122"/>
                  </a:moveTo>
                  <a:cubicBezTo>
                    <a:pt x="744" y="109"/>
                    <a:pt x="719" y="98"/>
                    <a:pt x="719" y="67"/>
                  </a:cubicBezTo>
                  <a:cubicBezTo>
                    <a:pt x="719" y="44"/>
                    <a:pt x="737" y="24"/>
                    <a:pt x="763" y="24"/>
                  </a:cubicBezTo>
                  <a:cubicBezTo>
                    <a:pt x="789" y="24"/>
                    <a:pt x="800" y="41"/>
                    <a:pt x="808" y="53"/>
                  </a:cubicBezTo>
                  <a:cubicBezTo>
                    <a:pt x="812" y="60"/>
                    <a:pt x="817" y="67"/>
                    <a:pt x="827" y="67"/>
                  </a:cubicBezTo>
                  <a:cubicBezTo>
                    <a:pt x="837" y="67"/>
                    <a:pt x="844" y="59"/>
                    <a:pt x="844" y="49"/>
                  </a:cubicBezTo>
                  <a:cubicBezTo>
                    <a:pt x="844" y="29"/>
                    <a:pt x="813" y="1"/>
                    <a:pt x="765" y="1"/>
                  </a:cubicBezTo>
                  <a:cubicBezTo>
                    <a:pt x="714" y="1"/>
                    <a:pt x="683" y="33"/>
                    <a:pt x="683" y="75"/>
                  </a:cubicBezTo>
                  <a:cubicBezTo>
                    <a:pt x="683" y="122"/>
                    <a:pt x="723" y="141"/>
                    <a:pt x="739" y="149"/>
                  </a:cubicBezTo>
                  <a:lnTo>
                    <a:pt x="760" y="159"/>
                  </a:lnTo>
                  <a:cubicBezTo>
                    <a:pt x="791" y="173"/>
                    <a:pt x="819" y="187"/>
                    <a:pt x="819" y="221"/>
                  </a:cubicBezTo>
                  <a:cubicBezTo>
                    <a:pt x="819" y="246"/>
                    <a:pt x="800" y="267"/>
                    <a:pt x="770" y="267"/>
                  </a:cubicBezTo>
                  <a:cubicBezTo>
                    <a:pt x="737" y="267"/>
                    <a:pt x="724" y="242"/>
                    <a:pt x="718" y="230"/>
                  </a:cubicBezTo>
                  <a:cubicBezTo>
                    <a:pt x="714" y="221"/>
                    <a:pt x="709" y="213"/>
                    <a:pt x="698" y="213"/>
                  </a:cubicBezTo>
                  <a:cubicBezTo>
                    <a:pt x="689" y="213"/>
                    <a:pt x="679" y="219"/>
                    <a:pt x="679" y="232"/>
                  </a:cubicBezTo>
                  <a:cubicBezTo>
                    <a:pt x="679" y="249"/>
                    <a:pt x="703" y="292"/>
                    <a:pt x="768" y="292"/>
                  </a:cubicBezTo>
                  <a:cubicBezTo>
                    <a:pt x="819" y="292"/>
                    <a:pt x="856" y="259"/>
                    <a:pt x="856" y="212"/>
                  </a:cubicBezTo>
                  <a:cubicBezTo>
                    <a:pt x="856" y="162"/>
                    <a:pt x="815" y="142"/>
                    <a:pt x="795" y="132"/>
                  </a:cubicBezTo>
                  <a:lnTo>
                    <a:pt x="774" y="122"/>
                  </a:lnTo>
                  <a:close/>
                  <a:moveTo>
                    <a:pt x="661" y="32"/>
                  </a:moveTo>
                  <a:cubicBezTo>
                    <a:pt x="667" y="32"/>
                    <a:pt x="669" y="30"/>
                    <a:pt x="669" y="25"/>
                  </a:cubicBezTo>
                  <a:cubicBezTo>
                    <a:pt x="669" y="8"/>
                    <a:pt x="669" y="7"/>
                    <a:pt x="661" y="7"/>
                  </a:cubicBezTo>
                  <a:lnTo>
                    <a:pt x="482" y="7"/>
                  </a:lnTo>
                  <a:cubicBezTo>
                    <a:pt x="475" y="7"/>
                    <a:pt x="475" y="9"/>
                    <a:pt x="475" y="24"/>
                  </a:cubicBezTo>
                  <a:cubicBezTo>
                    <a:pt x="475" y="30"/>
                    <a:pt x="476" y="32"/>
                    <a:pt x="482" y="32"/>
                  </a:cubicBezTo>
                  <a:lnTo>
                    <a:pt x="552" y="32"/>
                  </a:lnTo>
                  <a:lnTo>
                    <a:pt x="552" y="278"/>
                  </a:lnTo>
                  <a:cubicBezTo>
                    <a:pt x="553" y="285"/>
                    <a:pt x="555" y="286"/>
                    <a:pt x="561" y="286"/>
                  </a:cubicBezTo>
                  <a:lnTo>
                    <a:pt x="584" y="286"/>
                  </a:lnTo>
                  <a:cubicBezTo>
                    <a:pt x="590" y="286"/>
                    <a:pt x="591" y="284"/>
                    <a:pt x="591" y="278"/>
                  </a:cubicBezTo>
                  <a:lnTo>
                    <a:pt x="591" y="32"/>
                  </a:lnTo>
                  <a:lnTo>
                    <a:pt x="661" y="32"/>
                  </a:lnTo>
                  <a:close/>
                  <a:moveTo>
                    <a:pt x="433" y="139"/>
                  </a:moveTo>
                  <a:cubicBezTo>
                    <a:pt x="433" y="161"/>
                    <a:pt x="433" y="198"/>
                    <a:pt x="413" y="227"/>
                  </a:cubicBezTo>
                  <a:cubicBezTo>
                    <a:pt x="396" y="254"/>
                    <a:pt x="370" y="265"/>
                    <a:pt x="348" y="265"/>
                  </a:cubicBezTo>
                  <a:cubicBezTo>
                    <a:pt x="312" y="265"/>
                    <a:pt x="276" y="238"/>
                    <a:pt x="265" y="185"/>
                  </a:cubicBezTo>
                  <a:cubicBezTo>
                    <a:pt x="263" y="173"/>
                    <a:pt x="261" y="159"/>
                    <a:pt x="261" y="144"/>
                  </a:cubicBezTo>
                  <a:cubicBezTo>
                    <a:pt x="261" y="98"/>
                    <a:pt x="273" y="55"/>
                    <a:pt x="310" y="34"/>
                  </a:cubicBezTo>
                  <a:cubicBezTo>
                    <a:pt x="321" y="28"/>
                    <a:pt x="334" y="24"/>
                    <a:pt x="347" y="24"/>
                  </a:cubicBezTo>
                  <a:cubicBezTo>
                    <a:pt x="377" y="24"/>
                    <a:pt x="431" y="46"/>
                    <a:pt x="433" y="139"/>
                  </a:cubicBezTo>
                  <a:close/>
                  <a:moveTo>
                    <a:pt x="474" y="138"/>
                  </a:moveTo>
                  <a:cubicBezTo>
                    <a:pt x="471" y="69"/>
                    <a:pt x="430" y="0"/>
                    <a:pt x="348" y="0"/>
                  </a:cubicBezTo>
                  <a:cubicBezTo>
                    <a:pt x="260" y="0"/>
                    <a:pt x="220" y="76"/>
                    <a:pt x="220" y="146"/>
                  </a:cubicBezTo>
                  <a:cubicBezTo>
                    <a:pt x="220" y="232"/>
                    <a:pt x="275" y="292"/>
                    <a:pt x="348" y="292"/>
                  </a:cubicBezTo>
                  <a:cubicBezTo>
                    <a:pt x="424" y="292"/>
                    <a:pt x="478" y="224"/>
                    <a:pt x="474" y="138"/>
                  </a:cubicBezTo>
                  <a:close/>
                  <a:moveTo>
                    <a:pt x="39" y="150"/>
                  </a:moveTo>
                  <a:cubicBezTo>
                    <a:pt x="48" y="150"/>
                    <a:pt x="54" y="149"/>
                    <a:pt x="65" y="149"/>
                  </a:cubicBezTo>
                  <a:cubicBezTo>
                    <a:pt x="87" y="149"/>
                    <a:pt x="115" y="150"/>
                    <a:pt x="133" y="171"/>
                  </a:cubicBezTo>
                  <a:cubicBezTo>
                    <a:pt x="139" y="177"/>
                    <a:pt x="147" y="190"/>
                    <a:pt x="147" y="211"/>
                  </a:cubicBezTo>
                  <a:cubicBezTo>
                    <a:pt x="147" y="250"/>
                    <a:pt x="115" y="265"/>
                    <a:pt x="72" y="265"/>
                  </a:cubicBezTo>
                  <a:cubicBezTo>
                    <a:pt x="57" y="265"/>
                    <a:pt x="46" y="264"/>
                    <a:pt x="39" y="263"/>
                  </a:cubicBezTo>
                  <a:lnTo>
                    <a:pt x="39" y="150"/>
                  </a:lnTo>
                  <a:close/>
                  <a:moveTo>
                    <a:pt x="39" y="29"/>
                  </a:moveTo>
                  <a:cubicBezTo>
                    <a:pt x="47" y="28"/>
                    <a:pt x="56" y="27"/>
                    <a:pt x="67" y="27"/>
                  </a:cubicBezTo>
                  <a:cubicBezTo>
                    <a:pt x="80" y="27"/>
                    <a:pt x="130" y="27"/>
                    <a:pt x="130" y="78"/>
                  </a:cubicBezTo>
                  <a:cubicBezTo>
                    <a:pt x="130" y="92"/>
                    <a:pt x="124" y="125"/>
                    <a:pt x="72" y="129"/>
                  </a:cubicBezTo>
                  <a:cubicBezTo>
                    <a:pt x="61" y="130"/>
                    <a:pt x="51" y="130"/>
                    <a:pt x="39" y="129"/>
                  </a:cubicBezTo>
                  <a:lnTo>
                    <a:pt x="39" y="29"/>
                  </a:lnTo>
                  <a:close/>
                  <a:moveTo>
                    <a:pt x="0" y="270"/>
                  </a:moveTo>
                  <a:cubicBezTo>
                    <a:pt x="0" y="279"/>
                    <a:pt x="1" y="281"/>
                    <a:pt x="6" y="283"/>
                  </a:cubicBezTo>
                  <a:cubicBezTo>
                    <a:pt x="13" y="285"/>
                    <a:pt x="38" y="288"/>
                    <a:pt x="65" y="288"/>
                  </a:cubicBezTo>
                  <a:cubicBezTo>
                    <a:pt x="95" y="288"/>
                    <a:pt x="189" y="288"/>
                    <a:pt x="189" y="212"/>
                  </a:cubicBezTo>
                  <a:cubicBezTo>
                    <a:pt x="189" y="177"/>
                    <a:pt x="168" y="148"/>
                    <a:pt x="127" y="138"/>
                  </a:cubicBezTo>
                  <a:cubicBezTo>
                    <a:pt x="124" y="138"/>
                    <a:pt x="121" y="137"/>
                    <a:pt x="118" y="136"/>
                  </a:cubicBezTo>
                  <a:cubicBezTo>
                    <a:pt x="121" y="135"/>
                    <a:pt x="124" y="134"/>
                    <a:pt x="127" y="132"/>
                  </a:cubicBezTo>
                  <a:cubicBezTo>
                    <a:pt x="146" y="123"/>
                    <a:pt x="170" y="104"/>
                    <a:pt x="170" y="71"/>
                  </a:cubicBezTo>
                  <a:cubicBezTo>
                    <a:pt x="170" y="51"/>
                    <a:pt x="161" y="32"/>
                    <a:pt x="142" y="20"/>
                  </a:cubicBezTo>
                  <a:cubicBezTo>
                    <a:pt x="120" y="7"/>
                    <a:pt x="90" y="4"/>
                    <a:pt x="67" y="4"/>
                  </a:cubicBezTo>
                  <a:cubicBezTo>
                    <a:pt x="49" y="4"/>
                    <a:pt x="16" y="6"/>
                    <a:pt x="6" y="9"/>
                  </a:cubicBezTo>
                  <a:cubicBezTo>
                    <a:pt x="1" y="11"/>
                    <a:pt x="0" y="13"/>
                    <a:pt x="0" y="20"/>
                  </a:cubicBezTo>
                  <a:lnTo>
                    <a:pt x="0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" name="Freeform 7">
            <a:extLst>
              <a:ext uri="{FF2B5EF4-FFF2-40B4-BE49-F238E27FC236}">
                <a16:creationId xmlns:a16="http://schemas.microsoft.com/office/drawing/2014/main" id="{79D9C9A6-5841-4C0E-8356-E3240153AEF0}"/>
              </a:ext>
            </a:extLst>
          </p:cNvPr>
          <p:cNvSpPr>
            <a:spLocks/>
          </p:cNvSpPr>
          <p:nvPr userDrawn="1"/>
        </p:nvSpPr>
        <p:spPr bwMode="auto">
          <a:xfrm>
            <a:off x="5153227" y="1938543"/>
            <a:ext cx="7055160" cy="4005057"/>
          </a:xfrm>
          <a:custGeom>
            <a:avLst/>
            <a:gdLst>
              <a:gd name="T0" fmla="*/ 23949 w 23949"/>
              <a:gd name="T1" fmla="*/ 11464 h 11980"/>
              <a:gd name="T2" fmla="*/ 22494 w 23949"/>
              <a:gd name="T3" fmla="*/ 10819 h 11980"/>
              <a:gd name="T4" fmla="*/ 15834 w 23949"/>
              <a:gd name="T5" fmla="*/ 2827 h 11980"/>
              <a:gd name="T6" fmla="*/ 7611 w 23949"/>
              <a:gd name="T7" fmla="*/ 1097 h 11980"/>
              <a:gd name="T8" fmla="*/ 5202 w 23949"/>
              <a:gd name="T9" fmla="*/ 9514 h 11980"/>
              <a:gd name="T10" fmla="*/ 3946 w 23949"/>
              <a:gd name="T11" fmla="*/ 5020 h 11980"/>
              <a:gd name="T12" fmla="*/ 3575 w 23949"/>
              <a:gd name="T13" fmla="*/ 5124 h 11980"/>
              <a:gd name="T14" fmla="*/ 5 w 23949"/>
              <a:gd name="T15" fmla="*/ 4187 h 11980"/>
              <a:gd name="T16" fmla="*/ 10 w 23949"/>
              <a:gd name="T17" fmla="*/ 4235 h 11980"/>
              <a:gd name="T18" fmla="*/ 2628 w 23949"/>
              <a:gd name="T19" fmla="*/ 5915 h 11980"/>
              <a:gd name="T20" fmla="*/ 6475 w 23949"/>
              <a:gd name="T21" fmla="*/ 10224 h 11980"/>
              <a:gd name="T22" fmla="*/ 5965 w 23949"/>
              <a:gd name="T23" fmla="*/ 5977 h 11980"/>
              <a:gd name="T24" fmla="*/ 10769 w 23949"/>
              <a:gd name="T25" fmla="*/ 1291 h 11980"/>
              <a:gd name="T26" fmla="*/ 17039 w 23949"/>
              <a:gd name="T27" fmla="*/ 6163 h 11980"/>
              <a:gd name="T28" fmla="*/ 23412 w 23949"/>
              <a:gd name="T29" fmla="*/ 11832 h 11980"/>
              <a:gd name="T30" fmla="*/ 23923 w 23949"/>
              <a:gd name="T31" fmla="*/ 11980 h 11980"/>
              <a:gd name="T32" fmla="*/ 23949 w 23949"/>
              <a:gd name="T33" fmla="*/ 11980 h 11980"/>
              <a:gd name="T34" fmla="*/ 23949 w 23949"/>
              <a:gd name="T35" fmla="*/ 11464 h 119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3949" h="11980">
                <a:moveTo>
                  <a:pt x="23949" y="11464"/>
                </a:moveTo>
                <a:cubicBezTo>
                  <a:pt x="23366" y="11292"/>
                  <a:pt x="22833" y="11046"/>
                  <a:pt x="22494" y="10819"/>
                </a:cubicBezTo>
                <a:cubicBezTo>
                  <a:pt x="19416" y="8749"/>
                  <a:pt x="17585" y="4813"/>
                  <a:pt x="15834" y="2827"/>
                </a:cubicBezTo>
                <a:cubicBezTo>
                  <a:pt x="13391" y="58"/>
                  <a:pt x="9802" y="0"/>
                  <a:pt x="7611" y="1097"/>
                </a:cubicBezTo>
                <a:cubicBezTo>
                  <a:pt x="4876" y="2469"/>
                  <a:pt x="4208" y="6296"/>
                  <a:pt x="5202" y="9514"/>
                </a:cubicBezTo>
                <a:cubicBezTo>
                  <a:pt x="3880" y="9118"/>
                  <a:pt x="3314" y="6534"/>
                  <a:pt x="3946" y="5020"/>
                </a:cubicBezTo>
                <a:cubicBezTo>
                  <a:pt x="3826" y="5059"/>
                  <a:pt x="3702" y="5094"/>
                  <a:pt x="3575" y="5124"/>
                </a:cubicBezTo>
                <a:cubicBezTo>
                  <a:pt x="2168" y="5450"/>
                  <a:pt x="789" y="5046"/>
                  <a:pt x="5" y="4187"/>
                </a:cubicBezTo>
                <a:cubicBezTo>
                  <a:pt x="0" y="4203"/>
                  <a:pt x="2" y="4219"/>
                  <a:pt x="10" y="4235"/>
                </a:cubicBezTo>
                <a:cubicBezTo>
                  <a:pt x="448" y="5248"/>
                  <a:pt x="1347" y="5889"/>
                  <a:pt x="2628" y="5915"/>
                </a:cubicBezTo>
                <a:cubicBezTo>
                  <a:pt x="2546" y="9338"/>
                  <a:pt x="4456" y="10391"/>
                  <a:pt x="6475" y="10224"/>
                </a:cubicBezTo>
                <a:cubicBezTo>
                  <a:pt x="5921" y="9178"/>
                  <a:pt x="5776" y="7348"/>
                  <a:pt x="5965" y="5977"/>
                </a:cubicBezTo>
                <a:cubicBezTo>
                  <a:pt x="6141" y="4696"/>
                  <a:pt x="7263" y="1392"/>
                  <a:pt x="10769" y="1291"/>
                </a:cubicBezTo>
                <a:cubicBezTo>
                  <a:pt x="14142" y="1193"/>
                  <a:pt x="15406" y="4103"/>
                  <a:pt x="17039" y="6163"/>
                </a:cubicBezTo>
                <a:cubicBezTo>
                  <a:pt x="18446" y="7942"/>
                  <a:pt x="20683" y="10910"/>
                  <a:pt x="23412" y="11832"/>
                </a:cubicBezTo>
                <a:cubicBezTo>
                  <a:pt x="23575" y="11887"/>
                  <a:pt x="23746" y="11936"/>
                  <a:pt x="23923" y="11980"/>
                </a:cubicBezTo>
                <a:lnTo>
                  <a:pt x="23949" y="11980"/>
                </a:lnTo>
                <a:lnTo>
                  <a:pt x="23949" y="11464"/>
                </a:lnTo>
                <a:close/>
              </a:path>
            </a:pathLst>
          </a:custGeom>
          <a:solidFill>
            <a:srgbClr val="49B0D9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97028665-00BF-9716-4D26-C3C07E6D0B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77139" y="1465281"/>
            <a:ext cx="1355725" cy="2058987"/>
          </a:xfrm>
          <a:custGeom>
            <a:avLst/>
            <a:gdLst>
              <a:gd name="connsiteX0" fmla="*/ 692504 w 1355725"/>
              <a:gd name="connsiteY0" fmla="*/ 0 h 2058987"/>
              <a:gd name="connsiteX1" fmla="*/ 1355725 w 1355725"/>
              <a:gd name="connsiteY1" fmla="*/ 561326 h 2058987"/>
              <a:gd name="connsiteX2" fmla="*/ 1099696 w 1355725"/>
              <a:gd name="connsiteY2" fmla="*/ 1172100 h 2058987"/>
              <a:gd name="connsiteX3" fmla="*/ 779562 w 1355725"/>
              <a:gd name="connsiteY3" fmla="*/ 1483025 h 2058987"/>
              <a:gd name="connsiteX4" fmla="*/ 645810 w 1355725"/>
              <a:gd name="connsiteY4" fmla="*/ 1651937 h 2058987"/>
              <a:gd name="connsiteX5" fmla="*/ 1355725 w 1355725"/>
              <a:gd name="connsiteY5" fmla="*/ 1651937 h 2058987"/>
              <a:gd name="connsiteX6" fmla="*/ 1355725 w 1355725"/>
              <a:gd name="connsiteY6" fmla="*/ 2058987 h 2058987"/>
              <a:gd name="connsiteX7" fmla="*/ 0 w 1355725"/>
              <a:gd name="connsiteY7" fmla="*/ 2058987 h 2058987"/>
              <a:gd name="connsiteX8" fmla="*/ 308263 w 1355725"/>
              <a:gd name="connsiteY8" fmla="*/ 1270994 h 2058987"/>
              <a:gd name="connsiteX9" fmla="*/ 669157 w 1355725"/>
              <a:gd name="connsiteY9" fmla="*/ 904293 h 2058987"/>
              <a:gd name="connsiteX10" fmla="*/ 814780 w 1355725"/>
              <a:gd name="connsiteY10" fmla="*/ 567260 h 2058987"/>
              <a:gd name="connsiteX11" fmla="*/ 675093 w 1355725"/>
              <a:gd name="connsiteY11" fmla="*/ 337429 h 2058987"/>
              <a:gd name="connsiteX12" fmla="*/ 523533 w 1355725"/>
              <a:gd name="connsiteY12" fmla="*/ 610774 h 2058987"/>
              <a:gd name="connsiteX13" fmla="*/ 523533 w 1355725"/>
              <a:gd name="connsiteY13" fmla="*/ 698197 h 2058987"/>
              <a:gd name="connsiteX14" fmla="*/ 17412 w 1355725"/>
              <a:gd name="connsiteY14" fmla="*/ 698197 h 2058987"/>
              <a:gd name="connsiteX15" fmla="*/ 145624 w 1355725"/>
              <a:gd name="connsiteY15" fmla="*/ 191856 h 2058987"/>
              <a:gd name="connsiteX16" fmla="*/ 692504 w 1355725"/>
              <a:gd name="connsiteY16" fmla="*/ 0 h 2058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55725" h="2058987">
                <a:moveTo>
                  <a:pt x="692504" y="0"/>
                </a:moveTo>
                <a:cubicBezTo>
                  <a:pt x="1233449" y="0"/>
                  <a:pt x="1355725" y="253170"/>
                  <a:pt x="1355725" y="561326"/>
                </a:cubicBezTo>
                <a:cubicBezTo>
                  <a:pt x="1355725" y="840605"/>
                  <a:pt x="1254026" y="1017824"/>
                  <a:pt x="1099696" y="1172100"/>
                </a:cubicBezTo>
                <a:lnTo>
                  <a:pt x="779562" y="1483025"/>
                </a:lnTo>
                <a:cubicBezTo>
                  <a:pt x="733263" y="1529703"/>
                  <a:pt x="666387" y="1591018"/>
                  <a:pt x="645810" y="1651937"/>
                </a:cubicBezTo>
                <a:lnTo>
                  <a:pt x="1355725" y="1651937"/>
                </a:lnTo>
                <a:lnTo>
                  <a:pt x="1355725" y="2058987"/>
                </a:lnTo>
                <a:lnTo>
                  <a:pt x="0" y="2058987"/>
                </a:lnTo>
                <a:cubicBezTo>
                  <a:pt x="0" y="1774171"/>
                  <a:pt x="72812" y="1512297"/>
                  <a:pt x="308263" y="1270994"/>
                </a:cubicBezTo>
                <a:lnTo>
                  <a:pt x="669157" y="904293"/>
                </a:lnTo>
                <a:cubicBezTo>
                  <a:pt x="774022" y="799860"/>
                  <a:pt x="814780" y="721140"/>
                  <a:pt x="814780" y="567260"/>
                </a:cubicBezTo>
                <a:cubicBezTo>
                  <a:pt x="814780" y="392810"/>
                  <a:pt x="759380" y="337429"/>
                  <a:pt x="675093" y="337429"/>
                </a:cubicBezTo>
                <a:cubicBezTo>
                  <a:pt x="599511" y="337429"/>
                  <a:pt x="523533" y="378173"/>
                  <a:pt x="523533" y="610774"/>
                </a:cubicBezTo>
                <a:lnTo>
                  <a:pt x="523533" y="698197"/>
                </a:lnTo>
                <a:lnTo>
                  <a:pt x="17412" y="698197"/>
                </a:lnTo>
                <a:cubicBezTo>
                  <a:pt x="20578" y="485771"/>
                  <a:pt x="46695" y="314090"/>
                  <a:pt x="145624" y="191856"/>
                </a:cubicBezTo>
                <a:cubicBezTo>
                  <a:pt x="244553" y="70017"/>
                  <a:pt x="413128" y="0"/>
                  <a:pt x="69250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10D63B88-686F-4ECB-AE3C-A1BE4D3FDC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577138" y="3622693"/>
            <a:ext cx="1355725" cy="2058987"/>
          </a:xfrm>
          <a:custGeom>
            <a:avLst/>
            <a:gdLst>
              <a:gd name="connsiteX0" fmla="*/ 692504 w 1355725"/>
              <a:gd name="connsiteY0" fmla="*/ 0 h 2058987"/>
              <a:gd name="connsiteX1" fmla="*/ 1355725 w 1355725"/>
              <a:gd name="connsiteY1" fmla="*/ 561326 h 2058987"/>
              <a:gd name="connsiteX2" fmla="*/ 1099696 w 1355725"/>
              <a:gd name="connsiteY2" fmla="*/ 1172100 h 2058987"/>
              <a:gd name="connsiteX3" fmla="*/ 779562 w 1355725"/>
              <a:gd name="connsiteY3" fmla="*/ 1483025 h 2058987"/>
              <a:gd name="connsiteX4" fmla="*/ 645810 w 1355725"/>
              <a:gd name="connsiteY4" fmla="*/ 1651937 h 2058987"/>
              <a:gd name="connsiteX5" fmla="*/ 1355725 w 1355725"/>
              <a:gd name="connsiteY5" fmla="*/ 1651937 h 2058987"/>
              <a:gd name="connsiteX6" fmla="*/ 1355725 w 1355725"/>
              <a:gd name="connsiteY6" fmla="*/ 2058987 h 2058987"/>
              <a:gd name="connsiteX7" fmla="*/ 0 w 1355725"/>
              <a:gd name="connsiteY7" fmla="*/ 2058987 h 2058987"/>
              <a:gd name="connsiteX8" fmla="*/ 308263 w 1355725"/>
              <a:gd name="connsiteY8" fmla="*/ 1270994 h 2058987"/>
              <a:gd name="connsiteX9" fmla="*/ 669157 w 1355725"/>
              <a:gd name="connsiteY9" fmla="*/ 904293 h 2058987"/>
              <a:gd name="connsiteX10" fmla="*/ 814780 w 1355725"/>
              <a:gd name="connsiteY10" fmla="*/ 567260 h 2058987"/>
              <a:gd name="connsiteX11" fmla="*/ 675093 w 1355725"/>
              <a:gd name="connsiteY11" fmla="*/ 337429 h 2058987"/>
              <a:gd name="connsiteX12" fmla="*/ 523533 w 1355725"/>
              <a:gd name="connsiteY12" fmla="*/ 610774 h 2058987"/>
              <a:gd name="connsiteX13" fmla="*/ 523533 w 1355725"/>
              <a:gd name="connsiteY13" fmla="*/ 698197 h 2058987"/>
              <a:gd name="connsiteX14" fmla="*/ 17412 w 1355725"/>
              <a:gd name="connsiteY14" fmla="*/ 698197 h 2058987"/>
              <a:gd name="connsiteX15" fmla="*/ 145624 w 1355725"/>
              <a:gd name="connsiteY15" fmla="*/ 191856 h 2058987"/>
              <a:gd name="connsiteX16" fmla="*/ 692504 w 1355725"/>
              <a:gd name="connsiteY16" fmla="*/ 0 h 2058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55725" h="2058987">
                <a:moveTo>
                  <a:pt x="692504" y="0"/>
                </a:moveTo>
                <a:cubicBezTo>
                  <a:pt x="1233449" y="0"/>
                  <a:pt x="1355725" y="253170"/>
                  <a:pt x="1355725" y="561326"/>
                </a:cubicBezTo>
                <a:cubicBezTo>
                  <a:pt x="1355725" y="840605"/>
                  <a:pt x="1254026" y="1017824"/>
                  <a:pt x="1099696" y="1172100"/>
                </a:cubicBezTo>
                <a:lnTo>
                  <a:pt x="779562" y="1483025"/>
                </a:lnTo>
                <a:cubicBezTo>
                  <a:pt x="733263" y="1529703"/>
                  <a:pt x="666387" y="1591018"/>
                  <a:pt x="645810" y="1651937"/>
                </a:cubicBezTo>
                <a:lnTo>
                  <a:pt x="1355725" y="1651937"/>
                </a:lnTo>
                <a:lnTo>
                  <a:pt x="1355725" y="2058987"/>
                </a:lnTo>
                <a:lnTo>
                  <a:pt x="0" y="2058987"/>
                </a:lnTo>
                <a:cubicBezTo>
                  <a:pt x="0" y="1774171"/>
                  <a:pt x="72812" y="1512297"/>
                  <a:pt x="308263" y="1270994"/>
                </a:cubicBezTo>
                <a:lnTo>
                  <a:pt x="669157" y="904293"/>
                </a:lnTo>
                <a:cubicBezTo>
                  <a:pt x="774022" y="799860"/>
                  <a:pt x="814780" y="721140"/>
                  <a:pt x="814780" y="567260"/>
                </a:cubicBezTo>
                <a:cubicBezTo>
                  <a:pt x="814780" y="392810"/>
                  <a:pt x="759380" y="337429"/>
                  <a:pt x="675093" y="337429"/>
                </a:cubicBezTo>
                <a:cubicBezTo>
                  <a:pt x="599511" y="337429"/>
                  <a:pt x="523533" y="378173"/>
                  <a:pt x="523533" y="610774"/>
                </a:cubicBezTo>
                <a:lnTo>
                  <a:pt x="523533" y="698197"/>
                </a:lnTo>
                <a:lnTo>
                  <a:pt x="17412" y="698197"/>
                </a:lnTo>
                <a:cubicBezTo>
                  <a:pt x="20578" y="485771"/>
                  <a:pt x="46695" y="314090"/>
                  <a:pt x="145624" y="191856"/>
                </a:cubicBezTo>
                <a:cubicBezTo>
                  <a:pt x="244553" y="70017"/>
                  <a:pt x="413128" y="0"/>
                  <a:pt x="69250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02AB1EDC-9B80-FA40-87EC-F3C44A75DC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91612" y="3621105"/>
            <a:ext cx="1355725" cy="2058987"/>
          </a:xfrm>
          <a:custGeom>
            <a:avLst/>
            <a:gdLst>
              <a:gd name="connsiteX0" fmla="*/ 692504 w 1355725"/>
              <a:gd name="connsiteY0" fmla="*/ 0 h 2058987"/>
              <a:gd name="connsiteX1" fmla="*/ 1355725 w 1355725"/>
              <a:gd name="connsiteY1" fmla="*/ 561326 h 2058987"/>
              <a:gd name="connsiteX2" fmla="*/ 1099696 w 1355725"/>
              <a:gd name="connsiteY2" fmla="*/ 1172100 h 2058987"/>
              <a:gd name="connsiteX3" fmla="*/ 779562 w 1355725"/>
              <a:gd name="connsiteY3" fmla="*/ 1483025 h 2058987"/>
              <a:gd name="connsiteX4" fmla="*/ 645810 w 1355725"/>
              <a:gd name="connsiteY4" fmla="*/ 1651937 h 2058987"/>
              <a:gd name="connsiteX5" fmla="*/ 1355725 w 1355725"/>
              <a:gd name="connsiteY5" fmla="*/ 1651937 h 2058987"/>
              <a:gd name="connsiteX6" fmla="*/ 1355725 w 1355725"/>
              <a:gd name="connsiteY6" fmla="*/ 2058987 h 2058987"/>
              <a:gd name="connsiteX7" fmla="*/ 0 w 1355725"/>
              <a:gd name="connsiteY7" fmla="*/ 2058987 h 2058987"/>
              <a:gd name="connsiteX8" fmla="*/ 308263 w 1355725"/>
              <a:gd name="connsiteY8" fmla="*/ 1270994 h 2058987"/>
              <a:gd name="connsiteX9" fmla="*/ 669157 w 1355725"/>
              <a:gd name="connsiteY9" fmla="*/ 904293 h 2058987"/>
              <a:gd name="connsiteX10" fmla="*/ 814780 w 1355725"/>
              <a:gd name="connsiteY10" fmla="*/ 567260 h 2058987"/>
              <a:gd name="connsiteX11" fmla="*/ 675093 w 1355725"/>
              <a:gd name="connsiteY11" fmla="*/ 337429 h 2058987"/>
              <a:gd name="connsiteX12" fmla="*/ 523533 w 1355725"/>
              <a:gd name="connsiteY12" fmla="*/ 610774 h 2058987"/>
              <a:gd name="connsiteX13" fmla="*/ 523533 w 1355725"/>
              <a:gd name="connsiteY13" fmla="*/ 698197 h 2058987"/>
              <a:gd name="connsiteX14" fmla="*/ 17412 w 1355725"/>
              <a:gd name="connsiteY14" fmla="*/ 698197 h 2058987"/>
              <a:gd name="connsiteX15" fmla="*/ 145624 w 1355725"/>
              <a:gd name="connsiteY15" fmla="*/ 191856 h 2058987"/>
              <a:gd name="connsiteX16" fmla="*/ 692504 w 1355725"/>
              <a:gd name="connsiteY16" fmla="*/ 0 h 2058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55725" h="2058987">
                <a:moveTo>
                  <a:pt x="692504" y="0"/>
                </a:moveTo>
                <a:cubicBezTo>
                  <a:pt x="1233449" y="0"/>
                  <a:pt x="1355725" y="253170"/>
                  <a:pt x="1355725" y="561326"/>
                </a:cubicBezTo>
                <a:cubicBezTo>
                  <a:pt x="1355725" y="840605"/>
                  <a:pt x="1254026" y="1017824"/>
                  <a:pt x="1099696" y="1172100"/>
                </a:cubicBezTo>
                <a:lnTo>
                  <a:pt x="779562" y="1483025"/>
                </a:lnTo>
                <a:cubicBezTo>
                  <a:pt x="733263" y="1529703"/>
                  <a:pt x="666387" y="1591018"/>
                  <a:pt x="645810" y="1651937"/>
                </a:cubicBezTo>
                <a:lnTo>
                  <a:pt x="1355725" y="1651937"/>
                </a:lnTo>
                <a:lnTo>
                  <a:pt x="1355725" y="2058987"/>
                </a:lnTo>
                <a:lnTo>
                  <a:pt x="0" y="2058987"/>
                </a:lnTo>
                <a:cubicBezTo>
                  <a:pt x="0" y="1774171"/>
                  <a:pt x="72812" y="1512297"/>
                  <a:pt x="308263" y="1270994"/>
                </a:cubicBezTo>
                <a:lnTo>
                  <a:pt x="669157" y="904293"/>
                </a:lnTo>
                <a:cubicBezTo>
                  <a:pt x="774022" y="799860"/>
                  <a:pt x="814780" y="721140"/>
                  <a:pt x="814780" y="567260"/>
                </a:cubicBezTo>
                <a:cubicBezTo>
                  <a:pt x="814780" y="392810"/>
                  <a:pt x="759380" y="337429"/>
                  <a:pt x="675093" y="337429"/>
                </a:cubicBezTo>
                <a:cubicBezTo>
                  <a:pt x="599511" y="337429"/>
                  <a:pt x="523533" y="378173"/>
                  <a:pt x="523533" y="610774"/>
                </a:cubicBezTo>
                <a:lnTo>
                  <a:pt x="523533" y="698197"/>
                </a:lnTo>
                <a:lnTo>
                  <a:pt x="17412" y="698197"/>
                </a:lnTo>
                <a:cubicBezTo>
                  <a:pt x="20578" y="485771"/>
                  <a:pt x="46695" y="314090"/>
                  <a:pt x="145624" y="191856"/>
                </a:cubicBezTo>
                <a:cubicBezTo>
                  <a:pt x="244553" y="70017"/>
                  <a:pt x="413128" y="0"/>
                  <a:pt x="69250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89" name="Picture Placeholder 88">
            <a:extLst>
              <a:ext uri="{FF2B5EF4-FFF2-40B4-BE49-F238E27FC236}">
                <a16:creationId xmlns:a16="http://schemas.microsoft.com/office/drawing/2014/main" id="{C5F33443-D2B9-F92E-6EA3-2AB6461946F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091612" y="1465281"/>
            <a:ext cx="1355725" cy="2058988"/>
          </a:xfrm>
          <a:custGeom>
            <a:avLst/>
            <a:gdLst>
              <a:gd name="connsiteX0" fmla="*/ 677862 w 1355725"/>
              <a:gd name="connsiteY0" fmla="*/ 330665 h 2058988"/>
              <a:gd name="connsiteX1" fmla="*/ 523689 w 1355725"/>
              <a:gd name="connsiteY1" fmla="*/ 487476 h 2058988"/>
              <a:gd name="connsiteX2" fmla="*/ 523689 w 1355725"/>
              <a:gd name="connsiteY2" fmla="*/ 1571513 h 2058988"/>
              <a:gd name="connsiteX3" fmla="*/ 677862 w 1355725"/>
              <a:gd name="connsiteY3" fmla="*/ 1728323 h 2058988"/>
              <a:gd name="connsiteX4" fmla="*/ 832036 w 1355725"/>
              <a:gd name="connsiteY4" fmla="*/ 1571513 h 2058988"/>
              <a:gd name="connsiteX5" fmla="*/ 832036 w 1355725"/>
              <a:gd name="connsiteY5" fmla="*/ 487476 h 2058988"/>
              <a:gd name="connsiteX6" fmla="*/ 677862 w 1355725"/>
              <a:gd name="connsiteY6" fmla="*/ 330665 h 2058988"/>
              <a:gd name="connsiteX7" fmla="*/ 655982 w 1355725"/>
              <a:gd name="connsiteY7" fmla="*/ 0 h 2058988"/>
              <a:gd name="connsiteX8" fmla="*/ 699744 w 1355725"/>
              <a:gd name="connsiteY8" fmla="*/ 0 h 2058988"/>
              <a:gd name="connsiteX9" fmla="*/ 1355725 w 1355725"/>
              <a:gd name="connsiteY9" fmla="*/ 667199 h 2058988"/>
              <a:gd name="connsiteX10" fmla="*/ 1355725 w 1355725"/>
              <a:gd name="connsiteY10" fmla="*/ 1391789 h 2058988"/>
              <a:gd name="connsiteX11" fmla="*/ 699744 w 1355725"/>
              <a:gd name="connsiteY11" fmla="*/ 2058988 h 2058988"/>
              <a:gd name="connsiteX12" fmla="*/ 655982 w 1355725"/>
              <a:gd name="connsiteY12" fmla="*/ 2058988 h 2058988"/>
              <a:gd name="connsiteX13" fmla="*/ 0 w 1355725"/>
              <a:gd name="connsiteY13" fmla="*/ 1391789 h 2058988"/>
              <a:gd name="connsiteX14" fmla="*/ 0 w 1355725"/>
              <a:gd name="connsiteY14" fmla="*/ 667199 h 2058988"/>
              <a:gd name="connsiteX15" fmla="*/ 655982 w 1355725"/>
              <a:gd name="connsiteY15" fmla="*/ 0 h 2058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55725" h="2058988">
                <a:moveTo>
                  <a:pt x="677862" y="330665"/>
                </a:moveTo>
                <a:cubicBezTo>
                  <a:pt x="592715" y="330665"/>
                  <a:pt x="523689" y="400872"/>
                  <a:pt x="523689" y="487476"/>
                </a:cubicBezTo>
                <a:lnTo>
                  <a:pt x="523689" y="1571513"/>
                </a:lnTo>
                <a:cubicBezTo>
                  <a:pt x="523689" y="1658116"/>
                  <a:pt x="592715" y="1728323"/>
                  <a:pt x="677862" y="1728323"/>
                </a:cubicBezTo>
                <a:cubicBezTo>
                  <a:pt x="763010" y="1728323"/>
                  <a:pt x="832036" y="1658116"/>
                  <a:pt x="832036" y="1571513"/>
                </a:cubicBezTo>
                <a:lnTo>
                  <a:pt x="832036" y="487476"/>
                </a:lnTo>
                <a:cubicBezTo>
                  <a:pt x="832036" y="400872"/>
                  <a:pt x="763010" y="330665"/>
                  <a:pt x="677862" y="330665"/>
                </a:cubicBezTo>
                <a:close/>
                <a:moveTo>
                  <a:pt x="655982" y="0"/>
                </a:moveTo>
                <a:lnTo>
                  <a:pt x="699744" y="0"/>
                </a:lnTo>
                <a:cubicBezTo>
                  <a:pt x="1062032" y="0"/>
                  <a:pt x="1355725" y="298715"/>
                  <a:pt x="1355725" y="667199"/>
                </a:cubicBezTo>
                <a:lnTo>
                  <a:pt x="1355725" y="1391789"/>
                </a:lnTo>
                <a:cubicBezTo>
                  <a:pt x="1355725" y="1760273"/>
                  <a:pt x="1062032" y="2058988"/>
                  <a:pt x="699744" y="2058988"/>
                </a:cubicBezTo>
                <a:lnTo>
                  <a:pt x="655982" y="2058988"/>
                </a:lnTo>
                <a:cubicBezTo>
                  <a:pt x="293692" y="2058988"/>
                  <a:pt x="0" y="1760273"/>
                  <a:pt x="0" y="1391789"/>
                </a:cubicBezTo>
                <a:lnTo>
                  <a:pt x="0" y="667199"/>
                </a:lnTo>
                <a:cubicBezTo>
                  <a:pt x="0" y="298715"/>
                  <a:pt x="293692" y="0"/>
                  <a:pt x="65598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9C267938-7C66-94C0-0EB8-D512483BC98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722394" y="6096000"/>
            <a:ext cx="2625725" cy="425450"/>
          </a:xfrm>
          <a:custGeom>
            <a:avLst/>
            <a:gdLst>
              <a:gd name="T0" fmla="*/ 301 w 7261"/>
              <a:gd name="T1" fmla="*/ 300 h 1168"/>
              <a:gd name="T2" fmla="*/ 330 w 7261"/>
              <a:gd name="T3" fmla="*/ 336 h 1168"/>
              <a:gd name="T4" fmla="*/ 293 w 7261"/>
              <a:gd name="T5" fmla="*/ 325 h 1168"/>
              <a:gd name="T6" fmla="*/ 362 w 7261"/>
              <a:gd name="T7" fmla="*/ 18 h 1168"/>
              <a:gd name="T8" fmla="*/ 248 w 7261"/>
              <a:gd name="T9" fmla="*/ 547 h 1168"/>
              <a:gd name="T10" fmla="*/ 262 w 7261"/>
              <a:gd name="T11" fmla="*/ 492 h 1168"/>
              <a:gd name="T12" fmla="*/ 42 w 7261"/>
              <a:gd name="T13" fmla="*/ 307 h 1168"/>
              <a:gd name="T14" fmla="*/ 407 w 7261"/>
              <a:gd name="T15" fmla="*/ 709 h 1168"/>
              <a:gd name="T16" fmla="*/ 342 w 7261"/>
              <a:gd name="T17" fmla="*/ 701 h 1168"/>
              <a:gd name="T18" fmla="*/ 578 w 7261"/>
              <a:gd name="T19" fmla="*/ 673 h 1168"/>
              <a:gd name="T20" fmla="*/ 781 w 7261"/>
              <a:gd name="T21" fmla="*/ 632 h 1168"/>
              <a:gd name="T22" fmla="*/ 655 w 7261"/>
              <a:gd name="T23" fmla="*/ 1062 h 1168"/>
              <a:gd name="T24" fmla="*/ 836 w 7261"/>
              <a:gd name="T25" fmla="*/ 625 h 1168"/>
              <a:gd name="T26" fmla="*/ 856 w 7261"/>
              <a:gd name="T27" fmla="*/ 464 h 1168"/>
              <a:gd name="T28" fmla="*/ 742 w 7261"/>
              <a:gd name="T29" fmla="*/ 706 h 1168"/>
              <a:gd name="T30" fmla="*/ 1138 w 7261"/>
              <a:gd name="T31" fmla="*/ 451 h 1168"/>
              <a:gd name="T32" fmla="*/ 1061 w 7261"/>
              <a:gd name="T33" fmla="*/ 705 h 1168"/>
              <a:gd name="T34" fmla="*/ 1398 w 7261"/>
              <a:gd name="T35" fmla="*/ 748 h 1168"/>
              <a:gd name="T36" fmla="*/ 1419 w 7261"/>
              <a:gd name="T37" fmla="*/ 710 h 1168"/>
              <a:gd name="T38" fmla="*/ 1664 w 7261"/>
              <a:gd name="T39" fmla="*/ 636 h 1168"/>
              <a:gd name="T40" fmla="*/ 1558 w 7261"/>
              <a:gd name="T41" fmla="*/ 591 h 1168"/>
              <a:gd name="T42" fmla="*/ 1810 w 7261"/>
              <a:gd name="T43" fmla="*/ 579 h 1168"/>
              <a:gd name="T44" fmla="*/ 1995 w 7261"/>
              <a:gd name="T45" fmla="*/ 676 h 1168"/>
              <a:gd name="T46" fmla="*/ 1951 w 7261"/>
              <a:gd name="T47" fmla="*/ 345 h 1168"/>
              <a:gd name="T48" fmla="*/ 2542 w 7261"/>
              <a:gd name="T49" fmla="*/ 667 h 1168"/>
              <a:gd name="T50" fmla="*/ 2153 w 7261"/>
              <a:gd name="T51" fmla="*/ 730 h 1168"/>
              <a:gd name="T52" fmla="*/ 2649 w 7261"/>
              <a:gd name="T53" fmla="*/ 580 h 1168"/>
              <a:gd name="T54" fmla="*/ 2796 w 7261"/>
              <a:gd name="T55" fmla="*/ 819 h 1168"/>
              <a:gd name="T56" fmla="*/ 2526 w 7261"/>
              <a:gd name="T57" fmla="*/ 1001 h 1168"/>
              <a:gd name="T58" fmla="*/ 2745 w 7261"/>
              <a:gd name="T59" fmla="*/ 910 h 1168"/>
              <a:gd name="T60" fmla="*/ 3223 w 7261"/>
              <a:gd name="T61" fmla="*/ 358 h 1168"/>
              <a:gd name="T62" fmla="*/ 3498 w 7261"/>
              <a:gd name="T63" fmla="*/ 672 h 1168"/>
              <a:gd name="T64" fmla="*/ 3231 w 7261"/>
              <a:gd name="T65" fmla="*/ 443 h 1168"/>
              <a:gd name="T66" fmla="*/ 3683 w 7261"/>
              <a:gd name="T67" fmla="*/ 559 h 1168"/>
              <a:gd name="T68" fmla="*/ 3687 w 7261"/>
              <a:gd name="T69" fmla="*/ 727 h 1168"/>
              <a:gd name="T70" fmla="*/ 3988 w 7261"/>
              <a:gd name="T71" fmla="*/ 749 h 1168"/>
              <a:gd name="T72" fmla="*/ 4175 w 7261"/>
              <a:gd name="T73" fmla="*/ 553 h 1168"/>
              <a:gd name="T74" fmla="*/ 4032 w 7261"/>
              <a:gd name="T75" fmla="*/ 556 h 1168"/>
              <a:gd name="T76" fmla="*/ 4585 w 7261"/>
              <a:gd name="T77" fmla="*/ 663 h 1168"/>
              <a:gd name="T78" fmla="*/ 4400 w 7261"/>
              <a:gd name="T79" fmla="*/ 581 h 1168"/>
              <a:gd name="T80" fmla="*/ 4387 w 7261"/>
              <a:gd name="T81" fmla="*/ 744 h 1168"/>
              <a:gd name="T82" fmla="*/ 4908 w 7261"/>
              <a:gd name="T83" fmla="*/ 206 h 1168"/>
              <a:gd name="T84" fmla="*/ 5107 w 7261"/>
              <a:gd name="T85" fmla="*/ 666 h 1168"/>
              <a:gd name="T86" fmla="*/ 4742 w 7261"/>
              <a:gd name="T87" fmla="*/ 600 h 1168"/>
              <a:gd name="T88" fmla="*/ 5616 w 7261"/>
              <a:gd name="T89" fmla="*/ 539 h 1168"/>
              <a:gd name="T90" fmla="*/ 5520 w 7261"/>
              <a:gd name="T91" fmla="*/ 625 h 1168"/>
              <a:gd name="T92" fmla="*/ 5641 w 7261"/>
              <a:gd name="T93" fmla="*/ 707 h 1168"/>
              <a:gd name="T94" fmla="*/ 5597 w 7261"/>
              <a:gd name="T95" fmla="*/ 755 h 1168"/>
              <a:gd name="T96" fmla="*/ 5626 w 7261"/>
              <a:gd name="T97" fmla="*/ 559 h 1168"/>
              <a:gd name="T98" fmla="*/ 5787 w 7261"/>
              <a:gd name="T99" fmla="*/ 324 h 1168"/>
              <a:gd name="T100" fmla="*/ 6014 w 7261"/>
              <a:gd name="T101" fmla="*/ 615 h 1168"/>
              <a:gd name="T102" fmla="*/ 6128 w 7261"/>
              <a:gd name="T103" fmla="*/ 522 h 1168"/>
              <a:gd name="T104" fmla="*/ 6321 w 7261"/>
              <a:gd name="T105" fmla="*/ 510 h 1168"/>
              <a:gd name="T106" fmla="*/ 6091 w 7261"/>
              <a:gd name="T107" fmla="*/ 500 h 1168"/>
              <a:gd name="T108" fmla="*/ 6149 w 7261"/>
              <a:gd name="T109" fmla="*/ 684 h 1168"/>
              <a:gd name="T110" fmla="*/ 6412 w 7261"/>
              <a:gd name="T111" fmla="*/ 628 h 1168"/>
              <a:gd name="T112" fmla="*/ 7015 w 7261"/>
              <a:gd name="T113" fmla="*/ 609 h 1168"/>
              <a:gd name="T114" fmla="*/ 6533 w 7261"/>
              <a:gd name="T115" fmla="*/ 718 h 1168"/>
              <a:gd name="T116" fmla="*/ 6651 w 7261"/>
              <a:gd name="T117" fmla="*/ 603 h 1168"/>
              <a:gd name="T118" fmla="*/ 6776 w 7261"/>
              <a:gd name="T119" fmla="*/ 380 h 1168"/>
              <a:gd name="T120" fmla="*/ 6771 w 7261"/>
              <a:gd name="T121" fmla="*/ 479 h 1168"/>
              <a:gd name="T122" fmla="*/ 6731 w 7261"/>
              <a:gd name="T123" fmla="*/ 718 h 1168"/>
              <a:gd name="T124" fmla="*/ 7147 w 7261"/>
              <a:gd name="T125" fmla="*/ 591 h 1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261" h="1168">
                <a:moveTo>
                  <a:pt x="103" y="1015"/>
                </a:moveTo>
                <a:cubicBezTo>
                  <a:pt x="100" y="1015"/>
                  <a:pt x="97" y="1014"/>
                  <a:pt x="94" y="1013"/>
                </a:cubicBezTo>
                <a:cubicBezTo>
                  <a:pt x="92" y="1012"/>
                  <a:pt x="89" y="1012"/>
                  <a:pt x="87" y="1012"/>
                </a:cubicBezTo>
                <a:cubicBezTo>
                  <a:pt x="84" y="1013"/>
                  <a:pt x="82" y="1014"/>
                  <a:pt x="79" y="1014"/>
                </a:cubicBezTo>
                <a:cubicBezTo>
                  <a:pt x="74" y="1014"/>
                  <a:pt x="69" y="1012"/>
                  <a:pt x="66" y="1007"/>
                </a:cubicBezTo>
                <a:cubicBezTo>
                  <a:pt x="62" y="1001"/>
                  <a:pt x="60" y="995"/>
                  <a:pt x="60" y="990"/>
                </a:cubicBezTo>
                <a:cubicBezTo>
                  <a:pt x="60" y="987"/>
                  <a:pt x="61" y="986"/>
                  <a:pt x="62" y="985"/>
                </a:cubicBezTo>
                <a:cubicBezTo>
                  <a:pt x="64" y="983"/>
                  <a:pt x="64" y="982"/>
                  <a:pt x="64" y="980"/>
                </a:cubicBezTo>
                <a:cubicBezTo>
                  <a:pt x="64" y="978"/>
                  <a:pt x="65" y="977"/>
                  <a:pt x="66" y="977"/>
                </a:cubicBezTo>
                <a:lnTo>
                  <a:pt x="67" y="977"/>
                </a:lnTo>
                <a:cubicBezTo>
                  <a:pt x="67" y="977"/>
                  <a:pt x="68" y="977"/>
                  <a:pt x="68" y="976"/>
                </a:cubicBezTo>
                <a:lnTo>
                  <a:pt x="67" y="973"/>
                </a:lnTo>
                <a:cubicBezTo>
                  <a:pt x="67" y="970"/>
                  <a:pt x="68" y="968"/>
                  <a:pt x="69" y="968"/>
                </a:cubicBezTo>
                <a:cubicBezTo>
                  <a:pt x="69" y="968"/>
                  <a:pt x="70" y="966"/>
                  <a:pt x="70" y="963"/>
                </a:cubicBezTo>
                <a:lnTo>
                  <a:pt x="69" y="961"/>
                </a:lnTo>
                <a:cubicBezTo>
                  <a:pt x="69" y="960"/>
                  <a:pt x="69" y="960"/>
                  <a:pt x="70" y="960"/>
                </a:cubicBezTo>
                <a:cubicBezTo>
                  <a:pt x="71" y="960"/>
                  <a:pt x="71" y="958"/>
                  <a:pt x="71" y="954"/>
                </a:cubicBezTo>
                <a:lnTo>
                  <a:pt x="70" y="951"/>
                </a:lnTo>
                <a:cubicBezTo>
                  <a:pt x="71" y="951"/>
                  <a:pt x="71" y="951"/>
                  <a:pt x="71" y="951"/>
                </a:cubicBezTo>
                <a:cubicBezTo>
                  <a:pt x="71" y="952"/>
                  <a:pt x="71" y="952"/>
                  <a:pt x="72" y="952"/>
                </a:cubicBezTo>
                <a:cubicBezTo>
                  <a:pt x="72" y="952"/>
                  <a:pt x="74" y="948"/>
                  <a:pt x="77" y="938"/>
                </a:cubicBezTo>
                <a:cubicBezTo>
                  <a:pt x="80" y="929"/>
                  <a:pt x="81" y="924"/>
                  <a:pt x="81" y="921"/>
                </a:cubicBezTo>
                <a:lnTo>
                  <a:pt x="81" y="918"/>
                </a:lnTo>
                <a:lnTo>
                  <a:pt x="82" y="916"/>
                </a:lnTo>
                <a:cubicBezTo>
                  <a:pt x="82" y="916"/>
                  <a:pt x="84" y="914"/>
                  <a:pt x="85" y="911"/>
                </a:cubicBezTo>
                <a:cubicBezTo>
                  <a:pt x="87" y="903"/>
                  <a:pt x="89" y="895"/>
                  <a:pt x="90" y="887"/>
                </a:cubicBezTo>
                <a:cubicBezTo>
                  <a:pt x="90" y="884"/>
                  <a:pt x="90" y="882"/>
                  <a:pt x="91" y="882"/>
                </a:cubicBezTo>
                <a:lnTo>
                  <a:pt x="92" y="883"/>
                </a:lnTo>
                <a:cubicBezTo>
                  <a:pt x="92" y="883"/>
                  <a:pt x="92" y="884"/>
                  <a:pt x="92" y="884"/>
                </a:cubicBezTo>
                <a:cubicBezTo>
                  <a:pt x="93" y="884"/>
                  <a:pt x="93" y="883"/>
                  <a:pt x="93" y="881"/>
                </a:cubicBezTo>
                <a:cubicBezTo>
                  <a:pt x="93" y="879"/>
                  <a:pt x="94" y="878"/>
                  <a:pt x="95" y="878"/>
                </a:cubicBezTo>
                <a:cubicBezTo>
                  <a:pt x="96" y="878"/>
                  <a:pt x="97" y="872"/>
                  <a:pt x="98" y="861"/>
                </a:cubicBezTo>
                <a:cubicBezTo>
                  <a:pt x="98" y="859"/>
                  <a:pt x="98" y="857"/>
                  <a:pt x="99" y="857"/>
                </a:cubicBezTo>
                <a:lnTo>
                  <a:pt x="99" y="857"/>
                </a:lnTo>
                <a:cubicBezTo>
                  <a:pt x="100" y="857"/>
                  <a:pt x="100" y="856"/>
                  <a:pt x="101" y="854"/>
                </a:cubicBezTo>
                <a:cubicBezTo>
                  <a:pt x="103" y="848"/>
                  <a:pt x="104" y="844"/>
                  <a:pt x="104" y="841"/>
                </a:cubicBezTo>
                <a:cubicBezTo>
                  <a:pt x="104" y="840"/>
                  <a:pt x="104" y="839"/>
                  <a:pt x="104" y="839"/>
                </a:cubicBezTo>
                <a:cubicBezTo>
                  <a:pt x="103" y="838"/>
                  <a:pt x="103" y="838"/>
                  <a:pt x="103" y="838"/>
                </a:cubicBezTo>
                <a:lnTo>
                  <a:pt x="105" y="838"/>
                </a:lnTo>
                <a:cubicBezTo>
                  <a:pt x="105" y="838"/>
                  <a:pt x="106" y="838"/>
                  <a:pt x="107" y="836"/>
                </a:cubicBezTo>
                <a:cubicBezTo>
                  <a:pt x="108" y="835"/>
                  <a:pt x="109" y="833"/>
                  <a:pt x="109" y="831"/>
                </a:cubicBezTo>
                <a:cubicBezTo>
                  <a:pt x="109" y="829"/>
                  <a:pt x="110" y="827"/>
                  <a:pt x="110" y="826"/>
                </a:cubicBezTo>
                <a:cubicBezTo>
                  <a:pt x="110" y="825"/>
                  <a:pt x="110" y="824"/>
                  <a:pt x="109" y="823"/>
                </a:cubicBezTo>
                <a:cubicBezTo>
                  <a:pt x="109" y="823"/>
                  <a:pt x="109" y="822"/>
                  <a:pt x="109" y="821"/>
                </a:cubicBezTo>
                <a:cubicBezTo>
                  <a:pt x="109" y="820"/>
                  <a:pt x="109" y="818"/>
                  <a:pt x="110" y="816"/>
                </a:cubicBezTo>
                <a:cubicBezTo>
                  <a:pt x="110" y="813"/>
                  <a:pt x="111" y="812"/>
                  <a:pt x="112" y="810"/>
                </a:cubicBezTo>
                <a:cubicBezTo>
                  <a:pt x="113" y="809"/>
                  <a:pt x="114" y="808"/>
                  <a:pt x="114" y="808"/>
                </a:cubicBezTo>
                <a:lnTo>
                  <a:pt x="115" y="808"/>
                </a:lnTo>
                <a:cubicBezTo>
                  <a:pt x="115" y="808"/>
                  <a:pt x="115" y="808"/>
                  <a:pt x="115" y="807"/>
                </a:cubicBezTo>
                <a:cubicBezTo>
                  <a:pt x="115" y="807"/>
                  <a:pt x="115" y="806"/>
                  <a:pt x="115" y="806"/>
                </a:cubicBezTo>
                <a:cubicBezTo>
                  <a:pt x="115" y="805"/>
                  <a:pt x="115" y="805"/>
                  <a:pt x="115" y="804"/>
                </a:cubicBezTo>
                <a:cubicBezTo>
                  <a:pt x="115" y="802"/>
                  <a:pt x="115" y="800"/>
                  <a:pt x="115" y="798"/>
                </a:cubicBezTo>
                <a:cubicBezTo>
                  <a:pt x="117" y="792"/>
                  <a:pt x="119" y="790"/>
                  <a:pt x="120" y="790"/>
                </a:cubicBezTo>
                <a:lnTo>
                  <a:pt x="120" y="790"/>
                </a:lnTo>
                <a:cubicBezTo>
                  <a:pt x="120" y="790"/>
                  <a:pt x="121" y="789"/>
                  <a:pt x="121" y="786"/>
                </a:cubicBezTo>
                <a:lnTo>
                  <a:pt x="120" y="784"/>
                </a:lnTo>
                <a:cubicBezTo>
                  <a:pt x="120" y="783"/>
                  <a:pt x="120" y="783"/>
                  <a:pt x="121" y="783"/>
                </a:cubicBezTo>
                <a:lnTo>
                  <a:pt x="122" y="784"/>
                </a:lnTo>
                <a:cubicBezTo>
                  <a:pt x="122" y="784"/>
                  <a:pt x="123" y="782"/>
                  <a:pt x="123" y="780"/>
                </a:cubicBezTo>
                <a:lnTo>
                  <a:pt x="122" y="778"/>
                </a:lnTo>
                <a:cubicBezTo>
                  <a:pt x="122" y="777"/>
                  <a:pt x="122" y="777"/>
                  <a:pt x="123" y="777"/>
                </a:cubicBezTo>
                <a:lnTo>
                  <a:pt x="125" y="778"/>
                </a:lnTo>
                <a:lnTo>
                  <a:pt x="125" y="776"/>
                </a:lnTo>
                <a:cubicBezTo>
                  <a:pt x="125" y="774"/>
                  <a:pt x="127" y="765"/>
                  <a:pt x="132" y="750"/>
                </a:cubicBezTo>
                <a:cubicBezTo>
                  <a:pt x="136" y="737"/>
                  <a:pt x="139" y="729"/>
                  <a:pt x="139" y="726"/>
                </a:cubicBezTo>
                <a:cubicBezTo>
                  <a:pt x="139" y="725"/>
                  <a:pt x="138" y="725"/>
                  <a:pt x="138" y="725"/>
                </a:cubicBezTo>
                <a:cubicBezTo>
                  <a:pt x="137" y="725"/>
                  <a:pt x="137" y="726"/>
                  <a:pt x="135" y="728"/>
                </a:cubicBezTo>
                <a:lnTo>
                  <a:pt x="134" y="729"/>
                </a:lnTo>
                <a:cubicBezTo>
                  <a:pt x="134" y="728"/>
                  <a:pt x="134" y="728"/>
                  <a:pt x="135" y="726"/>
                </a:cubicBezTo>
                <a:cubicBezTo>
                  <a:pt x="135" y="725"/>
                  <a:pt x="136" y="723"/>
                  <a:pt x="136" y="722"/>
                </a:cubicBezTo>
                <a:lnTo>
                  <a:pt x="141" y="723"/>
                </a:lnTo>
                <a:cubicBezTo>
                  <a:pt x="141" y="722"/>
                  <a:pt x="146" y="708"/>
                  <a:pt x="154" y="683"/>
                </a:cubicBezTo>
                <a:cubicBezTo>
                  <a:pt x="163" y="657"/>
                  <a:pt x="167" y="644"/>
                  <a:pt x="167" y="644"/>
                </a:cubicBezTo>
                <a:cubicBezTo>
                  <a:pt x="167" y="643"/>
                  <a:pt x="167" y="643"/>
                  <a:pt x="167" y="643"/>
                </a:cubicBezTo>
                <a:cubicBezTo>
                  <a:pt x="166" y="643"/>
                  <a:pt x="163" y="649"/>
                  <a:pt x="159" y="661"/>
                </a:cubicBezTo>
                <a:cubicBezTo>
                  <a:pt x="154" y="671"/>
                  <a:pt x="151" y="676"/>
                  <a:pt x="150" y="676"/>
                </a:cubicBezTo>
                <a:cubicBezTo>
                  <a:pt x="149" y="676"/>
                  <a:pt x="148" y="677"/>
                  <a:pt x="148" y="677"/>
                </a:cubicBezTo>
                <a:cubicBezTo>
                  <a:pt x="148" y="677"/>
                  <a:pt x="148" y="678"/>
                  <a:pt x="149" y="678"/>
                </a:cubicBezTo>
                <a:cubicBezTo>
                  <a:pt x="151" y="679"/>
                  <a:pt x="151" y="680"/>
                  <a:pt x="151" y="681"/>
                </a:cubicBezTo>
                <a:cubicBezTo>
                  <a:pt x="151" y="683"/>
                  <a:pt x="151" y="684"/>
                  <a:pt x="149" y="684"/>
                </a:cubicBezTo>
                <a:lnTo>
                  <a:pt x="145" y="683"/>
                </a:lnTo>
                <a:cubicBezTo>
                  <a:pt x="145" y="683"/>
                  <a:pt x="146" y="684"/>
                  <a:pt x="147" y="686"/>
                </a:cubicBezTo>
                <a:cubicBezTo>
                  <a:pt x="149" y="687"/>
                  <a:pt x="149" y="688"/>
                  <a:pt x="149" y="689"/>
                </a:cubicBezTo>
                <a:cubicBezTo>
                  <a:pt x="149" y="689"/>
                  <a:pt x="149" y="690"/>
                  <a:pt x="148" y="690"/>
                </a:cubicBezTo>
                <a:lnTo>
                  <a:pt x="143" y="687"/>
                </a:lnTo>
                <a:cubicBezTo>
                  <a:pt x="143" y="687"/>
                  <a:pt x="144" y="689"/>
                  <a:pt x="145" y="691"/>
                </a:cubicBezTo>
                <a:cubicBezTo>
                  <a:pt x="147" y="693"/>
                  <a:pt x="147" y="695"/>
                  <a:pt x="147" y="696"/>
                </a:cubicBezTo>
                <a:cubicBezTo>
                  <a:pt x="147" y="696"/>
                  <a:pt x="147" y="696"/>
                  <a:pt x="147" y="696"/>
                </a:cubicBezTo>
                <a:cubicBezTo>
                  <a:pt x="146" y="696"/>
                  <a:pt x="145" y="696"/>
                  <a:pt x="144" y="695"/>
                </a:cubicBezTo>
                <a:lnTo>
                  <a:pt x="141" y="693"/>
                </a:lnTo>
                <a:lnTo>
                  <a:pt x="142" y="696"/>
                </a:lnTo>
                <a:cubicBezTo>
                  <a:pt x="142" y="696"/>
                  <a:pt x="142" y="697"/>
                  <a:pt x="142" y="697"/>
                </a:cubicBezTo>
                <a:cubicBezTo>
                  <a:pt x="141" y="697"/>
                  <a:pt x="141" y="697"/>
                  <a:pt x="140" y="698"/>
                </a:cubicBezTo>
                <a:cubicBezTo>
                  <a:pt x="140" y="698"/>
                  <a:pt x="139" y="699"/>
                  <a:pt x="139" y="700"/>
                </a:cubicBezTo>
                <a:cubicBezTo>
                  <a:pt x="139" y="702"/>
                  <a:pt x="140" y="703"/>
                  <a:pt x="141" y="703"/>
                </a:cubicBezTo>
                <a:cubicBezTo>
                  <a:pt x="142" y="703"/>
                  <a:pt x="143" y="702"/>
                  <a:pt x="144" y="700"/>
                </a:cubicBezTo>
                <a:cubicBezTo>
                  <a:pt x="144" y="700"/>
                  <a:pt x="144" y="700"/>
                  <a:pt x="144" y="700"/>
                </a:cubicBezTo>
                <a:cubicBezTo>
                  <a:pt x="144" y="700"/>
                  <a:pt x="145" y="701"/>
                  <a:pt x="145" y="702"/>
                </a:cubicBezTo>
                <a:cubicBezTo>
                  <a:pt x="144" y="705"/>
                  <a:pt x="143" y="706"/>
                  <a:pt x="141" y="706"/>
                </a:cubicBezTo>
                <a:cubicBezTo>
                  <a:pt x="139" y="706"/>
                  <a:pt x="137" y="708"/>
                  <a:pt x="136" y="710"/>
                </a:cubicBezTo>
                <a:cubicBezTo>
                  <a:pt x="135" y="713"/>
                  <a:pt x="134" y="717"/>
                  <a:pt x="132" y="724"/>
                </a:cubicBezTo>
                <a:cubicBezTo>
                  <a:pt x="129" y="733"/>
                  <a:pt x="127" y="739"/>
                  <a:pt x="127" y="741"/>
                </a:cubicBezTo>
                <a:cubicBezTo>
                  <a:pt x="127" y="741"/>
                  <a:pt x="128" y="742"/>
                  <a:pt x="128" y="742"/>
                </a:cubicBezTo>
                <a:cubicBezTo>
                  <a:pt x="129" y="742"/>
                  <a:pt x="130" y="741"/>
                  <a:pt x="130" y="740"/>
                </a:cubicBezTo>
                <a:cubicBezTo>
                  <a:pt x="130" y="739"/>
                  <a:pt x="131" y="738"/>
                  <a:pt x="131" y="738"/>
                </a:cubicBezTo>
                <a:lnTo>
                  <a:pt x="131" y="739"/>
                </a:lnTo>
                <a:cubicBezTo>
                  <a:pt x="131" y="740"/>
                  <a:pt x="131" y="742"/>
                  <a:pt x="129" y="742"/>
                </a:cubicBezTo>
                <a:cubicBezTo>
                  <a:pt x="128" y="744"/>
                  <a:pt x="127" y="746"/>
                  <a:pt x="125" y="748"/>
                </a:cubicBezTo>
                <a:cubicBezTo>
                  <a:pt x="124" y="751"/>
                  <a:pt x="123" y="753"/>
                  <a:pt x="122" y="753"/>
                </a:cubicBezTo>
                <a:lnTo>
                  <a:pt x="121" y="753"/>
                </a:lnTo>
                <a:lnTo>
                  <a:pt x="120" y="752"/>
                </a:lnTo>
                <a:cubicBezTo>
                  <a:pt x="120" y="752"/>
                  <a:pt x="120" y="752"/>
                  <a:pt x="121" y="753"/>
                </a:cubicBezTo>
                <a:cubicBezTo>
                  <a:pt x="122" y="754"/>
                  <a:pt x="122" y="756"/>
                  <a:pt x="122" y="757"/>
                </a:cubicBezTo>
                <a:cubicBezTo>
                  <a:pt x="122" y="760"/>
                  <a:pt x="122" y="762"/>
                  <a:pt x="121" y="765"/>
                </a:cubicBezTo>
                <a:cubicBezTo>
                  <a:pt x="120" y="769"/>
                  <a:pt x="120" y="771"/>
                  <a:pt x="119" y="774"/>
                </a:cubicBezTo>
                <a:cubicBezTo>
                  <a:pt x="118" y="777"/>
                  <a:pt x="117" y="778"/>
                  <a:pt x="116" y="779"/>
                </a:cubicBezTo>
                <a:cubicBezTo>
                  <a:pt x="115" y="779"/>
                  <a:pt x="115" y="780"/>
                  <a:pt x="115" y="781"/>
                </a:cubicBezTo>
                <a:cubicBezTo>
                  <a:pt x="115" y="781"/>
                  <a:pt x="115" y="781"/>
                  <a:pt x="115" y="782"/>
                </a:cubicBezTo>
                <a:cubicBezTo>
                  <a:pt x="115" y="782"/>
                  <a:pt x="115" y="783"/>
                  <a:pt x="115" y="784"/>
                </a:cubicBezTo>
                <a:cubicBezTo>
                  <a:pt x="115" y="784"/>
                  <a:pt x="115" y="785"/>
                  <a:pt x="114" y="786"/>
                </a:cubicBezTo>
                <a:cubicBezTo>
                  <a:pt x="113" y="786"/>
                  <a:pt x="112" y="789"/>
                  <a:pt x="112" y="794"/>
                </a:cubicBezTo>
                <a:cubicBezTo>
                  <a:pt x="111" y="799"/>
                  <a:pt x="110" y="802"/>
                  <a:pt x="108" y="802"/>
                </a:cubicBezTo>
                <a:lnTo>
                  <a:pt x="106" y="802"/>
                </a:lnTo>
                <a:cubicBezTo>
                  <a:pt x="105" y="802"/>
                  <a:pt x="105" y="802"/>
                  <a:pt x="105" y="803"/>
                </a:cubicBezTo>
                <a:cubicBezTo>
                  <a:pt x="105" y="803"/>
                  <a:pt x="105" y="804"/>
                  <a:pt x="105" y="804"/>
                </a:cubicBezTo>
                <a:cubicBezTo>
                  <a:pt x="106" y="805"/>
                  <a:pt x="106" y="805"/>
                  <a:pt x="107" y="805"/>
                </a:cubicBezTo>
                <a:cubicBezTo>
                  <a:pt x="108" y="805"/>
                  <a:pt x="108" y="806"/>
                  <a:pt x="108" y="807"/>
                </a:cubicBezTo>
                <a:cubicBezTo>
                  <a:pt x="108" y="808"/>
                  <a:pt x="108" y="809"/>
                  <a:pt x="107" y="810"/>
                </a:cubicBezTo>
                <a:cubicBezTo>
                  <a:pt x="107" y="811"/>
                  <a:pt x="107" y="811"/>
                  <a:pt x="107" y="812"/>
                </a:cubicBezTo>
                <a:cubicBezTo>
                  <a:pt x="106" y="812"/>
                  <a:pt x="106" y="812"/>
                  <a:pt x="105" y="812"/>
                </a:cubicBezTo>
                <a:cubicBezTo>
                  <a:pt x="105" y="812"/>
                  <a:pt x="105" y="812"/>
                  <a:pt x="105" y="810"/>
                </a:cubicBezTo>
                <a:cubicBezTo>
                  <a:pt x="105" y="809"/>
                  <a:pt x="104" y="808"/>
                  <a:pt x="104" y="807"/>
                </a:cubicBezTo>
                <a:lnTo>
                  <a:pt x="102" y="808"/>
                </a:lnTo>
                <a:cubicBezTo>
                  <a:pt x="101" y="808"/>
                  <a:pt x="101" y="808"/>
                  <a:pt x="101" y="807"/>
                </a:cubicBezTo>
                <a:cubicBezTo>
                  <a:pt x="101" y="806"/>
                  <a:pt x="102" y="803"/>
                  <a:pt x="103" y="799"/>
                </a:cubicBezTo>
                <a:cubicBezTo>
                  <a:pt x="105" y="795"/>
                  <a:pt x="106" y="793"/>
                  <a:pt x="108" y="793"/>
                </a:cubicBezTo>
                <a:cubicBezTo>
                  <a:pt x="109" y="793"/>
                  <a:pt x="110" y="792"/>
                  <a:pt x="110" y="790"/>
                </a:cubicBezTo>
                <a:cubicBezTo>
                  <a:pt x="110" y="789"/>
                  <a:pt x="110" y="789"/>
                  <a:pt x="110" y="789"/>
                </a:cubicBezTo>
                <a:lnTo>
                  <a:pt x="107" y="790"/>
                </a:lnTo>
                <a:cubicBezTo>
                  <a:pt x="107" y="790"/>
                  <a:pt x="106" y="790"/>
                  <a:pt x="106" y="789"/>
                </a:cubicBezTo>
                <a:cubicBezTo>
                  <a:pt x="106" y="789"/>
                  <a:pt x="108" y="783"/>
                  <a:pt x="112" y="772"/>
                </a:cubicBezTo>
                <a:cubicBezTo>
                  <a:pt x="115" y="761"/>
                  <a:pt x="120" y="748"/>
                  <a:pt x="124" y="734"/>
                </a:cubicBezTo>
                <a:cubicBezTo>
                  <a:pt x="129" y="719"/>
                  <a:pt x="133" y="706"/>
                  <a:pt x="137" y="695"/>
                </a:cubicBezTo>
                <a:cubicBezTo>
                  <a:pt x="141" y="683"/>
                  <a:pt x="144" y="676"/>
                  <a:pt x="145" y="674"/>
                </a:cubicBezTo>
                <a:cubicBezTo>
                  <a:pt x="146" y="672"/>
                  <a:pt x="147" y="670"/>
                  <a:pt x="147" y="667"/>
                </a:cubicBezTo>
                <a:cubicBezTo>
                  <a:pt x="148" y="665"/>
                  <a:pt x="149" y="662"/>
                  <a:pt x="150" y="659"/>
                </a:cubicBezTo>
                <a:cubicBezTo>
                  <a:pt x="151" y="656"/>
                  <a:pt x="152" y="653"/>
                  <a:pt x="153" y="651"/>
                </a:cubicBezTo>
                <a:cubicBezTo>
                  <a:pt x="154" y="649"/>
                  <a:pt x="155" y="648"/>
                  <a:pt x="155" y="648"/>
                </a:cubicBezTo>
                <a:cubicBezTo>
                  <a:pt x="156" y="648"/>
                  <a:pt x="156" y="648"/>
                  <a:pt x="156" y="648"/>
                </a:cubicBezTo>
                <a:cubicBezTo>
                  <a:pt x="156" y="649"/>
                  <a:pt x="156" y="650"/>
                  <a:pt x="155" y="651"/>
                </a:cubicBezTo>
                <a:cubicBezTo>
                  <a:pt x="154" y="652"/>
                  <a:pt x="154" y="653"/>
                  <a:pt x="154" y="654"/>
                </a:cubicBezTo>
                <a:lnTo>
                  <a:pt x="154" y="655"/>
                </a:lnTo>
                <a:lnTo>
                  <a:pt x="155" y="655"/>
                </a:lnTo>
                <a:cubicBezTo>
                  <a:pt x="156" y="655"/>
                  <a:pt x="158" y="652"/>
                  <a:pt x="159" y="647"/>
                </a:cubicBezTo>
                <a:cubicBezTo>
                  <a:pt x="159" y="645"/>
                  <a:pt x="159" y="644"/>
                  <a:pt x="160" y="642"/>
                </a:cubicBezTo>
                <a:cubicBezTo>
                  <a:pt x="160" y="641"/>
                  <a:pt x="161" y="640"/>
                  <a:pt x="161" y="640"/>
                </a:cubicBezTo>
                <a:lnTo>
                  <a:pt x="158" y="643"/>
                </a:lnTo>
                <a:cubicBezTo>
                  <a:pt x="157" y="645"/>
                  <a:pt x="156" y="646"/>
                  <a:pt x="155" y="646"/>
                </a:cubicBezTo>
                <a:lnTo>
                  <a:pt x="155" y="645"/>
                </a:lnTo>
                <a:cubicBezTo>
                  <a:pt x="155" y="644"/>
                  <a:pt x="156" y="639"/>
                  <a:pt x="159" y="632"/>
                </a:cubicBezTo>
                <a:cubicBezTo>
                  <a:pt x="161" y="625"/>
                  <a:pt x="164" y="621"/>
                  <a:pt x="167" y="621"/>
                </a:cubicBezTo>
                <a:lnTo>
                  <a:pt x="170" y="621"/>
                </a:lnTo>
                <a:cubicBezTo>
                  <a:pt x="170" y="621"/>
                  <a:pt x="169" y="620"/>
                  <a:pt x="167" y="620"/>
                </a:cubicBezTo>
                <a:cubicBezTo>
                  <a:pt x="166" y="620"/>
                  <a:pt x="165" y="618"/>
                  <a:pt x="165" y="616"/>
                </a:cubicBezTo>
                <a:cubicBezTo>
                  <a:pt x="166" y="615"/>
                  <a:pt x="167" y="613"/>
                  <a:pt x="167" y="611"/>
                </a:cubicBezTo>
                <a:cubicBezTo>
                  <a:pt x="167" y="610"/>
                  <a:pt x="168" y="608"/>
                  <a:pt x="169" y="606"/>
                </a:cubicBezTo>
                <a:cubicBezTo>
                  <a:pt x="171" y="601"/>
                  <a:pt x="172" y="598"/>
                  <a:pt x="172" y="598"/>
                </a:cubicBezTo>
                <a:cubicBezTo>
                  <a:pt x="172" y="598"/>
                  <a:pt x="172" y="598"/>
                  <a:pt x="172" y="599"/>
                </a:cubicBezTo>
                <a:cubicBezTo>
                  <a:pt x="172" y="600"/>
                  <a:pt x="172" y="603"/>
                  <a:pt x="171" y="606"/>
                </a:cubicBezTo>
                <a:cubicBezTo>
                  <a:pt x="170" y="610"/>
                  <a:pt x="170" y="612"/>
                  <a:pt x="170" y="613"/>
                </a:cubicBezTo>
                <a:lnTo>
                  <a:pt x="170" y="614"/>
                </a:lnTo>
                <a:cubicBezTo>
                  <a:pt x="171" y="614"/>
                  <a:pt x="172" y="612"/>
                  <a:pt x="172" y="610"/>
                </a:cubicBezTo>
                <a:cubicBezTo>
                  <a:pt x="172" y="608"/>
                  <a:pt x="172" y="606"/>
                  <a:pt x="174" y="604"/>
                </a:cubicBezTo>
                <a:cubicBezTo>
                  <a:pt x="176" y="600"/>
                  <a:pt x="177" y="596"/>
                  <a:pt x="179" y="590"/>
                </a:cubicBezTo>
                <a:cubicBezTo>
                  <a:pt x="180" y="585"/>
                  <a:pt x="181" y="580"/>
                  <a:pt x="181" y="578"/>
                </a:cubicBezTo>
                <a:cubicBezTo>
                  <a:pt x="181" y="577"/>
                  <a:pt x="181" y="577"/>
                  <a:pt x="181" y="576"/>
                </a:cubicBezTo>
                <a:cubicBezTo>
                  <a:pt x="181" y="576"/>
                  <a:pt x="180" y="575"/>
                  <a:pt x="180" y="575"/>
                </a:cubicBezTo>
                <a:lnTo>
                  <a:pt x="181" y="575"/>
                </a:lnTo>
                <a:cubicBezTo>
                  <a:pt x="182" y="575"/>
                  <a:pt x="183" y="573"/>
                  <a:pt x="184" y="571"/>
                </a:cubicBezTo>
                <a:cubicBezTo>
                  <a:pt x="186" y="568"/>
                  <a:pt x="187" y="565"/>
                  <a:pt x="188" y="561"/>
                </a:cubicBezTo>
                <a:cubicBezTo>
                  <a:pt x="205" y="513"/>
                  <a:pt x="215" y="489"/>
                  <a:pt x="217" y="489"/>
                </a:cubicBezTo>
                <a:lnTo>
                  <a:pt x="218" y="489"/>
                </a:lnTo>
                <a:cubicBezTo>
                  <a:pt x="218" y="490"/>
                  <a:pt x="218" y="490"/>
                  <a:pt x="218" y="491"/>
                </a:cubicBezTo>
                <a:cubicBezTo>
                  <a:pt x="218" y="492"/>
                  <a:pt x="218" y="492"/>
                  <a:pt x="218" y="492"/>
                </a:cubicBezTo>
                <a:cubicBezTo>
                  <a:pt x="216" y="494"/>
                  <a:pt x="215" y="496"/>
                  <a:pt x="215" y="499"/>
                </a:cubicBezTo>
                <a:cubicBezTo>
                  <a:pt x="214" y="501"/>
                  <a:pt x="214" y="502"/>
                  <a:pt x="213" y="502"/>
                </a:cubicBezTo>
                <a:cubicBezTo>
                  <a:pt x="212" y="503"/>
                  <a:pt x="212" y="504"/>
                  <a:pt x="212" y="505"/>
                </a:cubicBezTo>
                <a:lnTo>
                  <a:pt x="212" y="507"/>
                </a:lnTo>
                <a:cubicBezTo>
                  <a:pt x="212" y="508"/>
                  <a:pt x="212" y="509"/>
                  <a:pt x="211" y="509"/>
                </a:cubicBezTo>
                <a:cubicBezTo>
                  <a:pt x="210" y="509"/>
                  <a:pt x="210" y="510"/>
                  <a:pt x="210" y="511"/>
                </a:cubicBezTo>
                <a:lnTo>
                  <a:pt x="211" y="515"/>
                </a:lnTo>
                <a:cubicBezTo>
                  <a:pt x="211" y="515"/>
                  <a:pt x="211" y="515"/>
                  <a:pt x="210" y="515"/>
                </a:cubicBezTo>
                <a:lnTo>
                  <a:pt x="208" y="514"/>
                </a:lnTo>
                <a:lnTo>
                  <a:pt x="208" y="515"/>
                </a:lnTo>
                <a:cubicBezTo>
                  <a:pt x="208" y="518"/>
                  <a:pt x="206" y="524"/>
                  <a:pt x="203" y="534"/>
                </a:cubicBezTo>
                <a:cubicBezTo>
                  <a:pt x="200" y="543"/>
                  <a:pt x="199" y="549"/>
                  <a:pt x="199" y="553"/>
                </a:cubicBezTo>
                <a:cubicBezTo>
                  <a:pt x="199" y="554"/>
                  <a:pt x="199" y="554"/>
                  <a:pt x="199" y="555"/>
                </a:cubicBezTo>
                <a:cubicBezTo>
                  <a:pt x="200" y="555"/>
                  <a:pt x="200" y="554"/>
                  <a:pt x="201" y="552"/>
                </a:cubicBezTo>
                <a:cubicBezTo>
                  <a:pt x="202" y="551"/>
                  <a:pt x="203" y="549"/>
                  <a:pt x="203" y="548"/>
                </a:cubicBezTo>
                <a:cubicBezTo>
                  <a:pt x="203" y="547"/>
                  <a:pt x="203" y="546"/>
                  <a:pt x="202" y="546"/>
                </a:cubicBezTo>
                <a:cubicBezTo>
                  <a:pt x="202" y="546"/>
                  <a:pt x="202" y="545"/>
                  <a:pt x="202" y="545"/>
                </a:cubicBezTo>
                <a:cubicBezTo>
                  <a:pt x="202" y="544"/>
                  <a:pt x="202" y="544"/>
                  <a:pt x="203" y="544"/>
                </a:cubicBezTo>
                <a:cubicBezTo>
                  <a:pt x="204" y="544"/>
                  <a:pt x="207" y="538"/>
                  <a:pt x="212" y="524"/>
                </a:cubicBezTo>
                <a:cubicBezTo>
                  <a:pt x="217" y="511"/>
                  <a:pt x="219" y="504"/>
                  <a:pt x="220" y="504"/>
                </a:cubicBezTo>
                <a:cubicBezTo>
                  <a:pt x="221" y="503"/>
                  <a:pt x="221" y="502"/>
                  <a:pt x="221" y="500"/>
                </a:cubicBezTo>
                <a:cubicBezTo>
                  <a:pt x="221" y="498"/>
                  <a:pt x="222" y="497"/>
                  <a:pt x="224" y="496"/>
                </a:cubicBezTo>
                <a:cubicBezTo>
                  <a:pt x="225" y="496"/>
                  <a:pt x="226" y="495"/>
                  <a:pt x="226" y="493"/>
                </a:cubicBezTo>
                <a:lnTo>
                  <a:pt x="225" y="488"/>
                </a:lnTo>
                <a:cubicBezTo>
                  <a:pt x="225" y="488"/>
                  <a:pt x="225" y="487"/>
                  <a:pt x="225" y="487"/>
                </a:cubicBezTo>
                <a:lnTo>
                  <a:pt x="228" y="488"/>
                </a:lnTo>
                <a:cubicBezTo>
                  <a:pt x="228" y="488"/>
                  <a:pt x="228" y="488"/>
                  <a:pt x="228" y="488"/>
                </a:cubicBezTo>
                <a:cubicBezTo>
                  <a:pt x="228" y="487"/>
                  <a:pt x="228" y="487"/>
                  <a:pt x="228" y="486"/>
                </a:cubicBezTo>
                <a:cubicBezTo>
                  <a:pt x="227" y="486"/>
                  <a:pt x="227" y="485"/>
                  <a:pt x="227" y="484"/>
                </a:cubicBezTo>
                <a:cubicBezTo>
                  <a:pt x="227" y="484"/>
                  <a:pt x="227" y="484"/>
                  <a:pt x="228" y="484"/>
                </a:cubicBezTo>
                <a:lnTo>
                  <a:pt x="232" y="485"/>
                </a:lnTo>
                <a:cubicBezTo>
                  <a:pt x="232" y="485"/>
                  <a:pt x="231" y="483"/>
                  <a:pt x="230" y="482"/>
                </a:cubicBezTo>
                <a:cubicBezTo>
                  <a:pt x="229" y="480"/>
                  <a:pt x="229" y="479"/>
                  <a:pt x="229" y="478"/>
                </a:cubicBezTo>
                <a:lnTo>
                  <a:pt x="229" y="477"/>
                </a:lnTo>
                <a:lnTo>
                  <a:pt x="229" y="477"/>
                </a:lnTo>
                <a:cubicBezTo>
                  <a:pt x="230" y="477"/>
                  <a:pt x="230" y="478"/>
                  <a:pt x="230" y="479"/>
                </a:cubicBezTo>
                <a:cubicBezTo>
                  <a:pt x="231" y="480"/>
                  <a:pt x="231" y="480"/>
                  <a:pt x="231" y="480"/>
                </a:cubicBezTo>
                <a:cubicBezTo>
                  <a:pt x="231" y="480"/>
                  <a:pt x="232" y="480"/>
                  <a:pt x="233" y="478"/>
                </a:cubicBezTo>
                <a:cubicBezTo>
                  <a:pt x="234" y="476"/>
                  <a:pt x="235" y="475"/>
                  <a:pt x="235" y="474"/>
                </a:cubicBezTo>
                <a:cubicBezTo>
                  <a:pt x="235" y="473"/>
                  <a:pt x="234" y="472"/>
                  <a:pt x="234" y="471"/>
                </a:cubicBezTo>
                <a:cubicBezTo>
                  <a:pt x="233" y="470"/>
                  <a:pt x="232" y="469"/>
                  <a:pt x="232" y="468"/>
                </a:cubicBezTo>
                <a:lnTo>
                  <a:pt x="233" y="467"/>
                </a:lnTo>
                <a:lnTo>
                  <a:pt x="233" y="467"/>
                </a:lnTo>
                <a:cubicBezTo>
                  <a:pt x="234" y="467"/>
                  <a:pt x="234" y="468"/>
                  <a:pt x="234" y="469"/>
                </a:cubicBezTo>
                <a:cubicBezTo>
                  <a:pt x="234" y="470"/>
                  <a:pt x="234" y="470"/>
                  <a:pt x="235" y="470"/>
                </a:cubicBezTo>
                <a:cubicBezTo>
                  <a:pt x="235" y="470"/>
                  <a:pt x="236" y="470"/>
                  <a:pt x="237" y="469"/>
                </a:cubicBezTo>
                <a:cubicBezTo>
                  <a:pt x="239" y="467"/>
                  <a:pt x="239" y="465"/>
                  <a:pt x="239" y="463"/>
                </a:cubicBezTo>
                <a:cubicBezTo>
                  <a:pt x="239" y="462"/>
                  <a:pt x="239" y="461"/>
                  <a:pt x="238" y="461"/>
                </a:cubicBezTo>
                <a:cubicBezTo>
                  <a:pt x="238" y="460"/>
                  <a:pt x="237" y="460"/>
                  <a:pt x="236" y="460"/>
                </a:cubicBezTo>
                <a:cubicBezTo>
                  <a:pt x="236" y="459"/>
                  <a:pt x="236" y="459"/>
                  <a:pt x="236" y="459"/>
                </a:cubicBezTo>
                <a:cubicBezTo>
                  <a:pt x="236" y="458"/>
                  <a:pt x="236" y="458"/>
                  <a:pt x="236" y="457"/>
                </a:cubicBezTo>
                <a:cubicBezTo>
                  <a:pt x="236" y="457"/>
                  <a:pt x="238" y="457"/>
                  <a:pt x="240" y="457"/>
                </a:cubicBezTo>
                <a:cubicBezTo>
                  <a:pt x="242" y="457"/>
                  <a:pt x="245" y="452"/>
                  <a:pt x="249" y="441"/>
                </a:cubicBezTo>
                <a:cubicBezTo>
                  <a:pt x="250" y="437"/>
                  <a:pt x="251" y="434"/>
                  <a:pt x="251" y="431"/>
                </a:cubicBezTo>
                <a:cubicBezTo>
                  <a:pt x="251" y="431"/>
                  <a:pt x="251" y="430"/>
                  <a:pt x="250" y="430"/>
                </a:cubicBezTo>
                <a:cubicBezTo>
                  <a:pt x="250" y="429"/>
                  <a:pt x="250" y="429"/>
                  <a:pt x="250" y="429"/>
                </a:cubicBezTo>
                <a:cubicBezTo>
                  <a:pt x="249" y="429"/>
                  <a:pt x="247" y="433"/>
                  <a:pt x="244" y="439"/>
                </a:cubicBezTo>
                <a:lnTo>
                  <a:pt x="242" y="447"/>
                </a:lnTo>
                <a:cubicBezTo>
                  <a:pt x="241" y="451"/>
                  <a:pt x="241" y="453"/>
                  <a:pt x="241" y="454"/>
                </a:cubicBezTo>
                <a:cubicBezTo>
                  <a:pt x="241" y="454"/>
                  <a:pt x="240" y="455"/>
                  <a:pt x="239" y="455"/>
                </a:cubicBezTo>
                <a:cubicBezTo>
                  <a:pt x="239" y="455"/>
                  <a:pt x="238" y="454"/>
                  <a:pt x="238" y="452"/>
                </a:cubicBezTo>
                <a:cubicBezTo>
                  <a:pt x="238" y="449"/>
                  <a:pt x="240" y="443"/>
                  <a:pt x="244" y="433"/>
                </a:cubicBezTo>
                <a:cubicBezTo>
                  <a:pt x="248" y="426"/>
                  <a:pt x="251" y="422"/>
                  <a:pt x="251" y="422"/>
                </a:cubicBezTo>
                <a:cubicBezTo>
                  <a:pt x="253" y="422"/>
                  <a:pt x="253" y="422"/>
                  <a:pt x="253" y="422"/>
                </a:cubicBezTo>
                <a:cubicBezTo>
                  <a:pt x="253" y="423"/>
                  <a:pt x="253" y="423"/>
                  <a:pt x="251" y="424"/>
                </a:cubicBezTo>
                <a:cubicBezTo>
                  <a:pt x="250" y="424"/>
                  <a:pt x="250" y="425"/>
                  <a:pt x="250" y="426"/>
                </a:cubicBezTo>
                <a:cubicBezTo>
                  <a:pt x="250" y="426"/>
                  <a:pt x="250" y="427"/>
                  <a:pt x="250" y="427"/>
                </a:cubicBezTo>
                <a:cubicBezTo>
                  <a:pt x="251" y="428"/>
                  <a:pt x="251" y="428"/>
                  <a:pt x="251" y="428"/>
                </a:cubicBezTo>
                <a:cubicBezTo>
                  <a:pt x="253" y="428"/>
                  <a:pt x="255" y="425"/>
                  <a:pt x="257" y="419"/>
                </a:cubicBezTo>
                <a:lnTo>
                  <a:pt x="261" y="406"/>
                </a:lnTo>
                <a:cubicBezTo>
                  <a:pt x="260" y="406"/>
                  <a:pt x="260" y="406"/>
                  <a:pt x="259" y="406"/>
                </a:cubicBezTo>
                <a:lnTo>
                  <a:pt x="258" y="406"/>
                </a:lnTo>
                <a:cubicBezTo>
                  <a:pt x="258" y="406"/>
                  <a:pt x="257" y="406"/>
                  <a:pt x="257" y="406"/>
                </a:cubicBezTo>
                <a:cubicBezTo>
                  <a:pt x="257" y="405"/>
                  <a:pt x="258" y="404"/>
                  <a:pt x="260" y="404"/>
                </a:cubicBezTo>
                <a:lnTo>
                  <a:pt x="262" y="404"/>
                </a:lnTo>
                <a:cubicBezTo>
                  <a:pt x="263" y="404"/>
                  <a:pt x="263" y="404"/>
                  <a:pt x="263" y="402"/>
                </a:cubicBezTo>
                <a:cubicBezTo>
                  <a:pt x="263" y="401"/>
                  <a:pt x="263" y="400"/>
                  <a:pt x="262" y="400"/>
                </a:cubicBezTo>
                <a:lnTo>
                  <a:pt x="260" y="401"/>
                </a:lnTo>
                <a:cubicBezTo>
                  <a:pt x="260" y="401"/>
                  <a:pt x="259" y="401"/>
                  <a:pt x="259" y="400"/>
                </a:cubicBezTo>
                <a:cubicBezTo>
                  <a:pt x="259" y="399"/>
                  <a:pt x="260" y="397"/>
                  <a:pt x="262" y="395"/>
                </a:cubicBezTo>
                <a:cubicBezTo>
                  <a:pt x="262" y="394"/>
                  <a:pt x="263" y="393"/>
                  <a:pt x="263" y="393"/>
                </a:cubicBezTo>
                <a:cubicBezTo>
                  <a:pt x="263" y="393"/>
                  <a:pt x="264" y="393"/>
                  <a:pt x="265" y="392"/>
                </a:cubicBezTo>
                <a:lnTo>
                  <a:pt x="266" y="393"/>
                </a:lnTo>
                <a:cubicBezTo>
                  <a:pt x="266" y="393"/>
                  <a:pt x="267" y="392"/>
                  <a:pt x="267" y="391"/>
                </a:cubicBezTo>
                <a:cubicBezTo>
                  <a:pt x="267" y="390"/>
                  <a:pt x="267" y="389"/>
                  <a:pt x="268" y="388"/>
                </a:cubicBezTo>
                <a:cubicBezTo>
                  <a:pt x="268" y="388"/>
                  <a:pt x="269" y="387"/>
                  <a:pt x="269" y="387"/>
                </a:cubicBezTo>
                <a:cubicBezTo>
                  <a:pt x="270" y="387"/>
                  <a:pt x="270" y="387"/>
                  <a:pt x="270" y="385"/>
                </a:cubicBezTo>
                <a:cubicBezTo>
                  <a:pt x="269" y="384"/>
                  <a:pt x="268" y="384"/>
                  <a:pt x="268" y="384"/>
                </a:cubicBezTo>
                <a:lnTo>
                  <a:pt x="266" y="385"/>
                </a:lnTo>
                <a:lnTo>
                  <a:pt x="266" y="384"/>
                </a:lnTo>
                <a:cubicBezTo>
                  <a:pt x="266" y="384"/>
                  <a:pt x="266" y="383"/>
                  <a:pt x="267" y="381"/>
                </a:cubicBezTo>
                <a:cubicBezTo>
                  <a:pt x="268" y="380"/>
                  <a:pt x="268" y="379"/>
                  <a:pt x="269" y="378"/>
                </a:cubicBezTo>
                <a:cubicBezTo>
                  <a:pt x="270" y="377"/>
                  <a:pt x="271" y="377"/>
                  <a:pt x="272" y="377"/>
                </a:cubicBezTo>
                <a:cubicBezTo>
                  <a:pt x="273" y="377"/>
                  <a:pt x="274" y="377"/>
                  <a:pt x="274" y="376"/>
                </a:cubicBezTo>
                <a:lnTo>
                  <a:pt x="273" y="376"/>
                </a:lnTo>
                <a:cubicBezTo>
                  <a:pt x="272" y="375"/>
                  <a:pt x="272" y="375"/>
                  <a:pt x="272" y="374"/>
                </a:cubicBezTo>
                <a:cubicBezTo>
                  <a:pt x="272" y="373"/>
                  <a:pt x="273" y="372"/>
                  <a:pt x="274" y="371"/>
                </a:cubicBezTo>
                <a:lnTo>
                  <a:pt x="276" y="370"/>
                </a:lnTo>
                <a:lnTo>
                  <a:pt x="273" y="370"/>
                </a:lnTo>
                <a:cubicBezTo>
                  <a:pt x="273" y="370"/>
                  <a:pt x="273" y="370"/>
                  <a:pt x="273" y="370"/>
                </a:cubicBezTo>
                <a:cubicBezTo>
                  <a:pt x="273" y="369"/>
                  <a:pt x="273" y="368"/>
                  <a:pt x="275" y="366"/>
                </a:cubicBezTo>
                <a:cubicBezTo>
                  <a:pt x="276" y="364"/>
                  <a:pt x="277" y="362"/>
                  <a:pt x="277" y="362"/>
                </a:cubicBezTo>
                <a:cubicBezTo>
                  <a:pt x="277" y="361"/>
                  <a:pt x="277" y="360"/>
                  <a:pt x="277" y="360"/>
                </a:cubicBezTo>
                <a:lnTo>
                  <a:pt x="277" y="359"/>
                </a:lnTo>
                <a:lnTo>
                  <a:pt x="279" y="360"/>
                </a:lnTo>
                <a:cubicBezTo>
                  <a:pt x="280" y="360"/>
                  <a:pt x="280" y="360"/>
                  <a:pt x="280" y="359"/>
                </a:cubicBezTo>
                <a:cubicBezTo>
                  <a:pt x="280" y="357"/>
                  <a:pt x="280" y="357"/>
                  <a:pt x="279" y="357"/>
                </a:cubicBezTo>
                <a:cubicBezTo>
                  <a:pt x="278" y="357"/>
                  <a:pt x="277" y="356"/>
                  <a:pt x="277" y="355"/>
                </a:cubicBezTo>
                <a:cubicBezTo>
                  <a:pt x="277" y="355"/>
                  <a:pt x="278" y="354"/>
                  <a:pt x="279" y="352"/>
                </a:cubicBezTo>
                <a:cubicBezTo>
                  <a:pt x="280" y="350"/>
                  <a:pt x="281" y="350"/>
                  <a:pt x="283" y="350"/>
                </a:cubicBezTo>
                <a:lnTo>
                  <a:pt x="284" y="350"/>
                </a:lnTo>
                <a:lnTo>
                  <a:pt x="283" y="344"/>
                </a:lnTo>
                <a:cubicBezTo>
                  <a:pt x="283" y="343"/>
                  <a:pt x="283" y="343"/>
                  <a:pt x="283" y="343"/>
                </a:cubicBezTo>
                <a:lnTo>
                  <a:pt x="285" y="343"/>
                </a:lnTo>
                <a:cubicBezTo>
                  <a:pt x="286" y="343"/>
                  <a:pt x="288" y="342"/>
                  <a:pt x="290" y="338"/>
                </a:cubicBezTo>
                <a:cubicBezTo>
                  <a:pt x="291" y="334"/>
                  <a:pt x="292" y="331"/>
                  <a:pt x="292" y="330"/>
                </a:cubicBezTo>
                <a:cubicBezTo>
                  <a:pt x="292" y="329"/>
                  <a:pt x="291" y="329"/>
                  <a:pt x="291" y="329"/>
                </a:cubicBezTo>
                <a:lnTo>
                  <a:pt x="289" y="329"/>
                </a:lnTo>
                <a:lnTo>
                  <a:pt x="289" y="329"/>
                </a:lnTo>
                <a:cubicBezTo>
                  <a:pt x="289" y="328"/>
                  <a:pt x="290" y="327"/>
                  <a:pt x="291" y="325"/>
                </a:cubicBezTo>
                <a:cubicBezTo>
                  <a:pt x="291" y="323"/>
                  <a:pt x="292" y="322"/>
                  <a:pt x="293" y="322"/>
                </a:cubicBezTo>
                <a:cubicBezTo>
                  <a:pt x="293" y="322"/>
                  <a:pt x="294" y="322"/>
                  <a:pt x="294" y="322"/>
                </a:cubicBezTo>
                <a:cubicBezTo>
                  <a:pt x="294" y="322"/>
                  <a:pt x="294" y="323"/>
                  <a:pt x="295" y="323"/>
                </a:cubicBezTo>
                <a:cubicBezTo>
                  <a:pt x="295" y="323"/>
                  <a:pt x="296" y="322"/>
                  <a:pt x="296" y="321"/>
                </a:cubicBezTo>
                <a:cubicBezTo>
                  <a:pt x="296" y="319"/>
                  <a:pt x="296" y="318"/>
                  <a:pt x="296" y="318"/>
                </a:cubicBezTo>
                <a:cubicBezTo>
                  <a:pt x="296" y="317"/>
                  <a:pt x="296" y="317"/>
                  <a:pt x="296" y="317"/>
                </a:cubicBezTo>
                <a:lnTo>
                  <a:pt x="294" y="318"/>
                </a:lnTo>
                <a:cubicBezTo>
                  <a:pt x="294" y="318"/>
                  <a:pt x="294" y="317"/>
                  <a:pt x="294" y="317"/>
                </a:cubicBezTo>
                <a:cubicBezTo>
                  <a:pt x="294" y="317"/>
                  <a:pt x="294" y="316"/>
                  <a:pt x="294" y="316"/>
                </a:cubicBezTo>
                <a:cubicBezTo>
                  <a:pt x="295" y="315"/>
                  <a:pt x="296" y="313"/>
                  <a:pt x="299" y="311"/>
                </a:cubicBezTo>
                <a:lnTo>
                  <a:pt x="298" y="311"/>
                </a:lnTo>
                <a:cubicBezTo>
                  <a:pt x="297" y="311"/>
                  <a:pt x="297" y="311"/>
                  <a:pt x="297" y="310"/>
                </a:cubicBezTo>
                <a:cubicBezTo>
                  <a:pt x="297" y="309"/>
                  <a:pt x="298" y="308"/>
                  <a:pt x="298" y="305"/>
                </a:cubicBezTo>
                <a:cubicBezTo>
                  <a:pt x="299" y="302"/>
                  <a:pt x="300" y="300"/>
                  <a:pt x="301" y="300"/>
                </a:cubicBezTo>
                <a:lnTo>
                  <a:pt x="302" y="301"/>
                </a:lnTo>
                <a:cubicBezTo>
                  <a:pt x="302" y="301"/>
                  <a:pt x="303" y="301"/>
                  <a:pt x="303" y="301"/>
                </a:cubicBezTo>
                <a:cubicBezTo>
                  <a:pt x="303" y="301"/>
                  <a:pt x="303" y="301"/>
                  <a:pt x="303" y="300"/>
                </a:cubicBezTo>
                <a:lnTo>
                  <a:pt x="302" y="297"/>
                </a:lnTo>
                <a:cubicBezTo>
                  <a:pt x="302" y="296"/>
                  <a:pt x="303" y="295"/>
                  <a:pt x="304" y="295"/>
                </a:cubicBezTo>
                <a:cubicBezTo>
                  <a:pt x="305" y="295"/>
                  <a:pt x="305" y="295"/>
                  <a:pt x="305" y="294"/>
                </a:cubicBezTo>
                <a:lnTo>
                  <a:pt x="304" y="292"/>
                </a:lnTo>
                <a:cubicBezTo>
                  <a:pt x="304" y="291"/>
                  <a:pt x="305" y="287"/>
                  <a:pt x="308" y="281"/>
                </a:cubicBezTo>
                <a:cubicBezTo>
                  <a:pt x="311" y="272"/>
                  <a:pt x="316" y="259"/>
                  <a:pt x="323" y="243"/>
                </a:cubicBezTo>
                <a:lnTo>
                  <a:pt x="328" y="236"/>
                </a:lnTo>
                <a:lnTo>
                  <a:pt x="329" y="236"/>
                </a:lnTo>
                <a:cubicBezTo>
                  <a:pt x="329" y="236"/>
                  <a:pt x="328" y="235"/>
                  <a:pt x="328" y="235"/>
                </a:cubicBezTo>
                <a:cubicBezTo>
                  <a:pt x="328" y="235"/>
                  <a:pt x="327" y="234"/>
                  <a:pt x="327" y="233"/>
                </a:cubicBezTo>
                <a:cubicBezTo>
                  <a:pt x="327" y="232"/>
                  <a:pt x="328" y="230"/>
                  <a:pt x="330" y="227"/>
                </a:cubicBezTo>
                <a:cubicBezTo>
                  <a:pt x="331" y="225"/>
                  <a:pt x="332" y="223"/>
                  <a:pt x="332" y="222"/>
                </a:cubicBezTo>
                <a:lnTo>
                  <a:pt x="332" y="222"/>
                </a:lnTo>
                <a:cubicBezTo>
                  <a:pt x="332" y="221"/>
                  <a:pt x="332" y="219"/>
                  <a:pt x="333" y="217"/>
                </a:cubicBezTo>
                <a:cubicBezTo>
                  <a:pt x="335" y="214"/>
                  <a:pt x="335" y="213"/>
                  <a:pt x="335" y="212"/>
                </a:cubicBezTo>
                <a:lnTo>
                  <a:pt x="338" y="206"/>
                </a:lnTo>
                <a:cubicBezTo>
                  <a:pt x="340" y="201"/>
                  <a:pt x="341" y="198"/>
                  <a:pt x="342" y="198"/>
                </a:cubicBezTo>
                <a:cubicBezTo>
                  <a:pt x="343" y="198"/>
                  <a:pt x="343" y="197"/>
                  <a:pt x="343" y="196"/>
                </a:cubicBezTo>
                <a:lnTo>
                  <a:pt x="343" y="194"/>
                </a:lnTo>
                <a:cubicBezTo>
                  <a:pt x="343" y="191"/>
                  <a:pt x="343" y="189"/>
                  <a:pt x="345" y="188"/>
                </a:cubicBezTo>
                <a:cubicBezTo>
                  <a:pt x="346" y="188"/>
                  <a:pt x="347" y="186"/>
                  <a:pt x="347" y="184"/>
                </a:cubicBezTo>
                <a:cubicBezTo>
                  <a:pt x="347" y="182"/>
                  <a:pt x="347" y="181"/>
                  <a:pt x="348" y="179"/>
                </a:cubicBezTo>
                <a:cubicBezTo>
                  <a:pt x="349" y="178"/>
                  <a:pt x="350" y="177"/>
                  <a:pt x="350" y="177"/>
                </a:cubicBezTo>
                <a:cubicBezTo>
                  <a:pt x="350" y="177"/>
                  <a:pt x="350" y="176"/>
                  <a:pt x="351" y="175"/>
                </a:cubicBezTo>
                <a:lnTo>
                  <a:pt x="351" y="174"/>
                </a:lnTo>
                <a:cubicBezTo>
                  <a:pt x="351" y="171"/>
                  <a:pt x="353" y="164"/>
                  <a:pt x="357" y="154"/>
                </a:cubicBezTo>
                <a:cubicBezTo>
                  <a:pt x="361" y="144"/>
                  <a:pt x="363" y="139"/>
                  <a:pt x="364" y="139"/>
                </a:cubicBezTo>
                <a:cubicBezTo>
                  <a:pt x="364" y="139"/>
                  <a:pt x="365" y="138"/>
                  <a:pt x="365" y="137"/>
                </a:cubicBezTo>
                <a:lnTo>
                  <a:pt x="365" y="136"/>
                </a:lnTo>
                <a:cubicBezTo>
                  <a:pt x="365" y="133"/>
                  <a:pt x="367" y="127"/>
                  <a:pt x="370" y="116"/>
                </a:cubicBezTo>
                <a:cubicBezTo>
                  <a:pt x="375" y="104"/>
                  <a:pt x="379" y="90"/>
                  <a:pt x="383" y="74"/>
                </a:cubicBezTo>
                <a:cubicBezTo>
                  <a:pt x="387" y="58"/>
                  <a:pt x="389" y="48"/>
                  <a:pt x="389" y="42"/>
                </a:cubicBezTo>
                <a:cubicBezTo>
                  <a:pt x="389" y="37"/>
                  <a:pt x="387" y="34"/>
                  <a:pt x="384" y="34"/>
                </a:cubicBezTo>
                <a:cubicBezTo>
                  <a:pt x="381" y="34"/>
                  <a:pt x="375" y="36"/>
                  <a:pt x="365" y="41"/>
                </a:cubicBezTo>
                <a:cubicBezTo>
                  <a:pt x="359" y="43"/>
                  <a:pt x="355" y="45"/>
                  <a:pt x="353" y="45"/>
                </a:cubicBezTo>
                <a:cubicBezTo>
                  <a:pt x="351" y="45"/>
                  <a:pt x="350" y="44"/>
                  <a:pt x="350" y="44"/>
                </a:cubicBezTo>
                <a:cubicBezTo>
                  <a:pt x="350" y="43"/>
                  <a:pt x="349" y="43"/>
                  <a:pt x="348" y="43"/>
                </a:cubicBezTo>
                <a:cubicBezTo>
                  <a:pt x="347" y="43"/>
                  <a:pt x="344" y="44"/>
                  <a:pt x="340" y="46"/>
                </a:cubicBezTo>
                <a:cubicBezTo>
                  <a:pt x="336" y="48"/>
                  <a:pt x="333" y="50"/>
                  <a:pt x="333" y="51"/>
                </a:cubicBezTo>
                <a:lnTo>
                  <a:pt x="335" y="52"/>
                </a:lnTo>
                <a:cubicBezTo>
                  <a:pt x="336" y="52"/>
                  <a:pt x="336" y="52"/>
                  <a:pt x="336" y="51"/>
                </a:cubicBezTo>
                <a:cubicBezTo>
                  <a:pt x="336" y="50"/>
                  <a:pt x="337" y="50"/>
                  <a:pt x="337" y="50"/>
                </a:cubicBezTo>
                <a:lnTo>
                  <a:pt x="339" y="50"/>
                </a:lnTo>
                <a:cubicBezTo>
                  <a:pt x="340" y="50"/>
                  <a:pt x="340" y="50"/>
                  <a:pt x="340" y="49"/>
                </a:cubicBezTo>
                <a:cubicBezTo>
                  <a:pt x="340" y="48"/>
                  <a:pt x="341" y="48"/>
                  <a:pt x="342" y="48"/>
                </a:cubicBezTo>
                <a:cubicBezTo>
                  <a:pt x="342" y="48"/>
                  <a:pt x="343" y="48"/>
                  <a:pt x="343" y="48"/>
                </a:cubicBezTo>
                <a:cubicBezTo>
                  <a:pt x="344" y="48"/>
                  <a:pt x="345" y="48"/>
                  <a:pt x="345" y="46"/>
                </a:cubicBezTo>
                <a:cubicBezTo>
                  <a:pt x="346" y="45"/>
                  <a:pt x="347" y="45"/>
                  <a:pt x="348" y="45"/>
                </a:cubicBezTo>
                <a:cubicBezTo>
                  <a:pt x="349" y="45"/>
                  <a:pt x="349" y="45"/>
                  <a:pt x="350" y="47"/>
                </a:cubicBezTo>
                <a:cubicBezTo>
                  <a:pt x="350" y="47"/>
                  <a:pt x="349" y="48"/>
                  <a:pt x="348" y="49"/>
                </a:cubicBezTo>
                <a:cubicBezTo>
                  <a:pt x="347" y="50"/>
                  <a:pt x="345" y="51"/>
                  <a:pt x="343" y="51"/>
                </a:cubicBezTo>
                <a:cubicBezTo>
                  <a:pt x="340" y="53"/>
                  <a:pt x="338" y="54"/>
                  <a:pt x="335" y="56"/>
                </a:cubicBezTo>
                <a:cubicBezTo>
                  <a:pt x="333" y="58"/>
                  <a:pt x="331" y="59"/>
                  <a:pt x="329" y="59"/>
                </a:cubicBezTo>
                <a:cubicBezTo>
                  <a:pt x="327" y="60"/>
                  <a:pt x="325" y="62"/>
                  <a:pt x="323" y="63"/>
                </a:cubicBezTo>
                <a:cubicBezTo>
                  <a:pt x="321" y="66"/>
                  <a:pt x="319" y="66"/>
                  <a:pt x="318" y="66"/>
                </a:cubicBezTo>
                <a:lnTo>
                  <a:pt x="317" y="66"/>
                </a:lnTo>
                <a:cubicBezTo>
                  <a:pt x="316" y="66"/>
                  <a:pt x="315" y="66"/>
                  <a:pt x="315" y="67"/>
                </a:cubicBezTo>
                <a:cubicBezTo>
                  <a:pt x="315" y="68"/>
                  <a:pt x="314" y="69"/>
                  <a:pt x="311" y="71"/>
                </a:cubicBezTo>
                <a:cubicBezTo>
                  <a:pt x="309" y="73"/>
                  <a:pt x="306" y="75"/>
                  <a:pt x="303" y="76"/>
                </a:cubicBezTo>
                <a:cubicBezTo>
                  <a:pt x="300" y="78"/>
                  <a:pt x="297" y="78"/>
                  <a:pt x="296" y="78"/>
                </a:cubicBezTo>
                <a:lnTo>
                  <a:pt x="294" y="78"/>
                </a:lnTo>
                <a:lnTo>
                  <a:pt x="295" y="78"/>
                </a:lnTo>
                <a:cubicBezTo>
                  <a:pt x="295" y="79"/>
                  <a:pt x="295" y="80"/>
                  <a:pt x="295" y="81"/>
                </a:cubicBezTo>
                <a:cubicBezTo>
                  <a:pt x="295" y="81"/>
                  <a:pt x="295" y="82"/>
                  <a:pt x="294" y="82"/>
                </a:cubicBezTo>
                <a:cubicBezTo>
                  <a:pt x="293" y="83"/>
                  <a:pt x="293" y="83"/>
                  <a:pt x="292" y="83"/>
                </a:cubicBezTo>
                <a:cubicBezTo>
                  <a:pt x="291" y="83"/>
                  <a:pt x="290" y="83"/>
                  <a:pt x="289" y="81"/>
                </a:cubicBezTo>
                <a:cubicBezTo>
                  <a:pt x="288" y="80"/>
                  <a:pt x="286" y="80"/>
                  <a:pt x="284" y="80"/>
                </a:cubicBezTo>
                <a:cubicBezTo>
                  <a:pt x="283" y="80"/>
                  <a:pt x="283" y="80"/>
                  <a:pt x="283" y="80"/>
                </a:cubicBezTo>
                <a:cubicBezTo>
                  <a:pt x="283" y="80"/>
                  <a:pt x="284" y="81"/>
                  <a:pt x="286" y="82"/>
                </a:cubicBezTo>
                <a:cubicBezTo>
                  <a:pt x="288" y="83"/>
                  <a:pt x="289" y="84"/>
                  <a:pt x="289" y="85"/>
                </a:cubicBezTo>
                <a:cubicBezTo>
                  <a:pt x="289" y="85"/>
                  <a:pt x="289" y="85"/>
                  <a:pt x="288" y="86"/>
                </a:cubicBezTo>
                <a:cubicBezTo>
                  <a:pt x="288" y="86"/>
                  <a:pt x="287" y="87"/>
                  <a:pt x="286" y="87"/>
                </a:cubicBezTo>
                <a:cubicBezTo>
                  <a:pt x="285" y="87"/>
                  <a:pt x="284" y="86"/>
                  <a:pt x="283" y="86"/>
                </a:cubicBezTo>
                <a:cubicBezTo>
                  <a:pt x="282" y="85"/>
                  <a:pt x="281" y="85"/>
                  <a:pt x="281" y="85"/>
                </a:cubicBezTo>
                <a:cubicBezTo>
                  <a:pt x="276" y="85"/>
                  <a:pt x="263" y="94"/>
                  <a:pt x="242" y="110"/>
                </a:cubicBezTo>
                <a:cubicBezTo>
                  <a:pt x="235" y="117"/>
                  <a:pt x="231" y="120"/>
                  <a:pt x="229" y="120"/>
                </a:cubicBezTo>
                <a:cubicBezTo>
                  <a:pt x="229" y="118"/>
                  <a:pt x="238" y="110"/>
                  <a:pt x="257" y="97"/>
                </a:cubicBezTo>
                <a:cubicBezTo>
                  <a:pt x="275" y="83"/>
                  <a:pt x="286" y="76"/>
                  <a:pt x="288" y="76"/>
                </a:cubicBezTo>
                <a:lnTo>
                  <a:pt x="289" y="77"/>
                </a:lnTo>
                <a:cubicBezTo>
                  <a:pt x="289" y="77"/>
                  <a:pt x="289" y="77"/>
                  <a:pt x="289" y="76"/>
                </a:cubicBezTo>
                <a:cubicBezTo>
                  <a:pt x="289" y="74"/>
                  <a:pt x="290" y="73"/>
                  <a:pt x="292" y="73"/>
                </a:cubicBezTo>
                <a:cubicBezTo>
                  <a:pt x="294" y="73"/>
                  <a:pt x="295" y="72"/>
                  <a:pt x="295" y="71"/>
                </a:cubicBezTo>
                <a:lnTo>
                  <a:pt x="295" y="71"/>
                </a:lnTo>
                <a:cubicBezTo>
                  <a:pt x="295" y="69"/>
                  <a:pt x="296" y="68"/>
                  <a:pt x="298" y="68"/>
                </a:cubicBezTo>
                <a:cubicBezTo>
                  <a:pt x="300" y="68"/>
                  <a:pt x="300" y="68"/>
                  <a:pt x="300" y="68"/>
                </a:cubicBezTo>
                <a:lnTo>
                  <a:pt x="300" y="67"/>
                </a:lnTo>
                <a:cubicBezTo>
                  <a:pt x="300" y="65"/>
                  <a:pt x="308" y="60"/>
                  <a:pt x="323" y="52"/>
                </a:cubicBezTo>
                <a:cubicBezTo>
                  <a:pt x="338" y="44"/>
                  <a:pt x="348" y="40"/>
                  <a:pt x="353" y="40"/>
                </a:cubicBezTo>
                <a:cubicBezTo>
                  <a:pt x="361" y="40"/>
                  <a:pt x="365" y="39"/>
                  <a:pt x="365" y="38"/>
                </a:cubicBezTo>
                <a:cubicBezTo>
                  <a:pt x="365" y="38"/>
                  <a:pt x="365" y="37"/>
                  <a:pt x="364" y="36"/>
                </a:cubicBezTo>
                <a:cubicBezTo>
                  <a:pt x="363" y="35"/>
                  <a:pt x="363" y="34"/>
                  <a:pt x="363" y="34"/>
                </a:cubicBezTo>
                <a:cubicBezTo>
                  <a:pt x="363" y="33"/>
                  <a:pt x="363" y="32"/>
                  <a:pt x="365" y="32"/>
                </a:cubicBezTo>
                <a:cubicBezTo>
                  <a:pt x="367" y="31"/>
                  <a:pt x="370" y="31"/>
                  <a:pt x="372" y="31"/>
                </a:cubicBezTo>
                <a:cubicBezTo>
                  <a:pt x="373" y="31"/>
                  <a:pt x="374" y="31"/>
                  <a:pt x="375" y="31"/>
                </a:cubicBezTo>
                <a:cubicBezTo>
                  <a:pt x="375" y="31"/>
                  <a:pt x="375" y="32"/>
                  <a:pt x="376" y="32"/>
                </a:cubicBezTo>
                <a:lnTo>
                  <a:pt x="375" y="34"/>
                </a:lnTo>
                <a:cubicBezTo>
                  <a:pt x="375" y="34"/>
                  <a:pt x="376" y="34"/>
                  <a:pt x="377" y="34"/>
                </a:cubicBezTo>
                <a:cubicBezTo>
                  <a:pt x="377" y="34"/>
                  <a:pt x="378" y="34"/>
                  <a:pt x="379" y="33"/>
                </a:cubicBezTo>
                <a:cubicBezTo>
                  <a:pt x="379" y="33"/>
                  <a:pt x="380" y="32"/>
                  <a:pt x="380" y="32"/>
                </a:cubicBezTo>
                <a:cubicBezTo>
                  <a:pt x="380" y="31"/>
                  <a:pt x="379" y="30"/>
                  <a:pt x="377" y="28"/>
                </a:cubicBezTo>
                <a:cubicBezTo>
                  <a:pt x="375" y="26"/>
                  <a:pt x="374" y="25"/>
                  <a:pt x="373" y="25"/>
                </a:cubicBezTo>
                <a:cubicBezTo>
                  <a:pt x="372" y="25"/>
                  <a:pt x="372" y="26"/>
                  <a:pt x="371" y="27"/>
                </a:cubicBezTo>
                <a:cubicBezTo>
                  <a:pt x="370" y="27"/>
                  <a:pt x="367" y="29"/>
                  <a:pt x="361" y="30"/>
                </a:cubicBezTo>
                <a:cubicBezTo>
                  <a:pt x="355" y="31"/>
                  <a:pt x="348" y="34"/>
                  <a:pt x="341" y="38"/>
                </a:cubicBezTo>
                <a:cubicBezTo>
                  <a:pt x="335" y="42"/>
                  <a:pt x="331" y="44"/>
                  <a:pt x="330" y="44"/>
                </a:cubicBezTo>
                <a:cubicBezTo>
                  <a:pt x="329" y="44"/>
                  <a:pt x="328" y="42"/>
                  <a:pt x="328" y="40"/>
                </a:cubicBezTo>
                <a:cubicBezTo>
                  <a:pt x="327" y="40"/>
                  <a:pt x="324" y="41"/>
                  <a:pt x="321" y="43"/>
                </a:cubicBezTo>
                <a:cubicBezTo>
                  <a:pt x="317" y="44"/>
                  <a:pt x="315" y="45"/>
                  <a:pt x="314" y="45"/>
                </a:cubicBezTo>
                <a:cubicBezTo>
                  <a:pt x="312" y="45"/>
                  <a:pt x="312" y="45"/>
                  <a:pt x="312" y="44"/>
                </a:cubicBezTo>
                <a:cubicBezTo>
                  <a:pt x="312" y="43"/>
                  <a:pt x="313" y="41"/>
                  <a:pt x="315" y="39"/>
                </a:cubicBezTo>
                <a:cubicBezTo>
                  <a:pt x="316" y="37"/>
                  <a:pt x="317" y="36"/>
                  <a:pt x="317" y="35"/>
                </a:cubicBezTo>
                <a:cubicBezTo>
                  <a:pt x="317" y="34"/>
                  <a:pt x="317" y="34"/>
                  <a:pt x="316" y="34"/>
                </a:cubicBezTo>
                <a:cubicBezTo>
                  <a:pt x="315" y="34"/>
                  <a:pt x="314" y="34"/>
                  <a:pt x="312" y="35"/>
                </a:cubicBezTo>
                <a:cubicBezTo>
                  <a:pt x="311" y="36"/>
                  <a:pt x="310" y="36"/>
                  <a:pt x="310" y="36"/>
                </a:cubicBezTo>
                <a:lnTo>
                  <a:pt x="312" y="33"/>
                </a:lnTo>
                <a:cubicBezTo>
                  <a:pt x="314" y="31"/>
                  <a:pt x="315" y="29"/>
                  <a:pt x="315" y="29"/>
                </a:cubicBezTo>
                <a:cubicBezTo>
                  <a:pt x="315" y="28"/>
                  <a:pt x="315" y="27"/>
                  <a:pt x="314" y="27"/>
                </a:cubicBezTo>
                <a:cubicBezTo>
                  <a:pt x="313" y="27"/>
                  <a:pt x="313" y="27"/>
                  <a:pt x="312" y="27"/>
                </a:cubicBezTo>
                <a:cubicBezTo>
                  <a:pt x="311" y="28"/>
                  <a:pt x="310" y="28"/>
                  <a:pt x="310" y="28"/>
                </a:cubicBezTo>
                <a:cubicBezTo>
                  <a:pt x="310" y="28"/>
                  <a:pt x="310" y="28"/>
                  <a:pt x="310" y="27"/>
                </a:cubicBezTo>
                <a:cubicBezTo>
                  <a:pt x="310" y="27"/>
                  <a:pt x="313" y="24"/>
                  <a:pt x="321" y="20"/>
                </a:cubicBezTo>
                <a:cubicBezTo>
                  <a:pt x="327" y="17"/>
                  <a:pt x="330" y="16"/>
                  <a:pt x="332" y="16"/>
                </a:cubicBezTo>
                <a:cubicBezTo>
                  <a:pt x="332" y="16"/>
                  <a:pt x="332" y="16"/>
                  <a:pt x="332" y="16"/>
                </a:cubicBezTo>
                <a:cubicBezTo>
                  <a:pt x="332" y="19"/>
                  <a:pt x="330" y="20"/>
                  <a:pt x="324" y="22"/>
                </a:cubicBezTo>
                <a:cubicBezTo>
                  <a:pt x="320" y="24"/>
                  <a:pt x="317" y="25"/>
                  <a:pt x="317" y="27"/>
                </a:cubicBezTo>
                <a:lnTo>
                  <a:pt x="318" y="28"/>
                </a:lnTo>
                <a:lnTo>
                  <a:pt x="333" y="20"/>
                </a:lnTo>
                <a:cubicBezTo>
                  <a:pt x="347" y="13"/>
                  <a:pt x="360" y="8"/>
                  <a:pt x="372" y="5"/>
                </a:cubicBezTo>
                <a:cubicBezTo>
                  <a:pt x="375" y="5"/>
                  <a:pt x="377" y="4"/>
                  <a:pt x="377" y="4"/>
                </a:cubicBezTo>
                <a:cubicBezTo>
                  <a:pt x="377" y="3"/>
                  <a:pt x="376" y="3"/>
                  <a:pt x="374" y="2"/>
                </a:cubicBezTo>
                <a:cubicBezTo>
                  <a:pt x="372" y="2"/>
                  <a:pt x="371" y="1"/>
                  <a:pt x="371" y="1"/>
                </a:cubicBezTo>
                <a:cubicBezTo>
                  <a:pt x="371" y="0"/>
                  <a:pt x="373" y="0"/>
                  <a:pt x="377" y="0"/>
                </a:cubicBezTo>
                <a:cubicBezTo>
                  <a:pt x="382" y="0"/>
                  <a:pt x="385" y="1"/>
                  <a:pt x="389" y="2"/>
                </a:cubicBezTo>
                <a:cubicBezTo>
                  <a:pt x="393" y="4"/>
                  <a:pt x="394" y="6"/>
                  <a:pt x="394" y="8"/>
                </a:cubicBezTo>
                <a:cubicBezTo>
                  <a:pt x="394" y="10"/>
                  <a:pt x="396" y="13"/>
                  <a:pt x="399" y="15"/>
                </a:cubicBezTo>
                <a:cubicBezTo>
                  <a:pt x="400" y="16"/>
                  <a:pt x="401" y="17"/>
                  <a:pt x="402" y="17"/>
                </a:cubicBezTo>
                <a:cubicBezTo>
                  <a:pt x="402" y="18"/>
                  <a:pt x="403" y="19"/>
                  <a:pt x="403" y="22"/>
                </a:cubicBezTo>
                <a:lnTo>
                  <a:pt x="403" y="22"/>
                </a:lnTo>
                <a:cubicBezTo>
                  <a:pt x="403" y="23"/>
                  <a:pt x="404" y="24"/>
                  <a:pt x="406" y="24"/>
                </a:cubicBezTo>
                <a:cubicBezTo>
                  <a:pt x="415" y="25"/>
                  <a:pt x="421" y="29"/>
                  <a:pt x="424" y="36"/>
                </a:cubicBezTo>
                <a:cubicBezTo>
                  <a:pt x="427" y="43"/>
                  <a:pt x="428" y="52"/>
                  <a:pt x="428" y="64"/>
                </a:cubicBezTo>
                <a:cubicBezTo>
                  <a:pt x="428" y="78"/>
                  <a:pt x="427" y="92"/>
                  <a:pt x="424" y="106"/>
                </a:cubicBezTo>
                <a:lnTo>
                  <a:pt x="420" y="120"/>
                </a:lnTo>
                <a:cubicBezTo>
                  <a:pt x="417" y="132"/>
                  <a:pt x="412" y="151"/>
                  <a:pt x="403" y="175"/>
                </a:cubicBezTo>
                <a:cubicBezTo>
                  <a:pt x="384" y="227"/>
                  <a:pt x="366" y="275"/>
                  <a:pt x="348" y="318"/>
                </a:cubicBezTo>
                <a:cubicBezTo>
                  <a:pt x="345" y="325"/>
                  <a:pt x="343" y="329"/>
                  <a:pt x="343" y="332"/>
                </a:cubicBezTo>
                <a:cubicBezTo>
                  <a:pt x="343" y="333"/>
                  <a:pt x="342" y="333"/>
                  <a:pt x="342" y="335"/>
                </a:cubicBezTo>
                <a:cubicBezTo>
                  <a:pt x="341" y="336"/>
                  <a:pt x="341" y="337"/>
                  <a:pt x="340" y="337"/>
                </a:cubicBezTo>
                <a:cubicBezTo>
                  <a:pt x="338" y="340"/>
                  <a:pt x="337" y="342"/>
                  <a:pt x="337" y="345"/>
                </a:cubicBezTo>
                <a:cubicBezTo>
                  <a:pt x="336" y="348"/>
                  <a:pt x="334" y="355"/>
                  <a:pt x="330" y="365"/>
                </a:cubicBezTo>
                <a:cubicBezTo>
                  <a:pt x="325" y="375"/>
                  <a:pt x="322" y="381"/>
                  <a:pt x="320" y="383"/>
                </a:cubicBezTo>
                <a:cubicBezTo>
                  <a:pt x="319" y="384"/>
                  <a:pt x="319" y="385"/>
                  <a:pt x="319" y="386"/>
                </a:cubicBezTo>
                <a:cubicBezTo>
                  <a:pt x="319" y="386"/>
                  <a:pt x="320" y="387"/>
                  <a:pt x="320" y="387"/>
                </a:cubicBezTo>
                <a:cubicBezTo>
                  <a:pt x="320" y="389"/>
                  <a:pt x="316" y="399"/>
                  <a:pt x="308" y="417"/>
                </a:cubicBezTo>
                <a:cubicBezTo>
                  <a:pt x="305" y="424"/>
                  <a:pt x="303" y="429"/>
                  <a:pt x="303" y="429"/>
                </a:cubicBezTo>
                <a:cubicBezTo>
                  <a:pt x="303" y="429"/>
                  <a:pt x="296" y="447"/>
                  <a:pt x="281" y="482"/>
                </a:cubicBezTo>
                <a:cubicBezTo>
                  <a:pt x="278" y="489"/>
                  <a:pt x="276" y="492"/>
                  <a:pt x="276" y="494"/>
                </a:cubicBezTo>
                <a:lnTo>
                  <a:pt x="275" y="497"/>
                </a:lnTo>
                <a:cubicBezTo>
                  <a:pt x="273" y="504"/>
                  <a:pt x="271" y="508"/>
                  <a:pt x="271" y="509"/>
                </a:cubicBezTo>
                <a:cubicBezTo>
                  <a:pt x="270" y="510"/>
                  <a:pt x="270" y="511"/>
                  <a:pt x="270" y="511"/>
                </a:cubicBezTo>
                <a:cubicBezTo>
                  <a:pt x="269" y="516"/>
                  <a:pt x="266" y="524"/>
                  <a:pt x="261" y="535"/>
                </a:cubicBezTo>
                <a:cubicBezTo>
                  <a:pt x="255" y="549"/>
                  <a:pt x="252" y="556"/>
                  <a:pt x="252" y="556"/>
                </a:cubicBezTo>
                <a:cubicBezTo>
                  <a:pt x="252" y="552"/>
                  <a:pt x="256" y="539"/>
                  <a:pt x="265" y="516"/>
                </a:cubicBezTo>
                <a:cubicBezTo>
                  <a:pt x="268" y="509"/>
                  <a:pt x="269" y="505"/>
                  <a:pt x="269" y="502"/>
                </a:cubicBezTo>
                <a:cubicBezTo>
                  <a:pt x="269" y="502"/>
                  <a:pt x="269" y="501"/>
                  <a:pt x="269" y="501"/>
                </a:cubicBezTo>
                <a:cubicBezTo>
                  <a:pt x="267" y="501"/>
                  <a:pt x="264" y="507"/>
                  <a:pt x="260" y="518"/>
                </a:cubicBezTo>
                <a:cubicBezTo>
                  <a:pt x="256" y="529"/>
                  <a:pt x="253" y="535"/>
                  <a:pt x="251" y="535"/>
                </a:cubicBezTo>
                <a:lnTo>
                  <a:pt x="251" y="534"/>
                </a:lnTo>
                <a:cubicBezTo>
                  <a:pt x="250" y="533"/>
                  <a:pt x="249" y="533"/>
                  <a:pt x="247" y="533"/>
                </a:cubicBezTo>
                <a:lnTo>
                  <a:pt x="246" y="534"/>
                </a:lnTo>
                <a:cubicBezTo>
                  <a:pt x="246" y="533"/>
                  <a:pt x="246" y="532"/>
                  <a:pt x="247" y="531"/>
                </a:cubicBezTo>
                <a:cubicBezTo>
                  <a:pt x="248" y="530"/>
                  <a:pt x="249" y="530"/>
                  <a:pt x="250" y="530"/>
                </a:cubicBezTo>
                <a:cubicBezTo>
                  <a:pt x="250" y="530"/>
                  <a:pt x="251" y="530"/>
                  <a:pt x="252" y="531"/>
                </a:cubicBezTo>
                <a:lnTo>
                  <a:pt x="253" y="534"/>
                </a:lnTo>
                <a:lnTo>
                  <a:pt x="253" y="528"/>
                </a:lnTo>
                <a:cubicBezTo>
                  <a:pt x="253" y="527"/>
                  <a:pt x="253" y="527"/>
                  <a:pt x="254" y="527"/>
                </a:cubicBezTo>
                <a:lnTo>
                  <a:pt x="255" y="527"/>
                </a:lnTo>
                <a:cubicBezTo>
                  <a:pt x="255" y="527"/>
                  <a:pt x="255" y="527"/>
                  <a:pt x="255" y="525"/>
                </a:cubicBezTo>
                <a:cubicBezTo>
                  <a:pt x="254" y="524"/>
                  <a:pt x="253" y="523"/>
                  <a:pt x="252" y="523"/>
                </a:cubicBezTo>
                <a:cubicBezTo>
                  <a:pt x="251" y="523"/>
                  <a:pt x="250" y="523"/>
                  <a:pt x="250" y="522"/>
                </a:cubicBezTo>
                <a:lnTo>
                  <a:pt x="251" y="521"/>
                </a:lnTo>
                <a:cubicBezTo>
                  <a:pt x="251" y="521"/>
                  <a:pt x="253" y="520"/>
                  <a:pt x="255" y="520"/>
                </a:cubicBezTo>
                <a:cubicBezTo>
                  <a:pt x="256" y="520"/>
                  <a:pt x="257" y="520"/>
                  <a:pt x="257" y="519"/>
                </a:cubicBezTo>
                <a:cubicBezTo>
                  <a:pt x="257" y="519"/>
                  <a:pt x="257" y="518"/>
                  <a:pt x="256" y="517"/>
                </a:cubicBezTo>
                <a:lnTo>
                  <a:pt x="257" y="517"/>
                </a:lnTo>
                <a:cubicBezTo>
                  <a:pt x="258" y="517"/>
                  <a:pt x="259" y="516"/>
                  <a:pt x="259" y="515"/>
                </a:cubicBezTo>
                <a:lnTo>
                  <a:pt x="259" y="515"/>
                </a:lnTo>
                <a:cubicBezTo>
                  <a:pt x="258" y="514"/>
                  <a:pt x="257" y="513"/>
                  <a:pt x="256" y="513"/>
                </a:cubicBezTo>
                <a:cubicBezTo>
                  <a:pt x="255" y="513"/>
                  <a:pt x="254" y="513"/>
                  <a:pt x="254" y="512"/>
                </a:cubicBezTo>
                <a:lnTo>
                  <a:pt x="255" y="511"/>
                </a:lnTo>
                <a:cubicBezTo>
                  <a:pt x="255" y="510"/>
                  <a:pt x="256" y="510"/>
                  <a:pt x="258" y="510"/>
                </a:cubicBezTo>
                <a:lnTo>
                  <a:pt x="260" y="511"/>
                </a:lnTo>
                <a:cubicBezTo>
                  <a:pt x="261" y="511"/>
                  <a:pt x="261" y="510"/>
                  <a:pt x="261" y="510"/>
                </a:cubicBezTo>
                <a:cubicBezTo>
                  <a:pt x="261" y="508"/>
                  <a:pt x="261" y="507"/>
                  <a:pt x="259" y="507"/>
                </a:cubicBezTo>
                <a:cubicBezTo>
                  <a:pt x="258" y="506"/>
                  <a:pt x="257" y="505"/>
                  <a:pt x="257" y="505"/>
                </a:cubicBezTo>
                <a:cubicBezTo>
                  <a:pt x="257" y="503"/>
                  <a:pt x="258" y="502"/>
                  <a:pt x="259" y="501"/>
                </a:cubicBezTo>
                <a:cubicBezTo>
                  <a:pt x="260" y="500"/>
                  <a:pt x="260" y="499"/>
                  <a:pt x="262" y="499"/>
                </a:cubicBezTo>
                <a:cubicBezTo>
                  <a:pt x="262" y="499"/>
                  <a:pt x="263" y="499"/>
                  <a:pt x="263" y="500"/>
                </a:cubicBezTo>
                <a:cubicBezTo>
                  <a:pt x="263" y="500"/>
                  <a:pt x="262" y="500"/>
                  <a:pt x="261" y="501"/>
                </a:cubicBezTo>
                <a:cubicBezTo>
                  <a:pt x="260" y="502"/>
                  <a:pt x="259" y="503"/>
                  <a:pt x="259" y="504"/>
                </a:cubicBezTo>
                <a:cubicBezTo>
                  <a:pt x="259" y="504"/>
                  <a:pt x="260" y="505"/>
                  <a:pt x="260" y="505"/>
                </a:cubicBezTo>
                <a:cubicBezTo>
                  <a:pt x="261" y="506"/>
                  <a:pt x="261" y="507"/>
                  <a:pt x="262" y="507"/>
                </a:cubicBezTo>
                <a:cubicBezTo>
                  <a:pt x="263" y="507"/>
                  <a:pt x="263" y="505"/>
                  <a:pt x="264" y="503"/>
                </a:cubicBezTo>
                <a:lnTo>
                  <a:pt x="265" y="501"/>
                </a:lnTo>
                <a:cubicBezTo>
                  <a:pt x="265" y="499"/>
                  <a:pt x="264" y="497"/>
                  <a:pt x="263" y="497"/>
                </a:cubicBezTo>
                <a:lnTo>
                  <a:pt x="261" y="495"/>
                </a:lnTo>
                <a:lnTo>
                  <a:pt x="263" y="496"/>
                </a:lnTo>
                <a:cubicBezTo>
                  <a:pt x="266" y="496"/>
                  <a:pt x="267" y="495"/>
                  <a:pt x="267" y="495"/>
                </a:cubicBezTo>
                <a:lnTo>
                  <a:pt x="268" y="493"/>
                </a:lnTo>
                <a:cubicBezTo>
                  <a:pt x="268" y="493"/>
                  <a:pt x="268" y="494"/>
                  <a:pt x="269" y="496"/>
                </a:cubicBezTo>
                <a:cubicBezTo>
                  <a:pt x="269" y="498"/>
                  <a:pt x="270" y="499"/>
                  <a:pt x="271" y="501"/>
                </a:cubicBezTo>
                <a:lnTo>
                  <a:pt x="272" y="501"/>
                </a:lnTo>
                <a:cubicBezTo>
                  <a:pt x="272" y="501"/>
                  <a:pt x="273" y="501"/>
                  <a:pt x="273" y="500"/>
                </a:cubicBezTo>
                <a:lnTo>
                  <a:pt x="272" y="497"/>
                </a:lnTo>
                <a:cubicBezTo>
                  <a:pt x="272" y="496"/>
                  <a:pt x="272" y="496"/>
                  <a:pt x="272" y="496"/>
                </a:cubicBezTo>
                <a:lnTo>
                  <a:pt x="274" y="497"/>
                </a:lnTo>
                <a:cubicBezTo>
                  <a:pt x="274" y="497"/>
                  <a:pt x="275" y="497"/>
                  <a:pt x="275" y="496"/>
                </a:cubicBezTo>
                <a:cubicBezTo>
                  <a:pt x="275" y="496"/>
                  <a:pt x="275" y="495"/>
                  <a:pt x="274" y="494"/>
                </a:cubicBezTo>
                <a:cubicBezTo>
                  <a:pt x="274" y="494"/>
                  <a:pt x="274" y="493"/>
                  <a:pt x="274" y="492"/>
                </a:cubicBezTo>
                <a:cubicBezTo>
                  <a:pt x="274" y="492"/>
                  <a:pt x="274" y="491"/>
                  <a:pt x="275" y="491"/>
                </a:cubicBezTo>
                <a:cubicBezTo>
                  <a:pt x="276" y="491"/>
                  <a:pt x="276" y="490"/>
                  <a:pt x="276" y="490"/>
                </a:cubicBezTo>
                <a:lnTo>
                  <a:pt x="276" y="484"/>
                </a:lnTo>
                <a:cubicBezTo>
                  <a:pt x="276" y="481"/>
                  <a:pt x="277" y="480"/>
                  <a:pt x="279" y="480"/>
                </a:cubicBezTo>
                <a:cubicBezTo>
                  <a:pt x="280" y="480"/>
                  <a:pt x="280" y="479"/>
                  <a:pt x="281" y="478"/>
                </a:cubicBezTo>
                <a:cubicBezTo>
                  <a:pt x="281" y="478"/>
                  <a:pt x="281" y="477"/>
                  <a:pt x="281" y="476"/>
                </a:cubicBezTo>
                <a:cubicBezTo>
                  <a:pt x="281" y="476"/>
                  <a:pt x="281" y="476"/>
                  <a:pt x="280" y="476"/>
                </a:cubicBezTo>
                <a:lnTo>
                  <a:pt x="277" y="476"/>
                </a:lnTo>
                <a:cubicBezTo>
                  <a:pt x="275" y="476"/>
                  <a:pt x="275" y="475"/>
                  <a:pt x="275" y="475"/>
                </a:cubicBezTo>
                <a:cubicBezTo>
                  <a:pt x="275" y="473"/>
                  <a:pt x="275" y="473"/>
                  <a:pt x="277" y="473"/>
                </a:cubicBezTo>
                <a:cubicBezTo>
                  <a:pt x="279" y="473"/>
                  <a:pt x="280" y="472"/>
                  <a:pt x="280" y="471"/>
                </a:cubicBezTo>
                <a:lnTo>
                  <a:pt x="279" y="467"/>
                </a:lnTo>
                <a:cubicBezTo>
                  <a:pt x="279" y="465"/>
                  <a:pt x="281" y="463"/>
                  <a:pt x="284" y="462"/>
                </a:cubicBezTo>
                <a:cubicBezTo>
                  <a:pt x="286" y="460"/>
                  <a:pt x="288" y="459"/>
                  <a:pt x="288" y="458"/>
                </a:cubicBezTo>
                <a:cubicBezTo>
                  <a:pt x="288" y="457"/>
                  <a:pt x="287" y="456"/>
                  <a:pt x="286" y="456"/>
                </a:cubicBezTo>
                <a:cubicBezTo>
                  <a:pt x="285" y="456"/>
                  <a:pt x="284" y="456"/>
                  <a:pt x="283" y="458"/>
                </a:cubicBezTo>
                <a:cubicBezTo>
                  <a:pt x="283" y="459"/>
                  <a:pt x="281" y="460"/>
                  <a:pt x="280" y="460"/>
                </a:cubicBezTo>
                <a:lnTo>
                  <a:pt x="278" y="460"/>
                </a:lnTo>
                <a:cubicBezTo>
                  <a:pt x="278" y="460"/>
                  <a:pt x="279" y="459"/>
                  <a:pt x="280" y="459"/>
                </a:cubicBezTo>
                <a:cubicBezTo>
                  <a:pt x="281" y="458"/>
                  <a:pt x="281" y="458"/>
                  <a:pt x="281" y="457"/>
                </a:cubicBezTo>
                <a:lnTo>
                  <a:pt x="281" y="456"/>
                </a:lnTo>
                <a:cubicBezTo>
                  <a:pt x="281" y="455"/>
                  <a:pt x="282" y="455"/>
                  <a:pt x="283" y="455"/>
                </a:cubicBezTo>
                <a:cubicBezTo>
                  <a:pt x="283" y="455"/>
                  <a:pt x="284" y="453"/>
                  <a:pt x="284" y="451"/>
                </a:cubicBezTo>
                <a:lnTo>
                  <a:pt x="283" y="450"/>
                </a:lnTo>
                <a:cubicBezTo>
                  <a:pt x="283" y="448"/>
                  <a:pt x="284" y="448"/>
                  <a:pt x="285" y="448"/>
                </a:cubicBezTo>
                <a:cubicBezTo>
                  <a:pt x="285" y="448"/>
                  <a:pt x="286" y="448"/>
                  <a:pt x="286" y="447"/>
                </a:cubicBezTo>
                <a:lnTo>
                  <a:pt x="285" y="445"/>
                </a:lnTo>
                <a:cubicBezTo>
                  <a:pt x="285" y="445"/>
                  <a:pt x="285" y="444"/>
                  <a:pt x="285" y="444"/>
                </a:cubicBezTo>
                <a:lnTo>
                  <a:pt x="289" y="446"/>
                </a:lnTo>
                <a:cubicBezTo>
                  <a:pt x="289" y="446"/>
                  <a:pt x="289" y="445"/>
                  <a:pt x="289" y="445"/>
                </a:cubicBezTo>
                <a:lnTo>
                  <a:pt x="289" y="444"/>
                </a:lnTo>
                <a:lnTo>
                  <a:pt x="289" y="442"/>
                </a:lnTo>
                <a:lnTo>
                  <a:pt x="290" y="441"/>
                </a:lnTo>
                <a:lnTo>
                  <a:pt x="288" y="441"/>
                </a:lnTo>
                <a:lnTo>
                  <a:pt x="286" y="441"/>
                </a:lnTo>
                <a:cubicBezTo>
                  <a:pt x="286" y="441"/>
                  <a:pt x="287" y="440"/>
                  <a:pt x="288" y="439"/>
                </a:cubicBezTo>
                <a:cubicBezTo>
                  <a:pt x="289" y="438"/>
                  <a:pt x="289" y="437"/>
                  <a:pt x="289" y="436"/>
                </a:cubicBezTo>
                <a:cubicBezTo>
                  <a:pt x="289" y="436"/>
                  <a:pt x="289" y="436"/>
                  <a:pt x="288" y="436"/>
                </a:cubicBezTo>
                <a:cubicBezTo>
                  <a:pt x="287" y="436"/>
                  <a:pt x="286" y="437"/>
                  <a:pt x="285" y="439"/>
                </a:cubicBezTo>
                <a:lnTo>
                  <a:pt x="283" y="442"/>
                </a:lnTo>
                <a:cubicBezTo>
                  <a:pt x="283" y="442"/>
                  <a:pt x="283" y="441"/>
                  <a:pt x="283" y="439"/>
                </a:cubicBezTo>
                <a:cubicBezTo>
                  <a:pt x="284" y="437"/>
                  <a:pt x="284" y="436"/>
                  <a:pt x="284" y="435"/>
                </a:cubicBezTo>
                <a:cubicBezTo>
                  <a:pt x="284" y="434"/>
                  <a:pt x="285" y="434"/>
                  <a:pt x="287" y="434"/>
                </a:cubicBezTo>
                <a:cubicBezTo>
                  <a:pt x="288" y="434"/>
                  <a:pt x="290" y="432"/>
                  <a:pt x="290" y="430"/>
                </a:cubicBezTo>
                <a:lnTo>
                  <a:pt x="291" y="428"/>
                </a:lnTo>
                <a:lnTo>
                  <a:pt x="290" y="427"/>
                </a:lnTo>
                <a:lnTo>
                  <a:pt x="289" y="427"/>
                </a:lnTo>
                <a:cubicBezTo>
                  <a:pt x="288" y="427"/>
                  <a:pt x="288" y="427"/>
                  <a:pt x="288" y="426"/>
                </a:cubicBezTo>
                <a:cubicBezTo>
                  <a:pt x="288" y="424"/>
                  <a:pt x="289" y="424"/>
                  <a:pt x="291" y="424"/>
                </a:cubicBezTo>
                <a:cubicBezTo>
                  <a:pt x="293" y="424"/>
                  <a:pt x="294" y="423"/>
                  <a:pt x="294" y="421"/>
                </a:cubicBezTo>
                <a:lnTo>
                  <a:pt x="295" y="418"/>
                </a:lnTo>
                <a:lnTo>
                  <a:pt x="296" y="418"/>
                </a:lnTo>
                <a:cubicBezTo>
                  <a:pt x="296" y="418"/>
                  <a:pt x="297" y="417"/>
                  <a:pt x="297" y="415"/>
                </a:cubicBezTo>
                <a:cubicBezTo>
                  <a:pt x="297" y="412"/>
                  <a:pt x="297" y="411"/>
                  <a:pt x="296" y="411"/>
                </a:cubicBezTo>
                <a:cubicBezTo>
                  <a:pt x="295" y="411"/>
                  <a:pt x="295" y="410"/>
                  <a:pt x="295" y="410"/>
                </a:cubicBezTo>
                <a:lnTo>
                  <a:pt x="296" y="406"/>
                </a:lnTo>
                <a:cubicBezTo>
                  <a:pt x="296" y="406"/>
                  <a:pt x="295" y="406"/>
                  <a:pt x="295" y="406"/>
                </a:cubicBezTo>
                <a:lnTo>
                  <a:pt x="293" y="407"/>
                </a:lnTo>
                <a:cubicBezTo>
                  <a:pt x="293" y="407"/>
                  <a:pt x="293" y="407"/>
                  <a:pt x="293" y="406"/>
                </a:cubicBezTo>
                <a:cubicBezTo>
                  <a:pt x="293" y="406"/>
                  <a:pt x="293" y="405"/>
                  <a:pt x="295" y="404"/>
                </a:cubicBezTo>
                <a:cubicBezTo>
                  <a:pt x="296" y="402"/>
                  <a:pt x="298" y="401"/>
                  <a:pt x="298" y="399"/>
                </a:cubicBezTo>
                <a:cubicBezTo>
                  <a:pt x="299" y="398"/>
                  <a:pt x="300" y="397"/>
                  <a:pt x="300" y="397"/>
                </a:cubicBezTo>
                <a:cubicBezTo>
                  <a:pt x="300" y="396"/>
                  <a:pt x="299" y="396"/>
                  <a:pt x="299" y="396"/>
                </a:cubicBezTo>
                <a:lnTo>
                  <a:pt x="296" y="397"/>
                </a:lnTo>
                <a:cubicBezTo>
                  <a:pt x="296" y="397"/>
                  <a:pt x="296" y="396"/>
                  <a:pt x="296" y="395"/>
                </a:cubicBezTo>
                <a:cubicBezTo>
                  <a:pt x="296" y="394"/>
                  <a:pt x="296" y="393"/>
                  <a:pt x="298" y="393"/>
                </a:cubicBezTo>
                <a:cubicBezTo>
                  <a:pt x="300" y="393"/>
                  <a:pt x="301" y="392"/>
                  <a:pt x="301" y="390"/>
                </a:cubicBezTo>
                <a:cubicBezTo>
                  <a:pt x="301" y="388"/>
                  <a:pt x="301" y="387"/>
                  <a:pt x="301" y="386"/>
                </a:cubicBezTo>
                <a:cubicBezTo>
                  <a:pt x="302" y="385"/>
                  <a:pt x="303" y="385"/>
                  <a:pt x="306" y="385"/>
                </a:cubicBezTo>
                <a:cubicBezTo>
                  <a:pt x="310" y="385"/>
                  <a:pt x="312" y="384"/>
                  <a:pt x="312" y="382"/>
                </a:cubicBezTo>
                <a:cubicBezTo>
                  <a:pt x="312" y="381"/>
                  <a:pt x="312" y="380"/>
                  <a:pt x="311" y="379"/>
                </a:cubicBezTo>
                <a:lnTo>
                  <a:pt x="310" y="377"/>
                </a:lnTo>
                <a:lnTo>
                  <a:pt x="310" y="379"/>
                </a:lnTo>
                <a:cubicBezTo>
                  <a:pt x="310" y="381"/>
                  <a:pt x="309" y="382"/>
                  <a:pt x="308" y="382"/>
                </a:cubicBezTo>
                <a:cubicBezTo>
                  <a:pt x="308" y="382"/>
                  <a:pt x="308" y="382"/>
                  <a:pt x="307" y="381"/>
                </a:cubicBezTo>
                <a:cubicBezTo>
                  <a:pt x="306" y="380"/>
                  <a:pt x="306" y="379"/>
                  <a:pt x="306" y="378"/>
                </a:cubicBezTo>
                <a:cubicBezTo>
                  <a:pt x="306" y="377"/>
                  <a:pt x="306" y="376"/>
                  <a:pt x="306" y="376"/>
                </a:cubicBezTo>
                <a:cubicBezTo>
                  <a:pt x="306" y="375"/>
                  <a:pt x="307" y="375"/>
                  <a:pt x="308" y="374"/>
                </a:cubicBezTo>
                <a:lnTo>
                  <a:pt x="308" y="374"/>
                </a:lnTo>
                <a:cubicBezTo>
                  <a:pt x="309" y="374"/>
                  <a:pt x="309" y="374"/>
                  <a:pt x="309" y="373"/>
                </a:cubicBezTo>
                <a:lnTo>
                  <a:pt x="308" y="368"/>
                </a:lnTo>
                <a:lnTo>
                  <a:pt x="310" y="369"/>
                </a:lnTo>
                <a:cubicBezTo>
                  <a:pt x="311" y="369"/>
                  <a:pt x="313" y="366"/>
                  <a:pt x="315" y="359"/>
                </a:cubicBezTo>
                <a:lnTo>
                  <a:pt x="320" y="346"/>
                </a:lnTo>
                <a:lnTo>
                  <a:pt x="320" y="351"/>
                </a:lnTo>
                <a:cubicBezTo>
                  <a:pt x="320" y="355"/>
                  <a:pt x="320" y="357"/>
                  <a:pt x="321" y="357"/>
                </a:cubicBezTo>
                <a:cubicBezTo>
                  <a:pt x="322" y="357"/>
                  <a:pt x="322" y="357"/>
                  <a:pt x="322" y="357"/>
                </a:cubicBezTo>
                <a:cubicBezTo>
                  <a:pt x="323" y="357"/>
                  <a:pt x="324" y="355"/>
                  <a:pt x="324" y="351"/>
                </a:cubicBezTo>
                <a:cubicBezTo>
                  <a:pt x="324" y="350"/>
                  <a:pt x="324" y="349"/>
                  <a:pt x="326" y="349"/>
                </a:cubicBezTo>
                <a:cubicBezTo>
                  <a:pt x="327" y="349"/>
                  <a:pt x="328" y="348"/>
                  <a:pt x="328" y="346"/>
                </a:cubicBezTo>
                <a:cubicBezTo>
                  <a:pt x="328" y="345"/>
                  <a:pt x="328" y="345"/>
                  <a:pt x="328" y="345"/>
                </a:cubicBezTo>
                <a:lnTo>
                  <a:pt x="326" y="345"/>
                </a:lnTo>
                <a:cubicBezTo>
                  <a:pt x="325" y="345"/>
                  <a:pt x="325" y="345"/>
                  <a:pt x="325" y="344"/>
                </a:cubicBezTo>
                <a:cubicBezTo>
                  <a:pt x="325" y="343"/>
                  <a:pt x="326" y="342"/>
                  <a:pt x="328" y="342"/>
                </a:cubicBezTo>
                <a:cubicBezTo>
                  <a:pt x="329" y="342"/>
                  <a:pt x="330" y="342"/>
                  <a:pt x="330" y="340"/>
                </a:cubicBezTo>
                <a:lnTo>
                  <a:pt x="330" y="336"/>
                </a:lnTo>
                <a:cubicBezTo>
                  <a:pt x="330" y="335"/>
                  <a:pt x="330" y="334"/>
                  <a:pt x="331" y="334"/>
                </a:cubicBezTo>
                <a:cubicBezTo>
                  <a:pt x="332" y="334"/>
                  <a:pt x="333" y="333"/>
                  <a:pt x="334" y="329"/>
                </a:cubicBezTo>
                <a:cubicBezTo>
                  <a:pt x="335" y="326"/>
                  <a:pt x="335" y="324"/>
                  <a:pt x="336" y="324"/>
                </a:cubicBezTo>
                <a:cubicBezTo>
                  <a:pt x="336" y="324"/>
                  <a:pt x="337" y="324"/>
                  <a:pt x="338" y="323"/>
                </a:cubicBezTo>
                <a:lnTo>
                  <a:pt x="338" y="323"/>
                </a:lnTo>
                <a:cubicBezTo>
                  <a:pt x="338" y="319"/>
                  <a:pt x="338" y="317"/>
                  <a:pt x="338" y="316"/>
                </a:cubicBezTo>
                <a:cubicBezTo>
                  <a:pt x="338" y="315"/>
                  <a:pt x="339" y="315"/>
                  <a:pt x="340" y="315"/>
                </a:cubicBezTo>
                <a:lnTo>
                  <a:pt x="341" y="315"/>
                </a:lnTo>
                <a:cubicBezTo>
                  <a:pt x="342" y="315"/>
                  <a:pt x="342" y="315"/>
                  <a:pt x="342" y="314"/>
                </a:cubicBezTo>
                <a:cubicBezTo>
                  <a:pt x="342" y="312"/>
                  <a:pt x="342" y="311"/>
                  <a:pt x="340" y="311"/>
                </a:cubicBezTo>
                <a:cubicBezTo>
                  <a:pt x="339" y="311"/>
                  <a:pt x="339" y="311"/>
                  <a:pt x="339" y="311"/>
                </a:cubicBezTo>
                <a:cubicBezTo>
                  <a:pt x="339" y="309"/>
                  <a:pt x="339" y="308"/>
                  <a:pt x="341" y="308"/>
                </a:cubicBezTo>
                <a:cubicBezTo>
                  <a:pt x="341" y="308"/>
                  <a:pt x="342" y="309"/>
                  <a:pt x="342" y="309"/>
                </a:cubicBezTo>
                <a:lnTo>
                  <a:pt x="343" y="309"/>
                </a:lnTo>
                <a:cubicBezTo>
                  <a:pt x="343" y="309"/>
                  <a:pt x="343" y="309"/>
                  <a:pt x="343" y="308"/>
                </a:cubicBezTo>
                <a:lnTo>
                  <a:pt x="342" y="304"/>
                </a:lnTo>
                <a:cubicBezTo>
                  <a:pt x="342" y="304"/>
                  <a:pt x="342" y="304"/>
                  <a:pt x="343" y="304"/>
                </a:cubicBezTo>
                <a:lnTo>
                  <a:pt x="345" y="306"/>
                </a:lnTo>
                <a:cubicBezTo>
                  <a:pt x="346" y="306"/>
                  <a:pt x="346" y="305"/>
                  <a:pt x="346" y="305"/>
                </a:cubicBezTo>
                <a:lnTo>
                  <a:pt x="345" y="303"/>
                </a:lnTo>
                <a:cubicBezTo>
                  <a:pt x="345" y="301"/>
                  <a:pt x="346" y="299"/>
                  <a:pt x="347" y="297"/>
                </a:cubicBezTo>
                <a:cubicBezTo>
                  <a:pt x="348" y="296"/>
                  <a:pt x="349" y="294"/>
                  <a:pt x="349" y="293"/>
                </a:cubicBezTo>
                <a:cubicBezTo>
                  <a:pt x="349" y="292"/>
                  <a:pt x="350" y="290"/>
                  <a:pt x="351" y="287"/>
                </a:cubicBezTo>
                <a:cubicBezTo>
                  <a:pt x="353" y="279"/>
                  <a:pt x="355" y="275"/>
                  <a:pt x="356" y="275"/>
                </a:cubicBezTo>
                <a:cubicBezTo>
                  <a:pt x="357" y="275"/>
                  <a:pt x="357" y="275"/>
                  <a:pt x="357" y="274"/>
                </a:cubicBezTo>
                <a:lnTo>
                  <a:pt x="357" y="272"/>
                </a:lnTo>
                <a:cubicBezTo>
                  <a:pt x="357" y="272"/>
                  <a:pt x="357" y="271"/>
                  <a:pt x="357" y="271"/>
                </a:cubicBezTo>
                <a:cubicBezTo>
                  <a:pt x="358" y="271"/>
                  <a:pt x="358" y="270"/>
                  <a:pt x="358" y="268"/>
                </a:cubicBezTo>
                <a:lnTo>
                  <a:pt x="358" y="267"/>
                </a:lnTo>
                <a:cubicBezTo>
                  <a:pt x="358" y="266"/>
                  <a:pt x="358" y="265"/>
                  <a:pt x="359" y="265"/>
                </a:cubicBezTo>
                <a:cubicBezTo>
                  <a:pt x="360" y="265"/>
                  <a:pt x="360" y="264"/>
                  <a:pt x="360" y="262"/>
                </a:cubicBezTo>
                <a:lnTo>
                  <a:pt x="360" y="259"/>
                </a:lnTo>
                <a:cubicBezTo>
                  <a:pt x="360" y="259"/>
                  <a:pt x="360" y="259"/>
                  <a:pt x="360" y="259"/>
                </a:cubicBezTo>
                <a:lnTo>
                  <a:pt x="361" y="259"/>
                </a:lnTo>
                <a:cubicBezTo>
                  <a:pt x="361" y="260"/>
                  <a:pt x="362" y="260"/>
                  <a:pt x="362" y="260"/>
                </a:cubicBezTo>
                <a:cubicBezTo>
                  <a:pt x="364" y="260"/>
                  <a:pt x="365" y="258"/>
                  <a:pt x="365" y="255"/>
                </a:cubicBezTo>
                <a:cubicBezTo>
                  <a:pt x="365" y="253"/>
                  <a:pt x="364" y="252"/>
                  <a:pt x="364" y="252"/>
                </a:cubicBezTo>
                <a:cubicBezTo>
                  <a:pt x="364" y="251"/>
                  <a:pt x="363" y="250"/>
                  <a:pt x="363" y="249"/>
                </a:cubicBezTo>
                <a:cubicBezTo>
                  <a:pt x="363" y="249"/>
                  <a:pt x="364" y="249"/>
                  <a:pt x="364" y="249"/>
                </a:cubicBezTo>
                <a:lnTo>
                  <a:pt x="365" y="249"/>
                </a:lnTo>
                <a:cubicBezTo>
                  <a:pt x="366" y="249"/>
                  <a:pt x="367" y="249"/>
                  <a:pt x="368" y="248"/>
                </a:cubicBezTo>
                <a:cubicBezTo>
                  <a:pt x="368" y="247"/>
                  <a:pt x="369" y="246"/>
                  <a:pt x="369" y="246"/>
                </a:cubicBezTo>
                <a:cubicBezTo>
                  <a:pt x="369" y="245"/>
                  <a:pt x="368" y="245"/>
                  <a:pt x="368" y="245"/>
                </a:cubicBezTo>
                <a:lnTo>
                  <a:pt x="366" y="246"/>
                </a:lnTo>
                <a:lnTo>
                  <a:pt x="368" y="244"/>
                </a:lnTo>
                <a:cubicBezTo>
                  <a:pt x="369" y="243"/>
                  <a:pt x="370" y="241"/>
                  <a:pt x="371" y="240"/>
                </a:cubicBezTo>
                <a:cubicBezTo>
                  <a:pt x="372" y="238"/>
                  <a:pt x="372" y="237"/>
                  <a:pt x="372" y="236"/>
                </a:cubicBezTo>
                <a:cubicBezTo>
                  <a:pt x="372" y="235"/>
                  <a:pt x="372" y="235"/>
                  <a:pt x="371" y="235"/>
                </a:cubicBezTo>
                <a:lnTo>
                  <a:pt x="370" y="236"/>
                </a:lnTo>
                <a:cubicBezTo>
                  <a:pt x="370" y="235"/>
                  <a:pt x="371" y="234"/>
                  <a:pt x="372" y="232"/>
                </a:cubicBezTo>
                <a:lnTo>
                  <a:pt x="374" y="229"/>
                </a:lnTo>
                <a:lnTo>
                  <a:pt x="372" y="230"/>
                </a:lnTo>
                <a:cubicBezTo>
                  <a:pt x="372" y="230"/>
                  <a:pt x="372" y="230"/>
                  <a:pt x="372" y="229"/>
                </a:cubicBezTo>
                <a:cubicBezTo>
                  <a:pt x="372" y="228"/>
                  <a:pt x="372" y="228"/>
                  <a:pt x="373" y="227"/>
                </a:cubicBezTo>
                <a:cubicBezTo>
                  <a:pt x="373" y="226"/>
                  <a:pt x="374" y="225"/>
                  <a:pt x="374" y="225"/>
                </a:cubicBezTo>
                <a:cubicBezTo>
                  <a:pt x="375" y="225"/>
                  <a:pt x="375" y="224"/>
                  <a:pt x="375" y="222"/>
                </a:cubicBezTo>
                <a:lnTo>
                  <a:pt x="375" y="220"/>
                </a:lnTo>
                <a:cubicBezTo>
                  <a:pt x="375" y="219"/>
                  <a:pt x="376" y="218"/>
                  <a:pt x="377" y="218"/>
                </a:cubicBezTo>
                <a:lnTo>
                  <a:pt x="377" y="219"/>
                </a:lnTo>
                <a:cubicBezTo>
                  <a:pt x="378" y="219"/>
                  <a:pt x="378" y="219"/>
                  <a:pt x="379" y="218"/>
                </a:cubicBezTo>
                <a:cubicBezTo>
                  <a:pt x="380" y="217"/>
                  <a:pt x="380" y="216"/>
                  <a:pt x="380" y="215"/>
                </a:cubicBezTo>
                <a:cubicBezTo>
                  <a:pt x="380" y="215"/>
                  <a:pt x="380" y="215"/>
                  <a:pt x="379" y="215"/>
                </a:cubicBezTo>
                <a:lnTo>
                  <a:pt x="377" y="215"/>
                </a:lnTo>
                <a:cubicBezTo>
                  <a:pt x="377" y="215"/>
                  <a:pt x="377" y="215"/>
                  <a:pt x="377" y="215"/>
                </a:cubicBezTo>
                <a:cubicBezTo>
                  <a:pt x="377" y="214"/>
                  <a:pt x="378" y="212"/>
                  <a:pt x="379" y="208"/>
                </a:cubicBezTo>
                <a:cubicBezTo>
                  <a:pt x="379" y="206"/>
                  <a:pt x="380" y="205"/>
                  <a:pt x="380" y="205"/>
                </a:cubicBezTo>
                <a:cubicBezTo>
                  <a:pt x="380" y="204"/>
                  <a:pt x="381" y="203"/>
                  <a:pt x="383" y="203"/>
                </a:cubicBezTo>
                <a:cubicBezTo>
                  <a:pt x="383" y="203"/>
                  <a:pt x="383" y="202"/>
                  <a:pt x="383" y="199"/>
                </a:cubicBezTo>
                <a:cubicBezTo>
                  <a:pt x="383" y="197"/>
                  <a:pt x="384" y="195"/>
                  <a:pt x="385" y="194"/>
                </a:cubicBezTo>
                <a:cubicBezTo>
                  <a:pt x="387" y="193"/>
                  <a:pt x="388" y="193"/>
                  <a:pt x="388" y="192"/>
                </a:cubicBezTo>
                <a:lnTo>
                  <a:pt x="388" y="191"/>
                </a:lnTo>
                <a:cubicBezTo>
                  <a:pt x="387" y="191"/>
                  <a:pt x="387" y="190"/>
                  <a:pt x="387" y="189"/>
                </a:cubicBezTo>
                <a:cubicBezTo>
                  <a:pt x="387" y="188"/>
                  <a:pt x="388" y="185"/>
                  <a:pt x="389" y="183"/>
                </a:cubicBezTo>
                <a:cubicBezTo>
                  <a:pt x="390" y="176"/>
                  <a:pt x="392" y="173"/>
                  <a:pt x="394" y="173"/>
                </a:cubicBezTo>
                <a:cubicBezTo>
                  <a:pt x="395" y="173"/>
                  <a:pt x="396" y="172"/>
                  <a:pt x="396" y="171"/>
                </a:cubicBezTo>
                <a:cubicBezTo>
                  <a:pt x="396" y="170"/>
                  <a:pt x="397" y="168"/>
                  <a:pt x="397" y="166"/>
                </a:cubicBezTo>
                <a:lnTo>
                  <a:pt x="398" y="163"/>
                </a:lnTo>
                <a:lnTo>
                  <a:pt x="395" y="166"/>
                </a:lnTo>
                <a:cubicBezTo>
                  <a:pt x="395" y="166"/>
                  <a:pt x="395" y="166"/>
                  <a:pt x="395" y="165"/>
                </a:cubicBezTo>
                <a:cubicBezTo>
                  <a:pt x="395" y="164"/>
                  <a:pt x="396" y="161"/>
                  <a:pt x="398" y="155"/>
                </a:cubicBezTo>
                <a:lnTo>
                  <a:pt x="398" y="154"/>
                </a:lnTo>
                <a:cubicBezTo>
                  <a:pt x="398" y="154"/>
                  <a:pt x="397" y="153"/>
                  <a:pt x="396" y="153"/>
                </a:cubicBezTo>
                <a:cubicBezTo>
                  <a:pt x="395" y="154"/>
                  <a:pt x="394" y="155"/>
                  <a:pt x="393" y="156"/>
                </a:cubicBezTo>
                <a:lnTo>
                  <a:pt x="392" y="160"/>
                </a:lnTo>
                <a:cubicBezTo>
                  <a:pt x="392" y="161"/>
                  <a:pt x="391" y="163"/>
                  <a:pt x="391" y="164"/>
                </a:cubicBezTo>
                <a:cubicBezTo>
                  <a:pt x="390" y="168"/>
                  <a:pt x="389" y="171"/>
                  <a:pt x="387" y="174"/>
                </a:cubicBezTo>
                <a:lnTo>
                  <a:pt x="384" y="180"/>
                </a:lnTo>
                <a:cubicBezTo>
                  <a:pt x="384" y="183"/>
                  <a:pt x="384" y="185"/>
                  <a:pt x="384" y="185"/>
                </a:cubicBezTo>
                <a:cubicBezTo>
                  <a:pt x="382" y="185"/>
                  <a:pt x="382" y="184"/>
                  <a:pt x="382" y="182"/>
                </a:cubicBezTo>
                <a:lnTo>
                  <a:pt x="382" y="180"/>
                </a:lnTo>
                <a:cubicBezTo>
                  <a:pt x="384" y="175"/>
                  <a:pt x="386" y="170"/>
                  <a:pt x="388" y="163"/>
                </a:cubicBezTo>
                <a:cubicBezTo>
                  <a:pt x="390" y="157"/>
                  <a:pt x="391" y="152"/>
                  <a:pt x="391" y="148"/>
                </a:cubicBezTo>
                <a:lnTo>
                  <a:pt x="390" y="147"/>
                </a:lnTo>
                <a:lnTo>
                  <a:pt x="394" y="148"/>
                </a:lnTo>
                <a:cubicBezTo>
                  <a:pt x="394" y="148"/>
                  <a:pt x="394" y="148"/>
                  <a:pt x="394" y="147"/>
                </a:cubicBezTo>
                <a:lnTo>
                  <a:pt x="393" y="143"/>
                </a:lnTo>
                <a:cubicBezTo>
                  <a:pt x="393" y="142"/>
                  <a:pt x="394" y="142"/>
                  <a:pt x="395" y="142"/>
                </a:cubicBezTo>
                <a:lnTo>
                  <a:pt x="396" y="142"/>
                </a:lnTo>
                <a:cubicBezTo>
                  <a:pt x="396" y="142"/>
                  <a:pt x="396" y="142"/>
                  <a:pt x="396" y="141"/>
                </a:cubicBezTo>
                <a:lnTo>
                  <a:pt x="395" y="137"/>
                </a:lnTo>
                <a:cubicBezTo>
                  <a:pt x="395" y="136"/>
                  <a:pt x="396" y="136"/>
                  <a:pt x="397" y="136"/>
                </a:cubicBezTo>
                <a:lnTo>
                  <a:pt x="398" y="136"/>
                </a:lnTo>
                <a:cubicBezTo>
                  <a:pt x="398" y="136"/>
                  <a:pt x="398" y="136"/>
                  <a:pt x="398" y="135"/>
                </a:cubicBezTo>
                <a:lnTo>
                  <a:pt x="398" y="133"/>
                </a:lnTo>
                <a:cubicBezTo>
                  <a:pt x="398" y="130"/>
                  <a:pt x="398" y="128"/>
                  <a:pt x="400" y="127"/>
                </a:cubicBezTo>
                <a:cubicBezTo>
                  <a:pt x="401" y="125"/>
                  <a:pt x="401" y="123"/>
                  <a:pt x="401" y="120"/>
                </a:cubicBezTo>
                <a:lnTo>
                  <a:pt x="401" y="118"/>
                </a:lnTo>
                <a:cubicBezTo>
                  <a:pt x="401" y="117"/>
                  <a:pt x="401" y="117"/>
                  <a:pt x="401" y="117"/>
                </a:cubicBezTo>
                <a:lnTo>
                  <a:pt x="402" y="117"/>
                </a:lnTo>
                <a:cubicBezTo>
                  <a:pt x="402" y="118"/>
                  <a:pt x="403" y="118"/>
                  <a:pt x="403" y="118"/>
                </a:cubicBezTo>
                <a:cubicBezTo>
                  <a:pt x="404" y="118"/>
                  <a:pt x="405" y="116"/>
                  <a:pt x="405" y="111"/>
                </a:cubicBezTo>
                <a:cubicBezTo>
                  <a:pt x="405" y="106"/>
                  <a:pt x="404" y="102"/>
                  <a:pt x="402" y="100"/>
                </a:cubicBezTo>
                <a:cubicBezTo>
                  <a:pt x="400" y="98"/>
                  <a:pt x="399" y="97"/>
                  <a:pt x="399" y="97"/>
                </a:cubicBezTo>
                <a:cubicBezTo>
                  <a:pt x="398" y="97"/>
                  <a:pt x="398" y="97"/>
                  <a:pt x="398" y="97"/>
                </a:cubicBezTo>
                <a:cubicBezTo>
                  <a:pt x="398" y="101"/>
                  <a:pt x="399" y="103"/>
                  <a:pt x="401" y="104"/>
                </a:cubicBezTo>
                <a:lnTo>
                  <a:pt x="401" y="105"/>
                </a:lnTo>
                <a:cubicBezTo>
                  <a:pt x="401" y="106"/>
                  <a:pt x="400" y="106"/>
                  <a:pt x="399" y="106"/>
                </a:cubicBezTo>
                <a:cubicBezTo>
                  <a:pt x="397" y="106"/>
                  <a:pt x="396" y="107"/>
                  <a:pt x="396" y="108"/>
                </a:cubicBezTo>
                <a:cubicBezTo>
                  <a:pt x="396" y="109"/>
                  <a:pt x="397" y="109"/>
                  <a:pt x="398" y="109"/>
                </a:cubicBezTo>
                <a:lnTo>
                  <a:pt x="398" y="109"/>
                </a:lnTo>
                <a:cubicBezTo>
                  <a:pt x="398" y="109"/>
                  <a:pt x="399" y="110"/>
                  <a:pt x="399" y="110"/>
                </a:cubicBezTo>
                <a:cubicBezTo>
                  <a:pt x="399" y="113"/>
                  <a:pt x="398" y="115"/>
                  <a:pt x="397" y="115"/>
                </a:cubicBezTo>
                <a:cubicBezTo>
                  <a:pt x="397" y="115"/>
                  <a:pt x="397" y="115"/>
                  <a:pt x="396" y="114"/>
                </a:cubicBezTo>
                <a:cubicBezTo>
                  <a:pt x="396" y="114"/>
                  <a:pt x="395" y="113"/>
                  <a:pt x="395" y="113"/>
                </a:cubicBezTo>
                <a:cubicBezTo>
                  <a:pt x="395" y="113"/>
                  <a:pt x="394" y="114"/>
                  <a:pt x="394" y="115"/>
                </a:cubicBezTo>
                <a:cubicBezTo>
                  <a:pt x="394" y="117"/>
                  <a:pt x="393" y="118"/>
                  <a:pt x="393" y="118"/>
                </a:cubicBezTo>
                <a:cubicBezTo>
                  <a:pt x="393" y="119"/>
                  <a:pt x="394" y="120"/>
                  <a:pt x="394" y="120"/>
                </a:cubicBezTo>
                <a:lnTo>
                  <a:pt x="396" y="118"/>
                </a:lnTo>
                <a:cubicBezTo>
                  <a:pt x="396" y="118"/>
                  <a:pt x="396" y="119"/>
                  <a:pt x="396" y="119"/>
                </a:cubicBezTo>
                <a:cubicBezTo>
                  <a:pt x="396" y="120"/>
                  <a:pt x="396" y="122"/>
                  <a:pt x="394" y="126"/>
                </a:cubicBezTo>
                <a:cubicBezTo>
                  <a:pt x="393" y="130"/>
                  <a:pt x="392" y="132"/>
                  <a:pt x="390" y="132"/>
                </a:cubicBezTo>
                <a:lnTo>
                  <a:pt x="389" y="131"/>
                </a:lnTo>
                <a:lnTo>
                  <a:pt x="389" y="131"/>
                </a:lnTo>
                <a:cubicBezTo>
                  <a:pt x="389" y="131"/>
                  <a:pt x="389" y="132"/>
                  <a:pt x="390" y="133"/>
                </a:cubicBezTo>
                <a:cubicBezTo>
                  <a:pt x="391" y="134"/>
                  <a:pt x="391" y="135"/>
                  <a:pt x="391" y="136"/>
                </a:cubicBezTo>
                <a:cubicBezTo>
                  <a:pt x="391" y="137"/>
                  <a:pt x="391" y="137"/>
                  <a:pt x="390" y="137"/>
                </a:cubicBezTo>
                <a:cubicBezTo>
                  <a:pt x="390" y="138"/>
                  <a:pt x="389" y="138"/>
                  <a:pt x="389" y="138"/>
                </a:cubicBezTo>
                <a:lnTo>
                  <a:pt x="390" y="134"/>
                </a:lnTo>
                <a:lnTo>
                  <a:pt x="389" y="135"/>
                </a:lnTo>
                <a:cubicBezTo>
                  <a:pt x="389" y="136"/>
                  <a:pt x="389" y="137"/>
                  <a:pt x="388" y="137"/>
                </a:cubicBezTo>
                <a:cubicBezTo>
                  <a:pt x="388" y="137"/>
                  <a:pt x="388" y="138"/>
                  <a:pt x="388" y="139"/>
                </a:cubicBezTo>
                <a:cubicBezTo>
                  <a:pt x="388" y="140"/>
                  <a:pt x="387" y="141"/>
                  <a:pt x="386" y="142"/>
                </a:cubicBezTo>
                <a:cubicBezTo>
                  <a:pt x="385" y="143"/>
                  <a:pt x="385" y="144"/>
                  <a:pt x="385" y="144"/>
                </a:cubicBezTo>
                <a:lnTo>
                  <a:pt x="389" y="143"/>
                </a:lnTo>
                <a:cubicBezTo>
                  <a:pt x="389" y="143"/>
                  <a:pt x="388" y="144"/>
                  <a:pt x="387" y="145"/>
                </a:cubicBezTo>
                <a:cubicBezTo>
                  <a:pt x="386" y="146"/>
                  <a:pt x="386" y="147"/>
                  <a:pt x="386" y="148"/>
                </a:cubicBezTo>
                <a:cubicBezTo>
                  <a:pt x="386" y="149"/>
                  <a:pt x="386" y="149"/>
                  <a:pt x="386" y="150"/>
                </a:cubicBezTo>
                <a:lnTo>
                  <a:pt x="386" y="150"/>
                </a:lnTo>
                <a:lnTo>
                  <a:pt x="385" y="150"/>
                </a:lnTo>
                <a:cubicBezTo>
                  <a:pt x="384" y="150"/>
                  <a:pt x="383" y="150"/>
                  <a:pt x="383" y="151"/>
                </a:cubicBezTo>
                <a:cubicBezTo>
                  <a:pt x="383" y="152"/>
                  <a:pt x="382" y="153"/>
                  <a:pt x="382" y="154"/>
                </a:cubicBezTo>
                <a:cubicBezTo>
                  <a:pt x="382" y="154"/>
                  <a:pt x="381" y="155"/>
                  <a:pt x="380" y="155"/>
                </a:cubicBezTo>
                <a:cubicBezTo>
                  <a:pt x="380" y="155"/>
                  <a:pt x="379" y="155"/>
                  <a:pt x="379" y="156"/>
                </a:cubicBezTo>
                <a:cubicBezTo>
                  <a:pt x="379" y="157"/>
                  <a:pt x="380" y="158"/>
                  <a:pt x="382" y="158"/>
                </a:cubicBezTo>
                <a:lnTo>
                  <a:pt x="384" y="158"/>
                </a:lnTo>
                <a:cubicBezTo>
                  <a:pt x="384" y="158"/>
                  <a:pt x="383" y="159"/>
                  <a:pt x="381" y="161"/>
                </a:cubicBezTo>
                <a:cubicBezTo>
                  <a:pt x="379" y="164"/>
                  <a:pt x="377" y="166"/>
                  <a:pt x="377" y="166"/>
                </a:cubicBezTo>
                <a:cubicBezTo>
                  <a:pt x="377" y="167"/>
                  <a:pt x="377" y="167"/>
                  <a:pt x="377" y="167"/>
                </a:cubicBezTo>
                <a:cubicBezTo>
                  <a:pt x="378" y="167"/>
                  <a:pt x="378" y="167"/>
                  <a:pt x="379" y="166"/>
                </a:cubicBezTo>
                <a:lnTo>
                  <a:pt x="380" y="165"/>
                </a:lnTo>
                <a:cubicBezTo>
                  <a:pt x="380" y="166"/>
                  <a:pt x="379" y="168"/>
                  <a:pt x="377" y="170"/>
                </a:cubicBezTo>
                <a:cubicBezTo>
                  <a:pt x="375" y="173"/>
                  <a:pt x="374" y="174"/>
                  <a:pt x="374" y="175"/>
                </a:cubicBezTo>
                <a:cubicBezTo>
                  <a:pt x="374" y="175"/>
                  <a:pt x="374" y="175"/>
                  <a:pt x="374" y="175"/>
                </a:cubicBezTo>
                <a:lnTo>
                  <a:pt x="379" y="174"/>
                </a:lnTo>
                <a:cubicBezTo>
                  <a:pt x="379" y="174"/>
                  <a:pt x="378" y="175"/>
                  <a:pt x="377" y="176"/>
                </a:cubicBezTo>
                <a:cubicBezTo>
                  <a:pt x="376" y="178"/>
                  <a:pt x="375" y="178"/>
                  <a:pt x="375" y="179"/>
                </a:cubicBezTo>
                <a:cubicBezTo>
                  <a:pt x="375" y="179"/>
                  <a:pt x="376" y="179"/>
                  <a:pt x="376" y="179"/>
                </a:cubicBezTo>
                <a:cubicBezTo>
                  <a:pt x="376" y="179"/>
                  <a:pt x="377" y="179"/>
                  <a:pt x="377" y="180"/>
                </a:cubicBezTo>
                <a:cubicBezTo>
                  <a:pt x="377" y="180"/>
                  <a:pt x="375" y="182"/>
                  <a:pt x="372" y="186"/>
                </a:cubicBezTo>
                <a:cubicBezTo>
                  <a:pt x="370" y="188"/>
                  <a:pt x="369" y="190"/>
                  <a:pt x="369" y="191"/>
                </a:cubicBezTo>
                <a:cubicBezTo>
                  <a:pt x="369" y="191"/>
                  <a:pt x="369" y="192"/>
                  <a:pt x="370" y="192"/>
                </a:cubicBezTo>
                <a:cubicBezTo>
                  <a:pt x="370" y="192"/>
                  <a:pt x="370" y="192"/>
                  <a:pt x="370" y="192"/>
                </a:cubicBezTo>
                <a:lnTo>
                  <a:pt x="370" y="192"/>
                </a:lnTo>
                <a:cubicBezTo>
                  <a:pt x="370" y="193"/>
                  <a:pt x="370" y="194"/>
                  <a:pt x="368" y="195"/>
                </a:cubicBezTo>
                <a:cubicBezTo>
                  <a:pt x="366" y="197"/>
                  <a:pt x="365" y="198"/>
                  <a:pt x="365" y="199"/>
                </a:cubicBezTo>
                <a:lnTo>
                  <a:pt x="366" y="200"/>
                </a:lnTo>
                <a:cubicBezTo>
                  <a:pt x="366" y="203"/>
                  <a:pt x="366" y="204"/>
                  <a:pt x="365" y="204"/>
                </a:cubicBezTo>
                <a:lnTo>
                  <a:pt x="364" y="206"/>
                </a:lnTo>
                <a:cubicBezTo>
                  <a:pt x="364" y="206"/>
                  <a:pt x="363" y="205"/>
                  <a:pt x="363" y="205"/>
                </a:cubicBezTo>
                <a:lnTo>
                  <a:pt x="365" y="202"/>
                </a:lnTo>
                <a:cubicBezTo>
                  <a:pt x="364" y="202"/>
                  <a:pt x="364" y="202"/>
                  <a:pt x="363" y="203"/>
                </a:cubicBezTo>
                <a:cubicBezTo>
                  <a:pt x="363" y="203"/>
                  <a:pt x="362" y="204"/>
                  <a:pt x="362" y="205"/>
                </a:cubicBezTo>
                <a:cubicBezTo>
                  <a:pt x="362" y="206"/>
                  <a:pt x="361" y="206"/>
                  <a:pt x="361" y="207"/>
                </a:cubicBezTo>
                <a:cubicBezTo>
                  <a:pt x="361" y="208"/>
                  <a:pt x="362" y="209"/>
                  <a:pt x="362" y="209"/>
                </a:cubicBezTo>
                <a:lnTo>
                  <a:pt x="364" y="209"/>
                </a:lnTo>
                <a:lnTo>
                  <a:pt x="363" y="215"/>
                </a:lnTo>
                <a:cubicBezTo>
                  <a:pt x="360" y="220"/>
                  <a:pt x="359" y="223"/>
                  <a:pt x="359" y="224"/>
                </a:cubicBezTo>
                <a:cubicBezTo>
                  <a:pt x="358" y="224"/>
                  <a:pt x="358" y="223"/>
                  <a:pt x="357" y="223"/>
                </a:cubicBezTo>
                <a:cubicBezTo>
                  <a:pt x="357" y="223"/>
                  <a:pt x="357" y="223"/>
                  <a:pt x="357" y="224"/>
                </a:cubicBezTo>
                <a:lnTo>
                  <a:pt x="357" y="225"/>
                </a:lnTo>
                <a:cubicBezTo>
                  <a:pt x="357" y="227"/>
                  <a:pt x="356" y="228"/>
                  <a:pt x="355" y="228"/>
                </a:cubicBezTo>
                <a:cubicBezTo>
                  <a:pt x="355" y="228"/>
                  <a:pt x="354" y="230"/>
                  <a:pt x="353" y="233"/>
                </a:cubicBezTo>
                <a:cubicBezTo>
                  <a:pt x="352" y="236"/>
                  <a:pt x="352" y="238"/>
                  <a:pt x="350" y="238"/>
                </a:cubicBezTo>
                <a:cubicBezTo>
                  <a:pt x="349" y="238"/>
                  <a:pt x="348" y="237"/>
                  <a:pt x="347" y="234"/>
                </a:cubicBezTo>
                <a:lnTo>
                  <a:pt x="347" y="232"/>
                </a:lnTo>
                <a:cubicBezTo>
                  <a:pt x="347" y="231"/>
                  <a:pt x="347" y="231"/>
                  <a:pt x="347" y="231"/>
                </a:cubicBezTo>
                <a:lnTo>
                  <a:pt x="349" y="232"/>
                </a:lnTo>
                <a:cubicBezTo>
                  <a:pt x="350" y="232"/>
                  <a:pt x="350" y="232"/>
                  <a:pt x="350" y="231"/>
                </a:cubicBezTo>
                <a:cubicBezTo>
                  <a:pt x="350" y="231"/>
                  <a:pt x="350" y="230"/>
                  <a:pt x="349" y="230"/>
                </a:cubicBezTo>
                <a:cubicBezTo>
                  <a:pt x="349" y="229"/>
                  <a:pt x="349" y="228"/>
                  <a:pt x="349" y="228"/>
                </a:cubicBezTo>
                <a:cubicBezTo>
                  <a:pt x="349" y="227"/>
                  <a:pt x="349" y="227"/>
                  <a:pt x="350" y="227"/>
                </a:cubicBezTo>
                <a:cubicBezTo>
                  <a:pt x="351" y="227"/>
                  <a:pt x="352" y="226"/>
                  <a:pt x="353" y="225"/>
                </a:cubicBezTo>
                <a:cubicBezTo>
                  <a:pt x="355" y="220"/>
                  <a:pt x="356" y="216"/>
                  <a:pt x="356" y="213"/>
                </a:cubicBezTo>
                <a:cubicBezTo>
                  <a:pt x="356" y="210"/>
                  <a:pt x="356" y="209"/>
                  <a:pt x="357" y="209"/>
                </a:cubicBezTo>
                <a:lnTo>
                  <a:pt x="358" y="209"/>
                </a:lnTo>
                <a:lnTo>
                  <a:pt x="359" y="209"/>
                </a:lnTo>
                <a:lnTo>
                  <a:pt x="358" y="207"/>
                </a:lnTo>
                <a:cubicBezTo>
                  <a:pt x="357" y="206"/>
                  <a:pt x="357" y="206"/>
                  <a:pt x="357" y="205"/>
                </a:cubicBezTo>
                <a:cubicBezTo>
                  <a:pt x="357" y="204"/>
                  <a:pt x="357" y="203"/>
                  <a:pt x="359" y="201"/>
                </a:cubicBezTo>
                <a:cubicBezTo>
                  <a:pt x="361" y="200"/>
                  <a:pt x="362" y="198"/>
                  <a:pt x="362" y="198"/>
                </a:cubicBezTo>
                <a:cubicBezTo>
                  <a:pt x="362" y="198"/>
                  <a:pt x="362" y="198"/>
                  <a:pt x="362" y="198"/>
                </a:cubicBezTo>
                <a:cubicBezTo>
                  <a:pt x="361" y="198"/>
                  <a:pt x="361" y="197"/>
                  <a:pt x="361" y="195"/>
                </a:cubicBezTo>
                <a:cubicBezTo>
                  <a:pt x="362" y="193"/>
                  <a:pt x="362" y="192"/>
                  <a:pt x="363" y="192"/>
                </a:cubicBezTo>
                <a:lnTo>
                  <a:pt x="363" y="192"/>
                </a:lnTo>
                <a:cubicBezTo>
                  <a:pt x="364" y="192"/>
                  <a:pt x="365" y="187"/>
                  <a:pt x="366" y="176"/>
                </a:cubicBezTo>
                <a:cubicBezTo>
                  <a:pt x="366" y="174"/>
                  <a:pt x="366" y="173"/>
                  <a:pt x="367" y="173"/>
                </a:cubicBezTo>
                <a:lnTo>
                  <a:pt x="371" y="175"/>
                </a:lnTo>
                <a:lnTo>
                  <a:pt x="370" y="174"/>
                </a:lnTo>
                <a:cubicBezTo>
                  <a:pt x="370" y="171"/>
                  <a:pt x="371" y="167"/>
                  <a:pt x="372" y="162"/>
                </a:cubicBezTo>
                <a:cubicBezTo>
                  <a:pt x="374" y="158"/>
                  <a:pt x="374" y="154"/>
                  <a:pt x="374" y="151"/>
                </a:cubicBezTo>
                <a:cubicBezTo>
                  <a:pt x="374" y="150"/>
                  <a:pt x="375" y="148"/>
                  <a:pt x="377" y="147"/>
                </a:cubicBezTo>
                <a:cubicBezTo>
                  <a:pt x="378" y="146"/>
                  <a:pt x="379" y="145"/>
                  <a:pt x="379" y="143"/>
                </a:cubicBezTo>
                <a:cubicBezTo>
                  <a:pt x="379" y="142"/>
                  <a:pt x="380" y="140"/>
                  <a:pt x="381" y="138"/>
                </a:cubicBezTo>
                <a:cubicBezTo>
                  <a:pt x="382" y="137"/>
                  <a:pt x="383" y="134"/>
                  <a:pt x="384" y="132"/>
                </a:cubicBezTo>
                <a:cubicBezTo>
                  <a:pt x="384" y="129"/>
                  <a:pt x="385" y="127"/>
                  <a:pt x="385" y="125"/>
                </a:cubicBezTo>
                <a:cubicBezTo>
                  <a:pt x="385" y="124"/>
                  <a:pt x="384" y="124"/>
                  <a:pt x="384" y="124"/>
                </a:cubicBezTo>
                <a:lnTo>
                  <a:pt x="383" y="124"/>
                </a:lnTo>
                <a:lnTo>
                  <a:pt x="384" y="122"/>
                </a:lnTo>
                <a:cubicBezTo>
                  <a:pt x="385" y="120"/>
                  <a:pt x="385" y="119"/>
                  <a:pt x="385" y="117"/>
                </a:cubicBezTo>
                <a:cubicBezTo>
                  <a:pt x="385" y="117"/>
                  <a:pt x="385" y="117"/>
                  <a:pt x="385" y="117"/>
                </a:cubicBezTo>
                <a:lnTo>
                  <a:pt x="386" y="116"/>
                </a:lnTo>
                <a:cubicBezTo>
                  <a:pt x="387" y="116"/>
                  <a:pt x="388" y="116"/>
                  <a:pt x="388" y="115"/>
                </a:cubicBezTo>
                <a:lnTo>
                  <a:pt x="388" y="113"/>
                </a:lnTo>
                <a:cubicBezTo>
                  <a:pt x="388" y="111"/>
                  <a:pt x="388" y="109"/>
                  <a:pt x="389" y="108"/>
                </a:cubicBezTo>
                <a:lnTo>
                  <a:pt x="390" y="106"/>
                </a:lnTo>
                <a:lnTo>
                  <a:pt x="387" y="108"/>
                </a:lnTo>
                <a:cubicBezTo>
                  <a:pt x="387" y="108"/>
                  <a:pt x="387" y="107"/>
                  <a:pt x="387" y="107"/>
                </a:cubicBezTo>
                <a:cubicBezTo>
                  <a:pt x="387" y="107"/>
                  <a:pt x="387" y="106"/>
                  <a:pt x="389" y="105"/>
                </a:cubicBezTo>
                <a:cubicBezTo>
                  <a:pt x="390" y="103"/>
                  <a:pt x="391" y="101"/>
                  <a:pt x="391" y="99"/>
                </a:cubicBezTo>
                <a:lnTo>
                  <a:pt x="391" y="97"/>
                </a:lnTo>
                <a:cubicBezTo>
                  <a:pt x="391" y="96"/>
                  <a:pt x="392" y="96"/>
                  <a:pt x="392" y="96"/>
                </a:cubicBezTo>
                <a:cubicBezTo>
                  <a:pt x="393" y="96"/>
                  <a:pt x="394" y="95"/>
                  <a:pt x="394" y="94"/>
                </a:cubicBezTo>
                <a:lnTo>
                  <a:pt x="393" y="93"/>
                </a:lnTo>
                <a:cubicBezTo>
                  <a:pt x="393" y="90"/>
                  <a:pt x="394" y="90"/>
                  <a:pt x="394" y="90"/>
                </a:cubicBezTo>
                <a:cubicBezTo>
                  <a:pt x="395" y="90"/>
                  <a:pt x="395" y="88"/>
                  <a:pt x="395" y="83"/>
                </a:cubicBezTo>
                <a:cubicBezTo>
                  <a:pt x="395" y="80"/>
                  <a:pt x="396" y="77"/>
                  <a:pt x="397" y="75"/>
                </a:cubicBezTo>
                <a:cubicBezTo>
                  <a:pt x="399" y="74"/>
                  <a:pt x="399" y="73"/>
                  <a:pt x="399" y="72"/>
                </a:cubicBezTo>
                <a:cubicBezTo>
                  <a:pt x="399" y="72"/>
                  <a:pt x="399" y="71"/>
                  <a:pt x="398" y="71"/>
                </a:cubicBezTo>
                <a:cubicBezTo>
                  <a:pt x="397" y="71"/>
                  <a:pt x="397" y="71"/>
                  <a:pt x="397" y="71"/>
                </a:cubicBezTo>
                <a:cubicBezTo>
                  <a:pt x="397" y="70"/>
                  <a:pt x="397" y="69"/>
                  <a:pt x="398" y="67"/>
                </a:cubicBezTo>
                <a:cubicBezTo>
                  <a:pt x="398" y="66"/>
                  <a:pt x="399" y="64"/>
                  <a:pt x="399" y="61"/>
                </a:cubicBezTo>
                <a:lnTo>
                  <a:pt x="398" y="60"/>
                </a:lnTo>
                <a:lnTo>
                  <a:pt x="399" y="60"/>
                </a:lnTo>
                <a:cubicBezTo>
                  <a:pt x="400" y="60"/>
                  <a:pt x="400" y="56"/>
                  <a:pt x="400" y="50"/>
                </a:cubicBezTo>
                <a:cubicBezTo>
                  <a:pt x="400" y="43"/>
                  <a:pt x="400" y="39"/>
                  <a:pt x="400" y="38"/>
                </a:cubicBezTo>
                <a:cubicBezTo>
                  <a:pt x="399" y="37"/>
                  <a:pt x="399" y="37"/>
                  <a:pt x="399" y="37"/>
                </a:cubicBezTo>
                <a:lnTo>
                  <a:pt x="394" y="65"/>
                </a:lnTo>
                <a:cubicBezTo>
                  <a:pt x="394" y="67"/>
                  <a:pt x="394" y="68"/>
                  <a:pt x="394" y="70"/>
                </a:cubicBezTo>
                <a:cubicBezTo>
                  <a:pt x="394" y="71"/>
                  <a:pt x="393" y="71"/>
                  <a:pt x="392" y="71"/>
                </a:cubicBezTo>
                <a:cubicBezTo>
                  <a:pt x="392" y="71"/>
                  <a:pt x="391" y="72"/>
                  <a:pt x="391" y="74"/>
                </a:cubicBezTo>
                <a:lnTo>
                  <a:pt x="391" y="76"/>
                </a:lnTo>
                <a:cubicBezTo>
                  <a:pt x="391" y="77"/>
                  <a:pt x="391" y="78"/>
                  <a:pt x="390" y="78"/>
                </a:cubicBezTo>
                <a:cubicBezTo>
                  <a:pt x="389" y="78"/>
                  <a:pt x="389" y="78"/>
                  <a:pt x="389" y="81"/>
                </a:cubicBezTo>
                <a:lnTo>
                  <a:pt x="389" y="83"/>
                </a:lnTo>
                <a:cubicBezTo>
                  <a:pt x="389" y="83"/>
                  <a:pt x="389" y="83"/>
                  <a:pt x="389" y="83"/>
                </a:cubicBezTo>
                <a:lnTo>
                  <a:pt x="385" y="82"/>
                </a:lnTo>
                <a:lnTo>
                  <a:pt x="385" y="83"/>
                </a:lnTo>
                <a:cubicBezTo>
                  <a:pt x="385" y="83"/>
                  <a:pt x="386" y="84"/>
                  <a:pt x="387" y="85"/>
                </a:cubicBezTo>
                <a:cubicBezTo>
                  <a:pt x="387" y="86"/>
                  <a:pt x="388" y="87"/>
                  <a:pt x="388" y="88"/>
                </a:cubicBezTo>
                <a:cubicBezTo>
                  <a:pt x="388" y="90"/>
                  <a:pt x="387" y="91"/>
                  <a:pt x="385" y="91"/>
                </a:cubicBezTo>
                <a:lnTo>
                  <a:pt x="381" y="90"/>
                </a:lnTo>
                <a:lnTo>
                  <a:pt x="383" y="92"/>
                </a:lnTo>
                <a:cubicBezTo>
                  <a:pt x="385" y="93"/>
                  <a:pt x="386" y="94"/>
                  <a:pt x="386" y="95"/>
                </a:cubicBezTo>
                <a:cubicBezTo>
                  <a:pt x="386" y="96"/>
                  <a:pt x="385" y="97"/>
                  <a:pt x="385" y="98"/>
                </a:cubicBezTo>
                <a:cubicBezTo>
                  <a:pt x="384" y="99"/>
                  <a:pt x="383" y="103"/>
                  <a:pt x="382" y="109"/>
                </a:cubicBezTo>
                <a:cubicBezTo>
                  <a:pt x="380" y="115"/>
                  <a:pt x="380" y="118"/>
                  <a:pt x="379" y="118"/>
                </a:cubicBezTo>
                <a:cubicBezTo>
                  <a:pt x="378" y="118"/>
                  <a:pt x="377" y="119"/>
                  <a:pt x="377" y="120"/>
                </a:cubicBezTo>
                <a:lnTo>
                  <a:pt x="377" y="120"/>
                </a:lnTo>
                <a:cubicBezTo>
                  <a:pt x="377" y="122"/>
                  <a:pt x="377" y="125"/>
                  <a:pt x="375" y="131"/>
                </a:cubicBezTo>
                <a:cubicBezTo>
                  <a:pt x="373" y="141"/>
                  <a:pt x="369" y="152"/>
                  <a:pt x="363" y="166"/>
                </a:cubicBezTo>
                <a:cubicBezTo>
                  <a:pt x="363" y="167"/>
                  <a:pt x="362" y="169"/>
                  <a:pt x="361" y="172"/>
                </a:cubicBezTo>
                <a:cubicBezTo>
                  <a:pt x="360" y="174"/>
                  <a:pt x="359" y="177"/>
                  <a:pt x="358" y="180"/>
                </a:cubicBezTo>
                <a:cubicBezTo>
                  <a:pt x="357" y="182"/>
                  <a:pt x="356" y="185"/>
                  <a:pt x="355" y="188"/>
                </a:cubicBezTo>
                <a:lnTo>
                  <a:pt x="351" y="201"/>
                </a:lnTo>
                <a:cubicBezTo>
                  <a:pt x="349" y="207"/>
                  <a:pt x="347" y="212"/>
                  <a:pt x="345" y="214"/>
                </a:cubicBezTo>
                <a:cubicBezTo>
                  <a:pt x="343" y="215"/>
                  <a:pt x="343" y="218"/>
                  <a:pt x="343" y="220"/>
                </a:cubicBezTo>
                <a:lnTo>
                  <a:pt x="343" y="223"/>
                </a:lnTo>
                <a:cubicBezTo>
                  <a:pt x="343" y="223"/>
                  <a:pt x="343" y="224"/>
                  <a:pt x="343" y="224"/>
                </a:cubicBezTo>
                <a:lnTo>
                  <a:pt x="341" y="223"/>
                </a:lnTo>
                <a:cubicBezTo>
                  <a:pt x="340" y="223"/>
                  <a:pt x="340" y="223"/>
                  <a:pt x="340" y="223"/>
                </a:cubicBezTo>
                <a:lnTo>
                  <a:pt x="341" y="227"/>
                </a:lnTo>
                <a:cubicBezTo>
                  <a:pt x="341" y="228"/>
                  <a:pt x="341" y="228"/>
                  <a:pt x="341" y="228"/>
                </a:cubicBezTo>
                <a:lnTo>
                  <a:pt x="340" y="228"/>
                </a:lnTo>
                <a:cubicBezTo>
                  <a:pt x="339" y="228"/>
                  <a:pt x="338" y="229"/>
                  <a:pt x="337" y="231"/>
                </a:cubicBezTo>
                <a:cubicBezTo>
                  <a:pt x="337" y="233"/>
                  <a:pt x="335" y="236"/>
                  <a:pt x="335" y="238"/>
                </a:cubicBezTo>
                <a:cubicBezTo>
                  <a:pt x="333" y="241"/>
                  <a:pt x="333" y="244"/>
                  <a:pt x="333" y="245"/>
                </a:cubicBezTo>
                <a:cubicBezTo>
                  <a:pt x="333" y="246"/>
                  <a:pt x="333" y="247"/>
                  <a:pt x="333" y="247"/>
                </a:cubicBezTo>
                <a:cubicBezTo>
                  <a:pt x="334" y="247"/>
                  <a:pt x="334" y="248"/>
                  <a:pt x="334" y="248"/>
                </a:cubicBezTo>
                <a:lnTo>
                  <a:pt x="333" y="248"/>
                </a:lnTo>
                <a:cubicBezTo>
                  <a:pt x="332" y="248"/>
                  <a:pt x="330" y="249"/>
                  <a:pt x="330" y="251"/>
                </a:cubicBezTo>
                <a:cubicBezTo>
                  <a:pt x="329" y="254"/>
                  <a:pt x="327" y="255"/>
                  <a:pt x="326" y="255"/>
                </a:cubicBezTo>
                <a:cubicBezTo>
                  <a:pt x="324" y="255"/>
                  <a:pt x="323" y="255"/>
                  <a:pt x="323" y="257"/>
                </a:cubicBezTo>
                <a:cubicBezTo>
                  <a:pt x="323" y="258"/>
                  <a:pt x="323" y="258"/>
                  <a:pt x="325" y="258"/>
                </a:cubicBezTo>
                <a:lnTo>
                  <a:pt x="325" y="257"/>
                </a:lnTo>
                <a:cubicBezTo>
                  <a:pt x="326" y="257"/>
                  <a:pt x="326" y="258"/>
                  <a:pt x="326" y="258"/>
                </a:cubicBezTo>
                <a:cubicBezTo>
                  <a:pt x="326" y="259"/>
                  <a:pt x="325" y="261"/>
                  <a:pt x="324" y="262"/>
                </a:cubicBezTo>
                <a:lnTo>
                  <a:pt x="322" y="262"/>
                </a:lnTo>
                <a:cubicBezTo>
                  <a:pt x="322" y="262"/>
                  <a:pt x="321" y="263"/>
                  <a:pt x="320" y="265"/>
                </a:cubicBezTo>
                <a:cubicBezTo>
                  <a:pt x="319" y="267"/>
                  <a:pt x="317" y="272"/>
                  <a:pt x="314" y="280"/>
                </a:cubicBezTo>
                <a:cubicBezTo>
                  <a:pt x="313" y="283"/>
                  <a:pt x="312" y="286"/>
                  <a:pt x="311" y="289"/>
                </a:cubicBezTo>
                <a:cubicBezTo>
                  <a:pt x="310" y="292"/>
                  <a:pt x="309" y="295"/>
                  <a:pt x="308" y="296"/>
                </a:cubicBezTo>
                <a:cubicBezTo>
                  <a:pt x="307" y="298"/>
                  <a:pt x="306" y="300"/>
                  <a:pt x="306" y="302"/>
                </a:cubicBezTo>
                <a:cubicBezTo>
                  <a:pt x="305" y="304"/>
                  <a:pt x="305" y="306"/>
                  <a:pt x="304" y="307"/>
                </a:cubicBezTo>
                <a:cubicBezTo>
                  <a:pt x="303" y="308"/>
                  <a:pt x="303" y="310"/>
                  <a:pt x="303" y="311"/>
                </a:cubicBezTo>
                <a:cubicBezTo>
                  <a:pt x="303" y="311"/>
                  <a:pt x="303" y="312"/>
                  <a:pt x="303" y="313"/>
                </a:cubicBezTo>
                <a:cubicBezTo>
                  <a:pt x="302" y="314"/>
                  <a:pt x="302" y="316"/>
                  <a:pt x="301" y="317"/>
                </a:cubicBezTo>
                <a:cubicBezTo>
                  <a:pt x="298" y="322"/>
                  <a:pt x="296" y="325"/>
                  <a:pt x="294" y="325"/>
                </a:cubicBezTo>
                <a:lnTo>
                  <a:pt x="293" y="325"/>
                </a:lnTo>
                <a:cubicBezTo>
                  <a:pt x="292" y="325"/>
                  <a:pt x="292" y="325"/>
                  <a:pt x="292" y="326"/>
                </a:cubicBezTo>
                <a:cubicBezTo>
                  <a:pt x="292" y="326"/>
                  <a:pt x="292" y="327"/>
                  <a:pt x="293" y="327"/>
                </a:cubicBezTo>
                <a:cubicBezTo>
                  <a:pt x="293" y="328"/>
                  <a:pt x="293" y="328"/>
                  <a:pt x="294" y="328"/>
                </a:cubicBezTo>
                <a:cubicBezTo>
                  <a:pt x="295" y="328"/>
                  <a:pt x="295" y="329"/>
                  <a:pt x="295" y="330"/>
                </a:cubicBezTo>
                <a:cubicBezTo>
                  <a:pt x="295" y="332"/>
                  <a:pt x="295" y="333"/>
                  <a:pt x="293" y="335"/>
                </a:cubicBezTo>
                <a:cubicBezTo>
                  <a:pt x="293" y="336"/>
                  <a:pt x="293" y="337"/>
                  <a:pt x="293" y="338"/>
                </a:cubicBezTo>
                <a:cubicBezTo>
                  <a:pt x="293" y="339"/>
                  <a:pt x="293" y="340"/>
                  <a:pt x="293" y="341"/>
                </a:cubicBezTo>
                <a:cubicBezTo>
                  <a:pt x="293" y="342"/>
                  <a:pt x="294" y="343"/>
                  <a:pt x="294" y="343"/>
                </a:cubicBezTo>
                <a:cubicBezTo>
                  <a:pt x="294" y="344"/>
                  <a:pt x="293" y="344"/>
                  <a:pt x="293" y="344"/>
                </a:cubicBezTo>
                <a:lnTo>
                  <a:pt x="291" y="344"/>
                </a:lnTo>
                <a:cubicBezTo>
                  <a:pt x="289" y="344"/>
                  <a:pt x="286" y="348"/>
                  <a:pt x="283" y="357"/>
                </a:cubicBezTo>
                <a:cubicBezTo>
                  <a:pt x="280" y="365"/>
                  <a:pt x="278" y="370"/>
                  <a:pt x="278" y="372"/>
                </a:cubicBezTo>
                <a:cubicBezTo>
                  <a:pt x="278" y="372"/>
                  <a:pt x="279" y="372"/>
                  <a:pt x="279" y="372"/>
                </a:cubicBezTo>
                <a:lnTo>
                  <a:pt x="281" y="372"/>
                </a:lnTo>
                <a:cubicBezTo>
                  <a:pt x="282" y="372"/>
                  <a:pt x="282" y="372"/>
                  <a:pt x="282" y="373"/>
                </a:cubicBezTo>
                <a:cubicBezTo>
                  <a:pt x="282" y="374"/>
                  <a:pt x="281" y="374"/>
                  <a:pt x="280" y="374"/>
                </a:cubicBezTo>
                <a:lnTo>
                  <a:pt x="279" y="374"/>
                </a:lnTo>
                <a:cubicBezTo>
                  <a:pt x="278" y="374"/>
                  <a:pt x="276" y="376"/>
                  <a:pt x="274" y="380"/>
                </a:cubicBezTo>
                <a:cubicBezTo>
                  <a:pt x="272" y="384"/>
                  <a:pt x="270" y="388"/>
                  <a:pt x="269" y="393"/>
                </a:cubicBezTo>
                <a:cubicBezTo>
                  <a:pt x="267" y="398"/>
                  <a:pt x="266" y="402"/>
                  <a:pt x="266" y="404"/>
                </a:cubicBezTo>
                <a:cubicBezTo>
                  <a:pt x="266" y="405"/>
                  <a:pt x="267" y="406"/>
                  <a:pt x="267" y="406"/>
                </a:cubicBezTo>
                <a:lnTo>
                  <a:pt x="268" y="407"/>
                </a:lnTo>
                <a:lnTo>
                  <a:pt x="265" y="406"/>
                </a:lnTo>
                <a:cubicBezTo>
                  <a:pt x="263" y="406"/>
                  <a:pt x="263" y="407"/>
                  <a:pt x="263" y="409"/>
                </a:cubicBezTo>
                <a:cubicBezTo>
                  <a:pt x="263" y="410"/>
                  <a:pt x="263" y="411"/>
                  <a:pt x="265" y="412"/>
                </a:cubicBezTo>
                <a:lnTo>
                  <a:pt x="265" y="413"/>
                </a:lnTo>
                <a:lnTo>
                  <a:pt x="263" y="412"/>
                </a:lnTo>
                <a:cubicBezTo>
                  <a:pt x="262" y="412"/>
                  <a:pt x="261" y="413"/>
                  <a:pt x="261" y="415"/>
                </a:cubicBezTo>
                <a:cubicBezTo>
                  <a:pt x="261" y="416"/>
                  <a:pt x="261" y="417"/>
                  <a:pt x="262" y="417"/>
                </a:cubicBezTo>
                <a:lnTo>
                  <a:pt x="264" y="416"/>
                </a:lnTo>
                <a:cubicBezTo>
                  <a:pt x="264" y="416"/>
                  <a:pt x="265" y="416"/>
                  <a:pt x="265" y="417"/>
                </a:cubicBezTo>
                <a:lnTo>
                  <a:pt x="264" y="418"/>
                </a:lnTo>
                <a:cubicBezTo>
                  <a:pt x="263" y="418"/>
                  <a:pt x="263" y="419"/>
                  <a:pt x="261" y="419"/>
                </a:cubicBezTo>
                <a:cubicBezTo>
                  <a:pt x="260" y="419"/>
                  <a:pt x="260" y="420"/>
                  <a:pt x="258" y="424"/>
                </a:cubicBezTo>
                <a:cubicBezTo>
                  <a:pt x="254" y="434"/>
                  <a:pt x="252" y="441"/>
                  <a:pt x="252" y="445"/>
                </a:cubicBezTo>
                <a:lnTo>
                  <a:pt x="253" y="448"/>
                </a:lnTo>
                <a:cubicBezTo>
                  <a:pt x="253" y="448"/>
                  <a:pt x="253" y="448"/>
                  <a:pt x="253" y="448"/>
                </a:cubicBezTo>
                <a:lnTo>
                  <a:pt x="251" y="448"/>
                </a:lnTo>
                <a:cubicBezTo>
                  <a:pt x="251" y="448"/>
                  <a:pt x="250" y="448"/>
                  <a:pt x="250" y="449"/>
                </a:cubicBezTo>
                <a:cubicBezTo>
                  <a:pt x="249" y="451"/>
                  <a:pt x="248" y="452"/>
                  <a:pt x="248" y="454"/>
                </a:cubicBezTo>
                <a:cubicBezTo>
                  <a:pt x="246" y="459"/>
                  <a:pt x="245" y="463"/>
                  <a:pt x="243" y="466"/>
                </a:cubicBezTo>
                <a:cubicBezTo>
                  <a:pt x="241" y="474"/>
                  <a:pt x="239" y="480"/>
                  <a:pt x="238" y="484"/>
                </a:cubicBezTo>
                <a:lnTo>
                  <a:pt x="237" y="491"/>
                </a:lnTo>
                <a:cubicBezTo>
                  <a:pt x="237" y="492"/>
                  <a:pt x="236" y="493"/>
                  <a:pt x="235" y="495"/>
                </a:cubicBezTo>
                <a:cubicBezTo>
                  <a:pt x="233" y="497"/>
                  <a:pt x="233" y="498"/>
                  <a:pt x="233" y="500"/>
                </a:cubicBezTo>
                <a:lnTo>
                  <a:pt x="233" y="501"/>
                </a:lnTo>
                <a:cubicBezTo>
                  <a:pt x="233" y="503"/>
                  <a:pt x="232" y="504"/>
                  <a:pt x="231" y="505"/>
                </a:cubicBezTo>
                <a:cubicBezTo>
                  <a:pt x="231" y="506"/>
                  <a:pt x="230" y="506"/>
                  <a:pt x="229" y="507"/>
                </a:cubicBezTo>
                <a:lnTo>
                  <a:pt x="228" y="517"/>
                </a:lnTo>
                <a:lnTo>
                  <a:pt x="228" y="523"/>
                </a:lnTo>
                <a:lnTo>
                  <a:pt x="229" y="522"/>
                </a:lnTo>
                <a:cubicBezTo>
                  <a:pt x="230" y="522"/>
                  <a:pt x="230" y="522"/>
                  <a:pt x="230" y="522"/>
                </a:cubicBezTo>
                <a:cubicBezTo>
                  <a:pt x="230" y="523"/>
                  <a:pt x="229" y="525"/>
                  <a:pt x="228" y="529"/>
                </a:cubicBezTo>
                <a:lnTo>
                  <a:pt x="227" y="530"/>
                </a:lnTo>
                <a:cubicBezTo>
                  <a:pt x="226" y="533"/>
                  <a:pt x="226" y="535"/>
                  <a:pt x="226" y="536"/>
                </a:cubicBezTo>
                <a:cubicBezTo>
                  <a:pt x="226" y="537"/>
                  <a:pt x="226" y="538"/>
                  <a:pt x="226" y="538"/>
                </a:cubicBezTo>
                <a:cubicBezTo>
                  <a:pt x="227" y="538"/>
                  <a:pt x="228" y="536"/>
                  <a:pt x="230" y="533"/>
                </a:cubicBezTo>
                <a:cubicBezTo>
                  <a:pt x="231" y="531"/>
                  <a:pt x="231" y="530"/>
                  <a:pt x="232" y="529"/>
                </a:cubicBezTo>
                <a:cubicBezTo>
                  <a:pt x="232" y="529"/>
                  <a:pt x="233" y="529"/>
                  <a:pt x="234" y="528"/>
                </a:cubicBezTo>
                <a:lnTo>
                  <a:pt x="235" y="528"/>
                </a:lnTo>
                <a:cubicBezTo>
                  <a:pt x="235" y="528"/>
                  <a:pt x="236" y="528"/>
                  <a:pt x="236" y="528"/>
                </a:cubicBezTo>
                <a:cubicBezTo>
                  <a:pt x="236" y="529"/>
                  <a:pt x="235" y="530"/>
                  <a:pt x="235" y="531"/>
                </a:cubicBezTo>
                <a:cubicBezTo>
                  <a:pt x="227" y="552"/>
                  <a:pt x="223" y="563"/>
                  <a:pt x="223" y="566"/>
                </a:cubicBezTo>
                <a:cubicBezTo>
                  <a:pt x="223" y="566"/>
                  <a:pt x="225" y="563"/>
                  <a:pt x="227" y="557"/>
                </a:cubicBezTo>
                <a:lnTo>
                  <a:pt x="230" y="550"/>
                </a:lnTo>
                <a:lnTo>
                  <a:pt x="233" y="546"/>
                </a:lnTo>
                <a:lnTo>
                  <a:pt x="233" y="547"/>
                </a:lnTo>
                <a:cubicBezTo>
                  <a:pt x="233" y="548"/>
                  <a:pt x="233" y="549"/>
                  <a:pt x="232" y="551"/>
                </a:cubicBezTo>
                <a:cubicBezTo>
                  <a:pt x="231" y="552"/>
                  <a:pt x="231" y="555"/>
                  <a:pt x="231" y="558"/>
                </a:cubicBezTo>
                <a:cubicBezTo>
                  <a:pt x="231" y="559"/>
                  <a:pt x="231" y="560"/>
                  <a:pt x="231" y="560"/>
                </a:cubicBezTo>
                <a:lnTo>
                  <a:pt x="230" y="559"/>
                </a:lnTo>
                <a:cubicBezTo>
                  <a:pt x="230" y="559"/>
                  <a:pt x="229" y="559"/>
                  <a:pt x="229" y="559"/>
                </a:cubicBezTo>
                <a:cubicBezTo>
                  <a:pt x="228" y="559"/>
                  <a:pt x="228" y="559"/>
                  <a:pt x="228" y="561"/>
                </a:cubicBezTo>
                <a:cubicBezTo>
                  <a:pt x="228" y="562"/>
                  <a:pt x="228" y="564"/>
                  <a:pt x="227" y="565"/>
                </a:cubicBezTo>
                <a:cubicBezTo>
                  <a:pt x="226" y="566"/>
                  <a:pt x="226" y="567"/>
                  <a:pt x="226" y="567"/>
                </a:cubicBezTo>
                <a:cubicBezTo>
                  <a:pt x="226" y="568"/>
                  <a:pt x="226" y="568"/>
                  <a:pt x="227" y="568"/>
                </a:cubicBezTo>
                <a:lnTo>
                  <a:pt x="229" y="567"/>
                </a:lnTo>
                <a:lnTo>
                  <a:pt x="229" y="568"/>
                </a:lnTo>
                <a:cubicBezTo>
                  <a:pt x="229" y="568"/>
                  <a:pt x="229" y="569"/>
                  <a:pt x="229" y="570"/>
                </a:cubicBezTo>
                <a:cubicBezTo>
                  <a:pt x="228" y="571"/>
                  <a:pt x="228" y="572"/>
                  <a:pt x="228" y="572"/>
                </a:cubicBezTo>
                <a:cubicBezTo>
                  <a:pt x="227" y="572"/>
                  <a:pt x="227" y="571"/>
                  <a:pt x="227" y="571"/>
                </a:cubicBezTo>
                <a:cubicBezTo>
                  <a:pt x="227" y="571"/>
                  <a:pt x="226" y="570"/>
                  <a:pt x="226" y="570"/>
                </a:cubicBezTo>
                <a:cubicBezTo>
                  <a:pt x="226" y="570"/>
                  <a:pt x="224" y="572"/>
                  <a:pt x="222" y="576"/>
                </a:cubicBezTo>
                <a:cubicBezTo>
                  <a:pt x="219" y="582"/>
                  <a:pt x="218" y="585"/>
                  <a:pt x="217" y="585"/>
                </a:cubicBezTo>
                <a:lnTo>
                  <a:pt x="218" y="579"/>
                </a:lnTo>
                <a:lnTo>
                  <a:pt x="217" y="580"/>
                </a:lnTo>
                <a:cubicBezTo>
                  <a:pt x="216" y="581"/>
                  <a:pt x="216" y="583"/>
                  <a:pt x="216" y="584"/>
                </a:cubicBezTo>
                <a:cubicBezTo>
                  <a:pt x="215" y="585"/>
                  <a:pt x="214" y="587"/>
                  <a:pt x="214" y="589"/>
                </a:cubicBezTo>
                <a:lnTo>
                  <a:pt x="213" y="593"/>
                </a:lnTo>
                <a:cubicBezTo>
                  <a:pt x="213" y="593"/>
                  <a:pt x="214" y="592"/>
                  <a:pt x="216" y="590"/>
                </a:cubicBezTo>
                <a:cubicBezTo>
                  <a:pt x="217" y="588"/>
                  <a:pt x="218" y="587"/>
                  <a:pt x="218" y="587"/>
                </a:cubicBezTo>
                <a:cubicBezTo>
                  <a:pt x="218" y="587"/>
                  <a:pt x="218" y="589"/>
                  <a:pt x="216" y="591"/>
                </a:cubicBezTo>
                <a:cubicBezTo>
                  <a:pt x="215" y="594"/>
                  <a:pt x="214" y="595"/>
                  <a:pt x="213" y="595"/>
                </a:cubicBezTo>
                <a:cubicBezTo>
                  <a:pt x="212" y="595"/>
                  <a:pt x="211" y="596"/>
                  <a:pt x="211" y="598"/>
                </a:cubicBezTo>
                <a:lnTo>
                  <a:pt x="212" y="600"/>
                </a:lnTo>
                <a:cubicBezTo>
                  <a:pt x="212" y="600"/>
                  <a:pt x="211" y="601"/>
                  <a:pt x="211" y="601"/>
                </a:cubicBezTo>
                <a:cubicBezTo>
                  <a:pt x="210" y="601"/>
                  <a:pt x="209" y="601"/>
                  <a:pt x="209" y="602"/>
                </a:cubicBezTo>
                <a:lnTo>
                  <a:pt x="210" y="604"/>
                </a:lnTo>
                <a:cubicBezTo>
                  <a:pt x="210" y="605"/>
                  <a:pt x="210" y="605"/>
                  <a:pt x="210" y="605"/>
                </a:cubicBezTo>
                <a:cubicBezTo>
                  <a:pt x="209" y="605"/>
                  <a:pt x="208" y="606"/>
                  <a:pt x="208" y="607"/>
                </a:cubicBezTo>
                <a:cubicBezTo>
                  <a:pt x="207" y="609"/>
                  <a:pt x="206" y="611"/>
                  <a:pt x="205" y="613"/>
                </a:cubicBezTo>
                <a:cubicBezTo>
                  <a:pt x="204" y="618"/>
                  <a:pt x="203" y="620"/>
                  <a:pt x="201" y="620"/>
                </a:cubicBezTo>
                <a:lnTo>
                  <a:pt x="200" y="620"/>
                </a:lnTo>
                <a:lnTo>
                  <a:pt x="200" y="620"/>
                </a:lnTo>
                <a:lnTo>
                  <a:pt x="201" y="623"/>
                </a:lnTo>
                <a:cubicBezTo>
                  <a:pt x="202" y="625"/>
                  <a:pt x="203" y="627"/>
                  <a:pt x="203" y="628"/>
                </a:cubicBezTo>
                <a:cubicBezTo>
                  <a:pt x="203" y="629"/>
                  <a:pt x="203" y="629"/>
                  <a:pt x="203" y="629"/>
                </a:cubicBezTo>
                <a:lnTo>
                  <a:pt x="201" y="628"/>
                </a:lnTo>
                <a:cubicBezTo>
                  <a:pt x="201" y="628"/>
                  <a:pt x="200" y="629"/>
                  <a:pt x="200" y="630"/>
                </a:cubicBezTo>
                <a:lnTo>
                  <a:pt x="201" y="634"/>
                </a:lnTo>
                <a:cubicBezTo>
                  <a:pt x="201" y="635"/>
                  <a:pt x="201" y="635"/>
                  <a:pt x="200" y="635"/>
                </a:cubicBezTo>
                <a:lnTo>
                  <a:pt x="198" y="634"/>
                </a:lnTo>
                <a:cubicBezTo>
                  <a:pt x="198" y="634"/>
                  <a:pt x="198" y="635"/>
                  <a:pt x="198" y="635"/>
                </a:cubicBezTo>
                <a:cubicBezTo>
                  <a:pt x="198" y="635"/>
                  <a:pt x="198" y="636"/>
                  <a:pt x="198" y="636"/>
                </a:cubicBezTo>
                <a:cubicBezTo>
                  <a:pt x="198" y="636"/>
                  <a:pt x="199" y="637"/>
                  <a:pt x="200" y="639"/>
                </a:cubicBezTo>
                <a:cubicBezTo>
                  <a:pt x="201" y="638"/>
                  <a:pt x="202" y="636"/>
                  <a:pt x="203" y="632"/>
                </a:cubicBezTo>
                <a:cubicBezTo>
                  <a:pt x="204" y="629"/>
                  <a:pt x="206" y="625"/>
                  <a:pt x="208" y="620"/>
                </a:cubicBezTo>
                <a:cubicBezTo>
                  <a:pt x="209" y="615"/>
                  <a:pt x="211" y="610"/>
                  <a:pt x="212" y="606"/>
                </a:cubicBezTo>
                <a:lnTo>
                  <a:pt x="214" y="599"/>
                </a:lnTo>
                <a:lnTo>
                  <a:pt x="213" y="598"/>
                </a:lnTo>
                <a:cubicBezTo>
                  <a:pt x="213" y="597"/>
                  <a:pt x="214" y="597"/>
                  <a:pt x="214" y="597"/>
                </a:cubicBezTo>
                <a:cubicBezTo>
                  <a:pt x="215" y="597"/>
                  <a:pt x="216" y="596"/>
                  <a:pt x="217" y="595"/>
                </a:cubicBezTo>
                <a:cubicBezTo>
                  <a:pt x="218" y="593"/>
                  <a:pt x="219" y="591"/>
                  <a:pt x="220" y="589"/>
                </a:cubicBezTo>
                <a:cubicBezTo>
                  <a:pt x="221" y="587"/>
                  <a:pt x="221" y="585"/>
                  <a:pt x="222" y="583"/>
                </a:cubicBezTo>
                <a:cubicBezTo>
                  <a:pt x="223" y="582"/>
                  <a:pt x="224" y="581"/>
                  <a:pt x="224" y="581"/>
                </a:cubicBezTo>
                <a:cubicBezTo>
                  <a:pt x="224" y="581"/>
                  <a:pt x="225" y="581"/>
                  <a:pt x="225" y="582"/>
                </a:cubicBezTo>
                <a:cubicBezTo>
                  <a:pt x="225" y="583"/>
                  <a:pt x="224" y="585"/>
                  <a:pt x="223" y="588"/>
                </a:cubicBezTo>
                <a:cubicBezTo>
                  <a:pt x="223" y="590"/>
                  <a:pt x="222" y="592"/>
                  <a:pt x="222" y="593"/>
                </a:cubicBezTo>
                <a:cubicBezTo>
                  <a:pt x="222" y="595"/>
                  <a:pt x="222" y="595"/>
                  <a:pt x="223" y="595"/>
                </a:cubicBezTo>
                <a:cubicBezTo>
                  <a:pt x="224" y="595"/>
                  <a:pt x="224" y="596"/>
                  <a:pt x="224" y="597"/>
                </a:cubicBezTo>
                <a:cubicBezTo>
                  <a:pt x="224" y="598"/>
                  <a:pt x="224" y="598"/>
                  <a:pt x="223" y="598"/>
                </a:cubicBezTo>
                <a:lnTo>
                  <a:pt x="221" y="598"/>
                </a:lnTo>
                <a:cubicBezTo>
                  <a:pt x="221" y="598"/>
                  <a:pt x="220" y="598"/>
                  <a:pt x="219" y="599"/>
                </a:cubicBezTo>
                <a:cubicBezTo>
                  <a:pt x="218" y="600"/>
                  <a:pt x="218" y="601"/>
                  <a:pt x="218" y="603"/>
                </a:cubicBezTo>
                <a:cubicBezTo>
                  <a:pt x="217" y="604"/>
                  <a:pt x="217" y="605"/>
                  <a:pt x="217" y="606"/>
                </a:cubicBezTo>
                <a:cubicBezTo>
                  <a:pt x="217" y="607"/>
                  <a:pt x="217" y="608"/>
                  <a:pt x="218" y="609"/>
                </a:cubicBezTo>
                <a:lnTo>
                  <a:pt x="218" y="609"/>
                </a:lnTo>
                <a:cubicBezTo>
                  <a:pt x="218" y="609"/>
                  <a:pt x="218" y="608"/>
                  <a:pt x="218" y="608"/>
                </a:cubicBezTo>
                <a:cubicBezTo>
                  <a:pt x="218" y="607"/>
                  <a:pt x="219" y="607"/>
                  <a:pt x="219" y="606"/>
                </a:cubicBezTo>
                <a:cubicBezTo>
                  <a:pt x="220" y="606"/>
                  <a:pt x="220" y="607"/>
                  <a:pt x="220" y="607"/>
                </a:cubicBezTo>
                <a:cubicBezTo>
                  <a:pt x="220" y="608"/>
                  <a:pt x="220" y="609"/>
                  <a:pt x="219" y="610"/>
                </a:cubicBezTo>
                <a:cubicBezTo>
                  <a:pt x="218" y="611"/>
                  <a:pt x="218" y="612"/>
                  <a:pt x="217" y="612"/>
                </a:cubicBezTo>
                <a:lnTo>
                  <a:pt x="216" y="612"/>
                </a:lnTo>
                <a:cubicBezTo>
                  <a:pt x="215" y="612"/>
                  <a:pt x="215" y="612"/>
                  <a:pt x="215" y="612"/>
                </a:cubicBezTo>
                <a:lnTo>
                  <a:pt x="216" y="616"/>
                </a:lnTo>
                <a:cubicBezTo>
                  <a:pt x="216" y="617"/>
                  <a:pt x="215" y="617"/>
                  <a:pt x="215" y="617"/>
                </a:cubicBezTo>
                <a:lnTo>
                  <a:pt x="213" y="616"/>
                </a:lnTo>
                <a:cubicBezTo>
                  <a:pt x="213" y="616"/>
                  <a:pt x="213" y="616"/>
                  <a:pt x="213" y="616"/>
                </a:cubicBezTo>
                <a:cubicBezTo>
                  <a:pt x="213" y="617"/>
                  <a:pt x="213" y="617"/>
                  <a:pt x="213" y="618"/>
                </a:cubicBezTo>
                <a:cubicBezTo>
                  <a:pt x="214" y="619"/>
                  <a:pt x="214" y="619"/>
                  <a:pt x="214" y="620"/>
                </a:cubicBezTo>
                <a:cubicBezTo>
                  <a:pt x="214" y="621"/>
                  <a:pt x="213" y="621"/>
                  <a:pt x="213" y="621"/>
                </a:cubicBezTo>
                <a:cubicBezTo>
                  <a:pt x="212" y="621"/>
                  <a:pt x="211" y="622"/>
                  <a:pt x="211" y="625"/>
                </a:cubicBezTo>
                <a:lnTo>
                  <a:pt x="212" y="626"/>
                </a:lnTo>
                <a:cubicBezTo>
                  <a:pt x="212" y="627"/>
                  <a:pt x="211" y="627"/>
                  <a:pt x="211" y="627"/>
                </a:cubicBezTo>
                <a:cubicBezTo>
                  <a:pt x="210" y="627"/>
                  <a:pt x="209" y="628"/>
                  <a:pt x="208" y="630"/>
                </a:cubicBezTo>
                <a:cubicBezTo>
                  <a:pt x="206" y="635"/>
                  <a:pt x="205" y="640"/>
                  <a:pt x="205" y="645"/>
                </a:cubicBezTo>
                <a:cubicBezTo>
                  <a:pt x="205" y="647"/>
                  <a:pt x="205" y="649"/>
                  <a:pt x="206" y="650"/>
                </a:cubicBezTo>
                <a:cubicBezTo>
                  <a:pt x="207" y="651"/>
                  <a:pt x="207" y="651"/>
                  <a:pt x="208" y="651"/>
                </a:cubicBezTo>
                <a:cubicBezTo>
                  <a:pt x="208" y="651"/>
                  <a:pt x="208" y="650"/>
                  <a:pt x="208" y="648"/>
                </a:cubicBezTo>
                <a:lnTo>
                  <a:pt x="208" y="646"/>
                </a:lnTo>
                <a:cubicBezTo>
                  <a:pt x="208" y="645"/>
                  <a:pt x="208" y="644"/>
                  <a:pt x="208" y="644"/>
                </a:cubicBezTo>
                <a:cubicBezTo>
                  <a:pt x="208" y="644"/>
                  <a:pt x="209" y="645"/>
                  <a:pt x="210" y="645"/>
                </a:cubicBezTo>
                <a:cubicBezTo>
                  <a:pt x="211" y="646"/>
                  <a:pt x="211" y="647"/>
                  <a:pt x="212" y="647"/>
                </a:cubicBezTo>
                <a:cubicBezTo>
                  <a:pt x="212" y="647"/>
                  <a:pt x="213" y="648"/>
                  <a:pt x="213" y="648"/>
                </a:cubicBezTo>
                <a:lnTo>
                  <a:pt x="214" y="647"/>
                </a:lnTo>
                <a:lnTo>
                  <a:pt x="214" y="647"/>
                </a:lnTo>
                <a:cubicBezTo>
                  <a:pt x="214" y="646"/>
                  <a:pt x="214" y="646"/>
                  <a:pt x="213" y="646"/>
                </a:cubicBezTo>
                <a:cubicBezTo>
                  <a:pt x="212" y="646"/>
                  <a:pt x="212" y="645"/>
                  <a:pt x="212" y="644"/>
                </a:cubicBezTo>
                <a:cubicBezTo>
                  <a:pt x="213" y="643"/>
                  <a:pt x="213" y="643"/>
                  <a:pt x="213" y="643"/>
                </a:cubicBezTo>
                <a:cubicBezTo>
                  <a:pt x="214" y="643"/>
                  <a:pt x="214" y="643"/>
                  <a:pt x="215" y="644"/>
                </a:cubicBezTo>
                <a:cubicBezTo>
                  <a:pt x="216" y="645"/>
                  <a:pt x="216" y="646"/>
                  <a:pt x="216" y="647"/>
                </a:cubicBezTo>
                <a:cubicBezTo>
                  <a:pt x="216" y="647"/>
                  <a:pt x="216" y="648"/>
                  <a:pt x="216" y="649"/>
                </a:cubicBezTo>
                <a:cubicBezTo>
                  <a:pt x="215" y="651"/>
                  <a:pt x="214" y="651"/>
                  <a:pt x="214" y="651"/>
                </a:cubicBezTo>
                <a:lnTo>
                  <a:pt x="213" y="651"/>
                </a:lnTo>
                <a:cubicBezTo>
                  <a:pt x="212" y="651"/>
                  <a:pt x="212" y="651"/>
                  <a:pt x="212" y="653"/>
                </a:cubicBezTo>
                <a:lnTo>
                  <a:pt x="212" y="654"/>
                </a:lnTo>
                <a:cubicBezTo>
                  <a:pt x="212" y="656"/>
                  <a:pt x="211" y="656"/>
                  <a:pt x="210" y="656"/>
                </a:cubicBezTo>
                <a:cubicBezTo>
                  <a:pt x="209" y="656"/>
                  <a:pt x="208" y="655"/>
                  <a:pt x="206" y="653"/>
                </a:cubicBezTo>
                <a:cubicBezTo>
                  <a:pt x="205" y="651"/>
                  <a:pt x="204" y="650"/>
                  <a:pt x="203" y="650"/>
                </a:cubicBezTo>
                <a:cubicBezTo>
                  <a:pt x="202" y="650"/>
                  <a:pt x="202" y="651"/>
                  <a:pt x="201" y="654"/>
                </a:cubicBezTo>
                <a:cubicBezTo>
                  <a:pt x="201" y="656"/>
                  <a:pt x="201" y="658"/>
                  <a:pt x="199" y="659"/>
                </a:cubicBezTo>
                <a:cubicBezTo>
                  <a:pt x="198" y="661"/>
                  <a:pt x="198" y="661"/>
                  <a:pt x="198" y="662"/>
                </a:cubicBezTo>
                <a:cubicBezTo>
                  <a:pt x="198" y="662"/>
                  <a:pt x="198" y="662"/>
                  <a:pt x="198" y="662"/>
                </a:cubicBezTo>
                <a:lnTo>
                  <a:pt x="198" y="663"/>
                </a:lnTo>
                <a:cubicBezTo>
                  <a:pt x="198" y="664"/>
                  <a:pt x="197" y="667"/>
                  <a:pt x="196" y="673"/>
                </a:cubicBezTo>
                <a:lnTo>
                  <a:pt x="192" y="686"/>
                </a:lnTo>
                <a:cubicBezTo>
                  <a:pt x="192" y="686"/>
                  <a:pt x="194" y="682"/>
                  <a:pt x="197" y="674"/>
                </a:cubicBezTo>
                <a:cubicBezTo>
                  <a:pt x="198" y="670"/>
                  <a:pt x="200" y="667"/>
                  <a:pt x="201" y="665"/>
                </a:cubicBezTo>
                <a:lnTo>
                  <a:pt x="204" y="662"/>
                </a:lnTo>
                <a:lnTo>
                  <a:pt x="205" y="662"/>
                </a:lnTo>
                <a:lnTo>
                  <a:pt x="205" y="661"/>
                </a:lnTo>
                <a:cubicBezTo>
                  <a:pt x="204" y="660"/>
                  <a:pt x="204" y="659"/>
                  <a:pt x="204" y="659"/>
                </a:cubicBezTo>
                <a:cubicBezTo>
                  <a:pt x="204" y="659"/>
                  <a:pt x="204" y="658"/>
                  <a:pt x="205" y="658"/>
                </a:cubicBezTo>
                <a:cubicBezTo>
                  <a:pt x="206" y="658"/>
                  <a:pt x="207" y="659"/>
                  <a:pt x="207" y="660"/>
                </a:cubicBezTo>
                <a:cubicBezTo>
                  <a:pt x="207" y="661"/>
                  <a:pt x="207" y="662"/>
                  <a:pt x="208" y="662"/>
                </a:cubicBezTo>
                <a:cubicBezTo>
                  <a:pt x="208" y="662"/>
                  <a:pt x="208" y="661"/>
                  <a:pt x="209" y="660"/>
                </a:cubicBezTo>
                <a:cubicBezTo>
                  <a:pt x="209" y="659"/>
                  <a:pt x="210" y="658"/>
                  <a:pt x="210" y="658"/>
                </a:cubicBezTo>
                <a:lnTo>
                  <a:pt x="204" y="676"/>
                </a:lnTo>
                <a:cubicBezTo>
                  <a:pt x="202" y="684"/>
                  <a:pt x="200" y="688"/>
                  <a:pt x="199" y="688"/>
                </a:cubicBezTo>
                <a:cubicBezTo>
                  <a:pt x="198" y="688"/>
                  <a:pt x="198" y="689"/>
                  <a:pt x="198" y="690"/>
                </a:cubicBezTo>
                <a:lnTo>
                  <a:pt x="198" y="691"/>
                </a:lnTo>
                <a:cubicBezTo>
                  <a:pt x="198" y="694"/>
                  <a:pt x="197" y="700"/>
                  <a:pt x="194" y="708"/>
                </a:cubicBezTo>
                <a:cubicBezTo>
                  <a:pt x="191" y="718"/>
                  <a:pt x="188" y="722"/>
                  <a:pt x="187" y="722"/>
                </a:cubicBezTo>
                <a:lnTo>
                  <a:pt x="186" y="721"/>
                </a:lnTo>
                <a:lnTo>
                  <a:pt x="186" y="723"/>
                </a:lnTo>
                <a:cubicBezTo>
                  <a:pt x="186" y="726"/>
                  <a:pt x="185" y="734"/>
                  <a:pt x="181" y="744"/>
                </a:cubicBezTo>
                <a:cubicBezTo>
                  <a:pt x="176" y="759"/>
                  <a:pt x="173" y="767"/>
                  <a:pt x="173" y="768"/>
                </a:cubicBezTo>
                <a:cubicBezTo>
                  <a:pt x="172" y="772"/>
                  <a:pt x="171" y="774"/>
                  <a:pt x="170" y="774"/>
                </a:cubicBezTo>
                <a:cubicBezTo>
                  <a:pt x="169" y="774"/>
                  <a:pt x="169" y="775"/>
                  <a:pt x="169" y="776"/>
                </a:cubicBezTo>
                <a:cubicBezTo>
                  <a:pt x="169" y="778"/>
                  <a:pt x="168" y="780"/>
                  <a:pt x="167" y="784"/>
                </a:cubicBezTo>
                <a:cubicBezTo>
                  <a:pt x="165" y="788"/>
                  <a:pt x="163" y="795"/>
                  <a:pt x="161" y="803"/>
                </a:cubicBezTo>
                <a:cubicBezTo>
                  <a:pt x="158" y="811"/>
                  <a:pt x="155" y="819"/>
                  <a:pt x="151" y="830"/>
                </a:cubicBezTo>
                <a:cubicBezTo>
                  <a:pt x="149" y="833"/>
                  <a:pt x="149" y="835"/>
                  <a:pt x="149" y="837"/>
                </a:cubicBezTo>
                <a:cubicBezTo>
                  <a:pt x="149" y="838"/>
                  <a:pt x="149" y="839"/>
                  <a:pt x="149" y="840"/>
                </a:cubicBezTo>
                <a:cubicBezTo>
                  <a:pt x="149" y="840"/>
                  <a:pt x="150" y="841"/>
                  <a:pt x="151" y="843"/>
                </a:cubicBezTo>
                <a:lnTo>
                  <a:pt x="149" y="843"/>
                </a:lnTo>
                <a:cubicBezTo>
                  <a:pt x="148" y="843"/>
                  <a:pt x="146" y="847"/>
                  <a:pt x="143" y="855"/>
                </a:cubicBezTo>
                <a:lnTo>
                  <a:pt x="134" y="882"/>
                </a:lnTo>
                <a:cubicBezTo>
                  <a:pt x="128" y="899"/>
                  <a:pt x="124" y="915"/>
                  <a:pt x="120" y="930"/>
                </a:cubicBezTo>
                <a:cubicBezTo>
                  <a:pt x="116" y="945"/>
                  <a:pt x="114" y="954"/>
                  <a:pt x="114" y="958"/>
                </a:cubicBezTo>
                <a:cubicBezTo>
                  <a:pt x="114" y="960"/>
                  <a:pt x="114" y="961"/>
                  <a:pt x="115" y="961"/>
                </a:cubicBezTo>
                <a:cubicBezTo>
                  <a:pt x="115" y="961"/>
                  <a:pt x="115" y="962"/>
                  <a:pt x="115" y="962"/>
                </a:cubicBezTo>
                <a:cubicBezTo>
                  <a:pt x="115" y="963"/>
                  <a:pt x="114" y="964"/>
                  <a:pt x="113" y="965"/>
                </a:cubicBezTo>
                <a:cubicBezTo>
                  <a:pt x="112" y="967"/>
                  <a:pt x="111" y="968"/>
                  <a:pt x="111" y="969"/>
                </a:cubicBezTo>
                <a:cubicBezTo>
                  <a:pt x="111" y="970"/>
                  <a:pt x="112" y="971"/>
                  <a:pt x="114" y="971"/>
                </a:cubicBezTo>
                <a:cubicBezTo>
                  <a:pt x="114" y="971"/>
                  <a:pt x="115" y="970"/>
                  <a:pt x="115" y="967"/>
                </a:cubicBezTo>
                <a:cubicBezTo>
                  <a:pt x="115" y="966"/>
                  <a:pt x="116" y="965"/>
                  <a:pt x="119" y="963"/>
                </a:cubicBezTo>
                <a:cubicBezTo>
                  <a:pt x="120" y="963"/>
                  <a:pt x="121" y="963"/>
                  <a:pt x="122" y="963"/>
                </a:cubicBezTo>
                <a:cubicBezTo>
                  <a:pt x="122" y="962"/>
                  <a:pt x="122" y="961"/>
                  <a:pt x="123" y="960"/>
                </a:cubicBezTo>
                <a:cubicBezTo>
                  <a:pt x="123" y="958"/>
                  <a:pt x="124" y="958"/>
                  <a:pt x="125" y="957"/>
                </a:cubicBezTo>
                <a:cubicBezTo>
                  <a:pt x="126" y="956"/>
                  <a:pt x="127" y="955"/>
                  <a:pt x="127" y="954"/>
                </a:cubicBezTo>
                <a:lnTo>
                  <a:pt x="126" y="952"/>
                </a:lnTo>
                <a:cubicBezTo>
                  <a:pt x="126" y="952"/>
                  <a:pt x="127" y="952"/>
                  <a:pt x="128" y="953"/>
                </a:cubicBezTo>
                <a:cubicBezTo>
                  <a:pt x="129" y="953"/>
                  <a:pt x="129" y="954"/>
                  <a:pt x="129" y="955"/>
                </a:cubicBezTo>
                <a:lnTo>
                  <a:pt x="128" y="962"/>
                </a:lnTo>
                <a:cubicBezTo>
                  <a:pt x="126" y="975"/>
                  <a:pt x="122" y="987"/>
                  <a:pt x="117" y="997"/>
                </a:cubicBezTo>
                <a:cubicBezTo>
                  <a:pt x="112" y="1007"/>
                  <a:pt x="107" y="1013"/>
                  <a:pt x="103" y="1015"/>
                </a:cubicBezTo>
                <a:close/>
                <a:moveTo>
                  <a:pt x="324" y="56"/>
                </a:moveTo>
                <a:lnTo>
                  <a:pt x="333" y="55"/>
                </a:lnTo>
                <a:cubicBezTo>
                  <a:pt x="334" y="55"/>
                  <a:pt x="334" y="55"/>
                  <a:pt x="334" y="54"/>
                </a:cubicBezTo>
                <a:cubicBezTo>
                  <a:pt x="334" y="54"/>
                  <a:pt x="334" y="53"/>
                  <a:pt x="333" y="52"/>
                </a:cubicBezTo>
                <a:cubicBezTo>
                  <a:pt x="332" y="51"/>
                  <a:pt x="332" y="51"/>
                  <a:pt x="331" y="51"/>
                </a:cubicBezTo>
                <a:cubicBezTo>
                  <a:pt x="330" y="51"/>
                  <a:pt x="328" y="52"/>
                  <a:pt x="326" y="53"/>
                </a:cubicBezTo>
                <a:cubicBezTo>
                  <a:pt x="324" y="55"/>
                  <a:pt x="323" y="56"/>
                  <a:pt x="323" y="56"/>
                </a:cubicBezTo>
                <a:lnTo>
                  <a:pt x="324" y="56"/>
                </a:lnTo>
                <a:close/>
                <a:moveTo>
                  <a:pt x="369" y="36"/>
                </a:moveTo>
                <a:cubicBezTo>
                  <a:pt x="369" y="36"/>
                  <a:pt x="369" y="36"/>
                  <a:pt x="369" y="34"/>
                </a:cubicBezTo>
                <a:cubicBezTo>
                  <a:pt x="369" y="33"/>
                  <a:pt x="369" y="32"/>
                  <a:pt x="367" y="32"/>
                </a:cubicBezTo>
                <a:cubicBezTo>
                  <a:pt x="366" y="32"/>
                  <a:pt x="366" y="33"/>
                  <a:pt x="366" y="34"/>
                </a:cubicBezTo>
                <a:cubicBezTo>
                  <a:pt x="366" y="34"/>
                  <a:pt x="366" y="34"/>
                  <a:pt x="367" y="35"/>
                </a:cubicBezTo>
                <a:cubicBezTo>
                  <a:pt x="367" y="35"/>
                  <a:pt x="367" y="36"/>
                  <a:pt x="367" y="36"/>
                </a:cubicBezTo>
                <a:cubicBezTo>
                  <a:pt x="367" y="36"/>
                  <a:pt x="368" y="36"/>
                  <a:pt x="369" y="36"/>
                </a:cubicBezTo>
                <a:close/>
                <a:moveTo>
                  <a:pt x="322" y="39"/>
                </a:moveTo>
                <a:cubicBezTo>
                  <a:pt x="322" y="39"/>
                  <a:pt x="322" y="38"/>
                  <a:pt x="322" y="38"/>
                </a:cubicBezTo>
                <a:lnTo>
                  <a:pt x="322" y="34"/>
                </a:lnTo>
                <a:cubicBezTo>
                  <a:pt x="321" y="32"/>
                  <a:pt x="320" y="32"/>
                  <a:pt x="320" y="32"/>
                </a:cubicBezTo>
                <a:cubicBezTo>
                  <a:pt x="319" y="32"/>
                  <a:pt x="319" y="32"/>
                  <a:pt x="319" y="33"/>
                </a:cubicBezTo>
                <a:cubicBezTo>
                  <a:pt x="319" y="35"/>
                  <a:pt x="320" y="36"/>
                  <a:pt x="320" y="38"/>
                </a:cubicBezTo>
                <a:lnTo>
                  <a:pt x="322" y="39"/>
                </a:lnTo>
                <a:close/>
                <a:moveTo>
                  <a:pt x="347" y="31"/>
                </a:moveTo>
                <a:cubicBezTo>
                  <a:pt x="348" y="31"/>
                  <a:pt x="350" y="30"/>
                  <a:pt x="352" y="29"/>
                </a:cubicBezTo>
                <a:cubicBezTo>
                  <a:pt x="353" y="28"/>
                  <a:pt x="353" y="27"/>
                  <a:pt x="353" y="27"/>
                </a:cubicBezTo>
                <a:cubicBezTo>
                  <a:pt x="353" y="27"/>
                  <a:pt x="353" y="27"/>
                  <a:pt x="353" y="27"/>
                </a:cubicBezTo>
                <a:cubicBezTo>
                  <a:pt x="352" y="27"/>
                  <a:pt x="352" y="27"/>
                  <a:pt x="351" y="27"/>
                </a:cubicBezTo>
                <a:cubicBezTo>
                  <a:pt x="350" y="27"/>
                  <a:pt x="349" y="28"/>
                  <a:pt x="348" y="28"/>
                </a:cubicBezTo>
                <a:cubicBezTo>
                  <a:pt x="347" y="29"/>
                  <a:pt x="346" y="30"/>
                  <a:pt x="346" y="30"/>
                </a:cubicBezTo>
                <a:cubicBezTo>
                  <a:pt x="346" y="30"/>
                  <a:pt x="347" y="31"/>
                  <a:pt x="347" y="31"/>
                </a:cubicBezTo>
                <a:close/>
                <a:moveTo>
                  <a:pt x="325" y="36"/>
                </a:moveTo>
                <a:cubicBezTo>
                  <a:pt x="326" y="36"/>
                  <a:pt x="326" y="36"/>
                  <a:pt x="327" y="34"/>
                </a:cubicBezTo>
                <a:cubicBezTo>
                  <a:pt x="327" y="34"/>
                  <a:pt x="328" y="33"/>
                  <a:pt x="329" y="33"/>
                </a:cubicBezTo>
                <a:lnTo>
                  <a:pt x="332" y="34"/>
                </a:lnTo>
                <a:cubicBezTo>
                  <a:pt x="332" y="34"/>
                  <a:pt x="332" y="34"/>
                  <a:pt x="333" y="33"/>
                </a:cubicBezTo>
                <a:cubicBezTo>
                  <a:pt x="333" y="32"/>
                  <a:pt x="337" y="30"/>
                  <a:pt x="345" y="26"/>
                </a:cubicBezTo>
                <a:cubicBezTo>
                  <a:pt x="352" y="22"/>
                  <a:pt x="356" y="19"/>
                  <a:pt x="356" y="18"/>
                </a:cubicBezTo>
                <a:lnTo>
                  <a:pt x="355" y="15"/>
                </a:lnTo>
                <a:cubicBezTo>
                  <a:pt x="355" y="15"/>
                  <a:pt x="354" y="15"/>
                  <a:pt x="354" y="16"/>
                </a:cubicBezTo>
                <a:cubicBezTo>
                  <a:pt x="354" y="17"/>
                  <a:pt x="353" y="18"/>
                  <a:pt x="353" y="18"/>
                </a:cubicBezTo>
                <a:cubicBezTo>
                  <a:pt x="353" y="18"/>
                  <a:pt x="352" y="17"/>
                  <a:pt x="352" y="16"/>
                </a:cubicBezTo>
                <a:cubicBezTo>
                  <a:pt x="351" y="15"/>
                  <a:pt x="350" y="15"/>
                  <a:pt x="350" y="15"/>
                </a:cubicBezTo>
                <a:cubicBezTo>
                  <a:pt x="350" y="15"/>
                  <a:pt x="350" y="16"/>
                  <a:pt x="350" y="17"/>
                </a:cubicBezTo>
                <a:cubicBezTo>
                  <a:pt x="350" y="19"/>
                  <a:pt x="350" y="20"/>
                  <a:pt x="349" y="20"/>
                </a:cubicBezTo>
                <a:cubicBezTo>
                  <a:pt x="349" y="20"/>
                  <a:pt x="348" y="20"/>
                  <a:pt x="348" y="18"/>
                </a:cubicBezTo>
                <a:cubicBezTo>
                  <a:pt x="347" y="17"/>
                  <a:pt x="347" y="16"/>
                  <a:pt x="346" y="16"/>
                </a:cubicBezTo>
                <a:cubicBezTo>
                  <a:pt x="346" y="16"/>
                  <a:pt x="346" y="17"/>
                  <a:pt x="346" y="19"/>
                </a:cubicBezTo>
                <a:cubicBezTo>
                  <a:pt x="346" y="21"/>
                  <a:pt x="346" y="22"/>
                  <a:pt x="345" y="22"/>
                </a:cubicBezTo>
                <a:cubicBezTo>
                  <a:pt x="345" y="22"/>
                  <a:pt x="345" y="22"/>
                  <a:pt x="344" y="20"/>
                </a:cubicBezTo>
                <a:cubicBezTo>
                  <a:pt x="343" y="19"/>
                  <a:pt x="343" y="18"/>
                  <a:pt x="343" y="18"/>
                </a:cubicBezTo>
                <a:cubicBezTo>
                  <a:pt x="342" y="18"/>
                  <a:pt x="342" y="19"/>
                  <a:pt x="342" y="21"/>
                </a:cubicBezTo>
                <a:cubicBezTo>
                  <a:pt x="342" y="22"/>
                  <a:pt x="342" y="23"/>
                  <a:pt x="340" y="24"/>
                </a:cubicBezTo>
                <a:cubicBezTo>
                  <a:pt x="339" y="25"/>
                  <a:pt x="338" y="25"/>
                  <a:pt x="336" y="25"/>
                </a:cubicBezTo>
                <a:cubicBezTo>
                  <a:pt x="335" y="25"/>
                  <a:pt x="334" y="25"/>
                  <a:pt x="333" y="24"/>
                </a:cubicBezTo>
                <a:lnTo>
                  <a:pt x="333" y="23"/>
                </a:lnTo>
                <a:cubicBezTo>
                  <a:pt x="333" y="23"/>
                  <a:pt x="332" y="24"/>
                  <a:pt x="332" y="26"/>
                </a:cubicBezTo>
                <a:cubicBezTo>
                  <a:pt x="332" y="28"/>
                  <a:pt x="332" y="29"/>
                  <a:pt x="332" y="29"/>
                </a:cubicBezTo>
                <a:cubicBezTo>
                  <a:pt x="332" y="29"/>
                  <a:pt x="331" y="28"/>
                  <a:pt x="331" y="27"/>
                </a:cubicBezTo>
                <a:cubicBezTo>
                  <a:pt x="330" y="26"/>
                  <a:pt x="329" y="25"/>
                  <a:pt x="329" y="25"/>
                </a:cubicBezTo>
                <a:cubicBezTo>
                  <a:pt x="329" y="25"/>
                  <a:pt x="329" y="26"/>
                  <a:pt x="329" y="27"/>
                </a:cubicBezTo>
                <a:cubicBezTo>
                  <a:pt x="329" y="29"/>
                  <a:pt x="328" y="30"/>
                  <a:pt x="328" y="30"/>
                </a:cubicBezTo>
                <a:cubicBezTo>
                  <a:pt x="328" y="30"/>
                  <a:pt x="327" y="29"/>
                  <a:pt x="327" y="29"/>
                </a:cubicBezTo>
                <a:cubicBezTo>
                  <a:pt x="327" y="28"/>
                  <a:pt x="326" y="27"/>
                  <a:pt x="325" y="27"/>
                </a:cubicBezTo>
                <a:cubicBezTo>
                  <a:pt x="325" y="27"/>
                  <a:pt x="325" y="28"/>
                  <a:pt x="324" y="30"/>
                </a:cubicBezTo>
                <a:cubicBezTo>
                  <a:pt x="324" y="31"/>
                  <a:pt x="324" y="33"/>
                  <a:pt x="324" y="34"/>
                </a:cubicBezTo>
                <a:cubicBezTo>
                  <a:pt x="324" y="35"/>
                  <a:pt x="324" y="36"/>
                  <a:pt x="325" y="36"/>
                </a:cubicBezTo>
                <a:close/>
                <a:moveTo>
                  <a:pt x="355" y="27"/>
                </a:moveTo>
                <a:lnTo>
                  <a:pt x="373" y="22"/>
                </a:lnTo>
                <a:cubicBezTo>
                  <a:pt x="378" y="21"/>
                  <a:pt x="381" y="20"/>
                  <a:pt x="381" y="19"/>
                </a:cubicBezTo>
                <a:cubicBezTo>
                  <a:pt x="381" y="19"/>
                  <a:pt x="380" y="18"/>
                  <a:pt x="379" y="18"/>
                </a:cubicBezTo>
                <a:cubicBezTo>
                  <a:pt x="376" y="18"/>
                  <a:pt x="370" y="20"/>
                  <a:pt x="362" y="23"/>
                </a:cubicBezTo>
                <a:cubicBezTo>
                  <a:pt x="358" y="24"/>
                  <a:pt x="355" y="26"/>
                  <a:pt x="355" y="27"/>
                </a:cubicBezTo>
                <a:close/>
                <a:moveTo>
                  <a:pt x="380" y="29"/>
                </a:moveTo>
                <a:cubicBezTo>
                  <a:pt x="380" y="29"/>
                  <a:pt x="382" y="28"/>
                  <a:pt x="383" y="27"/>
                </a:cubicBezTo>
                <a:cubicBezTo>
                  <a:pt x="385" y="27"/>
                  <a:pt x="386" y="26"/>
                  <a:pt x="386" y="25"/>
                </a:cubicBezTo>
                <a:cubicBezTo>
                  <a:pt x="386" y="24"/>
                  <a:pt x="385" y="24"/>
                  <a:pt x="383" y="23"/>
                </a:cubicBezTo>
                <a:cubicBezTo>
                  <a:pt x="383" y="23"/>
                  <a:pt x="382" y="24"/>
                  <a:pt x="380" y="24"/>
                </a:cubicBezTo>
                <a:cubicBezTo>
                  <a:pt x="379" y="25"/>
                  <a:pt x="378" y="26"/>
                  <a:pt x="378" y="27"/>
                </a:cubicBezTo>
                <a:lnTo>
                  <a:pt x="379" y="27"/>
                </a:lnTo>
                <a:cubicBezTo>
                  <a:pt x="379" y="28"/>
                  <a:pt x="379" y="29"/>
                  <a:pt x="380" y="29"/>
                </a:cubicBezTo>
                <a:close/>
                <a:moveTo>
                  <a:pt x="362" y="18"/>
                </a:moveTo>
                <a:cubicBezTo>
                  <a:pt x="363" y="18"/>
                  <a:pt x="364" y="17"/>
                  <a:pt x="365" y="16"/>
                </a:cubicBezTo>
                <a:cubicBezTo>
                  <a:pt x="365" y="14"/>
                  <a:pt x="368" y="14"/>
                  <a:pt x="371" y="13"/>
                </a:cubicBezTo>
                <a:cubicBezTo>
                  <a:pt x="374" y="13"/>
                  <a:pt x="375" y="12"/>
                  <a:pt x="375" y="11"/>
                </a:cubicBezTo>
                <a:lnTo>
                  <a:pt x="375" y="10"/>
                </a:lnTo>
                <a:cubicBezTo>
                  <a:pt x="375" y="9"/>
                  <a:pt x="377" y="9"/>
                  <a:pt x="379" y="9"/>
                </a:cubicBezTo>
                <a:lnTo>
                  <a:pt x="386" y="10"/>
                </a:lnTo>
                <a:lnTo>
                  <a:pt x="381" y="8"/>
                </a:lnTo>
                <a:cubicBezTo>
                  <a:pt x="379" y="7"/>
                  <a:pt x="377" y="6"/>
                  <a:pt x="376" y="6"/>
                </a:cubicBezTo>
                <a:cubicBezTo>
                  <a:pt x="375" y="6"/>
                  <a:pt x="374" y="7"/>
                  <a:pt x="373" y="8"/>
                </a:cubicBezTo>
                <a:cubicBezTo>
                  <a:pt x="372" y="9"/>
                  <a:pt x="371" y="10"/>
                  <a:pt x="370" y="10"/>
                </a:cubicBezTo>
                <a:lnTo>
                  <a:pt x="367" y="9"/>
                </a:lnTo>
                <a:cubicBezTo>
                  <a:pt x="366" y="9"/>
                  <a:pt x="365" y="10"/>
                  <a:pt x="365" y="11"/>
                </a:cubicBezTo>
                <a:cubicBezTo>
                  <a:pt x="365" y="12"/>
                  <a:pt x="365" y="12"/>
                  <a:pt x="363" y="12"/>
                </a:cubicBezTo>
                <a:lnTo>
                  <a:pt x="361" y="12"/>
                </a:lnTo>
                <a:cubicBezTo>
                  <a:pt x="360" y="12"/>
                  <a:pt x="358" y="13"/>
                  <a:pt x="358" y="14"/>
                </a:cubicBezTo>
                <a:lnTo>
                  <a:pt x="359" y="15"/>
                </a:lnTo>
                <a:cubicBezTo>
                  <a:pt x="360" y="17"/>
                  <a:pt x="361" y="18"/>
                  <a:pt x="362" y="18"/>
                </a:cubicBezTo>
                <a:close/>
                <a:moveTo>
                  <a:pt x="194" y="656"/>
                </a:moveTo>
                <a:cubicBezTo>
                  <a:pt x="194" y="656"/>
                  <a:pt x="195" y="655"/>
                  <a:pt x="196" y="654"/>
                </a:cubicBezTo>
                <a:cubicBezTo>
                  <a:pt x="197" y="652"/>
                  <a:pt x="198" y="650"/>
                  <a:pt x="198" y="649"/>
                </a:cubicBezTo>
                <a:cubicBezTo>
                  <a:pt x="198" y="648"/>
                  <a:pt x="197" y="648"/>
                  <a:pt x="197" y="648"/>
                </a:cubicBezTo>
                <a:cubicBezTo>
                  <a:pt x="197" y="648"/>
                  <a:pt x="196" y="649"/>
                  <a:pt x="195" y="651"/>
                </a:cubicBezTo>
                <a:cubicBezTo>
                  <a:pt x="194" y="652"/>
                  <a:pt x="194" y="654"/>
                  <a:pt x="194" y="655"/>
                </a:cubicBezTo>
                <a:cubicBezTo>
                  <a:pt x="194" y="656"/>
                  <a:pt x="194" y="656"/>
                  <a:pt x="194" y="656"/>
                </a:cubicBezTo>
                <a:close/>
                <a:moveTo>
                  <a:pt x="194" y="570"/>
                </a:moveTo>
                <a:cubicBezTo>
                  <a:pt x="194" y="570"/>
                  <a:pt x="195" y="570"/>
                  <a:pt x="196" y="568"/>
                </a:cubicBezTo>
                <a:cubicBezTo>
                  <a:pt x="197" y="566"/>
                  <a:pt x="198" y="565"/>
                  <a:pt x="198" y="563"/>
                </a:cubicBezTo>
                <a:cubicBezTo>
                  <a:pt x="198" y="563"/>
                  <a:pt x="197" y="563"/>
                  <a:pt x="197" y="563"/>
                </a:cubicBezTo>
                <a:cubicBezTo>
                  <a:pt x="197" y="563"/>
                  <a:pt x="196" y="563"/>
                  <a:pt x="196" y="564"/>
                </a:cubicBezTo>
                <a:cubicBezTo>
                  <a:pt x="195" y="565"/>
                  <a:pt x="194" y="566"/>
                  <a:pt x="194" y="567"/>
                </a:cubicBezTo>
                <a:cubicBezTo>
                  <a:pt x="194" y="568"/>
                  <a:pt x="194" y="568"/>
                  <a:pt x="194" y="569"/>
                </a:cubicBezTo>
                <a:cubicBezTo>
                  <a:pt x="194" y="570"/>
                  <a:pt x="194" y="570"/>
                  <a:pt x="194" y="570"/>
                </a:cubicBezTo>
                <a:close/>
                <a:moveTo>
                  <a:pt x="199" y="559"/>
                </a:moveTo>
                <a:lnTo>
                  <a:pt x="199" y="559"/>
                </a:lnTo>
                <a:cubicBezTo>
                  <a:pt x="199" y="558"/>
                  <a:pt x="199" y="557"/>
                  <a:pt x="198" y="556"/>
                </a:cubicBezTo>
                <a:cubicBezTo>
                  <a:pt x="197" y="555"/>
                  <a:pt x="196" y="555"/>
                  <a:pt x="196" y="555"/>
                </a:cubicBezTo>
                <a:cubicBezTo>
                  <a:pt x="196" y="555"/>
                  <a:pt x="196" y="556"/>
                  <a:pt x="197" y="557"/>
                </a:cubicBezTo>
                <a:cubicBezTo>
                  <a:pt x="198" y="558"/>
                  <a:pt x="198" y="559"/>
                  <a:pt x="198" y="559"/>
                </a:cubicBezTo>
                <a:lnTo>
                  <a:pt x="199" y="559"/>
                </a:lnTo>
                <a:close/>
                <a:moveTo>
                  <a:pt x="219" y="576"/>
                </a:moveTo>
                <a:cubicBezTo>
                  <a:pt x="219" y="576"/>
                  <a:pt x="220" y="576"/>
                  <a:pt x="220" y="574"/>
                </a:cubicBezTo>
                <a:cubicBezTo>
                  <a:pt x="222" y="572"/>
                  <a:pt x="222" y="571"/>
                  <a:pt x="222" y="569"/>
                </a:cubicBezTo>
                <a:cubicBezTo>
                  <a:pt x="222" y="569"/>
                  <a:pt x="222" y="569"/>
                  <a:pt x="222" y="569"/>
                </a:cubicBezTo>
                <a:cubicBezTo>
                  <a:pt x="222" y="569"/>
                  <a:pt x="221" y="569"/>
                  <a:pt x="221" y="570"/>
                </a:cubicBezTo>
                <a:cubicBezTo>
                  <a:pt x="220" y="571"/>
                  <a:pt x="219" y="572"/>
                  <a:pt x="219" y="573"/>
                </a:cubicBezTo>
                <a:cubicBezTo>
                  <a:pt x="219" y="574"/>
                  <a:pt x="218" y="575"/>
                  <a:pt x="218" y="575"/>
                </a:cubicBezTo>
                <a:cubicBezTo>
                  <a:pt x="218" y="576"/>
                  <a:pt x="219" y="576"/>
                  <a:pt x="219" y="576"/>
                </a:cubicBezTo>
                <a:close/>
                <a:moveTo>
                  <a:pt x="223" y="550"/>
                </a:moveTo>
                <a:cubicBezTo>
                  <a:pt x="224" y="550"/>
                  <a:pt x="224" y="548"/>
                  <a:pt x="225" y="545"/>
                </a:cubicBezTo>
                <a:lnTo>
                  <a:pt x="225" y="542"/>
                </a:lnTo>
                <a:cubicBezTo>
                  <a:pt x="225" y="541"/>
                  <a:pt x="225" y="540"/>
                  <a:pt x="224" y="540"/>
                </a:cubicBezTo>
                <a:cubicBezTo>
                  <a:pt x="223" y="540"/>
                  <a:pt x="222" y="542"/>
                  <a:pt x="222" y="545"/>
                </a:cubicBezTo>
                <a:cubicBezTo>
                  <a:pt x="222" y="548"/>
                  <a:pt x="223" y="550"/>
                  <a:pt x="223" y="550"/>
                </a:cubicBezTo>
                <a:close/>
                <a:moveTo>
                  <a:pt x="387" y="78"/>
                </a:moveTo>
                <a:cubicBezTo>
                  <a:pt x="387" y="77"/>
                  <a:pt x="388" y="75"/>
                  <a:pt x="389" y="71"/>
                </a:cubicBezTo>
                <a:cubicBezTo>
                  <a:pt x="389" y="68"/>
                  <a:pt x="390" y="66"/>
                  <a:pt x="390" y="65"/>
                </a:cubicBezTo>
                <a:cubicBezTo>
                  <a:pt x="391" y="64"/>
                  <a:pt x="392" y="61"/>
                  <a:pt x="393" y="55"/>
                </a:cubicBezTo>
                <a:lnTo>
                  <a:pt x="395" y="41"/>
                </a:lnTo>
                <a:cubicBezTo>
                  <a:pt x="395" y="38"/>
                  <a:pt x="394" y="36"/>
                  <a:pt x="394" y="36"/>
                </a:cubicBezTo>
                <a:cubicBezTo>
                  <a:pt x="394" y="36"/>
                  <a:pt x="393" y="37"/>
                  <a:pt x="392" y="39"/>
                </a:cubicBezTo>
                <a:cubicBezTo>
                  <a:pt x="391" y="43"/>
                  <a:pt x="390" y="48"/>
                  <a:pt x="390" y="53"/>
                </a:cubicBezTo>
                <a:cubicBezTo>
                  <a:pt x="390" y="59"/>
                  <a:pt x="389" y="62"/>
                  <a:pt x="389" y="64"/>
                </a:cubicBezTo>
                <a:cubicBezTo>
                  <a:pt x="387" y="68"/>
                  <a:pt x="386" y="72"/>
                  <a:pt x="386" y="76"/>
                </a:cubicBezTo>
                <a:cubicBezTo>
                  <a:pt x="386" y="77"/>
                  <a:pt x="386" y="78"/>
                  <a:pt x="386" y="78"/>
                </a:cubicBezTo>
                <a:lnTo>
                  <a:pt x="387" y="78"/>
                </a:lnTo>
                <a:close/>
                <a:moveTo>
                  <a:pt x="372" y="184"/>
                </a:moveTo>
                <a:cubicBezTo>
                  <a:pt x="372" y="184"/>
                  <a:pt x="373" y="183"/>
                  <a:pt x="374" y="182"/>
                </a:cubicBezTo>
                <a:lnTo>
                  <a:pt x="374" y="181"/>
                </a:lnTo>
                <a:cubicBezTo>
                  <a:pt x="374" y="180"/>
                  <a:pt x="374" y="179"/>
                  <a:pt x="373" y="179"/>
                </a:cubicBezTo>
                <a:cubicBezTo>
                  <a:pt x="372" y="179"/>
                  <a:pt x="371" y="180"/>
                  <a:pt x="371" y="182"/>
                </a:cubicBezTo>
                <a:cubicBezTo>
                  <a:pt x="371" y="183"/>
                  <a:pt x="372" y="184"/>
                  <a:pt x="372" y="184"/>
                </a:cubicBezTo>
                <a:close/>
                <a:moveTo>
                  <a:pt x="303" y="411"/>
                </a:moveTo>
                <a:lnTo>
                  <a:pt x="302" y="406"/>
                </a:lnTo>
                <a:lnTo>
                  <a:pt x="302" y="406"/>
                </a:lnTo>
                <a:lnTo>
                  <a:pt x="306" y="408"/>
                </a:lnTo>
                <a:lnTo>
                  <a:pt x="306" y="407"/>
                </a:lnTo>
                <a:lnTo>
                  <a:pt x="304" y="405"/>
                </a:lnTo>
                <a:cubicBezTo>
                  <a:pt x="303" y="404"/>
                  <a:pt x="303" y="402"/>
                  <a:pt x="303" y="400"/>
                </a:cubicBezTo>
                <a:cubicBezTo>
                  <a:pt x="303" y="397"/>
                  <a:pt x="304" y="395"/>
                  <a:pt x="305" y="395"/>
                </a:cubicBezTo>
                <a:cubicBezTo>
                  <a:pt x="306" y="395"/>
                  <a:pt x="307" y="394"/>
                  <a:pt x="307" y="392"/>
                </a:cubicBezTo>
                <a:cubicBezTo>
                  <a:pt x="307" y="391"/>
                  <a:pt x="307" y="390"/>
                  <a:pt x="306" y="388"/>
                </a:cubicBezTo>
                <a:cubicBezTo>
                  <a:pt x="305" y="387"/>
                  <a:pt x="305" y="386"/>
                  <a:pt x="303" y="386"/>
                </a:cubicBezTo>
                <a:cubicBezTo>
                  <a:pt x="302" y="386"/>
                  <a:pt x="301" y="387"/>
                  <a:pt x="301" y="387"/>
                </a:cubicBezTo>
                <a:cubicBezTo>
                  <a:pt x="301" y="389"/>
                  <a:pt x="302" y="389"/>
                  <a:pt x="303" y="389"/>
                </a:cubicBezTo>
                <a:cubicBezTo>
                  <a:pt x="303" y="389"/>
                  <a:pt x="304" y="389"/>
                  <a:pt x="304" y="390"/>
                </a:cubicBezTo>
                <a:cubicBezTo>
                  <a:pt x="304" y="391"/>
                  <a:pt x="303" y="394"/>
                  <a:pt x="301" y="398"/>
                </a:cubicBezTo>
                <a:cubicBezTo>
                  <a:pt x="299" y="402"/>
                  <a:pt x="298" y="405"/>
                  <a:pt x="298" y="407"/>
                </a:cubicBezTo>
                <a:cubicBezTo>
                  <a:pt x="298" y="409"/>
                  <a:pt x="300" y="410"/>
                  <a:pt x="303" y="411"/>
                </a:cubicBezTo>
                <a:close/>
                <a:moveTo>
                  <a:pt x="313" y="375"/>
                </a:moveTo>
                <a:cubicBezTo>
                  <a:pt x="314" y="375"/>
                  <a:pt x="315" y="374"/>
                  <a:pt x="317" y="373"/>
                </a:cubicBezTo>
                <a:cubicBezTo>
                  <a:pt x="318" y="372"/>
                  <a:pt x="318" y="372"/>
                  <a:pt x="318" y="371"/>
                </a:cubicBezTo>
                <a:cubicBezTo>
                  <a:pt x="318" y="371"/>
                  <a:pt x="318" y="370"/>
                  <a:pt x="316" y="369"/>
                </a:cubicBezTo>
                <a:cubicBezTo>
                  <a:pt x="315" y="368"/>
                  <a:pt x="314" y="367"/>
                  <a:pt x="314" y="367"/>
                </a:cubicBezTo>
                <a:lnTo>
                  <a:pt x="315" y="372"/>
                </a:lnTo>
                <a:cubicBezTo>
                  <a:pt x="315" y="372"/>
                  <a:pt x="315" y="373"/>
                  <a:pt x="314" y="373"/>
                </a:cubicBezTo>
                <a:lnTo>
                  <a:pt x="312" y="372"/>
                </a:lnTo>
                <a:cubicBezTo>
                  <a:pt x="312" y="372"/>
                  <a:pt x="311" y="372"/>
                  <a:pt x="311" y="373"/>
                </a:cubicBezTo>
                <a:cubicBezTo>
                  <a:pt x="311" y="374"/>
                  <a:pt x="312" y="375"/>
                  <a:pt x="313" y="375"/>
                </a:cubicBezTo>
                <a:close/>
                <a:moveTo>
                  <a:pt x="317" y="365"/>
                </a:moveTo>
                <a:cubicBezTo>
                  <a:pt x="318" y="365"/>
                  <a:pt x="319" y="365"/>
                  <a:pt x="320" y="364"/>
                </a:cubicBezTo>
                <a:cubicBezTo>
                  <a:pt x="320" y="363"/>
                  <a:pt x="321" y="362"/>
                  <a:pt x="321" y="362"/>
                </a:cubicBezTo>
                <a:cubicBezTo>
                  <a:pt x="321" y="361"/>
                  <a:pt x="321" y="360"/>
                  <a:pt x="320" y="360"/>
                </a:cubicBezTo>
                <a:cubicBezTo>
                  <a:pt x="319" y="359"/>
                  <a:pt x="319" y="358"/>
                  <a:pt x="318" y="358"/>
                </a:cubicBezTo>
                <a:cubicBezTo>
                  <a:pt x="318" y="358"/>
                  <a:pt x="317" y="359"/>
                  <a:pt x="317" y="360"/>
                </a:cubicBezTo>
                <a:cubicBezTo>
                  <a:pt x="316" y="362"/>
                  <a:pt x="316" y="362"/>
                  <a:pt x="316" y="363"/>
                </a:cubicBezTo>
                <a:cubicBezTo>
                  <a:pt x="316" y="365"/>
                  <a:pt x="316" y="365"/>
                  <a:pt x="317" y="365"/>
                </a:cubicBezTo>
                <a:close/>
                <a:moveTo>
                  <a:pt x="391" y="183"/>
                </a:moveTo>
                <a:cubicBezTo>
                  <a:pt x="391" y="183"/>
                  <a:pt x="392" y="183"/>
                  <a:pt x="392" y="182"/>
                </a:cubicBezTo>
                <a:cubicBezTo>
                  <a:pt x="394" y="179"/>
                  <a:pt x="394" y="178"/>
                  <a:pt x="394" y="176"/>
                </a:cubicBezTo>
                <a:cubicBezTo>
                  <a:pt x="394" y="176"/>
                  <a:pt x="394" y="176"/>
                  <a:pt x="394" y="176"/>
                </a:cubicBezTo>
                <a:cubicBezTo>
                  <a:pt x="394" y="176"/>
                  <a:pt x="393" y="176"/>
                  <a:pt x="392" y="178"/>
                </a:cubicBezTo>
                <a:cubicBezTo>
                  <a:pt x="391" y="179"/>
                  <a:pt x="390" y="181"/>
                  <a:pt x="390" y="183"/>
                </a:cubicBezTo>
                <a:cubicBezTo>
                  <a:pt x="390" y="183"/>
                  <a:pt x="391" y="183"/>
                  <a:pt x="391" y="183"/>
                </a:cubicBezTo>
                <a:close/>
                <a:moveTo>
                  <a:pt x="406" y="69"/>
                </a:moveTo>
                <a:cubicBezTo>
                  <a:pt x="407" y="69"/>
                  <a:pt x="408" y="68"/>
                  <a:pt x="408" y="67"/>
                </a:cubicBezTo>
                <a:cubicBezTo>
                  <a:pt x="408" y="66"/>
                  <a:pt x="407" y="65"/>
                  <a:pt x="406" y="65"/>
                </a:cubicBezTo>
                <a:cubicBezTo>
                  <a:pt x="404" y="65"/>
                  <a:pt x="404" y="66"/>
                  <a:pt x="404" y="67"/>
                </a:cubicBezTo>
                <a:cubicBezTo>
                  <a:pt x="404" y="68"/>
                  <a:pt x="404" y="69"/>
                  <a:pt x="406" y="69"/>
                </a:cubicBezTo>
                <a:close/>
                <a:moveTo>
                  <a:pt x="403" y="82"/>
                </a:moveTo>
                <a:cubicBezTo>
                  <a:pt x="403" y="82"/>
                  <a:pt x="404" y="81"/>
                  <a:pt x="404" y="81"/>
                </a:cubicBezTo>
                <a:cubicBezTo>
                  <a:pt x="405" y="80"/>
                  <a:pt x="405" y="79"/>
                  <a:pt x="405" y="78"/>
                </a:cubicBezTo>
                <a:cubicBezTo>
                  <a:pt x="405" y="78"/>
                  <a:pt x="405" y="78"/>
                  <a:pt x="404" y="78"/>
                </a:cubicBezTo>
                <a:cubicBezTo>
                  <a:pt x="402" y="78"/>
                  <a:pt x="402" y="78"/>
                  <a:pt x="402" y="80"/>
                </a:cubicBezTo>
                <a:cubicBezTo>
                  <a:pt x="402" y="81"/>
                  <a:pt x="402" y="82"/>
                  <a:pt x="403" y="82"/>
                </a:cubicBezTo>
                <a:close/>
                <a:moveTo>
                  <a:pt x="407" y="102"/>
                </a:moveTo>
                <a:cubicBezTo>
                  <a:pt x="407" y="102"/>
                  <a:pt x="408" y="101"/>
                  <a:pt x="408" y="101"/>
                </a:cubicBezTo>
                <a:lnTo>
                  <a:pt x="407" y="96"/>
                </a:lnTo>
                <a:cubicBezTo>
                  <a:pt x="407" y="95"/>
                  <a:pt x="408" y="94"/>
                  <a:pt x="409" y="94"/>
                </a:cubicBezTo>
                <a:cubicBezTo>
                  <a:pt x="409" y="93"/>
                  <a:pt x="410" y="90"/>
                  <a:pt x="410" y="83"/>
                </a:cubicBezTo>
                <a:cubicBezTo>
                  <a:pt x="410" y="76"/>
                  <a:pt x="411" y="71"/>
                  <a:pt x="412" y="70"/>
                </a:cubicBezTo>
                <a:cubicBezTo>
                  <a:pt x="413" y="69"/>
                  <a:pt x="414" y="66"/>
                  <a:pt x="414" y="62"/>
                </a:cubicBezTo>
                <a:cubicBezTo>
                  <a:pt x="414" y="55"/>
                  <a:pt x="413" y="51"/>
                  <a:pt x="412" y="51"/>
                </a:cubicBezTo>
                <a:cubicBezTo>
                  <a:pt x="411" y="51"/>
                  <a:pt x="410" y="52"/>
                  <a:pt x="410" y="53"/>
                </a:cubicBezTo>
                <a:lnTo>
                  <a:pt x="410" y="58"/>
                </a:lnTo>
                <a:cubicBezTo>
                  <a:pt x="410" y="60"/>
                  <a:pt x="410" y="61"/>
                  <a:pt x="410" y="62"/>
                </a:cubicBezTo>
                <a:lnTo>
                  <a:pt x="409" y="62"/>
                </a:lnTo>
                <a:cubicBezTo>
                  <a:pt x="408" y="62"/>
                  <a:pt x="408" y="62"/>
                  <a:pt x="408" y="61"/>
                </a:cubicBezTo>
                <a:cubicBezTo>
                  <a:pt x="408" y="60"/>
                  <a:pt x="407" y="60"/>
                  <a:pt x="407" y="60"/>
                </a:cubicBezTo>
                <a:cubicBezTo>
                  <a:pt x="407" y="60"/>
                  <a:pt x="406" y="60"/>
                  <a:pt x="406" y="61"/>
                </a:cubicBezTo>
                <a:cubicBezTo>
                  <a:pt x="406" y="62"/>
                  <a:pt x="407" y="63"/>
                  <a:pt x="407" y="64"/>
                </a:cubicBezTo>
                <a:cubicBezTo>
                  <a:pt x="408" y="65"/>
                  <a:pt x="409" y="66"/>
                  <a:pt x="409" y="68"/>
                </a:cubicBezTo>
                <a:cubicBezTo>
                  <a:pt x="409" y="71"/>
                  <a:pt x="408" y="73"/>
                  <a:pt x="406" y="73"/>
                </a:cubicBezTo>
                <a:lnTo>
                  <a:pt x="405" y="72"/>
                </a:lnTo>
                <a:lnTo>
                  <a:pt x="405" y="73"/>
                </a:lnTo>
                <a:cubicBezTo>
                  <a:pt x="405" y="73"/>
                  <a:pt x="405" y="74"/>
                  <a:pt x="406" y="75"/>
                </a:cubicBezTo>
                <a:cubicBezTo>
                  <a:pt x="407" y="77"/>
                  <a:pt x="407" y="79"/>
                  <a:pt x="407" y="81"/>
                </a:cubicBezTo>
                <a:cubicBezTo>
                  <a:pt x="407" y="84"/>
                  <a:pt x="405" y="87"/>
                  <a:pt x="402" y="89"/>
                </a:cubicBezTo>
                <a:cubicBezTo>
                  <a:pt x="400" y="90"/>
                  <a:pt x="399" y="91"/>
                  <a:pt x="399" y="92"/>
                </a:cubicBezTo>
                <a:lnTo>
                  <a:pt x="400" y="92"/>
                </a:lnTo>
                <a:cubicBezTo>
                  <a:pt x="400" y="92"/>
                  <a:pt x="400" y="92"/>
                  <a:pt x="401" y="93"/>
                </a:cubicBezTo>
                <a:cubicBezTo>
                  <a:pt x="402" y="94"/>
                  <a:pt x="403" y="95"/>
                  <a:pt x="403" y="97"/>
                </a:cubicBezTo>
                <a:cubicBezTo>
                  <a:pt x="405" y="100"/>
                  <a:pt x="406" y="102"/>
                  <a:pt x="407" y="102"/>
                </a:cubicBezTo>
                <a:close/>
                <a:moveTo>
                  <a:pt x="410" y="103"/>
                </a:moveTo>
                <a:cubicBezTo>
                  <a:pt x="411" y="103"/>
                  <a:pt x="412" y="103"/>
                  <a:pt x="412" y="103"/>
                </a:cubicBezTo>
                <a:cubicBezTo>
                  <a:pt x="413" y="102"/>
                  <a:pt x="414" y="101"/>
                  <a:pt x="414" y="100"/>
                </a:cubicBezTo>
                <a:cubicBezTo>
                  <a:pt x="414" y="98"/>
                  <a:pt x="413" y="98"/>
                  <a:pt x="412" y="98"/>
                </a:cubicBezTo>
                <a:cubicBezTo>
                  <a:pt x="410" y="98"/>
                  <a:pt x="410" y="99"/>
                  <a:pt x="410" y="101"/>
                </a:cubicBezTo>
                <a:cubicBezTo>
                  <a:pt x="410" y="103"/>
                  <a:pt x="410" y="103"/>
                  <a:pt x="410" y="103"/>
                </a:cubicBezTo>
                <a:close/>
                <a:moveTo>
                  <a:pt x="401" y="155"/>
                </a:moveTo>
                <a:cubicBezTo>
                  <a:pt x="401" y="155"/>
                  <a:pt x="401" y="154"/>
                  <a:pt x="401" y="152"/>
                </a:cubicBezTo>
                <a:lnTo>
                  <a:pt x="401" y="147"/>
                </a:lnTo>
                <a:cubicBezTo>
                  <a:pt x="401" y="142"/>
                  <a:pt x="402" y="139"/>
                  <a:pt x="404" y="136"/>
                </a:cubicBezTo>
                <a:cubicBezTo>
                  <a:pt x="405" y="134"/>
                  <a:pt x="406" y="132"/>
                  <a:pt x="406" y="130"/>
                </a:cubicBezTo>
                <a:lnTo>
                  <a:pt x="406" y="125"/>
                </a:lnTo>
                <a:lnTo>
                  <a:pt x="406" y="125"/>
                </a:lnTo>
                <a:lnTo>
                  <a:pt x="408" y="125"/>
                </a:lnTo>
                <a:cubicBezTo>
                  <a:pt x="409" y="125"/>
                  <a:pt x="409" y="125"/>
                  <a:pt x="409" y="125"/>
                </a:cubicBezTo>
                <a:lnTo>
                  <a:pt x="408" y="120"/>
                </a:lnTo>
                <a:lnTo>
                  <a:pt x="408" y="118"/>
                </a:lnTo>
                <a:lnTo>
                  <a:pt x="410" y="120"/>
                </a:lnTo>
                <a:cubicBezTo>
                  <a:pt x="410" y="120"/>
                  <a:pt x="410" y="119"/>
                  <a:pt x="410" y="118"/>
                </a:cubicBezTo>
                <a:lnTo>
                  <a:pt x="410" y="115"/>
                </a:lnTo>
                <a:cubicBezTo>
                  <a:pt x="410" y="113"/>
                  <a:pt x="411" y="110"/>
                  <a:pt x="413" y="108"/>
                </a:cubicBezTo>
                <a:cubicBezTo>
                  <a:pt x="414" y="106"/>
                  <a:pt x="415" y="105"/>
                  <a:pt x="415" y="104"/>
                </a:cubicBezTo>
                <a:cubicBezTo>
                  <a:pt x="415" y="104"/>
                  <a:pt x="414" y="105"/>
                  <a:pt x="411" y="106"/>
                </a:cubicBezTo>
                <a:cubicBezTo>
                  <a:pt x="409" y="108"/>
                  <a:pt x="408" y="109"/>
                  <a:pt x="407" y="110"/>
                </a:cubicBezTo>
                <a:cubicBezTo>
                  <a:pt x="407" y="111"/>
                  <a:pt x="407" y="112"/>
                  <a:pt x="407" y="113"/>
                </a:cubicBezTo>
                <a:cubicBezTo>
                  <a:pt x="407" y="114"/>
                  <a:pt x="407" y="115"/>
                  <a:pt x="407" y="116"/>
                </a:cubicBezTo>
                <a:cubicBezTo>
                  <a:pt x="406" y="117"/>
                  <a:pt x="406" y="119"/>
                  <a:pt x="406" y="122"/>
                </a:cubicBezTo>
                <a:cubicBezTo>
                  <a:pt x="406" y="123"/>
                  <a:pt x="405" y="125"/>
                  <a:pt x="403" y="126"/>
                </a:cubicBezTo>
                <a:cubicBezTo>
                  <a:pt x="403" y="127"/>
                  <a:pt x="402" y="127"/>
                  <a:pt x="402" y="128"/>
                </a:cubicBezTo>
                <a:cubicBezTo>
                  <a:pt x="402" y="128"/>
                  <a:pt x="403" y="129"/>
                  <a:pt x="403" y="129"/>
                </a:cubicBezTo>
                <a:cubicBezTo>
                  <a:pt x="403" y="129"/>
                  <a:pt x="403" y="129"/>
                  <a:pt x="403" y="129"/>
                </a:cubicBezTo>
                <a:cubicBezTo>
                  <a:pt x="403" y="129"/>
                  <a:pt x="403" y="130"/>
                  <a:pt x="402" y="131"/>
                </a:cubicBezTo>
                <a:cubicBezTo>
                  <a:pt x="401" y="132"/>
                  <a:pt x="400" y="133"/>
                  <a:pt x="400" y="134"/>
                </a:cubicBezTo>
                <a:cubicBezTo>
                  <a:pt x="400" y="134"/>
                  <a:pt x="401" y="134"/>
                  <a:pt x="401" y="134"/>
                </a:cubicBezTo>
                <a:cubicBezTo>
                  <a:pt x="401" y="134"/>
                  <a:pt x="401" y="135"/>
                  <a:pt x="401" y="135"/>
                </a:cubicBezTo>
                <a:cubicBezTo>
                  <a:pt x="401" y="135"/>
                  <a:pt x="401" y="136"/>
                  <a:pt x="400" y="138"/>
                </a:cubicBezTo>
                <a:cubicBezTo>
                  <a:pt x="399" y="139"/>
                  <a:pt x="399" y="141"/>
                  <a:pt x="399" y="143"/>
                </a:cubicBezTo>
                <a:cubicBezTo>
                  <a:pt x="399" y="145"/>
                  <a:pt x="399" y="146"/>
                  <a:pt x="398" y="146"/>
                </a:cubicBezTo>
                <a:cubicBezTo>
                  <a:pt x="397" y="147"/>
                  <a:pt x="397" y="147"/>
                  <a:pt x="397" y="148"/>
                </a:cubicBezTo>
                <a:cubicBezTo>
                  <a:pt x="397" y="149"/>
                  <a:pt x="398" y="150"/>
                  <a:pt x="399" y="152"/>
                </a:cubicBezTo>
                <a:cubicBezTo>
                  <a:pt x="399" y="153"/>
                  <a:pt x="400" y="154"/>
                  <a:pt x="401" y="155"/>
                </a:cubicBezTo>
                <a:close/>
                <a:moveTo>
                  <a:pt x="412" y="95"/>
                </a:moveTo>
                <a:cubicBezTo>
                  <a:pt x="412" y="95"/>
                  <a:pt x="413" y="94"/>
                  <a:pt x="414" y="93"/>
                </a:cubicBezTo>
                <a:cubicBezTo>
                  <a:pt x="416" y="90"/>
                  <a:pt x="416" y="89"/>
                  <a:pt x="416" y="88"/>
                </a:cubicBezTo>
                <a:lnTo>
                  <a:pt x="415" y="88"/>
                </a:lnTo>
                <a:cubicBezTo>
                  <a:pt x="415" y="88"/>
                  <a:pt x="414" y="88"/>
                  <a:pt x="413" y="89"/>
                </a:cubicBezTo>
                <a:cubicBezTo>
                  <a:pt x="412" y="90"/>
                  <a:pt x="412" y="92"/>
                  <a:pt x="412" y="93"/>
                </a:cubicBezTo>
                <a:cubicBezTo>
                  <a:pt x="412" y="95"/>
                  <a:pt x="412" y="95"/>
                  <a:pt x="412" y="95"/>
                </a:cubicBezTo>
                <a:close/>
                <a:moveTo>
                  <a:pt x="418" y="85"/>
                </a:moveTo>
                <a:lnTo>
                  <a:pt x="420" y="81"/>
                </a:lnTo>
                <a:cubicBezTo>
                  <a:pt x="421" y="78"/>
                  <a:pt x="422" y="73"/>
                  <a:pt x="422" y="66"/>
                </a:cubicBezTo>
                <a:cubicBezTo>
                  <a:pt x="422" y="51"/>
                  <a:pt x="420" y="41"/>
                  <a:pt x="418" y="36"/>
                </a:cubicBezTo>
                <a:cubicBezTo>
                  <a:pt x="417" y="35"/>
                  <a:pt x="417" y="34"/>
                  <a:pt x="417" y="32"/>
                </a:cubicBezTo>
                <a:lnTo>
                  <a:pt x="417" y="31"/>
                </a:lnTo>
                <a:lnTo>
                  <a:pt x="417" y="31"/>
                </a:lnTo>
                <a:lnTo>
                  <a:pt x="414" y="32"/>
                </a:lnTo>
                <a:cubicBezTo>
                  <a:pt x="412" y="32"/>
                  <a:pt x="412" y="31"/>
                  <a:pt x="412" y="30"/>
                </a:cubicBezTo>
                <a:lnTo>
                  <a:pt x="412" y="29"/>
                </a:lnTo>
                <a:cubicBezTo>
                  <a:pt x="412" y="29"/>
                  <a:pt x="412" y="29"/>
                  <a:pt x="411" y="28"/>
                </a:cubicBezTo>
                <a:cubicBezTo>
                  <a:pt x="410" y="27"/>
                  <a:pt x="409" y="27"/>
                  <a:pt x="408" y="27"/>
                </a:cubicBezTo>
                <a:cubicBezTo>
                  <a:pt x="407" y="27"/>
                  <a:pt x="407" y="27"/>
                  <a:pt x="407" y="28"/>
                </a:cubicBezTo>
                <a:lnTo>
                  <a:pt x="409" y="38"/>
                </a:lnTo>
                <a:lnTo>
                  <a:pt x="408" y="40"/>
                </a:lnTo>
                <a:cubicBezTo>
                  <a:pt x="408" y="40"/>
                  <a:pt x="408" y="40"/>
                  <a:pt x="409" y="40"/>
                </a:cubicBezTo>
                <a:lnTo>
                  <a:pt x="414" y="40"/>
                </a:lnTo>
                <a:cubicBezTo>
                  <a:pt x="414" y="40"/>
                  <a:pt x="415" y="40"/>
                  <a:pt x="415" y="41"/>
                </a:cubicBezTo>
                <a:lnTo>
                  <a:pt x="414" y="46"/>
                </a:lnTo>
                <a:cubicBezTo>
                  <a:pt x="414" y="48"/>
                  <a:pt x="414" y="49"/>
                  <a:pt x="415" y="49"/>
                </a:cubicBezTo>
                <a:cubicBezTo>
                  <a:pt x="415" y="50"/>
                  <a:pt x="415" y="51"/>
                  <a:pt x="416" y="52"/>
                </a:cubicBezTo>
                <a:cubicBezTo>
                  <a:pt x="416" y="53"/>
                  <a:pt x="416" y="54"/>
                  <a:pt x="417" y="55"/>
                </a:cubicBezTo>
                <a:cubicBezTo>
                  <a:pt x="417" y="56"/>
                  <a:pt x="417" y="56"/>
                  <a:pt x="417" y="57"/>
                </a:cubicBezTo>
                <a:cubicBezTo>
                  <a:pt x="417" y="58"/>
                  <a:pt x="417" y="58"/>
                  <a:pt x="417" y="60"/>
                </a:cubicBezTo>
                <a:cubicBezTo>
                  <a:pt x="418" y="61"/>
                  <a:pt x="418" y="62"/>
                  <a:pt x="418" y="62"/>
                </a:cubicBezTo>
                <a:cubicBezTo>
                  <a:pt x="418" y="63"/>
                  <a:pt x="419" y="64"/>
                  <a:pt x="419" y="64"/>
                </a:cubicBezTo>
                <a:cubicBezTo>
                  <a:pt x="419" y="65"/>
                  <a:pt x="419" y="66"/>
                  <a:pt x="419" y="66"/>
                </a:cubicBezTo>
                <a:cubicBezTo>
                  <a:pt x="419" y="67"/>
                  <a:pt x="419" y="67"/>
                  <a:pt x="419" y="67"/>
                </a:cubicBezTo>
                <a:lnTo>
                  <a:pt x="417" y="66"/>
                </a:lnTo>
                <a:cubicBezTo>
                  <a:pt x="417" y="66"/>
                  <a:pt x="416" y="67"/>
                  <a:pt x="416" y="68"/>
                </a:cubicBezTo>
                <a:cubicBezTo>
                  <a:pt x="416" y="70"/>
                  <a:pt x="417" y="71"/>
                  <a:pt x="417" y="71"/>
                </a:cubicBezTo>
                <a:lnTo>
                  <a:pt x="419" y="69"/>
                </a:lnTo>
                <a:cubicBezTo>
                  <a:pt x="419" y="69"/>
                  <a:pt x="420" y="70"/>
                  <a:pt x="420" y="71"/>
                </a:cubicBezTo>
                <a:cubicBezTo>
                  <a:pt x="420" y="72"/>
                  <a:pt x="419" y="74"/>
                  <a:pt x="417" y="76"/>
                </a:cubicBezTo>
                <a:cubicBezTo>
                  <a:pt x="415" y="78"/>
                  <a:pt x="414" y="79"/>
                  <a:pt x="414" y="80"/>
                </a:cubicBezTo>
                <a:cubicBezTo>
                  <a:pt x="414" y="80"/>
                  <a:pt x="414" y="81"/>
                  <a:pt x="414" y="81"/>
                </a:cubicBezTo>
                <a:lnTo>
                  <a:pt x="418" y="78"/>
                </a:lnTo>
                <a:cubicBezTo>
                  <a:pt x="419" y="78"/>
                  <a:pt x="419" y="79"/>
                  <a:pt x="419" y="80"/>
                </a:cubicBezTo>
                <a:lnTo>
                  <a:pt x="418" y="85"/>
                </a:lnTo>
                <a:close/>
                <a:moveTo>
                  <a:pt x="419" y="42"/>
                </a:moveTo>
                <a:lnTo>
                  <a:pt x="419" y="42"/>
                </a:lnTo>
                <a:cubicBezTo>
                  <a:pt x="418" y="42"/>
                  <a:pt x="417" y="41"/>
                  <a:pt x="417" y="40"/>
                </a:cubicBezTo>
                <a:lnTo>
                  <a:pt x="416" y="37"/>
                </a:lnTo>
                <a:lnTo>
                  <a:pt x="416" y="37"/>
                </a:lnTo>
                <a:cubicBezTo>
                  <a:pt x="417" y="37"/>
                  <a:pt x="417" y="38"/>
                  <a:pt x="418" y="39"/>
                </a:cubicBezTo>
                <a:cubicBezTo>
                  <a:pt x="419" y="39"/>
                  <a:pt x="419" y="40"/>
                  <a:pt x="419" y="41"/>
                </a:cubicBezTo>
                <a:lnTo>
                  <a:pt x="419" y="42"/>
                </a:lnTo>
                <a:close/>
                <a:moveTo>
                  <a:pt x="238" y="568"/>
                </a:moveTo>
                <a:cubicBezTo>
                  <a:pt x="237" y="568"/>
                  <a:pt x="236" y="568"/>
                  <a:pt x="236" y="568"/>
                </a:cubicBezTo>
                <a:cubicBezTo>
                  <a:pt x="236" y="568"/>
                  <a:pt x="237" y="567"/>
                  <a:pt x="238" y="566"/>
                </a:cubicBezTo>
                <a:cubicBezTo>
                  <a:pt x="239" y="566"/>
                  <a:pt x="239" y="565"/>
                  <a:pt x="239" y="565"/>
                </a:cubicBezTo>
                <a:cubicBezTo>
                  <a:pt x="239" y="564"/>
                  <a:pt x="239" y="564"/>
                  <a:pt x="238" y="564"/>
                </a:cubicBezTo>
                <a:cubicBezTo>
                  <a:pt x="238" y="563"/>
                  <a:pt x="238" y="563"/>
                  <a:pt x="237" y="563"/>
                </a:cubicBezTo>
                <a:cubicBezTo>
                  <a:pt x="236" y="563"/>
                  <a:pt x="235" y="564"/>
                  <a:pt x="234" y="566"/>
                </a:cubicBezTo>
                <a:cubicBezTo>
                  <a:pt x="234" y="567"/>
                  <a:pt x="233" y="568"/>
                  <a:pt x="233" y="568"/>
                </a:cubicBezTo>
                <a:cubicBezTo>
                  <a:pt x="233" y="568"/>
                  <a:pt x="232" y="568"/>
                  <a:pt x="232" y="567"/>
                </a:cubicBezTo>
                <a:lnTo>
                  <a:pt x="232" y="567"/>
                </a:lnTo>
                <a:cubicBezTo>
                  <a:pt x="232" y="565"/>
                  <a:pt x="233" y="564"/>
                  <a:pt x="234" y="563"/>
                </a:cubicBezTo>
                <a:cubicBezTo>
                  <a:pt x="236" y="562"/>
                  <a:pt x="237" y="561"/>
                  <a:pt x="238" y="561"/>
                </a:cubicBezTo>
                <a:cubicBezTo>
                  <a:pt x="239" y="561"/>
                  <a:pt x="239" y="561"/>
                  <a:pt x="240" y="562"/>
                </a:cubicBezTo>
                <a:cubicBezTo>
                  <a:pt x="241" y="564"/>
                  <a:pt x="241" y="565"/>
                  <a:pt x="241" y="566"/>
                </a:cubicBezTo>
                <a:cubicBezTo>
                  <a:pt x="241" y="568"/>
                  <a:pt x="240" y="568"/>
                  <a:pt x="238" y="568"/>
                </a:cubicBezTo>
                <a:close/>
                <a:moveTo>
                  <a:pt x="231" y="611"/>
                </a:moveTo>
                <a:lnTo>
                  <a:pt x="231" y="610"/>
                </a:lnTo>
                <a:cubicBezTo>
                  <a:pt x="231" y="609"/>
                  <a:pt x="233" y="604"/>
                  <a:pt x="236" y="597"/>
                </a:cubicBezTo>
                <a:cubicBezTo>
                  <a:pt x="237" y="593"/>
                  <a:pt x="238" y="592"/>
                  <a:pt x="239" y="592"/>
                </a:cubicBezTo>
                <a:lnTo>
                  <a:pt x="239" y="592"/>
                </a:lnTo>
                <a:lnTo>
                  <a:pt x="237" y="597"/>
                </a:lnTo>
                <a:lnTo>
                  <a:pt x="234" y="606"/>
                </a:lnTo>
                <a:cubicBezTo>
                  <a:pt x="233" y="609"/>
                  <a:pt x="232" y="611"/>
                  <a:pt x="231" y="611"/>
                </a:cubicBezTo>
                <a:close/>
                <a:moveTo>
                  <a:pt x="219" y="128"/>
                </a:moveTo>
                <a:lnTo>
                  <a:pt x="218" y="127"/>
                </a:lnTo>
                <a:lnTo>
                  <a:pt x="221" y="125"/>
                </a:lnTo>
                <a:cubicBezTo>
                  <a:pt x="223" y="123"/>
                  <a:pt x="224" y="122"/>
                  <a:pt x="225" y="122"/>
                </a:cubicBezTo>
                <a:cubicBezTo>
                  <a:pt x="226" y="122"/>
                  <a:pt x="226" y="123"/>
                  <a:pt x="226" y="123"/>
                </a:cubicBezTo>
                <a:cubicBezTo>
                  <a:pt x="226" y="124"/>
                  <a:pt x="224" y="125"/>
                  <a:pt x="223" y="126"/>
                </a:cubicBezTo>
                <a:cubicBezTo>
                  <a:pt x="221" y="127"/>
                  <a:pt x="219" y="128"/>
                  <a:pt x="219" y="128"/>
                </a:cubicBezTo>
                <a:close/>
                <a:moveTo>
                  <a:pt x="235" y="578"/>
                </a:moveTo>
                <a:cubicBezTo>
                  <a:pt x="234" y="578"/>
                  <a:pt x="232" y="578"/>
                  <a:pt x="231" y="576"/>
                </a:cubicBezTo>
                <a:lnTo>
                  <a:pt x="231" y="575"/>
                </a:lnTo>
                <a:cubicBezTo>
                  <a:pt x="231" y="574"/>
                  <a:pt x="231" y="573"/>
                  <a:pt x="232" y="572"/>
                </a:cubicBezTo>
                <a:cubicBezTo>
                  <a:pt x="233" y="571"/>
                  <a:pt x="233" y="570"/>
                  <a:pt x="234" y="570"/>
                </a:cubicBezTo>
                <a:cubicBezTo>
                  <a:pt x="235" y="570"/>
                  <a:pt x="236" y="571"/>
                  <a:pt x="236" y="573"/>
                </a:cubicBezTo>
                <a:cubicBezTo>
                  <a:pt x="236" y="573"/>
                  <a:pt x="235" y="574"/>
                  <a:pt x="235" y="574"/>
                </a:cubicBezTo>
                <a:lnTo>
                  <a:pt x="233" y="573"/>
                </a:lnTo>
                <a:cubicBezTo>
                  <a:pt x="233" y="573"/>
                  <a:pt x="232" y="573"/>
                  <a:pt x="232" y="573"/>
                </a:cubicBezTo>
                <a:lnTo>
                  <a:pt x="233" y="574"/>
                </a:lnTo>
                <a:cubicBezTo>
                  <a:pt x="234" y="575"/>
                  <a:pt x="234" y="576"/>
                  <a:pt x="235" y="576"/>
                </a:cubicBezTo>
                <a:lnTo>
                  <a:pt x="237" y="575"/>
                </a:lnTo>
                <a:cubicBezTo>
                  <a:pt x="237" y="575"/>
                  <a:pt x="238" y="576"/>
                  <a:pt x="238" y="576"/>
                </a:cubicBezTo>
                <a:cubicBezTo>
                  <a:pt x="238" y="578"/>
                  <a:pt x="237" y="578"/>
                  <a:pt x="235" y="578"/>
                </a:cubicBezTo>
                <a:close/>
                <a:moveTo>
                  <a:pt x="219" y="486"/>
                </a:moveTo>
                <a:cubicBezTo>
                  <a:pt x="219" y="486"/>
                  <a:pt x="218" y="485"/>
                  <a:pt x="218" y="483"/>
                </a:cubicBezTo>
                <a:lnTo>
                  <a:pt x="217" y="481"/>
                </a:lnTo>
                <a:cubicBezTo>
                  <a:pt x="217" y="481"/>
                  <a:pt x="218" y="481"/>
                  <a:pt x="219" y="482"/>
                </a:cubicBezTo>
                <a:cubicBezTo>
                  <a:pt x="220" y="483"/>
                  <a:pt x="220" y="485"/>
                  <a:pt x="220" y="485"/>
                </a:cubicBezTo>
                <a:lnTo>
                  <a:pt x="219" y="486"/>
                </a:lnTo>
                <a:close/>
                <a:moveTo>
                  <a:pt x="237" y="558"/>
                </a:moveTo>
                <a:cubicBezTo>
                  <a:pt x="236" y="558"/>
                  <a:pt x="236" y="557"/>
                  <a:pt x="236" y="557"/>
                </a:cubicBezTo>
                <a:cubicBezTo>
                  <a:pt x="236" y="556"/>
                  <a:pt x="236" y="555"/>
                  <a:pt x="237" y="554"/>
                </a:cubicBezTo>
                <a:cubicBezTo>
                  <a:pt x="238" y="553"/>
                  <a:pt x="239" y="552"/>
                  <a:pt x="239" y="551"/>
                </a:cubicBezTo>
                <a:cubicBezTo>
                  <a:pt x="240" y="550"/>
                  <a:pt x="241" y="550"/>
                  <a:pt x="242" y="550"/>
                </a:cubicBezTo>
                <a:cubicBezTo>
                  <a:pt x="243" y="550"/>
                  <a:pt x="244" y="551"/>
                  <a:pt x="244" y="552"/>
                </a:cubicBezTo>
                <a:cubicBezTo>
                  <a:pt x="244" y="553"/>
                  <a:pt x="244" y="554"/>
                  <a:pt x="243" y="554"/>
                </a:cubicBezTo>
                <a:lnTo>
                  <a:pt x="241" y="553"/>
                </a:lnTo>
                <a:cubicBezTo>
                  <a:pt x="240" y="553"/>
                  <a:pt x="239" y="554"/>
                  <a:pt x="238" y="556"/>
                </a:cubicBezTo>
                <a:cubicBezTo>
                  <a:pt x="238" y="557"/>
                  <a:pt x="237" y="558"/>
                  <a:pt x="237" y="558"/>
                </a:cubicBezTo>
                <a:close/>
                <a:moveTo>
                  <a:pt x="239" y="515"/>
                </a:moveTo>
                <a:cubicBezTo>
                  <a:pt x="238" y="515"/>
                  <a:pt x="238" y="515"/>
                  <a:pt x="238" y="513"/>
                </a:cubicBezTo>
                <a:cubicBezTo>
                  <a:pt x="238" y="512"/>
                  <a:pt x="238" y="512"/>
                  <a:pt x="238" y="512"/>
                </a:cubicBezTo>
                <a:cubicBezTo>
                  <a:pt x="238" y="512"/>
                  <a:pt x="239" y="512"/>
                  <a:pt x="240" y="511"/>
                </a:cubicBezTo>
                <a:cubicBezTo>
                  <a:pt x="241" y="511"/>
                  <a:pt x="241" y="511"/>
                  <a:pt x="241" y="510"/>
                </a:cubicBezTo>
                <a:lnTo>
                  <a:pt x="241" y="508"/>
                </a:lnTo>
                <a:cubicBezTo>
                  <a:pt x="241" y="507"/>
                  <a:pt x="241" y="507"/>
                  <a:pt x="241" y="507"/>
                </a:cubicBezTo>
                <a:cubicBezTo>
                  <a:pt x="243" y="507"/>
                  <a:pt x="243" y="507"/>
                  <a:pt x="243" y="508"/>
                </a:cubicBezTo>
                <a:cubicBezTo>
                  <a:pt x="243" y="509"/>
                  <a:pt x="243" y="510"/>
                  <a:pt x="242" y="512"/>
                </a:cubicBezTo>
                <a:cubicBezTo>
                  <a:pt x="241" y="514"/>
                  <a:pt x="240" y="515"/>
                  <a:pt x="239" y="515"/>
                </a:cubicBezTo>
                <a:close/>
                <a:moveTo>
                  <a:pt x="248" y="547"/>
                </a:moveTo>
                <a:cubicBezTo>
                  <a:pt x="248" y="547"/>
                  <a:pt x="248" y="546"/>
                  <a:pt x="247" y="545"/>
                </a:cubicBezTo>
                <a:cubicBezTo>
                  <a:pt x="246" y="544"/>
                  <a:pt x="245" y="543"/>
                  <a:pt x="244" y="543"/>
                </a:cubicBezTo>
                <a:lnTo>
                  <a:pt x="242" y="544"/>
                </a:lnTo>
                <a:lnTo>
                  <a:pt x="243" y="542"/>
                </a:lnTo>
                <a:cubicBezTo>
                  <a:pt x="244" y="541"/>
                  <a:pt x="245" y="540"/>
                  <a:pt x="246" y="540"/>
                </a:cubicBezTo>
                <a:cubicBezTo>
                  <a:pt x="246" y="540"/>
                  <a:pt x="247" y="541"/>
                  <a:pt x="248" y="542"/>
                </a:cubicBezTo>
                <a:cubicBezTo>
                  <a:pt x="248" y="544"/>
                  <a:pt x="249" y="544"/>
                  <a:pt x="249" y="544"/>
                </a:cubicBezTo>
                <a:cubicBezTo>
                  <a:pt x="250" y="544"/>
                  <a:pt x="250" y="544"/>
                  <a:pt x="250" y="542"/>
                </a:cubicBezTo>
                <a:cubicBezTo>
                  <a:pt x="250" y="541"/>
                  <a:pt x="250" y="541"/>
                  <a:pt x="250" y="541"/>
                </a:cubicBezTo>
                <a:cubicBezTo>
                  <a:pt x="250" y="541"/>
                  <a:pt x="251" y="541"/>
                  <a:pt x="251" y="542"/>
                </a:cubicBezTo>
                <a:cubicBezTo>
                  <a:pt x="251" y="543"/>
                  <a:pt x="251" y="544"/>
                  <a:pt x="250" y="545"/>
                </a:cubicBezTo>
                <a:cubicBezTo>
                  <a:pt x="249" y="546"/>
                  <a:pt x="248" y="547"/>
                  <a:pt x="248" y="547"/>
                </a:cubicBezTo>
                <a:close/>
                <a:moveTo>
                  <a:pt x="248" y="495"/>
                </a:moveTo>
                <a:cubicBezTo>
                  <a:pt x="246" y="495"/>
                  <a:pt x="246" y="495"/>
                  <a:pt x="246" y="493"/>
                </a:cubicBezTo>
                <a:cubicBezTo>
                  <a:pt x="246" y="492"/>
                  <a:pt x="246" y="491"/>
                  <a:pt x="248" y="491"/>
                </a:cubicBezTo>
                <a:cubicBezTo>
                  <a:pt x="249" y="491"/>
                  <a:pt x="249" y="492"/>
                  <a:pt x="250" y="493"/>
                </a:cubicBezTo>
                <a:cubicBezTo>
                  <a:pt x="249" y="495"/>
                  <a:pt x="249" y="495"/>
                  <a:pt x="248" y="495"/>
                </a:cubicBezTo>
                <a:close/>
                <a:moveTo>
                  <a:pt x="219" y="140"/>
                </a:moveTo>
                <a:cubicBezTo>
                  <a:pt x="219" y="140"/>
                  <a:pt x="218" y="139"/>
                  <a:pt x="218" y="139"/>
                </a:cubicBezTo>
                <a:cubicBezTo>
                  <a:pt x="218" y="138"/>
                  <a:pt x="219" y="137"/>
                  <a:pt x="219" y="136"/>
                </a:cubicBezTo>
                <a:cubicBezTo>
                  <a:pt x="220" y="135"/>
                  <a:pt x="221" y="135"/>
                  <a:pt x="221" y="135"/>
                </a:cubicBezTo>
                <a:cubicBezTo>
                  <a:pt x="222" y="135"/>
                  <a:pt x="222" y="135"/>
                  <a:pt x="222" y="136"/>
                </a:cubicBezTo>
                <a:cubicBezTo>
                  <a:pt x="222" y="137"/>
                  <a:pt x="222" y="139"/>
                  <a:pt x="220" y="140"/>
                </a:cubicBezTo>
                <a:lnTo>
                  <a:pt x="219" y="140"/>
                </a:lnTo>
                <a:close/>
                <a:moveTo>
                  <a:pt x="286" y="414"/>
                </a:moveTo>
                <a:cubicBezTo>
                  <a:pt x="285" y="414"/>
                  <a:pt x="285" y="414"/>
                  <a:pt x="285" y="413"/>
                </a:cubicBezTo>
                <a:cubicBezTo>
                  <a:pt x="285" y="412"/>
                  <a:pt x="286" y="410"/>
                  <a:pt x="286" y="408"/>
                </a:cubicBezTo>
                <a:cubicBezTo>
                  <a:pt x="287" y="404"/>
                  <a:pt x="288" y="402"/>
                  <a:pt x="289" y="402"/>
                </a:cubicBezTo>
                <a:lnTo>
                  <a:pt x="289" y="402"/>
                </a:lnTo>
                <a:cubicBezTo>
                  <a:pt x="289" y="404"/>
                  <a:pt x="289" y="405"/>
                  <a:pt x="289" y="406"/>
                </a:cubicBezTo>
                <a:cubicBezTo>
                  <a:pt x="288" y="408"/>
                  <a:pt x="288" y="410"/>
                  <a:pt x="287" y="411"/>
                </a:cubicBezTo>
                <a:cubicBezTo>
                  <a:pt x="286" y="413"/>
                  <a:pt x="286" y="414"/>
                  <a:pt x="286" y="414"/>
                </a:cubicBezTo>
                <a:close/>
                <a:moveTo>
                  <a:pt x="266" y="66"/>
                </a:moveTo>
                <a:cubicBezTo>
                  <a:pt x="265" y="66"/>
                  <a:pt x="264" y="66"/>
                  <a:pt x="264" y="65"/>
                </a:cubicBezTo>
                <a:lnTo>
                  <a:pt x="264" y="65"/>
                </a:lnTo>
                <a:cubicBezTo>
                  <a:pt x="265" y="64"/>
                  <a:pt x="265" y="64"/>
                  <a:pt x="266" y="64"/>
                </a:cubicBezTo>
                <a:cubicBezTo>
                  <a:pt x="266" y="64"/>
                  <a:pt x="267" y="64"/>
                  <a:pt x="268" y="64"/>
                </a:cubicBezTo>
                <a:cubicBezTo>
                  <a:pt x="268" y="65"/>
                  <a:pt x="269" y="66"/>
                  <a:pt x="269" y="66"/>
                </a:cubicBezTo>
                <a:cubicBezTo>
                  <a:pt x="269" y="66"/>
                  <a:pt x="268" y="66"/>
                  <a:pt x="266" y="66"/>
                </a:cubicBezTo>
                <a:close/>
                <a:moveTo>
                  <a:pt x="267" y="56"/>
                </a:moveTo>
                <a:cubicBezTo>
                  <a:pt x="267" y="56"/>
                  <a:pt x="268" y="54"/>
                  <a:pt x="272" y="52"/>
                </a:cubicBezTo>
                <a:cubicBezTo>
                  <a:pt x="275" y="49"/>
                  <a:pt x="279" y="46"/>
                  <a:pt x="284" y="43"/>
                </a:cubicBezTo>
                <a:cubicBezTo>
                  <a:pt x="289" y="39"/>
                  <a:pt x="293" y="37"/>
                  <a:pt x="296" y="34"/>
                </a:cubicBezTo>
                <a:cubicBezTo>
                  <a:pt x="300" y="32"/>
                  <a:pt x="302" y="32"/>
                  <a:pt x="303" y="32"/>
                </a:cubicBezTo>
                <a:cubicBezTo>
                  <a:pt x="303" y="32"/>
                  <a:pt x="296" y="37"/>
                  <a:pt x="284" y="45"/>
                </a:cubicBezTo>
                <a:cubicBezTo>
                  <a:pt x="273" y="53"/>
                  <a:pt x="268" y="56"/>
                  <a:pt x="267" y="56"/>
                </a:cubicBezTo>
                <a:close/>
                <a:moveTo>
                  <a:pt x="233" y="82"/>
                </a:moveTo>
                <a:cubicBezTo>
                  <a:pt x="233" y="81"/>
                  <a:pt x="235" y="79"/>
                  <a:pt x="239" y="76"/>
                </a:cubicBezTo>
                <a:cubicBezTo>
                  <a:pt x="248" y="69"/>
                  <a:pt x="252" y="66"/>
                  <a:pt x="253" y="66"/>
                </a:cubicBezTo>
                <a:cubicBezTo>
                  <a:pt x="253" y="66"/>
                  <a:pt x="252" y="67"/>
                  <a:pt x="250" y="69"/>
                </a:cubicBezTo>
                <a:cubicBezTo>
                  <a:pt x="240" y="78"/>
                  <a:pt x="235" y="82"/>
                  <a:pt x="233" y="82"/>
                </a:cubicBezTo>
                <a:close/>
                <a:moveTo>
                  <a:pt x="252" y="78"/>
                </a:moveTo>
                <a:cubicBezTo>
                  <a:pt x="252" y="78"/>
                  <a:pt x="251" y="77"/>
                  <a:pt x="251" y="76"/>
                </a:cubicBezTo>
                <a:cubicBezTo>
                  <a:pt x="251" y="74"/>
                  <a:pt x="252" y="73"/>
                  <a:pt x="253" y="73"/>
                </a:cubicBezTo>
                <a:lnTo>
                  <a:pt x="254" y="72"/>
                </a:lnTo>
                <a:cubicBezTo>
                  <a:pt x="254" y="72"/>
                  <a:pt x="255" y="72"/>
                  <a:pt x="255" y="73"/>
                </a:cubicBezTo>
                <a:lnTo>
                  <a:pt x="254" y="74"/>
                </a:lnTo>
                <a:cubicBezTo>
                  <a:pt x="253" y="76"/>
                  <a:pt x="253" y="78"/>
                  <a:pt x="252" y="78"/>
                </a:cubicBezTo>
                <a:close/>
                <a:moveTo>
                  <a:pt x="239" y="87"/>
                </a:moveTo>
                <a:cubicBezTo>
                  <a:pt x="238" y="87"/>
                  <a:pt x="238" y="87"/>
                  <a:pt x="238" y="86"/>
                </a:cubicBezTo>
                <a:cubicBezTo>
                  <a:pt x="238" y="85"/>
                  <a:pt x="238" y="85"/>
                  <a:pt x="239" y="84"/>
                </a:cubicBezTo>
                <a:cubicBezTo>
                  <a:pt x="239" y="83"/>
                  <a:pt x="240" y="82"/>
                  <a:pt x="241" y="81"/>
                </a:cubicBezTo>
                <a:cubicBezTo>
                  <a:pt x="242" y="80"/>
                  <a:pt x="243" y="80"/>
                  <a:pt x="243" y="80"/>
                </a:cubicBezTo>
                <a:cubicBezTo>
                  <a:pt x="244" y="80"/>
                  <a:pt x="244" y="80"/>
                  <a:pt x="244" y="81"/>
                </a:cubicBezTo>
                <a:lnTo>
                  <a:pt x="244" y="81"/>
                </a:lnTo>
                <a:cubicBezTo>
                  <a:pt x="244" y="81"/>
                  <a:pt x="245" y="80"/>
                  <a:pt x="247" y="78"/>
                </a:cubicBezTo>
                <a:cubicBezTo>
                  <a:pt x="248" y="76"/>
                  <a:pt x="249" y="76"/>
                  <a:pt x="249" y="76"/>
                </a:cubicBezTo>
                <a:cubicBezTo>
                  <a:pt x="249" y="76"/>
                  <a:pt x="249" y="77"/>
                  <a:pt x="248" y="80"/>
                </a:cubicBezTo>
                <a:cubicBezTo>
                  <a:pt x="246" y="82"/>
                  <a:pt x="246" y="83"/>
                  <a:pt x="245" y="83"/>
                </a:cubicBezTo>
                <a:lnTo>
                  <a:pt x="244" y="83"/>
                </a:lnTo>
                <a:cubicBezTo>
                  <a:pt x="243" y="83"/>
                  <a:pt x="242" y="83"/>
                  <a:pt x="241" y="85"/>
                </a:cubicBezTo>
                <a:cubicBezTo>
                  <a:pt x="240" y="86"/>
                  <a:pt x="239" y="87"/>
                  <a:pt x="239" y="87"/>
                </a:cubicBezTo>
                <a:close/>
                <a:moveTo>
                  <a:pt x="238" y="87"/>
                </a:moveTo>
                <a:close/>
                <a:moveTo>
                  <a:pt x="258" y="73"/>
                </a:moveTo>
                <a:cubicBezTo>
                  <a:pt x="258" y="73"/>
                  <a:pt x="257" y="73"/>
                  <a:pt x="257" y="71"/>
                </a:cubicBezTo>
                <a:cubicBezTo>
                  <a:pt x="257" y="70"/>
                  <a:pt x="258" y="69"/>
                  <a:pt x="259" y="68"/>
                </a:cubicBezTo>
                <a:lnTo>
                  <a:pt x="260" y="68"/>
                </a:lnTo>
                <a:cubicBezTo>
                  <a:pt x="260" y="68"/>
                  <a:pt x="260" y="68"/>
                  <a:pt x="260" y="68"/>
                </a:cubicBezTo>
                <a:cubicBezTo>
                  <a:pt x="260" y="69"/>
                  <a:pt x="260" y="70"/>
                  <a:pt x="260" y="71"/>
                </a:cubicBezTo>
                <a:cubicBezTo>
                  <a:pt x="259" y="73"/>
                  <a:pt x="258" y="73"/>
                  <a:pt x="258" y="73"/>
                </a:cubicBezTo>
                <a:close/>
                <a:moveTo>
                  <a:pt x="226" y="95"/>
                </a:moveTo>
                <a:lnTo>
                  <a:pt x="224" y="95"/>
                </a:lnTo>
                <a:cubicBezTo>
                  <a:pt x="224" y="94"/>
                  <a:pt x="225" y="93"/>
                  <a:pt x="226" y="92"/>
                </a:cubicBezTo>
                <a:cubicBezTo>
                  <a:pt x="227" y="91"/>
                  <a:pt x="228" y="91"/>
                  <a:pt x="229" y="91"/>
                </a:cubicBezTo>
                <a:cubicBezTo>
                  <a:pt x="231" y="91"/>
                  <a:pt x="232" y="92"/>
                  <a:pt x="232" y="94"/>
                </a:cubicBezTo>
                <a:lnTo>
                  <a:pt x="230" y="93"/>
                </a:lnTo>
                <a:cubicBezTo>
                  <a:pt x="229" y="93"/>
                  <a:pt x="228" y="93"/>
                  <a:pt x="228" y="93"/>
                </a:cubicBezTo>
                <a:cubicBezTo>
                  <a:pt x="227" y="94"/>
                  <a:pt x="226" y="95"/>
                  <a:pt x="226" y="95"/>
                </a:cubicBezTo>
                <a:close/>
                <a:moveTo>
                  <a:pt x="345" y="11"/>
                </a:moveTo>
                <a:lnTo>
                  <a:pt x="343" y="11"/>
                </a:lnTo>
                <a:lnTo>
                  <a:pt x="343" y="10"/>
                </a:lnTo>
                <a:cubicBezTo>
                  <a:pt x="343" y="9"/>
                  <a:pt x="344" y="9"/>
                  <a:pt x="345" y="8"/>
                </a:cubicBezTo>
                <a:cubicBezTo>
                  <a:pt x="346" y="7"/>
                  <a:pt x="347" y="7"/>
                  <a:pt x="348" y="6"/>
                </a:cubicBezTo>
                <a:cubicBezTo>
                  <a:pt x="350" y="5"/>
                  <a:pt x="351" y="5"/>
                  <a:pt x="352" y="5"/>
                </a:cubicBezTo>
                <a:lnTo>
                  <a:pt x="355" y="5"/>
                </a:lnTo>
                <a:cubicBezTo>
                  <a:pt x="355" y="5"/>
                  <a:pt x="356" y="5"/>
                  <a:pt x="356" y="4"/>
                </a:cubicBezTo>
                <a:cubicBezTo>
                  <a:pt x="356" y="3"/>
                  <a:pt x="358" y="2"/>
                  <a:pt x="360" y="2"/>
                </a:cubicBezTo>
                <a:cubicBezTo>
                  <a:pt x="362" y="1"/>
                  <a:pt x="363" y="1"/>
                  <a:pt x="365" y="1"/>
                </a:cubicBezTo>
                <a:cubicBezTo>
                  <a:pt x="366" y="1"/>
                  <a:pt x="367" y="1"/>
                  <a:pt x="367" y="2"/>
                </a:cubicBezTo>
                <a:cubicBezTo>
                  <a:pt x="367" y="3"/>
                  <a:pt x="365" y="5"/>
                  <a:pt x="362" y="5"/>
                </a:cubicBezTo>
                <a:lnTo>
                  <a:pt x="360" y="5"/>
                </a:lnTo>
                <a:cubicBezTo>
                  <a:pt x="354" y="7"/>
                  <a:pt x="351" y="8"/>
                  <a:pt x="349" y="8"/>
                </a:cubicBezTo>
                <a:lnTo>
                  <a:pt x="349" y="8"/>
                </a:lnTo>
                <a:cubicBezTo>
                  <a:pt x="348" y="8"/>
                  <a:pt x="347" y="9"/>
                  <a:pt x="346" y="10"/>
                </a:cubicBezTo>
                <a:cubicBezTo>
                  <a:pt x="345" y="11"/>
                  <a:pt x="345" y="11"/>
                  <a:pt x="345" y="11"/>
                </a:cubicBezTo>
                <a:close/>
                <a:moveTo>
                  <a:pt x="269" y="490"/>
                </a:moveTo>
                <a:cubicBezTo>
                  <a:pt x="269" y="490"/>
                  <a:pt x="269" y="490"/>
                  <a:pt x="269" y="490"/>
                </a:cubicBezTo>
                <a:cubicBezTo>
                  <a:pt x="269" y="489"/>
                  <a:pt x="269" y="488"/>
                  <a:pt x="269" y="487"/>
                </a:cubicBezTo>
                <a:cubicBezTo>
                  <a:pt x="270" y="487"/>
                  <a:pt x="270" y="485"/>
                  <a:pt x="271" y="485"/>
                </a:cubicBezTo>
                <a:cubicBezTo>
                  <a:pt x="271" y="484"/>
                  <a:pt x="272" y="483"/>
                  <a:pt x="272" y="483"/>
                </a:cubicBezTo>
                <a:cubicBezTo>
                  <a:pt x="272" y="483"/>
                  <a:pt x="273" y="484"/>
                  <a:pt x="273" y="484"/>
                </a:cubicBezTo>
                <a:cubicBezTo>
                  <a:pt x="273" y="484"/>
                  <a:pt x="273" y="485"/>
                  <a:pt x="272" y="486"/>
                </a:cubicBezTo>
                <a:cubicBezTo>
                  <a:pt x="272" y="487"/>
                  <a:pt x="271" y="488"/>
                  <a:pt x="271" y="489"/>
                </a:cubicBezTo>
                <a:cubicBezTo>
                  <a:pt x="270" y="490"/>
                  <a:pt x="270" y="490"/>
                  <a:pt x="269" y="490"/>
                </a:cubicBezTo>
                <a:close/>
                <a:moveTo>
                  <a:pt x="273" y="466"/>
                </a:moveTo>
                <a:cubicBezTo>
                  <a:pt x="273" y="466"/>
                  <a:pt x="273" y="465"/>
                  <a:pt x="273" y="464"/>
                </a:cubicBezTo>
                <a:cubicBezTo>
                  <a:pt x="273" y="462"/>
                  <a:pt x="273" y="460"/>
                  <a:pt x="275" y="460"/>
                </a:cubicBezTo>
                <a:lnTo>
                  <a:pt x="275" y="460"/>
                </a:lnTo>
                <a:cubicBezTo>
                  <a:pt x="275" y="460"/>
                  <a:pt x="275" y="460"/>
                  <a:pt x="275" y="460"/>
                </a:cubicBezTo>
                <a:lnTo>
                  <a:pt x="275" y="463"/>
                </a:lnTo>
                <a:cubicBezTo>
                  <a:pt x="274" y="465"/>
                  <a:pt x="274" y="466"/>
                  <a:pt x="273" y="466"/>
                </a:cubicBezTo>
                <a:close/>
                <a:moveTo>
                  <a:pt x="236" y="557"/>
                </a:moveTo>
                <a:close/>
                <a:moveTo>
                  <a:pt x="188" y="154"/>
                </a:moveTo>
                <a:lnTo>
                  <a:pt x="188" y="154"/>
                </a:lnTo>
                <a:lnTo>
                  <a:pt x="189" y="153"/>
                </a:lnTo>
                <a:cubicBezTo>
                  <a:pt x="189" y="152"/>
                  <a:pt x="190" y="152"/>
                  <a:pt x="191" y="151"/>
                </a:cubicBezTo>
                <a:cubicBezTo>
                  <a:pt x="192" y="150"/>
                  <a:pt x="192" y="150"/>
                  <a:pt x="193" y="150"/>
                </a:cubicBezTo>
                <a:cubicBezTo>
                  <a:pt x="193" y="150"/>
                  <a:pt x="194" y="150"/>
                  <a:pt x="194" y="150"/>
                </a:cubicBezTo>
                <a:cubicBezTo>
                  <a:pt x="194" y="151"/>
                  <a:pt x="193" y="152"/>
                  <a:pt x="192" y="153"/>
                </a:cubicBezTo>
                <a:cubicBezTo>
                  <a:pt x="191" y="154"/>
                  <a:pt x="190" y="154"/>
                  <a:pt x="188" y="154"/>
                </a:cubicBezTo>
                <a:close/>
                <a:moveTo>
                  <a:pt x="136" y="208"/>
                </a:moveTo>
                <a:cubicBezTo>
                  <a:pt x="136" y="207"/>
                  <a:pt x="137" y="205"/>
                  <a:pt x="139" y="203"/>
                </a:cubicBezTo>
                <a:cubicBezTo>
                  <a:pt x="141" y="201"/>
                  <a:pt x="142" y="200"/>
                  <a:pt x="143" y="200"/>
                </a:cubicBezTo>
                <a:cubicBezTo>
                  <a:pt x="143" y="201"/>
                  <a:pt x="142" y="202"/>
                  <a:pt x="141" y="204"/>
                </a:cubicBezTo>
                <a:cubicBezTo>
                  <a:pt x="138" y="206"/>
                  <a:pt x="136" y="208"/>
                  <a:pt x="136" y="208"/>
                </a:cubicBezTo>
                <a:close/>
                <a:moveTo>
                  <a:pt x="267" y="482"/>
                </a:moveTo>
                <a:lnTo>
                  <a:pt x="266" y="482"/>
                </a:lnTo>
                <a:cubicBezTo>
                  <a:pt x="266" y="482"/>
                  <a:pt x="266" y="482"/>
                  <a:pt x="266" y="481"/>
                </a:cubicBezTo>
                <a:cubicBezTo>
                  <a:pt x="266" y="481"/>
                  <a:pt x="266" y="479"/>
                  <a:pt x="267" y="477"/>
                </a:cubicBezTo>
                <a:cubicBezTo>
                  <a:pt x="270" y="472"/>
                  <a:pt x="271" y="470"/>
                  <a:pt x="272" y="470"/>
                </a:cubicBezTo>
                <a:lnTo>
                  <a:pt x="272" y="470"/>
                </a:lnTo>
                <a:cubicBezTo>
                  <a:pt x="272" y="471"/>
                  <a:pt x="271" y="472"/>
                  <a:pt x="271" y="474"/>
                </a:cubicBezTo>
                <a:cubicBezTo>
                  <a:pt x="270" y="476"/>
                  <a:pt x="270" y="478"/>
                  <a:pt x="269" y="479"/>
                </a:cubicBezTo>
                <a:cubicBezTo>
                  <a:pt x="268" y="480"/>
                  <a:pt x="268" y="482"/>
                  <a:pt x="267" y="482"/>
                </a:cubicBezTo>
                <a:close/>
                <a:moveTo>
                  <a:pt x="269" y="404"/>
                </a:moveTo>
                <a:cubicBezTo>
                  <a:pt x="268" y="404"/>
                  <a:pt x="267" y="403"/>
                  <a:pt x="267" y="402"/>
                </a:cubicBezTo>
                <a:cubicBezTo>
                  <a:pt x="268" y="402"/>
                  <a:pt x="268" y="401"/>
                  <a:pt x="268" y="401"/>
                </a:cubicBezTo>
                <a:cubicBezTo>
                  <a:pt x="269" y="400"/>
                  <a:pt x="269" y="400"/>
                  <a:pt x="270" y="399"/>
                </a:cubicBezTo>
                <a:cubicBezTo>
                  <a:pt x="270" y="399"/>
                  <a:pt x="271" y="400"/>
                  <a:pt x="271" y="402"/>
                </a:cubicBezTo>
                <a:cubicBezTo>
                  <a:pt x="271" y="403"/>
                  <a:pt x="270" y="404"/>
                  <a:pt x="269" y="404"/>
                </a:cubicBezTo>
                <a:close/>
                <a:moveTo>
                  <a:pt x="277" y="420"/>
                </a:moveTo>
                <a:lnTo>
                  <a:pt x="277" y="420"/>
                </a:lnTo>
                <a:lnTo>
                  <a:pt x="277" y="417"/>
                </a:lnTo>
                <a:cubicBezTo>
                  <a:pt x="283" y="400"/>
                  <a:pt x="286" y="392"/>
                  <a:pt x="288" y="392"/>
                </a:cubicBezTo>
                <a:lnTo>
                  <a:pt x="288" y="392"/>
                </a:lnTo>
                <a:cubicBezTo>
                  <a:pt x="288" y="393"/>
                  <a:pt x="287" y="396"/>
                  <a:pt x="285" y="400"/>
                </a:cubicBezTo>
                <a:cubicBezTo>
                  <a:pt x="284" y="404"/>
                  <a:pt x="282" y="409"/>
                  <a:pt x="281" y="412"/>
                </a:cubicBezTo>
                <a:cubicBezTo>
                  <a:pt x="279" y="416"/>
                  <a:pt x="278" y="419"/>
                  <a:pt x="277" y="420"/>
                </a:cubicBezTo>
                <a:close/>
                <a:moveTo>
                  <a:pt x="139" y="719"/>
                </a:moveTo>
                <a:cubicBezTo>
                  <a:pt x="139" y="719"/>
                  <a:pt x="138" y="719"/>
                  <a:pt x="138" y="718"/>
                </a:cubicBezTo>
                <a:lnTo>
                  <a:pt x="138" y="716"/>
                </a:lnTo>
                <a:cubicBezTo>
                  <a:pt x="139" y="714"/>
                  <a:pt x="139" y="713"/>
                  <a:pt x="139" y="712"/>
                </a:cubicBezTo>
                <a:cubicBezTo>
                  <a:pt x="139" y="710"/>
                  <a:pt x="140" y="710"/>
                  <a:pt x="141" y="710"/>
                </a:cubicBezTo>
                <a:lnTo>
                  <a:pt x="141" y="710"/>
                </a:lnTo>
                <a:cubicBezTo>
                  <a:pt x="142" y="710"/>
                  <a:pt x="142" y="711"/>
                  <a:pt x="142" y="712"/>
                </a:cubicBezTo>
                <a:cubicBezTo>
                  <a:pt x="142" y="713"/>
                  <a:pt x="142" y="713"/>
                  <a:pt x="142" y="714"/>
                </a:cubicBezTo>
                <a:cubicBezTo>
                  <a:pt x="141" y="715"/>
                  <a:pt x="141" y="716"/>
                  <a:pt x="141" y="716"/>
                </a:cubicBezTo>
                <a:lnTo>
                  <a:pt x="141" y="718"/>
                </a:lnTo>
                <a:cubicBezTo>
                  <a:pt x="141" y="719"/>
                  <a:pt x="140" y="719"/>
                  <a:pt x="139" y="719"/>
                </a:cubicBezTo>
                <a:close/>
                <a:moveTo>
                  <a:pt x="359" y="246"/>
                </a:moveTo>
                <a:lnTo>
                  <a:pt x="359" y="246"/>
                </a:lnTo>
                <a:cubicBezTo>
                  <a:pt x="359" y="244"/>
                  <a:pt x="361" y="238"/>
                  <a:pt x="365" y="229"/>
                </a:cubicBezTo>
                <a:lnTo>
                  <a:pt x="371" y="210"/>
                </a:lnTo>
                <a:cubicBezTo>
                  <a:pt x="376" y="199"/>
                  <a:pt x="379" y="192"/>
                  <a:pt x="379" y="190"/>
                </a:cubicBezTo>
                <a:cubicBezTo>
                  <a:pt x="380" y="188"/>
                  <a:pt x="381" y="188"/>
                  <a:pt x="381" y="188"/>
                </a:cubicBezTo>
                <a:cubicBezTo>
                  <a:pt x="382" y="188"/>
                  <a:pt x="383" y="188"/>
                  <a:pt x="383" y="189"/>
                </a:cubicBezTo>
                <a:cubicBezTo>
                  <a:pt x="383" y="190"/>
                  <a:pt x="382" y="191"/>
                  <a:pt x="382" y="192"/>
                </a:cubicBezTo>
                <a:cubicBezTo>
                  <a:pt x="381" y="193"/>
                  <a:pt x="380" y="195"/>
                  <a:pt x="380" y="198"/>
                </a:cubicBezTo>
                <a:cubicBezTo>
                  <a:pt x="379" y="202"/>
                  <a:pt x="378" y="205"/>
                  <a:pt x="376" y="207"/>
                </a:cubicBezTo>
                <a:cubicBezTo>
                  <a:pt x="375" y="209"/>
                  <a:pt x="374" y="211"/>
                  <a:pt x="374" y="211"/>
                </a:cubicBezTo>
                <a:lnTo>
                  <a:pt x="374" y="213"/>
                </a:lnTo>
                <a:cubicBezTo>
                  <a:pt x="374" y="213"/>
                  <a:pt x="374" y="215"/>
                  <a:pt x="372" y="217"/>
                </a:cubicBezTo>
                <a:cubicBezTo>
                  <a:pt x="371" y="219"/>
                  <a:pt x="370" y="221"/>
                  <a:pt x="370" y="221"/>
                </a:cubicBezTo>
                <a:cubicBezTo>
                  <a:pt x="370" y="222"/>
                  <a:pt x="370" y="223"/>
                  <a:pt x="369" y="224"/>
                </a:cubicBezTo>
                <a:cubicBezTo>
                  <a:pt x="369" y="225"/>
                  <a:pt x="368" y="226"/>
                  <a:pt x="368" y="227"/>
                </a:cubicBezTo>
                <a:cubicBezTo>
                  <a:pt x="366" y="230"/>
                  <a:pt x="365" y="232"/>
                  <a:pt x="365" y="233"/>
                </a:cubicBezTo>
                <a:cubicBezTo>
                  <a:pt x="365" y="235"/>
                  <a:pt x="365" y="237"/>
                  <a:pt x="363" y="239"/>
                </a:cubicBezTo>
                <a:cubicBezTo>
                  <a:pt x="362" y="244"/>
                  <a:pt x="360" y="246"/>
                  <a:pt x="359" y="246"/>
                </a:cubicBezTo>
                <a:close/>
                <a:moveTo>
                  <a:pt x="326" y="333"/>
                </a:moveTo>
                <a:cubicBezTo>
                  <a:pt x="326" y="333"/>
                  <a:pt x="326" y="332"/>
                  <a:pt x="326" y="329"/>
                </a:cubicBezTo>
                <a:cubicBezTo>
                  <a:pt x="326" y="327"/>
                  <a:pt x="326" y="325"/>
                  <a:pt x="327" y="325"/>
                </a:cubicBezTo>
                <a:lnTo>
                  <a:pt x="328" y="325"/>
                </a:lnTo>
                <a:cubicBezTo>
                  <a:pt x="328" y="325"/>
                  <a:pt x="329" y="325"/>
                  <a:pt x="329" y="324"/>
                </a:cubicBezTo>
                <a:cubicBezTo>
                  <a:pt x="330" y="324"/>
                  <a:pt x="330" y="323"/>
                  <a:pt x="330" y="323"/>
                </a:cubicBezTo>
                <a:cubicBezTo>
                  <a:pt x="330" y="322"/>
                  <a:pt x="329" y="322"/>
                  <a:pt x="328" y="322"/>
                </a:cubicBezTo>
                <a:cubicBezTo>
                  <a:pt x="327" y="322"/>
                  <a:pt x="327" y="321"/>
                  <a:pt x="327" y="320"/>
                </a:cubicBezTo>
                <a:cubicBezTo>
                  <a:pt x="327" y="319"/>
                  <a:pt x="327" y="318"/>
                  <a:pt x="328" y="318"/>
                </a:cubicBezTo>
                <a:lnTo>
                  <a:pt x="329" y="319"/>
                </a:lnTo>
                <a:cubicBezTo>
                  <a:pt x="330" y="319"/>
                  <a:pt x="332" y="316"/>
                  <a:pt x="335" y="308"/>
                </a:cubicBezTo>
                <a:cubicBezTo>
                  <a:pt x="336" y="305"/>
                  <a:pt x="337" y="302"/>
                  <a:pt x="337" y="298"/>
                </a:cubicBezTo>
                <a:cubicBezTo>
                  <a:pt x="338" y="295"/>
                  <a:pt x="338" y="293"/>
                  <a:pt x="339" y="293"/>
                </a:cubicBezTo>
                <a:cubicBezTo>
                  <a:pt x="339" y="293"/>
                  <a:pt x="340" y="293"/>
                  <a:pt x="340" y="292"/>
                </a:cubicBezTo>
                <a:lnTo>
                  <a:pt x="338" y="288"/>
                </a:lnTo>
                <a:cubicBezTo>
                  <a:pt x="338" y="288"/>
                  <a:pt x="338" y="288"/>
                  <a:pt x="339" y="288"/>
                </a:cubicBezTo>
                <a:lnTo>
                  <a:pt x="342" y="289"/>
                </a:lnTo>
                <a:cubicBezTo>
                  <a:pt x="342" y="289"/>
                  <a:pt x="342" y="289"/>
                  <a:pt x="342" y="288"/>
                </a:cubicBezTo>
                <a:lnTo>
                  <a:pt x="341" y="283"/>
                </a:lnTo>
                <a:cubicBezTo>
                  <a:pt x="341" y="282"/>
                  <a:pt x="341" y="282"/>
                  <a:pt x="342" y="282"/>
                </a:cubicBezTo>
                <a:lnTo>
                  <a:pt x="343" y="282"/>
                </a:lnTo>
                <a:cubicBezTo>
                  <a:pt x="343" y="282"/>
                  <a:pt x="344" y="281"/>
                  <a:pt x="345" y="281"/>
                </a:cubicBezTo>
                <a:cubicBezTo>
                  <a:pt x="345" y="280"/>
                  <a:pt x="345" y="279"/>
                  <a:pt x="345" y="279"/>
                </a:cubicBezTo>
                <a:cubicBezTo>
                  <a:pt x="345" y="278"/>
                  <a:pt x="345" y="278"/>
                  <a:pt x="345" y="278"/>
                </a:cubicBezTo>
                <a:lnTo>
                  <a:pt x="343" y="278"/>
                </a:lnTo>
                <a:lnTo>
                  <a:pt x="345" y="276"/>
                </a:lnTo>
                <a:cubicBezTo>
                  <a:pt x="347" y="275"/>
                  <a:pt x="347" y="274"/>
                  <a:pt x="347" y="272"/>
                </a:cubicBezTo>
                <a:lnTo>
                  <a:pt x="347" y="271"/>
                </a:lnTo>
                <a:cubicBezTo>
                  <a:pt x="347" y="270"/>
                  <a:pt x="348" y="269"/>
                  <a:pt x="349" y="269"/>
                </a:cubicBezTo>
                <a:cubicBezTo>
                  <a:pt x="351" y="269"/>
                  <a:pt x="352" y="269"/>
                  <a:pt x="352" y="269"/>
                </a:cubicBezTo>
                <a:cubicBezTo>
                  <a:pt x="352" y="268"/>
                  <a:pt x="351" y="268"/>
                  <a:pt x="350" y="267"/>
                </a:cubicBezTo>
                <a:cubicBezTo>
                  <a:pt x="349" y="266"/>
                  <a:pt x="348" y="266"/>
                  <a:pt x="348" y="266"/>
                </a:cubicBezTo>
                <a:lnTo>
                  <a:pt x="350" y="265"/>
                </a:lnTo>
                <a:cubicBezTo>
                  <a:pt x="351" y="265"/>
                  <a:pt x="351" y="264"/>
                  <a:pt x="351" y="263"/>
                </a:cubicBezTo>
                <a:lnTo>
                  <a:pt x="351" y="260"/>
                </a:lnTo>
                <a:cubicBezTo>
                  <a:pt x="351" y="260"/>
                  <a:pt x="351" y="259"/>
                  <a:pt x="351" y="259"/>
                </a:cubicBezTo>
                <a:lnTo>
                  <a:pt x="353" y="260"/>
                </a:lnTo>
                <a:cubicBezTo>
                  <a:pt x="354" y="260"/>
                  <a:pt x="355" y="259"/>
                  <a:pt x="355" y="257"/>
                </a:cubicBezTo>
                <a:cubicBezTo>
                  <a:pt x="355" y="257"/>
                  <a:pt x="354" y="257"/>
                  <a:pt x="353" y="257"/>
                </a:cubicBezTo>
                <a:cubicBezTo>
                  <a:pt x="353" y="257"/>
                  <a:pt x="352" y="256"/>
                  <a:pt x="352" y="255"/>
                </a:cubicBezTo>
                <a:cubicBezTo>
                  <a:pt x="352" y="254"/>
                  <a:pt x="352" y="253"/>
                  <a:pt x="353" y="253"/>
                </a:cubicBezTo>
                <a:lnTo>
                  <a:pt x="355" y="254"/>
                </a:lnTo>
                <a:cubicBezTo>
                  <a:pt x="355" y="254"/>
                  <a:pt x="357" y="253"/>
                  <a:pt x="357" y="251"/>
                </a:cubicBezTo>
                <a:cubicBezTo>
                  <a:pt x="358" y="250"/>
                  <a:pt x="359" y="249"/>
                  <a:pt x="359" y="249"/>
                </a:cubicBezTo>
                <a:cubicBezTo>
                  <a:pt x="359" y="250"/>
                  <a:pt x="358" y="253"/>
                  <a:pt x="357" y="258"/>
                </a:cubicBezTo>
                <a:cubicBezTo>
                  <a:pt x="355" y="263"/>
                  <a:pt x="353" y="268"/>
                  <a:pt x="351" y="273"/>
                </a:cubicBezTo>
                <a:cubicBezTo>
                  <a:pt x="349" y="278"/>
                  <a:pt x="348" y="281"/>
                  <a:pt x="347" y="283"/>
                </a:cubicBezTo>
                <a:cubicBezTo>
                  <a:pt x="345" y="285"/>
                  <a:pt x="345" y="286"/>
                  <a:pt x="345" y="287"/>
                </a:cubicBezTo>
                <a:cubicBezTo>
                  <a:pt x="345" y="287"/>
                  <a:pt x="345" y="287"/>
                  <a:pt x="345" y="287"/>
                </a:cubicBezTo>
                <a:lnTo>
                  <a:pt x="345" y="287"/>
                </a:lnTo>
                <a:cubicBezTo>
                  <a:pt x="345" y="288"/>
                  <a:pt x="345" y="289"/>
                  <a:pt x="344" y="290"/>
                </a:cubicBezTo>
                <a:cubicBezTo>
                  <a:pt x="343" y="292"/>
                  <a:pt x="342" y="295"/>
                  <a:pt x="340" y="300"/>
                </a:cubicBezTo>
                <a:cubicBezTo>
                  <a:pt x="338" y="305"/>
                  <a:pt x="336" y="311"/>
                  <a:pt x="335" y="316"/>
                </a:cubicBezTo>
                <a:cubicBezTo>
                  <a:pt x="333" y="322"/>
                  <a:pt x="332" y="326"/>
                  <a:pt x="332" y="328"/>
                </a:cubicBezTo>
                <a:lnTo>
                  <a:pt x="332" y="330"/>
                </a:lnTo>
                <a:lnTo>
                  <a:pt x="332" y="330"/>
                </a:lnTo>
                <a:lnTo>
                  <a:pt x="332" y="330"/>
                </a:lnTo>
                <a:cubicBezTo>
                  <a:pt x="331" y="329"/>
                  <a:pt x="331" y="329"/>
                  <a:pt x="331" y="329"/>
                </a:cubicBezTo>
                <a:cubicBezTo>
                  <a:pt x="330" y="329"/>
                  <a:pt x="329" y="330"/>
                  <a:pt x="328" y="331"/>
                </a:cubicBezTo>
                <a:cubicBezTo>
                  <a:pt x="327" y="332"/>
                  <a:pt x="327" y="333"/>
                  <a:pt x="326" y="333"/>
                </a:cubicBezTo>
                <a:close/>
                <a:moveTo>
                  <a:pt x="311" y="332"/>
                </a:moveTo>
                <a:lnTo>
                  <a:pt x="311" y="332"/>
                </a:lnTo>
                <a:cubicBezTo>
                  <a:pt x="311" y="330"/>
                  <a:pt x="313" y="323"/>
                  <a:pt x="318" y="313"/>
                </a:cubicBezTo>
                <a:cubicBezTo>
                  <a:pt x="322" y="301"/>
                  <a:pt x="326" y="292"/>
                  <a:pt x="329" y="285"/>
                </a:cubicBezTo>
                <a:cubicBezTo>
                  <a:pt x="337" y="266"/>
                  <a:pt x="341" y="254"/>
                  <a:pt x="341" y="249"/>
                </a:cubicBezTo>
                <a:lnTo>
                  <a:pt x="341" y="247"/>
                </a:lnTo>
                <a:cubicBezTo>
                  <a:pt x="341" y="247"/>
                  <a:pt x="341" y="247"/>
                  <a:pt x="341" y="247"/>
                </a:cubicBezTo>
                <a:lnTo>
                  <a:pt x="343" y="248"/>
                </a:lnTo>
                <a:cubicBezTo>
                  <a:pt x="344" y="248"/>
                  <a:pt x="344" y="248"/>
                  <a:pt x="344" y="247"/>
                </a:cubicBezTo>
                <a:lnTo>
                  <a:pt x="343" y="244"/>
                </a:lnTo>
                <a:cubicBezTo>
                  <a:pt x="343" y="242"/>
                  <a:pt x="344" y="241"/>
                  <a:pt x="346" y="241"/>
                </a:cubicBezTo>
                <a:cubicBezTo>
                  <a:pt x="348" y="241"/>
                  <a:pt x="348" y="241"/>
                  <a:pt x="348" y="243"/>
                </a:cubicBezTo>
                <a:cubicBezTo>
                  <a:pt x="348" y="245"/>
                  <a:pt x="347" y="249"/>
                  <a:pt x="343" y="256"/>
                </a:cubicBezTo>
                <a:cubicBezTo>
                  <a:pt x="340" y="264"/>
                  <a:pt x="337" y="271"/>
                  <a:pt x="335" y="279"/>
                </a:cubicBezTo>
                <a:cubicBezTo>
                  <a:pt x="332" y="286"/>
                  <a:pt x="329" y="295"/>
                  <a:pt x="325" y="304"/>
                </a:cubicBezTo>
                <a:cubicBezTo>
                  <a:pt x="322" y="310"/>
                  <a:pt x="320" y="316"/>
                  <a:pt x="318" y="321"/>
                </a:cubicBezTo>
                <a:lnTo>
                  <a:pt x="316" y="325"/>
                </a:lnTo>
                <a:cubicBezTo>
                  <a:pt x="314" y="330"/>
                  <a:pt x="313" y="332"/>
                  <a:pt x="311" y="332"/>
                </a:cubicBezTo>
                <a:close/>
                <a:moveTo>
                  <a:pt x="241" y="584"/>
                </a:moveTo>
                <a:lnTo>
                  <a:pt x="241" y="583"/>
                </a:lnTo>
                <a:cubicBezTo>
                  <a:pt x="241" y="583"/>
                  <a:pt x="242" y="580"/>
                  <a:pt x="243" y="576"/>
                </a:cubicBezTo>
                <a:cubicBezTo>
                  <a:pt x="247" y="566"/>
                  <a:pt x="250" y="561"/>
                  <a:pt x="250" y="561"/>
                </a:cubicBezTo>
                <a:lnTo>
                  <a:pt x="251" y="561"/>
                </a:lnTo>
                <a:cubicBezTo>
                  <a:pt x="251" y="563"/>
                  <a:pt x="248" y="568"/>
                  <a:pt x="244" y="577"/>
                </a:cubicBezTo>
                <a:cubicBezTo>
                  <a:pt x="242" y="582"/>
                  <a:pt x="241" y="584"/>
                  <a:pt x="241" y="584"/>
                </a:cubicBezTo>
                <a:close/>
                <a:moveTo>
                  <a:pt x="251" y="485"/>
                </a:moveTo>
                <a:cubicBezTo>
                  <a:pt x="250" y="485"/>
                  <a:pt x="250" y="485"/>
                  <a:pt x="250" y="484"/>
                </a:cubicBezTo>
                <a:cubicBezTo>
                  <a:pt x="250" y="484"/>
                  <a:pt x="250" y="483"/>
                  <a:pt x="251" y="482"/>
                </a:cubicBezTo>
                <a:cubicBezTo>
                  <a:pt x="251" y="481"/>
                  <a:pt x="252" y="481"/>
                  <a:pt x="253" y="481"/>
                </a:cubicBezTo>
                <a:cubicBezTo>
                  <a:pt x="253" y="481"/>
                  <a:pt x="253" y="481"/>
                  <a:pt x="253" y="483"/>
                </a:cubicBezTo>
                <a:cubicBezTo>
                  <a:pt x="253" y="484"/>
                  <a:pt x="253" y="485"/>
                  <a:pt x="251" y="485"/>
                </a:cubicBezTo>
                <a:close/>
                <a:moveTo>
                  <a:pt x="199" y="144"/>
                </a:moveTo>
                <a:lnTo>
                  <a:pt x="202" y="141"/>
                </a:lnTo>
                <a:cubicBezTo>
                  <a:pt x="204" y="138"/>
                  <a:pt x="206" y="137"/>
                  <a:pt x="206" y="137"/>
                </a:cubicBezTo>
                <a:cubicBezTo>
                  <a:pt x="207" y="137"/>
                  <a:pt x="207" y="137"/>
                  <a:pt x="207" y="139"/>
                </a:cubicBezTo>
                <a:cubicBezTo>
                  <a:pt x="207" y="140"/>
                  <a:pt x="206" y="141"/>
                  <a:pt x="203" y="142"/>
                </a:cubicBezTo>
                <a:cubicBezTo>
                  <a:pt x="201" y="144"/>
                  <a:pt x="200" y="144"/>
                  <a:pt x="199" y="144"/>
                </a:cubicBezTo>
                <a:close/>
                <a:moveTo>
                  <a:pt x="214" y="134"/>
                </a:moveTo>
                <a:cubicBezTo>
                  <a:pt x="213" y="134"/>
                  <a:pt x="213" y="134"/>
                  <a:pt x="213" y="133"/>
                </a:cubicBezTo>
                <a:cubicBezTo>
                  <a:pt x="213" y="131"/>
                  <a:pt x="213" y="131"/>
                  <a:pt x="215" y="131"/>
                </a:cubicBezTo>
                <a:cubicBezTo>
                  <a:pt x="216" y="131"/>
                  <a:pt x="216" y="131"/>
                  <a:pt x="216" y="132"/>
                </a:cubicBezTo>
                <a:lnTo>
                  <a:pt x="216" y="133"/>
                </a:lnTo>
                <a:cubicBezTo>
                  <a:pt x="215" y="134"/>
                  <a:pt x="214" y="134"/>
                  <a:pt x="214" y="134"/>
                </a:cubicBezTo>
                <a:close/>
                <a:moveTo>
                  <a:pt x="206" y="150"/>
                </a:moveTo>
                <a:cubicBezTo>
                  <a:pt x="205" y="150"/>
                  <a:pt x="205" y="149"/>
                  <a:pt x="205" y="149"/>
                </a:cubicBezTo>
                <a:cubicBezTo>
                  <a:pt x="205" y="148"/>
                  <a:pt x="206" y="147"/>
                  <a:pt x="209" y="145"/>
                </a:cubicBezTo>
                <a:cubicBezTo>
                  <a:pt x="212" y="144"/>
                  <a:pt x="214" y="144"/>
                  <a:pt x="214" y="144"/>
                </a:cubicBezTo>
                <a:lnTo>
                  <a:pt x="215" y="144"/>
                </a:lnTo>
                <a:lnTo>
                  <a:pt x="213" y="145"/>
                </a:lnTo>
                <a:cubicBezTo>
                  <a:pt x="213" y="146"/>
                  <a:pt x="211" y="147"/>
                  <a:pt x="209" y="148"/>
                </a:cubicBezTo>
                <a:cubicBezTo>
                  <a:pt x="208" y="149"/>
                  <a:pt x="206" y="150"/>
                  <a:pt x="206" y="150"/>
                </a:cubicBezTo>
                <a:close/>
                <a:moveTo>
                  <a:pt x="202" y="515"/>
                </a:moveTo>
                <a:cubicBezTo>
                  <a:pt x="201" y="515"/>
                  <a:pt x="201" y="515"/>
                  <a:pt x="201" y="515"/>
                </a:cubicBezTo>
                <a:cubicBezTo>
                  <a:pt x="201" y="513"/>
                  <a:pt x="202" y="511"/>
                  <a:pt x="203" y="509"/>
                </a:cubicBezTo>
                <a:cubicBezTo>
                  <a:pt x="204" y="508"/>
                  <a:pt x="204" y="508"/>
                  <a:pt x="205" y="508"/>
                </a:cubicBezTo>
                <a:cubicBezTo>
                  <a:pt x="205" y="508"/>
                  <a:pt x="205" y="508"/>
                  <a:pt x="205" y="508"/>
                </a:cubicBezTo>
                <a:cubicBezTo>
                  <a:pt x="205" y="509"/>
                  <a:pt x="205" y="510"/>
                  <a:pt x="205" y="511"/>
                </a:cubicBezTo>
                <a:cubicBezTo>
                  <a:pt x="204" y="512"/>
                  <a:pt x="204" y="513"/>
                  <a:pt x="203" y="514"/>
                </a:cubicBezTo>
                <a:cubicBezTo>
                  <a:pt x="203" y="515"/>
                  <a:pt x="202" y="515"/>
                  <a:pt x="202" y="515"/>
                </a:cubicBezTo>
                <a:close/>
                <a:moveTo>
                  <a:pt x="198" y="525"/>
                </a:moveTo>
                <a:cubicBezTo>
                  <a:pt x="198" y="525"/>
                  <a:pt x="198" y="525"/>
                  <a:pt x="198" y="525"/>
                </a:cubicBezTo>
                <a:cubicBezTo>
                  <a:pt x="198" y="524"/>
                  <a:pt x="198" y="523"/>
                  <a:pt x="198" y="522"/>
                </a:cubicBezTo>
                <a:cubicBezTo>
                  <a:pt x="198" y="521"/>
                  <a:pt x="199" y="520"/>
                  <a:pt x="199" y="519"/>
                </a:cubicBezTo>
                <a:cubicBezTo>
                  <a:pt x="200" y="518"/>
                  <a:pt x="201" y="518"/>
                  <a:pt x="201" y="518"/>
                </a:cubicBezTo>
                <a:cubicBezTo>
                  <a:pt x="201" y="518"/>
                  <a:pt x="201" y="518"/>
                  <a:pt x="201" y="519"/>
                </a:cubicBezTo>
                <a:cubicBezTo>
                  <a:pt x="201" y="519"/>
                  <a:pt x="201" y="520"/>
                  <a:pt x="201" y="521"/>
                </a:cubicBezTo>
                <a:cubicBezTo>
                  <a:pt x="201" y="522"/>
                  <a:pt x="200" y="523"/>
                  <a:pt x="199" y="524"/>
                </a:cubicBezTo>
                <a:cubicBezTo>
                  <a:pt x="199" y="525"/>
                  <a:pt x="198" y="525"/>
                  <a:pt x="198" y="525"/>
                </a:cubicBezTo>
                <a:close/>
                <a:moveTo>
                  <a:pt x="263" y="492"/>
                </a:moveTo>
                <a:cubicBezTo>
                  <a:pt x="262" y="492"/>
                  <a:pt x="262" y="492"/>
                  <a:pt x="262" y="492"/>
                </a:cubicBezTo>
                <a:cubicBezTo>
                  <a:pt x="262" y="491"/>
                  <a:pt x="262" y="490"/>
                  <a:pt x="263" y="489"/>
                </a:cubicBezTo>
                <a:cubicBezTo>
                  <a:pt x="265" y="487"/>
                  <a:pt x="265" y="485"/>
                  <a:pt x="266" y="485"/>
                </a:cubicBezTo>
                <a:cubicBezTo>
                  <a:pt x="266" y="485"/>
                  <a:pt x="266" y="486"/>
                  <a:pt x="266" y="488"/>
                </a:cubicBezTo>
                <a:cubicBezTo>
                  <a:pt x="266" y="490"/>
                  <a:pt x="265" y="491"/>
                  <a:pt x="263" y="492"/>
                </a:cubicBezTo>
                <a:close/>
                <a:moveTo>
                  <a:pt x="220" y="634"/>
                </a:moveTo>
                <a:cubicBezTo>
                  <a:pt x="219" y="634"/>
                  <a:pt x="219" y="633"/>
                  <a:pt x="219" y="631"/>
                </a:cubicBezTo>
                <a:cubicBezTo>
                  <a:pt x="219" y="629"/>
                  <a:pt x="219" y="628"/>
                  <a:pt x="219" y="627"/>
                </a:cubicBezTo>
                <a:cubicBezTo>
                  <a:pt x="219" y="627"/>
                  <a:pt x="220" y="626"/>
                  <a:pt x="221" y="625"/>
                </a:cubicBezTo>
                <a:cubicBezTo>
                  <a:pt x="222" y="625"/>
                  <a:pt x="222" y="626"/>
                  <a:pt x="222" y="628"/>
                </a:cubicBezTo>
                <a:cubicBezTo>
                  <a:pt x="222" y="630"/>
                  <a:pt x="222" y="632"/>
                  <a:pt x="221" y="634"/>
                </a:cubicBezTo>
                <a:lnTo>
                  <a:pt x="220" y="634"/>
                </a:lnTo>
                <a:close/>
                <a:moveTo>
                  <a:pt x="218" y="642"/>
                </a:moveTo>
                <a:cubicBezTo>
                  <a:pt x="217" y="642"/>
                  <a:pt x="217" y="641"/>
                  <a:pt x="216" y="640"/>
                </a:cubicBezTo>
                <a:cubicBezTo>
                  <a:pt x="216" y="640"/>
                  <a:pt x="216" y="639"/>
                  <a:pt x="216" y="639"/>
                </a:cubicBezTo>
                <a:cubicBezTo>
                  <a:pt x="216" y="638"/>
                  <a:pt x="216" y="638"/>
                  <a:pt x="216" y="638"/>
                </a:cubicBezTo>
                <a:lnTo>
                  <a:pt x="217" y="637"/>
                </a:lnTo>
                <a:cubicBezTo>
                  <a:pt x="218" y="637"/>
                  <a:pt x="218" y="638"/>
                  <a:pt x="218" y="639"/>
                </a:cubicBezTo>
                <a:cubicBezTo>
                  <a:pt x="218" y="641"/>
                  <a:pt x="218" y="642"/>
                  <a:pt x="218" y="642"/>
                </a:cubicBezTo>
                <a:close/>
                <a:moveTo>
                  <a:pt x="69" y="928"/>
                </a:moveTo>
                <a:cubicBezTo>
                  <a:pt x="68" y="928"/>
                  <a:pt x="68" y="928"/>
                  <a:pt x="68" y="927"/>
                </a:cubicBezTo>
                <a:cubicBezTo>
                  <a:pt x="68" y="926"/>
                  <a:pt x="69" y="925"/>
                  <a:pt x="69" y="924"/>
                </a:cubicBezTo>
                <a:cubicBezTo>
                  <a:pt x="69" y="922"/>
                  <a:pt x="69" y="921"/>
                  <a:pt x="70" y="920"/>
                </a:cubicBezTo>
                <a:lnTo>
                  <a:pt x="71" y="918"/>
                </a:lnTo>
                <a:cubicBezTo>
                  <a:pt x="71" y="918"/>
                  <a:pt x="72" y="918"/>
                  <a:pt x="72" y="919"/>
                </a:cubicBezTo>
                <a:cubicBezTo>
                  <a:pt x="72" y="921"/>
                  <a:pt x="71" y="924"/>
                  <a:pt x="70" y="926"/>
                </a:cubicBezTo>
                <a:cubicBezTo>
                  <a:pt x="69" y="928"/>
                  <a:pt x="69" y="928"/>
                  <a:pt x="69" y="928"/>
                </a:cubicBezTo>
                <a:close/>
                <a:moveTo>
                  <a:pt x="283" y="369"/>
                </a:moveTo>
                <a:cubicBezTo>
                  <a:pt x="282" y="369"/>
                  <a:pt x="282" y="368"/>
                  <a:pt x="282" y="368"/>
                </a:cubicBezTo>
                <a:cubicBezTo>
                  <a:pt x="282" y="366"/>
                  <a:pt x="283" y="362"/>
                  <a:pt x="285" y="357"/>
                </a:cubicBezTo>
                <a:cubicBezTo>
                  <a:pt x="286" y="355"/>
                  <a:pt x="287" y="352"/>
                  <a:pt x="288" y="350"/>
                </a:cubicBezTo>
                <a:lnTo>
                  <a:pt x="290" y="346"/>
                </a:lnTo>
                <a:cubicBezTo>
                  <a:pt x="291" y="346"/>
                  <a:pt x="291" y="347"/>
                  <a:pt x="291" y="348"/>
                </a:cubicBezTo>
                <a:cubicBezTo>
                  <a:pt x="291" y="348"/>
                  <a:pt x="289" y="353"/>
                  <a:pt x="286" y="362"/>
                </a:cubicBezTo>
                <a:cubicBezTo>
                  <a:pt x="285" y="366"/>
                  <a:pt x="284" y="367"/>
                  <a:pt x="284" y="368"/>
                </a:cubicBezTo>
                <a:cubicBezTo>
                  <a:pt x="284" y="368"/>
                  <a:pt x="283" y="369"/>
                  <a:pt x="283" y="369"/>
                </a:cubicBezTo>
                <a:close/>
                <a:moveTo>
                  <a:pt x="84" y="878"/>
                </a:moveTo>
                <a:cubicBezTo>
                  <a:pt x="83" y="878"/>
                  <a:pt x="82" y="877"/>
                  <a:pt x="82" y="876"/>
                </a:cubicBezTo>
                <a:lnTo>
                  <a:pt x="82" y="875"/>
                </a:lnTo>
                <a:cubicBezTo>
                  <a:pt x="83" y="872"/>
                  <a:pt x="84" y="870"/>
                  <a:pt x="85" y="867"/>
                </a:cubicBezTo>
                <a:cubicBezTo>
                  <a:pt x="85" y="864"/>
                  <a:pt x="87" y="862"/>
                  <a:pt x="89" y="862"/>
                </a:cubicBezTo>
                <a:cubicBezTo>
                  <a:pt x="90" y="862"/>
                  <a:pt x="91" y="863"/>
                  <a:pt x="91" y="865"/>
                </a:cubicBezTo>
                <a:cubicBezTo>
                  <a:pt x="91" y="867"/>
                  <a:pt x="91" y="867"/>
                  <a:pt x="90" y="867"/>
                </a:cubicBezTo>
                <a:lnTo>
                  <a:pt x="88" y="867"/>
                </a:lnTo>
                <a:cubicBezTo>
                  <a:pt x="86" y="867"/>
                  <a:pt x="86" y="868"/>
                  <a:pt x="86" y="868"/>
                </a:cubicBezTo>
                <a:cubicBezTo>
                  <a:pt x="86" y="869"/>
                  <a:pt x="86" y="869"/>
                  <a:pt x="87" y="870"/>
                </a:cubicBezTo>
                <a:cubicBezTo>
                  <a:pt x="89" y="871"/>
                  <a:pt x="89" y="871"/>
                  <a:pt x="89" y="872"/>
                </a:cubicBezTo>
                <a:cubicBezTo>
                  <a:pt x="89" y="873"/>
                  <a:pt x="89" y="873"/>
                  <a:pt x="88" y="874"/>
                </a:cubicBezTo>
                <a:cubicBezTo>
                  <a:pt x="87" y="874"/>
                  <a:pt x="86" y="875"/>
                  <a:pt x="86" y="876"/>
                </a:cubicBezTo>
                <a:lnTo>
                  <a:pt x="87" y="877"/>
                </a:lnTo>
                <a:cubicBezTo>
                  <a:pt x="87" y="878"/>
                  <a:pt x="86" y="878"/>
                  <a:pt x="84" y="878"/>
                </a:cubicBezTo>
                <a:close/>
                <a:moveTo>
                  <a:pt x="276" y="457"/>
                </a:moveTo>
                <a:cubicBezTo>
                  <a:pt x="276" y="457"/>
                  <a:pt x="276" y="456"/>
                  <a:pt x="276" y="456"/>
                </a:cubicBezTo>
                <a:cubicBezTo>
                  <a:pt x="276" y="455"/>
                  <a:pt x="276" y="454"/>
                  <a:pt x="278" y="452"/>
                </a:cubicBezTo>
                <a:cubicBezTo>
                  <a:pt x="278" y="450"/>
                  <a:pt x="279" y="449"/>
                  <a:pt x="280" y="449"/>
                </a:cubicBezTo>
                <a:lnTo>
                  <a:pt x="280" y="450"/>
                </a:lnTo>
                <a:cubicBezTo>
                  <a:pt x="280" y="450"/>
                  <a:pt x="280" y="451"/>
                  <a:pt x="280" y="452"/>
                </a:cubicBezTo>
                <a:cubicBezTo>
                  <a:pt x="279" y="453"/>
                  <a:pt x="279" y="454"/>
                  <a:pt x="278" y="455"/>
                </a:cubicBezTo>
                <a:cubicBezTo>
                  <a:pt x="277" y="456"/>
                  <a:pt x="277" y="457"/>
                  <a:pt x="276" y="457"/>
                </a:cubicBezTo>
                <a:close/>
                <a:moveTo>
                  <a:pt x="310" y="350"/>
                </a:moveTo>
                <a:cubicBezTo>
                  <a:pt x="310" y="350"/>
                  <a:pt x="310" y="350"/>
                  <a:pt x="310" y="348"/>
                </a:cubicBezTo>
                <a:cubicBezTo>
                  <a:pt x="310" y="347"/>
                  <a:pt x="310" y="346"/>
                  <a:pt x="311" y="345"/>
                </a:cubicBezTo>
                <a:lnTo>
                  <a:pt x="312" y="345"/>
                </a:lnTo>
                <a:cubicBezTo>
                  <a:pt x="312" y="345"/>
                  <a:pt x="312" y="345"/>
                  <a:pt x="312" y="346"/>
                </a:cubicBezTo>
                <a:cubicBezTo>
                  <a:pt x="312" y="346"/>
                  <a:pt x="312" y="347"/>
                  <a:pt x="311" y="348"/>
                </a:cubicBezTo>
                <a:cubicBezTo>
                  <a:pt x="311" y="350"/>
                  <a:pt x="310" y="350"/>
                  <a:pt x="310" y="350"/>
                </a:cubicBezTo>
                <a:close/>
                <a:moveTo>
                  <a:pt x="291" y="384"/>
                </a:moveTo>
                <a:cubicBezTo>
                  <a:pt x="290" y="384"/>
                  <a:pt x="290" y="384"/>
                  <a:pt x="290" y="383"/>
                </a:cubicBezTo>
                <a:cubicBezTo>
                  <a:pt x="290" y="381"/>
                  <a:pt x="293" y="372"/>
                  <a:pt x="300" y="357"/>
                </a:cubicBezTo>
                <a:cubicBezTo>
                  <a:pt x="306" y="343"/>
                  <a:pt x="310" y="335"/>
                  <a:pt x="312" y="335"/>
                </a:cubicBezTo>
                <a:cubicBezTo>
                  <a:pt x="313" y="335"/>
                  <a:pt x="315" y="334"/>
                  <a:pt x="317" y="332"/>
                </a:cubicBezTo>
                <a:lnTo>
                  <a:pt x="318" y="331"/>
                </a:lnTo>
                <a:lnTo>
                  <a:pt x="318" y="331"/>
                </a:lnTo>
                <a:cubicBezTo>
                  <a:pt x="318" y="332"/>
                  <a:pt x="317" y="333"/>
                  <a:pt x="316" y="336"/>
                </a:cubicBezTo>
                <a:cubicBezTo>
                  <a:pt x="315" y="339"/>
                  <a:pt x="315" y="340"/>
                  <a:pt x="314" y="340"/>
                </a:cubicBezTo>
                <a:cubicBezTo>
                  <a:pt x="313" y="340"/>
                  <a:pt x="313" y="340"/>
                  <a:pt x="313" y="339"/>
                </a:cubicBezTo>
                <a:cubicBezTo>
                  <a:pt x="313" y="339"/>
                  <a:pt x="313" y="339"/>
                  <a:pt x="313" y="339"/>
                </a:cubicBezTo>
                <a:cubicBezTo>
                  <a:pt x="312" y="339"/>
                  <a:pt x="310" y="342"/>
                  <a:pt x="307" y="348"/>
                </a:cubicBezTo>
                <a:cubicBezTo>
                  <a:pt x="303" y="356"/>
                  <a:pt x="302" y="361"/>
                  <a:pt x="302" y="363"/>
                </a:cubicBezTo>
                <a:cubicBezTo>
                  <a:pt x="302" y="364"/>
                  <a:pt x="302" y="364"/>
                  <a:pt x="302" y="364"/>
                </a:cubicBezTo>
                <a:lnTo>
                  <a:pt x="305" y="364"/>
                </a:lnTo>
                <a:cubicBezTo>
                  <a:pt x="305" y="364"/>
                  <a:pt x="306" y="364"/>
                  <a:pt x="306" y="365"/>
                </a:cubicBezTo>
                <a:cubicBezTo>
                  <a:pt x="306" y="365"/>
                  <a:pt x="305" y="366"/>
                  <a:pt x="304" y="366"/>
                </a:cubicBezTo>
                <a:lnTo>
                  <a:pt x="302" y="366"/>
                </a:lnTo>
                <a:cubicBezTo>
                  <a:pt x="301" y="366"/>
                  <a:pt x="300" y="367"/>
                  <a:pt x="299" y="369"/>
                </a:cubicBezTo>
                <a:cubicBezTo>
                  <a:pt x="297" y="370"/>
                  <a:pt x="296" y="372"/>
                  <a:pt x="295" y="375"/>
                </a:cubicBezTo>
                <a:cubicBezTo>
                  <a:pt x="294" y="377"/>
                  <a:pt x="293" y="379"/>
                  <a:pt x="293" y="380"/>
                </a:cubicBezTo>
                <a:cubicBezTo>
                  <a:pt x="293" y="382"/>
                  <a:pt x="292" y="383"/>
                  <a:pt x="292" y="383"/>
                </a:cubicBezTo>
                <a:cubicBezTo>
                  <a:pt x="291" y="384"/>
                  <a:pt x="291" y="384"/>
                  <a:pt x="291" y="384"/>
                </a:cubicBezTo>
                <a:close/>
                <a:moveTo>
                  <a:pt x="296" y="385"/>
                </a:moveTo>
                <a:cubicBezTo>
                  <a:pt x="296" y="385"/>
                  <a:pt x="296" y="385"/>
                  <a:pt x="296" y="384"/>
                </a:cubicBezTo>
                <a:cubicBezTo>
                  <a:pt x="296" y="383"/>
                  <a:pt x="296" y="380"/>
                  <a:pt x="298" y="375"/>
                </a:cubicBezTo>
                <a:cubicBezTo>
                  <a:pt x="300" y="371"/>
                  <a:pt x="301" y="369"/>
                  <a:pt x="302" y="369"/>
                </a:cubicBezTo>
                <a:cubicBezTo>
                  <a:pt x="303" y="369"/>
                  <a:pt x="303" y="369"/>
                  <a:pt x="303" y="369"/>
                </a:cubicBezTo>
                <a:cubicBezTo>
                  <a:pt x="303" y="371"/>
                  <a:pt x="302" y="373"/>
                  <a:pt x="300" y="376"/>
                </a:cubicBezTo>
                <a:cubicBezTo>
                  <a:pt x="298" y="382"/>
                  <a:pt x="297" y="385"/>
                  <a:pt x="296" y="385"/>
                </a:cubicBezTo>
                <a:close/>
                <a:moveTo>
                  <a:pt x="72" y="914"/>
                </a:moveTo>
                <a:lnTo>
                  <a:pt x="72" y="912"/>
                </a:lnTo>
                <a:cubicBezTo>
                  <a:pt x="72" y="911"/>
                  <a:pt x="72" y="909"/>
                  <a:pt x="73" y="906"/>
                </a:cubicBezTo>
                <a:cubicBezTo>
                  <a:pt x="74" y="904"/>
                  <a:pt x="74" y="902"/>
                  <a:pt x="75" y="899"/>
                </a:cubicBezTo>
                <a:cubicBezTo>
                  <a:pt x="76" y="897"/>
                  <a:pt x="77" y="896"/>
                  <a:pt x="78" y="896"/>
                </a:cubicBezTo>
                <a:cubicBezTo>
                  <a:pt x="79" y="896"/>
                  <a:pt x="80" y="897"/>
                  <a:pt x="80" y="898"/>
                </a:cubicBezTo>
                <a:cubicBezTo>
                  <a:pt x="80" y="899"/>
                  <a:pt x="79" y="901"/>
                  <a:pt x="77" y="904"/>
                </a:cubicBezTo>
                <a:cubicBezTo>
                  <a:pt x="75" y="906"/>
                  <a:pt x="74" y="909"/>
                  <a:pt x="74" y="911"/>
                </a:cubicBezTo>
                <a:cubicBezTo>
                  <a:pt x="73" y="913"/>
                  <a:pt x="73" y="914"/>
                  <a:pt x="72" y="914"/>
                </a:cubicBezTo>
                <a:close/>
                <a:moveTo>
                  <a:pt x="95" y="848"/>
                </a:moveTo>
                <a:cubicBezTo>
                  <a:pt x="95" y="848"/>
                  <a:pt x="95" y="848"/>
                  <a:pt x="95" y="847"/>
                </a:cubicBezTo>
                <a:cubicBezTo>
                  <a:pt x="95" y="845"/>
                  <a:pt x="96" y="842"/>
                  <a:pt x="97" y="837"/>
                </a:cubicBezTo>
                <a:cubicBezTo>
                  <a:pt x="99" y="832"/>
                  <a:pt x="100" y="828"/>
                  <a:pt x="100" y="823"/>
                </a:cubicBezTo>
                <a:lnTo>
                  <a:pt x="100" y="817"/>
                </a:lnTo>
                <a:cubicBezTo>
                  <a:pt x="100" y="815"/>
                  <a:pt x="100" y="814"/>
                  <a:pt x="100" y="814"/>
                </a:cubicBezTo>
                <a:cubicBezTo>
                  <a:pt x="100" y="814"/>
                  <a:pt x="101" y="814"/>
                  <a:pt x="102" y="815"/>
                </a:cubicBezTo>
                <a:cubicBezTo>
                  <a:pt x="103" y="816"/>
                  <a:pt x="103" y="816"/>
                  <a:pt x="104" y="816"/>
                </a:cubicBezTo>
                <a:lnTo>
                  <a:pt x="106" y="816"/>
                </a:lnTo>
                <a:lnTo>
                  <a:pt x="105" y="818"/>
                </a:lnTo>
                <a:cubicBezTo>
                  <a:pt x="105" y="820"/>
                  <a:pt x="104" y="821"/>
                  <a:pt x="103" y="821"/>
                </a:cubicBezTo>
                <a:cubicBezTo>
                  <a:pt x="102" y="821"/>
                  <a:pt x="101" y="822"/>
                  <a:pt x="101" y="823"/>
                </a:cubicBezTo>
                <a:lnTo>
                  <a:pt x="102" y="825"/>
                </a:lnTo>
                <a:cubicBezTo>
                  <a:pt x="102" y="826"/>
                  <a:pt x="101" y="828"/>
                  <a:pt x="101" y="830"/>
                </a:cubicBezTo>
                <a:cubicBezTo>
                  <a:pt x="98" y="842"/>
                  <a:pt x="96" y="848"/>
                  <a:pt x="95" y="848"/>
                </a:cubicBezTo>
                <a:close/>
                <a:moveTo>
                  <a:pt x="92" y="853"/>
                </a:moveTo>
                <a:cubicBezTo>
                  <a:pt x="90" y="853"/>
                  <a:pt x="90" y="853"/>
                  <a:pt x="90" y="853"/>
                </a:cubicBezTo>
                <a:lnTo>
                  <a:pt x="93" y="852"/>
                </a:lnTo>
                <a:cubicBezTo>
                  <a:pt x="94" y="852"/>
                  <a:pt x="94" y="852"/>
                  <a:pt x="94" y="853"/>
                </a:cubicBezTo>
                <a:cubicBezTo>
                  <a:pt x="94" y="853"/>
                  <a:pt x="94" y="853"/>
                  <a:pt x="92" y="853"/>
                </a:cubicBezTo>
                <a:close/>
                <a:moveTo>
                  <a:pt x="322" y="343"/>
                </a:moveTo>
                <a:cubicBezTo>
                  <a:pt x="322" y="343"/>
                  <a:pt x="322" y="342"/>
                  <a:pt x="322" y="340"/>
                </a:cubicBezTo>
                <a:cubicBezTo>
                  <a:pt x="322" y="337"/>
                  <a:pt x="322" y="335"/>
                  <a:pt x="323" y="335"/>
                </a:cubicBezTo>
                <a:cubicBezTo>
                  <a:pt x="324" y="335"/>
                  <a:pt x="324" y="335"/>
                  <a:pt x="325" y="336"/>
                </a:cubicBezTo>
                <a:cubicBezTo>
                  <a:pt x="326" y="337"/>
                  <a:pt x="327" y="338"/>
                  <a:pt x="328" y="338"/>
                </a:cubicBezTo>
                <a:cubicBezTo>
                  <a:pt x="328" y="338"/>
                  <a:pt x="329" y="339"/>
                  <a:pt x="329" y="339"/>
                </a:cubicBezTo>
                <a:cubicBezTo>
                  <a:pt x="329" y="340"/>
                  <a:pt x="328" y="340"/>
                  <a:pt x="328" y="340"/>
                </a:cubicBezTo>
                <a:lnTo>
                  <a:pt x="326" y="339"/>
                </a:lnTo>
                <a:cubicBezTo>
                  <a:pt x="325" y="339"/>
                  <a:pt x="324" y="340"/>
                  <a:pt x="323" y="342"/>
                </a:cubicBezTo>
                <a:lnTo>
                  <a:pt x="322" y="343"/>
                </a:lnTo>
                <a:close/>
                <a:moveTo>
                  <a:pt x="225" y="134"/>
                </a:moveTo>
                <a:cubicBezTo>
                  <a:pt x="225" y="134"/>
                  <a:pt x="225" y="134"/>
                  <a:pt x="225" y="134"/>
                </a:cubicBezTo>
                <a:cubicBezTo>
                  <a:pt x="225" y="134"/>
                  <a:pt x="225" y="133"/>
                  <a:pt x="226" y="133"/>
                </a:cubicBezTo>
                <a:cubicBezTo>
                  <a:pt x="228" y="132"/>
                  <a:pt x="228" y="131"/>
                  <a:pt x="228" y="131"/>
                </a:cubicBezTo>
                <a:cubicBezTo>
                  <a:pt x="228" y="131"/>
                  <a:pt x="228" y="131"/>
                  <a:pt x="228" y="131"/>
                </a:cubicBezTo>
                <a:cubicBezTo>
                  <a:pt x="228" y="129"/>
                  <a:pt x="231" y="126"/>
                  <a:pt x="237" y="122"/>
                </a:cubicBezTo>
                <a:cubicBezTo>
                  <a:pt x="244" y="116"/>
                  <a:pt x="248" y="112"/>
                  <a:pt x="248" y="111"/>
                </a:cubicBezTo>
                <a:cubicBezTo>
                  <a:pt x="248" y="110"/>
                  <a:pt x="249" y="110"/>
                  <a:pt x="251" y="110"/>
                </a:cubicBezTo>
                <a:cubicBezTo>
                  <a:pt x="253" y="110"/>
                  <a:pt x="254" y="109"/>
                  <a:pt x="255" y="107"/>
                </a:cubicBezTo>
                <a:cubicBezTo>
                  <a:pt x="256" y="105"/>
                  <a:pt x="258" y="104"/>
                  <a:pt x="259" y="104"/>
                </a:cubicBezTo>
                <a:cubicBezTo>
                  <a:pt x="260" y="104"/>
                  <a:pt x="260" y="104"/>
                  <a:pt x="260" y="103"/>
                </a:cubicBezTo>
                <a:lnTo>
                  <a:pt x="260" y="102"/>
                </a:lnTo>
                <a:cubicBezTo>
                  <a:pt x="260" y="100"/>
                  <a:pt x="262" y="99"/>
                  <a:pt x="265" y="96"/>
                </a:cubicBezTo>
                <a:cubicBezTo>
                  <a:pt x="269" y="94"/>
                  <a:pt x="271" y="93"/>
                  <a:pt x="271" y="91"/>
                </a:cubicBezTo>
                <a:cubicBezTo>
                  <a:pt x="271" y="90"/>
                  <a:pt x="272" y="90"/>
                  <a:pt x="274" y="90"/>
                </a:cubicBezTo>
                <a:cubicBezTo>
                  <a:pt x="274" y="90"/>
                  <a:pt x="275" y="89"/>
                  <a:pt x="276" y="89"/>
                </a:cubicBezTo>
                <a:cubicBezTo>
                  <a:pt x="276" y="88"/>
                  <a:pt x="276" y="88"/>
                  <a:pt x="276" y="87"/>
                </a:cubicBezTo>
                <a:cubicBezTo>
                  <a:pt x="276" y="86"/>
                  <a:pt x="277" y="85"/>
                  <a:pt x="279" y="85"/>
                </a:cubicBezTo>
                <a:cubicBezTo>
                  <a:pt x="281" y="85"/>
                  <a:pt x="282" y="86"/>
                  <a:pt x="283" y="87"/>
                </a:cubicBezTo>
                <a:cubicBezTo>
                  <a:pt x="283" y="88"/>
                  <a:pt x="280" y="92"/>
                  <a:pt x="273" y="98"/>
                </a:cubicBezTo>
                <a:cubicBezTo>
                  <a:pt x="265" y="103"/>
                  <a:pt x="261" y="106"/>
                  <a:pt x="260" y="107"/>
                </a:cubicBezTo>
                <a:cubicBezTo>
                  <a:pt x="259" y="107"/>
                  <a:pt x="258" y="108"/>
                  <a:pt x="257" y="109"/>
                </a:cubicBezTo>
                <a:cubicBezTo>
                  <a:pt x="255" y="111"/>
                  <a:pt x="254" y="112"/>
                  <a:pt x="252" y="114"/>
                </a:cubicBezTo>
                <a:cubicBezTo>
                  <a:pt x="250" y="115"/>
                  <a:pt x="248" y="117"/>
                  <a:pt x="246" y="118"/>
                </a:cubicBezTo>
                <a:cubicBezTo>
                  <a:pt x="245" y="120"/>
                  <a:pt x="244" y="120"/>
                  <a:pt x="243" y="120"/>
                </a:cubicBezTo>
                <a:cubicBezTo>
                  <a:pt x="242" y="120"/>
                  <a:pt x="237" y="125"/>
                  <a:pt x="228" y="133"/>
                </a:cubicBezTo>
                <a:cubicBezTo>
                  <a:pt x="227" y="134"/>
                  <a:pt x="226" y="134"/>
                  <a:pt x="225" y="134"/>
                </a:cubicBezTo>
                <a:close/>
                <a:moveTo>
                  <a:pt x="290" y="383"/>
                </a:moveTo>
                <a:close/>
                <a:moveTo>
                  <a:pt x="92" y="860"/>
                </a:moveTo>
                <a:cubicBezTo>
                  <a:pt x="90" y="860"/>
                  <a:pt x="89" y="859"/>
                  <a:pt x="88" y="858"/>
                </a:cubicBezTo>
                <a:lnTo>
                  <a:pt x="88" y="856"/>
                </a:lnTo>
                <a:cubicBezTo>
                  <a:pt x="88" y="856"/>
                  <a:pt x="88" y="856"/>
                  <a:pt x="89" y="856"/>
                </a:cubicBezTo>
                <a:cubicBezTo>
                  <a:pt x="90" y="856"/>
                  <a:pt x="91" y="856"/>
                  <a:pt x="92" y="857"/>
                </a:cubicBezTo>
                <a:cubicBezTo>
                  <a:pt x="92" y="858"/>
                  <a:pt x="92" y="859"/>
                  <a:pt x="92" y="859"/>
                </a:cubicBezTo>
                <a:cubicBezTo>
                  <a:pt x="92" y="860"/>
                  <a:pt x="92" y="860"/>
                  <a:pt x="92" y="860"/>
                </a:cubicBezTo>
                <a:close/>
                <a:moveTo>
                  <a:pt x="78" y="894"/>
                </a:moveTo>
                <a:cubicBezTo>
                  <a:pt x="77" y="894"/>
                  <a:pt x="77" y="894"/>
                  <a:pt x="77" y="893"/>
                </a:cubicBezTo>
                <a:cubicBezTo>
                  <a:pt x="77" y="892"/>
                  <a:pt x="77" y="890"/>
                  <a:pt x="78" y="887"/>
                </a:cubicBezTo>
                <a:cubicBezTo>
                  <a:pt x="80" y="882"/>
                  <a:pt x="81" y="880"/>
                  <a:pt x="84" y="880"/>
                </a:cubicBezTo>
                <a:cubicBezTo>
                  <a:pt x="85" y="880"/>
                  <a:pt x="85" y="881"/>
                  <a:pt x="85" y="883"/>
                </a:cubicBezTo>
                <a:cubicBezTo>
                  <a:pt x="85" y="885"/>
                  <a:pt x="85" y="886"/>
                  <a:pt x="84" y="886"/>
                </a:cubicBezTo>
                <a:cubicBezTo>
                  <a:pt x="82" y="886"/>
                  <a:pt x="81" y="888"/>
                  <a:pt x="81" y="890"/>
                </a:cubicBezTo>
                <a:cubicBezTo>
                  <a:pt x="80" y="893"/>
                  <a:pt x="79" y="894"/>
                  <a:pt x="78" y="894"/>
                </a:cubicBezTo>
                <a:close/>
                <a:moveTo>
                  <a:pt x="273" y="393"/>
                </a:moveTo>
                <a:cubicBezTo>
                  <a:pt x="273" y="393"/>
                  <a:pt x="273" y="393"/>
                  <a:pt x="273" y="391"/>
                </a:cubicBezTo>
                <a:cubicBezTo>
                  <a:pt x="273" y="390"/>
                  <a:pt x="273" y="389"/>
                  <a:pt x="275" y="388"/>
                </a:cubicBezTo>
                <a:lnTo>
                  <a:pt x="275" y="388"/>
                </a:lnTo>
                <a:cubicBezTo>
                  <a:pt x="275" y="388"/>
                  <a:pt x="275" y="388"/>
                  <a:pt x="275" y="389"/>
                </a:cubicBezTo>
                <a:lnTo>
                  <a:pt x="275" y="390"/>
                </a:lnTo>
                <a:cubicBezTo>
                  <a:pt x="275" y="392"/>
                  <a:pt x="274" y="393"/>
                  <a:pt x="273" y="393"/>
                </a:cubicBezTo>
                <a:close/>
                <a:moveTo>
                  <a:pt x="237" y="534"/>
                </a:moveTo>
                <a:lnTo>
                  <a:pt x="237" y="534"/>
                </a:lnTo>
                <a:cubicBezTo>
                  <a:pt x="237" y="533"/>
                  <a:pt x="237" y="532"/>
                  <a:pt x="237" y="531"/>
                </a:cubicBezTo>
                <a:cubicBezTo>
                  <a:pt x="238" y="530"/>
                  <a:pt x="238" y="529"/>
                  <a:pt x="239" y="527"/>
                </a:cubicBezTo>
                <a:lnTo>
                  <a:pt x="241" y="526"/>
                </a:lnTo>
                <a:lnTo>
                  <a:pt x="241" y="526"/>
                </a:lnTo>
                <a:cubicBezTo>
                  <a:pt x="241" y="527"/>
                  <a:pt x="241" y="528"/>
                  <a:pt x="240" y="529"/>
                </a:cubicBezTo>
                <a:cubicBezTo>
                  <a:pt x="239" y="531"/>
                  <a:pt x="239" y="532"/>
                  <a:pt x="238" y="533"/>
                </a:cubicBezTo>
                <a:cubicBezTo>
                  <a:pt x="238" y="534"/>
                  <a:pt x="237" y="534"/>
                  <a:pt x="237" y="534"/>
                </a:cubicBezTo>
                <a:close/>
                <a:moveTo>
                  <a:pt x="243" y="558"/>
                </a:moveTo>
                <a:cubicBezTo>
                  <a:pt x="241" y="558"/>
                  <a:pt x="241" y="558"/>
                  <a:pt x="241" y="558"/>
                </a:cubicBezTo>
                <a:cubicBezTo>
                  <a:pt x="241" y="557"/>
                  <a:pt x="242" y="556"/>
                  <a:pt x="243" y="555"/>
                </a:cubicBezTo>
                <a:cubicBezTo>
                  <a:pt x="245" y="552"/>
                  <a:pt x="246" y="551"/>
                  <a:pt x="247" y="551"/>
                </a:cubicBezTo>
                <a:lnTo>
                  <a:pt x="247" y="552"/>
                </a:lnTo>
                <a:cubicBezTo>
                  <a:pt x="247" y="552"/>
                  <a:pt x="247" y="554"/>
                  <a:pt x="246" y="555"/>
                </a:cubicBezTo>
                <a:cubicBezTo>
                  <a:pt x="246" y="557"/>
                  <a:pt x="244" y="558"/>
                  <a:pt x="243" y="558"/>
                </a:cubicBezTo>
                <a:close/>
                <a:moveTo>
                  <a:pt x="252" y="419"/>
                </a:moveTo>
                <a:lnTo>
                  <a:pt x="251" y="419"/>
                </a:lnTo>
                <a:cubicBezTo>
                  <a:pt x="251" y="419"/>
                  <a:pt x="251" y="419"/>
                  <a:pt x="251" y="418"/>
                </a:cubicBezTo>
                <a:cubicBezTo>
                  <a:pt x="251" y="418"/>
                  <a:pt x="251" y="417"/>
                  <a:pt x="253" y="415"/>
                </a:cubicBezTo>
                <a:cubicBezTo>
                  <a:pt x="255" y="412"/>
                  <a:pt x="256" y="411"/>
                  <a:pt x="256" y="411"/>
                </a:cubicBezTo>
                <a:cubicBezTo>
                  <a:pt x="257" y="411"/>
                  <a:pt x="257" y="411"/>
                  <a:pt x="257" y="411"/>
                </a:cubicBezTo>
                <a:cubicBezTo>
                  <a:pt x="257" y="414"/>
                  <a:pt x="255" y="416"/>
                  <a:pt x="252" y="419"/>
                </a:cubicBezTo>
                <a:close/>
                <a:moveTo>
                  <a:pt x="221" y="480"/>
                </a:moveTo>
                <a:cubicBezTo>
                  <a:pt x="221" y="480"/>
                  <a:pt x="220" y="480"/>
                  <a:pt x="220" y="480"/>
                </a:cubicBezTo>
                <a:cubicBezTo>
                  <a:pt x="220" y="480"/>
                  <a:pt x="220" y="479"/>
                  <a:pt x="220" y="479"/>
                </a:cubicBezTo>
                <a:cubicBezTo>
                  <a:pt x="220" y="478"/>
                  <a:pt x="221" y="476"/>
                  <a:pt x="222" y="473"/>
                </a:cubicBezTo>
                <a:cubicBezTo>
                  <a:pt x="223" y="471"/>
                  <a:pt x="224" y="469"/>
                  <a:pt x="224" y="466"/>
                </a:cubicBezTo>
                <a:lnTo>
                  <a:pt x="224" y="464"/>
                </a:lnTo>
                <a:cubicBezTo>
                  <a:pt x="224" y="463"/>
                  <a:pt x="224" y="461"/>
                  <a:pt x="225" y="460"/>
                </a:cubicBezTo>
                <a:cubicBezTo>
                  <a:pt x="226" y="459"/>
                  <a:pt x="227" y="458"/>
                  <a:pt x="227" y="455"/>
                </a:cubicBezTo>
                <a:cubicBezTo>
                  <a:pt x="228" y="452"/>
                  <a:pt x="229" y="451"/>
                  <a:pt x="230" y="451"/>
                </a:cubicBezTo>
                <a:cubicBezTo>
                  <a:pt x="231" y="451"/>
                  <a:pt x="231" y="451"/>
                  <a:pt x="231" y="452"/>
                </a:cubicBezTo>
                <a:cubicBezTo>
                  <a:pt x="231" y="453"/>
                  <a:pt x="229" y="459"/>
                  <a:pt x="226" y="469"/>
                </a:cubicBezTo>
                <a:cubicBezTo>
                  <a:pt x="223" y="477"/>
                  <a:pt x="222" y="480"/>
                  <a:pt x="221" y="480"/>
                </a:cubicBezTo>
                <a:close/>
                <a:moveTo>
                  <a:pt x="231" y="448"/>
                </a:moveTo>
                <a:cubicBezTo>
                  <a:pt x="231" y="448"/>
                  <a:pt x="230" y="447"/>
                  <a:pt x="229" y="446"/>
                </a:cubicBezTo>
                <a:lnTo>
                  <a:pt x="229" y="445"/>
                </a:lnTo>
                <a:cubicBezTo>
                  <a:pt x="229" y="444"/>
                  <a:pt x="229" y="444"/>
                  <a:pt x="230" y="444"/>
                </a:cubicBezTo>
                <a:cubicBezTo>
                  <a:pt x="231" y="444"/>
                  <a:pt x="231" y="444"/>
                  <a:pt x="231" y="443"/>
                </a:cubicBezTo>
                <a:lnTo>
                  <a:pt x="231" y="441"/>
                </a:lnTo>
                <a:cubicBezTo>
                  <a:pt x="231" y="440"/>
                  <a:pt x="231" y="440"/>
                  <a:pt x="232" y="440"/>
                </a:cubicBezTo>
                <a:cubicBezTo>
                  <a:pt x="233" y="440"/>
                  <a:pt x="234" y="436"/>
                  <a:pt x="237" y="429"/>
                </a:cubicBezTo>
                <a:cubicBezTo>
                  <a:pt x="243" y="409"/>
                  <a:pt x="247" y="399"/>
                  <a:pt x="250" y="399"/>
                </a:cubicBezTo>
                <a:cubicBezTo>
                  <a:pt x="250" y="399"/>
                  <a:pt x="251" y="400"/>
                  <a:pt x="251" y="400"/>
                </a:cubicBezTo>
                <a:cubicBezTo>
                  <a:pt x="251" y="401"/>
                  <a:pt x="250" y="402"/>
                  <a:pt x="250" y="403"/>
                </a:cubicBezTo>
                <a:cubicBezTo>
                  <a:pt x="249" y="404"/>
                  <a:pt x="249" y="405"/>
                  <a:pt x="249" y="406"/>
                </a:cubicBezTo>
                <a:lnTo>
                  <a:pt x="239" y="432"/>
                </a:lnTo>
                <a:cubicBezTo>
                  <a:pt x="236" y="443"/>
                  <a:pt x="233" y="448"/>
                  <a:pt x="231" y="448"/>
                </a:cubicBezTo>
                <a:close/>
                <a:moveTo>
                  <a:pt x="236" y="526"/>
                </a:moveTo>
                <a:cubicBezTo>
                  <a:pt x="234" y="526"/>
                  <a:pt x="234" y="525"/>
                  <a:pt x="234" y="523"/>
                </a:cubicBezTo>
                <a:cubicBezTo>
                  <a:pt x="234" y="521"/>
                  <a:pt x="234" y="520"/>
                  <a:pt x="235" y="519"/>
                </a:cubicBezTo>
                <a:cubicBezTo>
                  <a:pt x="236" y="518"/>
                  <a:pt x="237" y="518"/>
                  <a:pt x="238" y="518"/>
                </a:cubicBezTo>
                <a:cubicBezTo>
                  <a:pt x="239" y="518"/>
                  <a:pt x="239" y="518"/>
                  <a:pt x="239" y="519"/>
                </a:cubicBezTo>
                <a:cubicBezTo>
                  <a:pt x="239" y="520"/>
                  <a:pt x="239" y="521"/>
                  <a:pt x="239" y="522"/>
                </a:cubicBezTo>
                <a:cubicBezTo>
                  <a:pt x="238" y="523"/>
                  <a:pt x="238" y="524"/>
                  <a:pt x="238" y="524"/>
                </a:cubicBezTo>
                <a:cubicBezTo>
                  <a:pt x="237" y="525"/>
                  <a:pt x="236" y="526"/>
                  <a:pt x="236" y="526"/>
                </a:cubicBezTo>
                <a:close/>
                <a:moveTo>
                  <a:pt x="244" y="505"/>
                </a:moveTo>
                <a:cubicBezTo>
                  <a:pt x="243" y="505"/>
                  <a:pt x="242" y="505"/>
                  <a:pt x="242" y="503"/>
                </a:cubicBezTo>
                <a:cubicBezTo>
                  <a:pt x="242" y="502"/>
                  <a:pt x="243" y="501"/>
                  <a:pt x="244" y="501"/>
                </a:cubicBezTo>
                <a:cubicBezTo>
                  <a:pt x="245" y="501"/>
                  <a:pt x="246" y="502"/>
                  <a:pt x="246" y="503"/>
                </a:cubicBezTo>
                <a:cubicBezTo>
                  <a:pt x="246" y="505"/>
                  <a:pt x="245" y="505"/>
                  <a:pt x="244" y="505"/>
                </a:cubicBezTo>
                <a:close/>
                <a:moveTo>
                  <a:pt x="233" y="544"/>
                </a:moveTo>
                <a:lnTo>
                  <a:pt x="233" y="544"/>
                </a:lnTo>
                <a:cubicBezTo>
                  <a:pt x="233" y="543"/>
                  <a:pt x="233" y="542"/>
                  <a:pt x="234" y="540"/>
                </a:cubicBezTo>
                <a:cubicBezTo>
                  <a:pt x="235" y="537"/>
                  <a:pt x="236" y="536"/>
                  <a:pt x="237" y="536"/>
                </a:cubicBezTo>
                <a:lnTo>
                  <a:pt x="237" y="536"/>
                </a:lnTo>
                <a:cubicBezTo>
                  <a:pt x="237" y="537"/>
                  <a:pt x="237" y="538"/>
                  <a:pt x="236" y="541"/>
                </a:cubicBezTo>
                <a:cubicBezTo>
                  <a:pt x="234" y="543"/>
                  <a:pt x="234" y="544"/>
                  <a:pt x="233" y="544"/>
                </a:cubicBezTo>
                <a:close/>
                <a:moveTo>
                  <a:pt x="70" y="442"/>
                </a:moveTo>
                <a:cubicBezTo>
                  <a:pt x="67" y="442"/>
                  <a:pt x="66" y="441"/>
                  <a:pt x="66" y="441"/>
                </a:cubicBezTo>
                <a:cubicBezTo>
                  <a:pt x="66" y="439"/>
                  <a:pt x="67" y="439"/>
                  <a:pt x="68" y="439"/>
                </a:cubicBezTo>
                <a:lnTo>
                  <a:pt x="72" y="440"/>
                </a:lnTo>
                <a:cubicBezTo>
                  <a:pt x="72" y="440"/>
                  <a:pt x="72" y="440"/>
                  <a:pt x="72" y="439"/>
                </a:cubicBezTo>
                <a:lnTo>
                  <a:pt x="72" y="438"/>
                </a:lnTo>
                <a:cubicBezTo>
                  <a:pt x="71" y="438"/>
                  <a:pt x="70" y="438"/>
                  <a:pt x="69" y="437"/>
                </a:cubicBezTo>
                <a:cubicBezTo>
                  <a:pt x="67" y="437"/>
                  <a:pt x="66" y="437"/>
                  <a:pt x="65" y="437"/>
                </a:cubicBezTo>
                <a:cubicBezTo>
                  <a:pt x="62" y="437"/>
                  <a:pt x="61" y="437"/>
                  <a:pt x="61" y="438"/>
                </a:cubicBezTo>
                <a:lnTo>
                  <a:pt x="62" y="440"/>
                </a:lnTo>
                <a:cubicBezTo>
                  <a:pt x="62" y="441"/>
                  <a:pt x="60" y="441"/>
                  <a:pt x="57" y="441"/>
                </a:cubicBezTo>
                <a:cubicBezTo>
                  <a:pt x="54" y="441"/>
                  <a:pt x="51" y="441"/>
                  <a:pt x="48" y="440"/>
                </a:cubicBezTo>
                <a:lnTo>
                  <a:pt x="42" y="439"/>
                </a:lnTo>
                <a:cubicBezTo>
                  <a:pt x="41" y="439"/>
                  <a:pt x="41" y="439"/>
                  <a:pt x="41" y="438"/>
                </a:cubicBezTo>
                <a:cubicBezTo>
                  <a:pt x="41" y="437"/>
                  <a:pt x="39" y="436"/>
                  <a:pt x="37" y="435"/>
                </a:cubicBezTo>
                <a:lnTo>
                  <a:pt x="30" y="432"/>
                </a:lnTo>
                <a:cubicBezTo>
                  <a:pt x="17" y="424"/>
                  <a:pt x="8" y="417"/>
                  <a:pt x="5" y="410"/>
                </a:cubicBezTo>
                <a:cubicBezTo>
                  <a:pt x="2" y="404"/>
                  <a:pt x="0" y="395"/>
                  <a:pt x="0" y="385"/>
                </a:cubicBezTo>
                <a:cubicBezTo>
                  <a:pt x="0" y="367"/>
                  <a:pt x="8" y="342"/>
                  <a:pt x="24" y="311"/>
                </a:cubicBezTo>
                <a:cubicBezTo>
                  <a:pt x="39" y="279"/>
                  <a:pt x="57" y="253"/>
                  <a:pt x="77" y="231"/>
                </a:cubicBezTo>
                <a:cubicBezTo>
                  <a:pt x="80" y="228"/>
                  <a:pt x="82" y="226"/>
                  <a:pt x="82" y="225"/>
                </a:cubicBezTo>
                <a:lnTo>
                  <a:pt x="80" y="226"/>
                </a:lnTo>
                <a:cubicBezTo>
                  <a:pt x="79" y="228"/>
                  <a:pt x="78" y="228"/>
                  <a:pt x="78" y="228"/>
                </a:cubicBezTo>
                <a:cubicBezTo>
                  <a:pt x="78" y="228"/>
                  <a:pt x="78" y="227"/>
                  <a:pt x="80" y="225"/>
                </a:cubicBezTo>
                <a:cubicBezTo>
                  <a:pt x="81" y="224"/>
                  <a:pt x="82" y="223"/>
                  <a:pt x="83" y="223"/>
                </a:cubicBezTo>
                <a:lnTo>
                  <a:pt x="84" y="223"/>
                </a:lnTo>
                <a:cubicBezTo>
                  <a:pt x="85" y="223"/>
                  <a:pt x="87" y="221"/>
                  <a:pt x="90" y="218"/>
                </a:cubicBezTo>
                <a:lnTo>
                  <a:pt x="91" y="214"/>
                </a:lnTo>
                <a:cubicBezTo>
                  <a:pt x="91" y="212"/>
                  <a:pt x="93" y="209"/>
                  <a:pt x="97" y="204"/>
                </a:cubicBezTo>
                <a:lnTo>
                  <a:pt x="104" y="199"/>
                </a:lnTo>
                <a:lnTo>
                  <a:pt x="104" y="201"/>
                </a:lnTo>
                <a:cubicBezTo>
                  <a:pt x="104" y="202"/>
                  <a:pt x="104" y="202"/>
                  <a:pt x="104" y="202"/>
                </a:cubicBezTo>
                <a:cubicBezTo>
                  <a:pt x="105" y="202"/>
                  <a:pt x="105" y="202"/>
                  <a:pt x="105" y="203"/>
                </a:cubicBezTo>
                <a:cubicBezTo>
                  <a:pt x="105" y="204"/>
                  <a:pt x="104" y="206"/>
                  <a:pt x="103" y="208"/>
                </a:cubicBezTo>
                <a:cubicBezTo>
                  <a:pt x="101" y="210"/>
                  <a:pt x="100" y="212"/>
                  <a:pt x="99" y="213"/>
                </a:cubicBezTo>
                <a:cubicBezTo>
                  <a:pt x="90" y="228"/>
                  <a:pt x="85" y="235"/>
                  <a:pt x="83" y="235"/>
                </a:cubicBezTo>
                <a:cubicBezTo>
                  <a:pt x="81" y="235"/>
                  <a:pt x="80" y="235"/>
                  <a:pt x="80" y="236"/>
                </a:cubicBezTo>
                <a:lnTo>
                  <a:pt x="80" y="236"/>
                </a:lnTo>
                <a:cubicBezTo>
                  <a:pt x="80" y="238"/>
                  <a:pt x="80" y="240"/>
                  <a:pt x="79" y="242"/>
                </a:cubicBezTo>
                <a:cubicBezTo>
                  <a:pt x="78" y="244"/>
                  <a:pt x="76" y="246"/>
                  <a:pt x="75" y="248"/>
                </a:cubicBezTo>
                <a:cubicBezTo>
                  <a:pt x="73" y="250"/>
                  <a:pt x="72" y="250"/>
                  <a:pt x="71" y="250"/>
                </a:cubicBezTo>
                <a:cubicBezTo>
                  <a:pt x="70" y="250"/>
                  <a:pt x="70" y="251"/>
                  <a:pt x="69" y="251"/>
                </a:cubicBezTo>
                <a:cubicBezTo>
                  <a:pt x="69" y="252"/>
                  <a:pt x="68" y="252"/>
                  <a:pt x="68" y="253"/>
                </a:cubicBezTo>
                <a:cubicBezTo>
                  <a:pt x="68" y="255"/>
                  <a:pt x="68" y="257"/>
                  <a:pt x="67" y="257"/>
                </a:cubicBezTo>
                <a:cubicBezTo>
                  <a:pt x="67" y="258"/>
                  <a:pt x="66" y="260"/>
                  <a:pt x="64" y="262"/>
                </a:cubicBezTo>
                <a:cubicBezTo>
                  <a:pt x="61" y="266"/>
                  <a:pt x="56" y="273"/>
                  <a:pt x="51" y="282"/>
                </a:cubicBezTo>
                <a:cubicBezTo>
                  <a:pt x="36" y="306"/>
                  <a:pt x="28" y="320"/>
                  <a:pt x="28" y="324"/>
                </a:cubicBezTo>
                <a:lnTo>
                  <a:pt x="29" y="325"/>
                </a:lnTo>
                <a:cubicBezTo>
                  <a:pt x="29" y="326"/>
                  <a:pt x="28" y="326"/>
                  <a:pt x="28" y="326"/>
                </a:cubicBezTo>
                <a:cubicBezTo>
                  <a:pt x="28" y="326"/>
                  <a:pt x="27" y="326"/>
                  <a:pt x="26" y="327"/>
                </a:cubicBezTo>
                <a:lnTo>
                  <a:pt x="27" y="328"/>
                </a:lnTo>
                <a:cubicBezTo>
                  <a:pt x="27" y="329"/>
                  <a:pt x="26" y="330"/>
                  <a:pt x="25" y="331"/>
                </a:cubicBezTo>
                <a:cubicBezTo>
                  <a:pt x="23" y="332"/>
                  <a:pt x="23" y="333"/>
                  <a:pt x="23" y="333"/>
                </a:cubicBezTo>
                <a:cubicBezTo>
                  <a:pt x="23" y="333"/>
                  <a:pt x="23" y="333"/>
                  <a:pt x="25" y="333"/>
                </a:cubicBezTo>
                <a:cubicBezTo>
                  <a:pt x="27" y="333"/>
                  <a:pt x="28" y="333"/>
                  <a:pt x="28" y="332"/>
                </a:cubicBezTo>
                <a:lnTo>
                  <a:pt x="28" y="332"/>
                </a:lnTo>
                <a:cubicBezTo>
                  <a:pt x="28" y="331"/>
                  <a:pt x="29" y="330"/>
                  <a:pt x="30" y="329"/>
                </a:cubicBezTo>
                <a:cubicBezTo>
                  <a:pt x="32" y="327"/>
                  <a:pt x="32" y="326"/>
                  <a:pt x="32" y="325"/>
                </a:cubicBezTo>
                <a:cubicBezTo>
                  <a:pt x="32" y="324"/>
                  <a:pt x="32" y="324"/>
                  <a:pt x="31" y="323"/>
                </a:cubicBezTo>
                <a:cubicBezTo>
                  <a:pt x="31" y="322"/>
                  <a:pt x="30" y="321"/>
                  <a:pt x="30" y="321"/>
                </a:cubicBezTo>
                <a:cubicBezTo>
                  <a:pt x="30" y="319"/>
                  <a:pt x="31" y="318"/>
                  <a:pt x="33" y="316"/>
                </a:cubicBezTo>
                <a:cubicBezTo>
                  <a:pt x="36" y="313"/>
                  <a:pt x="37" y="311"/>
                  <a:pt x="37" y="310"/>
                </a:cubicBezTo>
                <a:cubicBezTo>
                  <a:pt x="38" y="309"/>
                  <a:pt x="39" y="309"/>
                  <a:pt x="40" y="309"/>
                </a:cubicBezTo>
                <a:cubicBezTo>
                  <a:pt x="41" y="309"/>
                  <a:pt x="42" y="309"/>
                  <a:pt x="42" y="308"/>
                </a:cubicBezTo>
                <a:lnTo>
                  <a:pt x="42" y="307"/>
                </a:lnTo>
                <a:cubicBezTo>
                  <a:pt x="42" y="306"/>
                  <a:pt x="42" y="306"/>
                  <a:pt x="43" y="306"/>
                </a:cubicBezTo>
                <a:lnTo>
                  <a:pt x="45" y="306"/>
                </a:lnTo>
                <a:cubicBezTo>
                  <a:pt x="45" y="305"/>
                  <a:pt x="44" y="305"/>
                  <a:pt x="44" y="304"/>
                </a:cubicBezTo>
                <a:cubicBezTo>
                  <a:pt x="43" y="304"/>
                  <a:pt x="43" y="303"/>
                  <a:pt x="43" y="302"/>
                </a:cubicBezTo>
                <a:cubicBezTo>
                  <a:pt x="43" y="299"/>
                  <a:pt x="48" y="289"/>
                  <a:pt x="58" y="275"/>
                </a:cubicBezTo>
                <a:cubicBezTo>
                  <a:pt x="69" y="260"/>
                  <a:pt x="81" y="244"/>
                  <a:pt x="95" y="227"/>
                </a:cubicBezTo>
                <a:cubicBezTo>
                  <a:pt x="110" y="209"/>
                  <a:pt x="123" y="195"/>
                  <a:pt x="136" y="182"/>
                </a:cubicBezTo>
                <a:cubicBezTo>
                  <a:pt x="167" y="151"/>
                  <a:pt x="192" y="128"/>
                  <a:pt x="210" y="114"/>
                </a:cubicBezTo>
                <a:cubicBezTo>
                  <a:pt x="217" y="108"/>
                  <a:pt x="225" y="102"/>
                  <a:pt x="233" y="96"/>
                </a:cubicBezTo>
                <a:cubicBezTo>
                  <a:pt x="240" y="90"/>
                  <a:pt x="250" y="83"/>
                  <a:pt x="260" y="75"/>
                </a:cubicBezTo>
                <a:cubicBezTo>
                  <a:pt x="263" y="73"/>
                  <a:pt x="265" y="72"/>
                  <a:pt x="265" y="71"/>
                </a:cubicBezTo>
                <a:cubicBezTo>
                  <a:pt x="266" y="70"/>
                  <a:pt x="267" y="69"/>
                  <a:pt x="270" y="68"/>
                </a:cubicBezTo>
                <a:cubicBezTo>
                  <a:pt x="272" y="66"/>
                  <a:pt x="274" y="65"/>
                  <a:pt x="274" y="63"/>
                </a:cubicBezTo>
                <a:lnTo>
                  <a:pt x="274" y="63"/>
                </a:lnTo>
                <a:cubicBezTo>
                  <a:pt x="273" y="62"/>
                  <a:pt x="273" y="62"/>
                  <a:pt x="272" y="62"/>
                </a:cubicBezTo>
                <a:cubicBezTo>
                  <a:pt x="271" y="62"/>
                  <a:pt x="271" y="62"/>
                  <a:pt x="271" y="62"/>
                </a:cubicBezTo>
                <a:cubicBezTo>
                  <a:pt x="270" y="63"/>
                  <a:pt x="270" y="63"/>
                  <a:pt x="269" y="63"/>
                </a:cubicBezTo>
                <a:cubicBezTo>
                  <a:pt x="269" y="63"/>
                  <a:pt x="269" y="63"/>
                  <a:pt x="269" y="62"/>
                </a:cubicBezTo>
                <a:cubicBezTo>
                  <a:pt x="269" y="61"/>
                  <a:pt x="272" y="59"/>
                  <a:pt x="278" y="54"/>
                </a:cubicBezTo>
                <a:cubicBezTo>
                  <a:pt x="285" y="50"/>
                  <a:pt x="288" y="48"/>
                  <a:pt x="290" y="48"/>
                </a:cubicBezTo>
                <a:cubicBezTo>
                  <a:pt x="291" y="48"/>
                  <a:pt x="292" y="47"/>
                  <a:pt x="293" y="46"/>
                </a:cubicBezTo>
                <a:cubicBezTo>
                  <a:pt x="293" y="44"/>
                  <a:pt x="294" y="44"/>
                  <a:pt x="295" y="44"/>
                </a:cubicBezTo>
                <a:cubicBezTo>
                  <a:pt x="296" y="44"/>
                  <a:pt x="296" y="44"/>
                  <a:pt x="296" y="45"/>
                </a:cubicBezTo>
                <a:cubicBezTo>
                  <a:pt x="296" y="46"/>
                  <a:pt x="296" y="47"/>
                  <a:pt x="295" y="48"/>
                </a:cubicBezTo>
                <a:cubicBezTo>
                  <a:pt x="293" y="50"/>
                  <a:pt x="292" y="50"/>
                  <a:pt x="291" y="50"/>
                </a:cubicBezTo>
                <a:lnTo>
                  <a:pt x="290" y="50"/>
                </a:lnTo>
                <a:cubicBezTo>
                  <a:pt x="289" y="50"/>
                  <a:pt x="288" y="51"/>
                  <a:pt x="288" y="52"/>
                </a:cubicBezTo>
                <a:cubicBezTo>
                  <a:pt x="287" y="54"/>
                  <a:pt x="286" y="54"/>
                  <a:pt x="285" y="54"/>
                </a:cubicBezTo>
                <a:lnTo>
                  <a:pt x="285" y="54"/>
                </a:lnTo>
                <a:cubicBezTo>
                  <a:pt x="283" y="54"/>
                  <a:pt x="282" y="55"/>
                  <a:pt x="281" y="56"/>
                </a:cubicBezTo>
                <a:cubicBezTo>
                  <a:pt x="281" y="58"/>
                  <a:pt x="280" y="59"/>
                  <a:pt x="279" y="59"/>
                </a:cubicBezTo>
                <a:cubicBezTo>
                  <a:pt x="275" y="59"/>
                  <a:pt x="274" y="59"/>
                  <a:pt x="274" y="60"/>
                </a:cubicBezTo>
                <a:cubicBezTo>
                  <a:pt x="274" y="61"/>
                  <a:pt x="274" y="62"/>
                  <a:pt x="275" y="62"/>
                </a:cubicBezTo>
                <a:cubicBezTo>
                  <a:pt x="278" y="62"/>
                  <a:pt x="283" y="59"/>
                  <a:pt x="291" y="54"/>
                </a:cubicBezTo>
                <a:cubicBezTo>
                  <a:pt x="300" y="48"/>
                  <a:pt x="305" y="44"/>
                  <a:pt x="305" y="42"/>
                </a:cubicBezTo>
                <a:cubicBezTo>
                  <a:pt x="305" y="42"/>
                  <a:pt x="305" y="41"/>
                  <a:pt x="304" y="41"/>
                </a:cubicBezTo>
                <a:lnTo>
                  <a:pt x="298" y="43"/>
                </a:lnTo>
                <a:cubicBezTo>
                  <a:pt x="298" y="42"/>
                  <a:pt x="299" y="41"/>
                  <a:pt x="301" y="40"/>
                </a:cubicBezTo>
                <a:cubicBezTo>
                  <a:pt x="303" y="39"/>
                  <a:pt x="305" y="38"/>
                  <a:pt x="306" y="38"/>
                </a:cubicBezTo>
                <a:cubicBezTo>
                  <a:pt x="306" y="38"/>
                  <a:pt x="307" y="39"/>
                  <a:pt x="307" y="40"/>
                </a:cubicBezTo>
                <a:cubicBezTo>
                  <a:pt x="308" y="41"/>
                  <a:pt x="308" y="41"/>
                  <a:pt x="310" y="41"/>
                </a:cubicBezTo>
                <a:lnTo>
                  <a:pt x="311" y="41"/>
                </a:lnTo>
                <a:lnTo>
                  <a:pt x="311" y="42"/>
                </a:lnTo>
                <a:cubicBezTo>
                  <a:pt x="310" y="43"/>
                  <a:pt x="310" y="44"/>
                  <a:pt x="310" y="44"/>
                </a:cubicBezTo>
                <a:cubicBezTo>
                  <a:pt x="310" y="46"/>
                  <a:pt x="311" y="47"/>
                  <a:pt x="314" y="47"/>
                </a:cubicBezTo>
                <a:cubicBezTo>
                  <a:pt x="316" y="47"/>
                  <a:pt x="318" y="46"/>
                  <a:pt x="320" y="46"/>
                </a:cubicBezTo>
                <a:lnTo>
                  <a:pt x="326" y="43"/>
                </a:lnTo>
                <a:cubicBezTo>
                  <a:pt x="326" y="44"/>
                  <a:pt x="322" y="48"/>
                  <a:pt x="312" y="53"/>
                </a:cubicBezTo>
                <a:cubicBezTo>
                  <a:pt x="302" y="59"/>
                  <a:pt x="296" y="62"/>
                  <a:pt x="294" y="62"/>
                </a:cubicBezTo>
                <a:cubicBezTo>
                  <a:pt x="293" y="62"/>
                  <a:pt x="292" y="61"/>
                  <a:pt x="292" y="61"/>
                </a:cubicBezTo>
                <a:lnTo>
                  <a:pt x="294" y="58"/>
                </a:lnTo>
                <a:cubicBezTo>
                  <a:pt x="294" y="58"/>
                  <a:pt x="293" y="57"/>
                  <a:pt x="293" y="57"/>
                </a:cubicBezTo>
                <a:lnTo>
                  <a:pt x="292" y="58"/>
                </a:lnTo>
                <a:cubicBezTo>
                  <a:pt x="291" y="58"/>
                  <a:pt x="291" y="60"/>
                  <a:pt x="291" y="61"/>
                </a:cubicBezTo>
                <a:lnTo>
                  <a:pt x="291" y="65"/>
                </a:lnTo>
                <a:cubicBezTo>
                  <a:pt x="291" y="66"/>
                  <a:pt x="291" y="67"/>
                  <a:pt x="290" y="67"/>
                </a:cubicBezTo>
                <a:cubicBezTo>
                  <a:pt x="290" y="67"/>
                  <a:pt x="289" y="67"/>
                  <a:pt x="289" y="67"/>
                </a:cubicBezTo>
                <a:cubicBezTo>
                  <a:pt x="289" y="66"/>
                  <a:pt x="289" y="66"/>
                  <a:pt x="289" y="65"/>
                </a:cubicBezTo>
                <a:lnTo>
                  <a:pt x="289" y="64"/>
                </a:lnTo>
                <a:lnTo>
                  <a:pt x="288" y="66"/>
                </a:lnTo>
                <a:cubicBezTo>
                  <a:pt x="286" y="67"/>
                  <a:pt x="285" y="68"/>
                  <a:pt x="285" y="68"/>
                </a:cubicBezTo>
                <a:cubicBezTo>
                  <a:pt x="284" y="68"/>
                  <a:pt x="283" y="68"/>
                  <a:pt x="283" y="67"/>
                </a:cubicBezTo>
                <a:cubicBezTo>
                  <a:pt x="282" y="66"/>
                  <a:pt x="281" y="66"/>
                  <a:pt x="281" y="66"/>
                </a:cubicBezTo>
                <a:lnTo>
                  <a:pt x="281" y="68"/>
                </a:lnTo>
                <a:cubicBezTo>
                  <a:pt x="281" y="71"/>
                  <a:pt x="280" y="72"/>
                  <a:pt x="279" y="72"/>
                </a:cubicBezTo>
                <a:cubicBezTo>
                  <a:pt x="277" y="72"/>
                  <a:pt x="276" y="72"/>
                  <a:pt x="276" y="73"/>
                </a:cubicBezTo>
                <a:cubicBezTo>
                  <a:pt x="276" y="73"/>
                  <a:pt x="276" y="74"/>
                  <a:pt x="275" y="76"/>
                </a:cubicBezTo>
                <a:cubicBezTo>
                  <a:pt x="273" y="77"/>
                  <a:pt x="272" y="78"/>
                  <a:pt x="270" y="79"/>
                </a:cubicBezTo>
                <a:cubicBezTo>
                  <a:pt x="250" y="92"/>
                  <a:pt x="218" y="118"/>
                  <a:pt x="174" y="158"/>
                </a:cubicBezTo>
                <a:cubicBezTo>
                  <a:pt x="129" y="199"/>
                  <a:pt x="107" y="222"/>
                  <a:pt x="107" y="227"/>
                </a:cubicBezTo>
                <a:cubicBezTo>
                  <a:pt x="107" y="228"/>
                  <a:pt x="107" y="228"/>
                  <a:pt x="106" y="229"/>
                </a:cubicBezTo>
                <a:cubicBezTo>
                  <a:pt x="105" y="230"/>
                  <a:pt x="104" y="231"/>
                  <a:pt x="103" y="232"/>
                </a:cubicBezTo>
                <a:cubicBezTo>
                  <a:pt x="101" y="232"/>
                  <a:pt x="100" y="233"/>
                  <a:pt x="99" y="234"/>
                </a:cubicBezTo>
                <a:cubicBezTo>
                  <a:pt x="96" y="237"/>
                  <a:pt x="95" y="239"/>
                  <a:pt x="95" y="240"/>
                </a:cubicBezTo>
                <a:lnTo>
                  <a:pt x="101" y="236"/>
                </a:lnTo>
                <a:lnTo>
                  <a:pt x="101" y="237"/>
                </a:lnTo>
                <a:cubicBezTo>
                  <a:pt x="101" y="237"/>
                  <a:pt x="100" y="238"/>
                  <a:pt x="100" y="239"/>
                </a:cubicBezTo>
                <a:cubicBezTo>
                  <a:pt x="99" y="240"/>
                  <a:pt x="98" y="240"/>
                  <a:pt x="97" y="241"/>
                </a:cubicBezTo>
                <a:cubicBezTo>
                  <a:pt x="95" y="242"/>
                  <a:pt x="94" y="242"/>
                  <a:pt x="94" y="242"/>
                </a:cubicBezTo>
                <a:cubicBezTo>
                  <a:pt x="93" y="242"/>
                  <a:pt x="92" y="242"/>
                  <a:pt x="92" y="243"/>
                </a:cubicBezTo>
                <a:lnTo>
                  <a:pt x="93" y="246"/>
                </a:lnTo>
                <a:cubicBezTo>
                  <a:pt x="93" y="246"/>
                  <a:pt x="93" y="246"/>
                  <a:pt x="92" y="246"/>
                </a:cubicBezTo>
                <a:lnTo>
                  <a:pt x="92" y="246"/>
                </a:lnTo>
                <a:cubicBezTo>
                  <a:pt x="91" y="245"/>
                  <a:pt x="91" y="245"/>
                  <a:pt x="90" y="245"/>
                </a:cubicBezTo>
                <a:cubicBezTo>
                  <a:pt x="89" y="245"/>
                  <a:pt x="89" y="246"/>
                  <a:pt x="89" y="247"/>
                </a:cubicBezTo>
                <a:cubicBezTo>
                  <a:pt x="88" y="247"/>
                  <a:pt x="87" y="248"/>
                  <a:pt x="86" y="248"/>
                </a:cubicBezTo>
                <a:lnTo>
                  <a:pt x="85" y="247"/>
                </a:lnTo>
                <a:cubicBezTo>
                  <a:pt x="85" y="247"/>
                  <a:pt x="84" y="247"/>
                  <a:pt x="84" y="248"/>
                </a:cubicBezTo>
                <a:cubicBezTo>
                  <a:pt x="84" y="248"/>
                  <a:pt x="85" y="249"/>
                  <a:pt x="85" y="250"/>
                </a:cubicBezTo>
                <a:cubicBezTo>
                  <a:pt x="85" y="251"/>
                  <a:pt x="87" y="251"/>
                  <a:pt x="88" y="251"/>
                </a:cubicBezTo>
                <a:lnTo>
                  <a:pt x="89" y="251"/>
                </a:lnTo>
                <a:cubicBezTo>
                  <a:pt x="89" y="251"/>
                  <a:pt x="88" y="252"/>
                  <a:pt x="87" y="253"/>
                </a:cubicBezTo>
                <a:cubicBezTo>
                  <a:pt x="86" y="255"/>
                  <a:pt x="84" y="255"/>
                  <a:pt x="82" y="255"/>
                </a:cubicBezTo>
                <a:cubicBezTo>
                  <a:pt x="79" y="255"/>
                  <a:pt x="78" y="256"/>
                  <a:pt x="78" y="256"/>
                </a:cubicBezTo>
                <a:lnTo>
                  <a:pt x="79" y="257"/>
                </a:lnTo>
                <a:cubicBezTo>
                  <a:pt x="79" y="258"/>
                  <a:pt x="78" y="259"/>
                  <a:pt x="76" y="260"/>
                </a:cubicBezTo>
                <a:cubicBezTo>
                  <a:pt x="75" y="262"/>
                  <a:pt x="74" y="262"/>
                  <a:pt x="74" y="262"/>
                </a:cubicBezTo>
                <a:lnTo>
                  <a:pt x="81" y="262"/>
                </a:lnTo>
                <a:cubicBezTo>
                  <a:pt x="81" y="262"/>
                  <a:pt x="80" y="263"/>
                  <a:pt x="79" y="264"/>
                </a:cubicBezTo>
                <a:cubicBezTo>
                  <a:pt x="77" y="265"/>
                  <a:pt x="76" y="267"/>
                  <a:pt x="76" y="268"/>
                </a:cubicBezTo>
                <a:cubicBezTo>
                  <a:pt x="76" y="269"/>
                  <a:pt x="75" y="270"/>
                  <a:pt x="74" y="272"/>
                </a:cubicBezTo>
                <a:cubicBezTo>
                  <a:pt x="69" y="278"/>
                  <a:pt x="66" y="281"/>
                  <a:pt x="64" y="283"/>
                </a:cubicBezTo>
                <a:lnTo>
                  <a:pt x="65" y="281"/>
                </a:lnTo>
                <a:lnTo>
                  <a:pt x="65" y="280"/>
                </a:lnTo>
                <a:cubicBezTo>
                  <a:pt x="65" y="279"/>
                  <a:pt x="65" y="279"/>
                  <a:pt x="64" y="279"/>
                </a:cubicBezTo>
                <a:cubicBezTo>
                  <a:pt x="63" y="279"/>
                  <a:pt x="62" y="280"/>
                  <a:pt x="62" y="281"/>
                </a:cubicBezTo>
                <a:cubicBezTo>
                  <a:pt x="62" y="283"/>
                  <a:pt x="63" y="283"/>
                  <a:pt x="63" y="283"/>
                </a:cubicBezTo>
                <a:lnTo>
                  <a:pt x="61" y="283"/>
                </a:lnTo>
                <a:cubicBezTo>
                  <a:pt x="61" y="282"/>
                  <a:pt x="60" y="282"/>
                  <a:pt x="60" y="282"/>
                </a:cubicBezTo>
                <a:cubicBezTo>
                  <a:pt x="59" y="282"/>
                  <a:pt x="59" y="283"/>
                  <a:pt x="59" y="284"/>
                </a:cubicBezTo>
                <a:cubicBezTo>
                  <a:pt x="59" y="285"/>
                  <a:pt x="59" y="285"/>
                  <a:pt x="60" y="286"/>
                </a:cubicBezTo>
                <a:cubicBezTo>
                  <a:pt x="60" y="286"/>
                  <a:pt x="60" y="286"/>
                  <a:pt x="61" y="287"/>
                </a:cubicBezTo>
                <a:cubicBezTo>
                  <a:pt x="61" y="288"/>
                  <a:pt x="60" y="289"/>
                  <a:pt x="59" y="289"/>
                </a:cubicBezTo>
                <a:cubicBezTo>
                  <a:pt x="57" y="290"/>
                  <a:pt x="56" y="291"/>
                  <a:pt x="55" y="293"/>
                </a:cubicBezTo>
                <a:cubicBezTo>
                  <a:pt x="54" y="294"/>
                  <a:pt x="53" y="295"/>
                  <a:pt x="53" y="296"/>
                </a:cubicBezTo>
                <a:lnTo>
                  <a:pt x="53" y="298"/>
                </a:lnTo>
                <a:lnTo>
                  <a:pt x="54" y="295"/>
                </a:lnTo>
                <a:cubicBezTo>
                  <a:pt x="55" y="294"/>
                  <a:pt x="56" y="293"/>
                  <a:pt x="57" y="293"/>
                </a:cubicBezTo>
                <a:cubicBezTo>
                  <a:pt x="57" y="293"/>
                  <a:pt x="58" y="294"/>
                  <a:pt x="58" y="294"/>
                </a:cubicBezTo>
                <a:cubicBezTo>
                  <a:pt x="58" y="295"/>
                  <a:pt x="57" y="296"/>
                  <a:pt x="56" y="298"/>
                </a:cubicBezTo>
                <a:cubicBezTo>
                  <a:pt x="54" y="301"/>
                  <a:pt x="52" y="302"/>
                  <a:pt x="50" y="302"/>
                </a:cubicBezTo>
                <a:cubicBezTo>
                  <a:pt x="48" y="302"/>
                  <a:pt x="48" y="303"/>
                  <a:pt x="48" y="303"/>
                </a:cubicBezTo>
                <a:cubicBezTo>
                  <a:pt x="48" y="303"/>
                  <a:pt x="48" y="304"/>
                  <a:pt x="48" y="304"/>
                </a:cubicBezTo>
                <a:cubicBezTo>
                  <a:pt x="49" y="305"/>
                  <a:pt x="49" y="306"/>
                  <a:pt x="49" y="306"/>
                </a:cubicBezTo>
                <a:cubicBezTo>
                  <a:pt x="49" y="307"/>
                  <a:pt x="48" y="309"/>
                  <a:pt x="46" y="310"/>
                </a:cubicBezTo>
                <a:cubicBezTo>
                  <a:pt x="44" y="312"/>
                  <a:pt x="43" y="313"/>
                  <a:pt x="43" y="314"/>
                </a:cubicBezTo>
                <a:cubicBezTo>
                  <a:pt x="43" y="315"/>
                  <a:pt x="44" y="316"/>
                  <a:pt x="46" y="317"/>
                </a:cubicBezTo>
                <a:cubicBezTo>
                  <a:pt x="48" y="318"/>
                  <a:pt x="48" y="319"/>
                  <a:pt x="48" y="320"/>
                </a:cubicBezTo>
                <a:lnTo>
                  <a:pt x="48" y="320"/>
                </a:lnTo>
                <a:lnTo>
                  <a:pt x="41" y="318"/>
                </a:lnTo>
                <a:cubicBezTo>
                  <a:pt x="40" y="318"/>
                  <a:pt x="40" y="318"/>
                  <a:pt x="39" y="318"/>
                </a:cubicBezTo>
                <a:lnTo>
                  <a:pt x="40" y="319"/>
                </a:lnTo>
                <a:cubicBezTo>
                  <a:pt x="41" y="320"/>
                  <a:pt x="41" y="321"/>
                  <a:pt x="42" y="322"/>
                </a:cubicBezTo>
                <a:cubicBezTo>
                  <a:pt x="42" y="323"/>
                  <a:pt x="43" y="324"/>
                  <a:pt x="43" y="325"/>
                </a:cubicBezTo>
                <a:cubicBezTo>
                  <a:pt x="43" y="325"/>
                  <a:pt x="42" y="326"/>
                  <a:pt x="42" y="326"/>
                </a:cubicBezTo>
                <a:lnTo>
                  <a:pt x="41" y="325"/>
                </a:lnTo>
                <a:lnTo>
                  <a:pt x="39" y="326"/>
                </a:lnTo>
                <a:cubicBezTo>
                  <a:pt x="37" y="327"/>
                  <a:pt x="36" y="328"/>
                  <a:pt x="36" y="330"/>
                </a:cubicBezTo>
                <a:cubicBezTo>
                  <a:pt x="36" y="330"/>
                  <a:pt x="36" y="330"/>
                  <a:pt x="37" y="330"/>
                </a:cubicBezTo>
                <a:cubicBezTo>
                  <a:pt x="37" y="330"/>
                  <a:pt x="37" y="331"/>
                  <a:pt x="37" y="331"/>
                </a:cubicBezTo>
                <a:cubicBezTo>
                  <a:pt x="37" y="331"/>
                  <a:pt x="37" y="331"/>
                  <a:pt x="35" y="332"/>
                </a:cubicBezTo>
                <a:cubicBezTo>
                  <a:pt x="34" y="333"/>
                  <a:pt x="34" y="333"/>
                  <a:pt x="34" y="334"/>
                </a:cubicBezTo>
                <a:cubicBezTo>
                  <a:pt x="34" y="334"/>
                  <a:pt x="34" y="334"/>
                  <a:pt x="35" y="334"/>
                </a:cubicBezTo>
                <a:cubicBezTo>
                  <a:pt x="36" y="334"/>
                  <a:pt x="37" y="333"/>
                  <a:pt x="38" y="331"/>
                </a:cubicBezTo>
                <a:cubicBezTo>
                  <a:pt x="40" y="329"/>
                  <a:pt x="40" y="328"/>
                  <a:pt x="41" y="328"/>
                </a:cubicBezTo>
                <a:lnTo>
                  <a:pt x="41" y="329"/>
                </a:lnTo>
                <a:cubicBezTo>
                  <a:pt x="41" y="330"/>
                  <a:pt x="39" y="333"/>
                  <a:pt x="37" y="340"/>
                </a:cubicBezTo>
                <a:cubicBezTo>
                  <a:pt x="34" y="346"/>
                  <a:pt x="32" y="349"/>
                  <a:pt x="32" y="350"/>
                </a:cubicBezTo>
                <a:cubicBezTo>
                  <a:pt x="31" y="351"/>
                  <a:pt x="30" y="354"/>
                  <a:pt x="27" y="361"/>
                </a:cubicBezTo>
                <a:cubicBezTo>
                  <a:pt x="25" y="368"/>
                  <a:pt x="23" y="372"/>
                  <a:pt x="23" y="373"/>
                </a:cubicBezTo>
                <a:cubicBezTo>
                  <a:pt x="23" y="374"/>
                  <a:pt x="25" y="374"/>
                  <a:pt x="27" y="374"/>
                </a:cubicBezTo>
                <a:cubicBezTo>
                  <a:pt x="27" y="374"/>
                  <a:pt x="28" y="374"/>
                  <a:pt x="28" y="372"/>
                </a:cubicBezTo>
                <a:lnTo>
                  <a:pt x="28" y="370"/>
                </a:lnTo>
                <a:cubicBezTo>
                  <a:pt x="28" y="367"/>
                  <a:pt x="31" y="358"/>
                  <a:pt x="38" y="345"/>
                </a:cubicBezTo>
                <a:cubicBezTo>
                  <a:pt x="45" y="332"/>
                  <a:pt x="52" y="319"/>
                  <a:pt x="60" y="306"/>
                </a:cubicBezTo>
                <a:cubicBezTo>
                  <a:pt x="69" y="293"/>
                  <a:pt x="75" y="285"/>
                  <a:pt x="79" y="281"/>
                </a:cubicBezTo>
                <a:lnTo>
                  <a:pt x="81" y="280"/>
                </a:lnTo>
                <a:cubicBezTo>
                  <a:pt x="81" y="280"/>
                  <a:pt x="80" y="281"/>
                  <a:pt x="79" y="283"/>
                </a:cubicBezTo>
                <a:cubicBezTo>
                  <a:pt x="75" y="288"/>
                  <a:pt x="73" y="292"/>
                  <a:pt x="71" y="296"/>
                </a:cubicBezTo>
                <a:cubicBezTo>
                  <a:pt x="71" y="297"/>
                  <a:pt x="71" y="297"/>
                  <a:pt x="70" y="297"/>
                </a:cubicBezTo>
                <a:cubicBezTo>
                  <a:pt x="68" y="301"/>
                  <a:pt x="65" y="305"/>
                  <a:pt x="62" y="309"/>
                </a:cubicBezTo>
                <a:cubicBezTo>
                  <a:pt x="58" y="313"/>
                  <a:pt x="57" y="316"/>
                  <a:pt x="57" y="318"/>
                </a:cubicBezTo>
                <a:cubicBezTo>
                  <a:pt x="56" y="323"/>
                  <a:pt x="54" y="326"/>
                  <a:pt x="52" y="326"/>
                </a:cubicBezTo>
                <a:cubicBezTo>
                  <a:pt x="52" y="326"/>
                  <a:pt x="51" y="326"/>
                  <a:pt x="51" y="327"/>
                </a:cubicBezTo>
                <a:lnTo>
                  <a:pt x="51" y="328"/>
                </a:lnTo>
                <a:cubicBezTo>
                  <a:pt x="51" y="330"/>
                  <a:pt x="50" y="332"/>
                  <a:pt x="48" y="334"/>
                </a:cubicBezTo>
                <a:cubicBezTo>
                  <a:pt x="46" y="337"/>
                  <a:pt x="45" y="339"/>
                  <a:pt x="45" y="340"/>
                </a:cubicBezTo>
                <a:cubicBezTo>
                  <a:pt x="45" y="340"/>
                  <a:pt x="45" y="341"/>
                  <a:pt x="46" y="342"/>
                </a:cubicBezTo>
                <a:cubicBezTo>
                  <a:pt x="46" y="343"/>
                  <a:pt x="47" y="344"/>
                  <a:pt x="47" y="344"/>
                </a:cubicBezTo>
                <a:cubicBezTo>
                  <a:pt x="47" y="344"/>
                  <a:pt x="46" y="344"/>
                  <a:pt x="45" y="344"/>
                </a:cubicBezTo>
                <a:lnTo>
                  <a:pt x="44" y="344"/>
                </a:lnTo>
                <a:lnTo>
                  <a:pt x="44" y="346"/>
                </a:lnTo>
                <a:cubicBezTo>
                  <a:pt x="44" y="347"/>
                  <a:pt x="43" y="348"/>
                  <a:pt x="42" y="349"/>
                </a:cubicBezTo>
                <a:cubicBezTo>
                  <a:pt x="40" y="351"/>
                  <a:pt x="39" y="353"/>
                  <a:pt x="39" y="353"/>
                </a:cubicBezTo>
                <a:cubicBezTo>
                  <a:pt x="39" y="356"/>
                  <a:pt x="38" y="358"/>
                  <a:pt x="35" y="360"/>
                </a:cubicBezTo>
                <a:cubicBezTo>
                  <a:pt x="34" y="362"/>
                  <a:pt x="33" y="363"/>
                  <a:pt x="33" y="364"/>
                </a:cubicBezTo>
                <a:cubicBezTo>
                  <a:pt x="33" y="364"/>
                  <a:pt x="33" y="365"/>
                  <a:pt x="34" y="365"/>
                </a:cubicBezTo>
                <a:cubicBezTo>
                  <a:pt x="34" y="365"/>
                  <a:pt x="35" y="365"/>
                  <a:pt x="35" y="365"/>
                </a:cubicBezTo>
                <a:cubicBezTo>
                  <a:pt x="35" y="366"/>
                  <a:pt x="34" y="367"/>
                  <a:pt x="33" y="367"/>
                </a:cubicBezTo>
                <a:cubicBezTo>
                  <a:pt x="32" y="369"/>
                  <a:pt x="32" y="370"/>
                  <a:pt x="32" y="370"/>
                </a:cubicBezTo>
                <a:cubicBezTo>
                  <a:pt x="32" y="370"/>
                  <a:pt x="32" y="371"/>
                  <a:pt x="33" y="371"/>
                </a:cubicBezTo>
                <a:cubicBezTo>
                  <a:pt x="35" y="371"/>
                  <a:pt x="35" y="371"/>
                  <a:pt x="35" y="371"/>
                </a:cubicBezTo>
                <a:cubicBezTo>
                  <a:pt x="35" y="372"/>
                  <a:pt x="35" y="372"/>
                  <a:pt x="34" y="372"/>
                </a:cubicBezTo>
                <a:cubicBezTo>
                  <a:pt x="33" y="373"/>
                  <a:pt x="32" y="376"/>
                  <a:pt x="30" y="380"/>
                </a:cubicBezTo>
                <a:cubicBezTo>
                  <a:pt x="29" y="384"/>
                  <a:pt x="28" y="389"/>
                  <a:pt x="27" y="394"/>
                </a:cubicBezTo>
                <a:cubicBezTo>
                  <a:pt x="27" y="400"/>
                  <a:pt x="26" y="404"/>
                  <a:pt x="26" y="408"/>
                </a:cubicBezTo>
                <a:cubicBezTo>
                  <a:pt x="26" y="411"/>
                  <a:pt x="27" y="412"/>
                  <a:pt x="27" y="412"/>
                </a:cubicBezTo>
                <a:lnTo>
                  <a:pt x="28" y="412"/>
                </a:lnTo>
                <a:cubicBezTo>
                  <a:pt x="29" y="412"/>
                  <a:pt x="29" y="413"/>
                  <a:pt x="29" y="415"/>
                </a:cubicBezTo>
                <a:cubicBezTo>
                  <a:pt x="29" y="417"/>
                  <a:pt x="31" y="418"/>
                  <a:pt x="34" y="418"/>
                </a:cubicBezTo>
                <a:cubicBezTo>
                  <a:pt x="37" y="418"/>
                  <a:pt x="39" y="418"/>
                  <a:pt x="40" y="419"/>
                </a:cubicBezTo>
                <a:cubicBezTo>
                  <a:pt x="40" y="420"/>
                  <a:pt x="42" y="420"/>
                  <a:pt x="45" y="420"/>
                </a:cubicBezTo>
                <a:cubicBezTo>
                  <a:pt x="46" y="420"/>
                  <a:pt x="48" y="420"/>
                  <a:pt x="50" y="419"/>
                </a:cubicBezTo>
                <a:cubicBezTo>
                  <a:pt x="53" y="419"/>
                  <a:pt x="55" y="419"/>
                  <a:pt x="56" y="419"/>
                </a:cubicBezTo>
                <a:cubicBezTo>
                  <a:pt x="58" y="419"/>
                  <a:pt x="59" y="419"/>
                  <a:pt x="60" y="419"/>
                </a:cubicBezTo>
                <a:cubicBezTo>
                  <a:pt x="60" y="420"/>
                  <a:pt x="66" y="421"/>
                  <a:pt x="77" y="421"/>
                </a:cubicBezTo>
                <a:cubicBezTo>
                  <a:pt x="86" y="421"/>
                  <a:pt x="91" y="421"/>
                  <a:pt x="91" y="421"/>
                </a:cubicBezTo>
                <a:lnTo>
                  <a:pt x="91" y="421"/>
                </a:lnTo>
                <a:cubicBezTo>
                  <a:pt x="89" y="422"/>
                  <a:pt x="87" y="423"/>
                  <a:pt x="87" y="424"/>
                </a:cubicBezTo>
                <a:cubicBezTo>
                  <a:pt x="87" y="424"/>
                  <a:pt x="86" y="425"/>
                  <a:pt x="84" y="425"/>
                </a:cubicBezTo>
                <a:lnTo>
                  <a:pt x="83" y="424"/>
                </a:lnTo>
                <a:cubicBezTo>
                  <a:pt x="82" y="424"/>
                  <a:pt x="82" y="425"/>
                  <a:pt x="82" y="426"/>
                </a:cubicBezTo>
                <a:cubicBezTo>
                  <a:pt x="82" y="427"/>
                  <a:pt x="82" y="427"/>
                  <a:pt x="84" y="427"/>
                </a:cubicBezTo>
                <a:lnTo>
                  <a:pt x="97" y="426"/>
                </a:lnTo>
                <a:cubicBezTo>
                  <a:pt x="100" y="426"/>
                  <a:pt x="103" y="426"/>
                  <a:pt x="104" y="427"/>
                </a:cubicBezTo>
                <a:cubicBezTo>
                  <a:pt x="104" y="428"/>
                  <a:pt x="105" y="429"/>
                  <a:pt x="106" y="429"/>
                </a:cubicBezTo>
                <a:cubicBezTo>
                  <a:pt x="107" y="429"/>
                  <a:pt x="108" y="428"/>
                  <a:pt x="108" y="426"/>
                </a:cubicBezTo>
                <a:lnTo>
                  <a:pt x="105" y="427"/>
                </a:lnTo>
                <a:lnTo>
                  <a:pt x="106" y="426"/>
                </a:lnTo>
                <a:cubicBezTo>
                  <a:pt x="107" y="426"/>
                  <a:pt x="109" y="425"/>
                  <a:pt x="112" y="424"/>
                </a:cubicBezTo>
                <a:cubicBezTo>
                  <a:pt x="115" y="424"/>
                  <a:pt x="118" y="423"/>
                  <a:pt x="121" y="423"/>
                </a:cubicBezTo>
                <a:cubicBezTo>
                  <a:pt x="123" y="423"/>
                  <a:pt x="124" y="423"/>
                  <a:pt x="125" y="424"/>
                </a:cubicBezTo>
                <a:cubicBezTo>
                  <a:pt x="126" y="424"/>
                  <a:pt x="127" y="424"/>
                  <a:pt x="129" y="424"/>
                </a:cubicBezTo>
                <a:cubicBezTo>
                  <a:pt x="129" y="424"/>
                  <a:pt x="129" y="425"/>
                  <a:pt x="130" y="426"/>
                </a:cubicBezTo>
                <a:cubicBezTo>
                  <a:pt x="131" y="427"/>
                  <a:pt x="131" y="428"/>
                  <a:pt x="131" y="428"/>
                </a:cubicBezTo>
                <a:cubicBezTo>
                  <a:pt x="131" y="429"/>
                  <a:pt x="131" y="429"/>
                  <a:pt x="131" y="429"/>
                </a:cubicBezTo>
                <a:cubicBezTo>
                  <a:pt x="130" y="429"/>
                  <a:pt x="129" y="429"/>
                  <a:pt x="128" y="428"/>
                </a:cubicBezTo>
                <a:cubicBezTo>
                  <a:pt x="127" y="427"/>
                  <a:pt x="126" y="427"/>
                  <a:pt x="125" y="427"/>
                </a:cubicBezTo>
                <a:cubicBezTo>
                  <a:pt x="124" y="427"/>
                  <a:pt x="123" y="427"/>
                  <a:pt x="123" y="428"/>
                </a:cubicBezTo>
                <a:cubicBezTo>
                  <a:pt x="123" y="429"/>
                  <a:pt x="124" y="430"/>
                  <a:pt x="125" y="431"/>
                </a:cubicBezTo>
                <a:cubicBezTo>
                  <a:pt x="125" y="433"/>
                  <a:pt x="126" y="433"/>
                  <a:pt x="126" y="434"/>
                </a:cubicBezTo>
                <a:cubicBezTo>
                  <a:pt x="126" y="434"/>
                  <a:pt x="125" y="433"/>
                  <a:pt x="123" y="432"/>
                </a:cubicBezTo>
                <a:cubicBezTo>
                  <a:pt x="122" y="431"/>
                  <a:pt x="119" y="431"/>
                  <a:pt x="115" y="431"/>
                </a:cubicBezTo>
                <a:cubicBezTo>
                  <a:pt x="108" y="431"/>
                  <a:pt x="103" y="432"/>
                  <a:pt x="100" y="433"/>
                </a:cubicBezTo>
                <a:cubicBezTo>
                  <a:pt x="99" y="434"/>
                  <a:pt x="95" y="435"/>
                  <a:pt x="89" y="435"/>
                </a:cubicBezTo>
                <a:cubicBezTo>
                  <a:pt x="82" y="436"/>
                  <a:pt x="78" y="437"/>
                  <a:pt x="78" y="437"/>
                </a:cubicBezTo>
                <a:cubicBezTo>
                  <a:pt x="78" y="438"/>
                  <a:pt x="80" y="438"/>
                  <a:pt x="86" y="438"/>
                </a:cubicBezTo>
                <a:cubicBezTo>
                  <a:pt x="92" y="438"/>
                  <a:pt x="95" y="438"/>
                  <a:pt x="95" y="438"/>
                </a:cubicBezTo>
                <a:cubicBezTo>
                  <a:pt x="95" y="439"/>
                  <a:pt x="94" y="439"/>
                  <a:pt x="94" y="439"/>
                </a:cubicBezTo>
                <a:cubicBezTo>
                  <a:pt x="93" y="440"/>
                  <a:pt x="91" y="440"/>
                  <a:pt x="90" y="440"/>
                </a:cubicBezTo>
                <a:cubicBezTo>
                  <a:pt x="88" y="440"/>
                  <a:pt x="86" y="440"/>
                  <a:pt x="83" y="440"/>
                </a:cubicBezTo>
                <a:cubicBezTo>
                  <a:pt x="80" y="441"/>
                  <a:pt x="78" y="441"/>
                  <a:pt x="75" y="441"/>
                </a:cubicBezTo>
                <a:cubicBezTo>
                  <a:pt x="73" y="442"/>
                  <a:pt x="71" y="442"/>
                  <a:pt x="70" y="442"/>
                </a:cubicBezTo>
                <a:close/>
                <a:moveTo>
                  <a:pt x="307" y="53"/>
                </a:moveTo>
                <a:cubicBezTo>
                  <a:pt x="309" y="52"/>
                  <a:pt x="310" y="51"/>
                  <a:pt x="310" y="50"/>
                </a:cubicBezTo>
                <a:cubicBezTo>
                  <a:pt x="309" y="49"/>
                  <a:pt x="309" y="49"/>
                  <a:pt x="308" y="49"/>
                </a:cubicBezTo>
                <a:cubicBezTo>
                  <a:pt x="307" y="49"/>
                  <a:pt x="306" y="50"/>
                  <a:pt x="306" y="51"/>
                </a:cubicBezTo>
                <a:lnTo>
                  <a:pt x="306" y="52"/>
                </a:lnTo>
                <a:cubicBezTo>
                  <a:pt x="306" y="52"/>
                  <a:pt x="306" y="53"/>
                  <a:pt x="306" y="53"/>
                </a:cubicBezTo>
                <a:lnTo>
                  <a:pt x="307" y="53"/>
                </a:lnTo>
                <a:close/>
                <a:moveTo>
                  <a:pt x="298" y="59"/>
                </a:moveTo>
                <a:cubicBezTo>
                  <a:pt x="299" y="59"/>
                  <a:pt x="299" y="58"/>
                  <a:pt x="299" y="56"/>
                </a:cubicBezTo>
                <a:cubicBezTo>
                  <a:pt x="299" y="55"/>
                  <a:pt x="299" y="54"/>
                  <a:pt x="298" y="54"/>
                </a:cubicBezTo>
                <a:lnTo>
                  <a:pt x="298" y="54"/>
                </a:lnTo>
                <a:cubicBezTo>
                  <a:pt x="297" y="55"/>
                  <a:pt x="296" y="55"/>
                  <a:pt x="296" y="56"/>
                </a:cubicBezTo>
                <a:cubicBezTo>
                  <a:pt x="296" y="56"/>
                  <a:pt x="297" y="57"/>
                  <a:pt x="297" y="58"/>
                </a:cubicBezTo>
                <a:cubicBezTo>
                  <a:pt x="298" y="59"/>
                  <a:pt x="298" y="59"/>
                  <a:pt x="298" y="59"/>
                </a:cubicBezTo>
                <a:close/>
                <a:moveTo>
                  <a:pt x="66" y="277"/>
                </a:moveTo>
                <a:cubicBezTo>
                  <a:pt x="68" y="277"/>
                  <a:pt x="68" y="276"/>
                  <a:pt x="68" y="274"/>
                </a:cubicBezTo>
                <a:cubicBezTo>
                  <a:pt x="68" y="273"/>
                  <a:pt x="68" y="272"/>
                  <a:pt x="67" y="272"/>
                </a:cubicBezTo>
                <a:lnTo>
                  <a:pt x="66" y="272"/>
                </a:lnTo>
                <a:cubicBezTo>
                  <a:pt x="65" y="273"/>
                  <a:pt x="64" y="274"/>
                  <a:pt x="64" y="275"/>
                </a:cubicBezTo>
                <a:cubicBezTo>
                  <a:pt x="64" y="277"/>
                  <a:pt x="65" y="277"/>
                  <a:pt x="66" y="277"/>
                </a:cubicBezTo>
                <a:close/>
                <a:moveTo>
                  <a:pt x="32" y="342"/>
                </a:moveTo>
                <a:lnTo>
                  <a:pt x="34" y="340"/>
                </a:lnTo>
                <a:cubicBezTo>
                  <a:pt x="35" y="339"/>
                  <a:pt x="35" y="338"/>
                  <a:pt x="35" y="338"/>
                </a:cubicBezTo>
                <a:cubicBezTo>
                  <a:pt x="35" y="337"/>
                  <a:pt x="35" y="337"/>
                  <a:pt x="35" y="337"/>
                </a:cubicBezTo>
                <a:cubicBezTo>
                  <a:pt x="34" y="337"/>
                  <a:pt x="33" y="338"/>
                  <a:pt x="33" y="340"/>
                </a:cubicBezTo>
                <a:lnTo>
                  <a:pt x="32" y="342"/>
                </a:lnTo>
                <a:close/>
                <a:moveTo>
                  <a:pt x="12" y="385"/>
                </a:moveTo>
                <a:cubicBezTo>
                  <a:pt x="12" y="385"/>
                  <a:pt x="12" y="384"/>
                  <a:pt x="12" y="384"/>
                </a:cubicBezTo>
                <a:cubicBezTo>
                  <a:pt x="12" y="384"/>
                  <a:pt x="12" y="384"/>
                  <a:pt x="11" y="383"/>
                </a:cubicBezTo>
                <a:cubicBezTo>
                  <a:pt x="10" y="382"/>
                  <a:pt x="10" y="382"/>
                  <a:pt x="9" y="382"/>
                </a:cubicBezTo>
                <a:cubicBezTo>
                  <a:pt x="8" y="382"/>
                  <a:pt x="8" y="382"/>
                  <a:pt x="8" y="383"/>
                </a:cubicBezTo>
                <a:cubicBezTo>
                  <a:pt x="8" y="384"/>
                  <a:pt x="8" y="384"/>
                  <a:pt x="8" y="384"/>
                </a:cubicBezTo>
                <a:cubicBezTo>
                  <a:pt x="9" y="384"/>
                  <a:pt x="9" y="384"/>
                  <a:pt x="10" y="385"/>
                </a:cubicBezTo>
                <a:lnTo>
                  <a:pt x="12" y="385"/>
                </a:lnTo>
                <a:close/>
                <a:moveTo>
                  <a:pt x="13" y="366"/>
                </a:moveTo>
                <a:cubicBezTo>
                  <a:pt x="13" y="366"/>
                  <a:pt x="14" y="365"/>
                  <a:pt x="15" y="362"/>
                </a:cubicBezTo>
                <a:cubicBezTo>
                  <a:pt x="17" y="359"/>
                  <a:pt x="18" y="357"/>
                  <a:pt x="18" y="355"/>
                </a:cubicBezTo>
                <a:lnTo>
                  <a:pt x="18" y="355"/>
                </a:lnTo>
                <a:cubicBezTo>
                  <a:pt x="17" y="355"/>
                  <a:pt x="16" y="357"/>
                  <a:pt x="15" y="359"/>
                </a:cubicBezTo>
                <a:cubicBezTo>
                  <a:pt x="13" y="362"/>
                  <a:pt x="12" y="365"/>
                  <a:pt x="12" y="366"/>
                </a:cubicBezTo>
                <a:cubicBezTo>
                  <a:pt x="12" y="366"/>
                  <a:pt x="12" y="366"/>
                  <a:pt x="13" y="366"/>
                </a:cubicBezTo>
                <a:close/>
                <a:moveTo>
                  <a:pt x="20" y="345"/>
                </a:moveTo>
                <a:cubicBezTo>
                  <a:pt x="21" y="345"/>
                  <a:pt x="22" y="345"/>
                  <a:pt x="23" y="344"/>
                </a:cubicBezTo>
                <a:cubicBezTo>
                  <a:pt x="23" y="343"/>
                  <a:pt x="24" y="341"/>
                  <a:pt x="24" y="340"/>
                </a:cubicBezTo>
                <a:lnTo>
                  <a:pt x="24" y="339"/>
                </a:lnTo>
                <a:lnTo>
                  <a:pt x="23" y="339"/>
                </a:lnTo>
                <a:cubicBezTo>
                  <a:pt x="23" y="339"/>
                  <a:pt x="22" y="340"/>
                  <a:pt x="21" y="341"/>
                </a:cubicBezTo>
                <a:cubicBezTo>
                  <a:pt x="20" y="343"/>
                  <a:pt x="20" y="344"/>
                  <a:pt x="20" y="345"/>
                </a:cubicBezTo>
                <a:cubicBezTo>
                  <a:pt x="20" y="345"/>
                  <a:pt x="20" y="345"/>
                  <a:pt x="20" y="345"/>
                </a:cubicBezTo>
                <a:close/>
                <a:moveTo>
                  <a:pt x="95" y="213"/>
                </a:moveTo>
                <a:cubicBezTo>
                  <a:pt x="97" y="212"/>
                  <a:pt x="99" y="210"/>
                  <a:pt x="101" y="207"/>
                </a:cubicBezTo>
                <a:lnTo>
                  <a:pt x="103" y="203"/>
                </a:lnTo>
                <a:lnTo>
                  <a:pt x="103" y="203"/>
                </a:lnTo>
                <a:cubicBezTo>
                  <a:pt x="102" y="203"/>
                  <a:pt x="100" y="205"/>
                  <a:pt x="97" y="208"/>
                </a:cubicBezTo>
                <a:cubicBezTo>
                  <a:pt x="96" y="210"/>
                  <a:pt x="95" y="212"/>
                  <a:pt x="95" y="213"/>
                </a:cubicBezTo>
                <a:lnTo>
                  <a:pt x="95" y="213"/>
                </a:lnTo>
                <a:close/>
                <a:moveTo>
                  <a:pt x="106" y="195"/>
                </a:moveTo>
                <a:close/>
                <a:moveTo>
                  <a:pt x="84" y="275"/>
                </a:moveTo>
                <a:cubicBezTo>
                  <a:pt x="84" y="274"/>
                  <a:pt x="85" y="273"/>
                  <a:pt x="86" y="271"/>
                </a:cubicBezTo>
                <a:cubicBezTo>
                  <a:pt x="89" y="269"/>
                  <a:pt x="90" y="267"/>
                  <a:pt x="91" y="267"/>
                </a:cubicBezTo>
                <a:lnTo>
                  <a:pt x="91" y="267"/>
                </a:lnTo>
                <a:cubicBezTo>
                  <a:pt x="91" y="268"/>
                  <a:pt x="91" y="268"/>
                  <a:pt x="90" y="269"/>
                </a:cubicBezTo>
                <a:cubicBezTo>
                  <a:pt x="89" y="270"/>
                  <a:pt x="89" y="270"/>
                  <a:pt x="88" y="271"/>
                </a:cubicBezTo>
                <a:cubicBezTo>
                  <a:pt x="87" y="272"/>
                  <a:pt x="87" y="273"/>
                  <a:pt x="86" y="274"/>
                </a:cubicBezTo>
                <a:cubicBezTo>
                  <a:pt x="85" y="275"/>
                  <a:pt x="84" y="275"/>
                  <a:pt x="84" y="275"/>
                </a:cubicBezTo>
                <a:close/>
                <a:moveTo>
                  <a:pt x="63" y="283"/>
                </a:moveTo>
                <a:lnTo>
                  <a:pt x="64" y="283"/>
                </a:lnTo>
                <a:lnTo>
                  <a:pt x="63" y="283"/>
                </a:lnTo>
                <a:close/>
                <a:moveTo>
                  <a:pt x="107" y="195"/>
                </a:moveTo>
                <a:cubicBezTo>
                  <a:pt x="107" y="195"/>
                  <a:pt x="106" y="195"/>
                  <a:pt x="106" y="195"/>
                </a:cubicBezTo>
                <a:cubicBezTo>
                  <a:pt x="106" y="194"/>
                  <a:pt x="107" y="194"/>
                  <a:pt x="108" y="193"/>
                </a:cubicBezTo>
                <a:cubicBezTo>
                  <a:pt x="109" y="193"/>
                  <a:pt x="109" y="192"/>
                  <a:pt x="111" y="191"/>
                </a:cubicBezTo>
                <a:lnTo>
                  <a:pt x="112" y="189"/>
                </a:lnTo>
                <a:lnTo>
                  <a:pt x="113" y="190"/>
                </a:lnTo>
                <a:lnTo>
                  <a:pt x="110" y="192"/>
                </a:lnTo>
                <a:cubicBezTo>
                  <a:pt x="109" y="194"/>
                  <a:pt x="108" y="195"/>
                  <a:pt x="107" y="195"/>
                </a:cubicBezTo>
                <a:close/>
                <a:moveTo>
                  <a:pt x="356" y="38"/>
                </a:moveTo>
                <a:lnTo>
                  <a:pt x="353" y="38"/>
                </a:lnTo>
                <a:cubicBezTo>
                  <a:pt x="353" y="38"/>
                  <a:pt x="353" y="37"/>
                  <a:pt x="355" y="36"/>
                </a:cubicBezTo>
                <a:cubicBezTo>
                  <a:pt x="356" y="36"/>
                  <a:pt x="357" y="36"/>
                  <a:pt x="358" y="36"/>
                </a:cubicBezTo>
                <a:cubicBezTo>
                  <a:pt x="358" y="36"/>
                  <a:pt x="359" y="36"/>
                  <a:pt x="359" y="36"/>
                </a:cubicBezTo>
                <a:cubicBezTo>
                  <a:pt x="360" y="36"/>
                  <a:pt x="360" y="36"/>
                  <a:pt x="360" y="36"/>
                </a:cubicBezTo>
                <a:cubicBezTo>
                  <a:pt x="360" y="37"/>
                  <a:pt x="358" y="38"/>
                  <a:pt x="356" y="38"/>
                </a:cubicBezTo>
                <a:close/>
                <a:moveTo>
                  <a:pt x="411" y="709"/>
                </a:moveTo>
                <a:cubicBezTo>
                  <a:pt x="409" y="709"/>
                  <a:pt x="407" y="709"/>
                  <a:pt x="407" y="709"/>
                </a:cubicBezTo>
                <a:cubicBezTo>
                  <a:pt x="407" y="708"/>
                  <a:pt x="408" y="708"/>
                  <a:pt x="409" y="708"/>
                </a:cubicBezTo>
                <a:lnTo>
                  <a:pt x="411" y="707"/>
                </a:lnTo>
                <a:cubicBezTo>
                  <a:pt x="413" y="707"/>
                  <a:pt x="414" y="707"/>
                  <a:pt x="414" y="708"/>
                </a:cubicBezTo>
                <a:cubicBezTo>
                  <a:pt x="414" y="709"/>
                  <a:pt x="413" y="709"/>
                  <a:pt x="411" y="709"/>
                </a:cubicBezTo>
                <a:close/>
                <a:moveTo>
                  <a:pt x="383" y="743"/>
                </a:moveTo>
                <a:cubicBezTo>
                  <a:pt x="382" y="743"/>
                  <a:pt x="382" y="743"/>
                  <a:pt x="382" y="742"/>
                </a:cubicBezTo>
                <a:cubicBezTo>
                  <a:pt x="382" y="741"/>
                  <a:pt x="382" y="740"/>
                  <a:pt x="384" y="737"/>
                </a:cubicBezTo>
                <a:cubicBezTo>
                  <a:pt x="386" y="736"/>
                  <a:pt x="388" y="734"/>
                  <a:pt x="390" y="731"/>
                </a:cubicBezTo>
                <a:cubicBezTo>
                  <a:pt x="392" y="729"/>
                  <a:pt x="395" y="726"/>
                  <a:pt x="397" y="723"/>
                </a:cubicBezTo>
                <a:cubicBezTo>
                  <a:pt x="400" y="719"/>
                  <a:pt x="401" y="718"/>
                  <a:pt x="402" y="718"/>
                </a:cubicBezTo>
                <a:lnTo>
                  <a:pt x="402" y="718"/>
                </a:lnTo>
                <a:cubicBezTo>
                  <a:pt x="402" y="719"/>
                  <a:pt x="399" y="724"/>
                  <a:pt x="393" y="733"/>
                </a:cubicBezTo>
                <a:cubicBezTo>
                  <a:pt x="388" y="740"/>
                  <a:pt x="385" y="743"/>
                  <a:pt x="383" y="743"/>
                </a:cubicBezTo>
                <a:close/>
                <a:moveTo>
                  <a:pt x="501" y="558"/>
                </a:moveTo>
                <a:cubicBezTo>
                  <a:pt x="501" y="558"/>
                  <a:pt x="501" y="558"/>
                  <a:pt x="501" y="556"/>
                </a:cubicBezTo>
                <a:cubicBezTo>
                  <a:pt x="501" y="554"/>
                  <a:pt x="503" y="551"/>
                  <a:pt x="507" y="547"/>
                </a:cubicBezTo>
                <a:cubicBezTo>
                  <a:pt x="510" y="544"/>
                  <a:pt x="512" y="543"/>
                  <a:pt x="513" y="543"/>
                </a:cubicBezTo>
                <a:cubicBezTo>
                  <a:pt x="513" y="543"/>
                  <a:pt x="511" y="545"/>
                  <a:pt x="508" y="549"/>
                </a:cubicBezTo>
                <a:cubicBezTo>
                  <a:pt x="504" y="554"/>
                  <a:pt x="502" y="557"/>
                  <a:pt x="502" y="557"/>
                </a:cubicBezTo>
                <a:cubicBezTo>
                  <a:pt x="502" y="558"/>
                  <a:pt x="502" y="558"/>
                  <a:pt x="501" y="558"/>
                </a:cubicBezTo>
                <a:close/>
                <a:moveTo>
                  <a:pt x="350" y="649"/>
                </a:moveTo>
                <a:cubicBezTo>
                  <a:pt x="349" y="649"/>
                  <a:pt x="348" y="648"/>
                  <a:pt x="347" y="646"/>
                </a:cubicBezTo>
                <a:cubicBezTo>
                  <a:pt x="347" y="645"/>
                  <a:pt x="346" y="644"/>
                  <a:pt x="346" y="643"/>
                </a:cubicBezTo>
                <a:cubicBezTo>
                  <a:pt x="346" y="642"/>
                  <a:pt x="347" y="641"/>
                  <a:pt x="347" y="641"/>
                </a:cubicBezTo>
                <a:cubicBezTo>
                  <a:pt x="348" y="641"/>
                  <a:pt x="349" y="642"/>
                  <a:pt x="350" y="644"/>
                </a:cubicBezTo>
                <a:lnTo>
                  <a:pt x="350" y="648"/>
                </a:lnTo>
                <a:cubicBezTo>
                  <a:pt x="350" y="649"/>
                  <a:pt x="350" y="649"/>
                  <a:pt x="350" y="649"/>
                </a:cubicBezTo>
                <a:close/>
                <a:moveTo>
                  <a:pt x="444" y="634"/>
                </a:moveTo>
                <a:cubicBezTo>
                  <a:pt x="444" y="634"/>
                  <a:pt x="444" y="633"/>
                  <a:pt x="444" y="632"/>
                </a:cubicBezTo>
                <a:cubicBezTo>
                  <a:pt x="444" y="631"/>
                  <a:pt x="444" y="630"/>
                  <a:pt x="446" y="627"/>
                </a:cubicBezTo>
                <a:cubicBezTo>
                  <a:pt x="458" y="612"/>
                  <a:pt x="464" y="605"/>
                  <a:pt x="466" y="605"/>
                </a:cubicBezTo>
                <a:cubicBezTo>
                  <a:pt x="466" y="605"/>
                  <a:pt x="466" y="605"/>
                  <a:pt x="466" y="606"/>
                </a:cubicBezTo>
                <a:cubicBezTo>
                  <a:pt x="466" y="608"/>
                  <a:pt x="466" y="610"/>
                  <a:pt x="464" y="610"/>
                </a:cubicBezTo>
                <a:cubicBezTo>
                  <a:pt x="463" y="610"/>
                  <a:pt x="461" y="613"/>
                  <a:pt x="457" y="620"/>
                </a:cubicBezTo>
                <a:cubicBezTo>
                  <a:pt x="455" y="624"/>
                  <a:pt x="453" y="627"/>
                  <a:pt x="450" y="630"/>
                </a:cubicBezTo>
                <a:cubicBezTo>
                  <a:pt x="448" y="632"/>
                  <a:pt x="446" y="634"/>
                  <a:pt x="444" y="634"/>
                </a:cubicBezTo>
                <a:close/>
                <a:moveTo>
                  <a:pt x="419" y="673"/>
                </a:moveTo>
                <a:lnTo>
                  <a:pt x="419" y="672"/>
                </a:lnTo>
                <a:cubicBezTo>
                  <a:pt x="419" y="672"/>
                  <a:pt x="420" y="670"/>
                  <a:pt x="421" y="666"/>
                </a:cubicBezTo>
                <a:cubicBezTo>
                  <a:pt x="424" y="661"/>
                  <a:pt x="426" y="658"/>
                  <a:pt x="427" y="658"/>
                </a:cubicBezTo>
                <a:cubicBezTo>
                  <a:pt x="429" y="658"/>
                  <a:pt x="429" y="657"/>
                  <a:pt x="429" y="654"/>
                </a:cubicBezTo>
                <a:cubicBezTo>
                  <a:pt x="429" y="651"/>
                  <a:pt x="430" y="649"/>
                  <a:pt x="433" y="648"/>
                </a:cubicBezTo>
                <a:lnTo>
                  <a:pt x="434" y="648"/>
                </a:lnTo>
                <a:cubicBezTo>
                  <a:pt x="435" y="648"/>
                  <a:pt x="435" y="648"/>
                  <a:pt x="435" y="648"/>
                </a:cubicBezTo>
                <a:cubicBezTo>
                  <a:pt x="435" y="650"/>
                  <a:pt x="433" y="654"/>
                  <a:pt x="429" y="660"/>
                </a:cubicBezTo>
                <a:cubicBezTo>
                  <a:pt x="423" y="669"/>
                  <a:pt x="420" y="673"/>
                  <a:pt x="419" y="673"/>
                </a:cubicBezTo>
                <a:close/>
                <a:moveTo>
                  <a:pt x="351" y="666"/>
                </a:moveTo>
                <a:cubicBezTo>
                  <a:pt x="350" y="666"/>
                  <a:pt x="348" y="664"/>
                  <a:pt x="346" y="661"/>
                </a:cubicBezTo>
                <a:cubicBezTo>
                  <a:pt x="344" y="657"/>
                  <a:pt x="343" y="655"/>
                  <a:pt x="343" y="653"/>
                </a:cubicBezTo>
                <a:lnTo>
                  <a:pt x="343" y="653"/>
                </a:lnTo>
                <a:cubicBezTo>
                  <a:pt x="343" y="653"/>
                  <a:pt x="345" y="654"/>
                  <a:pt x="348" y="658"/>
                </a:cubicBezTo>
                <a:cubicBezTo>
                  <a:pt x="350" y="661"/>
                  <a:pt x="351" y="664"/>
                  <a:pt x="351" y="665"/>
                </a:cubicBezTo>
                <a:lnTo>
                  <a:pt x="351" y="666"/>
                </a:lnTo>
                <a:close/>
                <a:moveTo>
                  <a:pt x="353" y="639"/>
                </a:moveTo>
                <a:cubicBezTo>
                  <a:pt x="352" y="639"/>
                  <a:pt x="352" y="639"/>
                  <a:pt x="350" y="637"/>
                </a:cubicBezTo>
                <a:cubicBezTo>
                  <a:pt x="349" y="636"/>
                  <a:pt x="349" y="634"/>
                  <a:pt x="349" y="634"/>
                </a:cubicBezTo>
                <a:cubicBezTo>
                  <a:pt x="349" y="632"/>
                  <a:pt x="349" y="632"/>
                  <a:pt x="350" y="632"/>
                </a:cubicBezTo>
                <a:cubicBezTo>
                  <a:pt x="351" y="632"/>
                  <a:pt x="352" y="633"/>
                  <a:pt x="352" y="635"/>
                </a:cubicBezTo>
                <a:lnTo>
                  <a:pt x="353" y="639"/>
                </a:lnTo>
                <a:cubicBezTo>
                  <a:pt x="353" y="639"/>
                  <a:pt x="353" y="639"/>
                  <a:pt x="353" y="639"/>
                </a:cubicBezTo>
                <a:close/>
                <a:moveTo>
                  <a:pt x="568" y="652"/>
                </a:moveTo>
                <a:cubicBezTo>
                  <a:pt x="567" y="652"/>
                  <a:pt x="567" y="652"/>
                  <a:pt x="567" y="651"/>
                </a:cubicBezTo>
                <a:cubicBezTo>
                  <a:pt x="567" y="650"/>
                  <a:pt x="568" y="649"/>
                  <a:pt x="568" y="649"/>
                </a:cubicBezTo>
                <a:cubicBezTo>
                  <a:pt x="569" y="648"/>
                  <a:pt x="571" y="647"/>
                  <a:pt x="573" y="645"/>
                </a:cubicBezTo>
                <a:cubicBezTo>
                  <a:pt x="574" y="644"/>
                  <a:pt x="575" y="643"/>
                  <a:pt x="576" y="643"/>
                </a:cubicBezTo>
                <a:lnTo>
                  <a:pt x="573" y="647"/>
                </a:lnTo>
                <a:cubicBezTo>
                  <a:pt x="571" y="650"/>
                  <a:pt x="569" y="652"/>
                  <a:pt x="568" y="652"/>
                </a:cubicBezTo>
                <a:close/>
                <a:moveTo>
                  <a:pt x="347" y="679"/>
                </a:moveTo>
                <a:cubicBezTo>
                  <a:pt x="347" y="679"/>
                  <a:pt x="346" y="679"/>
                  <a:pt x="346" y="679"/>
                </a:cubicBezTo>
                <a:lnTo>
                  <a:pt x="345" y="678"/>
                </a:lnTo>
                <a:lnTo>
                  <a:pt x="345" y="674"/>
                </a:lnTo>
                <a:lnTo>
                  <a:pt x="341" y="665"/>
                </a:lnTo>
                <a:cubicBezTo>
                  <a:pt x="342" y="665"/>
                  <a:pt x="343" y="666"/>
                  <a:pt x="345" y="668"/>
                </a:cubicBezTo>
                <a:cubicBezTo>
                  <a:pt x="348" y="669"/>
                  <a:pt x="349" y="671"/>
                  <a:pt x="349" y="672"/>
                </a:cubicBezTo>
                <a:cubicBezTo>
                  <a:pt x="349" y="673"/>
                  <a:pt x="349" y="673"/>
                  <a:pt x="349" y="673"/>
                </a:cubicBezTo>
                <a:cubicBezTo>
                  <a:pt x="347" y="673"/>
                  <a:pt x="347" y="674"/>
                  <a:pt x="347" y="676"/>
                </a:cubicBezTo>
                <a:lnTo>
                  <a:pt x="348" y="679"/>
                </a:lnTo>
                <a:cubicBezTo>
                  <a:pt x="348" y="679"/>
                  <a:pt x="348" y="679"/>
                  <a:pt x="347" y="679"/>
                </a:cubicBezTo>
                <a:close/>
                <a:moveTo>
                  <a:pt x="430" y="421"/>
                </a:moveTo>
                <a:cubicBezTo>
                  <a:pt x="430" y="421"/>
                  <a:pt x="429" y="420"/>
                  <a:pt x="429" y="417"/>
                </a:cubicBezTo>
                <a:cubicBezTo>
                  <a:pt x="429" y="415"/>
                  <a:pt x="430" y="414"/>
                  <a:pt x="430" y="414"/>
                </a:cubicBezTo>
                <a:cubicBezTo>
                  <a:pt x="430" y="414"/>
                  <a:pt x="431" y="414"/>
                  <a:pt x="431" y="415"/>
                </a:cubicBezTo>
                <a:cubicBezTo>
                  <a:pt x="432" y="416"/>
                  <a:pt x="432" y="417"/>
                  <a:pt x="432" y="418"/>
                </a:cubicBezTo>
                <a:cubicBezTo>
                  <a:pt x="432" y="419"/>
                  <a:pt x="432" y="420"/>
                  <a:pt x="431" y="421"/>
                </a:cubicBezTo>
                <a:lnTo>
                  <a:pt x="430" y="421"/>
                </a:lnTo>
                <a:close/>
                <a:moveTo>
                  <a:pt x="330" y="808"/>
                </a:moveTo>
                <a:cubicBezTo>
                  <a:pt x="327" y="808"/>
                  <a:pt x="325" y="807"/>
                  <a:pt x="323" y="805"/>
                </a:cubicBezTo>
                <a:cubicBezTo>
                  <a:pt x="321" y="802"/>
                  <a:pt x="317" y="801"/>
                  <a:pt x="313" y="801"/>
                </a:cubicBezTo>
                <a:cubicBezTo>
                  <a:pt x="301" y="801"/>
                  <a:pt x="295" y="792"/>
                  <a:pt x="295" y="774"/>
                </a:cubicBezTo>
                <a:cubicBezTo>
                  <a:pt x="295" y="758"/>
                  <a:pt x="299" y="735"/>
                  <a:pt x="306" y="704"/>
                </a:cubicBezTo>
                <a:cubicBezTo>
                  <a:pt x="308" y="692"/>
                  <a:pt x="309" y="684"/>
                  <a:pt x="309" y="680"/>
                </a:cubicBezTo>
                <a:cubicBezTo>
                  <a:pt x="309" y="678"/>
                  <a:pt x="309" y="677"/>
                  <a:pt x="308" y="677"/>
                </a:cubicBezTo>
                <a:cubicBezTo>
                  <a:pt x="307" y="676"/>
                  <a:pt x="307" y="676"/>
                  <a:pt x="306" y="675"/>
                </a:cubicBezTo>
                <a:cubicBezTo>
                  <a:pt x="306" y="674"/>
                  <a:pt x="306" y="672"/>
                  <a:pt x="306" y="671"/>
                </a:cubicBezTo>
                <a:cubicBezTo>
                  <a:pt x="306" y="669"/>
                  <a:pt x="306" y="667"/>
                  <a:pt x="306" y="667"/>
                </a:cubicBezTo>
                <a:cubicBezTo>
                  <a:pt x="307" y="667"/>
                  <a:pt x="308" y="668"/>
                  <a:pt x="309" y="670"/>
                </a:cubicBezTo>
                <a:cubicBezTo>
                  <a:pt x="310" y="672"/>
                  <a:pt x="311" y="673"/>
                  <a:pt x="312" y="673"/>
                </a:cubicBezTo>
                <a:cubicBezTo>
                  <a:pt x="313" y="673"/>
                  <a:pt x="314" y="672"/>
                  <a:pt x="314" y="670"/>
                </a:cubicBezTo>
                <a:cubicBezTo>
                  <a:pt x="314" y="669"/>
                  <a:pt x="313" y="668"/>
                  <a:pt x="312" y="666"/>
                </a:cubicBezTo>
                <a:cubicBezTo>
                  <a:pt x="311" y="665"/>
                  <a:pt x="310" y="664"/>
                  <a:pt x="309" y="663"/>
                </a:cubicBezTo>
                <a:cubicBezTo>
                  <a:pt x="309" y="661"/>
                  <a:pt x="308" y="661"/>
                  <a:pt x="308" y="660"/>
                </a:cubicBezTo>
                <a:cubicBezTo>
                  <a:pt x="308" y="659"/>
                  <a:pt x="309" y="659"/>
                  <a:pt x="309" y="659"/>
                </a:cubicBezTo>
                <a:cubicBezTo>
                  <a:pt x="310" y="659"/>
                  <a:pt x="310" y="659"/>
                  <a:pt x="311" y="659"/>
                </a:cubicBezTo>
                <a:cubicBezTo>
                  <a:pt x="312" y="659"/>
                  <a:pt x="312" y="660"/>
                  <a:pt x="313" y="660"/>
                </a:cubicBezTo>
                <a:cubicBezTo>
                  <a:pt x="315" y="660"/>
                  <a:pt x="316" y="659"/>
                  <a:pt x="316" y="657"/>
                </a:cubicBezTo>
                <a:cubicBezTo>
                  <a:pt x="316" y="656"/>
                  <a:pt x="315" y="655"/>
                  <a:pt x="315" y="655"/>
                </a:cubicBezTo>
                <a:cubicBezTo>
                  <a:pt x="314" y="655"/>
                  <a:pt x="313" y="655"/>
                  <a:pt x="313" y="654"/>
                </a:cubicBezTo>
                <a:cubicBezTo>
                  <a:pt x="313" y="653"/>
                  <a:pt x="314" y="652"/>
                  <a:pt x="316" y="649"/>
                </a:cubicBezTo>
                <a:cubicBezTo>
                  <a:pt x="318" y="647"/>
                  <a:pt x="318" y="646"/>
                  <a:pt x="318" y="645"/>
                </a:cubicBezTo>
                <a:cubicBezTo>
                  <a:pt x="318" y="644"/>
                  <a:pt x="318" y="644"/>
                  <a:pt x="318" y="644"/>
                </a:cubicBezTo>
                <a:cubicBezTo>
                  <a:pt x="315" y="643"/>
                  <a:pt x="314" y="640"/>
                  <a:pt x="314" y="637"/>
                </a:cubicBezTo>
                <a:cubicBezTo>
                  <a:pt x="314" y="634"/>
                  <a:pt x="315" y="631"/>
                  <a:pt x="317" y="628"/>
                </a:cubicBezTo>
                <a:lnTo>
                  <a:pt x="318" y="626"/>
                </a:lnTo>
                <a:cubicBezTo>
                  <a:pt x="319" y="626"/>
                  <a:pt x="319" y="626"/>
                  <a:pt x="319" y="627"/>
                </a:cubicBezTo>
                <a:cubicBezTo>
                  <a:pt x="319" y="628"/>
                  <a:pt x="319" y="629"/>
                  <a:pt x="318" y="632"/>
                </a:cubicBezTo>
                <a:cubicBezTo>
                  <a:pt x="318" y="634"/>
                  <a:pt x="318" y="637"/>
                  <a:pt x="318" y="638"/>
                </a:cubicBezTo>
                <a:cubicBezTo>
                  <a:pt x="318" y="639"/>
                  <a:pt x="318" y="639"/>
                  <a:pt x="318" y="639"/>
                </a:cubicBezTo>
                <a:cubicBezTo>
                  <a:pt x="320" y="638"/>
                  <a:pt x="320" y="637"/>
                  <a:pt x="320" y="636"/>
                </a:cubicBezTo>
                <a:cubicBezTo>
                  <a:pt x="320" y="634"/>
                  <a:pt x="321" y="633"/>
                  <a:pt x="321" y="632"/>
                </a:cubicBezTo>
                <a:cubicBezTo>
                  <a:pt x="322" y="631"/>
                  <a:pt x="322" y="630"/>
                  <a:pt x="322" y="629"/>
                </a:cubicBezTo>
                <a:cubicBezTo>
                  <a:pt x="323" y="628"/>
                  <a:pt x="323" y="628"/>
                  <a:pt x="323" y="627"/>
                </a:cubicBezTo>
                <a:cubicBezTo>
                  <a:pt x="324" y="626"/>
                  <a:pt x="324" y="624"/>
                  <a:pt x="324" y="623"/>
                </a:cubicBezTo>
                <a:cubicBezTo>
                  <a:pt x="324" y="622"/>
                  <a:pt x="324" y="622"/>
                  <a:pt x="323" y="621"/>
                </a:cubicBezTo>
                <a:cubicBezTo>
                  <a:pt x="322" y="621"/>
                  <a:pt x="321" y="619"/>
                  <a:pt x="321" y="617"/>
                </a:cubicBezTo>
                <a:cubicBezTo>
                  <a:pt x="321" y="614"/>
                  <a:pt x="322" y="610"/>
                  <a:pt x="323" y="605"/>
                </a:cubicBezTo>
                <a:cubicBezTo>
                  <a:pt x="326" y="592"/>
                  <a:pt x="329" y="584"/>
                  <a:pt x="332" y="581"/>
                </a:cubicBezTo>
                <a:lnTo>
                  <a:pt x="334" y="579"/>
                </a:lnTo>
                <a:lnTo>
                  <a:pt x="332" y="585"/>
                </a:lnTo>
                <a:cubicBezTo>
                  <a:pt x="332" y="585"/>
                  <a:pt x="333" y="585"/>
                  <a:pt x="334" y="584"/>
                </a:cubicBezTo>
                <a:cubicBezTo>
                  <a:pt x="336" y="583"/>
                  <a:pt x="336" y="582"/>
                  <a:pt x="336" y="581"/>
                </a:cubicBezTo>
                <a:cubicBezTo>
                  <a:pt x="336" y="580"/>
                  <a:pt x="335" y="578"/>
                  <a:pt x="334" y="577"/>
                </a:cubicBezTo>
                <a:cubicBezTo>
                  <a:pt x="333" y="575"/>
                  <a:pt x="332" y="574"/>
                  <a:pt x="332" y="574"/>
                </a:cubicBezTo>
                <a:cubicBezTo>
                  <a:pt x="332" y="573"/>
                  <a:pt x="332" y="573"/>
                  <a:pt x="332" y="573"/>
                </a:cubicBezTo>
                <a:lnTo>
                  <a:pt x="335" y="574"/>
                </a:lnTo>
                <a:cubicBezTo>
                  <a:pt x="335" y="574"/>
                  <a:pt x="336" y="574"/>
                  <a:pt x="337" y="573"/>
                </a:cubicBezTo>
                <a:cubicBezTo>
                  <a:pt x="338" y="572"/>
                  <a:pt x="338" y="571"/>
                  <a:pt x="338" y="570"/>
                </a:cubicBezTo>
                <a:cubicBezTo>
                  <a:pt x="338" y="568"/>
                  <a:pt x="338" y="568"/>
                  <a:pt x="337" y="568"/>
                </a:cubicBezTo>
                <a:cubicBezTo>
                  <a:pt x="335" y="567"/>
                  <a:pt x="334" y="567"/>
                  <a:pt x="334" y="567"/>
                </a:cubicBezTo>
                <a:cubicBezTo>
                  <a:pt x="334" y="566"/>
                  <a:pt x="335" y="565"/>
                  <a:pt x="337" y="564"/>
                </a:cubicBezTo>
                <a:cubicBezTo>
                  <a:pt x="338" y="563"/>
                  <a:pt x="339" y="562"/>
                  <a:pt x="339" y="560"/>
                </a:cubicBezTo>
                <a:cubicBezTo>
                  <a:pt x="339" y="559"/>
                  <a:pt x="339" y="559"/>
                  <a:pt x="339" y="558"/>
                </a:cubicBezTo>
                <a:cubicBezTo>
                  <a:pt x="338" y="557"/>
                  <a:pt x="338" y="557"/>
                  <a:pt x="338" y="557"/>
                </a:cubicBezTo>
                <a:cubicBezTo>
                  <a:pt x="338" y="556"/>
                  <a:pt x="339" y="555"/>
                  <a:pt x="340" y="555"/>
                </a:cubicBezTo>
                <a:cubicBezTo>
                  <a:pt x="341" y="555"/>
                  <a:pt x="342" y="555"/>
                  <a:pt x="342" y="554"/>
                </a:cubicBezTo>
                <a:lnTo>
                  <a:pt x="341" y="551"/>
                </a:lnTo>
                <a:cubicBezTo>
                  <a:pt x="341" y="550"/>
                  <a:pt x="342" y="549"/>
                  <a:pt x="343" y="548"/>
                </a:cubicBezTo>
                <a:cubicBezTo>
                  <a:pt x="345" y="548"/>
                  <a:pt x="345" y="547"/>
                  <a:pt x="345" y="546"/>
                </a:cubicBezTo>
                <a:cubicBezTo>
                  <a:pt x="345" y="545"/>
                  <a:pt x="345" y="543"/>
                  <a:pt x="343" y="541"/>
                </a:cubicBezTo>
                <a:cubicBezTo>
                  <a:pt x="342" y="539"/>
                  <a:pt x="341" y="538"/>
                  <a:pt x="341" y="537"/>
                </a:cubicBezTo>
                <a:lnTo>
                  <a:pt x="342" y="538"/>
                </a:lnTo>
                <a:cubicBezTo>
                  <a:pt x="342" y="538"/>
                  <a:pt x="343" y="539"/>
                  <a:pt x="343" y="539"/>
                </a:cubicBezTo>
                <a:cubicBezTo>
                  <a:pt x="345" y="539"/>
                  <a:pt x="346" y="538"/>
                  <a:pt x="348" y="536"/>
                </a:cubicBezTo>
                <a:cubicBezTo>
                  <a:pt x="349" y="535"/>
                  <a:pt x="350" y="532"/>
                  <a:pt x="350" y="530"/>
                </a:cubicBezTo>
                <a:cubicBezTo>
                  <a:pt x="350" y="529"/>
                  <a:pt x="351" y="527"/>
                  <a:pt x="352" y="526"/>
                </a:cubicBezTo>
                <a:cubicBezTo>
                  <a:pt x="353" y="525"/>
                  <a:pt x="353" y="523"/>
                  <a:pt x="353" y="521"/>
                </a:cubicBezTo>
                <a:cubicBezTo>
                  <a:pt x="353" y="517"/>
                  <a:pt x="352" y="514"/>
                  <a:pt x="352" y="514"/>
                </a:cubicBezTo>
                <a:lnTo>
                  <a:pt x="350" y="513"/>
                </a:lnTo>
                <a:cubicBezTo>
                  <a:pt x="349" y="513"/>
                  <a:pt x="349" y="514"/>
                  <a:pt x="349" y="515"/>
                </a:cubicBezTo>
                <a:lnTo>
                  <a:pt x="350" y="521"/>
                </a:lnTo>
                <a:cubicBezTo>
                  <a:pt x="350" y="523"/>
                  <a:pt x="348" y="525"/>
                  <a:pt x="346" y="526"/>
                </a:cubicBezTo>
                <a:cubicBezTo>
                  <a:pt x="344" y="527"/>
                  <a:pt x="343" y="528"/>
                  <a:pt x="343" y="528"/>
                </a:cubicBezTo>
                <a:cubicBezTo>
                  <a:pt x="343" y="529"/>
                  <a:pt x="344" y="530"/>
                  <a:pt x="346" y="531"/>
                </a:cubicBezTo>
                <a:cubicBezTo>
                  <a:pt x="347" y="532"/>
                  <a:pt x="348" y="533"/>
                  <a:pt x="348" y="533"/>
                </a:cubicBezTo>
                <a:lnTo>
                  <a:pt x="347" y="533"/>
                </a:lnTo>
                <a:cubicBezTo>
                  <a:pt x="342" y="533"/>
                  <a:pt x="339" y="532"/>
                  <a:pt x="339" y="531"/>
                </a:cubicBezTo>
                <a:cubicBezTo>
                  <a:pt x="339" y="531"/>
                  <a:pt x="340" y="529"/>
                  <a:pt x="342" y="527"/>
                </a:cubicBezTo>
                <a:cubicBezTo>
                  <a:pt x="344" y="524"/>
                  <a:pt x="345" y="521"/>
                  <a:pt x="345" y="518"/>
                </a:cubicBezTo>
                <a:cubicBezTo>
                  <a:pt x="345" y="517"/>
                  <a:pt x="345" y="516"/>
                  <a:pt x="345" y="515"/>
                </a:cubicBezTo>
                <a:cubicBezTo>
                  <a:pt x="345" y="514"/>
                  <a:pt x="344" y="513"/>
                  <a:pt x="344" y="513"/>
                </a:cubicBezTo>
                <a:cubicBezTo>
                  <a:pt x="344" y="511"/>
                  <a:pt x="345" y="511"/>
                  <a:pt x="345" y="511"/>
                </a:cubicBezTo>
                <a:lnTo>
                  <a:pt x="347" y="512"/>
                </a:lnTo>
                <a:cubicBezTo>
                  <a:pt x="348" y="512"/>
                  <a:pt x="348" y="511"/>
                  <a:pt x="348" y="510"/>
                </a:cubicBezTo>
                <a:cubicBezTo>
                  <a:pt x="348" y="509"/>
                  <a:pt x="348" y="508"/>
                  <a:pt x="348" y="507"/>
                </a:cubicBezTo>
                <a:cubicBezTo>
                  <a:pt x="347" y="505"/>
                  <a:pt x="347" y="504"/>
                  <a:pt x="347" y="503"/>
                </a:cubicBezTo>
                <a:cubicBezTo>
                  <a:pt x="347" y="502"/>
                  <a:pt x="347" y="501"/>
                  <a:pt x="349" y="501"/>
                </a:cubicBezTo>
                <a:cubicBezTo>
                  <a:pt x="350" y="501"/>
                  <a:pt x="351" y="500"/>
                  <a:pt x="351" y="497"/>
                </a:cubicBezTo>
                <a:cubicBezTo>
                  <a:pt x="351" y="497"/>
                  <a:pt x="351" y="496"/>
                  <a:pt x="350" y="495"/>
                </a:cubicBezTo>
                <a:cubicBezTo>
                  <a:pt x="350" y="494"/>
                  <a:pt x="350" y="493"/>
                  <a:pt x="350" y="493"/>
                </a:cubicBezTo>
                <a:cubicBezTo>
                  <a:pt x="350" y="492"/>
                  <a:pt x="350" y="492"/>
                  <a:pt x="350" y="492"/>
                </a:cubicBezTo>
                <a:lnTo>
                  <a:pt x="354" y="493"/>
                </a:lnTo>
                <a:cubicBezTo>
                  <a:pt x="355" y="493"/>
                  <a:pt x="356" y="492"/>
                  <a:pt x="356" y="492"/>
                </a:cubicBezTo>
                <a:cubicBezTo>
                  <a:pt x="356" y="491"/>
                  <a:pt x="356" y="490"/>
                  <a:pt x="355" y="489"/>
                </a:cubicBezTo>
                <a:cubicBezTo>
                  <a:pt x="355" y="489"/>
                  <a:pt x="355" y="488"/>
                  <a:pt x="355" y="488"/>
                </a:cubicBezTo>
                <a:cubicBezTo>
                  <a:pt x="355" y="486"/>
                  <a:pt x="356" y="485"/>
                  <a:pt x="357" y="485"/>
                </a:cubicBezTo>
                <a:cubicBezTo>
                  <a:pt x="358" y="485"/>
                  <a:pt x="359" y="485"/>
                  <a:pt x="359" y="484"/>
                </a:cubicBezTo>
                <a:cubicBezTo>
                  <a:pt x="359" y="484"/>
                  <a:pt x="358" y="482"/>
                  <a:pt x="357" y="480"/>
                </a:cubicBezTo>
                <a:cubicBezTo>
                  <a:pt x="356" y="478"/>
                  <a:pt x="355" y="477"/>
                  <a:pt x="355" y="477"/>
                </a:cubicBezTo>
                <a:cubicBezTo>
                  <a:pt x="355" y="477"/>
                  <a:pt x="355" y="476"/>
                  <a:pt x="355" y="476"/>
                </a:cubicBezTo>
                <a:lnTo>
                  <a:pt x="356" y="477"/>
                </a:lnTo>
                <a:cubicBezTo>
                  <a:pt x="356" y="477"/>
                  <a:pt x="357" y="477"/>
                  <a:pt x="357" y="477"/>
                </a:cubicBezTo>
                <a:cubicBezTo>
                  <a:pt x="358" y="477"/>
                  <a:pt x="360" y="475"/>
                  <a:pt x="362" y="469"/>
                </a:cubicBezTo>
                <a:cubicBezTo>
                  <a:pt x="363" y="464"/>
                  <a:pt x="367" y="454"/>
                  <a:pt x="371" y="440"/>
                </a:cubicBezTo>
                <a:lnTo>
                  <a:pt x="372" y="437"/>
                </a:lnTo>
                <a:cubicBezTo>
                  <a:pt x="371" y="437"/>
                  <a:pt x="370" y="438"/>
                  <a:pt x="369" y="440"/>
                </a:cubicBezTo>
                <a:cubicBezTo>
                  <a:pt x="368" y="442"/>
                  <a:pt x="367" y="443"/>
                  <a:pt x="366" y="443"/>
                </a:cubicBezTo>
                <a:cubicBezTo>
                  <a:pt x="366" y="443"/>
                  <a:pt x="366" y="443"/>
                  <a:pt x="366" y="442"/>
                </a:cubicBezTo>
                <a:cubicBezTo>
                  <a:pt x="366" y="441"/>
                  <a:pt x="367" y="437"/>
                  <a:pt x="369" y="431"/>
                </a:cubicBezTo>
                <a:cubicBezTo>
                  <a:pt x="371" y="426"/>
                  <a:pt x="373" y="423"/>
                  <a:pt x="375" y="423"/>
                </a:cubicBezTo>
                <a:lnTo>
                  <a:pt x="375" y="424"/>
                </a:lnTo>
                <a:cubicBezTo>
                  <a:pt x="376" y="424"/>
                  <a:pt x="376" y="423"/>
                  <a:pt x="376" y="422"/>
                </a:cubicBezTo>
                <a:cubicBezTo>
                  <a:pt x="376" y="421"/>
                  <a:pt x="376" y="421"/>
                  <a:pt x="375" y="419"/>
                </a:cubicBezTo>
                <a:cubicBezTo>
                  <a:pt x="375" y="418"/>
                  <a:pt x="375" y="417"/>
                  <a:pt x="375" y="417"/>
                </a:cubicBezTo>
                <a:cubicBezTo>
                  <a:pt x="375" y="416"/>
                  <a:pt x="375" y="416"/>
                  <a:pt x="375" y="416"/>
                </a:cubicBezTo>
                <a:lnTo>
                  <a:pt x="378" y="417"/>
                </a:lnTo>
                <a:cubicBezTo>
                  <a:pt x="379" y="417"/>
                  <a:pt x="379" y="417"/>
                  <a:pt x="379" y="416"/>
                </a:cubicBezTo>
                <a:cubicBezTo>
                  <a:pt x="379" y="415"/>
                  <a:pt x="379" y="415"/>
                  <a:pt x="379" y="414"/>
                </a:cubicBezTo>
                <a:cubicBezTo>
                  <a:pt x="379" y="414"/>
                  <a:pt x="378" y="413"/>
                  <a:pt x="378" y="411"/>
                </a:cubicBezTo>
                <a:cubicBezTo>
                  <a:pt x="378" y="408"/>
                  <a:pt x="380" y="404"/>
                  <a:pt x="383" y="399"/>
                </a:cubicBezTo>
                <a:cubicBezTo>
                  <a:pt x="386" y="393"/>
                  <a:pt x="390" y="389"/>
                  <a:pt x="393" y="389"/>
                </a:cubicBezTo>
                <a:cubicBezTo>
                  <a:pt x="395" y="389"/>
                  <a:pt x="398" y="390"/>
                  <a:pt x="400" y="391"/>
                </a:cubicBezTo>
                <a:cubicBezTo>
                  <a:pt x="402" y="393"/>
                  <a:pt x="402" y="394"/>
                  <a:pt x="402" y="396"/>
                </a:cubicBezTo>
                <a:cubicBezTo>
                  <a:pt x="402" y="397"/>
                  <a:pt x="402" y="397"/>
                  <a:pt x="402" y="398"/>
                </a:cubicBezTo>
                <a:cubicBezTo>
                  <a:pt x="402" y="398"/>
                  <a:pt x="401" y="399"/>
                  <a:pt x="401" y="399"/>
                </a:cubicBezTo>
                <a:cubicBezTo>
                  <a:pt x="401" y="400"/>
                  <a:pt x="402" y="400"/>
                  <a:pt x="403" y="400"/>
                </a:cubicBezTo>
                <a:cubicBezTo>
                  <a:pt x="404" y="400"/>
                  <a:pt x="405" y="400"/>
                  <a:pt x="406" y="399"/>
                </a:cubicBezTo>
                <a:cubicBezTo>
                  <a:pt x="407" y="398"/>
                  <a:pt x="408" y="397"/>
                  <a:pt x="409" y="394"/>
                </a:cubicBezTo>
                <a:cubicBezTo>
                  <a:pt x="410" y="393"/>
                  <a:pt x="411" y="392"/>
                  <a:pt x="411" y="392"/>
                </a:cubicBezTo>
                <a:cubicBezTo>
                  <a:pt x="412" y="392"/>
                  <a:pt x="412" y="394"/>
                  <a:pt x="412" y="399"/>
                </a:cubicBezTo>
                <a:cubicBezTo>
                  <a:pt x="412" y="403"/>
                  <a:pt x="413" y="406"/>
                  <a:pt x="415" y="406"/>
                </a:cubicBezTo>
                <a:cubicBezTo>
                  <a:pt x="418" y="406"/>
                  <a:pt x="419" y="409"/>
                  <a:pt x="419" y="415"/>
                </a:cubicBezTo>
                <a:cubicBezTo>
                  <a:pt x="419" y="421"/>
                  <a:pt x="417" y="427"/>
                  <a:pt x="414" y="434"/>
                </a:cubicBezTo>
                <a:cubicBezTo>
                  <a:pt x="412" y="438"/>
                  <a:pt x="411" y="441"/>
                  <a:pt x="411" y="443"/>
                </a:cubicBezTo>
                <a:lnTo>
                  <a:pt x="411" y="444"/>
                </a:lnTo>
                <a:cubicBezTo>
                  <a:pt x="411" y="447"/>
                  <a:pt x="410" y="449"/>
                  <a:pt x="408" y="452"/>
                </a:cubicBezTo>
                <a:cubicBezTo>
                  <a:pt x="405" y="455"/>
                  <a:pt x="404" y="456"/>
                  <a:pt x="404" y="457"/>
                </a:cubicBezTo>
                <a:lnTo>
                  <a:pt x="406" y="456"/>
                </a:lnTo>
                <a:cubicBezTo>
                  <a:pt x="407" y="456"/>
                  <a:pt x="407" y="457"/>
                  <a:pt x="407" y="458"/>
                </a:cubicBezTo>
                <a:cubicBezTo>
                  <a:pt x="407" y="460"/>
                  <a:pt x="406" y="462"/>
                  <a:pt x="405" y="466"/>
                </a:cubicBezTo>
                <a:cubicBezTo>
                  <a:pt x="404" y="470"/>
                  <a:pt x="402" y="473"/>
                  <a:pt x="400" y="475"/>
                </a:cubicBezTo>
                <a:cubicBezTo>
                  <a:pt x="399" y="477"/>
                  <a:pt x="399" y="478"/>
                  <a:pt x="399" y="478"/>
                </a:cubicBezTo>
                <a:cubicBezTo>
                  <a:pt x="399" y="479"/>
                  <a:pt x="399" y="479"/>
                  <a:pt x="399" y="479"/>
                </a:cubicBezTo>
                <a:cubicBezTo>
                  <a:pt x="399" y="479"/>
                  <a:pt x="399" y="480"/>
                  <a:pt x="399" y="480"/>
                </a:cubicBezTo>
                <a:cubicBezTo>
                  <a:pt x="399" y="480"/>
                  <a:pt x="399" y="482"/>
                  <a:pt x="397" y="483"/>
                </a:cubicBezTo>
                <a:cubicBezTo>
                  <a:pt x="396" y="485"/>
                  <a:pt x="395" y="487"/>
                  <a:pt x="395" y="489"/>
                </a:cubicBezTo>
                <a:cubicBezTo>
                  <a:pt x="395" y="490"/>
                  <a:pt x="396" y="491"/>
                  <a:pt x="396" y="492"/>
                </a:cubicBezTo>
                <a:cubicBezTo>
                  <a:pt x="397" y="492"/>
                  <a:pt x="397" y="493"/>
                  <a:pt x="397" y="493"/>
                </a:cubicBezTo>
                <a:cubicBezTo>
                  <a:pt x="397" y="494"/>
                  <a:pt x="397" y="494"/>
                  <a:pt x="397" y="494"/>
                </a:cubicBezTo>
                <a:cubicBezTo>
                  <a:pt x="396" y="494"/>
                  <a:pt x="396" y="494"/>
                  <a:pt x="395" y="493"/>
                </a:cubicBezTo>
                <a:cubicBezTo>
                  <a:pt x="394" y="493"/>
                  <a:pt x="394" y="492"/>
                  <a:pt x="393" y="492"/>
                </a:cubicBezTo>
                <a:cubicBezTo>
                  <a:pt x="392" y="492"/>
                  <a:pt x="392" y="498"/>
                  <a:pt x="391" y="509"/>
                </a:cubicBezTo>
                <a:cubicBezTo>
                  <a:pt x="390" y="514"/>
                  <a:pt x="389" y="517"/>
                  <a:pt x="387" y="518"/>
                </a:cubicBezTo>
                <a:cubicBezTo>
                  <a:pt x="385" y="520"/>
                  <a:pt x="384" y="522"/>
                  <a:pt x="384" y="524"/>
                </a:cubicBezTo>
                <a:lnTo>
                  <a:pt x="385" y="528"/>
                </a:lnTo>
                <a:cubicBezTo>
                  <a:pt x="385" y="530"/>
                  <a:pt x="384" y="530"/>
                  <a:pt x="383" y="531"/>
                </a:cubicBezTo>
                <a:cubicBezTo>
                  <a:pt x="381" y="531"/>
                  <a:pt x="381" y="532"/>
                  <a:pt x="381" y="534"/>
                </a:cubicBezTo>
                <a:lnTo>
                  <a:pt x="382" y="538"/>
                </a:lnTo>
                <a:cubicBezTo>
                  <a:pt x="382" y="539"/>
                  <a:pt x="381" y="540"/>
                  <a:pt x="380" y="540"/>
                </a:cubicBezTo>
                <a:cubicBezTo>
                  <a:pt x="379" y="540"/>
                  <a:pt x="378" y="541"/>
                  <a:pt x="377" y="544"/>
                </a:cubicBezTo>
                <a:cubicBezTo>
                  <a:pt x="375" y="546"/>
                  <a:pt x="375" y="549"/>
                  <a:pt x="374" y="553"/>
                </a:cubicBezTo>
                <a:cubicBezTo>
                  <a:pt x="373" y="556"/>
                  <a:pt x="373" y="559"/>
                  <a:pt x="373" y="561"/>
                </a:cubicBezTo>
                <a:cubicBezTo>
                  <a:pt x="373" y="562"/>
                  <a:pt x="373" y="563"/>
                  <a:pt x="373" y="563"/>
                </a:cubicBezTo>
                <a:cubicBezTo>
                  <a:pt x="374" y="564"/>
                  <a:pt x="374" y="565"/>
                  <a:pt x="374" y="565"/>
                </a:cubicBezTo>
                <a:cubicBezTo>
                  <a:pt x="374" y="566"/>
                  <a:pt x="373" y="567"/>
                  <a:pt x="371" y="568"/>
                </a:cubicBezTo>
                <a:cubicBezTo>
                  <a:pt x="370" y="568"/>
                  <a:pt x="369" y="572"/>
                  <a:pt x="368" y="578"/>
                </a:cubicBezTo>
                <a:cubicBezTo>
                  <a:pt x="368" y="583"/>
                  <a:pt x="367" y="587"/>
                  <a:pt x="365" y="589"/>
                </a:cubicBezTo>
                <a:cubicBezTo>
                  <a:pt x="363" y="591"/>
                  <a:pt x="362" y="595"/>
                  <a:pt x="362" y="600"/>
                </a:cubicBezTo>
                <a:cubicBezTo>
                  <a:pt x="361" y="606"/>
                  <a:pt x="360" y="610"/>
                  <a:pt x="359" y="612"/>
                </a:cubicBezTo>
                <a:cubicBezTo>
                  <a:pt x="357" y="613"/>
                  <a:pt x="356" y="614"/>
                  <a:pt x="355" y="614"/>
                </a:cubicBezTo>
                <a:cubicBezTo>
                  <a:pt x="355" y="614"/>
                  <a:pt x="355" y="614"/>
                  <a:pt x="355" y="613"/>
                </a:cubicBezTo>
                <a:cubicBezTo>
                  <a:pt x="355" y="610"/>
                  <a:pt x="357" y="600"/>
                  <a:pt x="361" y="586"/>
                </a:cubicBezTo>
                <a:cubicBezTo>
                  <a:pt x="365" y="573"/>
                  <a:pt x="368" y="562"/>
                  <a:pt x="371" y="552"/>
                </a:cubicBezTo>
                <a:cubicBezTo>
                  <a:pt x="374" y="541"/>
                  <a:pt x="375" y="535"/>
                  <a:pt x="376" y="533"/>
                </a:cubicBezTo>
                <a:cubicBezTo>
                  <a:pt x="376" y="533"/>
                  <a:pt x="376" y="532"/>
                  <a:pt x="376" y="532"/>
                </a:cubicBezTo>
                <a:cubicBezTo>
                  <a:pt x="376" y="531"/>
                  <a:pt x="377" y="531"/>
                  <a:pt x="377" y="530"/>
                </a:cubicBezTo>
                <a:cubicBezTo>
                  <a:pt x="378" y="529"/>
                  <a:pt x="378" y="527"/>
                  <a:pt x="379" y="526"/>
                </a:cubicBezTo>
                <a:cubicBezTo>
                  <a:pt x="379" y="525"/>
                  <a:pt x="380" y="521"/>
                  <a:pt x="382" y="515"/>
                </a:cubicBezTo>
                <a:cubicBezTo>
                  <a:pt x="385" y="508"/>
                  <a:pt x="386" y="503"/>
                  <a:pt x="386" y="500"/>
                </a:cubicBezTo>
                <a:cubicBezTo>
                  <a:pt x="386" y="497"/>
                  <a:pt x="387" y="495"/>
                  <a:pt x="388" y="493"/>
                </a:cubicBezTo>
                <a:cubicBezTo>
                  <a:pt x="389" y="492"/>
                  <a:pt x="390" y="490"/>
                  <a:pt x="390" y="487"/>
                </a:cubicBezTo>
                <a:cubicBezTo>
                  <a:pt x="391" y="484"/>
                  <a:pt x="392" y="481"/>
                  <a:pt x="393" y="477"/>
                </a:cubicBezTo>
                <a:cubicBezTo>
                  <a:pt x="395" y="473"/>
                  <a:pt x="396" y="471"/>
                  <a:pt x="396" y="469"/>
                </a:cubicBezTo>
                <a:cubicBezTo>
                  <a:pt x="396" y="468"/>
                  <a:pt x="397" y="467"/>
                  <a:pt x="399" y="465"/>
                </a:cubicBezTo>
                <a:cubicBezTo>
                  <a:pt x="400" y="464"/>
                  <a:pt x="400" y="460"/>
                  <a:pt x="400" y="455"/>
                </a:cubicBezTo>
                <a:cubicBezTo>
                  <a:pt x="400" y="451"/>
                  <a:pt x="400" y="450"/>
                  <a:pt x="399" y="450"/>
                </a:cubicBezTo>
                <a:cubicBezTo>
                  <a:pt x="399" y="450"/>
                  <a:pt x="393" y="467"/>
                  <a:pt x="383" y="501"/>
                </a:cubicBezTo>
                <a:cubicBezTo>
                  <a:pt x="366" y="555"/>
                  <a:pt x="352" y="602"/>
                  <a:pt x="340" y="643"/>
                </a:cubicBezTo>
                <a:cubicBezTo>
                  <a:pt x="334" y="665"/>
                  <a:pt x="330" y="679"/>
                  <a:pt x="328" y="686"/>
                </a:cubicBezTo>
                <a:cubicBezTo>
                  <a:pt x="327" y="688"/>
                  <a:pt x="325" y="698"/>
                  <a:pt x="321" y="716"/>
                </a:cubicBezTo>
                <a:cubicBezTo>
                  <a:pt x="320" y="723"/>
                  <a:pt x="318" y="730"/>
                  <a:pt x="317" y="735"/>
                </a:cubicBezTo>
                <a:cubicBezTo>
                  <a:pt x="316" y="741"/>
                  <a:pt x="315" y="745"/>
                  <a:pt x="315" y="746"/>
                </a:cubicBezTo>
                <a:cubicBezTo>
                  <a:pt x="315" y="748"/>
                  <a:pt x="314" y="749"/>
                  <a:pt x="314" y="749"/>
                </a:cubicBezTo>
                <a:cubicBezTo>
                  <a:pt x="314" y="750"/>
                  <a:pt x="314" y="751"/>
                  <a:pt x="314" y="752"/>
                </a:cubicBezTo>
                <a:cubicBezTo>
                  <a:pt x="314" y="754"/>
                  <a:pt x="313" y="755"/>
                  <a:pt x="310" y="755"/>
                </a:cubicBezTo>
                <a:cubicBezTo>
                  <a:pt x="310" y="755"/>
                  <a:pt x="309" y="755"/>
                  <a:pt x="309" y="756"/>
                </a:cubicBezTo>
                <a:cubicBezTo>
                  <a:pt x="309" y="757"/>
                  <a:pt x="310" y="757"/>
                  <a:pt x="312" y="759"/>
                </a:cubicBezTo>
                <a:cubicBezTo>
                  <a:pt x="313" y="760"/>
                  <a:pt x="314" y="761"/>
                  <a:pt x="314" y="761"/>
                </a:cubicBezTo>
                <a:cubicBezTo>
                  <a:pt x="314" y="761"/>
                  <a:pt x="313" y="761"/>
                  <a:pt x="311" y="761"/>
                </a:cubicBezTo>
                <a:cubicBezTo>
                  <a:pt x="309" y="761"/>
                  <a:pt x="308" y="762"/>
                  <a:pt x="308" y="762"/>
                </a:cubicBezTo>
                <a:cubicBezTo>
                  <a:pt x="308" y="762"/>
                  <a:pt x="309" y="763"/>
                  <a:pt x="311" y="764"/>
                </a:cubicBezTo>
                <a:cubicBezTo>
                  <a:pt x="313" y="766"/>
                  <a:pt x="314" y="767"/>
                  <a:pt x="314" y="767"/>
                </a:cubicBezTo>
                <a:cubicBezTo>
                  <a:pt x="314" y="767"/>
                  <a:pt x="313" y="767"/>
                  <a:pt x="311" y="767"/>
                </a:cubicBezTo>
                <a:cubicBezTo>
                  <a:pt x="309" y="767"/>
                  <a:pt x="308" y="768"/>
                  <a:pt x="308" y="768"/>
                </a:cubicBezTo>
                <a:cubicBezTo>
                  <a:pt x="308" y="768"/>
                  <a:pt x="309" y="769"/>
                  <a:pt x="311" y="770"/>
                </a:cubicBezTo>
                <a:cubicBezTo>
                  <a:pt x="313" y="772"/>
                  <a:pt x="314" y="772"/>
                  <a:pt x="314" y="773"/>
                </a:cubicBezTo>
                <a:cubicBezTo>
                  <a:pt x="314" y="773"/>
                  <a:pt x="313" y="774"/>
                  <a:pt x="311" y="774"/>
                </a:cubicBezTo>
                <a:cubicBezTo>
                  <a:pt x="310" y="774"/>
                  <a:pt x="309" y="776"/>
                  <a:pt x="308" y="781"/>
                </a:cubicBezTo>
                <a:cubicBezTo>
                  <a:pt x="308" y="786"/>
                  <a:pt x="309" y="789"/>
                  <a:pt x="310" y="789"/>
                </a:cubicBezTo>
                <a:cubicBezTo>
                  <a:pt x="312" y="789"/>
                  <a:pt x="314" y="782"/>
                  <a:pt x="317" y="768"/>
                </a:cubicBezTo>
                <a:cubicBezTo>
                  <a:pt x="318" y="755"/>
                  <a:pt x="320" y="745"/>
                  <a:pt x="322" y="739"/>
                </a:cubicBezTo>
                <a:cubicBezTo>
                  <a:pt x="324" y="727"/>
                  <a:pt x="327" y="719"/>
                  <a:pt x="330" y="717"/>
                </a:cubicBezTo>
                <a:lnTo>
                  <a:pt x="334" y="713"/>
                </a:lnTo>
                <a:cubicBezTo>
                  <a:pt x="333" y="713"/>
                  <a:pt x="332" y="713"/>
                  <a:pt x="330" y="714"/>
                </a:cubicBezTo>
                <a:cubicBezTo>
                  <a:pt x="328" y="715"/>
                  <a:pt x="326" y="715"/>
                  <a:pt x="326" y="715"/>
                </a:cubicBezTo>
                <a:lnTo>
                  <a:pt x="326" y="715"/>
                </a:lnTo>
                <a:cubicBezTo>
                  <a:pt x="326" y="715"/>
                  <a:pt x="327" y="713"/>
                  <a:pt x="330" y="711"/>
                </a:cubicBezTo>
                <a:cubicBezTo>
                  <a:pt x="333" y="709"/>
                  <a:pt x="335" y="705"/>
                  <a:pt x="337" y="698"/>
                </a:cubicBezTo>
                <a:cubicBezTo>
                  <a:pt x="337" y="693"/>
                  <a:pt x="338" y="689"/>
                  <a:pt x="340" y="686"/>
                </a:cubicBezTo>
                <a:cubicBezTo>
                  <a:pt x="341" y="686"/>
                  <a:pt x="341" y="685"/>
                  <a:pt x="341" y="684"/>
                </a:cubicBezTo>
                <a:cubicBezTo>
                  <a:pt x="341" y="682"/>
                  <a:pt x="340" y="681"/>
                  <a:pt x="339" y="679"/>
                </a:cubicBezTo>
                <a:lnTo>
                  <a:pt x="338" y="677"/>
                </a:lnTo>
                <a:cubicBezTo>
                  <a:pt x="338" y="677"/>
                  <a:pt x="340" y="678"/>
                  <a:pt x="343" y="680"/>
                </a:cubicBezTo>
                <a:cubicBezTo>
                  <a:pt x="345" y="682"/>
                  <a:pt x="347" y="683"/>
                  <a:pt x="347" y="685"/>
                </a:cubicBezTo>
                <a:cubicBezTo>
                  <a:pt x="347" y="686"/>
                  <a:pt x="347" y="687"/>
                  <a:pt x="346" y="688"/>
                </a:cubicBezTo>
                <a:cubicBezTo>
                  <a:pt x="345" y="688"/>
                  <a:pt x="344" y="690"/>
                  <a:pt x="344" y="691"/>
                </a:cubicBezTo>
                <a:cubicBezTo>
                  <a:pt x="344" y="691"/>
                  <a:pt x="345" y="692"/>
                  <a:pt x="345" y="692"/>
                </a:cubicBezTo>
                <a:cubicBezTo>
                  <a:pt x="345" y="692"/>
                  <a:pt x="345" y="693"/>
                  <a:pt x="345" y="694"/>
                </a:cubicBezTo>
                <a:cubicBezTo>
                  <a:pt x="345" y="695"/>
                  <a:pt x="345" y="696"/>
                  <a:pt x="344" y="697"/>
                </a:cubicBezTo>
                <a:cubicBezTo>
                  <a:pt x="343" y="699"/>
                  <a:pt x="343" y="700"/>
                  <a:pt x="342" y="701"/>
                </a:cubicBezTo>
                <a:cubicBezTo>
                  <a:pt x="342" y="702"/>
                  <a:pt x="342" y="703"/>
                  <a:pt x="342" y="703"/>
                </a:cubicBezTo>
                <a:cubicBezTo>
                  <a:pt x="341" y="703"/>
                  <a:pt x="341" y="704"/>
                  <a:pt x="341" y="705"/>
                </a:cubicBezTo>
                <a:cubicBezTo>
                  <a:pt x="341" y="706"/>
                  <a:pt x="341" y="707"/>
                  <a:pt x="340" y="708"/>
                </a:cubicBezTo>
                <a:cubicBezTo>
                  <a:pt x="340" y="708"/>
                  <a:pt x="338" y="715"/>
                  <a:pt x="336" y="728"/>
                </a:cubicBezTo>
                <a:cubicBezTo>
                  <a:pt x="335" y="734"/>
                  <a:pt x="334" y="739"/>
                  <a:pt x="334" y="743"/>
                </a:cubicBezTo>
                <a:cubicBezTo>
                  <a:pt x="334" y="748"/>
                  <a:pt x="333" y="751"/>
                  <a:pt x="332" y="752"/>
                </a:cubicBezTo>
                <a:cubicBezTo>
                  <a:pt x="330" y="754"/>
                  <a:pt x="328" y="754"/>
                  <a:pt x="328" y="755"/>
                </a:cubicBezTo>
                <a:cubicBezTo>
                  <a:pt x="328" y="755"/>
                  <a:pt x="329" y="755"/>
                  <a:pt x="331" y="755"/>
                </a:cubicBezTo>
                <a:cubicBezTo>
                  <a:pt x="332" y="755"/>
                  <a:pt x="333" y="756"/>
                  <a:pt x="333" y="758"/>
                </a:cubicBezTo>
                <a:cubicBezTo>
                  <a:pt x="333" y="760"/>
                  <a:pt x="333" y="762"/>
                  <a:pt x="332" y="764"/>
                </a:cubicBezTo>
                <a:cubicBezTo>
                  <a:pt x="332" y="766"/>
                  <a:pt x="332" y="767"/>
                  <a:pt x="332" y="768"/>
                </a:cubicBezTo>
                <a:cubicBezTo>
                  <a:pt x="332" y="768"/>
                  <a:pt x="332" y="768"/>
                  <a:pt x="332" y="768"/>
                </a:cubicBezTo>
                <a:cubicBezTo>
                  <a:pt x="333" y="768"/>
                  <a:pt x="335" y="765"/>
                  <a:pt x="340" y="760"/>
                </a:cubicBezTo>
                <a:lnTo>
                  <a:pt x="344" y="755"/>
                </a:lnTo>
                <a:cubicBezTo>
                  <a:pt x="353" y="744"/>
                  <a:pt x="357" y="738"/>
                  <a:pt x="357" y="737"/>
                </a:cubicBezTo>
                <a:cubicBezTo>
                  <a:pt x="357" y="736"/>
                  <a:pt x="357" y="735"/>
                  <a:pt x="355" y="735"/>
                </a:cubicBezTo>
                <a:lnTo>
                  <a:pt x="352" y="732"/>
                </a:lnTo>
                <a:cubicBezTo>
                  <a:pt x="352" y="731"/>
                  <a:pt x="352" y="731"/>
                  <a:pt x="352" y="731"/>
                </a:cubicBezTo>
                <a:cubicBezTo>
                  <a:pt x="352" y="731"/>
                  <a:pt x="353" y="731"/>
                  <a:pt x="354" y="732"/>
                </a:cubicBezTo>
                <a:cubicBezTo>
                  <a:pt x="355" y="732"/>
                  <a:pt x="356" y="732"/>
                  <a:pt x="357" y="732"/>
                </a:cubicBezTo>
                <a:cubicBezTo>
                  <a:pt x="359" y="732"/>
                  <a:pt x="361" y="732"/>
                  <a:pt x="363" y="730"/>
                </a:cubicBezTo>
                <a:cubicBezTo>
                  <a:pt x="364" y="728"/>
                  <a:pt x="365" y="727"/>
                  <a:pt x="365" y="725"/>
                </a:cubicBezTo>
                <a:cubicBezTo>
                  <a:pt x="365" y="723"/>
                  <a:pt x="365" y="723"/>
                  <a:pt x="364" y="722"/>
                </a:cubicBezTo>
                <a:cubicBezTo>
                  <a:pt x="364" y="721"/>
                  <a:pt x="363" y="720"/>
                  <a:pt x="363" y="720"/>
                </a:cubicBezTo>
                <a:cubicBezTo>
                  <a:pt x="363" y="720"/>
                  <a:pt x="364" y="719"/>
                  <a:pt x="364" y="719"/>
                </a:cubicBezTo>
                <a:lnTo>
                  <a:pt x="366" y="720"/>
                </a:lnTo>
                <a:cubicBezTo>
                  <a:pt x="369" y="720"/>
                  <a:pt x="375" y="713"/>
                  <a:pt x="384" y="698"/>
                </a:cubicBezTo>
                <a:lnTo>
                  <a:pt x="391" y="688"/>
                </a:lnTo>
                <a:cubicBezTo>
                  <a:pt x="393" y="687"/>
                  <a:pt x="394" y="685"/>
                  <a:pt x="394" y="683"/>
                </a:cubicBezTo>
                <a:lnTo>
                  <a:pt x="393" y="679"/>
                </a:lnTo>
                <a:cubicBezTo>
                  <a:pt x="393" y="678"/>
                  <a:pt x="393" y="677"/>
                  <a:pt x="394" y="677"/>
                </a:cubicBezTo>
                <a:lnTo>
                  <a:pt x="395" y="677"/>
                </a:lnTo>
                <a:cubicBezTo>
                  <a:pt x="396" y="677"/>
                  <a:pt x="399" y="675"/>
                  <a:pt x="402" y="671"/>
                </a:cubicBezTo>
                <a:cubicBezTo>
                  <a:pt x="406" y="666"/>
                  <a:pt x="410" y="661"/>
                  <a:pt x="413" y="656"/>
                </a:cubicBezTo>
                <a:cubicBezTo>
                  <a:pt x="416" y="651"/>
                  <a:pt x="418" y="648"/>
                  <a:pt x="418" y="646"/>
                </a:cubicBezTo>
                <a:cubicBezTo>
                  <a:pt x="418" y="645"/>
                  <a:pt x="417" y="644"/>
                  <a:pt x="417" y="644"/>
                </a:cubicBezTo>
                <a:cubicBezTo>
                  <a:pt x="416" y="644"/>
                  <a:pt x="414" y="646"/>
                  <a:pt x="411" y="649"/>
                </a:cubicBezTo>
                <a:cubicBezTo>
                  <a:pt x="409" y="653"/>
                  <a:pt x="407" y="655"/>
                  <a:pt x="407" y="655"/>
                </a:cubicBezTo>
                <a:cubicBezTo>
                  <a:pt x="407" y="654"/>
                  <a:pt x="409" y="651"/>
                  <a:pt x="411" y="647"/>
                </a:cubicBezTo>
                <a:cubicBezTo>
                  <a:pt x="414" y="642"/>
                  <a:pt x="416" y="639"/>
                  <a:pt x="417" y="639"/>
                </a:cubicBezTo>
                <a:lnTo>
                  <a:pt x="418" y="640"/>
                </a:lnTo>
                <a:cubicBezTo>
                  <a:pt x="418" y="640"/>
                  <a:pt x="418" y="641"/>
                  <a:pt x="418" y="641"/>
                </a:cubicBezTo>
                <a:cubicBezTo>
                  <a:pt x="420" y="641"/>
                  <a:pt x="424" y="637"/>
                  <a:pt x="429" y="628"/>
                </a:cubicBezTo>
                <a:cubicBezTo>
                  <a:pt x="433" y="622"/>
                  <a:pt x="435" y="619"/>
                  <a:pt x="435" y="618"/>
                </a:cubicBezTo>
                <a:cubicBezTo>
                  <a:pt x="435" y="618"/>
                  <a:pt x="433" y="620"/>
                  <a:pt x="430" y="624"/>
                </a:cubicBezTo>
                <a:cubicBezTo>
                  <a:pt x="425" y="631"/>
                  <a:pt x="421" y="634"/>
                  <a:pt x="420" y="634"/>
                </a:cubicBezTo>
                <a:cubicBezTo>
                  <a:pt x="420" y="634"/>
                  <a:pt x="420" y="634"/>
                  <a:pt x="420" y="634"/>
                </a:cubicBezTo>
                <a:cubicBezTo>
                  <a:pt x="420" y="632"/>
                  <a:pt x="425" y="623"/>
                  <a:pt x="435" y="608"/>
                </a:cubicBezTo>
                <a:cubicBezTo>
                  <a:pt x="447" y="590"/>
                  <a:pt x="454" y="580"/>
                  <a:pt x="454" y="578"/>
                </a:cubicBezTo>
                <a:cubicBezTo>
                  <a:pt x="454" y="576"/>
                  <a:pt x="455" y="574"/>
                  <a:pt x="458" y="572"/>
                </a:cubicBezTo>
                <a:cubicBezTo>
                  <a:pt x="460" y="571"/>
                  <a:pt x="461" y="570"/>
                  <a:pt x="462" y="568"/>
                </a:cubicBezTo>
                <a:cubicBezTo>
                  <a:pt x="463" y="567"/>
                  <a:pt x="464" y="566"/>
                  <a:pt x="464" y="566"/>
                </a:cubicBezTo>
                <a:cubicBezTo>
                  <a:pt x="464" y="564"/>
                  <a:pt x="466" y="561"/>
                  <a:pt x="471" y="555"/>
                </a:cubicBezTo>
                <a:cubicBezTo>
                  <a:pt x="482" y="544"/>
                  <a:pt x="487" y="536"/>
                  <a:pt x="487" y="534"/>
                </a:cubicBezTo>
                <a:lnTo>
                  <a:pt x="487" y="532"/>
                </a:lnTo>
                <a:cubicBezTo>
                  <a:pt x="487" y="532"/>
                  <a:pt x="487" y="531"/>
                  <a:pt x="487" y="531"/>
                </a:cubicBezTo>
                <a:lnTo>
                  <a:pt x="490" y="533"/>
                </a:lnTo>
                <a:cubicBezTo>
                  <a:pt x="492" y="533"/>
                  <a:pt x="492" y="531"/>
                  <a:pt x="492" y="529"/>
                </a:cubicBezTo>
                <a:cubicBezTo>
                  <a:pt x="492" y="526"/>
                  <a:pt x="493" y="525"/>
                  <a:pt x="496" y="525"/>
                </a:cubicBezTo>
                <a:cubicBezTo>
                  <a:pt x="497" y="525"/>
                  <a:pt x="498" y="526"/>
                  <a:pt x="500" y="528"/>
                </a:cubicBezTo>
                <a:cubicBezTo>
                  <a:pt x="502" y="530"/>
                  <a:pt x="503" y="531"/>
                  <a:pt x="505" y="531"/>
                </a:cubicBezTo>
                <a:cubicBezTo>
                  <a:pt x="506" y="531"/>
                  <a:pt x="507" y="531"/>
                  <a:pt x="507" y="530"/>
                </a:cubicBezTo>
                <a:cubicBezTo>
                  <a:pt x="507" y="530"/>
                  <a:pt x="506" y="529"/>
                  <a:pt x="504" y="528"/>
                </a:cubicBezTo>
                <a:cubicBezTo>
                  <a:pt x="503" y="527"/>
                  <a:pt x="502" y="525"/>
                  <a:pt x="502" y="524"/>
                </a:cubicBezTo>
                <a:cubicBezTo>
                  <a:pt x="502" y="522"/>
                  <a:pt x="503" y="520"/>
                  <a:pt x="504" y="519"/>
                </a:cubicBezTo>
                <a:cubicBezTo>
                  <a:pt x="506" y="517"/>
                  <a:pt x="507" y="517"/>
                  <a:pt x="509" y="516"/>
                </a:cubicBezTo>
                <a:cubicBezTo>
                  <a:pt x="514" y="516"/>
                  <a:pt x="518" y="518"/>
                  <a:pt x="521" y="522"/>
                </a:cubicBezTo>
                <a:cubicBezTo>
                  <a:pt x="524" y="526"/>
                  <a:pt x="528" y="527"/>
                  <a:pt x="532" y="527"/>
                </a:cubicBezTo>
                <a:cubicBezTo>
                  <a:pt x="534" y="527"/>
                  <a:pt x="538" y="527"/>
                  <a:pt x="543" y="524"/>
                </a:cubicBezTo>
                <a:cubicBezTo>
                  <a:pt x="546" y="523"/>
                  <a:pt x="548" y="522"/>
                  <a:pt x="550" y="522"/>
                </a:cubicBezTo>
                <a:cubicBezTo>
                  <a:pt x="555" y="522"/>
                  <a:pt x="558" y="528"/>
                  <a:pt x="560" y="538"/>
                </a:cubicBezTo>
                <a:cubicBezTo>
                  <a:pt x="561" y="548"/>
                  <a:pt x="563" y="567"/>
                  <a:pt x="563" y="594"/>
                </a:cubicBezTo>
                <a:cubicBezTo>
                  <a:pt x="563" y="615"/>
                  <a:pt x="563" y="631"/>
                  <a:pt x="564" y="642"/>
                </a:cubicBezTo>
                <a:cubicBezTo>
                  <a:pt x="565" y="650"/>
                  <a:pt x="566" y="654"/>
                  <a:pt x="570" y="654"/>
                </a:cubicBezTo>
                <a:cubicBezTo>
                  <a:pt x="573" y="654"/>
                  <a:pt x="580" y="647"/>
                  <a:pt x="590" y="635"/>
                </a:cubicBezTo>
                <a:cubicBezTo>
                  <a:pt x="611" y="613"/>
                  <a:pt x="622" y="601"/>
                  <a:pt x="622" y="599"/>
                </a:cubicBezTo>
                <a:cubicBezTo>
                  <a:pt x="622" y="598"/>
                  <a:pt x="622" y="598"/>
                  <a:pt x="621" y="598"/>
                </a:cubicBezTo>
                <a:cubicBezTo>
                  <a:pt x="620" y="598"/>
                  <a:pt x="615" y="603"/>
                  <a:pt x="605" y="613"/>
                </a:cubicBezTo>
                <a:lnTo>
                  <a:pt x="596" y="621"/>
                </a:lnTo>
                <a:cubicBezTo>
                  <a:pt x="596" y="621"/>
                  <a:pt x="600" y="616"/>
                  <a:pt x="609" y="607"/>
                </a:cubicBezTo>
                <a:lnTo>
                  <a:pt x="631" y="585"/>
                </a:lnTo>
                <a:cubicBezTo>
                  <a:pt x="631" y="585"/>
                  <a:pt x="630" y="587"/>
                  <a:pt x="627" y="590"/>
                </a:cubicBezTo>
                <a:cubicBezTo>
                  <a:pt x="626" y="592"/>
                  <a:pt x="625" y="593"/>
                  <a:pt x="625" y="594"/>
                </a:cubicBezTo>
                <a:cubicBezTo>
                  <a:pt x="625" y="594"/>
                  <a:pt x="626" y="595"/>
                  <a:pt x="627" y="595"/>
                </a:cubicBezTo>
                <a:cubicBezTo>
                  <a:pt x="627" y="595"/>
                  <a:pt x="629" y="594"/>
                  <a:pt x="632" y="593"/>
                </a:cubicBezTo>
                <a:cubicBezTo>
                  <a:pt x="634" y="591"/>
                  <a:pt x="636" y="589"/>
                  <a:pt x="638" y="586"/>
                </a:cubicBezTo>
                <a:cubicBezTo>
                  <a:pt x="644" y="581"/>
                  <a:pt x="650" y="576"/>
                  <a:pt x="658" y="572"/>
                </a:cubicBezTo>
                <a:cubicBezTo>
                  <a:pt x="665" y="568"/>
                  <a:pt x="672" y="567"/>
                  <a:pt x="676" y="567"/>
                </a:cubicBezTo>
                <a:cubicBezTo>
                  <a:pt x="680" y="567"/>
                  <a:pt x="682" y="568"/>
                  <a:pt x="684" y="570"/>
                </a:cubicBezTo>
                <a:cubicBezTo>
                  <a:pt x="684" y="571"/>
                  <a:pt x="685" y="571"/>
                  <a:pt x="686" y="571"/>
                </a:cubicBezTo>
                <a:cubicBezTo>
                  <a:pt x="689" y="571"/>
                  <a:pt x="692" y="570"/>
                  <a:pt x="697" y="568"/>
                </a:cubicBezTo>
                <a:cubicBezTo>
                  <a:pt x="701" y="567"/>
                  <a:pt x="705" y="566"/>
                  <a:pt x="707" y="566"/>
                </a:cubicBezTo>
                <a:cubicBezTo>
                  <a:pt x="710" y="566"/>
                  <a:pt x="712" y="566"/>
                  <a:pt x="714" y="568"/>
                </a:cubicBezTo>
                <a:lnTo>
                  <a:pt x="716" y="570"/>
                </a:lnTo>
                <a:lnTo>
                  <a:pt x="716" y="570"/>
                </a:lnTo>
                <a:lnTo>
                  <a:pt x="715" y="566"/>
                </a:lnTo>
                <a:cubicBezTo>
                  <a:pt x="715" y="566"/>
                  <a:pt x="715" y="566"/>
                  <a:pt x="715" y="566"/>
                </a:cubicBezTo>
                <a:cubicBezTo>
                  <a:pt x="716" y="566"/>
                  <a:pt x="718" y="567"/>
                  <a:pt x="721" y="570"/>
                </a:cubicBezTo>
                <a:cubicBezTo>
                  <a:pt x="724" y="572"/>
                  <a:pt x="727" y="574"/>
                  <a:pt x="729" y="576"/>
                </a:cubicBezTo>
                <a:cubicBezTo>
                  <a:pt x="730" y="578"/>
                  <a:pt x="731" y="579"/>
                  <a:pt x="731" y="579"/>
                </a:cubicBezTo>
                <a:cubicBezTo>
                  <a:pt x="731" y="579"/>
                  <a:pt x="731" y="579"/>
                  <a:pt x="731" y="579"/>
                </a:cubicBezTo>
                <a:lnTo>
                  <a:pt x="727" y="577"/>
                </a:lnTo>
                <a:lnTo>
                  <a:pt x="727" y="577"/>
                </a:lnTo>
                <a:cubicBezTo>
                  <a:pt x="727" y="580"/>
                  <a:pt x="729" y="583"/>
                  <a:pt x="734" y="589"/>
                </a:cubicBezTo>
                <a:lnTo>
                  <a:pt x="737" y="592"/>
                </a:lnTo>
                <a:lnTo>
                  <a:pt x="734" y="586"/>
                </a:lnTo>
                <a:cubicBezTo>
                  <a:pt x="734" y="586"/>
                  <a:pt x="734" y="586"/>
                  <a:pt x="735" y="586"/>
                </a:cubicBezTo>
                <a:cubicBezTo>
                  <a:pt x="735" y="586"/>
                  <a:pt x="736" y="586"/>
                  <a:pt x="737" y="587"/>
                </a:cubicBezTo>
                <a:cubicBezTo>
                  <a:pt x="737" y="587"/>
                  <a:pt x="738" y="588"/>
                  <a:pt x="738" y="590"/>
                </a:cubicBezTo>
                <a:lnTo>
                  <a:pt x="737" y="594"/>
                </a:lnTo>
                <a:cubicBezTo>
                  <a:pt x="737" y="597"/>
                  <a:pt x="738" y="598"/>
                  <a:pt x="739" y="599"/>
                </a:cubicBezTo>
                <a:cubicBezTo>
                  <a:pt x="741" y="600"/>
                  <a:pt x="742" y="600"/>
                  <a:pt x="742" y="600"/>
                </a:cubicBezTo>
                <a:lnTo>
                  <a:pt x="742" y="600"/>
                </a:lnTo>
                <a:lnTo>
                  <a:pt x="740" y="595"/>
                </a:lnTo>
                <a:cubicBezTo>
                  <a:pt x="740" y="595"/>
                  <a:pt x="741" y="595"/>
                  <a:pt x="742" y="596"/>
                </a:cubicBezTo>
                <a:cubicBezTo>
                  <a:pt x="744" y="597"/>
                  <a:pt x="744" y="598"/>
                  <a:pt x="744" y="599"/>
                </a:cubicBezTo>
                <a:cubicBezTo>
                  <a:pt x="744" y="600"/>
                  <a:pt x="744" y="600"/>
                  <a:pt x="744" y="601"/>
                </a:cubicBezTo>
                <a:cubicBezTo>
                  <a:pt x="744" y="601"/>
                  <a:pt x="743" y="602"/>
                  <a:pt x="743" y="603"/>
                </a:cubicBezTo>
                <a:cubicBezTo>
                  <a:pt x="743" y="605"/>
                  <a:pt x="744" y="607"/>
                  <a:pt x="747" y="610"/>
                </a:cubicBezTo>
                <a:cubicBezTo>
                  <a:pt x="749" y="612"/>
                  <a:pt x="752" y="614"/>
                  <a:pt x="754" y="614"/>
                </a:cubicBezTo>
                <a:cubicBezTo>
                  <a:pt x="757" y="614"/>
                  <a:pt x="758" y="614"/>
                  <a:pt x="758" y="614"/>
                </a:cubicBezTo>
                <a:cubicBezTo>
                  <a:pt x="758" y="615"/>
                  <a:pt x="757" y="616"/>
                  <a:pt x="757" y="617"/>
                </a:cubicBezTo>
                <a:cubicBezTo>
                  <a:pt x="756" y="618"/>
                  <a:pt x="755" y="619"/>
                  <a:pt x="755" y="620"/>
                </a:cubicBezTo>
                <a:cubicBezTo>
                  <a:pt x="755" y="621"/>
                  <a:pt x="756" y="621"/>
                  <a:pt x="758" y="621"/>
                </a:cubicBezTo>
                <a:cubicBezTo>
                  <a:pt x="761" y="621"/>
                  <a:pt x="764" y="620"/>
                  <a:pt x="769" y="618"/>
                </a:cubicBezTo>
                <a:cubicBezTo>
                  <a:pt x="774" y="616"/>
                  <a:pt x="777" y="613"/>
                  <a:pt x="780" y="610"/>
                </a:cubicBezTo>
                <a:cubicBezTo>
                  <a:pt x="785" y="604"/>
                  <a:pt x="788" y="601"/>
                  <a:pt x="789" y="601"/>
                </a:cubicBezTo>
                <a:cubicBezTo>
                  <a:pt x="790" y="601"/>
                  <a:pt x="790" y="601"/>
                  <a:pt x="790" y="602"/>
                </a:cubicBezTo>
                <a:cubicBezTo>
                  <a:pt x="790" y="603"/>
                  <a:pt x="790" y="604"/>
                  <a:pt x="790" y="606"/>
                </a:cubicBezTo>
                <a:cubicBezTo>
                  <a:pt x="789" y="607"/>
                  <a:pt x="789" y="609"/>
                  <a:pt x="789" y="610"/>
                </a:cubicBezTo>
                <a:cubicBezTo>
                  <a:pt x="789" y="612"/>
                  <a:pt x="789" y="614"/>
                  <a:pt x="789" y="616"/>
                </a:cubicBezTo>
                <a:cubicBezTo>
                  <a:pt x="788" y="618"/>
                  <a:pt x="787" y="621"/>
                  <a:pt x="784" y="624"/>
                </a:cubicBezTo>
                <a:cubicBezTo>
                  <a:pt x="781" y="627"/>
                  <a:pt x="778" y="630"/>
                  <a:pt x="774" y="633"/>
                </a:cubicBezTo>
                <a:cubicBezTo>
                  <a:pt x="770" y="636"/>
                  <a:pt x="767" y="637"/>
                  <a:pt x="764" y="637"/>
                </a:cubicBezTo>
                <a:cubicBezTo>
                  <a:pt x="762" y="637"/>
                  <a:pt x="759" y="637"/>
                  <a:pt x="756" y="635"/>
                </a:cubicBezTo>
                <a:cubicBezTo>
                  <a:pt x="753" y="634"/>
                  <a:pt x="750" y="633"/>
                  <a:pt x="747" y="631"/>
                </a:cubicBezTo>
                <a:cubicBezTo>
                  <a:pt x="745" y="630"/>
                  <a:pt x="744" y="628"/>
                  <a:pt x="744" y="627"/>
                </a:cubicBezTo>
                <a:lnTo>
                  <a:pt x="744" y="627"/>
                </a:lnTo>
                <a:cubicBezTo>
                  <a:pt x="744" y="627"/>
                  <a:pt x="745" y="626"/>
                  <a:pt x="745" y="626"/>
                </a:cubicBezTo>
                <a:cubicBezTo>
                  <a:pt x="745" y="625"/>
                  <a:pt x="744" y="625"/>
                  <a:pt x="743" y="625"/>
                </a:cubicBezTo>
                <a:cubicBezTo>
                  <a:pt x="742" y="625"/>
                  <a:pt x="741" y="625"/>
                  <a:pt x="741" y="625"/>
                </a:cubicBezTo>
                <a:cubicBezTo>
                  <a:pt x="739" y="626"/>
                  <a:pt x="739" y="627"/>
                  <a:pt x="738" y="627"/>
                </a:cubicBezTo>
                <a:cubicBezTo>
                  <a:pt x="738" y="628"/>
                  <a:pt x="737" y="628"/>
                  <a:pt x="737" y="628"/>
                </a:cubicBezTo>
                <a:cubicBezTo>
                  <a:pt x="734" y="628"/>
                  <a:pt x="729" y="626"/>
                  <a:pt x="723" y="620"/>
                </a:cubicBezTo>
                <a:cubicBezTo>
                  <a:pt x="716" y="615"/>
                  <a:pt x="710" y="610"/>
                  <a:pt x="705" y="603"/>
                </a:cubicBezTo>
                <a:cubicBezTo>
                  <a:pt x="699" y="597"/>
                  <a:pt x="696" y="592"/>
                  <a:pt x="696" y="589"/>
                </a:cubicBezTo>
                <a:cubicBezTo>
                  <a:pt x="696" y="587"/>
                  <a:pt x="696" y="586"/>
                  <a:pt x="694" y="586"/>
                </a:cubicBezTo>
                <a:cubicBezTo>
                  <a:pt x="689" y="586"/>
                  <a:pt x="668" y="605"/>
                  <a:pt x="633" y="643"/>
                </a:cubicBezTo>
                <a:cubicBezTo>
                  <a:pt x="618" y="659"/>
                  <a:pt x="606" y="671"/>
                  <a:pt x="597" y="677"/>
                </a:cubicBezTo>
                <a:cubicBezTo>
                  <a:pt x="588" y="684"/>
                  <a:pt x="580" y="688"/>
                  <a:pt x="573" y="688"/>
                </a:cubicBezTo>
                <a:cubicBezTo>
                  <a:pt x="570" y="688"/>
                  <a:pt x="567" y="687"/>
                  <a:pt x="564" y="686"/>
                </a:cubicBezTo>
                <a:cubicBezTo>
                  <a:pt x="561" y="685"/>
                  <a:pt x="559" y="685"/>
                  <a:pt x="559" y="684"/>
                </a:cubicBezTo>
                <a:cubicBezTo>
                  <a:pt x="559" y="684"/>
                  <a:pt x="560" y="683"/>
                  <a:pt x="562" y="682"/>
                </a:cubicBezTo>
                <a:cubicBezTo>
                  <a:pt x="565" y="681"/>
                  <a:pt x="566" y="681"/>
                  <a:pt x="566" y="680"/>
                </a:cubicBezTo>
                <a:cubicBezTo>
                  <a:pt x="566" y="680"/>
                  <a:pt x="563" y="679"/>
                  <a:pt x="559" y="679"/>
                </a:cubicBezTo>
                <a:cubicBezTo>
                  <a:pt x="554" y="679"/>
                  <a:pt x="550" y="679"/>
                  <a:pt x="549" y="676"/>
                </a:cubicBezTo>
                <a:cubicBezTo>
                  <a:pt x="547" y="674"/>
                  <a:pt x="544" y="674"/>
                  <a:pt x="541" y="674"/>
                </a:cubicBezTo>
                <a:cubicBezTo>
                  <a:pt x="536" y="674"/>
                  <a:pt x="532" y="670"/>
                  <a:pt x="526" y="662"/>
                </a:cubicBezTo>
                <a:cubicBezTo>
                  <a:pt x="523" y="660"/>
                  <a:pt x="522" y="657"/>
                  <a:pt x="522" y="656"/>
                </a:cubicBezTo>
                <a:lnTo>
                  <a:pt x="523" y="653"/>
                </a:lnTo>
                <a:cubicBezTo>
                  <a:pt x="523" y="652"/>
                  <a:pt x="522" y="652"/>
                  <a:pt x="521" y="652"/>
                </a:cubicBezTo>
                <a:cubicBezTo>
                  <a:pt x="519" y="652"/>
                  <a:pt x="518" y="651"/>
                  <a:pt x="518" y="648"/>
                </a:cubicBezTo>
                <a:cubicBezTo>
                  <a:pt x="518" y="647"/>
                  <a:pt x="518" y="646"/>
                  <a:pt x="519" y="644"/>
                </a:cubicBezTo>
                <a:cubicBezTo>
                  <a:pt x="519" y="643"/>
                  <a:pt x="520" y="642"/>
                  <a:pt x="521" y="642"/>
                </a:cubicBezTo>
                <a:cubicBezTo>
                  <a:pt x="523" y="642"/>
                  <a:pt x="523" y="641"/>
                  <a:pt x="523" y="641"/>
                </a:cubicBezTo>
                <a:cubicBezTo>
                  <a:pt x="523" y="640"/>
                  <a:pt x="522" y="640"/>
                  <a:pt x="520" y="640"/>
                </a:cubicBezTo>
                <a:cubicBezTo>
                  <a:pt x="518" y="640"/>
                  <a:pt x="517" y="638"/>
                  <a:pt x="516" y="633"/>
                </a:cubicBezTo>
                <a:cubicBezTo>
                  <a:pt x="515" y="628"/>
                  <a:pt x="515" y="620"/>
                  <a:pt x="515" y="608"/>
                </a:cubicBezTo>
                <a:lnTo>
                  <a:pt x="515" y="580"/>
                </a:lnTo>
                <a:cubicBezTo>
                  <a:pt x="515" y="570"/>
                  <a:pt x="514" y="565"/>
                  <a:pt x="513" y="565"/>
                </a:cubicBezTo>
                <a:lnTo>
                  <a:pt x="513" y="565"/>
                </a:lnTo>
                <a:cubicBezTo>
                  <a:pt x="511" y="567"/>
                  <a:pt x="506" y="574"/>
                  <a:pt x="496" y="587"/>
                </a:cubicBezTo>
                <a:cubicBezTo>
                  <a:pt x="472" y="620"/>
                  <a:pt x="450" y="651"/>
                  <a:pt x="431" y="680"/>
                </a:cubicBezTo>
                <a:cubicBezTo>
                  <a:pt x="422" y="694"/>
                  <a:pt x="417" y="701"/>
                  <a:pt x="416" y="701"/>
                </a:cubicBezTo>
                <a:cubicBezTo>
                  <a:pt x="416" y="699"/>
                  <a:pt x="420" y="691"/>
                  <a:pt x="430" y="676"/>
                </a:cubicBezTo>
                <a:cubicBezTo>
                  <a:pt x="452" y="641"/>
                  <a:pt x="473" y="608"/>
                  <a:pt x="494" y="579"/>
                </a:cubicBezTo>
                <a:cubicBezTo>
                  <a:pt x="509" y="558"/>
                  <a:pt x="516" y="545"/>
                  <a:pt x="516" y="539"/>
                </a:cubicBezTo>
                <a:cubicBezTo>
                  <a:pt x="516" y="537"/>
                  <a:pt x="515" y="536"/>
                  <a:pt x="514" y="536"/>
                </a:cubicBezTo>
                <a:cubicBezTo>
                  <a:pt x="513" y="536"/>
                  <a:pt x="511" y="537"/>
                  <a:pt x="508" y="538"/>
                </a:cubicBezTo>
                <a:cubicBezTo>
                  <a:pt x="506" y="540"/>
                  <a:pt x="504" y="542"/>
                  <a:pt x="502" y="544"/>
                </a:cubicBezTo>
                <a:cubicBezTo>
                  <a:pt x="500" y="546"/>
                  <a:pt x="499" y="548"/>
                  <a:pt x="498" y="549"/>
                </a:cubicBezTo>
                <a:cubicBezTo>
                  <a:pt x="497" y="551"/>
                  <a:pt x="496" y="553"/>
                  <a:pt x="495" y="554"/>
                </a:cubicBezTo>
                <a:cubicBezTo>
                  <a:pt x="493" y="555"/>
                  <a:pt x="492" y="555"/>
                  <a:pt x="491" y="555"/>
                </a:cubicBezTo>
                <a:cubicBezTo>
                  <a:pt x="489" y="555"/>
                  <a:pt x="488" y="556"/>
                  <a:pt x="488" y="558"/>
                </a:cubicBezTo>
                <a:lnTo>
                  <a:pt x="489" y="562"/>
                </a:lnTo>
                <a:cubicBezTo>
                  <a:pt x="489" y="564"/>
                  <a:pt x="488" y="564"/>
                  <a:pt x="487" y="564"/>
                </a:cubicBezTo>
                <a:cubicBezTo>
                  <a:pt x="486" y="564"/>
                  <a:pt x="484" y="567"/>
                  <a:pt x="481" y="572"/>
                </a:cubicBezTo>
                <a:cubicBezTo>
                  <a:pt x="481" y="574"/>
                  <a:pt x="480" y="576"/>
                  <a:pt x="480" y="578"/>
                </a:cubicBezTo>
                <a:cubicBezTo>
                  <a:pt x="480" y="579"/>
                  <a:pt x="480" y="579"/>
                  <a:pt x="480" y="579"/>
                </a:cubicBezTo>
                <a:cubicBezTo>
                  <a:pt x="482" y="579"/>
                  <a:pt x="484" y="577"/>
                  <a:pt x="488" y="572"/>
                </a:cubicBezTo>
                <a:cubicBezTo>
                  <a:pt x="491" y="567"/>
                  <a:pt x="494" y="564"/>
                  <a:pt x="496" y="564"/>
                </a:cubicBezTo>
                <a:cubicBezTo>
                  <a:pt x="497" y="564"/>
                  <a:pt x="497" y="564"/>
                  <a:pt x="497" y="565"/>
                </a:cubicBezTo>
                <a:cubicBezTo>
                  <a:pt x="497" y="566"/>
                  <a:pt x="496" y="566"/>
                  <a:pt x="495" y="567"/>
                </a:cubicBezTo>
                <a:cubicBezTo>
                  <a:pt x="493" y="568"/>
                  <a:pt x="492" y="569"/>
                  <a:pt x="491" y="571"/>
                </a:cubicBezTo>
                <a:cubicBezTo>
                  <a:pt x="490" y="572"/>
                  <a:pt x="489" y="573"/>
                  <a:pt x="489" y="574"/>
                </a:cubicBezTo>
                <a:cubicBezTo>
                  <a:pt x="489" y="575"/>
                  <a:pt x="488" y="577"/>
                  <a:pt x="486" y="580"/>
                </a:cubicBezTo>
                <a:cubicBezTo>
                  <a:pt x="484" y="583"/>
                  <a:pt x="482" y="586"/>
                  <a:pt x="478" y="589"/>
                </a:cubicBezTo>
                <a:cubicBezTo>
                  <a:pt x="474" y="592"/>
                  <a:pt x="472" y="594"/>
                  <a:pt x="472" y="594"/>
                </a:cubicBezTo>
                <a:cubicBezTo>
                  <a:pt x="472" y="594"/>
                  <a:pt x="472" y="593"/>
                  <a:pt x="473" y="593"/>
                </a:cubicBezTo>
                <a:cubicBezTo>
                  <a:pt x="476" y="588"/>
                  <a:pt x="478" y="585"/>
                  <a:pt x="478" y="583"/>
                </a:cubicBezTo>
                <a:cubicBezTo>
                  <a:pt x="478" y="581"/>
                  <a:pt x="477" y="581"/>
                  <a:pt x="476" y="581"/>
                </a:cubicBezTo>
                <a:lnTo>
                  <a:pt x="474" y="581"/>
                </a:lnTo>
                <a:cubicBezTo>
                  <a:pt x="471" y="582"/>
                  <a:pt x="469" y="584"/>
                  <a:pt x="469" y="586"/>
                </a:cubicBezTo>
                <a:cubicBezTo>
                  <a:pt x="469" y="589"/>
                  <a:pt x="468" y="592"/>
                  <a:pt x="465" y="594"/>
                </a:cubicBezTo>
                <a:cubicBezTo>
                  <a:pt x="462" y="596"/>
                  <a:pt x="461" y="597"/>
                  <a:pt x="461" y="597"/>
                </a:cubicBezTo>
                <a:cubicBezTo>
                  <a:pt x="461" y="597"/>
                  <a:pt x="461" y="596"/>
                  <a:pt x="462" y="595"/>
                </a:cubicBezTo>
                <a:lnTo>
                  <a:pt x="463" y="592"/>
                </a:lnTo>
                <a:cubicBezTo>
                  <a:pt x="463" y="592"/>
                  <a:pt x="462" y="592"/>
                  <a:pt x="461" y="593"/>
                </a:cubicBezTo>
                <a:cubicBezTo>
                  <a:pt x="459" y="594"/>
                  <a:pt x="459" y="595"/>
                  <a:pt x="459" y="596"/>
                </a:cubicBezTo>
                <a:cubicBezTo>
                  <a:pt x="459" y="597"/>
                  <a:pt x="459" y="597"/>
                  <a:pt x="459" y="598"/>
                </a:cubicBezTo>
                <a:lnTo>
                  <a:pt x="459" y="598"/>
                </a:lnTo>
                <a:cubicBezTo>
                  <a:pt x="459" y="601"/>
                  <a:pt x="456" y="607"/>
                  <a:pt x="449" y="617"/>
                </a:cubicBezTo>
                <a:cubicBezTo>
                  <a:pt x="443" y="626"/>
                  <a:pt x="440" y="632"/>
                  <a:pt x="440" y="635"/>
                </a:cubicBezTo>
                <a:cubicBezTo>
                  <a:pt x="440" y="636"/>
                  <a:pt x="440" y="637"/>
                  <a:pt x="441" y="637"/>
                </a:cubicBezTo>
                <a:cubicBezTo>
                  <a:pt x="442" y="638"/>
                  <a:pt x="442" y="638"/>
                  <a:pt x="442" y="639"/>
                </a:cubicBezTo>
                <a:cubicBezTo>
                  <a:pt x="442" y="640"/>
                  <a:pt x="442" y="640"/>
                  <a:pt x="441" y="641"/>
                </a:cubicBezTo>
                <a:cubicBezTo>
                  <a:pt x="441" y="642"/>
                  <a:pt x="440" y="642"/>
                  <a:pt x="439" y="642"/>
                </a:cubicBezTo>
                <a:cubicBezTo>
                  <a:pt x="438" y="642"/>
                  <a:pt x="438" y="642"/>
                  <a:pt x="438" y="640"/>
                </a:cubicBezTo>
                <a:cubicBezTo>
                  <a:pt x="438" y="639"/>
                  <a:pt x="437" y="639"/>
                  <a:pt x="436" y="639"/>
                </a:cubicBezTo>
                <a:lnTo>
                  <a:pt x="433" y="639"/>
                </a:lnTo>
                <a:cubicBezTo>
                  <a:pt x="431" y="640"/>
                  <a:pt x="430" y="641"/>
                  <a:pt x="430" y="642"/>
                </a:cubicBezTo>
                <a:lnTo>
                  <a:pt x="430" y="643"/>
                </a:lnTo>
                <a:cubicBezTo>
                  <a:pt x="430" y="646"/>
                  <a:pt x="422" y="659"/>
                  <a:pt x="406" y="681"/>
                </a:cubicBezTo>
                <a:cubicBezTo>
                  <a:pt x="385" y="711"/>
                  <a:pt x="375" y="728"/>
                  <a:pt x="375" y="731"/>
                </a:cubicBezTo>
                <a:cubicBezTo>
                  <a:pt x="375" y="732"/>
                  <a:pt x="374" y="732"/>
                  <a:pt x="374" y="733"/>
                </a:cubicBezTo>
                <a:cubicBezTo>
                  <a:pt x="373" y="734"/>
                  <a:pt x="373" y="734"/>
                  <a:pt x="372" y="734"/>
                </a:cubicBezTo>
                <a:cubicBezTo>
                  <a:pt x="372" y="734"/>
                  <a:pt x="370" y="735"/>
                  <a:pt x="368" y="738"/>
                </a:cubicBezTo>
                <a:cubicBezTo>
                  <a:pt x="366" y="741"/>
                  <a:pt x="363" y="744"/>
                  <a:pt x="361" y="748"/>
                </a:cubicBezTo>
                <a:cubicBezTo>
                  <a:pt x="356" y="757"/>
                  <a:pt x="350" y="766"/>
                  <a:pt x="342" y="776"/>
                </a:cubicBezTo>
                <a:cubicBezTo>
                  <a:pt x="335" y="785"/>
                  <a:pt x="332" y="790"/>
                  <a:pt x="332" y="792"/>
                </a:cubicBezTo>
                <a:cubicBezTo>
                  <a:pt x="332" y="794"/>
                  <a:pt x="333" y="796"/>
                  <a:pt x="335" y="796"/>
                </a:cubicBezTo>
                <a:cubicBezTo>
                  <a:pt x="337" y="796"/>
                  <a:pt x="338" y="795"/>
                  <a:pt x="340" y="793"/>
                </a:cubicBezTo>
                <a:cubicBezTo>
                  <a:pt x="341" y="791"/>
                  <a:pt x="342" y="790"/>
                  <a:pt x="342" y="790"/>
                </a:cubicBezTo>
                <a:cubicBezTo>
                  <a:pt x="342" y="789"/>
                  <a:pt x="342" y="789"/>
                  <a:pt x="341" y="789"/>
                </a:cubicBezTo>
                <a:cubicBezTo>
                  <a:pt x="341" y="789"/>
                  <a:pt x="340" y="789"/>
                  <a:pt x="340" y="788"/>
                </a:cubicBezTo>
                <a:cubicBezTo>
                  <a:pt x="340" y="787"/>
                  <a:pt x="342" y="785"/>
                  <a:pt x="346" y="781"/>
                </a:cubicBezTo>
                <a:cubicBezTo>
                  <a:pt x="350" y="778"/>
                  <a:pt x="354" y="776"/>
                  <a:pt x="358" y="776"/>
                </a:cubicBezTo>
                <a:lnTo>
                  <a:pt x="360" y="776"/>
                </a:lnTo>
                <a:cubicBezTo>
                  <a:pt x="363" y="776"/>
                  <a:pt x="367" y="775"/>
                  <a:pt x="369" y="772"/>
                </a:cubicBezTo>
                <a:cubicBezTo>
                  <a:pt x="370" y="769"/>
                  <a:pt x="372" y="768"/>
                  <a:pt x="372" y="768"/>
                </a:cubicBezTo>
                <a:cubicBezTo>
                  <a:pt x="372" y="768"/>
                  <a:pt x="372" y="767"/>
                  <a:pt x="371" y="767"/>
                </a:cubicBezTo>
                <a:lnTo>
                  <a:pt x="367" y="770"/>
                </a:lnTo>
                <a:cubicBezTo>
                  <a:pt x="362" y="772"/>
                  <a:pt x="359" y="774"/>
                  <a:pt x="357" y="774"/>
                </a:cubicBezTo>
                <a:cubicBezTo>
                  <a:pt x="356" y="774"/>
                  <a:pt x="356" y="773"/>
                  <a:pt x="356" y="772"/>
                </a:cubicBezTo>
                <a:cubicBezTo>
                  <a:pt x="356" y="771"/>
                  <a:pt x="356" y="770"/>
                  <a:pt x="357" y="769"/>
                </a:cubicBezTo>
                <a:cubicBezTo>
                  <a:pt x="358" y="767"/>
                  <a:pt x="360" y="767"/>
                  <a:pt x="362" y="766"/>
                </a:cubicBezTo>
                <a:cubicBezTo>
                  <a:pt x="363" y="765"/>
                  <a:pt x="365" y="764"/>
                  <a:pt x="366" y="764"/>
                </a:cubicBezTo>
                <a:cubicBezTo>
                  <a:pt x="368" y="764"/>
                  <a:pt x="369" y="764"/>
                  <a:pt x="370" y="764"/>
                </a:cubicBezTo>
                <a:cubicBezTo>
                  <a:pt x="370" y="763"/>
                  <a:pt x="371" y="763"/>
                  <a:pt x="371" y="762"/>
                </a:cubicBezTo>
                <a:cubicBezTo>
                  <a:pt x="371" y="762"/>
                  <a:pt x="370" y="761"/>
                  <a:pt x="370" y="760"/>
                </a:cubicBezTo>
                <a:cubicBezTo>
                  <a:pt x="370" y="759"/>
                  <a:pt x="369" y="759"/>
                  <a:pt x="367" y="759"/>
                </a:cubicBezTo>
                <a:cubicBezTo>
                  <a:pt x="367" y="759"/>
                  <a:pt x="366" y="759"/>
                  <a:pt x="365" y="760"/>
                </a:cubicBezTo>
                <a:cubicBezTo>
                  <a:pt x="365" y="761"/>
                  <a:pt x="364" y="761"/>
                  <a:pt x="364" y="761"/>
                </a:cubicBezTo>
                <a:cubicBezTo>
                  <a:pt x="364" y="761"/>
                  <a:pt x="363" y="761"/>
                  <a:pt x="363" y="760"/>
                </a:cubicBezTo>
                <a:lnTo>
                  <a:pt x="364" y="759"/>
                </a:lnTo>
                <a:cubicBezTo>
                  <a:pt x="365" y="757"/>
                  <a:pt x="367" y="756"/>
                  <a:pt x="367" y="756"/>
                </a:cubicBezTo>
                <a:cubicBezTo>
                  <a:pt x="368" y="756"/>
                  <a:pt x="369" y="757"/>
                  <a:pt x="369" y="757"/>
                </a:cubicBezTo>
                <a:cubicBezTo>
                  <a:pt x="369" y="757"/>
                  <a:pt x="369" y="757"/>
                  <a:pt x="370" y="757"/>
                </a:cubicBezTo>
                <a:cubicBezTo>
                  <a:pt x="371" y="757"/>
                  <a:pt x="373" y="756"/>
                  <a:pt x="375" y="752"/>
                </a:cubicBezTo>
                <a:cubicBezTo>
                  <a:pt x="375" y="751"/>
                  <a:pt x="376" y="749"/>
                  <a:pt x="377" y="748"/>
                </a:cubicBezTo>
                <a:cubicBezTo>
                  <a:pt x="379" y="747"/>
                  <a:pt x="380" y="746"/>
                  <a:pt x="381" y="746"/>
                </a:cubicBezTo>
                <a:cubicBezTo>
                  <a:pt x="382" y="746"/>
                  <a:pt x="382" y="747"/>
                  <a:pt x="382" y="747"/>
                </a:cubicBezTo>
                <a:cubicBezTo>
                  <a:pt x="382" y="748"/>
                  <a:pt x="382" y="749"/>
                  <a:pt x="380" y="751"/>
                </a:cubicBezTo>
                <a:cubicBezTo>
                  <a:pt x="379" y="752"/>
                  <a:pt x="378" y="754"/>
                  <a:pt x="378" y="756"/>
                </a:cubicBezTo>
                <a:cubicBezTo>
                  <a:pt x="378" y="757"/>
                  <a:pt x="379" y="758"/>
                  <a:pt x="379" y="759"/>
                </a:cubicBezTo>
                <a:cubicBezTo>
                  <a:pt x="380" y="759"/>
                  <a:pt x="380" y="760"/>
                  <a:pt x="380" y="760"/>
                </a:cubicBezTo>
                <a:cubicBezTo>
                  <a:pt x="380" y="761"/>
                  <a:pt x="380" y="761"/>
                  <a:pt x="379" y="761"/>
                </a:cubicBezTo>
                <a:cubicBezTo>
                  <a:pt x="379" y="761"/>
                  <a:pt x="379" y="761"/>
                  <a:pt x="378" y="760"/>
                </a:cubicBezTo>
                <a:cubicBezTo>
                  <a:pt x="378" y="759"/>
                  <a:pt x="377" y="759"/>
                  <a:pt x="376" y="759"/>
                </a:cubicBezTo>
                <a:cubicBezTo>
                  <a:pt x="375" y="759"/>
                  <a:pt x="375" y="761"/>
                  <a:pt x="375" y="763"/>
                </a:cubicBezTo>
                <a:cubicBezTo>
                  <a:pt x="375" y="766"/>
                  <a:pt x="372" y="771"/>
                  <a:pt x="366" y="778"/>
                </a:cubicBezTo>
                <a:cubicBezTo>
                  <a:pt x="360" y="785"/>
                  <a:pt x="355" y="791"/>
                  <a:pt x="349" y="797"/>
                </a:cubicBezTo>
                <a:cubicBezTo>
                  <a:pt x="341" y="805"/>
                  <a:pt x="335" y="808"/>
                  <a:pt x="330" y="808"/>
                </a:cubicBezTo>
                <a:close/>
                <a:moveTo>
                  <a:pt x="736" y="623"/>
                </a:moveTo>
                <a:cubicBezTo>
                  <a:pt x="737" y="623"/>
                  <a:pt x="737" y="622"/>
                  <a:pt x="737" y="621"/>
                </a:cubicBezTo>
                <a:cubicBezTo>
                  <a:pt x="737" y="620"/>
                  <a:pt x="737" y="619"/>
                  <a:pt x="735" y="617"/>
                </a:cubicBezTo>
                <a:cubicBezTo>
                  <a:pt x="733" y="615"/>
                  <a:pt x="732" y="614"/>
                  <a:pt x="732" y="614"/>
                </a:cubicBezTo>
                <a:lnTo>
                  <a:pt x="734" y="614"/>
                </a:lnTo>
                <a:cubicBezTo>
                  <a:pt x="734" y="613"/>
                  <a:pt x="732" y="609"/>
                  <a:pt x="729" y="603"/>
                </a:cubicBezTo>
                <a:cubicBezTo>
                  <a:pt x="719" y="589"/>
                  <a:pt x="712" y="583"/>
                  <a:pt x="705" y="583"/>
                </a:cubicBezTo>
                <a:cubicBezTo>
                  <a:pt x="704" y="583"/>
                  <a:pt x="704" y="583"/>
                  <a:pt x="704" y="584"/>
                </a:cubicBezTo>
                <a:cubicBezTo>
                  <a:pt x="704" y="585"/>
                  <a:pt x="704" y="586"/>
                  <a:pt x="706" y="589"/>
                </a:cubicBezTo>
                <a:cubicBezTo>
                  <a:pt x="707" y="591"/>
                  <a:pt x="709" y="593"/>
                  <a:pt x="711" y="593"/>
                </a:cubicBezTo>
                <a:lnTo>
                  <a:pt x="713" y="592"/>
                </a:lnTo>
                <a:lnTo>
                  <a:pt x="713" y="592"/>
                </a:lnTo>
                <a:cubicBezTo>
                  <a:pt x="713" y="592"/>
                  <a:pt x="712" y="593"/>
                  <a:pt x="711" y="595"/>
                </a:cubicBezTo>
                <a:cubicBezTo>
                  <a:pt x="710" y="598"/>
                  <a:pt x="709" y="599"/>
                  <a:pt x="709" y="600"/>
                </a:cubicBezTo>
                <a:cubicBezTo>
                  <a:pt x="709" y="600"/>
                  <a:pt x="709" y="600"/>
                  <a:pt x="709" y="600"/>
                </a:cubicBezTo>
                <a:lnTo>
                  <a:pt x="714" y="600"/>
                </a:lnTo>
                <a:cubicBezTo>
                  <a:pt x="717" y="600"/>
                  <a:pt x="718" y="600"/>
                  <a:pt x="718" y="602"/>
                </a:cubicBezTo>
                <a:cubicBezTo>
                  <a:pt x="718" y="603"/>
                  <a:pt x="717" y="604"/>
                  <a:pt x="716" y="605"/>
                </a:cubicBezTo>
                <a:cubicBezTo>
                  <a:pt x="715" y="607"/>
                  <a:pt x="714" y="608"/>
                  <a:pt x="714" y="609"/>
                </a:cubicBezTo>
                <a:lnTo>
                  <a:pt x="715" y="609"/>
                </a:lnTo>
                <a:lnTo>
                  <a:pt x="717" y="608"/>
                </a:lnTo>
                <a:cubicBezTo>
                  <a:pt x="719" y="608"/>
                  <a:pt x="721" y="609"/>
                  <a:pt x="724" y="611"/>
                </a:cubicBezTo>
                <a:cubicBezTo>
                  <a:pt x="726" y="613"/>
                  <a:pt x="727" y="614"/>
                  <a:pt x="727" y="614"/>
                </a:cubicBezTo>
                <a:cubicBezTo>
                  <a:pt x="727" y="615"/>
                  <a:pt x="726" y="615"/>
                  <a:pt x="726" y="615"/>
                </a:cubicBezTo>
                <a:lnTo>
                  <a:pt x="724" y="614"/>
                </a:lnTo>
                <a:lnTo>
                  <a:pt x="724" y="614"/>
                </a:lnTo>
                <a:cubicBezTo>
                  <a:pt x="724" y="615"/>
                  <a:pt x="725" y="616"/>
                  <a:pt x="727" y="617"/>
                </a:cubicBezTo>
                <a:cubicBezTo>
                  <a:pt x="729" y="620"/>
                  <a:pt x="731" y="621"/>
                  <a:pt x="732" y="622"/>
                </a:cubicBezTo>
                <a:cubicBezTo>
                  <a:pt x="734" y="623"/>
                  <a:pt x="735" y="623"/>
                  <a:pt x="736" y="623"/>
                </a:cubicBezTo>
                <a:close/>
                <a:moveTo>
                  <a:pt x="578" y="673"/>
                </a:moveTo>
                <a:cubicBezTo>
                  <a:pt x="580" y="673"/>
                  <a:pt x="583" y="671"/>
                  <a:pt x="589" y="668"/>
                </a:cubicBezTo>
                <a:cubicBezTo>
                  <a:pt x="596" y="664"/>
                  <a:pt x="612" y="647"/>
                  <a:pt x="637" y="620"/>
                </a:cubicBezTo>
                <a:cubicBezTo>
                  <a:pt x="645" y="610"/>
                  <a:pt x="654" y="601"/>
                  <a:pt x="665" y="590"/>
                </a:cubicBezTo>
                <a:cubicBezTo>
                  <a:pt x="672" y="583"/>
                  <a:pt x="675" y="579"/>
                  <a:pt x="675" y="578"/>
                </a:cubicBezTo>
                <a:lnTo>
                  <a:pt x="671" y="579"/>
                </a:lnTo>
                <a:cubicBezTo>
                  <a:pt x="671" y="579"/>
                  <a:pt x="670" y="579"/>
                  <a:pt x="670" y="579"/>
                </a:cubicBezTo>
                <a:cubicBezTo>
                  <a:pt x="670" y="579"/>
                  <a:pt x="671" y="577"/>
                  <a:pt x="673" y="575"/>
                </a:cubicBezTo>
                <a:cubicBezTo>
                  <a:pt x="674" y="573"/>
                  <a:pt x="675" y="572"/>
                  <a:pt x="675" y="572"/>
                </a:cubicBezTo>
                <a:cubicBezTo>
                  <a:pt x="675" y="571"/>
                  <a:pt x="675" y="571"/>
                  <a:pt x="675" y="571"/>
                </a:cubicBezTo>
                <a:cubicBezTo>
                  <a:pt x="674" y="571"/>
                  <a:pt x="672" y="572"/>
                  <a:pt x="669" y="573"/>
                </a:cubicBezTo>
                <a:cubicBezTo>
                  <a:pt x="660" y="577"/>
                  <a:pt x="642" y="593"/>
                  <a:pt x="614" y="621"/>
                </a:cubicBezTo>
                <a:cubicBezTo>
                  <a:pt x="587" y="649"/>
                  <a:pt x="573" y="665"/>
                  <a:pt x="573" y="670"/>
                </a:cubicBezTo>
                <a:cubicBezTo>
                  <a:pt x="573" y="670"/>
                  <a:pt x="573" y="671"/>
                  <a:pt x="574" y="671"/>
                </a:cubicBezTo>
                <a:cubicBezTo>
                  <a:pt x="575" y="671"/>
                  <a:pt x="575" y="672"/>
                  <a:pt x="576" y="672"/>
                </a:cubicBezTo>
                <a:cubicBezTo>
                  <a:pt x="577" y="673"/>
                  <a:pt x="578" y="673"/>
                  <a:pt x="578" y="673"/>
                </a:cubicBezTo>
                <a:close/>
                <a:moveTo>
                  <a:pt x="537" y="661"/>
                </a:moveTo>
                <a:lnTo>
                  <a:pt x="537" y="660"/>
                </a:lnTo>
                <a:cubicBezTo>
                  <a:pt x="538" y="659"/>
                  <a:pt x="538" y="659"/>
                  <a:pt x="538" y="658"/>
                </a:cubicBezTo>
                <a:lnTo>
                  <a:pt x="537" y="655"/>
                </a:lnTo>
                <a:cubicBezTo>
                  <a:pt x="537" y="654"/>
                  <a:pt x="537" y="653"/>
                  <a:pt x="536" y="653"/>
                </a:cubicBezTo>
                <a:cubicBezTo>
                  <a:pt x="536" y="653"/>
                  <a:pt x="536" y="654"/>
                  <a:pt x="535" y="656"/>
                </a:cubicBezTo>
                <a:cubicBezTo>
                  <a:pt x="535" y="659"/>
                  <a:pt x="536" y="661"/>
                  <a:pt x="537" y="661"/>
                </a:cubicBezTo>
                <a:close/>
                <a:moveTo>
                  <a:pt x="547" y="665"/>
                </a:moveTo>
                <a:cubicBezTo>
                  <a:pt x="548" y="665"/>
                  <a:pt x="549" y="665"/>
                  <a:pt x="551" y="665"/>
                </a:cubicBezTo>
                <a:cubicBezTo>
                  <a:pt x="552" y="664"/>
                  <a:pt x="553" y="664"/>
                  <a:pt x="554" y="663"/>
                </a:cubicBezTo>
                <a:cubicBezTo>
                  <a:pt x="555" y="662"/>
                  <a:pt x="556" y="661"/>
                  <a:pt x="556" y="661"/>
                </a:cubicBezTo>
                <a:cubicBezTo>
                  <a:pt x="556" y="659"/>
                  <a:pt x="554" y="658"/>
                  <a:pt x="552" y="658"/>
                </a:cubicBezTo>
                <a:cubicBezTo>
                  <a:pt x="551" y="658"/>
                  <a:pt x="550" y="658"/>
                  <a:pt x="550" y="658"/>
                </a:cubicBezTo>
                <a:cubicBezTo>
                  <a:pt x="550" y="657"/>
                  <a:pt x="551" y="656"/>
                  <a:pt x="553" y="655"/>
                </a:cubicBezTo>
                <a:cubicBezTo>
                  <a:pt x="554" y="654"/>
                  <a:pt x="555" y="653"/>
                  <a:pt x="555" y="653"/>
                </a:cubicBezTo>
                <a:cubicBezTo>
                  <a:pt x="555" y="652"/>
                  <a:pt x="555" y="652"/>
                  <a:pt x="553" y="652"/>
                </a:cubicBezTo>
                <a:cubicBezTo>
                  <a:pt x="552" y="652"/>
                  <a:pt x="552" y="644"/>
                  <a:pt x="552" y="629"/>
                </a:cubicBezTo>
                <a:lnTo>
                  <a:pt x="552" y="569"/>
                </a:lnTo>
                <a:cubicBezTo>
                  <a:pt x="552" y="554"/>
                  <a:pt x="552" y="544"/>
                  <a:pt x="551" y="541"/>
                </a:cubicBezTo>
                <a:cubicBezTo>
                  <a:pt x="551" y="539"/>
                  <a:pt x="550" y="537"/>
                  <a:pt x="548" y="536"/>
                </a:cubicBezTo>
                <a:cubicBezTo>
                  <a:pt x="547" y="534"/>
                  <a:pt x="545" y="534"/>
                  <a:pt x="544" y="534"/>
                </a:cubicBezTo>
                <a:cubicBezTo>
                  <a:pt x="543" y="534"/>
                  <a:pt x="542" y="535"/>
                  <a:pt x="541" y="536"/>
                </a:cubicBezTo>
                <a:cubicBezTo>
                  <a:pt x="541" y="538"/>
                  <a:pt x="541" y="539"/>
                  <a:pt x="540" y="539"/>
                </a:cubicBezTo>
                <a:lnTo>
                  <a:pt x="538" y="538"/>
                </a:lnTo>
                <a:cubicBezTo>
                  <a:pt x="536" y="538"/>
                  <a:pt x="535" y="539"/>
                  <a:pt x="534" y="541"/>
                </a:cubicBezTo>
                <a:cubicBezTo>
                  <a:pt x="533" y="548"/>
                  <a:pt x="532" y="571"/>
                  <a:pt x="532" y="611"/>
                </a:cubicBezTo>
                <a:cubicBezTo>
                  <a:pt x="532" y="620"/>
                  <a:pt x="532" y="629"/>
                  <a:pt x="532" y="637"/>
                </a:cubicBezTo>
                <a:cubicBezTo>
                  <a:pt x="533" y="645"/>
                  <a:pt x="533" y="649"/>
                  <a:pt x="534" y="649"/>
                </a:cubicBezTo>
                <a:cubicBezTo>
                  <a:pt x="535" y="649"/>
                  <a:pt x="535" y="648"/>
                  <a:pt x="535" y="646"/>
                </a:cubicBezTo>
                <a:cubicBezTo>
                  <a:pt x="535" y="603"/>
                  <a:pt x="536" y="575"/>
                  <a:pt x="536" y="563"/>
                </a:cubicBezTo>
                <a:cubicBezTo>
                  <a:pt x="537" y="556"/>
                  <a:pt x="538" y="554"/>
                  <a:pt x="539" y="554"/>
                </a:cubicBezTo>
                <a:lnTo>
                  <a:pt x="539" y="554"/>
                </a:lnTo>
                <a:cubicBezTo>
                  <a:pt x="542" y="555"/>
                  <a:pt x="543" y="557"/>
                  <a:pt x="543" y="561"/>
                </a:cubicBezTo>
                <a:cubicBezTo>
                  <a:pt x="543" y="562"/>
                  <a:pt x="543" y="563"/>
                  <a:pt x="543" y="563"/>
                </a:cubicBezTo>
                <a:cubicBezTo>
                  <a:pt x="542" y="564"/>
                  <a:pt x="541" y="564"/>
                  <a:pt x="541" y="564"/>
                </a:cubicBezTo>
                <a:cubicBezTo>
                  <a:pt x="540" y="564"/>
                  <a:pt x="539" y="565"/>
                  <a:pt x="539" y="565"/>
                </a:cubicBezTo>
                <a:cubicBezTo>
                  <a:pt x="539" y="566"/>
                  <a:pt x="540" y="567"/>
                  <a:pt x="541" y="569"/>
                </a:cubicBezTo>
                <a:cubicBezTo>
                  <a:pt x="543" y="571"/>
                  <a:pt x="544" y="572"/>
                  <a:pt x="544" y="572"/>
                </a:cubicBezTo>
                <a:cubicBezTo>
                  <a:pt x="544" y="573"/>
                  <a:pt x="543" y="573"/>
                  <a:pt x="543" y="573"/>
                </a:cubicBezTo>
                <a:lnTo>
                  <a:pt x="542" y="572"/>
                </a:lnTo>
                <a:cubicBezTo>
                  <a:pt x="540" y="572"/>
                  <a:pt x="539" y="583"/>
                  <a:pt x="539" y="605"/>
                </a:cubicBezTo>
                <a:cubicBezTo>
                  <a:pt x="539" y="628"/>
                  <a:pt x="540" y="640"/>
                  <a:pt x="541" y="640"/>
                </a:cubicBezTo>
                <a:cubicBezTo>
                  <a:pt x="542" y="640"/>
                  <a:pt x="543" y="642"/>
                  <a:pt x="543" y="645"/>
                </a:cubicBezTo>
                <a:lnTo>
                  <a:pt x="542" y="658"/>
                </a:lnTo>
                <a:cubicBezTo>
                  <a:pt x="542" y="659"/>
                  <a:pt x="542" y="660"/>
                  <a:pt x="542" y="660"/>
                </a:cubicBezTo>
                <a:cubicBezTo>
                  <a:pt x="542" y="660"/>
                  <a:pt x="543" y="659"/>
                  <a:pt x="544" y="658"/>
                </a:cubicBezTo>
                <a:cubicBezTo>
                  <a:pt x="545" y="656"/>
                  <a:pt x="546" y="656"/>
                  <a:pt x="546" y="656"/>
                </a:cubicBezTo>
                <a:cubicBezTo>
                  <a:pt x="547" y="656"/>
                  <a:pt x="547" y="656"/>
                  <a:pt x="547" y="656"/>
                </a:cubicBezTo>
                <a:lnTo>
                  <a:pt x="546" y="663"/>
                </a:lnTo>
                <a:cubicBezTo>
                  <a:pt x="546" y="664"/>
                  <a:pt x="546" y="665"/>
                  <a:pt x="547" y="665"/>
                </a:cubicBezTo>
                <a:close/>
                <a:moveTo>
                  <a:pt x="492" y="543"/>
                </a:moveTo>
                <a:cubicBezTo>
                  <a:pt x="493" y="543"/>
                  <a:pt x="494" y="543"/>
                  <a:pt x="495" y="542"/>
                </a:cubicBezTo>
                <a:cubicBezTo>
                  <a:pt x="497" y="541"/>
                  <a:pt x="497" y="540"/>
                  <a:pt x="497" y="539"/>
                </a:cubicBezTo>
                <a:cubicBezTo>
                  <a:pt x="497" y="538"/>
                  <a:pt x="497" y="537"/>
                  <a:pt x="496" y="537"/>
                </a:cubicBezTo>
                <a:cubicBezTo>
                  <a:pt x="494" y="537"/>
                  <a:pt x="492" y="538"/>
                  <a:pt x="491" y="540"/>
                </a:cubicBezTo>
                <a:lnTo>
                  <a:pt x="490" y="541"/>
                </a:lnTo>
                <a:cubicBezTo>
                  <a:pt x="490" y="542"/>
                  <a:pt x="491" y="543"/>
                  <a:pt x="492" y="543"/>
                </a:cubicBezTo>
                <a:close/>
                <a:moveTo>
                  <a:pt x="473" y="567"/>
                </a:moveTo>
                <a:cubicBezTo>
                  <a:pt x="473" y="567"/>
                  <a:pt x="474" y="566"/>
                  <a:pt x="476" y="564"/>
                </a:cubicBezTo>
                <a:cubicBezTo>
                  <a:pt x="477" y="563"/>
                  <a:pt x="478" y="562"/>
                  <a:pt x="478" y="561"/>
                </a:cubicBezTo>
                <a:cubicBezTo>
                  <a:pt x="478" y="560"/>
                  <a:pt x="478" y="560"/>
                  <a:pt x="477" y="560"/>
                </a:cubicBezTo>
                <a:lnTo>
                  <a:pt x="477" y="559"/>
                </a:lnTo>
                <a:cubicBezTo>
                  <a:pt x="476" y="559"/>
                  <a:pt x="475" y="561"/>
                  <a:pt x="474" y="563"/>
                </a:cubicBezTo>
                <a:lnTo>
                  <a:pt x="473" y="566"/>
                </a:lnTo>
                <a:lnTo>
                  <a:pt x="473" y="567"/>
                </a:lnTo>
                <a:close/>
                <a:moveTo>
                  <a:pt x="471" y="576"/>
                </a:moveTo>
                <a:cubicBezTo>
                  <a:pt x="474" y="576"/>
                  <a:pt x="475" y="576"/>
                  <a:pt x="475" y="575"/>
                </a:cubicBezTo>
                <a:cubicBezTo>
                  <a:pt x="475" y="574"/>
                  <a:pt x="474" y="573"/>
                  <a:pt x="471" y="572"/>
                </a:cubicBezTo>
                <a:lnTo>
                  <a:pt x="468" y="572"/>
                </a:lnTo>
                <a:cubicBezTo>
                  <a:pt x="467" y="572"/>
                  <a:pt x="466" y="572"/>
                  <a:pt x="466" y="573"/>
                </a:cubicBezTo>
                <a:cubicBezTo>
                  <a:pt x="466" y="574"/>
                  <a:pt x="467" y="575"/>
                  <a:pt x="468" y="575"/>
                </a:cubicBezTo>
                <a:cubicBezTo>
                  <a:pt x="469" y="576"/>
                  <a:pt x="469" y="576"/>
                  <a:pt x="471" y="576"/>
                </a:cubicBezTo>
                <a:close/>
                <a:moveTo>
                  <a:pt x="448" y="599"/>
                </a:moveTo>
                <a:cubicBezTo>
                  <a:pt x="449" y="599"/>
                  <a:pt x="450" y="598"/>
                  <a:pt x="452" y="595"/>
                </a:cubicBezTo>
                <a:cubicBezTo>
                  <a:pt x="455" y="593"/>
                  <a:pt x="457" y="590"/>
                  <a:pt x="459" y="588"/>
                </a:cubicBezTo>
                <a:cubicBezTo>
                  <a:pt x="461" y="585"/>
                  <a:pt x="462" y="583"/>
                  <a:pt x="462" y="581"/>
                </a:cubicBezTo>
                <a:cubicBezTo>
                  <a:pt x="462" y="579"/>
                  <a:pt x="461" y="578"/>
                  <a:pt x="459" y="577"/>
                </a:cubicBezTo>
                <a:cubicBezTo>
                  <a:pt x="457" y="577"/>
                  <a:pt x="457" y="578"/>
                  <a:pt x="456" y="579"/>
                </a:cubicBezTo>
                <a:lnTo>
                  <a:pt x="457" y="581"/>
                </a:lnTo>
                <a:cubicBezTo>
                  <a:pt x="457" y="583"/>
                  <a:pt x="456" y="585"/>
                  <a:pt x="454" y="588"/>
                </a:cubicBezTo>
                <a:cubicBezTo>
                  <a:pt x="450" y="593"/>
                  <a:pt x="448" y="597"/>
                  <a:pt x="448" y="598"/>
                </a:cubicBezTo>
                <a:cubicBezTo>
                  <a:pt x="448" y="598"/>
                  <a:pt x="448" y="599"/>
                  <a:pt x="448" y="599"/>
                </a:cubicBezTo>
                <a:close/>
                <a:moveTo>
                  <a:pt x="439" y="612"/>
                </a:moveTo>
                <a:cubicBezTo>
                  <a:pt x="439" y="612"/>
                  <a:pt x="441" y="612"/>
                  <a:pt x="442" y="611"/>
                </a:cubicBezTo>
                <a:cubicBezTo>
                  <a:pt x="443" y="610"/>
                  <a:pt x="444" y="609"/>
                  <a:pt x="445" y="608"/>
                </a:cubicBezTo>
                <a:cubicBezTo>
                  <a:pt x="446" y="607"/>
                  <a:pt x="446" y="607"/>
                  <a:pt x="446" y="606"/>
                </a:cubicBezTo>
                <a:cubicBezTo>
                  <a:pt x="446" y="605"/>
                  <a:pt x="446" y="605"/>
                  <a:pt x="446" y="605"/>
                </a:cubicBezTo>
                <a:cubicBezTo>
                  <a:pt x="444" y="605"/>
                  <a:pt x="443" y="605"/>
                  <a:pt x="442" y="607"/>
                </a:cubicBezTo>
                <a:cubicBezTo>
                  <a:pt x="439" y="609"/>
                  <a:pt x="438" y="610"/>
                  <a:pt x="438" y="611"/>
                </a:cubicBezTo>
                <a:cubicBezTo>
                  <a:pt x="438" y="612"/>
                  <a:pt x="438" y="612"/>
                  <a:pt x="439" y="612"/>
                </a:cubicBezTo>
                <a:close/>
                <a:moveTo>
                  <a:pt x="325" y="618"/>
                </a:moveTo>
                <a:lnTo>
                  <a:pt x="326" y="617"/>
                </a:lnTo>
                <a:cubicBezTo>
                  <a:pt x="328" y="616"/>
                  <a:pt x="328" y="614"/>
                  <a:pt x="328" y="612"/>
                </a:cubicBezTo>
                <a:cubicBezTo>
                  <a:pt x="328" y="611"/>
                  <a:pt x="328" y="610"/>
                  <a:pt x="326" y="610"/>
                </a:cubicBezTo>
                <a:cubicBezTo>
                  <a:pt x="325" y="610"/>
                  <a:pt x="324" y="610"/>
                  <a:pt x="324" y="611"/>
                </a:cubicBezTo>
                <a:cubicBezTo>
                  <a:pt x="323" y="612"/>
                  <a:pt x="323" y="613"/>
                  <a:pt x="323" y="614"/>
                </a:cubicBezTo>
                <a:cubicBezTo>
                  <a:pt x="323" y="617"/>
                  <a:pt x="323" y="618"/>
                  <a:pt x="325" y="618"/>
                </a:cubicBezTo>
                <a:close/>
                <a:moveTo>
                  <a:pt x="327" y="606"/>
                </a:moveTo>
                <a:cubicBezTo>
                  <a:pt x="327" y="606"/>
                  <a:pt x="327" y="606"/>
                  <a:pt x="328" y="605"/>
                </a:cubicBezTo>
                <a:cubicBezTo>
                  <a:pt x="329" y="605"/>
                  <a:pt x="330" y="604"/>
                  <a:pt x="330" y="602"/>
                </a:cubicBezTo>
                <a:cubicBezTo>
                  <a:pt x="331" y="600"/>
                  <a:pt x="332" y="598"/>
                  <a:pt x="332" y="596"/>
                </a:cubicBezTo>
                <a:lnTo>
                  <a:pt x="332" y="592"/>
                </a:lnTo>
                <a:cubicBezTo>
                  <a:pt x="332" y="590"/>
                  <a:pt x="332" y="588"/>
                  <a:pt x="331" y="588"/>
                </a:cubicBezTo>
                <a:cubicBezTo>
                  <a:pt x="329" y="588"/>
                  <a:pt x="328" y="590"/>
                  <a:pt x="328" y="592"/>
                </a:cubicBezTo>
                <a:cubicBezTo>
                  <a:pt x="328" y="595"/>
                  <a:pt x="328" y="598"/>
                  <a:pt x="327" y="602"/>
                </a:cubicBezTo>
                <a:lnTo>
                  <a:pt x="326" y="605"/>
                </a:lnTo>
                <a:cubicBezTo>
                  <a:pt x="326" y="606"/>
                  <a:pt x="326" y="606"/>
                  <a:pt x="327" y="606"/>
                </a:cubicBezTo>
                <a:close/>
                <a:moveTo>
                  <a:pt x="413" y="430"/>
                </a:moveTo>
                <a:cubicBezTo>
                  <a:pt x="414" y="430"/>
                  <a:pt x="414" y="430"/>
                  <a:pt x="414" y="430"/>
                </a:cubicBezTo>
                <a:lnTo>
                  <a:pt x="413" y="426"/>
                </a:lnTo>
                <a:cubicBezTo>
                  <a:pt x="412" y="424"/>
                  <a:pt x="411" y="423"/>
                  <a:pt x="410" y="422"/>
                </a:cubicBezTo>
                <a:lnTo>
                  <a:pt x="410" y="423"/>
                </a:lnTo>
                <a:cubicBezTo>
                  <a:pt x="410" y="423"/>
                  <a:pt x="409" y="424"/>
                  <a:pt x="409" y="424"/>
                </a:cubicBezTo>
                <a:cubicBezTo>
                  <a:pt x="409" y="425"/>
                  <a:pt x="410" y="426"/>
                  <a:pt x="411" y="428"/>
                </a:cubicBezTo>
                <a:cubicBezTo>
                  <a:pt x="412" y="429"/>
                  <a:pt x="413" y="430"/>
                  <a:pt x="413" y="430"/>
                </a:cubicBezTo>
                <a:close/>
                <a:moveTo>
                  <a:pt x="406" y="437"/>
                </a:moveTo>
                <a:cubicBezTo>
                  <a:pt x="407" y="437"/>
                  <a:pt x="407" y="437"/>
                  <a:pt x="408" y="436"/>
                </a:cubicBezTo>
                <a:cubicBezTo>
                  <a:pt x="409" y="436"/>
                  <a:pt x="409" y="436"/>
                  <a:pt x="409" y="435"/>
                </a:cubicBezTo>
                <a:cubicBezTo>
                  <a:pt x="409" y="435"/>
                  <a:pt x="408" y="434"/>
                  <a:pt x="406" y="432"/>
                </a:cubicBezTo>
                <a:lnTo>
                  <a:pt x="405" y="432"/>
                </a:lnTo>
                <a:cubicBezTo>
                  <a:pt x="404" y="432"/>
                  <a:pt x="403" y="432"/>
                  <a:pt x="403" y="433"/>
                </a:cubicBezTo>
                <a:cubicBezTo>
                  <a:pt x="403" y="436"/>
                  <a:pt x="404" y="437"/>
                  <a:pt x="406" y="437"/>
                </a:cubicBezTo>
                <a:close/>
                <a:moveTo>
                  <a:pt x="403" y="446"/>
                </a:moveTo>
                <a:cubicBezTo>
                  <a:pt x="404" y="446"/>
                  <a:pt x="404" y="446"/>
                  <a:pt x="405" y="446"/>
                </a:cubicBezTo>
                <a:cubicBezTo>
                  <a:pt x="406" y="445"/>
                  <a:pt x="406" y="445"/>
                  <a:pt x="406" y="444"/>
                </a:cubicBezTo>
                <a:cubicBezTo>
                  <a:pt x="406" y="444"/>
                  <a:pt x="405" y="443"/>
                  <a:pt x="403" y="441"/>
                </a:cubicBezTo>
                <a:lnTo>
                  <a:pt x="402" y="441"/>
                </a:lnTo>
                <a:cubicBezTo>
                  <a:pt x="401" y="441"/>
                  <a:pt x="400" y="441"/>
                  <a:pt x="400" y="442"/>
                </a:cubicBezTo>
                <a:cubicBezTo>
                  <a:pt x="400" y="445"/>
                  <a:pt x="401" y="446"/>
                  <a:pt x="403" y="446"/>
                </a:cubicBezTo>
                <a:close/>
                <a:moveTo>
                  <a:pt x="355" y="512"/>
                </a:moveTo>
                <a:cubicBezTo>
                  <a:pt x="356" y="512"/>
                  <a:pt x="356" y="511"/>
                  <a:pt x="356" y="508"/>
                </a:cubicBezTo>
                <a:cubicBezTo>
                  <a:pt x="356" y="505"/>
                  <a:pt x="355" y="504"/>
                  <a:pt x="354" y="504"/>
                </a:cubicBezTo>
                <a:cubicBezTo>
                  <a:pt x="352" y="504"/>
                  <a:pt x="352" y="505"/>
                  <a:pt x="352" y="506"/>
                </a:cubicBezTo>
                <a:cubicBezTo>
                  <a:pt x="352" y="507"/>
                  <a:pt x="352" y="509"/>
                  <a:pt x="353" y="510"/>
                </a:cubicBezTo>
                <a:cubicBezTo>
                  <a:pt x="354" y="512"/>
                  <a:pt x="355" y="512"/>
                  <a:pt x="355" y="512"/>
                </a:cubicBezTo>
                <a:close/>
                <a:moveTo>
                  <a:pt x="373" y="615"/>
                </a:moveTo>
                <a:cubicBezTo>
                  <a:pt x="372" y="615"/>
                  <a:pt x="372" y="614"/>
                  <a:pt x="372" y="613"/>
                </a:cubicBezTo>
                <a:cubicBezTo>
                  <a:pt x="372" y="610"/>
                  <a:pt x="373" y="607"/>
                  <a:pt x="375" y="604"/>
                </a:cubicBezTo>
                <a:cubicBezTo>
                  <a:pt x="375" y="602"/>
                  <a:pt x="376" y="601"/>
                  <a:pt x="376" y="601"/>
                </a:cubicBezTo>
                <a:cubicBezTo>
                  <a:pt x="377" y="601"/>
                  <a:pt x="377" y="601"/>
                  <a:pt x="377" y="602"/>
                </a:cubicBezTo>
                <a:cubicBezTo>
                  <a:pt x="377" y="604"/>
                  <a:pt x="376" y="607"/>
                  <a:pt x="375" y="611"/>
                </a:cubicBezTo>
                <a:cubicBezTo>
                  <a:pt x="374" y="614"/>
                  <a:pt x="373" y="615"/>
                  <a:pt x="373" y="615"/>
                </a:cubicBezTo>
                <a:close/>
                <a:moveTo>
                  <a:pt x="615" y="631"/>
                </a:moveTo>
                <a:cubicBezTo>
                  <a:pt x="615" y="630"/>
                  <a:pt x="618" y="626"/>
                  <a:pt x="623" y="619"/>
                </a:cubicBezTo>
                <a:cubicBezTo>
                  <a:pt x="629" y="612"/>
                  <a:pt x="633" y="608"/>
                  <a:pt x="635" y="608"/>
                </a:cubicBezTo>
                <a:lnTo>
                  <a:pt x="635" y="608"/>
                </a:lnTo>
                <a:lnTo>
                  <a:pt x="635" y="609"/>
                </a:lnTo>
                <a:cubicBezTo>
                  <a:pt x="635" y="610"/>
                  <a:pt x="633" y="614"/>
                  <a:pt x="627" y="621"/>
                </a:cubicBezTo>
                <a:cubicBezTo>
                  <a:pt x="621" y="627"/>
                  <a:pt x="617" y="631"/>
                  <a:pt x="615" y="631"/>
                </a:cubicBezTo>
                <a:close/>
                <a:moveTo>
                  <a:pt x="577" y="670"/>
                </a:moveTo>
                <a:lnTo>
                  <a:pt x="576" y="670"/>
                </a:lnTo>
                <a:cubicBezTo>
                  <a:pt x="576" y="669"/>
                  <a:pt x="578" y="667"/>
                  <a:pt x="581" y="664"/>
                </a:cubicBezTo>
                <a:cubicBezTo>
                  <a:pt x="586" y="661"/>
                  <a:pt x="592" y="654"/>
                  <a:pt x="601" y="645"/>
                </a:cubicBezTo>
                <a:cubicBezTo>
                  <a:pt x="607" y="638"/>
                  <a:pt x="611" y="634"/>
                  <a:pt x="613" y="634"/>
                </a:cubicBezTo>
                <a:cubicBezTo>
                  <a:pt x="613" y="637"/>
                  <a:pt x="607" y="643"/>
                  <a:pt x="596" y="654"/>
                </a:cubicBezTo>
                <a:cubicBezTo>
                  <a:pt x="585" y="665"/>
                  <a:pt x="579" y="670"/>
                  <a:pt x="577" y="670"/>
                </a:cubicBezTo>
                <a:close/>
                <a:moveTo>
                  <a:pt x="385" y="570"/>
                </a:moveTo>
                <a:lnTo>
                  <a:pt x="385" y="569"/>
                </a:lnTo>
                <a:cubicBezTo>
                  <a:pt x="385" y="567"/>
                  <a:pt x="392" y="541"/>
                  <a:pt x="407" y="493"/>
                </a:cubicBezTo>
                <a:cubicBezTo>
                  <a:pt x="421" y="448"/>
                  <a:pt x="428" y="426"/>
                  <a:pt x="429" y="426"/>
                </a:cubicBezTo>
                <a:cubicBezTo>
                  <a:pt x="429" y="432"/>
                  <a:pt x="418" y="468"/>
                  <a:pt x="398" y="532"/>
                </a:cubicBezTo>
                <a:cubicBezTo>
                  <a:pt x="390" y="557"/>
                  <a:pt x="385" y="570"/>
                  <a:pt x="385" y="570"/>
                </a:cubicBezTo>
                <a:close/>
                <a:moveTo>
                  <a:pt x="403" y="664"/>
                </a:moveTo>
                <a:cubicBezTo>
                  <a:pt x="401" y="664"/>
                  <a:pt x="400" y="663"/>
                  <a:pt x="400" y="661"/>
                </a:cubicBezTo>
                <a:cubicBezTo>
                  <a:pt x="400" y="659"/>
                  <a:pt x="401" y="658"/>
                  <a:pt x="403" y="658"/>
                </a:cubicBezTo>
                <a:cubicBezTo>
                  <a:pt x="405" y="658"/>
                  <a:pt x="406" y="659"/>
                  <a:pt x="406" y="661"/>
                </a:cubicBezTo>
                <a:cubicBezTo>
                  <a:pt x="406" y="663"/>
                  <a:pt x="405" y="664"/>
                  <a:pt x="403" y="664"/>
                </a:cubicBezTo>
                <a:close/>
                <a:moveTo>
                  <a:pt x="639" y="607"/>
                </a:moveTo>
                <a:close/>
                <a:moveTo>
                  <a:pt x="639" y="607"/>
                </a:moveTo>
                <a:lnTo>
                  <a:pt x="639" y="607"/>
                </a:lnTo>
                <a:cubicBezTo>
                  <a:pt x="639" y="604"/>
                  <a:pt x="643" y="598"/>
                  <a:pt x="653" y="590"/>
                </a:cubicBezTo>
                <a:cubicBezTo>
                  <a:pt x="659" y="583"/>
                  <a:pt x="664" y="580"/>
                  <a:pt x="666" y="580"/>
                </a:cubicBezTo>
                <a:cubicBezTo>
                  <a:pt x="667" y="580"/>
                  <a:pt x="668" y="581"/>
                  <a:pt x="668" y="583"/>
                </a:cubicBezTo>
                <a:cubicBezTo>
                  <a:pt x="668" y="585"/>
                  <a:pt x="666" y="586"/>
                  <a:pt x="663" y="588"/>
                </a:cubicBezTo>
                <a:cubicBezTo>
                  <a:pt x="659" y="589"/>
                  <a:pt x="655" y="593"/>
                  <a:pt x="648" y="599"/>
                </a:cubicBezTo>
                <a:cubicBezTo>
                  <a:pt x="643" y="605"/>
                  <a:pt x="640" y="607"/>
                  <a:pt x="639" y="607"/>
                </a:cubicBezTo>
                <a:close/>
                <a:moveTo>
                  <a:pt x="910" y="555"/>
                </a:moveTo>
                <a:lnTo>
                  <a:pt x="910" y="555"/>
                </a:lnTo>
                <a:cubicBezTo>
                  <a:pt x="910" y="555"/>
                  <a:pt x="909" y="554"/>
                  <a:pt x="908" y="554"/>
                </a:cubicBezTo>
                <a:cubicBezTo>
                  <a:pt x="907" y="554"/>
                  <a:pt x="906" y="553"/>
                  <a:pt x="905" y="553"/>
                </a:cubicBezTo>
                <a:cubicBezTo>
                  <a:pt x="905" y="552"/>
                  <a:pt x="904" y="552"/>
                  <a:pt x="904" y="552"/>
                </a:cubicBezTo>
                <a:cubicBezTo>
                  <a:pt x="904" y="551"/>
                  <a:pt x="905" y="551"/>
                  <a:pt x="905" y="551"/>
                </a:cubicBezTo>
                <a:cubicBezTo>
                  <a:pt x="905" y="551"/>
                  <a:pt x="906" y="551"/>
                  <a:pt x="907" y="551"/>
                </a:cubicBezTo>
                <a:cubicBezTo>
                  <a:pt x="908" y="552"/>
                  <a:pt x="908" y="552"/>
                  <a:pt x="909" y="553"/>
                </a:cubicBezTo>
                <a:cubicBezTo>
                  <a:pt x="910" y="554"/>
                  <a:pt x="910" y="554"/>
                  <a:pt x="910" y="555"/>
                </a:cubicBezTo>
                <a:close/>
                <a:moveTo>
                  <a:pt x="649" y="1102"/>
                </a:moveTo>
                <a:cubicBezTo>
                  <a:pt x="649" y="1102"/>
                  <a:pt x="648" y="1101"/>
                  <a:pt x="647" y="1100"/>
                </a:cubicBezTo>
                <a:cubicBezTo>
                  <a:pt x="646" y="1099"/>
                  <a:pt x="646" y="1098"/>
                  <a:pt x="646" y="1098"/>
                </a:cubicBezTo>
                <a:lnTo>
                  <a:pt x="647" y="1098"/>
                </a:lnTo>
                <a:cubicBezTo>
                  <a:pt x="648" y="1098"/>
                  <a:pt x="648" y="1098"/>
                  <a:pt x="648" y="1097"/>
                </a:cubicBezTo>
                <a:cubicBezTo>
                  <a:pt x="648" y="1095"/>
                  <a:pt x="647" y="1095"/>
                  <a:pt x="647" y="1095"/>
                </a:cubicBezTo>
                <a:lnTo>
                  <a:pt x="646" y="1095"/>
                </a:lnTo>
                <a:cubicBezTo>
                  <a:pt x="645" y="1095"/>
                  <a:pt x="645" y="1095"/>
                  <a:pt x="645" y="1095"/>
                </a:cubicBezTo>
                <a:cubicBezTo>
                  <a:pt x="645" y="1094"/>
                  <a:pt x="645" y="1093"/>
                  <a:pt x="645" y="1092"/>
                </a:cubicBezTo>
                <a:cubicBezTo>
                  <a:pt x="646" y="1091"/>
                  <a:pt x="647" y="1089"/>
                  <a:pt x="647" y="1087"/>
                </a:cubicBezTo>
                <a:lnTo>
                  <a:pt x="646" y="1084"/>
                </a:lnTo>
                <a:cubicBezTo>
                  <a:pt x="646" y="1083"/>
                  <a:pt x="646" y="1083"/>
                  <a:pt x="647" y="1082"/>
                </a:cubicBezTo>
                <a:cubicBezTo>
                  <a:pt x="647" y="1081"/>
                  <a:pt x="647" y="1080"/>
                  <a:pt x="647" y="1078"/>
                </a:cubicBezTo>
                <a:cubicBezTo>
                  <a:pt x="648" y="1076"/>
                  <a:pt x="648" y="1073"/>
                  <a:pt x="648" y="1071"/>
                </a:cubicBezTo>
                <a:cubicBezTo>
                  <a:pt x="648" y="1068"/>
                  <a:pt x="649" y="1061"/>
                  <a:pt x="652" y="1049"/>
                </a:cubicBezTo>
                <a:cubicBezTo>
                  <a:pt x="658" y="1024"/>
                  <a:pt x="663" y="1004"/>
                  <a:pt x="668" y="989"/>
                </a:cubicBezTo>
                <a:cubicBezTo>
                  <a:pt x="681" y="944"/>
                  <a:pt x="688" y="918"/>
                  <a:pt x="688" y="912"/>
                </a:cubicBezTo>
                <a:lnTo>
                  <a:pt x="688" y="911"/>
                </a:lnTo>
                <a:lnTo>
                  <a:pt x="689" y="911"/>
                </a:lnTo>
                <a:cubicBezTo>
                  <a:pt x="690" y="911"/>
                  <a:pt x="691" y="910"/>
                  <a:pt x="692" y="908"/>
                </a:cubicBezTo>
                <a:cubicBezTo>
                  <a:pt x="694" y="903"/>
                  <a:pt x="695" y="899"/>
                  <a:pt x="695" y="895"/>
                </a:cubicBezTo>
                <a:cubicBezTo>
                  <a:pt x="695" y="894"/>
                  <a:pt x="695" y="893"/>
                  <a:pt x="694" y="893"/>
                </a:cubicBezTo>
                <a:cubicBezTo>
                  <a:pt x="694" y="891"/>
                  <a:pt x="695" y="889"/>
                  <a:pt x="696" y="889"/>
                </a:cubicBezTo>
                <a:cubicBezTo>
                  <a:pt x="697" y="888"/>
                  <a:pt x="697" y="887"/>
                  <a:pt x="697" y="885"/>
                </a:cubicBezTo>
                <a:lnTo>
                  <a:pt x="697" y="884"/>
                </a:lnTo>
                <a:cubicBezTo>
                  <a:pt x="697" y="883"/>
                  <a:pt x="697" y="883"/>
                  <a:pt x="698" y="883"/>
                </a:cubicBezTo>
                <a:cubicBezTo>
                  <a:pt x="699" y="883"/>
                  <a:pt x="699" y="882"/>
                  <a:pt x="699" y="882"/>
                </a:cubicBezTo>
                <a:lnTo>
                  <a:pt x="699" y="881"/>
                </a:lnTo>
                <a:cubicBezTo>
                  <a:pt x="699" y="880"/>
                  <a:pt x="699" y="878"/>
                  <a:pt x="701" y="877"/>
                </a:cubicBezTo>
                <a:cubicBezTo>
                  <a:pt x="702" y="875"/>
                  <a:pt x="703" y="874"/>
                  <a:pt x="703" y="872"/>
                </a:cubicBezTo>
                <a:lnTo>
                  <a:pt x="702" y="867"/>
                </a:lnTo>
                <a:cubicBezTo>
                  <a:pt x="702" y="867"/>
                  <a:pt x="702" y="867"/>
                  <a:pt x="703" y="867"/>
                </a:cubicBezTo>
                <a:cubicBezTo>
                  <a:pt x="704" y="867"/>
                  <a:pt x="705" y="865"/>
                  <a:pt x="705" y="862"/>
                </a:cubicBezTo>
                <a:lnTo>
                  <a:pt x="704" y="860"/>
                </a:lnTo>
                <a:lnTo>
                  <a:pt x="705" y="860"/>
                </a:lnTo>
                <a:lnTo>
                  <a:pt x="705" y="860"/>
                </a:lnTo>
                <a:cubicBezTo>
                  <a:pt x="707" y="860"/>
                  <a:pt x="708" y="857"/>
                  <a:pt x="708" y="852"/>
                </a:cubicBezTo>
                <a:lnTo>
                  <a:pt x="708" y="849"/>
                </a:lnTo>
                <a:cubicBezTo>
                  <a:pt x="708" y="847"/>
                  <a:pt x="708" y="845"/>
                  <a:pt x="709" y="845"/>
                </a:cubicBezTo>
                <a:lnTo>
                  <a:pt x="709" y="845"/>
                </a:lnTo>
                <a:cubicBezTo>
                  <a:pt x="710" y="845"/>
                  <a:pt x="710" y="845"/>
                  <a:pt x="710" y="846"/>
                </a:cubicBezTo>
                <a:lnTo>
                  <a:pt x="710" y="848"/>
                </a:lnTo>
                <a:cubicBezTo>
                  <a:pt x="710" y="848"/>
                  <a:pt x="710" y="848"/>
                  <a:pt x="711" y="846"/>
                </a:cubicBezTo>
                <a:cubicBezTo>
                  <a:pt x="712" y="844"/>
                  <a:pt x="713" y="842"/>
                  <a:pt x="713" y="841"/>
                </a:cubicBezTo>
                <a:cubicBezTo>
                  <a:pt x="713" y="840"/>
                  <a:pt x="712" y="839"/>
                  <a:pt x="712" y="838"/>
                </a:cubicBezTo>
                <a:cubicBezTo>
                  <a:pt x="712" y="838"/>
                  <a:pt x="712" y="837"/>
                  <a:pt x="712" y="837"/>
                </a:cubicBezTo>
                <a:cubicBezTo>
                  <a:pt x="712" y="836"/>
                  <a:pt x="712" y="835"/>
                  <a:pt x="713" y="835"/>
                </a:cubicBezTo>
                <a:lnTo>
                  <a:pt x="714" y="835"/>
                </a:lnTo>
                <a:cubicBezTo>
                  <a:pt x="714" y="835"/>
                  <a:pt x="715" y="835"/>
                  <a:pt x="715" y="834"/>
                </a:cubicBezTo>
                <a:lnTo>
                  <a:pt x="715" y="831"/>
                </a:lnTo>
                <a:cubicBezTo>
                  <a:pt x="715" y="829"/>
                  <a:pt x="717" y="823"/>
                  <a:pt x="720" y="812"/>
                </a:cubicBezTo>
                <a:cubicBezTo>
                  <a:pt x="725" y="798"/>
                  <a:pt x="728" y="790"/>
                  <a:pt x="728" y="788"/>
                </a:cubicBezTo>
                <a:cubicBezTo>
                  <a:pt x="728" y="788"/>
                  <a:pt x="727" y="788"/>
                  <a:pt x="727" y="788"/>
                </a:cubicBezTo>
                <a:cubicBezTo>
                  <a:pt x="726" y="788"/>
                  <a:pt x="725" y="787"/>
                  <a:pt x="725" y="786"/>
                </a:cubicBezTo>
                <a:cubicBezTo>
                  <a:pt x="725" y="786"/>
                  <a:pt x="724" y="785"/>
                  <a:pt x="723" y="784"/>
                </a:cubicBezTo>
                <a:cubicBezTo>
                  <a:pt x="722" y="783"/>
                  <a:pt x="721" y="782"/>
                  <a:pt x="721" y="782"/>
                </a:cubicBezTo>
                <a:cubicBezTo>
                  <a:pt x="721" y="782"/>
                  <a:pt x="721" y="781"/>
                  <a:pt x="722" y="781"/>
                </a:cubicBezTo>
                <a:cubicBezTo>
                  <a:pt x="723" y="781"/>
                  <a:pt x="723" y="781"/>
                  <a:pt x="723" y="781"/>
                </a:cubicBezTo>
                <a:lnTo>
                  <a:pt x="723" y="779"/>
                </a:lnTo>
                <a:cubicBezTo>
                  <a:pt x="723" y="778"/>
                  <a:pt x="723" y="777"/>
                  <a:pt x="724" y="777"/>
                </a:cubicBezTo>
                <a:cubicBezTo>
                  <a:pt x="725" y="776"/>
                  <a:pt x="725" y="774"/>
                  <a:pt x="725" y="772"/>
                </a:cubicBezTo>
                <a:lnTo>
                  <a:pt x="725" y="770"/>
                </a:lnTo>
                <a:cubicBezTo>
                  <a:pt x="725" y="764"/>
                  <a:pt x="727" y="757"/>
                  <a:pt x="731" y="748"/>
                </a:cubicBezTo>
                <a:cubicBezTo>
                  <a:pt x="732" y="745"/>
                  <a:pt x="733" y="743"/>
                  <a:pt x="734" y="743"/>
                </a:cubicBezTo>
                <a:cubicBezTo>
                  <a:pt x="734" y="743"/>
                  <a:pt x="735" y="743"/>
                  <a:pt x="735" y="743"/>
                </a:cubicBezTo>
                <a:lnTo>
                  <a:pt x="734" y="741"/>
                </a:lnTo>
                <a:cubicBezTo>
                  <a:pt x="734" y="740"/>
                  <a:pt x="734" y="739"/>
                  <a:pt x="736" y="738"/>
                </a:cubicBezTo>
                <a:cubicBezTo>
                  <a:pt x="737" y="737"/>
                  <a:pt x="737" y="737"/>
                  <a:pt x="737" y="736"/>
                </a:cubicBezTo>
                <a:lnTo>
                  <a:pt x="737" y="735"/>
                </a:lnTo>
                <a:cubicBezTo>
                  <a:pt x="737" y="733"/>
                  <a:pt x="738" y="731"/>
                  <a:pt x="740" y="729"/>
                </a:cubicBezTo>
                <a:cubicBezTo>
                  <a:pt x="742" y="728"/>
                  <a:pt x="742" y="726"/>
                  <a:pt x="742" y="725"/>
                </a:cubicBezTo>
                <a:cubicBezTo>
                  <a:pt x="742" y="725"/>
                  <a:pt x="742" y="725"/>
                  <a:pt x="742" y="725"/>
                </a:cubicBezTo>
                <a:lnTo>
                  <a:pt x="742" y="724"/>
                </a:lnTo>
                <a:cubicBezTo>
                  <a:pt x="742" y="723"/>
                  <a:pt x="742" y="722"/>
                  <a:pt x="744" y="720"/>
                </a:cubicBezTo>
                <a:cubicBezTo>
                  <a:pt x="745" y="719"/>
                  <a:pt x="746" y="718"/>
                  <a:pt x="746" y="717"/>
                </a:cubicBezTo>
                <a:cubicBezTo>
                  <a:pt x="746" y="717"/>
                  <a:pt x="747" y="716"/>
                  <a:pt x="747" y="715"/>
                </a:cubicBezTo>
                <a:cubicBezTo>
                  <a:pt x="747" y="714"/>
                  <a:pt x="748" y="712"/>
                  <a:pt x="749" y="709"/>
                </a:cubicBezTo>
                <a:cubicBezTo>
                  <a:pt x="751" y="707"/>
                  <a:pt x="752" y="704"/>
                  <a:pt x="752" y="702"/>
                </a:cubicBezTo>
                <a:lnTo>
                  <a:pt x="751" y="701"/>
                </a:lnTo>
                <a:lnTo>
                  <a:pt x="752" y="702"/>
                </a:lnTo>
                <a:cubicBezTo>
                  <a:pt x="752" y="702"/>
                  <a:pt x="753" y="702"/>
                  <a:pt x="753" y="702"/>
                </a:cubicBezTo>
                <a:cubicBezTo>
                  <a:pt x="754" y="702"/>
                  <a:pt x="755" y="702"/>
                  <a:pt x="756" y="701"/>
                </a:cubicBezTo>
                <a:cubicBezTo>
                  <a:pt x="757" y="699"/>
                  <a:pt x="758" y="698"/>
                  <a:pt x="758" y="697"/>
                </a:cubicBezTo>
                <a:cubicBezTo>
                  <a:pt x="757" y="696"/>
                  <a:pt x="757" y="696"/>
                  <a:pt x="757" y="696"/>
                </a:cubicBezTo>
                <a:cubicBezTo>
                  <a:pt x="756" y="696"/>
                  <a:pt x="756" y="697"/>
                  <a:pt x="755" y="698"/>
                </a:cubicBezTo>
                <a:cubicBezTo>
                  <a:pt x="754" y="699"/>
                  <a:pt x="753" y="699"/>
                  <a:pt x="752" y="699"/>
                </a:cubicBezTo>
                <a:cubicBezTo>
                  <a:pt x="752" y="699"/>
                  <a:pt x="751" y="699"/>
                  <a:pt x="751" y="699"/>
                </a:cubicBezTo>
                <a:cubicBezTo>
                  <a:pt x="751" y="698"/>
                  <a:pt x="752" y="698"/>
                  <a:pt x="754" y="696"/>
                </a:cubicBezTo>
                <a:cubicBezTo>
                  <a:pt x="755" y="695"/>
                  <a:pt x="756" y="695"/>
                  <a:pt x="757" y="695"/>
                </a:cubicBezTo>
                <a:cubicBezTo>
                  <a:pt x="759" y="695"/>
                  <a:pt x="760" y="694"/>
                  <a:pt x="761" y="693"/>
                </a:cubicBezTo>
                <a:cubicBezTo>
                  <a:pt x="762" y="691"/>
                  <a:pt x="763" y="688"/>
                  <a:pt x="763" y="685"/>
                </a:cubicBezTo>
                <a:cubicBezTo>
                  <a:pt x="763" y="684"/>
                  <a:pt x="763" y="683"/>
                  <a:pt x="762" y="683"/>
                </a:cubicBezTo>
                <a:lnTo>
                  <a:pt x="761" y="681"/>
                </a:lnTo>
                <a:lnTo>
                  <a:pt x="763" y="683"/>
                </a:lnTo>
                <a:cubicBezTo>
                  <a:pt x="765" y="683"/>
                  <a:pt x="765" y="681"/>
                  <a:pt x="765" y="679"/>
                </a:cubicBezTo>
                <a:cubicBezTo>
                  <a:pt x="765" y="678"/>
                  <a:pt x="765" y="676"/>
                  <a:pt x="764" y="676"/>
                </a:cubicBezTo>
                <a:lnTo>
                  <a:pt x="764" y="676"/>
                </a:lnTo>
                <a:cubicBezTo>
                  <a:pt x="763" y="676"/>
                  <a:pt x="761" y="678"/>
                  <a:pt x="758" y="682"/>
                </a:cubicBezTo>
                <a:cubicBezTo>
                  <a:pt x="755" y="686"/>
                  <a:pt x="753" y="688"/>
                  <a:pt x="751" y="688"/>
                </a:cubicBezTo>
                <a:cubicBezTo>
                  <a:pt x="751" y="688"/>
                  <a:pt x="750" y="688"/>
                  <a:pt x="749" y="688"/>
                </a:cubicBezTo>
                <a:lnTo>
                  <a:pt x="749" y="686"/>
                </a:lnTo>
                <a:lnTo>
                  <a:pt x="752" y="688"/>
                </a:lnTo>
                <a:cubicBezTo>
                  <a:pt x="753" y="688"/>
                  <a:pt x="753" y="688"/>
                  <a:pt x="753" y="688"/>
                </a:cubicBezTo>
                <a:lnTo>
                  <a:pt x="752" y="683"/>
                </a:lnTo>
                <a:cubicBezTo>
                  <a:pt x="752" y="683"/>
                  <a:pt x="752" y="683"/>
                  <a:pt x="752" y="683"/>
                </a:cubicBezTo>
                <a:cubicBezTo>
                  <a:pt x="753" y="683"/>
                  <a:pt x="753" y="683"/>
                  <a:pt x="753" y="682"/>
                </a:cubicBezTo>
                <a:lnTo>
                  <a:pt x="752" y="679"/>
                </a:lnTo>
                <a:lnTo>
                  <a:pt x="754" y="680"/>
                </a:lnTo>
                <a:cubicBezTo>
                  <a:pt x="756" y="680"/>
                  <a:pt x="757" y="679"/>
                  <a:pt x="759" y="676"/>
                </a:cubicBezTo>
                <a:cubicBezTo>
                  <a:pt x="760" y="674"/>
                  <a:pt x="762" y="673"/>
                  <a:pt x="763" y="673"/>
                </a:cubicBezTo>
                <a:cubicBezTo>
                  <a:pt x="764" y="673"/>
                  <a:pt x="764" y="673"/>
                  <a:pt x="765" y="674"/>
                </a:cubicBezTo>
                <a:cubicBezTo>
                  <a:pt x="766" y="675"/>
                  <a:pt x="767" y="675"/>
                  <a:pt x="767" y="675"/>
                </a:cubicBezTo>
                <a:cubicBezTo>
                  <a:pt x="769" y="675"/>
                  <a:pt x="770" y="673"/>
                  <a:pt x="771" y="668"/>
                </a:cubicBezTo>
                <a:lnTo>
                  <a:pt x="771" y="665"/>
                </a:lnTo>
                <a:cubicBezTo>
                  <a:pt x="771" y="665"/>
                  <a:pt x="771" y="665"/>
                  <a:pt x="771" y="665"/>
                </a:cubicBezTo>
                <a:cubicBezTo>
                  <a:pt x="770" y="665"/>
                  <a:pt x="770" y="665"/>
                  <a:pt x="768" y="666"/>
                </a:cubicBezTo>
                <a:cubicBezTo>
                  <a:pt x="767" y="668"/>
                  <a:pt x="767" y="668"/>
                  <a:pt x="766" y="668"/>
                </a:cubicBezTo>
                <a:cubicBezTo>
                  <a:pt x="766" y="668"/>
                  <a:pt x="767" y="667"/>
                  <a:pt x="767" y="666"/>
                </a:cubicBezTo>
                <a:cubicBezTo>
                  <a:pt x="768" y="664"/>
                  <a:pt x="769" y="664"/>
                  <a:pt x="771" y="664"/>
                </a:cubicBezTo>
                <a:lnTo>
                  <a:pt x="772" y="664"/>
                </a:lnTo>
                <a:cubicBezTo>
                  <a:pt x="773" y="664"/>
                  <a:pt x="774" y="662"/>
                  <a:pt x="775" y="658"/>
                </a:cubicBezTo>
                <a:cubicBezTo>
                  <a:pt x="776" y="654"/>
                  <a:pt x="776" y="652"/>
                  <a:pt x="776" y="650"/>
                </a:cubicBezTo>
                <a:cubicBezTo>
                  <a:pt x="776" y="649"/>
                  <a:pt x="776" y="649"/>
                  <a:pt x="776" y="649"/>
                </a:cubicBezTo>
                <a:lnTo>
                  <a:pt x="774" y="650"/>
                </a:lnTo>
                <a:cubicBezTo>
                  <a:pt x="773" y="650"/>
                  <a:pt x="773" y="649"/>
                  <a:pt x="773" y="649"/>
                </a:cubicBezTo>
                <a:lnTo>
                  <a:pt x="774" y="648"/>
                </a:lnTo>
                <a:cubicBezTo>
                  <a:pt x="774" y="647"/>
                  <a:pt x="774" y="647"/>
                  <a:pt x="775" y="647"/>
                </a:cubicBezTo>
                <a:lnTo>
                  <a:pt x="776" y="647"/>
                </a:lnTo>
                <a:cubicBezTo>
                  <a:pt x="777" y="647"/>
                  <a:pt x="777" y="647"/>
                  <a:pt x="778" y="645"/>
                </a:cubicBezTo>
                <a:cubicBezTo>
                  <a:pt x="780" y="641"/>
                  <a:pt x="781" y="638"/>
                  <a:pt x="781" y="636"/>
                </a:cubicBezTo>
                <a:cubicBezTo>
                  <a:pt x="781" y="635"/>
                  <a:pt x="781" y="635"/>
                  <a:pt x="781" y="634"/>
                </a:cubicBezTo>
                <a:cubicBezTo>
                  <a:pt x="781" y="633"/>
                  <a:pt x="780" y="633"/>
                  <a:pt x="780" y="632"/>
                </a:cubicBezTo>
                <a:lnTo>
                  <a:pt x="781" y="632"/>
                </a:lnTo>
                <a:cubicBezTo>
                  <a:pt x="783" y="631"/>
                  <a:pt x="793" y="605"/>
                  <a:pt x="811" y="554"/>
                </a:cubicBezTo>
                <a:cubicBezTo>
                  <a:pt x="816" y="542"/>
                  <a:pt x="819" y="531"/>
                  <a:pt x="823" y="521"/>
                </a:cubicBezTo>
                <a:cubicBezTo>
                  <a:pt x="825" y="516"/>
                  <a:pt x="826" y="511"/>
                  <a:pt x="828" y="507"/>
                </a:cubicBezTo>
                <a:lnTo>
                  <a:pt x="838" y="480"/>
                </a:lnTo>
                <a:cubicBezTo>
                  <a:pt x="842" y="467"/>
                  <a:pt x="845" y="459"/>
                  <a:pt x="845" y="459"/>
                </a:cubicBezTo>
                <a:cubicBezTo>
                  <a:pt x="846" y="458"/>
                  <a:pt x="847" y="457"/>
                  <a:pt x="849" y="455"/>
                </a:cubicBezTo>
                <a:cubicBezTo>
                  <a:pt x="848" y="454"/>
                  <a:pt x="848" y="453"/>
                  <a:pt x="848" y="453"/>
                </a:cubicBezTo>
                <a:cubicBezTo>
                  <a:pt x="848" y="450"/>
                  <a:pt x="849" y="448"/>
                  <a:pt x="850" y="446"/>
                </a:cubicBezTo>
                <a:lnTo>
                  <a:pt x="851" y="444"/>
                </a:lnTo>
                <a:lnTo>
                  <a:pt x="852" y="444"/>
                </a:lnTo>
                <a:cubicBezTo>
                  <a:pt x="852" y="444"/>
                  <a:pt x="853" y="443"/>
                  <a:pt x="853" y="440"/>
                </a:cubicBezTo>
                <a:cubicBezTo>
                  <a:pt x="853" y="437"/>
                  <a:pt x="853" y="436"/>
                  <a:pt x="854" y="435"/>
                </a:cubicBezTo>
                <a:cubicBezTo>
                  <a:pt x="855" y="434"/>
                  <a:pt x="856" y="433"/>
                  <a:pt x="856" y="433"/>
                </a:cubicBezTo>
                <a:cubicBezTo>
                  <a:pt x="856" y="433"/>
                  <a:pt x="856" y="431"/>
                  <a:pt x="856" y="429"/>
                </a:cubicBezTo>
                <a:cubicBezTo>
                  <a:pt x="857" y="429"/>
                  <a:pt x="857" y="429"/>
                  <a:pt x="858" y="430"/>
                </a:cubicBezTo>
                <a:cubicBezTo>
                  <a:pt x="859" y="431"/>
                  <a:pt x="860" y="432"/>
                  <a:pt x="860" y="432"/>
                </a:cubicBezTo>
                <a:cubicBezTo>
                  <a:pt x="861" y="432"/>
                  <a:pt x="862" y="431"/>
                  <a:pt x="863" y="429"/>
                </a:cubicBezTo>
                <a:cubicBezTo>
                  <a:pt x="865" y="426"/>
                  <a:pt x="865" y="425"/>
                  <a:pt x="866" y="425"/>
                </a:cubicBezTo>
                <a:cubicBezTo>
                  <a:pt x="866" y="425"/>
                  <a:pt x="866" y="426"/>
                  <a:pt x="866" y="428"/>
                </a:cubicBezTo>
                <a:cubicBezTo>
                  <a:pt x="866" y="430"/>
                  <a:pt x="866" y="430"/>
                  <a:pt x="866" y="430"/>
                </a:cubicBezTo>
                <a:cubicBezTo>
                  <a:pt x="865" y="430"/>
                  <a:pt x="865" y="431"/>
                  <a:pt x="865" y="434"/>
                </a:cubicBezTo>
                <a:cubicBezTo>
                  <a:pt x="865" y="436"/>
                  <a:pt x="864" y="440"/>
                  <a:pt x="862" y="445"/>
                </a:cubicBezTo>
                <a:cubicBezTo>
                  <a:pt x="860" y="451"/>
                  <a:pt x="859" y="453"/>
                  <a:pt x="858" y="453"/>
                </a:cubicBezTo>
                <a:lnTo>
                  <a:pt x="858" y="453"/>
                </a:lnTo>
                <a:cubicBezTo>
                  <a:pt x="858" y="451"/>
                  <a:pt x="859" y="448"/>
                  <a:pt x="860" y="444"/>
                </a:cubicBezTo>
                <a:cubicBezTo>
                  <a:pt x="861" y="440"/>
                  <a:pt x="862" y="437"/>
                  <a:pt x="862" y="436"/>
                </a:cubicBezTo>
                <a:cubicBezTo>
                  <a:pt x="862" y="435"/>
                  <a:pt x="862" y="435"/>
                  <a:pt x="862" y="435"/>
                </a:cubicBezTo>
                <a:cubicBezTo>
                  <a:pt x="861" y="435"/>
                  <a:pt x="861" y="436"/>
                  <a:pt x="860" y="436"/>
                </a:cubicBezTo>
                <a:cubicBezTo>
                  <a:pt x="859" y="437"/>
                  <a:pt x="859" y="438"/>
                  <a:pt x="859" y="440"/>
                </a:cubicBezTo>
                <a:lnTo>
                  <a:pt x="859" y="441"/>
                </a:lnTo>
                <a:cubicBezTo>
                  <a:pt x="859" y="441"/>
                  <a:pt x="859" y="441"/>
                  <a:pt x="858" y="441"/>
                </a:cubicBezTo>
                <a:cubicBezTo>
                  <a:pt x="858" y="441"/>
                  <a:pt x="858" y="442"/>
                  <a:pt x="857" y="442"/>
                </a:cubicBezTo>
                <a:cubicBezTo>
                  <a:pt x="857" y="444"/>
                  <a:pt x="854" y="452"/>
                  <a:pt x="849" y="467"/>
                </a:cubicBezTo>
                <a:cubicBezTo>
                  <a:pt x="831" y="521"/>
                  <a:pt x="811" y="576"/>
                  <a:pt x="790" y="631"/>
                </a:cubicBezTo>
                <a:cubicBezTo>
                  <a:pt x="785" y="644"/>
                  <a:pt x="782" y="651"/>
                  <a:pt x="782" y="652"/>
                </a:cubicBezTo>
                <a:cubicBezTo>
                  <a:pt x="783" y="652"/>
                  <a:pt x="784" y="651"/>
                  <a:pt x="786" y="648"/>
                </a:cubicBezTo>
                <a:cubicBezTo>
                  <a:pt x="791" y="640"/>
                  <a:pt x="799" y="631"/>
                  <a:pt x="810" y="621"/>
                </a:cubicBezTo>
                <a:lnTo>
                  <a:pt x="814" y="616"/>
                </a:lnTo>
                <a:lnTo>
                  <a:pt x="816" y="612"/>
                </a:lnTo>
                <a:cubicBezTo>
                  <a:pt x="816" y="612"/>
                  <a:pt x="816" y="612"/>
                  <a:pt x="816" y="612"/>
                </a:cubicBezTo>
                <a:lnTo>
                  <a:pt x="820" y="613"/>
                </a:lnTo>
                <a:cubicBezTo>
                  <a:pt x="820" y="613"/>
                  <a:pt x="820" y="613"/>
                  <a:pt x="820" y="613"/>
                </a:cubicBezTo>
                <a:lnTo>
                  <a:pt x="820" y="612"/>
                </a:lnTo>
                <a:cubicBezTo>
                  <a:pt x="820" y="611"/>
                  <a:pt x="822" y="609"/>
                  <a:pt x="825" y="606"/>
                </a:cubicBezTo>
                <a:cubicBezTo>
                  <a:pt x="828" y="603"/>
                  <a:pt x="831" y="600"/>
                  <a:pt x="834" y="597"/>
                </a:cubicBezTo>
                <a:cubicBezTo>
                  <a:pt x="837" y="593"/>
                  <a:pt x="839" y="592"/>
                  <a:pt x="841" y="592"/>
                </a:cubicBezTo>
                <a:cubicBezTo>
                  <a:pt x="843" y="592"/>
                  <a:pt x="846" y="589"/>
                  <a:pt x="851" y="583"/>
                </a:cubicBezTo>
                <a:cubicBezTo>
                  <a:pt x="853" y="581"/>
                  <a:pt x="853" y="580"/>
                  <a:pt x="854" y="580"/>
                </a:cubicBezTo>
                <a:cubicBezTo>
                  <a:pt x="855" y="580"/>
                  <a:pt x="858" y="579"/>
                  <a:pt x="862" y="575"/>
                </a:cubicBezTo>
                <a:lnTo>
                  <a:pt x="866" y="571"/>
                </a:lnTo>
                <a:cubicBezTo>
                  <a:pt x="869" y="571"/>
                  <a:pt x="871" y="570"/>
                  <a:pt x="871" y="570"/>
                </a:cubicBezTo>
                <a:cubicBezTo>
                  <a:pt x="871" y="570"/>
                  <a:pt x="871" y="570"/>
                  <a:pt x="871" y="569"/>
                </a:cubicBezTo>
                <a:lnTo>
                  <a:pt x="871" y="569"/>
                </a:lnTo>
                <a:cubicBezTo>
                  <a:pt x="871" y="568"/>
                  <a:pt x="872" y="568"/>
                  <a:pt x="873" y="568"/>
                </a:cubicBezTo>
                <a:lnTo>
                  <a:pt x="874" y="569"/>
                </a:lnTo>
                <a:cubicBezTo>
                  <a:pt x="874" y="569"/>
                  <a:pt x="874" y="568"/>
                  <a:pt x="874" y="568"/>
                </a:cubicBezTo>
                <a:lnTo>
                  <a:pt x="874" y="568"/>
                </a:lnTo>
                <a:cubicBezTo>
                  <a:pt x="874" y="567"/>
                  <a:pt x="875" y="565"/>
                  <a:pt x="877" y="564"/>
                </a:cubicBezTo>
                <a:lnTo>
                  <a:pt x="880" y="563"/>
                </a:lnTo>
                <a:lnTo>
                  <a:pt x="880" y="564"/>
                </a:lnTo>
                <a:cubicBezTo>
                  <a:pt x="880" y="565"/>
                  <a:pt x="880" y="565"/>
                  <a:pt x="881" y="565"/>
                </a:cubicBezTo>
                <a:cubicBezTo>
                  <a:pt x="882" y="565"/>
                  <a:pt x="883" y="564"/>
                  <a:pt x="883" y="564"/>
                </a:cubicBezTo>
                <a:cubicBezTo>
                  <a:pt x="883" y="564"/>
                  <a:pt x="883" y="563"/>
                  <a:pt x="883" y="562"/>
                </a:cubicBezTo>
                <a:lnTo>
                  <a:pt x="883" y="562"/>
                </a:lnTo>
                <a:cubicBezTo>
                  <a:pt x="883" y="561"/>
                  <a:pt x="884" y="560"/>
                  <a:pt x="886" y="559"/>
                </a:cubicBezTo>
                <a:lnTo>
                  <a:pt x="890" y="558"/>
                </a:lnTo>
                <a:lnTo>
                  <a:pt x="890" y="559"/>
                </a:lnTo>
                <a:cubicBezTo>
                  <a:pt x="890" y="560"/>
                  <a:pt x="890" y="560"/>
                  <a:pt x="891" y="560"/>
                </a:cubicBezTo>
                <a:cubicBezTo>
                  <a:pt x="891" y="560"/>
                  <a:pt x="892" y="561"/>
                  <a:pt x="892" y="561"/>
                </a:cubicBezTo>
                <a:lnTo>
                  <a:pt x="892" y="563"/>
                </a:lnTo>
                <a:cubicBezTo>
                  <a:pt x="892" y="563"/>
                  <a:pt x="892" y="563"/>
                  <a:pt x="892" y="563"/>
                </a:cubicBezTo>
                <a:cubicBezTo>
                  <a:pt x="893" y="563"/>
                  <a:pt x="893" y="563"/>
                  <a:pt x="894" y="563"/>
                </a:cubicBezTo>
                <a:cubicBezTo>
                  <a:pt x="895" y="562"/>
                  <a:pt x="896" y="562"/>
                  <a:pt x="896" y="561"/>
                </a:cubicBezTo>
                <a:cubicBezTo>
                  <a:pt x="896" y="561"/>
                  <a:pt x="895" y="561"/>
                  <a:pt x="894" y="560"/>
                </a:cubicBezTo>
                <a:cubicBezTo>
                  <a:pt x="893" y="559"/>
                  <a:pt x="893" y="559"/>
                  <a:pt x="893" y="559"/>
                </a:cubicBezTo>
                <a:lnTo>
                  <a:pt x="896" y="559"/>
                </a:lnTo>
                <a:cubicBezTo>
                  <a:pt x="898" y="559"/>
                  <a:pt x="898" y="559"/>
                  <a:pt x="898" y="559"/>
                </a:cubicBezTo>
                <a:lnTo>
                  <a:pt x="898" y="558"/>
                </a:lnTo>
                <a:cubicBezTo>
                  <a:pt x="898" y="556"/>
                  <a:pt x="899" y="555"/>
                  <a:pt x="902" y="555"/>
                </a:cubicBezTo>
                <a:cubicBezTo>
                  <a:pt x="903" y="555"/>
                  <a:pt x="903" y="555"/>
                  <a:pt x="904" y="556"/>
                </a:cubicBezTo>
                <a:lnTo>
                  <a:pt x="904" y="556"/>
                </a:lnTo>
                <a:cubicBezTo>
                  <a:pt x="904" y="556"/>
                  <a:pt x="903" y="557"/>
                  <a:pt x="902" y="557"/>
                </a:cubicBezTo>
                <a:cubicBezTo>
                  <a:pt x="901" y="557"/>
                  <a:pt x="901" y="557"/>
                  <a:pt x="901" y="558"/>
                </a:cubicBezTo>
                <a:cubicBezTo>
                  <a:pt x="901" y="558"/>
                  <a:pt x="902" y="559"/>
                  <a:pt x="902" y="559"/>
                </a:cubicBezTo>
                <a:cubicBezTo>
                  <a:pt x="904" y="559"/>
                  <a:pt x="905" y="558"/>
                  <a:pt x="908" y="557"/>
                </a:cubicBezTo>
                <a:cubicBezTo>
                  <a:pt x="910" y="556"/>
                  <a:pt x="912" y="556"/>
                  <a:pt x="913" y="555"/>
                </a:cubicBezTo>
                <a:cubicBezTo>
                  <a:pt x="914" y="554"/>
                  <a:pt x="916" y="553"/>
                  <a:pt x="917" y="553"/>
                </a:cubicBezTo>
                <a:cubicBezTo>
                  <a:pt x="919" y="552"/>
                  <a:pt x="920" y="552"/>
                  <a:pt x="922" y="551"/>
                </a:cubicBezTo>
                <a:cubicBezTo>
                  <a:pt x="924" y="551"/>
                  <a:pt x="926" y="551"/>
                  <a:pt x="928" y="551"/>
                </a:cubicBezTo>
                <a:cubicBezTo>
                  <a:pt x="929" y="550"/>
                  <a:pt x="930" y="550"/>
                  <a:pt x="931" y="549"/>
                </a:cubicBezTo>
                <a:cubicBezTo>
                  <a:pt x="932" y="549"/>
                  <a:pt x="932" y="549"/>
                  <a:pt x="933" y="549"/>
                </a:cubicBezTo>
                <a:cubicBezTo>
                  <a:pt x="933" y="549"/>
                  <a:pt x="934" y="549"/>
                  <a:pt x="934" y="549"/>
                </a:cubicBezTo>
                <a:cubicBezTo>
                  <a:pt x="943" y="549"/>
                  <a:pt x="951" y="551"/>
                  <a:pt x="959" y="556"/>
                </a:cubicBezTo>
                <a:cubicBezTo>
                  <a:pt x="964" y="558"/>
                  <a:pt x="967" y="561"/>
                  <a:pt x="969" y="564"/>
                </a:cubicBezTo>
                <a:cubicBezTo>
                  <a:pt x="971" y="567"/>
                  <a:pt x="974" y="569"/>
                  <a:pt x="977" y="570"/>
                </a:cubicBezTo>
                <a:cubicBezTo>
                  <a:pt x="985" y="574"/>
                  <a:pt x="989" y="582"/>
                  <a:pt x="989" y="594"/>
                </a:cubicBezTo>
                <a:cubicBezTo>
                  <a:pt x="989" y="605"/>
                  <a:pt x="987" y="616"/>
                  <a:pt x="983" y="625"/>
                </a:cubicBezTo>
                <a:cubicBezTo>
                  <a:pt x="980" y="632"/>
                  <a:pt x="975" y="641"/>
                  <a:pt x="967" y="652"/>
                </a:cubicBezTo>
                <a:cubicBezTo>
                  <a:pt x="965" y="654"/>
                  <a:pt x="965" y="656"/>
                  <a:pt x="965" y="658"/>
                </a:cubicBezTo>
                <a:cubicBezTo>
                  <a:pt x="965" y="660"/>
                  <a:pt x="963" y="661"/>
                  <a:pt x="962" y="662"/>
                </a:cubicBezTo>
                <a:cubicBezTo>
                  <a:pt x="960" y="662"/>
                  <a:pt x="958" y="663"/>
                  <a:pt x="958" y="663"/>
                </a:cubicBezTo>
                <a:cubicBezTo>
                  <a:pt x="959" y="664"/>
                  <a:pt x="960" y="664"/>
                  <a:pt x="961" y="664"/>
                </a:cubicBezTo>
                <a:cubicBezTo>
                  <a:pt x="962" y="664"/>
                  <a:pt x="963" y="664"/>
                  <a:pt x="965" y="663"/>
                </a:cubicBezTo>
                <a:cubicBezTo>
                  <a:pt x="966" y="662"/>
                  <a:pt x="967" y="661"/>
                  <a:pt x="967" y="659"/>
                </a:cubicBezTo>
                <a:lnTo>
                  <a:pt x="967" y="659"/>
                </a:lnTo>
                <a:cubicBezTo>
                  <a:pt x="967" y="657"/>
                  <a:pt x="967" y="656"/>
                  <a:pt x="968" y="656"/>
                </a:cubicBezTo>
                <a:lnTo>
                  <a:pt x="971" y="656"/>
                </a:lnTo>
                <a:lnTo>
                  <a:pt x="973" y="655"/>
                </a:lnTo>
                <a:cubicBezTo>
                  <a:pt x="973" y="654"/>
                  <a:pt x="973" y="654"/>
                  <a:pt x="975" y="654"/>
                </a:cubicBezTo>
                <a:lnTo>
                  <a:pt x="976" y="655"/>
                </a:lnTo>
                <a:cubicBezTo>
                  <a:pt x="976" y="655"/>
                  <a:pt x="977" y="654"/>
                  <a:pt x="977" y="654"/>
                </a:cubicBezTo>
                <a:cubicBezTo>
                  <a:pt x="978" y="653"/>
                  <a:pt x="979" y="653"/>
                  <a:pt x="981" y="653"/>
                </a:cubicBezTo>
                <a:cubicBezTo>
                  <a:pt x="983" y="653"/>
                  <a:pt x="985" y="652"/>
                  <a:pt x="985" y="651"/>
                </a:cubicBezTo>
                <a:cubicBezTo>
                  <a:pt x="985" y="649"/>
                  <a:pt x="986" y="649"/>
                  <a:pt x="987" y="649"/>
                </a:cubicBezTo>
                <a:cubicBezTo>
                  <a:pt x="987" y="649"/>
                  <a:pt x="988" y="649"/>
                  <a:pt x="989" y="650"/>
                </a:cubicBezTo>
                <a:cubicBezTo>
                  <a:pt x="990" y="651"/>
                  <a:pt x="991" y="651"/>
                  <a:pt x="991" y="651"/>
                </a:cubicBezTo>
                <a:cubicBezTo>
                  <a:pt x="991" y="651"/>
                  <a:pt x="991" y="651"/>
                  <a:pt x="991" y="650"/>
                </a:cubicBezTo>
                <a:lnTo>
                  <a:pt x="991" y="648"/>
                </a:lnTo>
                <a:cubicBezTo>
                  <a:pt x="992" y="648"/>
                  <a:pt x="992" y="649"/>
                  <a:pt x="993" y="650"/>
                </a:cubicBezTo>
                <a:cubicBezTo>
                  <a:pt x="994" y="651"/>
                  <a:pt x="994" y="651"/>
                  <a:pt x="994" y="651"/>
                </a:cubicBezTo>
                <a:cubicBezTo>
                  <a:pt x="995" y="651"/>
                  <a:pt x="995" y="651"/>
                  <a:pt x="995" y="649"/>
                </a:cubicBezTo>
                <a:cubicBezTo>
                  <a:pt x="995" y="648"/>
                  <a:pt x="996" y="647"/>
                  <a:pt x="997" y="647"/>
                </a:cubicBezTo>
                <a:cubicBezTo>
                  <a:pt x="997" y="647"/>
                  <a:pt x="998" y="647"/>
                  <a:pt x="999" y="648"/>
                </a:cubicBezTo>
                <a:cubicBezTo>
                  <a:pt x="1000" y="649"/>
                  <a:pt x="1000" y="649"/>
                  <a:pt x="1001" y="649"/>
                </a:cubicBezTo>
                <a:cubicBezTo>
                  <a:pt x="1002" y="649"/>
                  <a:pt x="1002" y="649"/>
                  <a:pt x="1002" y="648"/>
                </a:cubicBezTo>
                <a:cubicBezTo>
                  <a:pt x="1003" y="646"/>
                  <a:pt x="1005" y="646"/>
                  <a:pt x="1009" y="646"/>
                </a:cubicBezTo>
                <a:cubicBezTo>
                  <a:pt x="1018" y="646"/>
                  <a:pt x="1028" y="644"/>
                  <a:pt x="1040" y="642"/>
                </a:cubicBezTo>
                <a:cubicBezTo>
                  <a:pt x="1041" y="641"/>
                  <a:pt x="1046" y="641"/>
                  <a:pt x="1053" y="640"/>
                </a:cubicBezTo>
                <a:lnTo>
                  <a:pt x="1084" y="635"/>
                </a:lnTo>
                <a:cubicBezTo>
                  <a:pt x="1096" y="634"/>
                  <a:pt x="1101" y="633"/>
                  <a:pt x="1101" y="632"/>
                </a:cubicBezTo>
                <a:cubicBezTo>
                  <a:pt x="1101" y="632"/>
                  <a:pt x="1101" y="632"/>
                  <a:pt x="1100" y="632"/>
                </a:cubicBezTo>
                <a:lnTo>
                  <a:pt x="1085" y="633"/>
                </a:lnTo>
                <a:cubicBezTo>
                  <a:pt x="1063" y="634"/>
                  <a:pt x="1051" y="635"/>
                  <a:pt x="1047" y="636"/>
                </a:cubicBezTo>
                <a:cubicBezTo>
                  <a:pt x="1047" y="636"/>
                  <a:pt x="1046" y="635"/>
                  <a:pt x="1046" y="634"/>
                </a:cubicBezTo>
                <a:cubicBezTo>
                  <a:pt x="1046" y="630"/>
                  <a:pt x="1052" y="628"/>
                  <a:pt x="1065" y="628"/>
                </a:cubicBezTo>
                <a:lnTo>
                  <a:pt x="1083" y="629"/>
                </a:lnTo>
                <a:cubicBezTo>
                  <a:pt x="1093" y="630"/>
                  <a:pt x="1100" y="630"/>
                  <a:pt x="1103" y="630"/>
                </a:cubicBezTo>
                <a:cubicBezTo>
                  <a:pt x="1105" y="630"/>
                  <a:pt x="1106" y="631"/>
                  <a:pt x="1106" y="632"/>
                </a:cubicBezTo>
                <a:lnTo>
                  <a:pt x="1106" y="632"/>
                </a:lnTo>
                <a:cubicBezTo>
                  <a:pt x="1106" y="633"/>
                  <a:pt x="1108" y="634"/>
                  <a:pt x="1110" y="634"/>
                </a:cubicBezTo>
                <a:cubicBezTo>
                  <a:pt x="1114" y="634"/>
                  <a:pt x="1116" y="634"/>
                  <a:pt x="1116" y="636"/>
                </a:cubicBezTo>
                <a:cubicBezTo>
                  <a:pt x="1116" y="637"/>
                  <a:pt x="1115" y="638"/>
                  <a:pt x="1114" y="638"/>
                </a:cubicBezTo>
                <a:cubicBezTo>
                  <a:pt x="1112" y="639"/>
                  <a:pt x="1112" y="640"/>
                  <a:pt x="1112" y="642"/>
                </a:cubicBezTo>
                <a:lnTo>
                  <a:pt x="1112" y="643"/>
                </a:lnTo>
                <a:cubicBezTo>
                  <a:pt x="1112" y="647"/>
                  <a:pt x="1097" y="652"/>
                  <a:pt x="1068" y="658"/>
                </a:cubicBezTo>
                <a:cubicBezTo>
                  <a:pt x="1034" y="664"/>
                  <a:pt x="1002" y="671"/>
                  <a:pt x="972" y="679"/>
                </a:cubicBezTo>
                <a:cubicBezTo>
                  <a:pt x="955" y="684"/>
                  <a:pt x="944" y="687"/>
                  <a:pt x="939" y="689"/>
                </a:cubicBezTo>
                <a:cubicBezTo>
                  <a:pt x="935" y="691"/>
                  <a:pt x="932" y="692"/>
                  <a:pt x="932" y="693"/>
                </a:cubicBezTo>
                <a:cubicBezTo>
                  <a:pt x="931" y="695"/>
                  <a:pt x="930" y="696"/>
                  <a:pt x="929" y="696"/>
                </a:cubicBezTo>
                <a:cubicBezTo>
                  <a:pt x="928" y="696"/>
                  <a:pt x="928" y="695"/>
                  <a:pt x="928" y="695"/>
                </a:cubicBezTo>
                <a:lnTo>
                  <a:pt x="928" y="693"/>
                </a:lnTo>
                <a:cubicBezTo>
                  <a:pt x="928" y="693"/>
                  <a:pt x="927" y="693"/>
                  <a:pt x="925" y="694"/>
                </a:cubicBezTo>
                <a:cubicBezTo>
                  <a:pt x="923" y="695"/>
                  <a:pt x="922" y="696"/>
                  <a:pt x="922" y="697"/>
                </a:cubicBezTo>
                <a:lnTo>
                  <a:pt x="927" y="696"/>
                </a:lnTo>
                <a:cubicBezTo>
                  <a:pt x="928" y="696"/>
                  <a:pt x="928" y="696"/>
                  <a:pt x="928" y="696"/>
                </a:cubicBezTo>
                <a:cubicBezTo>
                  <a:pt x="928" y="698"/>
                  <a:pt x="922" y="703"/>
                  <a:pt x="910" y="713"/>
                </a:cubicBezTo>
                <a:cubicBezTo>
                  <a:pt x="890" y="728"/>
                  <a:pt x="870" y="742"/>
                  <a:pt x="849" y="753"/>
                </a:cubicBezTo>
                <a:cubicBezTo>
                  <a:pt x="829" y="764"/>
                  <a:pt x="814" y="771"/>
                  <a:pt x="804" y="773"/>
                </a:cubicBezTo>
                <a:cubicBezTo>
                  <a:pt x="800" y="773"/>
                  <a:pt x="797" y="772"/>
                  <a:pt x="795" y="770"/>
                </a:cubicBezTo>
                <a:cubicBezTo>
                  <a:pt x="793" y="768"/>
                  <a:pt x="792" y="766"/>
                  <a:pt x="791" y="763"/>
                </a:cubicBezTo>
                <a:cubicBezTo>
                  <a:pt x="791" y="761"/>
                  <a:pt x="789" y="760"/>
                  <a:pt x="787" y="760"/>
                </a:cubicBezTo>
                <a:cubicBezTo>
                  <a:pt x="784" y="760"/>
                  <a:pt x="781" y="758"/>
                  <a:pt x="779" y="755"/>
                </a:cubicBezTo>
                <a:cubicBezTo>
                  <a:pt x="777" y="752"/>
                  <a:pt x="776" y="748"/>
                  <a:pt x="776" y="745"/>
                </a:cubicBezTo>
                <a:cubicBezTo>
                  <a:pt x="776" y="742"/>
                  <a:pt x="777" y="740"/>
                  <a:pt x="778" y="738"/>
                </a:cubicBezTo>
                <a:cubicBezTo>
                  <a:pt x="779" y="737"/>
                  <a:pt x="779" y="735"/>
                  <a:pt x="779" y="735"/>
                </a:cubicBezTo>
                <a:cubicBezTo>
                  <a:pt x="779" y="734"/>
                  <a:pt x="779" y="734"/>
                  <a:pt x="778" y="734"/>
                </a:cubicBezTo>
                <a:lnTo>
                  <a:pt x="775" y="736"/>
                </a:lnTo>
                <a:cubicBezTo>
                  <a:pt x="775" y="736"/>
                  <a:pt x="774" y="735"/>
                  <a:pt x="774" y="735"/>
                </a:cubicBezTo>
                <a:cubicBezTo>
                  <a:pt x="774" y="734"/>
                  <a:pt x="775" y="733"/>
                  <a:pt x="777" y="732"/>
                </a:cubicBezTo>
                <a:lnTo>
                  <a:pt x="782" y="727"/>
                </a:lnTo>
                <a:lnTo>
                  <a:pt x="780" y="731"/>
                </a:lnTo>
                <a:lnTo>
                  <a:pt x="782" y="730"/>
                </a:lnTo>
                <a:cubicBezTo>
                  <a:pt x="784" y="728"/>
                  <a:pt x="786" y="725"/>
                  <a:pt x="786" y="723"/>
                </a:cubicBezTo>
                <a:cubicBezTo>
                  <a:pt x="786" y="722"/>
                  <a:pt x="785" y="721"/>
                  <a:pt x="784" y="721"/>
                </a:cubicBezTo>
                <a:lnTo>
                  <a:pt x="784" y="723"/>
                </a:lnTo>
                <a:lnTo>
                  <a:pt x="784" y="725"/>
                </a:lnTo>
                <a:lnTo>
                  <a:pt x="782" y="723"/>
                </a:lnTo>
                <a:lnTo>
                  <a:pt x="783" y="727"/>
                </a:lnTo>
                <a:lnTo>
                  <a:pt x="782" y="725"/>
                </a:lnTo>
                <a:cubicBezTo>
                  <a:pt x="781" y="725"/>
                  <a:pt x="781" y="725"/>
                  <a:pt x="781" y="724"/>
                </a:cubicBezTo>
                <a:cubicBezTo>
                  <a:pt x="781" y="724"/>
                  <a:pt x="781" y="723"/>
                  <a:pt x="781" y="723"/>
                </a:cubicBezTo>
                <a:cubicBezTo>
                  <a:pt x="781" y="722"/>
                  <a:pt x="781" y="722"/>
                  <a:pt x="782" y="721"/>
                </a:cubicBezTo>
                <a:cubicBezTo>
                  <a:pt x="782" y="721"/>
                  <a:pt x="782" y="720"/>
                  <a:pt x="782" y="719"/>
                </a:cubicBezTo>
                <a:cubicBezTo>
                  <a:pt x="782" y="718"/>
                  <a:pt x="783" y="718"/>
                  <a:pt x="784" y="718"/>
                </a:cubicBezTo>
                <a:cubicBezTo>
                  <a:pt x="785" y="719"/>
                  <a:pt x="785" y="719"/>
                  <a:pt x="785" y="720"/>
                </a:cubicBezTo>
                <a:cubicBezTo>
                  <a:pt x="785" y="720"/>
                  <a:pt x="786" y="721"/>
                  <a:pt x="788" y="721"/>
                </a:cubicBezTo>
                <a:lnTo>
                  <a:pt x="790" y="720"/>
                </a:lnTo>
                <a:lnTo>
                  <a:pt x="790" y="719"/>
                </a:lnTo>
                <a:cubicBezTo>
                  <a:pt x="790" y="718"/>
                  <a:pt x="792" y="716"/>
                  <a:pt x="796" y="714"/>
                </a:cubicBezTo>
                <a:cubicBezTo>
                  <a:pt x="800" y="712"/>
                  <a:pt x="804" y="710"/>
                  <a:pt x="807" y="708"/>
                </a:cubicBezTo>
                <a:cubicBezTo>
                  <a:pt x="810" y="705"/>
                  <a:pt x="812" y="704"/>
                  <a:pt x="812" y="703"/>
                </a:cubicBezTo>
                <a:lnTo>
                  <a:pt x="811" y="703"/>
                </a:lnTo>
                <a:cubicBezTo>
                  <a:pt x="810" y="703"/>
                  <a:pt x="808" y="704"/>
                  <a:pt x="806" y="705"/>
                </a:cubicBezTo>
                <a:lnTo>
                  <a:pt x="804" y="706"/>
                </a:lnTo>
                <a:cubicBezTo>
                  <a:pt x="804" y="706"/>
                  <a:pt x="805" y="705"/>
                  <a:pt x="806" y="704"/>
                </a:cubicBezTo>
                <a:cubicBezTo>
                  <a:pt x="808" y="702"/>
                  <a:pt x="810" y="702"/>
                  <a:pt x="812" y="702"/>
                </a:cubicBezTo>
                <a:cubicBezTo>
                  <a:pt x="815" y="702"/>
                  <a:pt x="817" y="701"/>
                  <a:pt x="818" y="700"/>
                </a:cubicBezTo>
                <a:cubicBezTo>
                  <a:pt x="818" y="699"/>
                  <a:pt x="819" y="699"/>
                  <a:pt x="821" y="699"/>
                </a:cubicBezTo>
                <a:lnTo>
                  <a:pt x="821" y="699"/>
                </a:lnTo>
                <a:cubicBezTo>
                  <a:pt x="822" y="699"/>
                  <a:pt x="822" y="699"/>
                  <a:pt x="822" y="698"/>
                </a:cubicBezTo>
                <a:cubicBezTo>
                  <a:pt x="822" y="697"/>
                  <a:pt x="822" y="697"/>
                  <a:pt x="823" y="697"/>
                </a:cubicBezTo>
                <a:lnTo>
                  <a:pt x="824" y="697"/>
                </a:lnTo>
                <a:cubicBezTo>
                  <a:pt x="824" y="697"/>
                  <a:pt x="825" y="696"/>
                  <a:pt x="826" y="695"/>
                </a:cubicBezTo>
                <a:lnTo>
                  <a:pt x="827" y="693"/>
                </a:lnTo>
                <a:lnTo>
                  <a:pt x="829" y="693"/>
                </a:lnTo>
                <a:cubicBezTo>
                  <a:pt x="830" y="693"/>
                  <a:pt x="832" y="693"/>
                  <a:pt x="834" y="692"/>
                </a:cubicBezTo>
                <a:cubicBezTo>
                  <a:pt x="839" y="691"/>
                  <a:pt x="841" y="689"/>
                  <a:pt x="841" y="688"/>
                </a:cubicBezTo>
                <a:cubicBezTo>
                  <a:pt x="841" y="687"/>
                  <a:pt x="843" y="687"/>
                  <a:pt x="845" y="687"/>
                </a:cubicBezTo>
                <a:cubicBezTo>
                  <a:pt x="848" y="687"/>
                  <a:pt x="849" y="686"/>
                  <a:pt x="850" y="685"/>
                </a:cubicBezTo>
                <a:cubicBezTo>
                  <a:pt x="850" y="683"/>
                  <a:pt x="851" y="683"/>
                  <a:pt x="852" y="683"/>
                </a:cubicBezTo>
                <a:lnTo>
                  <a:pt x="855" y="683"/>
                </a:lnTo>
                <a:cubicBezTo>
                  <a:pt x="856" y="683"/>
                  <a:pt x="857" y="682"/>
                  <a:pt x="857" y="681"/>
                </a:cubicBezTo>
                <a:lnTo>
                  <a:pt x="857" y="681"/>
                </a:lnTo>
                <a:cubicBezTo>
                  <a:pt x="857" y="679"/>
                  <a:pt x="859" y="678"/>
                  <a:pt x="863" y="676"/>
                </a:cubicBezTo>
                <a:cubicBezTo>
                  <a:pt x="864" y="676"/>
                  <a:pt x="866" y="676"/>
                  <a:pt x="868" y="676"/>
                </a:cubicBezTo>
                <a:cubicBezTo>
                  <a:pt x="870" y="676"/>
                  <a:pt x="872" y="675"/>
                  <a:pt x="873" y="673"/>
                </a:cubicBezTo>
                <a:cubicBezTo>
                  <a:pt x="875" y="672"/>
                  <a:pt x="876" y="671"/>
                  <a:pt x="876" y="671"/>
                </a:cubicBezTo>
                <a:cubicBezTo>
                  <a:pt x="877" y="671"/>
                  <a:pt x="878" y="671"/>
                  <a:pt x="879" y="672"/>
                </a:cubicBezTo>
                <a:lnTo>
                  <a:pt x="881" y="674"/>
                </a:lnTo>
                <a:lnTo>
                  <a:pt x="880" y="671"/>
                </a:lnTo>
                <a:cubicBezTo>
                  <a:pt x="880" y="669"/>
                  <a:pt x="881" y="669"/>
                  <a:pt x="882" y="669"/>
                </a:cubicBezTo>
                <a:cubicBezTo>
                  <a:pt x="882" y="669"/>
                  <a:pt x="883" y="669"/>
                  <a:pt x="883" y="670"/>
                </a:cubicBezTo>
                <a:cubicBezTo>
                  <a:pt x="884" y="671"/>
                  <a:pt x="884" y="671"/>
                  <a:pt x="885" y="671"/>
                </a:cubicBezTo>
                <a:cubicBezTo>
                  <a:pt x="885" y="671"/>
                  <a:pt x="886" y="670"/>
                  <a:pt x="887" y="669"/>
                </a:cubicBezTo>
                <a:cubicBezTo>
                  <a:pt x="887" y="669"/>
                  <a:pt x="888" y="668"/>
                  <a:pt x="890" y="667"/>
                </a:cubicBezTo>
                <a:cubicBezTo>
                  <a:pt x="891" y="667"/>
                  <a:pt x="893" y="666"/>
                  <a:pt x="895" y="666"/>
                </a:cubicBezTo>
                <a:cubicBezTo>
                  <a:pt x="896" y="666"/>
                  <a:pt x="898" y="666"/>
                  <a:pt x="899" y="665"/>
                </a:cubicBezTo>
                <a:cubicBezTo>
                  <a:pt x="901" y="664"/>
                  <a:pt x="902" y="663"/>
                  <a:pt x="903" y="662"/>
                </a:cubicBezTo>
                <a:lnTo>
                  <a:pt x="904" y="661"/>
                </a:lnTo>
                <a:lnTo>
                  <a:pt x="903" y="664"/>
                </a:lnTo>
                <a:cubicBezTo>
                  <a:pt x="903" y="664"/>
                  <a:pt x="904" y="664"/>
                  <a:pt x="905" y="663"/>
                </a:cubicBezTo>
                <a:cubicBezTo>
                  <a:pt x="906" y="662"/>
                  <a:pt x="907" y="661"/>
                  <a:pt x="908" y="661"/>
                </a:cubicBezTo>
                <a:cubicBezTo>
                  <a:pt x="910" y="660"/>
                  <a:pt x="910" y="660"/>
                  <a:pt x="910" y="660"/>
                </a:cubicBezTo>
                <a:cubicBezTo>
                  <a:pt x="910" y="660"/>
                  <a:pt x="911" y="660"/>
                  <a:pt x="911" y="660"/>
                </a:cubicBezTo>
                <a:cubicBezTo>
                  <a:pt x="911" y="659"/>
                  <a:pt x="913" y="657"/>
                  <a:pt x="915" y="654"/>
                </a:cubicBezTo>
                <a:lnTo>
                  <a:pt x="913" y="656"/>
                </a:lnTo>
                <a:cubicBezTo>
                  <a:pt x="911" y="657"/>
                  <a:pt x="910" y="658"/>
                  <a:pt x="910" y="658"/>
                </a:cubicBezTo>
                <a:cubicBezTo>
                  <a:pt x="910" y="658"/>
                  <a:pt x="911" y="656"/>
                  <a:pt x="913" y="654"/>
                </a:cubicBezTo>
                <a:cubicBezTo>
                  <a:pt x="914" y="652"/>
                  <a:pt x="915" y="651"/>
                  <a:pt x="917" y="650"/>
                </a:cubicBezTo>
                <a:lnTo>
                  <a:pt x="919" y="648"/>
                </a:lnTo>
                <a:cubicBezTo>
                  <a:pt x="919" y="649"/>
                  <a:pt x="918" y="649"/>
                  <a:pt x="917" y="651"/>
                </a:cubicBezTo>
                <a:cubicBezTo>
                  <a:pt x="916" y="652"/>
                  <a:pt x="916" y="653"/>
                  <a:pt x="916" y="653"/>
                </a:cubicBezTo>
                <a:cubicBezTo>
                  <a:pt x="916" y="654"/>
                  <a:pt x="916" y="654"/>
                  <a:pt x="916" y="654"/>
                </a:cubicBezTo>
                <a:cubicBezTo>
                  <a:pt x="917" y="654"/>
                  <a:pt x="918" y="653"/>
                  <a:pt x="919" y="652"/>
                </a:cubicBezTo>
                <a:cubicBezTo>
                  <a:pt x="920" y="652"/>
                  <a:pt x="921" y="650"/>
                  <a:pt x="922" y="649"/>
                </a:cubicBezTo>
                <a:cubicBezTo>
                  <a:pt x="924" y="647"/>
                  <a:pt x="924" y="646"/>
                  <a:pt x="924" y="645"/>
                </a:cubicBezTo>
                <a:cubicBezTo>
                  <a:pt x="924" y="645"/>
                  <a:pt x="924" y="644"/>
                  <a:pt x="924" y="644"/>
                </a:cubicBezTo>
                <a:cubicBezTo>
                  <a:pt x="925" y="642"/>
                  <a:pt x="926" y="641"/>
                  <a:pt x="926" y="640"/>
                </a:cubicBezTo>
                <a:cubicBezTo>
                  <a:pt x="926" y="640"/>
                  <a:pt x="927" y="639"/>
                  <a:pt x="928" y="639"/>
                </a:cubicBezTo>
                <a:lnTo>
                  <a:pt x="930" y="638"/>
                </a:lnTo>
                <a:cubicBezTo>
                  <a:pt x="932" y="638"/>
                  <a:pt x="937" y="632"/>
                  <a:pt x="945" y="621"/>
                </a:cubicBezTo>
                <a:lnTo>
                  <a:pt x="949" y="616"/>
                </a:lnTo>
                <a:lnTo>
                  <a:pt x="945" y="626"/>
                </a:lnTo>
                <a:cubicBezTo>
                  <a:pt x="944" y="629"/>
                  <a:pt x="943" y="630"/>
                  <a:pt x="943" y="630"/>
                </a:cubicBezTo>
                <a:cubicBezTo>
                  <a:pt x="942" y="630"/>
                  <a:pt x="941" y="630"/>
                  <a:pt x="941" y="631"/>
                </a:cubicBezTo>
                <a:cubicBezTo>
                  <a:pt x="941" y="631"/>
                  <a:pt x="942" y="632"/>
                  <a:pt x="942" y="632"/>
                </a:cubicBezTo>
                <a:cubicBezTo>
                  <a:pt x="942" y="633"/>
                  <a:pt x="943" y="633"/>
                  <a:pt x="943" y="634"/>
                </a:cubicBezTo>
                <a:lnTo>
                  <a:pt x="941" y="633"/>
                </a:lnTo>
                <a:cubicBezTo>
                  <a:pt x="941" y="633"/>
                  <a:pt x="940" y="633"/>
                  <a:pt x="939" y="634"/>
                </a:cubicBezTo>
                <a:cubicBezTo>
                  <a:pt x="938" y="635"/>
                  <a:pt x="937" y="636"/>
                  <a:pt x="937" y="637"/>
                </a:cubicBezTo>
                <a:lnTo>
                  <a:pt x="936" y="641"/>
                </a:lnTo>
                <a:cubicBezTo>
                  <a:pt x="936" y="642"/>
                  <a:pt x="933" y="646"/>
                  <a:pt x="927" y="653"/>
                </a:cubicBezTo>
                <a:lnTo>
                  <a:pt x="922" y="659"/>
                </a:lnTo>
                <a:cubicBezTo>
                  <a:pt x="922" y="659"/>
                  <a:pt x="925" y="659"/>
                  <a:pt x="928" y="658"/>
                </a:cubicBezTo>
                <a:cubicBezTo>
                  <a:pt x="933" y="656"/>
                  <a:pt x="937" y="654"/>
                  <a:pt x="939" y="652"/>
                </a:cubicBezTo>
                <a:cubicBezTo>
                  <a:pt x="940" y="651"/>
                  <a:pt x="940" y="651"/>
                  <a:pt x="940" y="650"/>
                </a:cubicBezTo>
                <a:cubicBezTo>
                  <a:pt x="940" y="650"/>
                  <a:pt x="941" y="650"/>
                  <a:pt x="942" y="650"/>
                </a:cubicBezTo>
                <a:cubicBezTo>
                  <a:pt x="943" y="650"/>
                  <a:pt x="946" y="646"/>
                  <a:pt x="952" y="637"/>
                </a:cubicBezTo>
                <a:cubicBezTo>
                  <a:pt x="957" y="629"/>
                  <a:pt x="960" y="624"/>
                  <a:pt x="960" y="623"/>
                </a:cubicBezTo>
                <a:cubicBezTo>
                  <a:pt x="960" y="622"/>
                  <a:pt x="960" y="621"/>
                  <a:pt x="961" y="620"/>
                </a:cubicBezTo>
                <a:cubicBezTo>
                  <a:pt x="964" y="616"/>
                  <a:pt x="966" y="613"/>
                  <a:pt x="966" y="611"/>
                </a:cubicBezTo>
                <a:cubicBezTo>
                  <a:pt x="966" y="610"/>
                  <a:pt x="966" y="610"/>
                  <a:pt x="965" y="610"/>
                </a:cubicBezTo>
                <a:cubicBezTo>
                  <a:pt x="965" y="610"/>
                  <a:pt x="965" y="611"/>
                  <a:pt x="963" y="613"/>
                </a:cubicBezTo>
                <a:cubicBezTo>
                  <a:pt x="962" y="615"/>
                  <a:pt x="961" y="617"/>
                  <a:pt x="959" y="620"/>
                </a:cubicBezTo>
                <a:cubicBezTo>
                  <a:pt x="958" y="622"/>
                  <a:pt x="956" y="625"/>
                  <a:pt x="955" y="627"/>
                </a:cubicBezTo>
                <a:cubicBezTo>
                  <a:pt x="954" y="629"/>
                  <a:pt x="953" y="630"/>
                  <a:pt x="953" y="630"/>
                </a:cubicBezTo>
                <a:cubicBezTo>
                  <a:pt x="952" y="630"/>
                  <a:pt x="952" y="631"/>
                  <a:pt x="951" y="634"/>
                </a:cubicBezTo>
                <a:cubicBezTo>
                  <a:pt x="951" y="636"/>
                  <a:pt x="950" y="637"/>
                  <a:pt x="949" y="637"/>
                </a:cubicBezTo>
                <a:lnTo>
                  <a:pt x="949" y="637"/>
                </a:lnTo>
                <a:cubicBezTo>
                  <a:pt x="948" y="637"/>
                  <a:pt x="947" y="638"/>
                  <a:pt x="944" y="642"/>
                </a:cubicBezTo>
                <a:cubicBezTo>
                  <a:pt x="942" y="645"/>
                  <a:pt x="940" y="647"/>
                  <a:pt x="939" y="647"/>
                </a:cubicBezTo>
                <a:lnTo>
                  <a:pt x="939" y="646"/>
                </a:lnTo>
                <a:cubicBezTo>
                  <a:pt x="939" y="645"/>
                  <a:pt x="940" y="644"/>
                  <a:pt x="941" y="643"/>
                </a:cubicBezTo>
                <a:cubicBezTo>
                  <a:pt x="942" y="642"/>
                  <a:pt x="942" y="642"/>
                  <a:pt x="942" y="642"/>
                </a:cubicBezTo>
                <a:cubicBezTo>
                  <a:pt x="943" y="641"/>
                  <a:pt x="943" y="640"/>
                  <a:pt x="943" y="639"/>
                </a:cubicBezTo>
                <a:lnTo>
                  <a:pt x="943" y="639"/>
                </a:lnTo>
                <a:cubicBezTo>
                  <a:pt x="943" y="637"/>
                  <a:pt x="944" y="635"/>
                  <a:pt x="947" y="632"/>
                </a:cubicBezTo>
                <a:cubicBezTo>
                  <a:pt x="948" y="631"/>
                  <a:pt x="950" y="630"/>
                  <a:pt x="951" y="628"/>
                </a:cubicBezTo>
                <a:cubicBezTo>
                  <a:pt x="952" y="627"/>
                  <a:pt x="952" y="626"/>
                  <a:pt x="952" y="625"/>
                </a:cubicBezTo>
                <a:cubicBezTo>
                  <a:pt x="952" y="623"/>
                  <a:pt x="953" y="621"/>
                  <a:pt x="955" y="619"/>
                </a:cubicBezTo>
                <a:lnTo>
                  <a:pt x="957" y="616"/>
                </a:lnTo>
                <a:lnTo>
                  <a:pt x="958" y="613"/>
                </a:lnTo>
                <a:cubicBezTo>
                  <a:pt x="958" y="612"/>
                  <a:pt x="958" y="612"/>
                  <a:pt x="959" y="612"/>
                </a:cubicBezTo>
                <a:cubicBezTo>
                  <a:pt x="960" y="612"/>
                  <a:pt x="960" y="610"/>
                  <a:pt x="961" y="606"/>
                </a:cubicBezTo>
                <a:cubicBezTo>
                  <a:pt x="963" y="596"/>
                  <a:pt x="965" y="589"/>
                  <a:pt x="965" y="585"/>
                </a:cubicBezTo>
                <a:cubicBezTo>
                  <a:pt x="965" y="582"/>
                  <a:pt x="962" y="580"/>
                  <a:pt x="957" y="579"/>
                </a:cubicBezTo>
                <a:cubicBezTo>
                  <a:pt x="953" y="578"/>
                  <a:pt x="949" y="577"/>
                  <a:pt x="945" y="577"/>
                </a:cubicBezTo>
                <a:cubicBezTo>
                  <a:pt x="928" y="577"/>
                  <a:pt x="909" y="585"/>
                  <a:pt x="889" y="600"/>
                </a:cubicBezTo>
                <a:cubicBezTo>
                  <a:pt x="888" y="601"/>
                  <a:pt x="886" y="602"/>
                  <a:pt x="883" y="604"/>
                </a:cubicBezTo>
                <a:lnTo>
                  <a:pt x="880" y="605"/>
                </a:lnTo>
                <a:lnTo>
                  <a:pt x="879" y="607"/>
                </a:lnTo>
                <a:cubicBezTo>
                  <a:pt x="877" y="609"/>
                  <a:pt x="876" y="610"/>
                  <a:pt x="875" y="610"/>
                </a:cubicBezTo>
                <a:cubicBezTo>
                  <a:pt x="873" y="610"/>
                  <a:pt x="872" y="610"/>
                  <a:pt x="872" y="611"/>
                </a:cubicBezTo>
                <a:cubicBezTo>
                  <a:pt x="872" y="612"/>
                  <a:pt x="868" y="616"/>
                  <a:pt x="859" y="623"/>
                </a:cubicBezTo>
                <a:cubicBezTo>
                  <a:pt x="830" y="649"/>
                  <a:pt x="804" y="679"/>
                  <a:pt x="781" y="712"/>
                </a:cubicBezTo>
                <a:cubicBezTo>
                  <a:pt x="757" y="745"/>
                  <a:pt x="744" y="771"/>
                  <a:pt x="742" y="789"/>
                </a:cubicBezTo>
                <a:cubicBezTo>
                  <a:pt x="742" y="795"/>
                  <a:pt x="741" y="797"/>
                  <a:pt x="739" y="797"/>
                </a:cubicBezTo>
                <a:lnTo>
                  <a:pt x="738" y="797"/>
                </a:lnTo>
                <a:lnTo>
                  <a:pt x="737" y="798"/>
                </a:lnTo>
                <a:cubicBezTo>
                  <a:pt x="737" y="798"/>
                  <a:pt x="737" y="798"/>
                  <a:pt x="737" y="798"/>
                </a:cubicBezTo>
                <a:cubicBezTo>
                  <a:pt x="737" y="800"/>
                  <a:pt x="737" y="800"/>
                  <a:pt x="737" y="800"/>
                </a:cubicBezTo>
                <a:cubicBezTo>
                  <a:pt x="737" y="800"/>
                  <a:pt x="736" y="801"/>
                  <a:pt x="735" y="804"/>
                </a:cubicBezTo>
                <a:cubicBezTo>
                  <a:pt x="734" y="806"/>
                  <a:pt x="733" y="808"/>
                  <a:pt x="732" y="811"/>
                </a:cubicBezTo>
                <a:lnTo>
                  <a:pt x="711" y="873"/>
                </a:lnTo>
                <a:cubicBezTo>
                  <a:pt x="711" y="874"/>
                  <a:pt x="711" y="875"/>
                  <a:pt x="710" y="878"/>
                </a:cubicBezTo>
                <a:cubicBezTo>
                  <a:pt x="709" y="880"/>
                  <a:pt x="708" y="883"/>
                  <a:pt x="707" y="887"/>
                </a:cubicBezTo>
                <a:cubicBezTo>
                  <a:pt x="702" y="903"/>
                  <a:pt x="695" y="924"/>
                  <a:pt x="687" y="951"/>
                </a:cubicBezTo>
                <a:cubicBezTo>
                  <a:pt x="669" y="1008"/>
                  <a:pt x="658" y="1045"/>
                  <a:pt x="655" y="1062"/>
                </a:cubicBezTo>
                <a:cubicBezTo>
                  <a:pt x="653" y="1071"/>
                  <a:pt x="652" y="1079"/>
                  <a:pt x="652" y="1086"/>
                </a:cubicBezTo>
                <a:cubicBezTo>
                  <a:pt x="652" y="1096"/>
                  <a:pt x="651" y="1102"/>
                  <a:pt x="649" y="1102"/>
                </a:cubicBezTo>
                <a:close/>
                <a:moveTo>
                  <a:pt x="729" y="785"/>
                </a:moveTo>
                <a:cubicBezTo>
                  <a:pt x="729" y="785"/>
                  <a:pt x="730" y="784"/>
                  <a:pt x="731" y="781"/>
                </a:cubicBezTo>
                <a:lnTo>
                  <a:pt x="732" y="779"/>
                </a:lnTo>
                <a:cubicBezTo>
                  <a:pt x="732" y="779"/>
                  <a:pt x="732" y="779"/>
                  <a:pt x="731" y="779"/>
                </a:cubicBezTo>
                <a:cubicBezTo>
                  <a:pt x="729" y="779"/>
                  <a:pt x="729" y="780"/>
                  <a:pt x="729" y="784"/>
                </a:cubicBezTo>
                <a:cubicBezTo>
                  <a:pt x="729" y="784"/>
                  <a:pt x="729" y="785"/>
                  <a:pt x="729" y="785"/>
                </a:cubicBezTo>
                <a:close/>
                <a:moveTo>
                  <a:pt x="732" y="776"/>
                </a:moveTo>
                <a:cubicBezTo>
                  <a:pt x="733" y="776"/>
                  <a:pt x="735" y="772"/>
                  <a:pt x="737" y="763"/>
                </a:cubicBezTo>
                <a:cubicBezTo>
                  <a:pt x="740" y="756"/>
                  <a:pt x="741" y="751"/>
                  <a:pt x="741" y="749"/>
                </a:cubicBezTo>
                <a:cubicBezTo>
                  <a:pt x="741" y="747"/>
                  <a:pt x="741" y="747"/>
                  <a:pt x="740" y="747"/>
                </a:cubicBezTo>
                <a:cubicBezTo>
                  <a:pt x="739" y="747"/>
                  <a:pt x="738" y="749"/>
                  <a:pt x="737" y="753"/>
                </a:cubicBezTo>
                <a:cubicBezTo>
                  <a:pt x="736" y="757"/>
                  <a:pt x="734" y="759"/>
                  <a:pt x="732" y="759"/>
                </a:cubicBezTo>
                <a:lnTo>
                  <a:pt x="732" y="759"/>
                </a:lnTo>
                <a:cubicBezTo>
                  <a:pt x="732" y="759"/>
                  <a:pt x="731" y="759"/>
                  <a:pt x="731" y="759"/>
                </a:cubicBezTo>
                <a:cubicBezTo>
                  <a:pt x="731" y="760"/>
                  <a:pt x="732" y="761"/>
                  <a:pt x="732" y="763"/>
                </a:cubicBezTo>
                <a:cubicBezTo>
                  <a:pt x="733" y="764"/>
                  <a:pt x="733" y="766"/>
                  <a:pt x="733" y="766"/>
                </a:cubicBezTo>
                <a:lnTo>
                  <a:pt x="733" y="767"/>
                </a:lnTo>
                <a:lnTo>
                  <a:pt x="732" y="766"/>
                </a:lnTo>
                <a:cubicBezTo>
                  <a:pt x="731" y="766"/>
                  <a:pt x="731" y="767"/>
                  <a:pt x="731" y="769"/>
                </a:cubicBezTo>
                <a:cubicBezTo>
                  <a:pt x="731" y="774"/>
                  <a:pt x="731" y="776"/>
                  <a:pt x="732" y="776"/>
                </a:cubicBezTo>
                <a:close/>
                <a:moveTo>
                  <a:pt x="743" y="747"/>
                </a:moveTo>
                <a:cubicBezTo>
                  <a:pt x="744" y="747"/>
                  <a:pt x="744" y="744"/>
                  <a:pt x="746" y="740"/>
                </a:cubicBezTo>
                <a:lnTo>
                  <a:pt x="747" y="735"/>
                </a:lnTo>
                <a:cubicBezTo>
                  <a:pt x="747" y="735"/>
                  <a:pt x="746" y="736"/>
                  <a:pt x="744" y="738"/>
                </a:cubicBezTo>
                <a:cubicBezTo>
                  <a:pt x="743" y="741"/>
                  <a:pt x="742" y="743"/>
                  <a:pt x="742" y="744"/>
                </a:cubicBezTo>
                <a:cubicBezTo>
                  <a:pt x="742" y="746"/>
                  <a:pt x="742" y="747"/>
                  <a:pt x="743" y="747"/>
                </a:cubicBezTo>
                <a:close/>
                <a:moveTo>
                  <a:pt x="749" y="732"/>
                </a:moveTo>
                <a:cubicBezTo>
                  <a:pt x="749" y="732"/>
                  <a:pt x="749" y="732"/>
                  <a:pt x="749" y="731"/>
                </a:cubicBezTo>
                <a:lnTo>
                  <a:pt x="749" y="730"/>
                </a:lnTo>
                <a:cubicBezTo>
                  <a:pt x="749" y="728"/>
                  <a:pt x="749" y="727"/>
                  <a:pt x="747" y="727"/>
                </a:cubicBezTo>
                <a:cubicBezTo>
                  <a:pt x="746" y="727"/>
                  <a:pt x="746" y="727"/>
                  <a:pt x="746" y="728"/>
                </a:cubicBezTo>
                <a:cubicBezTo>
                  <a:pt x="746" y="728"/>
                  <a:pt x="746" y="729"/>
                  <a:pt x="746" y="729"/>
                </a:cubicBezTo>
                <a:cubicBezTo>
                  <a:pt x="747" y="729"/>
                  <a:pt x="747" y="730"/>
                  <a:pt x="749" y="732"/>
                </a:cubicBezTo>
                <a:close/>
                <a:moveTo>
                  <a:pt x="748" y="725"/>
                </a:moveTo>
                <a:cubicBezTo>
                  <a:pt x="748" y="725"/>
                  <a:pt x="749" y="724"/>
                  <a:pt x="750" y="722"/>
                </a:cubicBezTo>
                <a:lnTo>
                  <a:pt x="751" y="719"/>
                </a:lnTo>
                <a:cubicBezTo>
                  <a:pt x="751" y="719"/>
                  <a:pt x="750" y="720"/>
                  <a:pt x="749" y="721"/>
                </a:cubicBezTo>
                <a:cubicBezTo>
                  <a:pt x="747" y="723"/>
                  <a:pt x="747" y="724"/>
                  <a:pt x="747" y="725"/>
                </a:cubicBezTo>
                <a:cubicBezTo>
                  <a:pt x="747" y="725"/>
                  <a:pt x="747" y="725"/>
                  <a:pt x="748" y="725"/>
                </a:cubicBezTo>
                <a:close/>
                <a:moveTo>
                  <a:pt x="931" y="646"/>
                </a:moveTo>
                <a:cubicBezTo>
                  <a:pt x="932" y="646"/>
                  <a:pt x="933" y="645"/>
                  <a:pt x="933" y="644"/>
                </a:cubicBezTo>
                <a:cubicBezTo>
                  <a:pt x="934" y="642"/>
                  <a:pt x="935" y="641"/>
                  <a:pt x="935" y="641"/>
                </a:cubicBezTo>
                <a:lnTo>
                  <a:pt x="933" y="643"/>
                </a:lnTo>
                <a:cubicBezTo>
                  <a:pt x="931" y="644"/>
                  <a:pt x="930" y="645"/>
                  <a:pt x="930" y="646"/>
                </a:cubicBezTo>
                <a:cubicBezTo>
                  <a:pt x="930" y="646"/>
                  <a:pt x="930" y="646"/>
                  <a:pt x="931" y="646"/>
                </a:cubicBezTo>
                <a:close/>
                <a:moveTo>
                  <a:pt x="925" y="644"/>
                </a:moveTo>
                <a:cubicBezTo>
                  <a:pt x="926" y="644"/>
                  <a:pt x="927" y="643"/>
                  <a:pt x="928" y="641"/>
                </a:cubicBezTo>
                <a:lnTo>
                  <a:pt x="930" y="639"/>
                </a:lnTo>
                <a:lnTo>
                  <a:pt x="927" y="641"/>
                </a:lnTo>
                <a:lnTo>
                  <a:pt x="925" y="644"/>
                </a:lnTo>
                <a:cubicBezTo>
                  <a:pt x="925" y="644"/>
                  <a:pt x="925" y="644"/>
                  <a:pt x="925" y="644"/>
                </a:cubicBezTo>
                <a:close/>
                <a:moveTo>
                  <a:pt x="783" y="758"/>
                </a:moveTo>
                <a:cubicBezTo>
                  <a:pt x="783" y="758"/>
                  <a:pt x="784" y="757"/>
                  <a:pt x="784" y="756"/>
                </a:cubicBezTo>
                <a:cubicBezTo>
                  <a:pt x="784" y="755"/>
                  <a:pt x="783" y="754"/>
                  <a:pt x="782" y="754"/>
                </a:cubicBezTo>
                <a:cubicBezTo>
                  <a:pt x="781" y="754"/>
                  <a:pt x="780" y="754"/>
                  <a:pt x="780" y="755"/>
                </a:cubicBezTo>
                <a:cubicBezTo>
                  <a:pt x="780" y="756"/>
                  <a:pt x="780" y="756"/>
                  <a:pt x="781" y="756"/>
                </a:cubicBezTo>
                <a:cubicBezTo>
                  <a:pt x="781" y="756"/>
                  <a:pt x="781" y="757"/>
                  <a:pt x="783" y="758"/>
                </a:cubicBezTo>
                <a:close/>
                <a:moveTo>
                  <a:pt x="788" y="758"/>
                </a:moveTo>
                <a:cubicBezTo>
                  <a:pt x="789" y="758"/>
                  <a:pt x="790" y="757"/>
                  <a:pt x="790" y="757"/>
                </a:cubicBezTo>
                <a:lnTo>
                  <a:pt x="789" y="756"/>
                </a:lnTo>
                <a:cubicBezTo>
                  <a:pt x="789" y="756"/>
                  <a:pt x="789" y="755"/>
                  <a:pt x="788" y="755"/>
                </a:cubicBezTo>
                <a:cubicBezTo>
                  <a:pt x="788" y="754"/>
                  <a:pt x="787" y="754"/>
                  <a:pt x="786" y="754"/>
                </a:cubicBezTo>
                <a:cubicBezTo>
                  <a:pt x="786" y="754"/>
                  <a:pt x="786" y="755"/>
                  <a:pt x="786" y="756"/>
                </a:cubicBezTo>
                <a:lnTo>
                  <a:pt x="786" y="757"/>
                </a:lnTo>
                <a:cubicBezTo>
                  <a:pt x="786" y="757"/>
                  <a:pt x="786" y="758"/>
                  <a:pt x="788" y="758"/>
                </a:cubicBezTo>
                <a:close/>
                <a:moveTo>
                  <a:pt x="787" y="743"/>
                </a:moveTo>
                <a:cubicBezTo>
                  <a:pt x="788" y="743"/>
                  <a:pt x="789" y="741"/>
                  <a:pt x="791" y="739"/>
                </a:cubicBezTo>
                <a:cubicBezTo>
                  <a:pt x="794" y="736"/>
                  <a:pt x="796" y="735"/>
                  <a:pt x="796" y="735"/>
                </a:cubicBezTo>
                <a:lnTo>
                  <a:pt x="797" y="736"/>
                </a:lnTo>
                <a:cubicBezTo>
                  <a:pt x="798" y="736"/>
                  <a:pt x="798" y="735"/>
                  <a:pt x="800" y="733"/>
                </a:cubicBezTo>
                <a:cubicBezTo>
                  <a:pt x="801" y="731"/>
                  <a:pt x="803" y="730"/>
                  <a:pt x="805" y="728"/>
                </a:cubicBezTo>
                <a:cubicBezTo>
                  <a:pt x="807" y="727"/>
                  <a:pt x="808" y="726"/>
                  <a:pt x="808" y="725"/>
                </a:cubicBezTo>
                <a:cubicBezTo>
                  <a:pt x="808" y="725"/>
                  <a:pt x="808" y="725"/>
                  <a:pt x="808" y="725"/>
                </a:cubicBezTo>
                <a:cubicBezTo>
                  <a:pt x="808" y="725"/>
                  <a:pt x="807" y="725"/>
                  <a:pt x="807" y="725"/>
                </a:cubicBezTo>
                <a:cubicBezTo>
                  <a:pt x="806" y="725"/>
                  <a:pt x="806" y="725"/>
                  <a:pt x="804" y="725"/>
                </a:cubicBezTo>
                <a:cubicBezTo>
                  <a:pt x="801" y="728"/>
                  <a:pt x="800" y="729"/>
                  <a:pt x="799" y="731"/>
                </a:cubicBezTo>
                <a:cubicBezTo>
                  <a:pt x="799" y="733"/>
                  <a:pt x="798" y="734"/>
                  <a:pt x="798" y="734"/>
                </a:cubicBezTo>
                <a:lnTo>
                  <a:pt x="796" y="734"/>
                </a:lnTo>
                <a:cubicBezTo>
                  <a:pt x="795" y="734"/>
                  <a:pt x="793" y="735"/>
                  <a:pt x="791" y="738"/>
                </a:cubicBezTo>
                <a:cubicBezTo>
                  <a:pt x="789" y="741"/>
                  <a:pt x="787" y="742"/>
                  <a:pt x="787" y="743"/>
                </a:cubicBezTo>
                <a:close/>
                <a:moveTo>
                  <a:pt x="840" y="708"/>
                </a:moveTo>
                <a:cubicBezTo>
                  <a:pt x="841" y="708"/>
                  <a:pt x="842" y="707"/>
                  <a:pt x="844" y="705"/>
                </a:cubicBezTo>
                <a:lnTo>
                  <a:pt x="845" y="703"/>
                </a:lnTo>
                <a:lnTo>
                  <a:pt x="842" y="705"/>
                </a:lnTo>
                <a:cubicBezTo>
                  <a:pt x="840" y="706"/>
                  <a:pt x="839" y="707"/>
                  <a:pt x="839" y="708"/>
                </a:cubicBezTo>
                <a:cubicBezTo>
                  <a:pt x="839" y="708"/>
                  <a:pt x="839" y="708"/>
                  <a:pt x="840" y="708"/>
                </a:cubicBezTo>
                <a:close/>
                <a:moveTo>
                  <a:pt x="817" y="720"/>
                </a:moveTo>
                <a:cubicBezTo>
                  <a:pt x="818" y="720"/>
                  <a:pt x="819" y="720"/>
                  <a:pt x="821" y="719"/>
                </a:cubicBezTo>
                <a:cubicBezTo>
                  <a:pt x="823" y="718"/>
                  <a:pt x="823" y="716"/>
                  <a:pt x="823" y="715"/>
                </a:cubicBezTo>
                <a:lnTo>
                  <a:pt x="823" y="715"/>
                </a:lnTo>
                <a:cubicBezTo>
                  <a:pt x="822" y="715"/>
                  <a:pt x="821" y="716"/>
                  <a:pt x="820" y="716"/>
                </a:cubicBezTo>
                <a:cubicBezTo>
                  <a:pt x="819" y="717"/>
                  <a:pt x="818" y="718"/>
                  <a:pt x="817" y="718"/>
                </a:cubicBezTo>
                <a:cubicBezTo>
                  <a:pt x="816" y="719"/>
                  <a:pt x="816" y="719"/>
                  <a:pt x="816" y="720"/>
                </a:cubicBezTo>
                <a:cubicBezTo>
                  <a:pt x="816" y="720"/>
                  <a:pt x="816" y="720"/>
                  <a:pt x="817" y="720"/>
                </a:cubicBezTo>
                <a:close/>
                <a:moveTo>
                  <a:pt x="820" y="743"/>
                </a:moveTo>
                <a:lnTo>
                  <a:pt x="827" y="741"/>
                </a:lnTo>
                <a:cubicBezTo>
                  <a:pt x="830" y="740"/>
                  <a:pt x="831" y="739"/>
                  <a:pt x="831" y="738"/>
                </a:cubicBezTo>
                <a:cubicBezTo>
                  <a:pt x="831" y="738"/>
                  <a:pt x="831" y="737"/>
                  <a:pt x="831" y="737"/>
                </a:cubicBezTo>
                <a:cubicBezTo>
                  <a:pt x="831" y="737"/>
                  <a:pt x="831" y="737"/>
                  <a:pt x="831" y="737"/>
                </a:cubicBezTo>
                <a:cubicBezTo>
                  <a:pt x="830" y="737"/>
                  <a:pt x="828" y="738"/>
                  <a:pt x="826" y="739"/>
                </a:cubicBezTo>
                <a:cubicBezTo>
                  <a:pt x="822" y="742"/>
                  <a:pt x="820" y="743"/>
                  <a:pt x="820" y="743"/>
                </a:cubicBezTo>
                <a:close/>
                <a:moveTo>
                  <a:pt x="826" y="715"/>
                </a:moveTo>
                <a:cubicBezTo>
                  <a:pt x="827" y="715"/>
                  <a:pt x="828" y="715"/>
                  <a:pt x="829" y="714"/>
                </a:cubicBezTo>
                <a:cubicBezTo>
                  <a:pt x="831" y="713"/>
                  <a:pt x="832" y="713"/>
                  <a:pt x="834" y="712"/>
                </a:cubicBezTo>
                <a:lnTo>
                  <a:pt x="835" y="712"/>
                </a:lnTo>
                <a:cubicBezTo>
                  <a:pt x="835" y="712"/>
                  <a:pt x="835" y="712"/>
                  <a:pt x="835" y="711"/>
                </a:cubicBezTo>
                <a:cubicBezTo>
                  <a:pt x="835" y="710"/>
                  <a:pt x="835" y="710"/>
                  <a:pt x="833" y="710"/>
                </a:cubicBezTo>
                <a:cubicBezTo>
                  <a:pt x="833" y="710"/>
                  <a:pt x="831" y="710"/>
                  <a:pt x="830" y="710"/>
                </a:cubicBezTo>
                <a:cubicBezTo>
                  <a:pt x="829" y="711"/>
                  <a:pt x="828" y="712"/>
                  <a:pt x="827" y="712"/>
                </a:cubicBezTo>
                <a:cubicBezTo>
                  <a:pt x="826" y="713"/>
                  <a:pt x="826" y="714"/>
                  <a:pt x="826" y="714"/>
                </a:cubicBezTo>
                <a:cubicBezTo>
                  <a:pt x="826" y="715"/>
                  <a:pt x="826" y="715"/>
                  <a:pt x="826" y="715"/>
                </a:cubicBezTo>
                <a:close/>
                <a:moveTo>
                  <a:pt x="838" y="735"/>
                </a:moveTo>
                <a:cubicBezTo>
                  <a:pt x="838" y="735"/>
                  <a:pt x="840" y="735"/>
                  <a:pt x="842" y="733"/>
                </a:cubicBezTo>
                <a:cubicBezTo>
                  <a:pt x="844" y="732"/>
                  <a:pt x="845" y="731"/>
                  <a:pt x="846" y="730"/>
                </a:cubicBezTo>
                <a:cubicBezTo>
                  <a:pt x="847" y="729"/>
                  <a:pt x="848" y="729"/>
                  <a:pt x="848" y="728"/>
                </a:cubicBezTo>
                <a:cubicBezTo>
                  <a:pt x="848" y="728"/>
                  <a:pt x="848" y="728"/>
                  <a:pt x="849" y="728"/>
                </a:cubicBezTo>
                <a:lnTo>
                  <a:pt x="851" y="728"/>
                </a:lnTo>
                <a:lnTo>
                  <a:pt x="851" y="728"/>
                </a:lnTo>
                <a:cubicBezTo>
                  <a:pt x="851" y="727"/>
                  <a:pt x="851" y="726"/>
                  <a:pt x="849" y="726"/>
                </a:cubicBezTo>
                <a:cubicBezTo>
                  <a:pt x="848" y="726"/>
                  <a:pt x="845" y="727"/>
                  <a:pt x="842" y="730"/>
                </a:cubicBezTo>
                <a:cubicBezTo>
                  <a:pt x="838" y="732"/>
                  <a:pt x="837" y="734"/>
                  <a:pt x="837" y="735"/>
                </a:cubicBezTo>
                <a:cubicBezTo>
                  <a:pt x="837" y="735"/>
                  <a:pt x="837" y="735"/>
                  <a:pt x="838" y="735"/>
                </a:cubicBezTo>
                <a:close/>
                <a:moveTo>
                  <a:pt x="858" y="723"/>
                </a:moveTo>
                <a:lnTo>
                  <a:pt x="860" y="722"/>
                </a:lnTo>
                <a:cubicBezTo>
                  <a:pt x="861" y="721"/>
                  <a:pt x="862" y="721"/>
                  <a:pt x="862" y="720"/>
                </a:cubicBezTo>
                <a:lnTo>
                  <a:pt x="862" y="720"/>
                </a:lnTo>
                <a:lnTo>
                  <a:pt x="861" y="720"/>
                </a:lnTo>
                <a:cubicBezTo>
                  <a:pt x="861" y="720"/>
                  <a:pt x="860" y="720"/>
                  <a:pt x="859" y="720"/>
                </a:cubicBezTo>
                <a:cubicBezTo>
                  <a:pt x="858" y="721"/>
                  <a:pt x="858" y="722"/>
                  <a:pt x="858" y="723"/>
                </a:cubicBezTo>
                <a:close/>
                <a:moveTo>
                  <a:pt x="901" y="683"/>
                </a:moveTo>
                <a:cubicBezTo>
                  <a:pt x="903" y="683"/>
                  <a:pt x="903" y="682"/>
                  <a:pt x="903" y="681"/>
                </a:cubicBezTo>
                <a:cubicBezTo>
                  <a:pt x="903" y="681"/>
                  <a:pt x="903" y="680"/>
                  <a:pt x="903" y="680"/>
                </a:cubicBezTo>
                <a:cubicBezTo>
                  <a:pt x="903" y="680"/>
                  <a:pt x="903" y="679"/>
                  <a:pt x="902" y="679"/>
                </a:cubicBezTo>
                <a:cubicBezTo>
                  <a:pt x="902" y="679"/>
                  <a:pt x="901" y="680"/>
                  <a:pt x="901" y="680"/>
                </a:cubicBezTo>
                <a:cubicBezTo>
                  <a:pt x="901" y="680"/>
                  <a:pt x="900" y="681"/>
                  <a:pt x="900" y="682"/>
                </a:cubicBezTo>
                <a:lnTo>
                  <a:pt x="900" y="683"/>
                </a:lnTo>
                <a:cubicBezTo>
                  <a:pt x="900" y="683"/>
                  <a:pt x="901" y="683"/>
                  <a:pt x="901" y="683"/>
                </a:cubicBezTo>
                <a:close/>
                <a:moveTo>
                  <a:pt x="913" y="707"/>
                </a:moveTo>
                <a:cubicBezTo>
                  <a:pt x="914" y="707"/>
                  <a:pt x="915" y="705"/>
                  <a:pt x="918" y="702"/>
                </a:cubicBezTo>
                <a:cubicBezTo>
                  <a:pt x="920" y="700"/>
                  <a:pt x="920" y="698"/>
                  <a:pt x="920" y="698"/>
                </a:cubicBezTo>
                <a:cubicBezTo>
                  <a:pt x="920" y="698"/>
                  <a:pt x="920" y="698"/>
                  <a:pt x="919" y="699"/>
                </a:cubicBezTo>
                <a:cubicBezTo>
                  <a:pt x="915" y="703"/>
                  <a:pt x="913" y="705"/>
                  <a:pt x="913" y="707"/>
                </a:cubicBezTo>
                <a:close/>
                <a:moveTo>
                  <a:pt x="907" y="681"/>
                </a:moveTo>
                <a:lnTo>
                  <a:pt x="908" y="679"/>
                </a:lnTo>
                <a:cubicBezTo>
                  <a:pt x="908" y="678"/>
                  <a:pt x="908" y="677"/>
                  <a:pt x="910" y="677"/>
                </a:cubicBezTo>
                <a:lnTo>
                  <a:pt x="915" y="677"/>
                </a:lnTo>
                <a:cubicBezTo>
                  <a:pt x="916" y="677"/>
                  <a:pt x="916" y="677"/>
                  <a:pt x="916" y="677"/>
                </a:cubicBezTo>
                <a:lnTo>
                  <a:pt x="915" y="674"/>
                </a:lnTo>
                <a:cubicBezTo>
                  <a:pt x="915" y="674"/>
                  <a:pt x="915" y="674"/>
                  <a:pt x="915" y="674"/>
                </a:cubicBezTo>
                <a:lnTo>
                  <a:pt x="918" y="675"/>
                </a:lnTo>
                <a:cubicBezTo>
                  <a:pt x="918" y="675"/>
                  <a:pt x="919" y="674"/>
                  <a:pt x="920" y="674"/>
                </a:cubicBezTo>
                <a:lnTo>
                  <a:pt x="920" y="671"/>
                </a:lnTo>
                <a:cubicBezTo>
                  <a:pt x="920" y="671"/>
                  <a:pt x="920" y="670"/>
                  <a:pt x="918" y="670"/>
                </a:cubicBezTo>
                <a:cubicBezTo>
                  <a:pt x="915" y="670"/>
                  <a:pt x="911" y="672"/>
                  <a:pt x="908" y="676"/>
                </a:cubicBezTo>
                <a:lnTo>
                  <a:pt x="906" y="679"/>
                </a:lnTo>
                <a:lnTo>
                  <a:pt x="907" y="681"/>
                </a:lnTo>
                <a:close/>
                <a:moveTo>
                  <a:pt x="927" y="668"/>
                </a:moveTo>
                <a:lnTo>
                  <a:pt x="931" y="663"/>
                </a:lnTo>
                <a:lnTo>
                  <a:pt x="928" y="665"/>
                </a:lnTo>
                <a:cubicBezTo>
                  <a:pt x="927" y="666"/>
                  <a:pt x="926" y="667"/>
                  <a:pt x="926" y="668"/>
                </a:cubicBezTo>
                <a:cubicBezTo>
                  <a:pt x="926" y="668"/>
                  <a:pt x="926" y="668"/>
                  <a:pt x="927" y="668"/>
                </a:cubicBezTo>
                <a:close/>
                <a:moveTo>
                  <a:pt x="1057" y="632"/>
                </a:moveTo>
                <a:cubicBezTo>
                  <a:pt x="1059" y="632"/>
                  <a:pt x="1060" y="631"/>
                  <a:pt x="1060" y="631"/>
                </a:cubicBezTo>
                <a:lnTo>
                  <a:pt x="1060" y="630"/>
                </a:lnTo>
                <a:lnTo>
                  <a:pt x="1059" y="630"/>
                </a:lnTo>
                <a:cubicBezTo>
                  <a:pt x="1057" y="630"/>
                  <a:pt x="1056" y="630"/>
                  <a:pt x="1056" y="631"/>
                </a:cubicBezTo>
                <a:lnTo>
                  <a:pt x="1057" y="632"/>
                </a:lnTo>
                <a:close/>
                <a:moveTo>
                  <a:pt x="1005" y="668"/>
                </a:moveTo>
                <a:cubicBezTo>
                  <a:pt x="1006" y="668"/>
                  <a:pt x="1007" y="668"/>
                  <a:pt x="1008" y="667"/>
                </a:cubicBezTo>
                <a:lnTo>
                  <a:pt x="1008" y="666"/>
                </a:lnTo>
                <a:cubicBezTo>
                  <a:pt x="1008" y="666"/>
                  <a:pt x="1007" y="665"/>
                  <a:pt x="1004" y="665"/>
                </a:cubicBezTo>
                <a:cubicBezTo>
                  <a:pt x="1003" y="665"/>
                  <a:pt x="1002" y="666"/>
                  <a:pt x="1002" y="666"/>
                </a:cubicBezTo>
                <a:cubicBezTo>
                  <a:pt x="1002" y="668"/>
                  <a:pt x="1003" y="668"/>
                  <a:pt x="1005" y="668"/>
                </a:cubicBezTo>
                <a:close/>
                <a:moveTo>
                  <a:pt x="1018" y="664"/>
                </a:moveTo>
                <a:lnTo>
                  <a:pt x="1020" y="663"/>
                </a:lnTo>
                <a:cubicBezTo>
                  <a:pt x="1021" y="663"/>
                  <a:pt x="1022" y="662"/>
                  <a:pt x="1022" y="662"/>
                </a:cubicBezTo>
                <a:lnTo>
                  <a:pt x="1022" y="661"/>
                </a:lnTo>
                <a:cubicBezTo>
                  <a:pt x="1022" y="661"/>
                  <a:pt x="1021" y="661"/>
                  <a:pt x="1020" y="661"/>
                </a:cubicBezTo>
                <a:cubicBezTo>
                  <a:pt x="1018" y="661"/>
                  <a:pt x="1017" y="661"/>
                  <a:pt x="1017" y="663"/>
                </a:cubicBezTo>
                <a:cubicBezTo>
                  <a:pt x="1017" y="664"/>
                  <a:pt x="1017" y="664"/>
                  <a:pt x="1018" y="664"/>
                </a:cubicBezTo>
                <a:close/>
                <a:moveTo>
                  <a:pt x="1027" y="663"/>
                </a:moveTo>
                <a:cubicBezTo>
                  <a:pt x="1028" y="663"/>
                  <a:pt x="1029" y="662"/>
                  <a:pt x="1029" y="661"/>
                </a:cubicBezTo>
                <a:cubicBezTo>
                  <a:pt x="1029" y="660"/>
                  <a:pt x="1029" y="659"/>
                  <a:pt x="1027" y="659"/>
                </a:cubicBezTo>
                <a:cubicBezTo>
                  <a:pt x="1026" y="659"/>
                  <a:pt x="1025" y="660"/>
                  <a:pt x="1025" y="661"/>
                </a:cubicBezTo>
                <a:cubicBezTo>
                  <a:pt x="1025" y="662"/>
                  <a:pt x="1025" y="663"/>
                  <a:pt x="1027" y="663"/>
                </a:cubicBezTo>
                <a:close/>
                <a:moveTo>
                  <a:pt x="1036" y="661"/>
                </a:moveTo>
                <a:cubicBezTo>
                  <a:pt x="1039" y="661"/>
                  <a:pt x="1040" y="660"/>
                  <a:pt x="1040" y="658"/>
                </a:cubicBezTo>
                <a:cubicBezTo>
                  <a:pt x="1040" y="658"/>
                  <a:pt x="1040" y="657"/>
                  <a:pt x="1040" y="657"/>
                </a:cubicBezTo>
                <a:cubicBezTo>
                  <a:pt x="1039" y="657"/>
                  <a:pt x="1037" y="658"/>
                  <a:pt x="1036" y="659"/>
                </a:cubicBezTo>
                <a:cubicBezTo>
                  <a:pt x="1035" y="660"/>
                  <a:pt x="1034" y="661"/>
                  <a:pt x="1034" y="661"/>
                </a:cubicBezTo>
                <a:lnTo>
                  <a:pt x="1036" y="661"/>
                </a:lnTo>
                <a:close/>
                <a:moveTo>
                  <a:pt x="979" y="660"/>
                </a:moveTo>
                <a:cubicBezTo>
                  <a:pt x="980" y="660"/>
                  <a:pt x="981" y="659"/>
                  <a:pt x="983" y="659"/>
                </a:cubicBezTo>
                <a:cubicBezTo>
                  <a:pt x="984" y="659"/>
                  <a:pt x="986" y="658"/>
                  <a:pt x="987" y="658"/>
                </a:cubicBezTo>
                <a:lnTo>
                  <a:pt x="988" y="659"/>
                </a:lnTo>
                <a:cubicBezTo>
                  <a:pt x="988" y="659"/>
                  <a:pt x="989" y="658"/>
                  <a:pt x="990" y="657"/>
                </a:cubicBezTo>
                <a:cubicBezTo>
                  <a:pt x="991" y="656"/>
                  <a:pt x="992" y="656"/>
                  <a:pt x="994" y="656"/>
                </a:cubicBezTo>
                <a:cubicBezTo>
                  <a:pt x="995" y="656"/>
                  <a:pt x="996" y="655"/>
                  <a:pt x="999" y="654"/>
                </a:cubicBezTo>
                <a:cubicBezTo>
                  <a:pt x="1001" y="654"/>
                  <a:pt x="1004" y="654"/>
                  <a:pt x="1010" y="654"/>
                </a:cubicBezTo>
                <a:cubicBezTo>
                  <a:pt x="1012" y="654"/>
                  <a:pt x="1014" y="653"/>
                  <a:pt x="1015" y="652"/>
                </a:cubicBezTo>
                <a:cubicBezTo>
                  <a:pt x="1015" y="651"/>
                  <a:pt x="1016" y="651"/>
                  <a:pt x="1017" y="651"/>
                </a:cubicBezTo>
                <a:lnTo>
                  <a:pt x="1020" y="651"/>
                </a:lnTo>
                <a:cubicBezTo>
                  <a:pt x="1020" y="651"/>
                  <a:pt x="1021" y="651"/>
                  <a:pt x="1021" y="650"/>
                </a:cubicBezTo>
                <a:lnTo>
                  <a:pt x="1021" y="649"/>
                </a:lnTo>
                <a:cubicBezTo>
                  <a:pt x="1021" y="649"/>
                  <a:pt x="1021" y="649"/>
                  <a:pt x="1022" y="649"/>
                </a:cubicBezTo>
                <a:cubicBezTo>
                  <a:pt x="1022" y="649"/>
                  <a:pt x="1023" y="649"/>
                  <a:pt x="1024" y="650"/>
                </a:cubicBezTo>
                <a:cubicBezTo>
                  <a:pt x="1025" y="651"/>
                  <a:pt x="1026" y="652"/>
                  <a:pt x="1026" y="652"/>
                </a:cubicBezTo>
                <a:lnTo>
                  <a:pt x="1024" y="649"/>
                </a:lnTo>
                <a:lnTo>
                  <a:pt x="1029" y="649"/>
                </a:lnTo>
                <a:cubicBezTo>
                  <a:pt x="1030" y="649"/>
                  <a:pt x="1031" y="649"/>
                  <a:pt x="1031" y="648"/>
                </a:cubicBezTo>
                <a:cubicBezTo>
                  <a:pt x="1031" y="647"/>
                  <a:pt x="1030" y="647"/>
                  <a:pt x="1028" y="647"/>
                </a:cubicBezTo>
                <a:cubicBezTo>
                  <a:pt x="1025" y="647"/>
                  <a:pt x="1017" y="648"/>
                  <a:pt x="1004" y="651"/>
                </a:cubicBezTo>
                <a:cubicBezTo>
                  <a:pt x="998" y="652"/>
                  <a:pt x="994" y="653"/>
                  <a:pt x="991" y="653"/>
                </a:cubicBezTo>
                <a:cubicBezTo>
                  <a:pt x="989" y="653"/>
                  <a:pt x="988" y="652"/>
                  <a:pt x="988" y="652"/>
                </a:cubicBezTo>
                <a:lnTo>
                  <a:pt x="987" y="650"/>
                </a:lnTo>
                <a:lnTo>
                  <a:pt x="988" y="653"/>
                </a:lnTo>
                <a:cubicBezTo>
                  <a:pt x="988" y="655"/>
                  <a:pt x="985" y="656"/>
                  <a:pt x="981" y="656"/>
                </a:cubicBezTo>
                <a:cubicBezTo>
                  <a:pt x="978" y="657"/>
                  <a:pt x="976" y="658"/>
                  <a:pt x="976" y="659"/>
                </a:cubicBezTo>
                <a:cubicBezTo>
                  <a:pt x="976" y="659"/>
                  <a:pt x="977" y="659"/>
                  <a:pt x="979" y="660"/>
                </a:cubicBezTo>
                <a:close/>
                <a:moveTo>
                  <a:pt x="971" y="661"/>
                </a:moveTo>
                <a:cubicBezTo>
                  <a:pt x="972" y="661"/>
                  <a:pt x="973" y="661"/>
                  <a:pt x="973" y="660"/>
                </a:cubicBezTo>
                <a:lnTo>
                  <a:pt x="973" y="660"/>
                </a:lnTo>
                <a:lnTo>
                  <a:pt x="972" y="659"/>
                </a:lnTo>
                <a:lnTo>
                  <a:pt x="970" y="660"/>
                </a:lnTo>
                <a:lnTo>
                  <a:pt x="969" y="660"/>
                </a:lnTo>
                <a:cubicBezTo>
                  <a:pt x="969" y="661"/>
                  <a:pt x="969" y="661"/>
                  <a:pt x="971" y="661"/>
                </a:cubicBezTo>
                <a:close/>
                <a:moveTo>
                  <a:pt x="977" y="622"/>
                </a:moveTo>
                <a:cubicBezTo>
                  <a:pt x="977" y="622"/>
                  <a:pt x="979" y="620"/>
                  <a:pt x="980" y="616"/>
                </a:cubicBezTo>
                <a:cubicBezTo>
                  <a:pt x="982" y="611"/>
                  <a:pt x="983" y="608"/>
                  <a:pt x="983" y="607"/>
                </a:cubicBezTo>
                <a:cubicBezTo>
                  <a:pt x="983" y="606"/>
                  <a:pt x="983" y="605"/>
                  <a:pt x="983" y="605"/>
                </a:cubicBezTo>
                <a:cubicBezTo>
                  <a:pt x="983" y="605"/>
                  <a:pt x="983" y="604"/>
                  <a:pt x="984" y="603"/>
                </a:cubicBezTo>
                <a:cubicBezTo>
                  <a:pt x="984" y="603"/>
                  <a:pt x="984" y="603"/>
                  <a:pt x="984" y="602"/>
                </a:cubicBezTo>
                <a:cubicBezTo>
                  <a:pt x="984" y="600"/>
                  <a:pt x="984" y="597"/>
                  <a:pt x="983" y="594"/>
                </a:cubicBezTo>
                <a:cubicBezTo>
                  <a:pt x="983" y="591"/>
                  <a:pt x="982" y="589"/>
                  <a:pt x="981" y="586"/>
                </a:cubicBezTo>
                <a:cubicBezTo>
                  <a:pt x="980" y="584"/>
                  <a:pt x="980" y="583"/>
                  <a:pt x="979" y="583"/>
                </a:cubicBezTo>
                <a:cubicBezTo>
                  <a:pt x="978" y="583"/>
                  <a:pt x="977" y="583"/>
                  <a:pt x="977" y="584"/>
                </a:cubicBezTo>
                <a:cubicBezTo>
                  <a:pt x="977" y="586"/>
                  <a:pt x="978" y="587"/>
                  <a:pt x="979" y="588"/>
                </a:cubicBezTo>
                <a:cubicBezTo>
                  <a:pt x="980" y="589"/>
                  <a:pt x="981" y="589"/>
                  <a:pt x="981" y="590"/>
                </a:cubicBezTo>
                <a:cubicBezTo>
                  <a:pt x="981" y="590"/>
                  <a:pt x="980" y="591"/>
                  <a:pt x="980" y="591"/>
                </a:cubicBezTo>
                <a:cubicBezTo>
                  <a:pt x="979" y="592"/>
                  <a:pt x="979" y="595"/>
                  <a:pt x="979" y="601"/>
                </a:cubicBezTo>
                <a:lnTo>
                  <a:pt x="979" y="610"/>
                </a:lnTo>
                <a:cubicBezTo>
                  <a:pt x="979" y="612"/>
                  <a:pt x="979" y="613"/>
                  <a:pt x="978" y="613"/>
                </a:cubicBezTo>
                <a:cubicBezTo>
                  <a:pt x="977" y="613"/>
                  <a:pt x="977" y="614"/>
                  <a:pt x="977" y="614"/>
                </a:cubicBezTo>
                <a:lnTo>
                  <a:pt x="978" y="616"/>
                </a:lnTo>
                <a:cubicBezTo>
                  <a:pt x="978" y="617"/>
                  <a:pt x="978" y="617"/>
                  <a:pt x="977" y="618"/>
                </a:cubicBezTo>
                <a:cubicBezTo>
                  <a:pt x="977" y="619"/>
                  <a:pt x="976" y="620"/>
                  <a:pt x="976" y="620"/>
                </a:cubicBezTo>
                <a:cubicBezTo>
                  <a:pt x="976" y="622"/>
                  <a:pt x="976" y="622"/>
                  <a:pt x="977" y="622"/>
                </a:cubicBezTo>
                <a:close/>
                <a:moveTo>
                  <a:pt x="885" y="580"/>
                </a:moveTo>
                <a:lnTo>
                  <a:pt x="886" y="579"/>
                </a:lnTo>
                <a:cubicBezTo>
                  <a:pt x="886" y="578"/>
                  <a:pt x="885" y="577"/>
                  <a:pt x="884" y="576"/>
                </a:cubicBezTo>
                <a:cubicBezTo>
                  <a:pt x="883" y="576"/>
                  <a:pt x="883" y="575"/>
                  <a:pt x="883" y="575"/>
                </a:cubicBezTo>
                <a:cubicBezTo>
                  <a:pt x="882" y="575"/>
                  <a:pt x="882" y="576"/>
                  <a:pt x="882" y="576"/>
                </a:cubicBezTo>
                <a:cubicBezTo>
                  <a:pt x="883" y="578"/>
                  <a:pt x="884" y="580"/>
                  <a:pt x="885" y="580"/>
                </a:cubicBezTo>
                <a:close/>
                <a:moveTo>
                  <a:pt x="820" y="632"/>
                </a:moveTo>
                <a:cubicBezTo>
                  <a:pt x="821" y="632"/>
                  <a:pt x="821" y="631"/>
                  <a:pt x="822" y="629"/>
                </a:cubicBezTo>
                <a:cubicBezTo>
                  <a:pt x="823" y="627"/>
                  <a:pt x="824" y="626"/>
                  <a:pt x="824" y="626"/>
                </a:cubicBezTo>
                <a:lnTo>
                  <a:pt x="822" y="628"/>
                </a:lnTo>
                <a:cubicBezTo>
                  <a:pt x="820" y="630"/>
                  <a:pt x="819" y="630"/>
                  <a:pt x="819" y="631"/>
                </a:cubicBezTo>
                <a:cubicBezTo>
                  <a:pt x="819" y="631"/>
                  <a:pt x="820" y="632"/>
                  <a:pt x="820" y="632"/>
                </a:cubicBezTo>
                <a:close/>
                <a:moveTo>
                  <a:pt x="797" y="657"/>
                </a:moveTo>
                <a:cubicBezTo>
                  <a:pt x="797" y="657"/>
                  <a:pt x="798" y="657"/>
                  <a:pt x="798" y="656"/>
                </a:cubicBezTo>
                <a:cubicBezTo>
                  <a:pt x="799" y="656"/>
                  <a:pt x="799" y="655"/>
                  <a:pt x="800" y="654"/>
                </a:cubicBezTo>
                <a:cubicBezTo>
                  <a:pt x="801" y="653"/>
                  <a:pt x="801" y="652"/>
                  <a:pt x="801" y="652"/>
                </a:cubicBezTo>
                <a:lnTo>
                  <a:pt x="799" y="653"/>
                </a:lnTo>
                <a:cubicBezTo>
                  <a:pt x="797" y="655"/>
                  <a:pt x="796" y="656"/>
                  <a:pt x="796" y="657"/>
                </a:cubicBezTo>
                <a:cubicBezTo>
                  <a:pt x="796" y="657"/>
                  <a:pt x="797" y="657"/>
                  <a:pt x="797" y="657"/>
                </a:cubicBezTo>
                <a:close/>
                <a:moveTo>
                  <a:pt x="776" y="692"/>
                </a:moveTo>
                <a:cubicBezTo>
                  <a:pt x="776" y="692"/>
                  <a:pt x="778" y="691"/>
                  <a:pt x="780" y="689"/>
                </a:cubicBezTo>
                <a:cubicBezTo>
                  <a:pt x="781" y="687"/>
                  <a:pt x="782" y="686"/>
                  <a:pt x="782" y="684"/>
                </a:cubicBezTo>
                <a:cubicBezTo>
                  <a:pt x="782" y="683"/>
                  <a:pt x="783" y="681"/>
                  <a:pt x="785" y="680"/>
                </a:cubicBezTo>
                <a:cubicBezTo>
                  <a:pt x="787" y="679"/>
                  <a:pt x="788" y="678"/>
                  <a:pt x="788" y="677"/>
                </a:cubicBezTo>
                <a:lnTo>
                  <a:pt x="787" y="677"/>
                </a:lnTo>
                <a:cubicBezTo>
                  <a:pt x="787" y="676"/>
                  <a:pt x="790" y="673"/>
                  <a:pt x="796" y="666"/>
                </a:cubicBezTo>
                <a:lnTo>
                  <a:pt x="798" y="663"/>
                </a:lnTo>
                <a:cubicBezTo>
                  <a:pt x="803" y="657"/>
                  <a:pt x="806" y="654"/>
                  <a:pt x="806" y="653"/>
                </a:cubicBezTo>
                <a:cubicBezTo>
                  <a:pt x="805" y="653"/>
                  <a:pt x="803" y="654"/>
                  <a:pt x="800" y="658"/>
                </a:cubicBezTo>
                <a:cubicBezTo>
                  <a:pt x="797" y="661"/>
                  <a:pt x="794" y="666"/>
                  <a:pt x="790" y="670"/>
                </a:cubicBezTo>
                <a:cubicBezTo>
                  <a:pt x="786" y="675"/>
                  <a:pt x="782" y="679"/>
                  <a:pt x="779" y="683"/>
                </a:cubicBezTo>
                <a:cubicBezTo>
                  <a:pt x="776" y="687"/>
                  <a:pt x="775" y="689"/>
                  <a:pt x="774" y="690"/>
                </a:cubicBezTo>
                <a:lnTo>
                  <a:pt x="774" y="691"/>
                </a:lnTo>
                <a:cubicBezTo>
                  <a:pt x="774" y="691"/>
                  <a:pt x="775" y="692"/>
                  <a:pt x="776" y="692"/>
                </a:cubicBezTo>
                <a:close/>
                <a:moveTo>
                  <a:pt x="802" y="637"/>
                </a:moveTo>
                <a:lnTo>
                  <a:pt x="804" y="634"/>
                </a:lnTo>
                <a:lnTo>
                  <a:pt x="806" y="632"/>
                </a:lnTo>
                <a:lnTo>
                  <a:pt x="803" y="634"/>
                </a:lnTo>
                <a:cubicBezTo>
                  <a:pt x="802" y="635"/>
                  <a:pt x="801" y="636"/>
                  <a:pt x="801" y="637"/>
                </a:cubicBezTo>
                <a:cubicBezTo>
                  <a:pt x="801" y="637"/>
                  <a:pt x="801" y="637"/>
                  <a:pt x="802" y="637"/>
                </a:cubicBezTo>
                <a:close/>
                <a:moveTo>
                  <a:pt x="808" y="644"/>
                </a:moveTo>
                <a:lnTo>
                  <a:pt x="811" y="641"/>
                </a:lnTo>
                <a:cubicBezTo>
                  <a:pt x="812" y="639"/>
                  <a:pt x="813" y="638"/>
                  <a:pt x="813" y="637"/>
                </a:cubicBezTo>
                <a:cubicBezTo>
                  <a:pt x="813" y="637"/>
                  <a:pt x="811" y="638"/>
                  <a:pt x="809" y="641"/>
                </a:cubicBezTo>
                <a:cubicBezTo>
                  <a:pt x="808" y="642"/>
                  <a:pt x="808" y="643"/>
                  <a:pt x="808" y="644"/>
                </a:cubicBezTo>
                <a:close/>
                <a:moveTo>
                  <a:pt x="813" y="646"/>
                </a:moveTo>
                <a:cubicBezTo>
                  <a:pt x="813" y="646"/>
                  <a:pt x="817" y="642"/>
                  <a:pt x="824" y="634"/>
                </a:cubicBezTo>
                <a:cubicBezTo>
                  <a:pt x="829" y="628"/>
                  <a:pt x="831" y="625"/>
                  <a:pt x="831" y="625"/>
                </a:cubicBezTo>
                <a:cubicBezTo>
                  <a:pt x="831" y="625"/>
                  <a:pt x="828" y="627"/>
                  <a:pt x="824" y="632"/>
                </a:cubicBezTo>
                <a:cubicBezTo>
                  <a:pt x="821" y="635"/>
                  <a:pt x="819" y="637"/>
                  <a:pt x="818" y="637"/>
                </a:cubicBezTo>
                <a:cubicBezTo>
                  <a:pt x="817" y="637"/>
                  <a:pt x="816" y="638"/>
                  <a:pt x="815" y="641"/>
                </a:cubicBezTo>
                <a:cubicBezTo>
                  <a:pt x="813" y="644"/>
                  <a:pt x="813" y="645"/>
                  <a:pt x="813" y="646"/>
                </a:cubicBezTo>
                <a:close/>
                <a:moveTo>
                  <a:pt x="832" y="621"/>
                </a:moveTo>
                <a:cubicBezTo>
                  <a:pt x="833" y="621"/>
                  <a:pt x="833" y="620"/>
                  <a:pt x="833" y="619"/>
                </a:cubicBezTo>
                <a:cubicBezTo>
                  <a:pt x="833" y="617"/>
                  <a:pt x="833" y="617"/>
                  <a:pt x="832" y="617"/>
                </a:cubicBezTo>
                <a:cubicBezTo>
                  <a:pt x="832" y="617"/>
                  <a:pt x="832" y="617"/>
                  <a:pt x="831" y="617"/>
                </a:cubicBezTo>
                <a:cubicBezTo>
                  <a:pt x="831" y="618"/>
                  <a:pt x="831" y="619"/>
                  <a:pt x="831" y="620"/>
                </a:cubicBezTo>
                <a:lnTo>
                  <a:pt x="831" y="620"/>
                </a:lnTo>
                <a:cubicBezTo>
                  <a:pt x="831" y="620"/>
                  <a:pt x="831" y="621"/>
                  <a:pt x="832" y="621"/>
                </a:cubicBezTo>
                <a:close/>
                <a:moveTo>
                  <a:pt x="836" y="625"/>
                </a:moveTo>
                <a:cubicBezTo>
                  <a:pt x="837" y="625"/>
                  <a:pt x="838" y="623"/>
                  <a:pt x="839" y="619"/>
                </a:cubicBezTo>
                <a:cubicBezTo>
                  <a:pt x="840" y="617"/>
                  <a:pt x="841" y="615"/>
                  <a:pt x="841" y="614"/>
                </a:cubicBezTo>
                <a:cubicBezTo>
                  <a:pt x="841" y="613"/>
                  <a:pt x="840" y="613"/>
                  <a:pt x="840" y="613"/>
                </a:cubicBezTo>
                <a:cubicBezTo>
                  <a:pt x="839" y="613"/>
                  <a:pt x="839" y="613"/>
                  <a:pt x="839" y="613"/>
                </a:cubicBezTo>
                <a:cubicBezTo>
                  <a:pt x="838" y="613"/>
                  <a:pt x="837" y="613"/>
                  <a:pt x="837" y="615"/>
                </a:cubicBezTo>
                <a:cubicBezTo>
                  <a:pt x="837" y="616"/>
                  <a:pt x="837" y="617"/>
                  <a:pt x="837" y="618"/>
                </a:cubicBezTo>
                <a:cubicBezTo>
                  <a:pt x="837" y="619"/>
                  <a:pt x="837" y="620"/>
                  <a:pt x="836" y="621"/>
                </a:cubicBezTo>
                <a:cubicBezTo>
                  <a:pt x="836" y="622"/>
                  <a:pt x="836" y="623"/>
                  <a:pt x="836" y="624"/>
                </a:cubicBezTo>
                <a:cubicBezTo>
                  <a:pt x="836" y="624"/>
                  <a:pt x="836" y="625"/>
                  <a:pt x="836" y="625"/>
                </a:cubicBezTo>
                <a:close/>
                <a:moveTo>
                  <a:pt x="843" y="618"/>
                </a:moveTo>
                <a:cubicBezTo>
                  <a:pt x="843" y="618"/>
                  <a:pt x="844" y="618"/>
                  <a:pt x="845" y="616"/>
                </a:cubicBezTo>
                <a:cubicBezTo>
                  <a:pt x="846" y="615"/>
                  <a:pt x="846" y="613"/>
                  <a:pt x="847" y="611"/>
                </a:cubicBezTo>
                <a:cubicBezTo>
                  <a:pt x="849" y="608"/>
                  <a:pt x="850" y="607"/>
                  <a:pt x="851" y="607"/>
                </a:cubicBezTo>
                <a:lnTo>
                  <a:pt x="853" y="608"/>
                </a:lnTo>
                <a:lnTo>
                  <a:pt x="852" y="606"/>
                </a:lnTo>
                <a:cubicBezTo>
                  <a:pt x="852" y="604"/>
                  <a:pt x="852" y="603"/>
                  <a:pt x="853" y="602"/>
                </a:cubicBezTo>
                <a:cubicBezTo>
                  <a:pt x="853" y="599"/>
                  <a:pt x="855" y="598"/>
                  <a:pt x="856" y="598"/>
                </a:cubicBezTo>
                <a:cubicBezTo>
                  <a:pt x="857" y="598"/>
                  <a:pt x="857" y="598"/>
                  <a:pt x="857" y="599"/>
                </a:cubicBezTo>
                <a:lnTo>
                  <a:pt x="855" y="608"/>
                </a:lnTo>
                <a:lnTo>
                  <a:pt x="857" y="605"/>
                </a:lnTo>
                <a:cubicBezTo>
                  <a:pt x="858" y="604"/>
                  <a:pt x="860" y="603"/>
                  <a:pt x="861" y="602"/>
                </a:cubicBezTo>
                <a:cubicBezTo>
                  <a:pt x="863" y="601"/>
                  <a:pt x="863" y="600"/>
                  <a:pt x="863" y="597"/>
                </a:cubicBezTo>
                <a:cubicBezTo>
                  <a:pt x="863" y="595"/>
                  <a:pt x="864" y="593"/>
                  <a:pt x="865" y="593"/>
                </a:cubicBezTo>
                <a:cubicBezTo>
                  <a:pt x="865" y="594"/>
                  <a:pt x="866" y="595"/>
                  <a:pt x="866" y="597"/>
                </a:cubicBezTo>
                <a:lnTo>
                  <a:pt x="866" y="599"/>
                </a:lnTo>
                <a:cubicBezTo>
                  <a:pt x="867" y="599"/>
                  <a:pt x="869" y="597"/>
                  <a:pt x="872" y="594"/>
                </a:cubicBezTo>
                <a:cubicBezTo>
                  <a:pt x="875" y="592"/>
                  <a:pt x="876" y="591"/>
                  <a:pt x="876" y="590"/>
                </a:cubicBezTo>
                <a:cubicBezTo>
                  <a:pt x="876" y="590"/>
                  <a:pt x="875" y="590"/>
                  <a:pt x="875" y="590"/>
                </a:cubicBezTo>
                <a:cubicBezTo>
                  <a:pt x="873" y="590"/>
                  <a:pt x="872" y="590"/>
                  <a:pt x="872" y="592"/>
                </a:cubicBezTo>
                <a:lnTo>
                  <a:pt x="872" y="592"/>
                </a:lnTo>
                <a:cubicBezTo>
                  <a:pt x="872" y="593"/>
                  <a:pt x="871" y="593"/>
                  <a:pt x="870" y="593"/>
                </a:cubicBezTo>
                <a:cubicBezTo>
                  <a:pt x="869" y="593"/>
                  <a:pt x="869" y="593"/>
                  <a:pt x="869" y="591"/>
                </a:cubicBezTo>
                <a:cubicBezTo>
                  <a:pt x="869" y="590"/>
                  <a:pt x="869" y="589"/>
                  <a:pt x="870" y="588"/>
                </a:cubicBezTo>
                <a:cubicBezTo>
                  <a:pt x="870" y="587"/>
                  <a:pt x="871" y="587"/>
                  <a:pt x="872" y="587"/>
                </a:cubicBezTo>
                <a:cubicBezTo>
                  <a:pt x="874" y="587"/>
                  <a:pt x="875" y="586"/>
                  <a:pt x="875" y="585"/>
                </a:cubicBezTo>
                <a:cubicBezTo>
                  <a:pt x="875" y="585"/>
                  <a:pt x="874" y="584"/>
                  <a:pt x="873" y="583"/>
                </a:cubicBezTo>
                <a:lnTo>
                  <a:pt x="872" y="583"/>
                </a:lnTo>
                <a:cubicBezTo>
                  <a:pt x="871" y="583"/>
                  <a:pt x="870" y="584"/>
                  <a:pt x="868" y="586"/>
                </a:cubicBezTo>
                <a:cubicBezTo>
                  <a:pt x="866" y="588"/>
                  <a:pt x="864" y="590"/>
                  <a:pt x="863" y="590"/>
                </a:cubicBezTo>
                <a:cubicBezTo>
                  <a:pt x="862" y="590"/>
                  <a:pt x="862" y="590"/>
                  <a:pt x="862" y="591"/>
                </a:cubicBezTo>
                <a:lnTo>
                  <a:pt x="862" y="592"/>
                </a:lnTo>
                <a:cubicBezTo>
                  <a:pt x="862" y="592"/>
                  <a:pt x="861" y="593"/>
                  <a:pt x="861" y="593"/>
                </a:cubicBezTo>
                <a:lnTo>
                  <a:pt x="860" y="593"/>
                </a:lnTo>
                <a:cubicBezTo>
                  <a:pt x="858" y="593"/>
                  <a:pt x="854" y="596"/>
                  <a:pt x="849" y="602"/>
                </a:cubicBezTo>
                <a:cubicBezTo>
                  <a:pt x="847" y="605"/>
                  <a:pt x="846" y="607"/>
                  <a:pt x="846" y="608"/>
                </a:cubicBezTo>
                <a:cubicBezTo>
                  <a:pt x="846" y="610"/>
                  <a:pt x="845" y="612"/>
                  <a:pt x="844" y="613"/>
                </a:cubicBezTo>
                <a:cubicBezTo>
                  <a:pt x="844" y="613"/>
                  <a:pt x="843" y="612"/>
                  <a:pt x="843" y="612"/>
                </a:cubicBezTo>
                <a:cubicBezTo>
                  <a:pt x="843" y="609"/>
                  <a:pt x="843" y="607"/>
                  <a:pt x="843" y="607"/>
                </a:cubicBezTo>
                <a:cubicBezTo>
                  <a:pt x="842" y="607"/>
                  <a:pt x="842" y="607"/>
                  <a:pt x="841" y="607"/>
                </a:cubicBezTo>
                <a:cubicBezTo>
                  <a:pt x="840" y="608"/>
                  <a:pt x="839" y="609"/>
                  <a:pt x="839" y="610"/>
                </a:cubicBezTo>
                <a:cubicBezTo>
                  <a:pt x="839" y="611"/>
                  <a:pt x="840" y="612"/>
                  <a:pt x="841" y="613"/>
                </a:cubicBezTo>
                <a:cubicBezTo>
                  <a:pt x="842" y="614"/>
                  <a:pt x="843" y="615"/>
                  <a:pt x="843" y="616"/>
                </a:cubicBezTo>
                <a:lnTo>
                  <a:pt x="843" y="618"/>
                </a:lnTo>
                <a:cubicBezTo>
                  <a:pt x="843" y="618"/>
                  <a:pt x="843" y="618"/>
                  <a:pt x="843" y="618"/>
                </a:cubicBezTo>
                <a:close/>
                <a:moveTo>
                  <a:pt x="876" y="583"/>
                </a:moveTo>
                <a:cubicBezTo>
                  <a:pt x="876" y="583"/>
                  <a:pt x="878" y="582"/>
                  <a:pt x="879" y="581"/>
                </a:cubicBezTo>
                <a:cubicBezTo>
                  <a:pt x="880" y="580"/>
                  <a:pt x="881" y="579"/>
                  <a:pt x="881" y="578"/>
                </a:cubicBezTo>
                <a:cubicBezTo>
                  <a:pt x="881" y="578"/>
                  <a:pt x="880" y="578"/>
                  <a:pt x="880" y="578"/>
                </a:cubicBezTo>
                <a:cubicBezTo>
                  <a:pt x="879" y="578"/>
                  <a:pt x="878" y="578"/>
                  <a:pt x="876" y="579"/>
                </a:cubicBezTo>
                <a:cubicBezTo>
                  <a:pt x="876" y="580"/>
                  <a:pt x="875" y="581"/>
                  <a:pt x="875" y="582"/>
                </a:cubicBezTo>
                <a:cubicBezTo>
                  <a:pt x="875" y="582"/>
                  <a:pt x="875" y="583"/>
                  <a:pt x="876" y="583"/>
                </a:cubicBezTo>
                <a:close/>
                <a:moveTo>
                  <a:pt x="879" y="588"/>
                </a:moveTo>
                <a:cubicBezTo>
                  <a:pt x="881" y="588"/>
                  <a:pt x="884" y="587"/>
                  <a:pt x="888" y="584"/>
                </a:cubicBezTo>
                <a:cubicBezTo>
                  <a:pt x="895" y="581"/>
                  <a:pt x="898" y="578"/>
                  <a:pt x="900" y="576"/>
                </a:cubicBezTo>
                <a:cubicBezTo>
                  <a:pt x="900" y="576"/>
                  <a:pt x="900" y="575"/>
                  <a:pt x="900" y="575"/>
                </a:cubicBezTo>
                <a:lnTo>
                  <a:pt x="902" y="576"/>
                </a:lnTo>
                <a:cubicBezTo>
                  <a:pt x="904" y="576"/>
                  <a:pt x="908" y="575"/>
                  <a:pt x="915" y="572"/>
                </a:cubicBezTo>
                <a:cubicBezTo>
                  <a:pt x="922" y="570"/>
                  <a:pt x="926" y="569"/>
                  <a:pt x="927" y="569"/>
                </a:cubicBezTo>
                <a:lnTo>
                  <a:pt x="929" y="569"/>
                </a:lnTo>
                <a:cubicBezTo>
                  <a:pt x="930" y="569"/>
                  <a:pt x="930" y="568"/>
                  <a:pt x="930" y="568"/>
                </a:cubicBezTo>
                <a:cubicBezTo>
                  <a:pt x="930" y="567"/>
                  <a:pt x="932" y="567"/>
                  <a:pt x="937" y="567"/>
                </a:cubicBezTo>
                <a:lnTo>
                  <a:pt x="941" y="567"/>
                </a:lnTo>
                <a:cubicBezTo>
                  <a:pt x="947" y="567"/>
                  <a:pt x="951" y="566"/>
                  <a:pt x="951" y="565"/>
                </a:cubicBezTo>
                <a:cubicBezTo>
                  <a:pt x="951" y="564"/>
                  <a:pt x="948" y="563"/>
                  <a:pt x="943" y="563"/>
                </a:cubicBezTo>
                <a:cubicBezTo>
                  <a:pt x="940" y="563"/>
                  <a:pt x="935" y="564"/>
                  <a:pt x="930" y="565"/>
                </a:cubicBezTo>
                <a:lnTo>
                  <a:pt x="926" y="565"/>
                </a:lnTo>
                <a:cubicBezTo>
                  <a:pt x="924" y="565"/>
                  <a:pt x="923" y="565"/>
                  <a:pt x="922" y="564"/>
                </a:cubicBezTo>
                <a:cubicBezTo>
                  <a:pt x="922" y="563"/>
                  <a:pt x="921" y="562"/>
                  <a:pt x="920" y="562"/>
                </a:cubicBezTo>
                <a:lnTo>
                  <a:pt x="922" y="565"/>
                </a:lnTo>
                <a:cubicBezTo>
                  <a:pt x="922" y="566"/>
                  <a:pt x="921" y="567"/>
                  <a:pt x="919" y="568"/>
                </a:cubicBezTo>
                <a:cubicBezTo>
                  <a:pt x="918" y="569"/>
                  <a:pt x="916" y="569"/>
                  <a:pt x="914" y="569"/>
                </a:cubicBezTo>
                <a:cubicBezTo>
                  <a:pt x="912" y="569"/>
                  <a:pt x="911" y="569"/>
                  <a:pt x="910" y="568"/>
                </a:cubicBezTo>
                <a:lnTo>
                  <a:pt x="908" y="566"/>
                </a:lnTo>
                <a:lnTo>
                  <a:pt x="907" y="566"/>
                </a:lnTo>
                <a:lnTo>
                  <a:pt x="908" y="570"/>
                </a:lnTo>
                <a:cubicBezTo>
                  <a:pt x="908" y="571"/>
                  <a:pt x="908" y="571"/>
                  <a:pt x="906" y="571"/>
                </a:cubicBezTo>
                <a:cubicBezTo>
                  <a:pt x="905" y="571"/>
                  <a:pt x="904" y="571"/>
                  <a:pt x="904" y="569"/>
                </a:cubicBezTo>
                <a:cubicBezTo>
                  <a:pt x="904" y="568"/>
                  <a:pt x="905" y="568"/>
                  <a:pt x="905" y="567"/>
                </a:cubicBezTo>
                <a:cubicBezTo>
                  <a:pt x="906" y="566"/>
                  <a:pt x="907" y="565"/>
                  <a:pt x="908" y="565"/>
                </a:cubicBezTo>
                <a:cubicBezTo>
                  <a:pt x="908" y="565"/>
                  <a:pt x="909" y="566"/>
                  <a:pt x="910" y="566"/>
                </a:cubicBezTo>
                <a:cubicBezTo>
                  <a:pt x="911" y="566"/>
                  <a:pt x="911" y="567"/>
                  <a:pt x="912" y="567"/>
                </a:cubicBezTo>
                <a:cubicBezTo>
                  <a:pt x="912" y="567"/>
                  <a:pt x="912" y="566"/>
                  <a:pt x="912" y="566"/>
                </a:cubicBezTo>
                <a:lnTo>
                  <a:pt x="912" y="564"/>
                </a:lnTo>
                <a:cubicBezTo>
                  <a:pt x="913" y="564"/>
                  <a:pt x="913" y="565"/>
                  <a:pt x="914" y="566"/>
                </a:cubicBezTo>
                <a:cubicBezTo>
                  <a:pt x="915" y="567"/>
                  <a:pt x="915" y="567"/>
                  <a:pt x="915" y="567"/>
                </a:cubicBezTo>
                <a:cubicBezTo>
                  <a:pt x="915" y="567"/>
                  <a:pt x="916" y="567"/>
                  <a:pt x="916" y="566"/>
                </a:cubicBezTo>
                <a:cubicBezTo>
                  <a:pt x="916" y="565"/>
                  <a:pt x="916" y="565"/>
                  <a:pt x="917" y="565"/>
                </a:cubicBezTo>
                <a:lnTo>
                  <a:pt x="918" y="565"/>
                </a:lnTo>
                <a:cubicBezTo>
                  <a:pt x="919" y="565"/>
                  <a:pt x="919" y="564"/>
                  <a:pt x="919" y="563"/>
                </a:cubicBezTo>
                <a:lnTo>
                  <a:pt x="919" y="563"/>
                </a:lnTo>
                <a:cubicBezTo>
                  <a:pt x="919" y="561"/>
                  <a:pt x="920" y="560"/>
                  <a:pt x="922" y="560"/>
                </a:cubicBezTo>
                <a:cubicBezTo>
                  <a:pt x="924" y="560"/>
                  <a:pt x="925" y="561"/>
                  <a:pt x="926" y="562"/>
                </a:cubicBezTo>
                <a:cubicBezTo>
                  <a:pt x="926" y="563"/>
                  <a:pt x="926" y="563"/>
                  <a:pt x="926" y="563"/>
                </a:cubicBezTo>
                <a:cubicBezTo>
                  <a:pt x="927" y="563"/>
                  <a:pt x="927" y="562"/>
                  <a:pt x="928" y="561"/>
                </a:cubicBezTo>
                <a:cubicBezTo>
                  <a:pt x="930" y="559"/>
                  <a:pt x="931" y="559"/>
                  <a:pt x="932" y="559"/>
                </a:cubicBezTo>
                <a:cubicBezTo>
                  <a:pt x="932" y="559"/>
                  <a:pt x="932" y="559"/>
                  <a:pt x="932" y="559"/>
                </a:cubicBezTo>
                <a:lnTo>
                  <a:pt x="931" y="562"/>
                </a:lnTo>
                <a:lnTo>
                  <a:pt x="932" y="561"/>
                </a:lnTo>
                <a:cubicBezTo>
                  <a:pt x="934" y="560"/>
                  <a:pt x="936" y="559"/>
                  <a:pt x="938" y="559"/>
                </a:cubicBezTo>
                <a:cubicBezTo>
                  <a:pt x="939" y="559"/>
                  <a:pt x="941" y="559"/>
                  <a:pt x="942" y="558"/>
                </a:cubicBezTo>
                <a:cubicBezTo>
                  <a:pt x="943" y="557"/>
                  <a:pt x="944" y="557"/>
                  <a:pt x="944" y="557"/>
                </a:cubicBezTo>
                <a:lnTo>
                  <a:pt x="943" y="559"/>
                </a:lnTo>
                <a:cubicBezTo>
                  <a:pt x="943" y="560"/>
                  <a:pt x="945" y="560"/>
                  <a:pt x="948" y="560"/>
                </a:cubicBezTo>
                <a:cubicBezTo>
                  <a:pt x="951" y="560"/>
                  <a:pt x="954" y="561"/>
                  <a:pt x="956" y="561"/>
                </a:cubicBezTo>
                <a:cubicBezTo>
                  <a:pt x="958" y="561"/>
                  <a:pt x="959" y="562"/>
                  <a:pt x="959" y="563"/>
                </a:cubicBezTo>
                <a:cubicBezTo>
                  <a:pt x="959" y="563"/>
                  <a:pt x="959" y="563"/>
                  <a:pt x="958" y="564"/>
                </a:cubicBezTo>
                <a:cubicBezTo>
                  <a:pt x="957" y="564"/>
                  <a:pt x="956" y="565"/>
                  <a:pt x="956" y="565"/>
                </a:cubicBezTo>
                <a:cubicBezTo>
                  <a:pt x="956" y="566"/>
                  <a:pt x="957" y="566"/>
                  <a:pt x="959" y="566"/>
                </a:cubicBezTo>
                <a:lnTo>
                  <a:pt x="960" y="567"/>
                </a:lnTo>
                <a:cubicBezTo>
                  <a:pt x="961" y="567"/>
                  <a:pt x="962" y="566"/>
                  <a:pt x="962" y="565"/>
                </a:cubicBezTo>
                <a:cubicBezTo>
                  <a:pt x="962" y="564"/>
                  <a:pt x="960" y="562"/>
                  <a:pt x="956" y="560"/>
                </a:cubicBezTo>
                <a:cubicBezTo>
                  <a:pt x="952" y="557"/>
                  <a:pt x="946" y="556"/>
                  <a:pt x="939" y="556"/>
                </a:cubicBezTo>
                <a:cubicBezTo>
                  <a:pt x="932" y="556"/>
                  <a:pt x="928" y="557"/>
                  <a:pt x="926" y="559"/>
                </a:cubicBezTo>
                <a:lnTo>
                  <a:pt x="926" y="560"/>
                </a:lnTo>
                <a:lnTo>
                  <a:pt x="925" y="559"/>
                </a:lnTo>
                <a:cubicBezTo>
                  <a:pt x="925" y="558"/>
                  <a:pt x="925" y="558"/>
                  <a:pt x="923" y="558"/>
                </a:cubicBezTo>
                <a:lnTo>
                  <a:pt x="914" y="560"/>
                </a:lnTo>
                <a:cubicBezTo>
                  <a:pt x="907" y="563"/>
                  <a:pt x="904" y="564"/>
                  <a:pt x="904" y="566"/>
                </a:cubicBezTo>
                <a:cubicBezTo>
                  <a:pt x="904" y="566"/>
                  <a:pt x="902" y="566"/>
                  <a:pt x="900" y="567"/>
                </a:cubicBezTo>
                <a:cubicBezTo>
                  <a:pt x="898" y="567"/>
                  <a:pt x="896" y="568"/>
                  <a:pt x="896" y="569"/>
                </a:cubicBezTo>
                <a:cubicBezTo>
                  <a:pt x="896" y="570"/>
                  <a:pt x="895" y="570"/>
                  <a:pt x="894" y="570"/>
                </a:cubicBezTo>
                <a:lnTo>
                  <a:pt x="892" y="570"/>
                </a:lnTo>
                <a:cubicBezTo>
                  <a:pt x="890" y="570"/>
                  <a:pt x="889" y="571"/>
                  <a:pt x="888" y="572"/>
                </a:cubicBezTo>
                <a:cubicBezTo>
                  <a:pt x="887" y="573"/>
                  <a:pt x="886" y="574"/>
                  <a:pt x="886" y="574"/>
                </a:cubicBezTo>
                <a:cubicBezTo>
                  <a:pt x="886" y="575"/>
                  <a:pt x="887" y="575"/>
                  <a:pt x="888" y="575"/>
                </a:cubicBezTo>
                <a:cubicBezTo>
                  <a:pt x="889" y="575"/>
                  <a:pt x="889" y="576"/>
                  <a:pt x="889" y="578"/>
                </a:cubicBezTo>
                <a:cubicBezTo>
                  <a:pt x="889" y="579"/>
                  <a:pt x="889" y="580"/>
                  <a:pt x="887" y="582"/>
                </a:cubicBezTo>
                <a:cubicBezTo>
                  <a:pt x="886" y="583"/>
                  <a:pt x="885" y="583"/>
                  <a:pt x="883" y="583"/>
                </a:cubicBezTo>
                <a:cubicBezTo>
                  <a:pt x="883" y="583"/>
                  <a:pt x="882" y="583"/>
                  <a:pt x="881" y="583"/>
                </a:cubicBezTo>
                <a:cubicBezTo>
                  <a:pt x="881" y="583"/>
                  <a:pt x="880" y="583"/>
                  <a:pt x="880" y="583"/>
                </a:cubicBezTo>
                <a:lnTo>
                  <a:pt x="879" y="583"/>
                </a:lnTo>
                <a:lnTo>
                  <a:pt x="879" y="588"/>
                </a:lnTo>
                <a:cubicBezTo>
                  <a:pt x="879" y="588"/>
                  <a:pt x="879" y="588"/>
                  <a:pt x="879" y="588"/>
                </a:cubicBezTo>
                <a:close/>
                <a:moveTo>
                  <a:pt x="737" y="756"/>
                </a:moveTo>
                <a:lnTo>
                  <a:pt x="737" y="754"/>
                </a:lnTo>
                <a:cubicBezTo>
                  <a:pt x="737" y="752"/>
                  <a:pt x="738" y="752"/>
                  <a:pt x="739" y="751"/>
                </a:cubicBezTo>
                <a:cubicBezTo>
                  <a:pt x="739" y="751"/>
                  <a:pt x="739" y="752"/>
                  <a:pt x="739" y="752"/>
                </a:cubicBezTo>
                <a:cubicBezTo>
                  <a:pt x="739" y="752"/>
                  <a:pt x="739" y="753"/>
                  <a:pt x="739" y="754"/>
                </a:cubicBezTo>
                <a:cubicBezTo>
                  <a:pt x="738" y="755"/>
                  <a:pt x="738" y="756"/>
                  <a:pt x="737" y="756"/>
                </a:cubicBezTo>
                <a:close/>
                <a:moveTo>
                  <a:pt x="893" y="578"/>
                </a:moveTo>
                <a:cubicBezTo>
                  <a:pt x="892" y="578"/>
                  <a:pt x="891" y="577"/>
                  <a:pt x="891" y="575"/>
                </a:cubicBezTo>
                <a:lnTo>
                  <a:pt x="891" y="574"/>
                </a:lnTo>
                <a:cubicBezTo>
                  <a:pt x="891" y="572"/>
                  <a:pt x="891" y="571"/>
                  <a:pt x="892" y="571"/>
                </a:cubicBezTo>
                <a:cubicBezTo>
                  <a:pt x="893" y="571"/>
                  <a:pt x="894" y="572"/>
                  <a:pt x="894" y="573"/>
                </a:cubicBezTo>
                <a:cubicBezTo>
                  <a:pt x="894" y="573"/>
                  <a:pt x="894" y="573"/>
                  <a:pt x="895" y="573"/>
                </a:cubicBezTo>
                <a:cubicBezTo>
                  <a:pt x="895" y="573"/>
                  <a:pt x="896" y="573"/>
                  <a:pt x="898" y="571"/>
                </a:cubicBezTo>
                <a:cubicBezTo>
                  <a:pt x="899" y="569"/>
                  <a:pt x="900" y="568"/>
                  <a:pt x="900" y="568"/>
                </a:cubicBezTo>
                <a:cubicBezTo>
                  <a:pt x="901" y="568"/>
                  <a:pt x="902" y="569"/>
                  <a:pt x="903" y="570"/>
                </a:cubicBezTo>
                <a:cubicBezTo>
                  <a:pt x="903" y="572"/>
                  <a:pt x="904" y="573"/>
                  <a:pt x="904" y="574"/>
                </a:cubicBezTo>
                <a:cubicBezTo>
                  <a:pt x="904" y="575"/>
                  <a:pt x="903" y="575"/>
                  <a:pt x="903" y="575"/>
                </a:cubicBezTo>
                <a:cubicBezTo>
                  <a:pt x="903" y="575"/>
                  <a:pt x="902" y="575"/>
                  <a:pt x="902" y="574"/>
                </a:cubicBezTo>
                <a:cubicBezTo>
                  <a:pt x="901" y="573"/>
                  <a:pt x="901" y="573"/>
                  <a:pt x="900" y="573"/>
                </a:cubicBezTo>
                <a:cubicBezTo>
                  <a:pt x="900" y="573"/>
                  <a:pt x="899" y="574"/>
                  <a:pt x="897" y="576"/>
                </a:cubicBezTo>
                <a:cubicBezTo>
                  <a:pt x="895" y="578"/>
                  <a:pt x="894" y="578"/>
                  <a:pt x="893" y="578"/>
                </a:cubicBezTo>
                <a:close/>
                <a:moveTo>
                  <a:pt x="861" y="601"/>
                </a:moveTo>
                <a:cubicBezTo>
                  <a:pt x="860" y="601"/>
                  <a:pt x="860" y="600"/>
                  <a:pt x="860" y="600"/>
                </a:cubicBezTo>
                <a:cubicBezTo>
                  <a:pt x="860" y="599"/>
                  <a:pt x="860" y="598"/>
                  <a:pt x="860" y="598"/>
                </a:cubicBezTo>
                <a:lnTo>
                  <a:pt x="861" y="597"/>
                </a:lnTo>
                <a:cubicBezTo>
                  <a:pt x="862" y="597"/>
                  <a:pt x="862" y="598"/>
                  <a:pt x="862" y="599"/>
                </a:cubicBezTo>
                <a:cubicBezTo>
                  <a:pt x="862" y="600"/>
                  <a:pt x="861" y="601"/>
                  <a:pt x="861" y="601"/>
                </a:cubicBezTo>
                <a:close/>
                <a:moveTo>
                  <a:pt x="974" y="650"/>
                </a:moveTo>
                <a:cubicBezTo>
                  <a:pt x="973" y="650"/>
                  <a:pt x="973" y="650"/>
                  <a:pt x="973" y="649"/>
                </a:cubicBezTo>
                <a:lnTo>
                  <a:pt x="973" y="648"/>
                </a:lnTo>
                <a:cubicBezTo>
                  <a:pt x="974" y="647"/>
                  <a:pt x="975" y="646"/>
                  <a:pt x="976" y="646"/>
                </a:cubicBezTo>
                <a:cubicBezTo>
                  <a:pt x="976" y="646"/>
                  <a:pt x="977" y="647"/>
                  <a:pt x="977" y="647"/>
                </a:cubicBezTo>
                <a:cubicBezTo>
                  <a:pt x="977" y="647"/>
                  <a:pt x="977" y="648"/>
                  <a:pt x="976" y="649"/>
                </a:cubicBezTo>
                <a:cubicBezTo>
                  <a:pt x="976" y="650"/>
                  <a:pt x="975" y="650"/>
                  <a:pt x="974" y="650"/>
                </a:cubicBezTo>
                <a:close/>
                <a:moveTo>
                  <a:pt x="1017" y="641"/>
                </a:moveTo>
                <a:cubicBezTo>
                  <a:pt x="1015" y="641"/>
                  <a:pt x="1014" y="640"/>
                  <a:pt x="1014" y="639"/>
                </a:cubicBezTo>
                <a:cubicBezTo>
                  <a:pt x="1014" y="638"/>
                  <a:pt x="1015" y="637"/>
                  <a:pt x="1016" y="637"/>
                </a:cubicBezTo>
                <a:cubicBezTo>
                  <a:pt x="1017" y="637"/>
                  <a:pt x="1017" y="637"/>
                  <a:pt x="1018" y="638"/>
                </a:cubicBezTo>
                <a:cubicBezTo>
                  <a:pt x="1019" y="638"/>
                  <a:pt x="1019" y="639"/>
                  <a:pt x="1019" y="640"/>
                </a:cubicBezTo>
                <a:cubicBezTo>
                  <a:pt x="1019" y="641"/>
                  <a:pt x="1019" y="641"/>
                  <a:pt x="1017" y="641"/>
                </a:cubicBezTo>
                <a:close/>
                <a:moveTo>
                  <a:pt x="1025" y="639"/>
                </a:moveTo>
                <a:cubicBezTo>
                  <a:pt x="1024" y="639"/>
                  <a:pt x="1022" y="638"/>
                  <a:pt x="1022" y="637"/>
                </a:cubicBezTo>
                <a:lnTo>
                  <a:pt x="1022" y="637"/>
                </a:lnTo>
                <a:cubicBezTo>
                  <a:pt x="1022" y="636"/>
                  <a:pt x="1022" y="636"/>
                  <a:pt x="1022" y="636"/>
                </a:cubicBezTo>
                <a:cubicBezTo>
                  <a:pt x="1022" y="635"/>
                  <a:pt x="1021" y="635"/>
                  <a:pt x="1020" y="634"/>
                </a:cubicBezTo>
                <a:cubicBezTo>
                  <a:pt x="1020" y="634"/>
                  <a:pt x="1021" y="634"/>
                  <a:pt x="1022" y="634"/>
                </a:cubicBezTo>
                <a:cubicBezTo>
                  <a:pt x="1024" y="634"/>
                  <a:pt x="1025" y="634"/>
                  <a:pt x="1025" y="634"/>
                </a:cubicBezTo>
                <a:lnTo>
                  <a:pt x="1025" y="637"/>
                </a:lnTo>
                <a:cubicBezTo>
                  <a:pt x="1025" y="637"/>
                  <a:pt x="1026" y="637"/>
                  <a:pt x="1027" y="636"/>
                </a:cubicBezTo>
                <a:cubicBezTo>
                  <a:pt x="1027" y="635"/>
                  <a:pt x="1029" y="635"/>
                  <a:pt x="1031" y="635"/>
                </a:cubicBezTo>
                <a:cubicBezTo>
                  <a:pt x="1032" y="635"/>
                  <a:pt x="1033" y="635"/>
                  <a:pt x="1033" y="634"/>
                </a:cubicBezTo>
                <a:lnTo>
                  <a:pt x="1032" y="634"/>
                </a:lnTo>
                <a:cubicBezTo>
                  <a:pt x="1032" y="633"/>
                  <a:pt x="1034" y="632"/>
                  <a:pt x="1037" y="632"/>
                </a:cubicBezTo>
                <a:lnTo>
                  <a:pt x="1041" y="631"/>
                </a:lnTo>
                <a:cubicBezTo>
                  <a:pt x="1043" y="631"/>
                  <a:pt x="1044" y="632"/>
                  <a:pt x="1044" y="632"/>
                </a:cubicBezTo>
                <a:cubicBezTo>
                  <a:pt x="1044" y="633"/>
                  <a:pt x="1044" y="634"/>
                  <a:pt x="1043" y="635"/>
                </a:cubicBezTo>
                <a:cubicBezTo>
                  <a:pt x="1042" y="636"/>
                  <a:pt x="1041" y="636"/>
                  <a:pt x="1039" y="637"/>
                </a:cubicBezTo>
                <a:cubicBezTo>
                  <a:pt x="1037" y="637"/>
                  <a:pt x="1034" y="638"/>
                  <a:pt x="1032" y="638"/>
                </a:cubicBezTo>
                <a:cubicBezTo>
                  <a:pt x="1029" y="638"/>
                  <a:pt x="1027" y="639"/>
                  <a:pt x="1025" y="639"/>
                </a:cubicBezTo>
                <a:close/>
                <a:moveTo>
                  <a:pt x="980" y="648"/>
                </a:moveTo>
                <a:lnTo>
                  <a:pt x="979" y="648"/>
                </a:lnTo>
                <a:cubicBezTo>
                  <a:pt x="979" y="647"/>
                  <a:pt x="979" y="647"/>
                  <a:pt x="979" y="647"/>
                </a:cubicBezTo>
                <a:cubicBezTo>
                  <a:pt x="979" y="647"/>
                  <a:pt x="980" y="646"/>
                  <a:pt x="981" y="646"/>
                </a:cubicBezTo>
                <a:lnTo>
                  <a:pt x="983" y="645"/>
                </a:lnTo>
                <a:cubicBezTo>
                  <a:pt x="983" y="645"/>
                  <a:pt x="983" y="645"/>
                  <a:pt x="983" y="646"/>
                </a:cubicBezTo>
                <a:lnTo>
                  <a:pt x="983" y="647"/>
                </a:lnTo>
                <a:cubicBezTo>
                  <a:pt x="983" y="647"/>
                  <a:pt x="982" y="647"/>
                  <a:pt x="982" y="648"/>
                </a:cubicBezTo>
                <a:cubicBezTo>
                  <a:pt x="981" y="648"/>
                  <a:pt x="980" y="648"/>
                  <a:pt x="980" y="648"/>
                </a:cubicBezTo>
                <a:close/>
                <a:moveTo>
                  <a:pt x="997" y="644"/>
                </a:moveTo>
                <a:cubicBezTo>
                  <a:pt x="997" y="644"/>
                  <a:pt x="996" y="644"/>
                  <a:pt x="996" y="644"/>
                </a:cubicBezTo>
                <a:lnTo>
                  <a:pt x="1000" y="642"/>
                </a:lnTo>
                <a:lnTo>
                  <a:pt x="1000" y="642"/>
                </a:lnTo>
                <a:lnTo>
                  <a:pt x="1000" y="643"/>
                </a:lnTo>
                <a:cubicBezTo>
                  <a:pt x="1000" y="644"/>
                  <a:pt x="999" y="644"/>
                  <a:pt x="997" y="644"/>
                </a:cubicBezTo>
                <a:close/>
                <a:moveTo>
                  <a:pt x="1006" y="643"/>
                </a:moveTo>
                <a:cubicBezTo>
                  <a:pt x="1004" y="643"/>
                  <a:pt x="1003" y="642"/>
                  <a:pt x="1003" y="642"/>
                </a:cubicBezTo>
                <a:lnTo>
                  <a:pt x="1003" y="641"/>
                </a:lnTo>
                <a:cubicBezTo>
                  <a:pt x="1004" y="640"/>
                  <a:pt x="1005" y="639"/>
                  <a:pt x="1008" y="639"/>
                </a:cubicBezTo>
                <a:cubicBezTo>
                  <a:pt x="1009" y="640"/>
                  <a:pt x="1010" y="640"/>
                  <a:pt x="1010" y="641"/>
                </a:cubicBezTo>
                <a:cubicBezTo>
                  <a:pt x="1010" y="642"/>
                  <a:pt x="1009" y="643"/>
                  <a:pt x="1006" y="643"/>
                </a:cubicBezTo>
                <a:close/>
                <a:moveTo>
                  <a:pt x="790" y="716"/>
                </a:moveTo>
                <a:cubicBezTo>
                  <a:pt x="790" y="716"/>
                  <a:pt x="789" y="715"/>
                  <a:pt x="789" y="713"/>
                </a:cubicBezTo>
                <a:cubicBezTo>
                  <a:pt x="789" y="712"/>
                  <a:pt x="789" y="711"/>
                  <a:pt x="790" y="711"/>
                </a:cubicBezTo>
                <a:lnTo>
                  <a:pt x="791" y="712"/>
                </a:lnTo>
                <a:cubicBezTo>
                  <a:pt x="791" y="712"/>
                  <a:pt x="792" y="713"/>
                  <a:pt x="792" y="713"/>
                </a:cubicBezTo>
                <a:lnTo>
                  <a:pt x="792" y="714"/>
                </a:lnTo>
                <a:cubicBezTo>
                  <a:pt x="791" y="715"/>
                  <a:pt x="791" y="716"/>
                  <a:pt x="790" y="716"/>
                </a:cubicBezTo>
                <a:close/>
                <a:moveTo>
                  <a:pt x="763" y="666"/>
                </a:moveTo>
                <a:cubicBezTo>
                  <a:pt x="763" y="666"/>
                  <a:pt x="763" y="665"/>
                  <a:pt x="763" y="663"/>
                </a:cubicBezTo>
                <a:lnTo>
                  <a:pt x="763" y="661"/>
                </a:lnTo>
                <a:cubicBezTo>
                  <a:pt x="763" y="660"/>
                  <a:pt x="763" y="659"/>
                  <a:pt x="764" y="659"/>
                </a:cubicBezTo>
                <a:cubicBezTo>
                  <a:pt x="765" y="659"/>
                  <a:pt x="765" y="660"/>
                  <a:pt x="765" y="661"/>
                </a:cubicBezTo>
                <a:cubicBezTo>
                  <a:pt x="765" y="662"/>
                  <a:pt x="765" y="663"/>
                  <a:pt x="764" y="664"/>
                </a:cubicBezTo>
                <a:cubicBezTo>
                  <a:pt x="764" y="665"/>
                  <a:pt x="764" y="666"/>
                  <a:pt x="763" y="666"/>
                </a:cubicBezTo>
                <a:close/>
                <a:moveTo>
                  <a:pt x="851" y="423"/>
                </a:moveTo>
                <a:cubicBezTo>
                  <a:pt x="851" y="423"/>
                  <a:pt x="850" y="422"/>
                  <a:pt x="850" y="421"/>
                </a:cubicBezTo>
                <a:lnTo>
                  <a:pt x="849" y="420"/>
                </a:lnTo>
                <a:cubicBezTo>
                  <a:pt x="849" y="419"/>
                  <a:pt x="850" y="419"/>
                  <a:pt x="850" y="419"/>
                </a:cubicBezTo>
                <a:cubicBezTo>
                  <a:pt x="851" y="419"/>
                  <a:pt x="852" y="420"/>
                  <a:pt x="852" y="421"/>
                </a:cubicBezTo>
                <a:cubicBezTo>
                  <a:pt x="852" y="422"/>
                  <a:pt x="852" y="423"/>
                  <a:pt x="851" y="423"/>
                </a:cubicBezTo>
                <a:close/>
                <a:moveTo>
                  <a:pt x="835" y="428"/>
                </a:moveTo>
                <a:lnTo>
                  <a:pt x="834" y="428"/>
                </a:lnTo>
                <a:lnTo>
                  <a:pt x="835" y="425"/>
                </a:lnTo>
                <a:cubicBezTo>
                  <a:pt x="836" y="422"/>
                  <a:pt x="837" y="421"/>
                  <a:pt x="838" y="421"/>
                </a:cubicBezTo>
                <a:lnTo>
                  <a:pt x="838" y="422"/>
                </a:lnTo>
                <a:cubicBezTo>
                  <a:pt x="838" y="422"/>
                  <a:pt x="837" y="423"/>
                  <a:pt x="837" y="425"/>
                </a:cubicBezTo>
                <a:cubicBezTo>
                  <a:pt x="836" y="427"/>
                  <a:pt x="836" y="428"/>
                  <a:pt x="835" y="428"/>
                </a:cubicBezTo>
                <a:close/>
                <a:moveTo>
                  <a:pt x="845" y="422"/>
                </a:moveTo>
                <a:lnTo>
                  <a:pt x="844" y="422"/>
                </a:lnTo>
                <a:cubicBezTo>
                  <a:pt x="844" y="422"/>
                  <a:pt x="843" y="422"/>
                  <a:pt x="843" y="421"/>
                </a:cubicBezTo>
                <a:cubicBezTo>
                  <a:pt x="843" y="420"/>
                  <a:pt x="844" y="419"/>
                  <a:pt x="845" y="418"/>
                </a:cubicBezTo>
                <a:lnTo>
                  <a:pt x="845" y="418"/>
                </a:lnTo>
                <a:cubicBezTo>
                  <a:pt x="846" y="418"/>
                  <a:pt x="846" y="419"/>
                  <a:pt x="847" y="419"/>
                </a:cubicBezTo>
                <a:cubicBezTo>
                  <a:pt x="847" y="420"/>
                  <a:pt x="846" y="421"/>
                  <a:pt x="845" y="422"/>
                </a:cubicBezTo>
                <a:close/>
                <a:moveTo>
                  <a:pt x="840" y="415"/>
                </a:moveTo>
                <a:lnTo>
                  <a:pt x="839" y="415"/>
                </a:lnTo>
                <a:lnTo>
                  <a:pt x="840" y="413"/>
                </a:lnTo>
                <a:cubicBezTo>
                  <a:pt x="841" y="412"/>
                  <a:pt x="841" y="411"/>
                  <a:pt x="841" y="411"/>
                </a:cubicBezTo>
                <a:cubicBezTo>
                  <a:pt x="842" y="411"/>
                  <a:pt x="842" y="411"/>
                  <a:pt x="842" y="411"/>
                </a:cubicBezTo>
                <a:cubicBezTo>
                  <a:pt x="842" y="412"/>
                  <a:pt x="842" y="413"/>
                  <a:pt x="841" y="414"/>
                </a:cubicBezTo>
                <a:cubicBezTo>
                  <a:pt x="841" y="414"/>
                  <a:pt x="840" y="415"/>
                  <a:pt x="840" y="415"/>
                </a:cubicBezTo>
                <a:close/>
                <a:moveTo>
                  <a:pt x="800" y="617"/>
                </a:moveTo>
                <a:lnTo>
                  <a:pt x="800" y="617"/>
                </a:lnTo>
                <a:cubicBezTo>
                  <a:pt x="800" y="615"/>
                  <a:pt x="802" y="610"/>
                  <a:pt x="805" y="602"/>
                </a:cubicBezTo>
                <a:cubicBezTo>
                  <a:pt x="808" y="594"/>
                  <a:pt x="809" y="590"/>
                  <a:pt x="810" y="590"/>
                </a:cubicBezTo>
                <a:cubicBezTo>
                  <a:pt x="810" y="590"/>
                  <a:pt x="810" y="589"/>
                  <a:pt x="810" y="589"/>
                </a:cubicBezTo>
                <a:lnTo>
                  <a:pt x="809" y="586"/>
                </a:lnTo>
                <a:cubicBezTo>
                  <a:pt x="809" y="586"/>
                  <a:pt x="810" y="586"/>
                  <a:pt x="811" y="586"/>
                </a:cubicBezTo>
                <a:cubicBezTo>
                  <a:pt x="811" y="586"/>
                  <a:pt x="812" y="586"/>
                  <a:pt x="812" y="585"/>
                </a:cubicBezTo>
                <a:lnTo>
                  <a:pt x="811" y="583"/>
                </a:lnTo>
                <a:cubicBezTo>
                  <a:pt x="811" y="583"/>
                  <a:pt x="812" y="581"/>
                  <a:pt x="813" y="580"/>
                </a:cubicBezTo>
                <a:cubicBezTo>
                  <a:pt x="813" y="579"/>
                  <a:pt x="814" y="578"/>
                  <a:pt x="814" y="577"/>
                </a:cubicBezTo>
                <a:lnTo>
                  <a:pt x="813" y="575"/>
                </a:lnTo>
                <a:cubicBezTo>
                  <a:pt x="813" y="575"/>
                  <a:pt x="814" y="575"/>
                  <a:pt x="814" y="575"/>
                </a:cubicBezTo>
                <a:cubicBezTo>
                  <a:pt x="815" y="575"/>
                  <a:pt x="816" y="575"/>
                  <a:pt x="816" y="574"/>
                </a:cubicBezTo>
                <a:lnTo>
                  <a:pt x="815" y="573"/>
                </a:lnTo>
                <a:cubicBezTo>
                  <a:pt x="815" y="573"/>
                  <a:pt x="815" y="573"/>
                  <a:pt x="815" y="572"/>
                </a:cubicBezTo>
                <a:cubicBezTo>
                  <a:pt x="815" y="572"/>
                  <a:pt x="815" y="571"/>
                  <a:pt x="816" y="571"/>
                </a:cubicBezTo>
                <a:cubicBezTo>
                  <a:pt x="817" y="571"/>
                  <a:pt x="817" y="571"/>
                  <a:pt x="817" y="570"/>
                </a:cubicBezTo>
                <a:lnTo>
                  <a:pt x="817" y="569"/>
                </a:lnTo>
                <a:cubicBezTo>
                  <a:pt x="817" y="568"/>
                  <a:pt x="817" y="567"/>
                  <a:pt x="818" y="566"/>
                </a:cubicBezTo>
                <a:cubicBezTo>
                  <a:pt x="819" y="564"/>
                  <a:pt x="819" y="563"/>
                  <a:pt x="819" y="562"/>
                </a:cubicBezTo>
                <a:lnTo>
                  <a:pt x="819" y="561"/>
                </a:lnTo>
                <a:cubicBezTo>
                  <a:pt x="819" y="561"/>
                  <a:pt x="819" y="560"/>
                  <a:pt x="820" y="560"/>
                </a:cubicBezTo>
                <a:cubicBezTo>
                  <a:pt x="821" y="560"/>
                  <a:pt x="821" y="560"/>
                  <a:pt x="821" y="559"/>
                </a:cubicBezTo>
                <a:lnTo>
                  <a:pt x="821" y="558"/>
                </a:lnTo>
                <a:cubicBezTo>
                  <a:pt x="821" y="557"/>
                  <a:pt x="821" y="556"/>
                  <a:pt x="821" y="554"/>
                </a:cubicBezTo>
                <a:cubicBezTo>
                  <a:pt x="822" y="553"/>
                  <a:pt x="822" y="551"/>
                  <a:pt x="823" y="551"/>
                </a:cubicBezTo>
                <a:cubicBezTo>
                  <a:pt x="823" y="550"/>
                  <a:pt x="824" y="549"/>
                  <a:pt x="824" y="549"/>
                </a:cubicBezTo>
                <a:cubicBezTo>
                  <a:pt x="824" y="549"/>
                  <a:pt x="825" y="549"/>
                  <a:pt x="825" y="549"/>
                </a:cubicBezTo>
                <a:lnTo>
                  <a:pt x="825" y="548"/>
                </a:lnTo>
                <a:cubicBezTo>
                  <a:pt x="825" y="545"/>
                  <a:pt x="829" y="534"/>
                  <a:pt x="836" y="514"/>
                </a:cubicBezTo>
                <a:cubicBezTo>
                  <a:pt x="844" y="495"/>
                  <a:pt x="848" y="485"/>
                  <a:pt x="849" y="485"/>
                </a:cubicBezTo>
                <a:cubicBezTo>
                  <a:pt x="850" y="485"/>
                  <a:pt x="851" y="486"/>
                  <a:pt x="851" y="486"/>
                </a:cubicBezTo>
                <a:lnTo>
                  <a:pt x="850" y="487"/>
                </a:lnTo>
                <a:cubicBezTo>
                  <a:pt x="849" y="487"/>
                  <a:pt x="847" y="493"/>
                  <a:pt x="843" y="505"/>
                </a:cubicBezTo>
                <a:cubicBezTo>
                  <a:pt x="838" y="516"/>
                  <a:pt x="833" y="530"/>
                  <a:pt x="827" y="546"/>
                </a:cubicBezTo>
                <a:cubicBezTo>
                  <a:pt x="811" y="594"/>
                  <a:pt x="802" y="617"/>
                  <a:pt x="800" y="617"/>
                </a:cubicBezTo>
                <a:close/>
                <a:moveTo>
                  <a:pt x="849" y="483"/>
                </a:moveTo>
                <a:cubicBezTo>
                  <a:pt x="848" y="483"/>
                  <a:pt x="848" y="483"/>
                  <a:pt x="848" y="482"/>
                </a:cubicBezTo>
                <a:lnTo>
                  <a:pt x="849" y="479"/>
                </a:lnTo>
                <a:cubicBezTo>
                  <a:pt x="850" y="476"/>
                  <a:pt x="851" y="474"/>
                  <a:pt x="853" y="474"/>
                </a:cubicBezTo>
                <a:cubicBezTo>
                  <a:pt x="853" y="474"/>
                  <a:pt x="854" y="475"/>
                  <a:pt x="854" y="475"/>
                </a:cubicBezTo>
                <a:cubicBezTo>
                  <a:pt x="854" y="475"/>
                  <a:pt x="853" y="476"/>
                  <a:pt x="853" y="477"/>
                </a:cubicBezTo>
                <a:lnTo>
                  <a:pt x="851" y="481"/>
                </a:lnTo>
                <a:lnTo>
                  <a:pt x="851" y="482"/>
                </a:lnTo>
                <a:cubicBezTo>
                  <a:pt x="851" y="483"/>
                  <a:pt x="850" y="483"/>
                  <a:pt x="849" y="483"/>
                </a:cubicBezTo>
                <a:close/>
                <a:moveTo>
                  <a:pt x="796" y="629"/>
                </a:moveTo>
                <a:lnTo>
                  <a:pt x="797" y="625"/>
                </a:lnTo>
                <a:cubicBezTo>
                  <a:pt x="798" y="621"/>
                  <a:pt x="799" y="619"/>
                  <a:pt x="800" y="619"/>
                </a:cubicBezTo>
                <a:cubicBezTo>
                  <a:pt x="800" y="619"/>
                  <a:pt x="800" y="620"/>
                  <a:pt x="800" y="622"/>
                </a:cubicBezTo>
                <a:cubicBezTo>
                  <a:pt x="800" y="625"/>
                  <a:pt x="800" y="625"/>
                  <a:pt x="800" y="625"/>
                </a:cubicBezTo>
                <a:lnTo>
                  <a:pt x="799" y="625"/>
                </a:lnTo>
                <a:cubicBezTo>
                  <a:pt x="799" y="625"/>
                  <a:pt x="798" y="626"/>
                  <a:pt x="797" y="627"/>
                </a:cubicBezTo>
                <a:lnTo>
                  <a:pt x="796" y="629"/>
                </a:lnTo>
                <a:close/>
                <a:moveTo>
                  <a:pt x="853" y="472"/>
                </a:moveTo>
                <a:cubicBezTo>
                  <a:pt x="852" y="472"/>
                  <a:pt x="852" y="472"/>
                  <a:pt x="852" y="471"/>
                </a:cubicBezTo>
                <a:lnTo>
                  <a:pt x="853" y="467"/>
                </a:lnTo>
                <a:cubicBezTo>
                  <a:pt x="855" y="460"/>
                  <a:pt x="856" y="457"/>
                  <a:pt x="858" y="457"/>
                </a:cubicBezTo>
                <a:cubicBezTo>
                  <a:pt x="859" y="457"/>
                  <a:pt x="859" y="458"/>
                  <a:pt x="859" y="459"/>
                </a:cubicBezTo>
                <a:cubicBezTo>
                  <a:pt x="859" y="459"/>
                  <a:pt x="859" y="460"/>
                  <a:pt x="858" y="460"/>
                </a:cubicBezTo>
                <a:cubicBezTo>
                  <a:pt x="858" y="461"/>
                  <a:pt x="858" y="461"/>
                  <a:pt x="858" y="462"/>
                </a:cubicBezTo>
                <a:lnTo>
                  <a:pt x="859" y="465"/>
                </a:lnTo>
                <a:lnTo>
                  <a:pt x="856" y="464"/>
                </a:lnTo>
                <a:cubicBezTo>
                  <a:pt x="856" y="464"/>
                  <a:pt x="855" y="464"/>
                  <a:pt x="855" y="464"/>
                </a:cubicBezTo>
                <a:lnTo>
                  <a:pt x="856" y="467"/>
                </a:lnTo>
                <a:cubicBezTo>
                  <a:pt x="856" y="468"/>
                  <a:pt x="855" y="469"/>
                  <a:pt x="855" y="470"/>
                </a:cubicBezTo>
                <a:cubicBezTo>
                  <a:pt x="854" y="472"/>
                  <a:pt x="853" y="472"/>
                  <a:pt x="853" y="472"/>
                </a:cubicBezTo>
                <a:close/>
                <a:moveTo>
                  <a:pt x="759" y="689"/>
                </a:moveTo>
                <a:cubicBezTo>
                  <a:pt x="758" y="689"/>
                  <a:pt x="757" y="688"/>
                  <a:pt x="757" y="688"/>
                </a:cubicBezTo>
                <a:cubicBezTo>
                  <a:pt x="757" y="687"/>
                  <a:pt x="757" y="687"/>
                  <a:pt x="758" y="686"/>
                </a:cubicBezTo>
                <a:cubicBezTo>
                  <a:pt x="759" y="685"/>
                  <a:pt x="761" y="685"/>
                  <a:pt x="762" y="685"/>
                </a:cubicBezTo>
                <a:cubicBezTo>
                  <a:pt x="762" y="685"/>
                  <a:pt x="762" y="685"/>
                  <a:pt x="762" y="686"/>
                </a:cubicBezTo>
                <a:cubicBezTo>
                  <a:pt x="762" y="686"/>
                  <a:pt x="762" y="687"/>
                  <a:pt x="761" y="688"/>
                </a:cubicBezTo>
                <a:cubicBezTo>
                  <a:pt x="760" y="689"/>
                  <a:pt x="759" y="689"/>
                  <a:pt x="759" y="689"/>
                </a:cubicBezTo>
                <a:close/>
                <a:moveTo>
                  <a:pt x="831" y="439"/>
                </a:moveTo>
                <a:lnTo>
                  <a:pt x="830" y="439"/>
                </a:lnTo>
                <a:lnTo>
                  <a:pt x="831" y="437"/>
                </a:lnTo>
                <a:cubicBezTo>
                  <a:pt x="831" y="436"/>
                  <a:pt x="832" y="435"/>
                  <a:pt x="832" y="435"/>
                </a:cubicBezTo>
                <a:cubicBezTo>
                  <a:pt x="833" y="435"/>
                  <a:pt x="833" y="435"/>
                  <a:pt x="833" y="436"/>
                </a:cubicBezTo>
                <a:cubicBezTo>
                  <a:pt x="833" y="437"/>
                  <a:pt x="832" y="437"/>
                  <a:pt x="831" y="438"/>
                </a:cubicBezTo>
                <a:lnTo>
                  <a:pt x="831" y="439"/>
                </a:lnTo>
                <a:close/>
                <a:moveTo>
                  <a:pt x="825" y="452"/>
                </a:moveTo>
                <a:lnTo>
                  <a:pt x="825" y="451"/>
                </a:lnTo>
                <a:cubicBezTo>
                  <a:pt x="825" y="451"/>
                  <a:pt x="826" y="449"/>
                  <a:pt x="827" y="447"/>
                </a:cubicBezTo>
                <a:cubicBezTo>
                  <a:pt x="828" y="443"/>
                  <a:pt x="829" y="441"/>
                  <a:pt x="829" y="441"/>
                </a:cubicBezTo>
                <a:lnTo>
                  <a:pt x="829" y="442"/>
                </a:lnTo>
                <a:cubicBezTo>
                  <a:pt x="829" y="443"/>
                  <a:pt x="829" y="444"/>
                  <a:pt x="828" y="447"/>
                </a:cubicBezTo>
                <a:cubicBezTo>
                  <a:pt x="827" y="451"/>
                  <a:pt x="826" y="452"/>
                  <a:pt x="825" y="452"/>
                </a:cubicBezTo>
                <a:close/>
                <a:moveTo>
                  <a:pt x="813" y="483"/>
                </a:moveTo>
                <a:cubicBezTo>
                  <a:pt x="813" y="483"/>
                  <a:pt x="815" y="478"/>
                  <a:pt x="818" y="469"/>
                </a:cubicBezTo>
                <a:cubicBezTo>
                  <a:pt x="822" y="460"/>
                  <a:pt x="824" y="456"/>
                  <a:pt x="825" y="456"/>
                </a:cubicBezTo>
                <a:cubicBezTo>
                  <a:pt x="825" y="457"/>
                  <a:pt x="823" y="462"/>
                  <a:pt x="819" y="470"/>
                </a:cubicBezTo>
                <a:cubicBezTo>
                  <a:pt x="816" y="479"/>
                  <a:pt x="814" y="483"/>
                  <a:pt x="813" y="483"/>
                </a:cubicBezTo>
                <a:close/>
                <a:moveTo>
                  <a:pt x="622" y="1078"/>
                </a:moveTo>
                <a:cubicBezTo>
                  <a:pt x="622" y="1078"/>
                  <a:pt x="622" y="1076"/>
                  <a:pt x="621" y="1072"/>
                </a:cubicBezTo>
                <a:lnTo>
                  <a:pt x="621" y="1069"/>
                </a:lnTo>
                <a:cubicBezTo>
                  <a:pt x="621" y="1066"/>
                  <a:pt x="621" y="1065"/>
                  <a:pt x="622" y="1065"/>
                </a:cubicBezTo>
                <a:cubicBezTo>
                  <a:pt x="622" y="1065"/>
                  <a:pt x="623" y="1066"/>
                  <a:pt x="623" y="1068"/>
                </a:cubicBezTo>
                <a:cubicBezTo>
                  <a:pt x="623" y="1074"/>
                  <a:pt x="622" y="1078"/>
                  <a:pt x="622" y="1078"/>
                </a:cubicBezTo>
                <a:close/>
                <a:moveTo>
                  <a:pt x="637" y="1100"/>
                </a:moveTo>
                <a:cubicBezTo>
                  <a:pt x="635" y="1100"/>
                  <a:pt x="634" y="1099"/>
                  <a:pt x="634" y="1098"/>
                </a:cubicBezTo>
                <a:cubicBezTo>
                  <a:pt x="634" y="1097"/>
                  <a:pt x="633" y="1095"/>
                  <a:pt x="631" y="1093"/>
                </a:cubicBezTo>
                <a:cubicBezTo>
                  <a:pt x="630" y="1092"/>
                  <a:pt x="629" y="1091"/>
                  <a:pt x="629" y="1089"/>
                </a:cubicBezTo>
                <a:lnTo>
                  <a:pt x="629" y="1088"/>
                </a:lnTo>
                <a:cubicBezTo>
                  <a:pt x="628" y="1088"/>
                  <a:pt x="627" y="1088"/>
                  <a:pt x="627" y="1090"/>
                </a:cubicBezTo>
                <a:cubicBezTo>
                  <a:pt x="627" y="1090"/>
                  <a:pt x="628" y="1092"/>
                  <a:pt x="628" y="1093"/>
                </a:cubicBezTo>
                <a:cubicBezTo>
                  <a:pt x="629" y="1095"/>
                  <a:pt x="630" y="1096"/>
                  <a:pt x="630" y="1096"/>
                </a:cubicBezTo>
                <a:cubicBezTo>
                  <a:pt x="630" y="1096"/>
                  <a:pt x="628" y="1095"/>
                  <a:pt x="627" y="1093"/>
                </a:cubicBezTo>
                <a:cubicBezTo>
                  <a:pt x="626" y="1092"/>
                  <a:pt x="625" y="1090"/>
                  <a:pt x="624" y="1089"/>
                </a:cubicBezTo>
                <a:lnTo>
                  <a:pt x="623" y="1086"/>
                </a:lnTo>
                <a:cubicBezTo>
                  <a:pt x="623" y="1086"/>
                  <a:pt x="623" y="1086"/>
                  <a:pt x="623" y="1087"/>
                </a:cubicBezTo>
                <a:cubicBezTo>
                  <a:pt x="624" y="1088"/>
                  <a:pt x="624" y="1088"/>
                  <a:pt x="625" y="1088"/>
                </a:cubicBezTo>
                <a:cubicBezTo>
                  <a:pt x="625" y="1088"/>
                  <a:pt x="625" y="1084"/>
                  <a:pt x="625" y="1076"/>
                </a:cubicBezTo>
                <a:cubicBezTo>
                  <a:pt x="625" y="1066"/>
                  <a:pt x="624" y="1060"/>
                  <a:pt x="623" y="1059"/>
                </a:cubicBezTo>
                <a:cubicBezTo>
                  <a:pt x="622" y="1058"/>
                  <a:pt x="621" y="1057"/>
                  <a:pt x="621" y="1056"/>
                </a:cubicBezTo>
                <a:lnTo>
                  <a:pt x="625" y="1058"/>
                </a:lnTo>
                <a:cubicBezTo>
                  <a:pt x="626" y="1058"/>
                  <a:pt x="626" y="1057"/>
                  <a:pt x="626" y="1056"/>
                </a:cubicBezTo>
                <a:cubicBezTo>
                  <a:pt x="626" y="1056"/>
                  <a:pt x="625" y="1055"/>
                  <a:pt x="624" y="1054"/>
                </a:cubicBezTo>
                <a:cubicBezTo>
                  <a:pt x="623" y="1054"/>
                  <a:pt x="623" y="1052"/>
                  <a:pt x="623" y="1049"/>
                </a:cubicBezTo>
                <a:cubicBezTo>
                  <a:pt x="623" y="1043"/>
                  <a:pt x="624" y="1033"/>
                  <a:pt x="627" y="1019"/>
                </a:cubicBezTo>
                <a:cubicBezTo>
                  <a:pt x="630" y="1004"/>
                  <a:pt x="634" y="989"/>
                  <a:pt x="638" y="974"/>
                </a:cubicBezTo>
                <a:cubicBezTo>
                  <a:pt x="640" y="969"/>
                  <a:pt x="642" y="962"/>
                  <a:pt x="644" y="953"/>
                </a:cubicBezTo>
                <a:cubicBezTo>
                  <a:pt x="645" y="947"/>
                  <a:pt x="648" y="939"/>
                  <a:pt x="651" y="931"/>
                </a:cubicBezTo>
                <a:lnTo>
                  <a:pt x="654" y="921"/>
                </a:lnTo>
                <a:cubicBezTo>
                  <a:pt x="654" y="921"/>
                  <a:pt x="654" y="921"/>
                  <a:pt x="654" y="921"/>
                </a:cubicBezTo>
                <a:cubicBezTo>
                  <a:pt x="654" y="920"/>
                  <a:pt x="654" y="919"/>
                  <a:pt x="655" y="918"/>
                </a:cubicBezTo>
                <a:cubicBezTo>
                  <a:pt x="656" y="916"/>
                  <a:pt x="657" y="914"/>
                  <a:pt x="658" y="911"/>
                </a:cubicBezTo>
                <a:cubicBezTo>
                  <a:pt x="662" y="902"/>
                  <a:pt x="663" y="897"/>
                  <a:pt x="663" y="896"/>
                </a:cubicBezTo>
                <a:cubicBezTo>
                  <a:pt x="663" y="894"/>
                  <a:pt x="666" y="882"/>
                  <a:pt x="673" y="861"/>
                </a:cubicBezTo>
                <a:cubicBezTo>
                  <a:pt x="680" y="840"/>
                  <a:pt x="684" y="829"/>
                  <a:pt x="685" y="828"/>
                </a:cubicBezTo>
                <a:cubicBezTo>
                  <a:pt x="685" y="828"/>
                  <a:pt x="685" y="827"/>
                  <a:pt x="685" y="827"/>
                </a:cubicBezTo>
                <a:lnTo>
                  <a:pt x="685" y="825"/>
                </a:lnTo>
                <a:cubicBezTo>
                  <a:pt x="685" y="824"/>
                  <a:pt x="685" y="823"/>
                  <a:pt x="687" y="821"/>
                </a:cubicBezTo>
                <a:cubicBezTo>
                  <a:pt x="688" y="819"/>
                  <a:pt x="689" y="816"/>
                  <a:pt x="690" y="813"/>
                </a:cubicBezTo>
                <a:cubicBezTo>
                  <a:pt x="692" y="809"/>
                  <a:pt x="693" y="806"/>
                  <a:pt x="693" y="804"/>
                </a:cubicBezTo>
                <a:lnTo>
                  <a:pt x="692" y="802"/>
                </a:lnTo>
                <a:lnTo>
                  <a:pt x="692" y="802"/>
                </a:lnTo>
                <a:lnTo>
                  <a:pt x="693" y="803"/>
                </a:lnTo>
                <a:lnTo>
                  <a:pt x="694" y="803"/>
                </a:lnTo>
                <a:cubicBezTo>
                  <a:pt x="694" y="803"/>
                  <a:pt x="695" y="802"/>
                  <a:pt x="695" y="800"/>
                </a:cubicBezTo>
                <a:lnTo>
                  <a:pt x="694" y="796"/>
                </a:lnTo>
                <a:cubicBezTo>
                  <a:pt x="694" y="795"/>
                  <a:pt x="695" y="795"/>
                  <a:pt x="697" y="795"/>
                </a:cubicBezTo>
                <a:cubicBezTo>
                  <a:pt x="699" y="795"/>
                  <a:pt x="699" y="794"/>
                  <a:pt x="699" y="791"/>
                </a:cubicBezTo>
                <a:cubicBezTo>
                  <a:pt x="699" y="788"/>
                  <a:pt x="700" y="786"/>
                  <a:pt x="701" y="784"/>
                </a:cubicBezTo>
                <a:cubicBezTo>
                  <a:pt x="704" y="777"/>
                  <a:pt x="707" y="772"/>
                  <a:pt x="708" y="767"/>
                </a:cubicBezTo>
                <a:cubicBezTo>
                  <a:pt x="709" y="763"/>
                  <a:pt x="711" y="759"/>
                  <a:pt x="712" y="757"/>
                </a:cubicBezTo>
                <a:lnTo>
                  <a:pt x="715" y="752"/>
                </a:lnTo>
                <a:cubicBezTo>
                  <a:pt x="715" y="752"/>
                  <a:pt x="714" y="751"/>
                  <a:pt x="713" y="750"/>
                </a:cubicBezTo>
                <a:cubicBezTo>
                  <a:pt x="712" y="749"/>
                  <a:pt x="712" y="749"/>
                  <a:pt x="712" y="748"/>
                </a:cubicBezTo>
                <a:cubicBezTo>
                  <a:pt x="712" y="748"/>
                  <a:pt x="712" y="748"/>
                  <a:pt x="713" y="748"/>
                </a:cubicBezTo>
                <a:cubicBezTo>
                  <a:pt x="716" y="748"/>
                  <a:pt x="717" y="747"/>
                  <a:pt x="717" y="746"/>
                </a:cubicBezTo>
                <a:lnTo>
                  <a:pt x="717" y="744"/>
                </a:lnTo>
                <a:cubicBezTo>
                  <a:pt x="717" y="742"/>
                  <a:pt x="717" y="742"/>
                  <a:pt x="718" y="742"/>
                </a:cubicBezTo>
                <a:cubicBezTo>
                  <a:pt x="719" y="742"/>
                  <a:pt x="719" y="741"/>
                  <a:pt x="719" y="741"/>
                </a:cubicBezTo>
                <a:lnTo>
                  <a:pt x="719" y="739"/>
                </a:lnTo>
                <a:cubicBezTo>
                  <a:pt x="719" y="738"/>
                  <a:pt x="719" y="737"/>
                  <a:pt x="720" y="737"/>
                </a:cubicBezTo>
                <a:cubicBezTo>
                  <a:pt x="720" y="737"/>
                  <a:pt x="721" y="736"/>
                  <a:pt x="721" y="736"/>
                </a:cubicBezTo>
                <a:cubicBezTo>
                  <a:pt x="721" y="735"/>
                  <a:pt x="721" y="735"/>
                  <a:pt x="721" y="733"/>
                </a:cubicBezTo>
                <a:lnTo>
                  <a:pt x="721" y="732"/>
                </a:lnTo>
                <a:cubicBezTo>
                  <a:pt x="721" y="731"/>
                  <a:pt x="721" y="730"/>
                  <a:pt x="722" y="730"/>
                </a:cubicBezTo>
                <a:cubicBezTo>
                  <a:pt x="723" y="730"/>
                  <a:pt x="723" y="730"/>
                  <a:pt x="723" y="730"/>
                </a:cubicBezTo>
                <a:lnTo>
                  <a:pt x="723" y="729"/>
                </a:lnTo>
                <a:cubicBezTo>
                  <a:pt x="723" y="728"/>
                  <a:pt x="723" y="726"/>
                  <a:pt x="725" y="725"/>
                </a:cubicBezTo>
                <a:cubicBezTo>
                  <a:pt x="726" y="723"/>
                  <a:pt x="727" y="722"/>
                  <a:pt x="727" y="720"/>
                </a:cubicBezTo>
                <a:cubicBezTo>
                  <a:pt x="727" y="719"/>
                  <a:pt x="727" y="719"/>
                  <a:pt x="726" y="718"/>
                </a:cubicBezTo>
                <a:cubicBezTo>
                  <a:pt x="726" y="718"/>
                  <a:pt x="726" y="717"/>
                  <a:pt x="725" y="717"/>
                </a:cubicBezTo>
                <a:lnTo>
                  <a:pt x="725" y="716"/>
                </a:lnTo>
                <a:lnTo>
                  <a:pt x="727" y="716"/>
                </a:lnTo>
                <a:cubicBezTo>
                  <a:pt x="727" y="716"/>
                  <a:pt x="728" y="716"/>
                  <a:pt x="729" y="715"/>
                </a:cubicBezTo>
                <a:cubicBezTo>
                  <a:pt x="730" y="714"/>
                  <a:pt x="733" y="707"/>
                  <a:pt x="737" y="693"/>
                </a:cubicBezTo>
                <a:cubicBezTo>
                  <a:pt x="742" y="680"/>
                  <a:pt x="745" y="673"/>
                  <a:pt x="745" y="671"/>
                </a:cubicBezTo>
                <a:lnTo>
                  <a:pt x="745" y="671"/>
                </a:lnTo>
                <a:cubicBezTo>
                  <a:pt x="745" y="670"/>
                  <a:pt x="745" y="670"/>
                  <a:pt x="746" y="670"/>
                </a:cubicBezTo>
                <a:cubicBezTo>
                  <a:pt x="747" y="670"/>
                  <a:pt x="747" y="669"/>
                  <a:pt x="747" y="667"/>
                </a:cubicBezTo>
                <a:cubicBezTo>
                  <a:pt x="747" y="665"/>
                  <a:pt x="748" y="661"/>
                  <a:pt x="751" y="656"/>
                </a:cubicBezTo>
                <a:cubicBezTo>
                  <a:pt x="753" y="650"/>
                  <a:pt x="754" y="646"/>
                  <a:pt x="754" y="643"/>
                </a:cubicBezTo>
                <a:cubicBezTo>
                  <a:pt x="754" y="642"/>
                  <a:pt x="754" y="641"/>
                  <a:pt x="753" y="641"/>
                </a:cubicBezTo>
                <a:lnTo>
                  <a:pt x="753" y="639"/>
                </a:lnTo>
                <a:lnTo>
                  <a:pt x="753" y="639"/>
                </a:lnTo>
                <a:lnTo>
                  <a:pt x="754" y="640"/>
                </a:lnTo>
                <a:cubicBezTo>
                  <a:pt x="754" y="641"/>
                  <a:pt x="754" y="641"/>
                  <a:pt x="755" y="641"/>
                </a:cubicBezTo>
                <a:cubicBezTo>
                  <a:pt x="756" y="641"/>
                  <a:pt x="757" y="639"/>
                  <a:pt x="758" y="636"/>
                </a:cubicBezTo>
                <a:lnTo>
                  <a:pt x="759" y="631"/>
                </a:lnTo>
                <a:cubicBezTo>
                  <a:pt x="759" y="631"/>
                  <a:pt x="758" y="632"/>
                  <a:pt x="757" y="633"/>
                </a:cubicBezTo>
                <a:cubicBezTo>
                  <a:pt x="757" y="634"/>
                  <a:pt x="756" y="635"/>
                  <a:pt x="756" y="635"/>
                </a:cubicBezTo>
                <a:cubicBezTo>
                  <a:pt x="756" y="635"/>
                  <a:pt x="755" y="635"/>
                  <a:pt x="755" y="634"/>
                </a:cubicBezTo>
                <a:cubicBezTo>
                  <a:pt x="755" y="634"/>
                  <a:pt x="756" y="631"/>
                  <a:pt x="757" y="628"/>
                </a:cubicBezTo>
                <a:cubicBezTo>
                  <a:pt x="759" y="625"/>
                  <a:pt x="760" y="623"/>
                  <a:pt x="761" y="623"/>
                </a:cubicBezTo>
                <a:lnTo>
                  <a:pt x="762" y="623"/>
                </a:lnTo>
                <a:lnTo>
                  <a:pt x="762" y="622"/>
                </a:lnTo>
                <a:cubicBezTo>
                  <a:pt x="762" y="616"/>
                  <a:pt x="763" y="611"/>
                  <a:pt x="766" y="605"/>
                </a:cubicBezTo>
                <a:cubicBezTo>
                  <a:pt x="767" y="603"/>
                  <a:pt x="768" y="602"/>
                  <a:pt x="769" y="602"/>
                </a:cubicBezTo>
                <a:lnTo>
                  <a:pt x="770" y="602"/>
                </a:lnTo>
                <a:cubicBezTo>
                  <a:pt x="770" y="602"/>
                  <a:pt x="770" y="601"/>
                  <a:pt x="770" y="601"/>
                </a:cubicBezTo>
                <a:cubicBezTo>
                  <a:pt x="770" y="601"/>
                  <a:pt x="770" y="600"/>
                  <a:pt x="770" y="600"/>
                </a:cubicBezTo>
                <a:cubicBezTo>
                  <a:pt x="769" y="600"/>
                  <a:pt x="769" y="599"/>
                  <a:pt x="769" y="597"/>
                </a:cubicBezTo>
                <a:lnTo>
                  <a:pt x="772" y="598"/>
                </a:lnTo>
                <a:cubicBezTo>
                  <a:pt x="772" y="598"/>
                  <a:pt x="772" y="597"/>
                  <a:pt x="772" y="597"/>
                </a:cubicBezTo>
                <a:cubicBezTo>
                  <a:pt x="771" y="596"/>
                  <a:pt x="771" y="595"/>
                  <a:pt x="771" y="595"/>
                </a:cubicBezTo>
                <a:cubicBezTo>
                  <a:pt x="771" y="593"/>
                  <a:pt x="771" y="591"/>
                  <a:pt x="772" y="589"/>
                </a:cubicBezTo>
                <a:cubicBezTo>
                  <a:pt x="773" y="588"/>
                  <a:pt x="774" y="587"/>
                  <a:pt x="774" y="587"/>
                </a:cubicBezTo>
                <a:lnTo>
                  <a:pt x="776" y="588"/>
                </a:lnTo>
                <a:cubicBezTo>
                  <a:pt x="776" y="587"/>
                  <a:pt x="776" y="587"/>
                  <a:pt x="775" y="586"/>
                </a:cubicBezTo>
                <a:cubicBezTo>
                  <a:pt x="775" y="585"/>
                  <a:pt x="774" y="584"/>
                  <a:pt x="774" y="583"/>
                </a:cubicBezTo>
                <a:cubicBezTo>
                  <a:pt x="774" y="581"/>
                  <a:pt x="775" y="579"/>
                  <a:pt x="776" y="579"/>
                </a:cubicBezTo>
                <a:lnTo>
                  <a:pt x="778" y="580"/>
                </a:lnTo>
                <a:lnTo>
                  <a:pt x="778" y="578"/>
                </a:lnTo>
                <a:cubicBezTo>
                  <a:pt x="778" y="577"/>
                  <a:pt x="778" y="574"/>
                  <a:pt x="780" y="569"/>
                </a:cubicBezTo>
                <a:cubicBezTo>
                  <a:pt x="782" y="561"/>
                  <a:pt x="786" y="551"/>
                  <a:pt x="789" y="541"/>
                </a:cubicBezTo>
                <a:lnTo>
                  <a:pt x="792" y="535"/>
                </a:lnTo>
                <a:lnTo>
                  <a:pt x="792" y="536"/>
                </a:lnTo>
                <a:cubicBezTo>
                  <a:pt x="792" y="537"/>
                  <a:pt x="792" y="538"/>
                  <a:pt x="792" y="539"/>
                </a:cubicBezTo>
                <a:cubicBezTo>
                  <a:pt x="791" y="540"/>
                  <a:pt x="791" y="541"/>
                  <a:pt x="791" y="542"/>
                </a:cubicBezTo>
                <a:lnTo>
                  <a:pt x="791" y="544"/>
                </a:lnTo>
                <a:cubicBezTo>
                  <a:pt x="791" y="544"/>
                  <a:pt x="792" y="543"/>
                  <a:pt x="793" y="540"/>
                </a:cubicBezTo>
                <a:cubicBezTo>
                  <a:pt x="796" y="533"/>
                  <a:pt x="797" y="528"/>
                  <a:pt x="797" y="524"/>
                </a:cubicBezTo>
                <a:lnTo>
                  <a:pt x="797" y="523"/>
                </a:lnTo>
                <a:cubicBezTo>
                  <a:pt x="797" y="522"/>
                  <a:pt x="798" y="522"/>
                  <a:pt x="799" y="522"/>
                </a:cubicBezTo>
                <a:cubicBezTo>
                  <a:pt x="800" y="522"/>
                  <a:pt x="802" y="518"/>
                  <a:pt x="805" y="510"/>
                </a:cubicBezTo>
                <a:cubicBezTo>
                  <a:pt x="808" y="502"/>
                  <a:pt x="811" y="498"/>
                  <a:pt x="812" y="498"/>
                </a:cubicBezTo>
                <a:cubicBezTo>
                  <a:pt x="813" y="498"/>
                  <a:pt x="813" y="497"/>
                  <a:pt x="813" y="497"/>
                </a:cubicBezTo>
                <a:lnTo>
                  <a:pt x="812" y="493"/>
                </a:lnTo>
                <a:lnTo>
                  <a:pt x="813" y="493"/>
                </a:lnTo>
                <a:lnTo>
                  <a:pt x="814" y="493"/>
                </a:lnTo>
                <a:cubicBezTo>
                  <a:pt x="814" y="493"/>
                  <a:pt x="815" y="493"/>
                  <a:pt x="815" y="492"/>
                </a:cubicBezTo>
                <a:cubicBezTo>
                  <a:pt x="816" y="490"/>
                  <a:pt x="817" y="487"/>
                  <a:pt x="818" y="485"/>
                </a:cubicBezTo>
                <a:cubicBezTo>
                  <a:pt x="818" y="483"/>
                  <a:pt x="819" y="482"/>
                  <a:pt x="819" y="481"/>
                </a:cubicBezTo>
                <a:cubicBezTo>
                  <a:pt x="820" y="481"/>
                  <a:pt x="821" y="478"/>
                  <a:pt x="823" y="474"/>
                </a:cubicBezTo>
                <a:cubicBezTo>
                  <a:pt x="828" y="463"/>
                  <a:pt x="831" y="456"/>
                  <a:pt x="831" y="455"/>
                </a:cubicBezTo>
                <a:lnTo>
                  <a:pt x="831" y="453"/>
                </a:lnTo>
                <a:cubicBezTo>
                  <a:pt x="831" y="453"/>
                  <a:pt x="831" y="453"/>
                  <a:pt x="832" y="451"/>
                </a:cubicBezTo>
                <a:cubicBezTo>
                  <a:pt x="833" y="451"/>
                  <a:pt x="833" y="450"/>
                  <a:pt x="833" y="449"/>
                </a:cubicBezTo>
                <a:cubicBezTo>
                  <a:pt x="834" y="448"/>
                  <a:pt x="834" y="447"/>
                  <a:pt x="834" y="446"/>
                </a:cubicBezTo>
                <a:cubicBezTo>
                  <a:pt x="834" y="444"/>
                  <a:pt x="835" y="443"/>
                  <a:pt x="836" y="443"/>
                </a:cubicBezTo>
                <a:cubicBezTo>
                  <a:pt x="838" y="443"/>
                  <a:pt x="838" y="443"/>
                  <a:pt x="838" y="442"/>
                </a:cubicBezTo>
                <a:lnTo>
                  <a:pt x="838" y="442"/>
                </a:lnTo>
                <a:cubicBezTo>
                  <a:pt x="838" y="441"/>
                  <a:pt x="838" y="441"/>
                  <a:pt x="837" y="441"/>
                </a:cubicBezTo>
                <a:lnTo>
                  <a:pt x="835" y="441"/>
                </a:lnTo>
                <a:cubicBezTo>
                  <a:pt x="835" y="440"/>
                  <a:pt x="836" y="438"/>
                  <a:pt x="838" y="436"/>
                </a:cubicBezTo>
                <a:cubicBezTo>
                  <a:pt x="839" y="435"/>
                  <a:pt x="840" y="434"/>
                  <a:pt x="841" y="433"/>
                </a:cubicBezTo>
                <a:lnTo>
                  <a:pt x="844" y="432"/>
                </a:lnTo>
                <a:cubicBezTo>
                  <a:pt x="844" y="433"/>
                  <a:pt x="844" y="433"/>
                  <a:pt x="843" y="434"/>
                </a:cubicBezTo>
                <a:cubicBezTo>
                  <a:pt x="843" y="435"/>
                  <a:pt x="842" y="436"/>
                  <a:pt x="842" y="436"/>
                </a:cubicBezTo>
                <a:cubicBezTo>
                  <a:pt x="842" y="436"/>
                  <a:pt x="843" y="436"/>
                  <a:pt x="843" y="436"/>
                </a:cubicBezTo>
                <a:cubicBezTo>
                  <a:pt x="843" y="438"/>
                  <a:pt x="842" y="441"/>
                  <a:pt x="840" y="447"/>
                </a:cubicBezTo>
                <a:cubicBezTo>
                  <a:pt x="838" y="452"/>
                  <a:pt x="837" y="456"/>
                  <a:pt x="837" y="457"/>
                </a:cubicBezTo>
                <a:lnTo>
                  <a:pt x="837" y="459"/>
                </a:lnTo>
                <a:cubicBezTo>
                  <a:pt x="837" y="459"/>
                  <a:pt x="836" y="460"/>
                  <a:pt x="836" y="460"/>
                </a:cubicBezTo>
                <a:cubicBezTo>
                  <a:pt x="835" y="460"/>
                  <a:pt x="834" y="460"/>
                  <a:pt x="834" y="462"/>
                </a:cubicBezTo>
                <a:cubicBezTo>
                  <a:pt x="834" y="464"/>
                  <a:pt x="834" y="465"/>
                  <a:pt x="833" y="465"/>
                </a:cubicBezTo>
                <a:cubicBezTo>
                  <a:pt x="832" y="465"/>
                  <a:pt x="832" y="467"/>
                  <a:pt x="832" y="469"/>
                </a:cubicBezTo>
                <a:lnTo>
                  <a:pt x="832" y="475"/>
                </a:lnTo>
                <a:cubicBezTo>
                  <a:pt x="832" y="477"/>
                  <a:pt x="832" y="477"/>
                  <a:pt x="831" y="477"/>
                </a:cubicBezTo>
                <a:lnTo>
                  <a:pt x="831" y="477"/>
                </a:lnTo>
                <a:cubicBezTo>
                  <a:pt x="830" y="477"/>
                  <a:pt x="829" y="478"/>
                  <a:pt x="828" y="481"/>
                </a:cubicBezTo>
                <a:lnTo>
                  <a:pt x="828" y="484"/>
                </a:lnTo>
                <a:lnTo>
                  <a:pt x="829" y="483"/>
                </a:lnTo>
                <a:lnTo>
                  <a:pt x="829" y="484"/>
                </a:lnTo>
                <a:lnTo>
                  <a:pt x="829" y="485"/>
                </a:lnTo>
                <a:cubicBezTo>
                  <a:pt x="829" y="486"/>
                  <a:pt x="828" y="486"/>
                  <a:pt x="825" y="486"/>
                </a:cubicBezTo>
                <a:lnTo>
                  <a:pt x="824" y="486"/>
                </a:lnTo>
                <a:cubicBezTo>
                  <a:pt x="824" y="486"/>
                  <a:pt x="824" y="487"/>
                  <a:pt x="825" y="488"/>
                </a:cubicBezTo>
                <a:cubicBezTo>
                  <a:pt x="826" y="489"/>
                  <a:pt x="827" y="491"/>
                  <a:pt x="827" y="492"/>
                </a:cubicBezTo>
                <a:cubicBezTo>
                  <a:pt x="827" y="495"/>
                  <a:pt x="826" y="495"/>
                  <a:pt x="825" y="495"/>
                </a:cubicBezTo>
                <a:lnTo>
                  <a:pt x="823" y="495"/>
                </a:lnTo>
                <a:cubicBezTo>
                  <a:pt x="823" y="495"/>
                  <a:pt x="823" y="496"/>
                  <a:pt x="823" y="497"/>
                </a:cubicBezTo>
                <a:cubicBezTo>
                  <a:pt x="823" y="499"/>
                  <a:pt x="821" y="504"/>
                  <a:pt x="819" y="511"/>
                </a:cubicBezTo>
                <a:cubicBezTo>
                  <a:pt x="816" y="519"/>
                  <a:pt x="814" y="522"/>
                  <a:pt x="813" y="522"/>
                </a:cubicBezTo>
                <a:lnTo>
                  <a:pt x="812" y="522"/>
                </a:lnTo>
                <a:cubicBezTo>
                  <a:pt x="812" y="523"/>
                  <a:pt x="812" y="523"/>
                  <a:pt x="813" y="524"/>
                </a:cubicBezTo>
                <a:cubicBezTo>
                  <a:pt x="813" y="524"/>
                  <a:pt x="813" y="525"/>
                  <a:pt x="813" y="526"/>
                </a:cubicBezTo>
                <a:cubicBezTo>
                  <a:pt x="813" y="529"/>
                  <a:pt x="813" y="530"/>
                  <a:pt x="811" y="530"/>
                </a:cubicBezTo>
                <a:lnTo>
                  <a:pt x="810" y="530"/>
                </a:lnTo>
                <a:lnTo>
                  <a:pt x="811" y="534"/>
                </a:lnTo>
                <a:cubicBezTo>
                  <a:pt x="811" y="534"/>
                  <a:pt x="811" y="534"/>
                  <a:pt x="811" y="534"/>
                </a:cubicBezTo>
                <a:lnTo>
                  <a:pt x="808" y="533"/>
                </a:lnTo>
                <a:lnTo>
                  <a:pt x="808" y="534"/>
                </a:lnTo>
                <a:lnTo>
                  <a:pt x="808" y="534"/>
                </a:lnTo>
                <a:cubicBezTo>
                  <a:pt x="809" y="535"/>
                  <a:pt x="809" y="536"/>
                  <a:pt x="809" y="536"/>
                </a:cubicBezTo>
                <a:cubicBezTo>
                  <a:pt x="809" y="538"/>
                  <a:pt x="809" y="539"/>
                  <a:pt x="808" y="541"/>
                </a:cubicBezTo>
                <a:cubicBezTo>
                  <a:pt x="807" y="544"/>
                  <a:pt x="806" y="544"/>
                  <a:pt x="805" y="544"/>
                </a:cubicBezTo>
                <a:lnTo>
                  <a:pt x="804" y="544"/>
                </a:lnTo>
                <a:lnTo>
                  <a:pt x="805" y="545"/>
                </a:lnTo>
                <a:cubicBezTo>
                  <a:pt x="805" y="546"/>
                  <a:pt x="806" y="546"/>
                  <a:pt x="806" y="547"/>
                </a:cubicBezTo>
                <a:cubicBezTo>
                  <a:pt x="806" y="549"/>
                  <a:pt x="805" y="550"/>
                  <a:pt x="803" y="552"/>
                </a:cubicBezTo>
                <a:lnTo>
                  <a:pt x="800" y="554"/>
                </a:lnTo>
                <a:lnTo>
                  <a:pt x="802" y="554"/>
                </a:lnTo>
                <a:cubicBezTo>
                  <a:pt x="803" y="554"/>
                  <a:pt x="803" y="554"/>
                  <a:pt x="803" y="555"/>
                </a:cubicBezTo>
                <a:cubicBezTo>
                  <a:pt x="803" y="556"/>
                  <a:pt x="803" y="557"/>
                  <a:pt x="802" y="559"/>
                </a:cubicBezTo>
                <a:cubicBezTo>
                  <a:pt x="801" y="560"/>
                  <a:pt x="800" y="561"/>
                  <a:pt x="798" y="562"/>
                </a:cubicBezTo>
                <a:cubicBezTo>
                  <a:pt x="797" y="563"/>
                  <a:pt x="796" y="564"/>
                  <a:pt x="796" y="565"/>
                </a:cubicBezTo>
                <a:cubicBezTo>
                  <a:pt x="796" y="566"/>
                  <a:pt x="797" y="566"/>
                  <a:pt x="797" y="567"/>
                </a:cubicBezTo>
                <a:cubicBezTo>
                  <a:pt x="797" y="569"/>
                  <a:pt x="796" y="570"/>
                  <a:pt x="796" y="571"/>
                </a:cubicBezTo>
                <a:cubicBezTo>
                  <a:pt x="795" y="571"/>
                  <a:pt x="794" y="573"/>
                  <a:pt x="794" y="574"/>
                </a:cubicBezTo>
                <a:lnTo>
                  <a:pt x="794" y="576"/>
                </a:lnTo>
                <a:lnTo>
                  <a:pt x="794" y="575"/>
                </a:lnTo>
                <a:cubicBezTo>
                  <a:pt x="793" y="575"/>
                  <a:pt x="792" y="576"/>
                  <a:pt x="792" y="576"/>
                </a:cubicBezTo>
                <a:lnTo>
                  <a:pt x="794" y="579"/>
                </a:lnTo>
                <a:lnTo>
                  <a:pt x="793" y="579"/>
                </a:lnTo>
                <a:cubicBezTo>
                  <a:pt x="792" y="579"/>
                  <a:pt x="791" y="580"/>
                  <a:pt x="790" y="581"/>
                </a:cubicBezTo>
                <a:cubicBezTo>
                  <a:pt x="790" y="583"/>
                  <a:pt x="791" y="583"/>
                  <a:pt x="791" y="583"/>
                </a:cubicBezTo>
                <a:lnTo>
                  <a:pt x="792" y="583"/>
                </a:lnTo>
                <a:cubicBezTo>
                  <a:pt x="792" y="583"/>
                  <a:pt x="792" y="584"/>
                  <a:pt x="791" y="585"/>
                </a:cubicBezTo>
                <a:cubicBezTo>
                  <a:pt x="789" y="586"/>
                  <a:pt x="789" y="587"/>
                  <a:pt x="789" y="588"/>
                </a:cubicBezTo>
                <a:cubicBezTo>
                  <a:pt x="789" y="588"/>
                  <a:pt x="789" y="588"/>
                  <a:pt x="789" y="588"/>
                </a:cubicBezTo>
                <a:cubicBezTo>
                  <a:pt x="789" y="589"/>
                  <a:pt x="789" y="590"/>
                  <a:pt x="788" y="591"/>
                </a:cubicBezTo>
                <a:cubicBezTo>
                  <a:pt x="787" y="592"/>
                  <a:pt x="786" y="593"/>
                  <a:pt x="786" y="595"/>
                </a:cubicBezTo>
                <a:lnTo>
                  <a:pt x="787" y="596"/>
                </a:lnTo>
                <a:cubicBezTo>
                  <a:pt x="787" y="597"/>
                  <a:pt x="787" y="597"/>
                  <a:pt x="786" y="597"/>
                </a:cubicBezTo>
                <a:cubicBezTo>
                  <a:pt x="785" y="597"/>
                  <a:pt x="784" y="597"/>
                  <a:pt x="784" y="598"/>
                </a:cubicBezTo>
                <a:lnTo>
                  <a:pt x="786" y="600"/>
                </a:lnTo>
                <a:cubicBezTo>
                  <a:pt x="786" y="600"/>
                  <a:pt x="785" y="601"/>
                  <a:pt x="785" y="601"/>
                </a:cubicBezTo>
                <a:cubicBezTo>
                  <a:pt x="784" y="601"/>
                  <a:pt x="784" y="601"/>
                  <a:pt x="784" y="601"/>
                </a:cubicBezTo>
                <a:lnTo>
                  <a:pt x="784" y="603"/>
                </a:lnTo>
                <a:cubicBezTo>
                  <a:pt x="784" y="604"/>
                  <a:pt x="784" y="604"/>
                  <a:pt x="783" y="604"/>
                </a:cubicBezTo>
                <a:cubicBezTo>
                  <a:pt x="782" y="604"/>
                  <a:pt x="782" y="605"/>
                  <a:pt x="782" y="605"/>
                </a:cubicBezTo>
                <a:lnTo>
                  <a:pt x="783" y="607"/>
                </a:lnTo>
                <a:cubicBezTo>
                  <a:pt x="783" y="607"/>
                  <a:pt x="783" y="608"/>
                  <a:pt x="782" y="608"/>
                </a:cubicBezTo>
                <a:cubicBezTo>
                  <a:pt x="781" y="608"/>
                  <a:pt x="781" y="608"/>
                  <a:pt x="781" y="609"/>
                </a:cubicBezTo>
                <a:lnTo>
                  <a:pt x="781" y="610"/>
                </a:lnTo>
                <a:cubicBezTo>
                  <a:pt x="781" y="611"/>
                  <a:pt x="781" y="612"/>
                  <a:pt x="779" y="612"/>
                </a:cubicBezTo>
                <a:cubicBezTo>
                  <a:pt x="778" y="612"/>
                  <a:pt x="778" y="613"/>
                  <a:pt x="778" y="614"/>
                </a:cubicBezTo>
                <a:cubicBezTo>
                  <a:pt x="778" y="615"/>
                  <a:pt x="778" y="615"/>
                  <a:pt x="780" y="617"/>
                </a:cubicBezTo>
                <a:cubicBezTo>
                  <a:pt x="781" y="618"/>
                  <a:pt x="782" y="619"/>
                  <a:pt x="782" y="619"/>
                </a:cubicBezTo>
                <a:lnTo>
                  <a:pt x="777" y="618"/>
                </a:lnTo>
                <a:cubicBezTo>
                  <a:pt x="777" y="618"/>
                  <a:pt x="776" y="618"/>
                  <a:pt x="776" y="618"/>
                </a:cubicBezTo>
                <a:lnTo>
                  <a:pt x="778" y="622"/>
                </a:lnTo>
                <a:cubicBezTo>
                  <a:pt x="777" y="622"/>
                  <a:pt x="777" y="622"/>
                  <a:pt x="776" y="621"/>
                </a:cubicBezTo>
                <a:cubicBezTo>
                  <a:pt x="774" y="620"/>
                  <a:pt x="773" y="619"/>
                  <a:pt x="773" y="619"/>
                </a:cubicBezTo>
                <a:cubicBezTo>
                  <a:pt x="773" y="620"/>
                  <a:pt x="773" y="620"/>
                  <a:pt x="774" y="620"/>
                </a:cubicBezTo>
                <a:cubicBezTo>
                  <a:pt x="774" y="621"/>
                  <a:pt x="774" y="622"/>
                  <a:pt x="774" y="622"/>
                </a:cubicBezTo>
                <a:cubicBezTo>
                  <a:pt x="774" y="625"/>
                  <a:pt x="773" y="627"/>
                  <a:pt x="772" y="630"/>
                </a:cubicBezTo>
                <a:lnTo>
                  <a:pt x="771" y="635"/>
                </a:lnTo>
                <a:lnTo>
                  <a:pt x="772" y="635"/>
                </a:lnTo>
                <a:cubicBezTo>
                  <a:pt x="773" y="633"/>
                  <a:pt x="774" y="632"/>
                  <a:pt x="774" y="632"/>
                </a:cubicBezTo>
                <a:cubicBezTo>
                  <a:pt x="775" y="632"/>
                  <a:pt x="776" y="632"/>
                  <a:pt x="776" y="633"/>
                </a:cubicBezTo>
                <a:cubicBezTo>
                  <a:pt x="776" y="634"/>
                  <a:pt x="775" y="635"/>
                  <a:pt x="774" y="637"/>
                </a:cubicBezTo>
                <a:cubicBezTo>
                  <a:pt x="774" y="639"/>
                  <a:pt x="772" y="639"/>
                  <a:pt x="770" y="639"/>
                </a:cubicBezTo>
                <a:lnTo>
                  <a:pt x="768" y="639"/>
                </a:lnTo>
                <a:cubicBezTo>
                  <a:pt x="768" y="639"/>
                  <a:pt x="768" y="639"/>
                  <a:pt x="769" y="640"/>
                </a:cubicBezTo>
                <a:cubicBezTo>
                  <a:pt x="769" y="640"/>
                  <a:pt x="769" y="640"/>
                  <a:pt x="769" y="641"/>
                </a:cubicBezTo>
                <a:cubicBezTo>
                  <a:pt x="769" y="642"/>
                  <a:pt x="769" y="643"/>
                  <a:pt x="768" y="644"/>
                </a:cubicBezTo>
                <a:cubicBezTo>
                  <a:pt x="767" y="644"/>
                  <a:pt x="766" y="645"/>
                  <a:pt x="765" y="645"/>
                </a:cubicBezTo>
                <a:lnTo>
                  <a:pt x="764" y="644"/>
                </a:lnTo>
                <a:cubicBezTo>
                  <a:pt x="764" y="644"/>
                  <a:pt x="764" y="645"/>
                  <a:pt x="764" y="645"/>
                </a:cubicBezTo>
                <a:cubicBezTo>
                  <a:pt x="764" y="645"/>
                  <a:pt x="764" y="646"/>
                  <a:pt x="765" y="647"/>
                </a:cubicBezTo>
                <a:cubicBezTo>
                  <a:pt x="766" y="647"/>
                  <a:pt x="766" y="648"/>
                  <a:pt x="767" y="648"/>
                </a:cubicBezTo>
                <a:cubicBezTo>
                  <a:pt x="768" y="648"/>
                  <a:pt x="768" y="647"/>
                  <a:pt x="769" y="647"/>
                </a:cubicBezTo>
                <a:cubicBezTo>
                  <a:pt x="770" y="647"/>
                  <a:pt x="770" y="647"/>
                  <a:pt x="770" y="648"/>
                </a:cubicBezTo>
                <a:cubicBezTo>
                  <a:pt x="770" y="648"/>
                  <a:pt x="770" y="649"/>
                  <a:pt x="769" y="651"/>
                </a:cubicBezTo>
                <a:cubicBezTo>
                  <a:pt x="769" y="653"/>
                  <a:pt x="767" y="654"/>
                  <a:pt x="766" y="654"/>
                </a:cubicBezTo>
                <a:cubicBezTo>
                  <a:pt x="765" y="654"/>
                  <a:pt x="764" y="654"/>
                  <a:pt x="764" y="655"/>
                </a:cubicBezTo>
                <a:lnTo>
                  <a:pt x="765" y="657"/>
                </a:lnTo>
                <a:cubicBezTo>
                  <a:pt x="765" y="657"/>
                  <a:pt x="765" y="657"/>
                  <a:pt x="764" y="657"/>
                </a:cubicBezTo>
                <a:lnTo>
                  <a:pt x="761" y="656"/>
                </a:lnTo>
                <a:cubicBezTo>
                  <a:pt x="761" y="656"/>
                  <a:pt x="761" y="656"/>
                  <a:pt x="761" y="657"/>
                </a:cubicBezTo>
                <a:lnTo>
                  <a:pt x="761" y="658"/>
                </a:lnTo>
                <a:cubicBezTo>
                  <a:pt x="761" y="659"/>
                  <a:pt x="761" y="659"/>
                  <a:pt x="760" y="659"/>
                </a:cubicBezTo>
                <a:cubicBezTo>
                  <a:pt x="760" y="659"/>
                  <a:pt x="760" y="659"/>
                  <a:pt x="760" y="660"/>
                </a:cubicBezTo>
                <a:lnTo>
                  <a:pt x="761" y="664"/>
                </a:lnTo>
                <a:cubicBezTo>
                  <a:pt x="761" y="664"/>
                  <a:pt x="760" y="664"/>
                  <a:pt x="760" y="664"/>
                </a:cubicBezTo>
                <a:lnTo>
                  <a:pt x="760" y="664"/>
                </a:lnTo>
                <a:cubicBezTo>
                  <a:pt x="759" y="664"/>
                  <a:pt x="758" y="665"/>
                  <a:pt x="758" y="666"/>
                </a:cubicBezTo>
                <a:cubicBezTo>
                  <a:pt x="758" y="669"/>
                  <a:pt x="757" y="669"/>
                  <a:pt x="757" y="669"/>
                </a:cubicBezTo>
                <a:cubicBezTo>
                  <a:pt x="754" y="670"/>
                  <a:pt x="753" y="670"/>
                  <a:pt x="753" y="670"/>
                </a:cubicBezTo>
                <a:cubicBezTo>
                  <a:pt x="753" y="671"/>
                  <a:pt x="754" y="671"/>
                  <a:pt x="755" y="672"/>
                </a:cubicBezTo>
                <a:cubicBezTo>
                  <a:pt x="756" y="673"/>
                  <a:pt x="756" y="673"/>
                  <a:pt x="756" y="674"/>
                </a:cubicBezTo>
                <a:cubicBezTo>
                  <a:pt x="756" y="674"/>
                  <a:pt x="756" y="674"/>
                  <a:pt x="754" y="674"/>
                </a:cubicBezTo>
                <a:cubicBezTo>
                  <a:pt x="753" y="674"/>
                  <a:pt x="752" y="674"/>
                  <a:pt x="752" y="674"/>
                </a:cubicBezTo>
                <a:lnTo>
                  <a:pt x="753" y="675"/>
                </a:lnTo>
                <a:cubicBezTo>
                  <a:pt x="754" y="675"/>
                  <a:pt x="754" y="676"/>
                  <a:pt x="754" y="676"/>
                </a:cubicBezTo>
                <a:cubicBezTo>
                  <a:pt x="754" y="677"/>
                  <a:pt x="753" y="678"/>
                  <a:pt x="752" y="679"/>
                </a:cubicBezTo>
                <a:cubicBezTo>
                  <a:pt x="750" y="681"/>
                  <a:pt x="749" y="687"/>
                  <a:pt x="749" y="695"/>
                </a:cubicBezTo>
                <a:lnTo>
                  <a:pt x="749" y="695"/>
                </a:lnTo>
                <a:lnTo>
                  <a:pt x="747" y="695"/>
                </a:lnTo>
                <a:lnTo>
                  <a:pt x="746" y="695"/>
                </a:lnTo>
                <a:cubicBezTo>
                  <a:pt x="745" y="695"/>
                  <a:pt x="744" y="696"/>
                  <a:pt x="744" y="699"/>
                </a:cubicBezTo>
                <a:cubicBezTo>
                  <a:pt x="744" y="700"/>
                  <a:pt x="745" y="701"/>
                  <a:pt x="745" y="701"/>
                </a:cubicBezTo>
                <a:cubicBezTo>
                  <a:pt x="746" y="702"/>
                  <a:pt x="746" y="703"/>
                  <a:pt x="746" y="703"/>
                </a:cubicBezTo>
                <a:lnTo>
                  <a:pt x="745" y="702"/>
                </a:lnTo>
                <a:cubicBezTo>
                  <a:pt x="744" y="702"/>
                  <a:pt x="743" y="703"/>
                  <a:pt x="742" y="706"/>
                </a:cubicBezTo>
                <a:cubicBezTo>
                  <a:pt x="741" y="708"/>
                  <a:pt x="739" y="711"/>
                  <a:pt x="739" y="714"/>
                </a:cubicBezTo>
                <a:cubicBezTo>
                  <a:pt x="738" y="717"/>
                  <a:pt x="737" y="720"/>
                  <a:pt x="737" y="722"/>
                </a:cubicBezTo>
                <a:cubicBezTo>
                  <a:pt x="737" y="723"/>
                  <a:pt x="737" y="723"/>
                  <a:pt x="736" y="723"/>
                </a:cubicBezTo>
                <a:cubicBezTo>
                  <a:pt x="735" y="723"/>
                  <a:pt x="734" y="725"/>
                  <a:pt x="733" y="730"/>
                </a:cubicBezTo>
                <a:cubicBezTo>
                  <a:pt x="732" y="732"/>
                  <a:pt x="732" y="735"/>
                  <a:pt x="732" y="737"/>
                </a:cubicBezTo>
                <a:lnTo>
                  <a:pt x="732" y="737"/>
                </a:lnTo>
                <a:cubicBezTo>
                  <a:pt x="732" y="737"/>
                  <a:pt x="732" y="737"/>
                  <a:pt x="731" y="737"/>
                </a:cubicBezTo>
                <a:cubicBezTo>
                  <a:pt x="730" y="737"/>
                  <a:pt x="730" y="739"/>
                  <a:pt x="729" y="743"/>
                </a:cubicBezTo>
                <a:cubicBezTo>
                  <a:pt x="729" y="747"/>
                  <a:pt x="728" y="749"/>
                  <a:pt x="727" y="749"/>
                </a:cubicBezTo>
                <a:cubicBezTo>
                  <a:pt x="727" y="749"/>
                  <a:pt x="726" y="750"/>
                  <a:pt x="726" y="751"/>
                </a:cubicBezTo>
                <a:lnTo>
                  <a:pt x="723" y="761"/>
                </a:lnTo>
                <a:cubicBezTo>
                  <a:pt x="719" y="776"/>
                  <a:pt x="712" y="798"/>
                  <a:pt x="701" y="828"/>
                </a:cubicBezTo>
                <a:cubicBezTo>
                  <a:pt x="697" y="840"/>
                  <a:pt x="695" y="846"/>
                  <a:pt x="695" y="847"/>
                </a:cubicBezTo>
                <a:cubicBezTo>
                  <a:pt x="695" y="848"/>
                  <a:pt x="694" y="853"/>
                  <a:pt x="691" y="861"/>
                </a:cubicBezTo>
                <a:lnTo>
                  <a:pt x="689" y="867"/>
                </a:lnTo>
                <a:cubicBezTo>
                  <a:pt x="688" y="872"/>
                  <a:pt x="686" y="877"/>
                  <a:pt x="684" y="882"/>
                </a:cubicBezTo>
                <a:cubicBezTo>
                  <a:pt x="683" y="886"/>
                  <a:pt x="682" y="889"/>
                  <a:pt x="681" y="892"/>
                </a:cubicBezTo>
                <a:cubicBezTo>
                  <a:pt x="681" y="893"/>
                  <a:pt x="680" y="895"/>
                  <a:pt x="680" y="897"/>
                </a:cubicBezTo>
                <a:cubicBezTo>
                  <a:pt x="679" y="898"/>
                  <a:pt x="679" y="899"/>
                  <a:pt x="678" y="900"/>
                </a:cubicBezTo>
                <a:cubicBezTo>
                  <a:pt x="677" y="901"/>
                  <a:pt x="677" y="902"/>
                  <a:pt x="677" y="902"/>
                </a:cubicBezTo>
                <a:cubicBezTo>
                  <a:pt x="677" y="903"/>
                  <a:pt x="678" y="904"/>
                  <a:pt x="679" y="904"/>
                </a:cubicBezTo>
                <a:cubicBezTo>
                  <a:pt x="680" y="904"/>
                  <a:pt x="682" y="899"/>
                  <a:pt x="685" y="888"/>
                </a:cubicBezTo>
                <a:cubicBezTo>
                  <a:pt x="692" y="867"/>
                  <a:pt x="697" y="851"/>
                  <a:pt x="701" y="842"/>
                </a:cubicBezTo>
                <a:cubicBezTo>
                  <a:pt x="702" y="839"/>
                  <a:pt x="702" y="836"/>
                  <a:pt x="703" y="834"/>
                </a:cubicBezTo>
                <a:cubicBezTo>
                  <a:pt x="703" y="832"/>
                  <a:pt x="704" y="830"/>
                  <a:pt x="704" y="829"/>
                </a:cubicBezTo>
                <a:cubicBezTo>
                  <a:pt x="705" y="828"/>
                  <a:pt x="705" y="826"/>
                  <a:pt x="705" y="826"/>
                </a:cubicBezTo>
                <a:cubicBezTo>
                  <a:pt x="705" y="826"/>
                  <a:pt x="706" y="824"/>
                  <a:pt x="707" y="820"/>
                </a:cubicBezTo>
                <a:cubicBezTo>
                  <a:pt x="709" y="816"/>
                  <a:pt x="710" y="814"/>
                  <a:pt x="710" y="814"/>
                </a:cubicBezTo>
                <a:cubicBezTo>
                  <a:pt x="711" y="810"/>
                  <a:pt x="712" y="806"/>
                  <a:pt x="714" y="803"/>
                </a:cubicBezTo>
                <a:cubicBezTo>
                  <a:pt x="715" y="800"/>
                  <a:pt x="717" y="798"/>
                  <a:pt x="718" y="798"/>
                </a:cubicBezTo>
                <a:lnTo>
                  <a:pt x="721" y="800"/>
                </a:lnTo>
                <a:cubicBezTo>
                  <a:pt x="721" y="800"/>
                  <a:pt x="720" y="799"/>
                  <a:pt x="719" y="797"/>
                </a:cubicBezTo>
                <a:cubicBezTo>
                  <a:pt x="717" y="796"/>
                  <a:pt x="717" y="795"/>
                  <a:pt x="717" y="794"/>
                </a:cubicBezTo>
                <a:cubicBezTo>
                  <a:pt x="717" y="794"/>
                  <a:pt x="717" y="794"/>
                  <a:pt x="718" y="793"/>
                </a:cubicBezTo>
                <a:cubicBezTo>
                  <a:pt x="719" y="793"/>
                  <a:pt x="719" y="792"/>
                  <a:pt x="719" y="792"/>
                </a:cubicBezTo>
                <a:lnTo>
                  <a:pt x="719" y="790"/>
                </a:lnTo>
                <a:cubicBezTo>
                  <a:pt x="719" y="789"/>
                  <a:pt x="719" y="789"/>
                  <a:pt x="720" y="789"/>
                </a:cubicBezTo>
                <a:cubicBezTo>
                  <a:pt x="720" y="789"/>
                  <a:pt x="721" y="789"/>
                  <a:pt x="721" y="789"/>
                </a:cubicBezTo>
                <a:cubicBezTo>
                  <a:pt x="721" y="788"/>
                  <a:pt x="720" y="787"/>
                  <a:pt x="720" y="787"/>
                </a:cubicBezTo>
                <a:cubicBezTo>
                  <a:pt x="720" y="786"/>
                  <a:pt x="719" y="786"/>
                  <a:pt x="719" y="786"/>
                </a:cubicBezTo>
                <a:cubicBezTo>
                  <a:pt x="720" y="786"/>
                  <a:pt x="720" y="786"/>
                  <a:pt x="722" y="788"/>
                </a:cubicBezTo>
                <a:cubicBezTo>
                  <a:pt x="723" y="789"/>
                  <a:pt x="724" y="790"/>
                  <a:pt x="724" y="791"/>
                </a:cubicBezTo>
                <a:cubicBezTo>
                  <a:pt x="724" y="793"/>
                  <a:pt x="723" y="798"/>
                  <a:pt x="720" y="804"/>
                </a:cubicBezTo>
                <a:cubicBezTo>
                  <a:pt x="720" y="806"/>
                  <a:pt x="719" y="807"/>
                  <a:pt x="719" y="808"/>
                </a:cubicBezTo>
                <a:cubicBezTo>
                  <a:pt x="719" y="808"/>
                  <a:pt x="718" y="809"/>
                  <a:pt x="716" y="810"/>
                </a:cubicBezTo>
                <a:lnTo>
                  <a:pt x="715" y="809"/>
                </a:lnTo>
                <a:lnTo>
                  <a:pt x="716" y="810"/>
                </a:lnTo>
                <a:cubicBezTo>
                  <a:pt x="716" y="814"/>
                  <a:pt x="715" y="818"/>
                  <a:pt x="713" y="823"/>
                </a:cubicBezTo>
                <a:lnTo>
                  <a:pt x="711" y="831"/>
                </a:lnTo>
                <a:lnTo>
                  <a:pt x="710" y="837"/>
                </a:lnTo>
                <a:cubicBezTo>
                  <a:pt x="710" y="838"/>
                  <a:pt x="710" y="839"/>
                  <a:pt x="709" y="839"/>
                </a:cubicBezTo>
                <a:cubicBezTo>
                  <a:pt x="708" y="839"/>
                  <a:pt x="708" y="839"/>
                  <a:pt x="707" y="841"/>
                </a:cubicBezTo>
                <a:cubicBezTo>
                  <a:pt x="706" y="845"/>
                  <a:pt x="705" y="848"/>
                  <a:pt x="705" y="851"/>
                </a:cubicBezTo>
                <a:cubicBezTo>
                  <a:pt x="705" y="853"/>
                  <a:pt x="705" y="855"/>
                  <a:pt x="706" y="855"/>
                </a:cubicBezTo>
                <a:cubicBezTo>
                  <a:pt x="706" y="855"/>
                  <a:pt x="706" y="856"/>
                  <a:pt x="706" y="856"/>
                </a:cubicBezTo>
                <a:lnTo>
                  <a:pt x="705" y="856"/>
                </a:lnTo>
                <a:cubicBezTo>
                  <a:pt x="704" y="856"/>
                  <a:pt x="702" y="860"/>
                  <a:pt x="699" y="869"/>
                </a:cubicBezTo>
                <a:cubicBezTo>
                  <a:pt x="696" y="877"/>
                  <a:pt x="695" y="881"/>
                  <a:pt x="694" y="881"/>
                </a:cubicBezTo>
                <a:cubicBezTo>
                  <a:pt x="693" y="881"/>
                  <a:pt x="693" y="881"/>
                  <a:pt x="693" y="881"/>
                </a:cubicBezTo>
                <a:cubicBezTo>
                  <a:pt x="693" y="882"/>
                  <a:pt x="694" y="883"/>
                  <a:pt x="694" y="884"/>
                </a:cubicBezTo>
                <a:lnTo>
                  <a:pt x="695" y="887"/>
                </a:lnTo>
                <a:lnTo>
                  <a:pt x="694" y="887"/>
                </a:lnTo>
                <a:cubicBezTo>
                  <a:pt x="693" y="887"/>
                  <a:pt x="692" y="887"/>
                  <a:pt x="692" y="888"/>
                </a:cubicBezTo>
                <a:lnTo>
                  <a:pt x="693" y="893"/>
                </a:lnTo>
                <a:lnTo>
                  <a:pt x="692" y="894"/>
                </a:lnTo>
                <a:cubicBezTo>
                  <a:pt x="691" y="894"/>
                  <a:pt x="690" y="898"/>
                  <a:pt x="687" y="905"/>
                </a:cubicBezTo>
                <a:cubicBezTo>
                  <a:pt x="680" y="923"/>
                  <a:pt x="674" y="943"/>
                  <a:pt x="668" y="964"/>
                </a:cubicBezTo>
                <a:cubicBezTo>
                  <a:pt x="664" y="976"/>
                  <a:pt x="662" y="982"/>
                  <a:pt x="661" y="983"/>
                </a:cubicBezTo>
                <a:cubicBezTo>
                  <a:pt x="660" y="984"/>
                  <a:pt x="660" y="985"/>
                  <a:pt x="660" y="987"/>
                </a:cubicBezTo>
                <a:cubicBezTo>
                  <a:pt x="660" y="990"/>
                  <a:pt x="658" y="995"/>
                  <a:pt x="655" y="1004"/>
                </a:cubicBezTo>
                <a:cubicBezTo>
                  <a:pt x="653" y="1013"/>
                  <a:pt x="651" y="1018"/>
                  <a:pt x="650" y="1018"/>
                </a:cubicBezTo>
                <a:cubicBezTo>
                  <a:pt x="650" y="1018"/>
                  <a:pt x="650" y="1018"/>
                  <a:pt x="650" y="1019"/>
                </a:cubicBezTo>
                <a:lnTo>
                  <a:pt x="651" y="1021"/>
                </a:lnTo>
                <a:cubicBezTo>
                  <a:pt x="651" y="1021"/>
                  <a:pt x="651" y="1022"/>
                  <a:pt x="650" y="1022"/>
                </a:cubicBezTo>
                <a:cubicBezTo>
                  <a:pt x="649" y="1022"/>
                  <a:pt x="649" y="1022"/>
                  <a:pt x="649" y="1023"/>
                </a:cubicBezTo>
                <a:cubicBezTo>
                  <a:pt x="649" y="1023"/>
                  <a:pt x="649" y="1024"/>
                  <a:pt x="649" y="1024"/>
                </a:cubicBezTo>
                <a:cubicBezTo>
                  <a:pt x="650" y="1025"/>
                  <a:pt x="650" y="1026"/>
                  <a:pt x="650" y="1026"/>
                </a:cubicBezTo>
                <a:cubicBezTo>
                  <a:pt x="650" y="1027"/>
                  <a:pt x="650" y="1027"/>
                  <a:pt x="649" y="1027"/>
                </a:cubicBezTo>
                <a:cubicBezTo>
                  <a:pt x="648" y="1027"/>
                  <a:pt x="648" y="1028"/>
                  <a:pt x="648" y="1031"/>
                </a:cubicBezTo>
                <a:cubicBezTo>
                  <a:pt x="648" y="1034"/>
                  <a:pt x="647" y="1035"/>
                  <a:pt x="646" y="1036"/>
                </a:cubicBezTo>
                <a:cubicBezTo>
                  <a:pt x="645" y="1037"/>
                  <a:pt x="645" y="1038"/>
                  <a:pt x="645" y="1038"/>
                </a:cubicBezTo>
                <a:lnTo>
                  <a:pt x="644" y="1045"/>
                </a:lnTo>
                <a:cubicBezTo>
                  <a:pt x="644" y="1049"/>
                  <a:pt x="644" y="1050"/>
                  <a:pt x="643" y="1051"/>
                </a:cubicBezTo>
                <a:cubicBezTo>
                  <a:pt x="642" y="1052"/>
                  <a:pt x="641" y="1052"/>
                  <a:pt x="641" y="1053"/>
                </a:cubicBezTo>
                <a:lnTo>
                  <a:pt x="642" y="1053"/>
                </a:lnTo>
                <a:cubicBezTo>
                  <a:pt x="642" y="1053"/>
                  <a:pt x="643" y="1053"/>
                  <a:pt x="643" y="1053"/>
                </a:cubicBezTo>
                <a:cubicBezTo>
                  <a:pt x="643" y="1054"/>
                  <a:pt x="642" y="1054"/>
                  <a:pt x="642" y="1055"/>
                </a:cubicBezTo>
                <a:cubicBezTo>
                  <a:pt x="641" y="1057"/>
                  <a:pt x="640" y="1058"/>
                  <a:pt x="640" y="1059"/>
                </a:cubicBezTo>
                <a:cubicBezTo>
                  <a:pt x="640" y="1061"/>
                  <a:pt x="640" y="1064"/>
                  <a:pt x="640" y="1067"/>
                </a:cubicBezTo>
                <a:cubicBezTo>
                  <a:pt x="639" y="1070"/>
                  <a:pt x="639" y="1073"/>
                  <a:pt x="639" y="1076"/>
                </a:cubicBezTo>
                <a:cubicBezTo>
                  <a:pt x="639" y="1080"/>
                  <a:pt x="639" y="1083"/>
                  <a:pt x="640" y="1087"/>
                </a:cubicBezTo>
                <a:cubicBezTo>
                  <a:pt x="640" y="1090"/>
                  <a:pt x="641" y="1092"/>
                  <a:pt x="642" y="1093"/>
                </a:cubicBezTo>
                <a:cubicBezTo>
                  <a:pt x="643" y="1094"/>
                  <a:pt x="643" y="1095"/>
                  <a:pt x="643" y="1096"/>
                </a:cubicBezTo>
                <a:cubicBezTo>
                  <a:pt x="643" y="1097"/>
                  <a:pt x="643" y="1098"/>
                  <a:pt x="642" y="1098"/>
                </a:cubicBezTo>
                <a:cubicBezTo>
                  <a:pt x="640" y="1099"/>
                  <a:pt x="639" y="1100"/>
                  <a:pt x="637" y="1100"/>
                </a:cubicBezTo>
                <a:close/>
                <a:moveTo>
                  <a:pt x="811" y="505"/>
                </a:moveTo>
                <a:cubicBezTo>
                  <a:pt x="811" y="505"/>
                  <a:pt x="812" y="505"/>
                  <a:pt x="812" y="504"/>
                </a:cubicBezTo>
                <a:lnTo>
                  <a:pt x="812" y="502"/>
                </a:lnTo>
                <a:cubicBezTo>
                  <a:pt x="812" y="502"/>
                  <a:pt x="812" y="501"/>
                  <a:pt x="811" y="501"/>
                </a:cubicBezTo>
                <a:lnTo>
                  <a:pt x="811" y="501"/>
                </a:lnTo>
                <a:cubicBezTo>
                  <a:pt x="810" y="501"/>
                  <a:pt x="810" y="502"/>
                  <a:pt x="810" y="502"/>
                </a:cubicBezTo>
                <a:cubicBezTo>
                  <a:pt x="810" y="504"/>
                  <a:pt x="811" y="505"/>
                  <a:pt x="811" y="505"/>
                </a:cubicBezTo>
                <a:close/>
                <a:moveTo>
                  <a:pt x="782" y="569"/>
                </a:moveTo>
                <a:cubicBezTo>
                  <a:pt x="782" y="569"/>
                  <a:pt x="782" y="569"/>
                  <a:pt x="783" y="568"/>
                </a:cubicBezTo>
                <a:cubicBezTo>
                  <a:pt x="783" y="566"/>
                  <a:pt x="783" y="566"/>
                  <a:pt x="783" y="565"/>
                </a:cubicBezTo>
                <a:cubicBezTo>
                  <a:pt x="783" y="565"/>
                  <a:pt x="783" y="565"/>
                  <a:pt x="782" y="565"/>
                </a:cubicBezTo>
                <a:lnTo>
                  <a:pt x="782" y="565"/>
                </a:lnTo>
                <a:cubicBezTo>
                  <a:pt x="781" y="566"/>
                  <a:pt x="781" y="566"/>
                  <a:pt x="781" y="568"/>
                </a:cubicBezTo>
                <a:cubicBezTo>
                  <a:pt x="781" y="569"/>
                  <a:pt x="781" y="569"/>
                  <a:pt x="782" y="569"/>
                </a:cubicBezTo>
                <a:close/>
                <a:moveTo>
                  <a:pt x="767" y="652"/>
                </a:moveTo>
                <a:cubicBezTo>
                  <a:pt x="767" y="652"/>
                  <a:pt x="768" y="652"/>
                  <a:pt x="768" y="651"/>
                </a:cubicBezTo>
                <a:cubicBezTo>
                  <a:pt x="768" y="650"/>
                  <a:pt x="767" y="650"/>
                  <a:pt x="765" y="649"/>
                </a:cubicBezTo>
                <a:lnTo>
                  <a:pt x="764" y="649"/>
                </a:lnTo>
                <a:cubicBezTo>
                  <a:pt x="763" y="649"/>
                  <a:pt x="763" y="649"/>
                  <a:pt x="763" y="650"/>
                </a:cubicBezTo>
                <a:lnTo>
                  <a:pt x="764" y="651"/>
                </a:lnTo>
                <a:cubicBezTo>
                  <a:pt x="765" y="652"/>
                  <a:pt x="766" y="652"/>
                  <a:pt x="767" y="652"/>
                </a:cubicBezTo>
                <a:close/>
                <a:moveTo>
                  <a:pt x="922" y="549"/>
                </a:moveTo>
                <a:cubicBezTo>
                  <a:pt x="920" y="549"/>
                  <a:pt x="920" y="549"/>
                  <a:pt x="920" y="549"/>
                </a:cubicBezTo>
                <a:lnTo>
                  <a:pt x="920" y="548"/>
                </a:lnTo>
                <a:lnTo>
                  <a:pt x="922" y="548"/>
                </a:lnTo>
                <a:cubicBezTo>
                  <a:pt x="924" y="548"/>
                  <a:pt x="925" y="548"/>
                  <a:pt x="925" y="549"/>
                </a:cubicBezTo>
                <a:cubicBezTo>
                  <a:pt x="925" y="549"/>
                  <a:pt x="924" y="549"/>
                  <a:pt x="922" y="549"/>
                </a:cubicBezTo>
                <a:close/>
                <a:moveTo>
                  <a:pt x="1068" y="761"/>
                </a:moveTo>
                <a:lnTo>
                  <a:pt x="1067" y="761"/>
                </a:lnTo>
                <a:cubicBezTo>
                  <a:pt x="1067" y="761"/>
                  <a:pt x="1068" y="760"/>
                  <a:pt x="1069" y="759"/>
                </a:cubicBezTo>
                <a:cubicBezTo>
                  <a:pt x="1069" y="758"/>
                  <a:pt x="1071" y="758"/>
                  <a:pt x="1071" y="758"/>
                </a:cubicBezTo>
                <a:lnTo>
                  <a:pt x="1072" y="758"/>
                </a:lnTo>
                <a:lnTo>
                  <a:pt x="1072" y="758"/>
                </a:lnTo>
                <a:cubicBezTo>
                  <a:pt x="1072" y="759"/>
                  <a:pt x="1072" y="759"/>
                  <a:pt x="1071" y="760"/>
                </a:cubicBezTo>
                <a:cubicBezTo>
                  <a:pt x="1070" y="761"/>
                  <a:pt x="1069" y="761"/>
                  <a:pt x="1068" y="761"/>
                </a:cubicBezTo>
                <a:close/>
                <a:moveTo>
                  <a:pt x="1057" y="714"/>
                </a:moveTo>
                <a:cubicBezTo>
                  <a:pt x="1057" y="714"/>
                  <a:pt x="1056" y="713"/>
                  <a:pt x="1056" y="712"/>
                </a:cubicBezTo>
                <a:lnTo>
                  <a:pt x="1056" y="711"/>
                </a:lnTo>
                <a:cubicBezTo>
                  <a:pt x="1056" y="710"/>
                  <a:pt x="1056" y="709"/>
                  <a:pt x="1057" y="708"/>
                </a:cubicBezTo>
                <a:cubicBezTo>
                  <a:pt x="1057" y="708"/>
                  <a:pt x="1058" y="708"/>
                  <a:pt x="1058" y="708"/>
                </a:cubicBezTo>
                <a:cubicBezTo>
                  <a:pt x="1058" y="708"/>
                  <a:pt x="1058" y="709"/>
                  <a:pt x="1058" y="710"/>
                </a:cubicBezTo>
                <a:cubicBezTo>
                  <a:pt x="1058" y="713"/>
                  <a:pt x="1058" y="714"/>
                  <a:pt x="1057" y="714"/>
                </a:cubicBezTo>
                <a:close/>
                <a:moveTo>
                  <a:pt x="1091" y="501"/>
                </a:moveTo>
                <a:lnTo>
                  <a:pt x="1091" y="499"/>
                </a:lnTo>
                <a:cubicBezTo>
                  <a:pt x="1091" y="498"/>
                  <a:pt x="1092" y="497"/>
                  <a:pt x="1092" y="496"/>
                </a:cubicBezTo>
                <a:cubicBezTo>
                  <a:pt x="1092" y="495"/>
                  <a:pt x="1093" y="494"/>
                  <a:pt x="1093" y="493"/>
                </a:cubicBezTo>
                <a:cubicBezTo>
                  <a:pt x="1093" y="492"/>
                  <a:pt x="1094" y="492"/>
                  <a:pt x="1094" y="492"/>
                </a:cubicBezTo>
                <a:cubicBezTo>
                  <a:pt x="1094" y="492"/>
                  <a:pt x="1094" y="492"/>
                  <a:pt x="1094" y="493"/>
                </a:cubicBezTo>
                <a:lnTo>
                  <a:pt x="1094" y="496"/>
                </a:lnTo>
                <a:cubicBezTo>
                  <a:pt x="1093" y="499"/>
                  <a:pt x="1092" y="501"/>
                  <a:pt x="1091" y="501"/>
                </a:cubicBezTo>
                <a:close/>
                <a:moveTo>
                  <a:pt x="1087" y="512"/>
                </a:moveTo>
                <a:lnTo>
                  <a:pt x="1087" y="512"/>
                </a:lnTo>
                <a:cubicBezTo>
                  <a:pt x="1087" y="511"/>
                  <a:pt x="1087" y="510"/>
                  <a:pt x="1087" y="509"/>
                </a:cubicBezTo>
                <a:cubicBezTo>
                  <a:pt x="1087" y="507"/>
                  <a:pt x="1088" y="506"/>
                  <a:pt x="1089" y="506"/>
                </a:cubicBezTo>
                <a:lnTo>
                  <a:pt x="1089" y="506"/>
                </a:lnTo>
                <a:lnTo>
                  <a:pt x="1090" y="507"/>
                </a:lnTo>
                <a:cubicBezTo>
                  <a:pt x="1090" y="508"/>
                  <a:pt x="1089" y="509"/>
                  <a:pt x="1089" y="510"/>
                </a:cubicBezTo>
                <a:lnTo>
                  <a:pt x="1087" y="512"/>
                </a:lnTo>
                <a:close/>
                <a:moveTo>
                  <a:pt x="1054" y="812"/>
                </a:moveTo>
                <a:cubicBezTo>
                  <a:pt x="1052" y="812"/>
                  <a:pt x="1050" y="811"/>
                  <a:pt x="1047" y="807"/>
                </a:cubicBezTo>
                <a:cubicBezTo>
                  <a:pt x="1044" y="804"/>
                  <a:pt x="1041" y="803"/>
                  <a:pt x="1037" y="803"/>
                </a:cubicBezTo>
                <a:cubicBezTo>
                  <a:pt x="1033" y="803"/>
                  <a:pt x="1029" y="801"/>
                  <a:pt x="1026" y="798"/>
                </a:cubicBezTo>
                <a:cubicBezTo>
                  <a:pt x="1021" y="794"/>
                  <a:pt x="1018" y="789"/>
                  <a:pt x="1017" y="783"/>
                </a:cubicBezTo>
                <a:cubicBezTo>
                  <a:pt x="1016" y="779"/>
                  <a:pt x="1016" y="773"/>
                  <a:pt x="1016" y="763"/>
                </a:cubicBezTo>
                <a:cubicBezTo>
                  <a:pt x="1017" y="748"/>
                  <a:pt x="1019" y="741"/>
                  <a:pt x="1021" y="741"/>
                </a:cubicBezTo>
                <a:lnTo>
                  <a:pt x="1022" y="741"/>
                </a:lnTo>
                <a:cubicBezTo>
                  <a:pt x="1022" y="741"/>
                  <a:pt x="1022" y="740"/>
                  <a:pt x="1022" y="740"/>
                </a:cubicBezTo>
                <a:cubicBezTo>
                  <a:pt x="1022" y="740"/>
                  <a:pt x="1022" y="739"/>
                  <a:pt x="1022" y="739"/>
                </a:cubicBezTo>
                <a:cubicBezTo>
                  <a:pt x="1022" y="738"/>
                  <a:pt x="1021" y="737"/>
                  <a:pt x="1021" y="736"/>
                </a:cubicBezTo>
                <a:cubicBezTo>
                  <a:pt x="1021" y="735"/>
                  <a:pt x="1021" y="735"/>
                  <a:pt x="1022" y="735"/>
                </a:cubicBezTo>
                <a:cubicBezTo>
                  <a:pt x="1023" y="735"/>
                  <a:pt x="1024" y="734"/>
                  <a:pt x="1024" y="734"/>
                </a:cubicBezTo>
                <a:cubicBezTo>
                  <a:pt x="1024" y="733"/>
                  <a:pt x="1023" y="733"/>
                  <a:pt x="1023" y="732"/>
                </a:cubicBezTo>
                <a:cubicBezTo>
                  <a:pt x="1023" y="732"/>
                  <a:pt x="1022" y="731"/>
                  <a:pt x="1022" y="730"/>
                </a:cubicBezTo>
                <a:lnTo>
                  <a:pt x="1023" y="724"/>
                </a:lnTo>
                <a:cubicBezTo>
                  <a:pt x="1024" y="721"/>
                  <a:pt x="1025" y="719"/>
                  <a:pt x="1025" y="719"/>
                </a:cubicBezTo>
                <a:lnTo>
                  <a:pt x="1025" y="719"/>
                </a:lnTo>
                <a:lnTo>
                  <a:pt x="1026" y="720"/>
                </a:lnTo>
                <a:cubicBezTo>
                  <a:pt x="1026" y="720"/>
                  <a:pt x="1027" y="719"/>
                  <a:pt x="1027" y="718"/>
                </a:cubicBezTo>
                <a:cubicBezTo>
                  <a:pt x="1027" y="718"/>
                  <a:pt x="1028" y="717"/>
                  <a:pt x="1028" y="716"/>
                </a:cubicBezTo>
                <a:cubicBezTo>
                  <a:pt x="1028" y="716"/>
                  <a:pt x="1028" y="715"/>
                  <a:pt x="1027" y="714"/>
                </a:cubicBezTo>
                <a:cubicBezTo>
                  <a:pt x="1027" y="713"/>
                  <a:pt x="1027" y="712"/>
                  <a:pt x="1026" y="711"/>
                </a:cubicBezTo>
                <a:cubicBezTo>
                  <a:pt x="1026" y="711"/>
                  <a:pt x="1026" y="710"/>
                  <a:pt x="1026" y="710"/>
                </a:cubicBezTo>
                <a:cubicBezTo>
                  <a:pt x="1026" y="710"/>
                  <a:pt x="1026" y="709"/>
                  <a:pt x="1027" y="709"/>
                </a:cubicBezTo>
                <a:cubicBezTo>
                  <a:pt x="1028" y="709"/>
                  <a:pt x="1028" y="709"/>
                  <a:pt x="1028" y="708"/>
                </a:cubicBezTo>
                <a:cubicBezTo>
                  <a:pt x="1027" y="707"/>
                  <a:pt x="1027" y="706"/>
                  <a:pt x="1027" y="706"/>
                </a:cubicBezTo>
                <a:lnTo>
                  <a:pt x="1027" y="705"/>
                </a:lnTo>
                <a:cubicBezTo>
                  <a:pt x="1029" y="705"/>
                  <a:pt x="1030" y="705"/>
                  <a:pt x="1030" y="704"/>
                </a:cubicBezTo>
                <a:cubicBezTo>
                  <a:pt x="1030" y="704"/>
                  <a:pt x="1029" y="704"/>
                  <a:pt x="1029" y="703"/>
                </a:cubicBezTo>
                <a:cubicBezTo>
                  <a:pt x="1029" y="703"/>
                  <a:pt x="1029" y="703"/>
                  <a:pt x="1029" y="702"/>
                </a:cubicBezTo>
                <a:cubicBezTo>
                  <a:pt x="1029" y="702"/>
                  <a:pt x="1029" y="701"/>
                  <a:pt x="1029" y="701"/>
                </a:cubicBezTo>
                <a:cubicBezTo>
                  <a:pt x="1029" y="700"/>
                  <a:pt x="1029" y="699"/>
                  <a:pt x="1030" y="698"/>
                </a:cubicBezTo>
                <a:cubicBezTo>
                  <a:pt x="1031" y="697"/>
                  <a:pt x="1031" y="696"/>
                  <a:pt x="1031" y="694"/>
                </a:cubicBezTo>
                <a:lnTo>
                  <a:pt x="1030" y="692"/>
                </a:lnTo>
                <a:cubicBezTo>
                  <a:pt x="1030" y="691"/>
                  <a:pt x="1031" y="691"/>
                  <a:pt x="1031" y="691"/>
                </a:cubicBezTo>
                <a:cubicBezTo>
                  <a:pt x="1032" y="691"/>
                  <a:pt x="1033" y="690"/>
                  <a:pt x="1034" y="686"/>
                </a:cubicBezTo>
                <a:cubicBezTo>
                  <a:pt x="1034" y="684"/>
                  <a:pt x="1034" y="683"/>
                  <a:pt x="1035" y="683"/>
                </a:cubicBezTo>
                <a:lnTo>
                  <a:pt x="1036" y="683"/>
                </a:lnTo>
                <a:cubicBezTo>
                  <a:pt x="1037" y="683"/>
                  <a:pt x="1038" y="682"/>
                  <a:pt x="1038" y="681"/>
                </a:cubicBezTo>
                <a:cubicBezTo>
                  <a:pt x="1038" y="679"/>
                  <a:pt x="1038" y="678"/>
                  <a:pt x="1038" y="678"/>
                </a:cubicBezTo>
                <a:lnTo>
                  <a:pt x="1036" y="679"/>
                </a:lnTo>
                <a:cubicBezTo>
                  <a:pt x="1036" y="679"/>
                  <a:pt x="1036" y="678"/>
                  <a:pt x="1036" y="677"/>
                </a:cubicBezTo>
                <a:lnTo>
                  <a:pt x="1036" y="676"/>
                </a:lnTo>
                <a:cubicBezTo>
                  <a:pt x="1036" y="674"/>
                  <a:pt x="1037" y="674"/>
                  <a:pt x="1039" y="674"/>
                </a:cubicBezTo>
                <a:lnTo>
                  <a:pt x="1040" y="674"/>
                </a:lnTo>
                <a:cubicBezTo>
                  <a:pt x="1040" y="674"/>
                  <a:pt x="1040" y="674"/>
                  <a:pt x="1040" y="674"/>
                </a:cubicBezTo>
                <a:lnTo>
                  <a:pt x="1038" y="670"/>
                </a:lnTo>
                <a:cubicBezTo>
                  <a:pt x="1038" y="669"/>
                  <a:pt x="1039" y="668"/>
                  <a:pt x="1040" y="667"/>
                </a:cubicBezTo>
                <a:cubicBezTo>
                  <a:pt x="1041" y="667"/>
                  <a:pt x="1042" y="666"/>
                  <a:pt x="1042" y="665"/>
                </a:cubicBezTo>
                <a:cubicBezTo>
                  <a:pt x="1042" y="664"/>
                  <a:pt x="1042" y="663"/>
                  <a:pt x="1041" y="663"/>
                </a:cubicBezTo>
                <a:cubicBezTo>
                  <a:pt x="1041" y="662"/>
                  <a:pt x="1041" y="661"/>
                  <a:pt x="1040" y="660"/>
                </a:cubicBezTo>
                <a:lnTo>
                  <a:pt x="1043" y="661"/>
                </a:lnTo>
                <a:cubicBezTo>
                  <a:pt x="1043" y="661"/>
                  <a:pt x="1044" y="661"/>
                  <a:pt x="1044" y="660"/>
                </a:cubicBezTo>
                <a:lnTo>
                  <a:pt x="1041" y="656"/>
                </a:lnTo>
                <a:cubicBezTo>
                  <a:pt x="1041" y="655"/>
                  <a:pt x="1041" y="655"/>
                  <a:pt x="1042" y="655"/>
                </a:cubicBezTo>
                <a:lnTo>
                  <a:pt x="1044" y="656"/>
                </a:lnTo>
                <a:lnTo>
                  <a:pt x="1042" y="651"/>
                </a:lnTo>
                <a:lnTo>
                  <a:pt x="1044" y="651"/>
                </a:lnTo>
                <a:cubicBezTo>
                  <a:pt x="1044" y="651"/>
                  <a:pt x="1046" y="648"/>
                  <a:pt x="1047" y="643"/>
                </a:cubicBezTo>
                <a:cubicBezTo>
                  <a:pt x="1048" y="637"/>
                  <a:pt x="1049" y="634"/>
                  <a:pt x="1050" y="634"/>
                </a:cubicBezTo>
                <a:cubicBezTo>
                  <a:pt x="1051" y="634"/>
                  <a:pt x="1052" y="633"/>
                  <a:pt x="1052" y="632"/>
                </a:cubicBezTo>
                <a:cubicBezTo>
                  <a:pt x="1052" y="632"/>
                  <a:pt x="1051" y="632"/>
                  <a:pt x="1051" y="631"/>
                </a:cubicBezTo>
                <a:cubicBezTo>
                  <a:pt x="1050" y="630"/>
                  <a:pt x="1050" y="630"/>
                  <a:pt x="1050" y="630"/>
                </a:cubicBezTo>
                <a:lnTo>
                  <a:pt x="1050" y="630"/>
                </a:lnTo>
                <a:cubicBezTo>
                  <a:pt x="1051" y="630"/>
                  <a:pt x="1052" y="630"/>
                  <a:pt x="1053" y="630"/>
                </a:cubicBezTo>
                <a:cubicBezTo>
                  <a:pt x="1054" y="631"/>
                  <a:pt x="1055" y="631"/>
                  <a:pt x="1056" y="631"/>
                </a:cubicBezTo>
                <a:cubicBezTo>
                  <a:pt x="1056" y="631"/>
                  <a:pt x="1056" y="631"/>
                  <a:pt x="1056" y="630"/>
                </a:cubicBezTo>
                <a:lnTo>
                  <a:pt x="1054" y="628"/>
                </a:lnTo>
                <a:cubicBezTo>
                  <a:pt x="1053" y="627"/>
                  <a:pt x="1052" y="626"/>
                  <a:pt x="1052" y="625"/>
                </a:cubicBezTo>
                <a:cubicBezTo>
                  <a:pt x="1052" y="625"/>
                  <a:pt x="1052" y="623"/>
                  <a:pt x="1053" y="621"/>
                </a:cubicBezTo>
                <a:cubicBezTo>
                  <a:pt x="1054" y="620"/>
                  <a:pt x="1055" y="619"/>
                  <a:pt x="1055" y="618"/>
                </a:cubicBezTo>
                <a:lnTo>
                  <a:pt x="1054" y="617"/>
                </a:lnTo>
                <a:cubicBezTo>
                  <a:pt x="1054" y="616"/>
                  <a:pt x="1056" y="614"/>
                  <a:pt x="1059" y="611"/>
                </a:cubicBezTo>
                <a:lnTo>
                  <a:pt x="1063" y="607"/>
                </a:lnTo>
                <a:cubicBezTo>
                  <a:pt x="1063" y="606"/>
                  <a:pt x="1063" y="606"/>
                  <a:pt x="1062" y="606"/>
                </a:cubicBezTo>
                <a:cubicBezTo>
                  <a:pt x="1061" y="606"/>
                  <a:pt x="1060" y="605"/>
                  <a:pt x="1060" y="603"/>
                </a:cubicBezTo>
                <a:cubicBezTo>
                  <a:pt x="1060" y="599"/>
                  <a:pt x="1061" y="596"/>
                  <a:pt x="1063" y="593"/>
                </a:cubicBezTo>
                <a:cubicBezTo>
                  <a:pt x="1064" y="592"/>
                  <a:pt x="1064" y="591"/>
                  <a:pt x="1065" y="591"/>
                </a:cubicBezTo>
                <a:lnTo>
                  <a:pt x="1066" y="591"/>
                </a:lnTo>
                <a:cubicBezTo>
                  <a:pt x="1067" y="591"/>
                  <a:pt x="1067" y="591"/>
                  <a:pt x="1067" y="590"/>
                </a:cubicBezTo>
                <a:lnTo>
                  <a:pt x="1066" y="588"/>
                </a:lnTo>
                <a:cubicBezTo>
                  <a:pt x="1066" y="586"/>
                  <a:pt x="1067" y="585"/>
                  <a:pt x="1068" y="584"/>
                </a:cubicBezTo>
                <a:cubicBezTo>
                  <a:pt x="1069" y="583"/>
                  <a:pt x="1069" y="583"/>
                  <a:pt x="1069" y="582"/>
                </a:cubicBezTo>
                <a:lnTo>
                  <a:pt x="1069" y="580"/>
                </a:lnTo>
                <a:cubicBezTo>
                  <a:pt x="1069" y="580"/>
                  <a:pt x="1068" y="580"/>
                  <a:pt x="1068" y="579"/>
                </a:cubicBezTo>
                <a:cubicBezTo>
                  <a:pt x="1068" y="579"/>
                  <a:pt x="1069" y="578"/>
                  <a:pt x="1070" y="578"/>
                </a:cubicBezTo>
                <a:cubicBezTo>
                  <a:pt x="1071" y="578"/>
                  <a:pt x="1071" y="578"/>
                  <a:pt x="1071" y="577"/>
                </a:cubicBezTo>
                <a:cubicBezTo>
                  <a:pt x="1071" y="577"/>
                  <a:pt x="1071" y="577"/>
                  <a:pt x="1071" y="576"/>
                </a:cubicBezTo>
                <a:cubicBezTo>
                  <a:pt x="1070" y="576"/>
                  <a:pt x="1070" y="575"/>
                  <a:pt x="1070" y="575"/>
                </a:cubicBezTo>
                <a:cubicBezTo>
                  <a:pt x="1070" y="574"/>
                  <a:pt x="1070" y="574"/>
                  <a:pt x="1071" y="574"/>
                </a:cubicBezTo>
                <a:cubicBezTo>
                  <a:pt x="1072" y="574"/>
                  <a:pt x="1072" y="573"/>
                  <a:pt x="1072" y="573"/>
                </a:cubicBezTo>
                <a:lnTo>
                  <a:pt x="1070" y="570"/>
                </a:lnTo>
                <a:cubicBezTo>
                  <a:pt x="1071" y="570"/>
                  <a:pt x="1071" y="570"/>
                  <a:pt x="1072" y="570"/>
                </a:cubicBezTo>
                <a:cubicBezTo>
                  <a:pt x="1072" y="571"/>
                  <a:pt x="1073" y="571"/>
                  <a:pt x="1074" y="571"/>
                </a:cubicBezTo>
                <a:cubicBezTo>
                  <a:pt x="1074" y="571"/>
                  <a:pt x="1074" y="570"/>
                  <a:pt x="1074" y="569"/>
                </a:cubicBezTo>
                <a:cubicBezTo>
                  <a:pt x="1074" y="568"/>
                  <a:pt x="1074" y="566"/>
                  <a:pt x="1074" y="565"/>
                </a:cubicBezTo>
                <a:cubicBezTo>
                  <a:pt x="1074" y="564"/>
                  <a:pt x="1074" y="564"/>
                  <a:pt x="1074" y="563"/>
                </a:cubicBezTo>
                <a:cubicBezTo>
                  <a:pt x="1075" y="562"/>
                  <a:pt x="1076" y="560"/>
                  <a:pt x="1077" y="559"/>
                </a:cubicBezTo>
                <a:cubicBezTo>
                  <a:pt x="1077" y="557"/>
                  <a:pt x="1078" y="557"/>
                  <a:pt x="1079" y="557"/>
                </a:cubicBezTo>
                <a:lnTo>
                  <a:pt x="1079" y="558"/>
                </a:lnTo>
                <a:cubicBezTo>
                  <a:pt x="1079" y="559"/>
                  <a:pt x="1078" y="563"/>
                  <a:pt x="1077" y="568"/>
                </a:cubicBezTo>
                <a:cubicBezTo>
                  <a:pt x="1076" y="573"/>
                  <a:pt x="1074" y="582"/>
                  <a:pt x="1071" y="595"/>
                </a:cubicBezTo>
                <a:cubicBezTo>
                  <a:pt x="1070" y="599"/>
                  <a:pt x="1069" y="602"/>
                  <a:pt x="1068" y="605"/>
                </a:cubicBezTo>
                <a:cubicBezTo>
                  <a:pt x="1066" y="616"/>
                  <a:pt x="1063" y="625"/>
                  <a:pt x="1062" y="633"/>
                </a:cubicBezTo>
                <a:lnTo>
                  <a:pt x="1059" y="648"/>
                </a:lnTo>
                <a:cubicBezTo>
                  <a:pt x="1060" y="649"/>
                  <a:pt x="1060" y="649"/>
                  <a:pt x="1060" y="649"/>
                </a:cubicBezTo>
                <a:cubicBezTo>
                  <a:pt x="1060" y="649"/>
                  <a:pt x="1060" y="650"/>
                  <a:pt x="1059" y="650"/>
                </a:cubicBezTo>
                <a:cubicBezTo>
                  <a:pt x="1058" y="650"/>
                  <a:pt x="1057" y="650"/>
                  <a:pt x="1057" y="651"/>
                </a:cubicBezTo>
                <a:lnTo>
                  <a:pt x="1058" y="653"/>
                </a:lnTo>
                <a:cubicBezTo>
                  <a:pt x="1058" y="654"/>
                  <a:pt x="1058" y="654"/>
                  <a:pt x="1057" y="655"/>
                </a:cubicBezTo>
                <a:cubicBezTo>
                  <a:pt x="1056" y="656"/>
                  <a:pt x="1056" y="657"/>
                  <a:pt x="1056" y="659"/>
                </a:cubicBezTo>
                <a:cubicBezTo>
                  <a:pt x="1056" y="661"/>
                  <a:pt x="1055" y="664"/>
                  <a:pt x="1054" y="668"/>
                </a:cubicBezTo>
                <a:cubicBezTo>
                  <a:pt x="1053" y="669"/>
                  <a:pt x="1053" y="671"/>
                  <a:pt x="1053" y="673"/>
                </a:cubicBezTo>
                <a:cubicBezTo>
                  <a:pt x="1053" y="674"/>
                  <a:pt x="1054" y="676"/>
                  <a:pt x="1056" y="679"/>
                </a:cubicBezTo>
                <a:lnTo>
                  <a:pt x="1056" y="681"/>
                </a:lnTo>
                <a:lnTo>
                  <a:pt x="1056" y="681"/>
                </a:lnTo>
                <a:cubicBezTo>
                  <a:pt x="1055" y="681"/>
                  <a:pt x="1055" y="681"/>
                  <a:pt x="1054" y="679"/>
                </a:cubicBezTo>
                <a:cubicBezTo>
                  <a:pt x="1054" y="678"/>
                  <a:pt x="1054" y="677"/>
                  <a:pt x="1053" y="677"/>
                </a:cubicBezTo>
                <a:cubicBezTo>
                  <a:pt x="1052" y="677"/>
                  <a:pt x="1050" y="680"/>
                  <a:pt x="1049" y="685"/>
                </a:cubicBezTo>
                <a:cubicBezTo>
                  <a:pt x="1048" y="690"/>
                  <a:pt x="1047" y="693"/>
                  <a:pt x="1047" y="694"/>
                </a:cubicBezTo>
                <a:cubicBezTo>
                  <a:pt x="1047" y="694"/>
                  <a:pt x="1048" y="695"/>
                  <a:pt x="1048" y="695"/>
                </a:cubicBezTo>
                <a:cubicBezTo>
                  <a:pt x="1049" y="695"/>
                  <a:pt x="1049" y="694"/>
                  <a:pt x="1051" y="693"/>
                </a:cubicBezTo>
                <a:cubicBezTo>
                  <a:pt x="1052" y="693"/>
                  <a:pt x="1053" y="691"/>
                  <a:pt x="1053" y="689"/>
                </a:cubicBezTo>
                <a:cubicBezTo>
                  <a:pt x="1053" y="686"/>
                  <a:pt x="1054" y="685"/>
                  <a:pt x="1056" y="685"/>
                </a:cubicBezTo>
                <a:lnTo>
                  <a:pt x="1057" y="686"/>
                </a:lnTo>
                <a:cubicBezTo>
                  <a:pt x="1059" y="686"/>
                  <a:pt x="1060" y="684"/>
                  <a:pt x="1060" y="682"/>
                </a:cubicBezTo>
                <a:cubicBezTo>
                  <a:pt x="1060" y="680"/>
                  <a:pt x="1059" y="678"/>
                  <a:pt x="1058" y="674"/>
                </a:cubicBezTo>
                <a:cubicBezTo>
                  <a:pt x="1058" y="673"/>
                  <a:pt x="1059" y="671"/>
                  <a:pt x="1061" y="668"/>
                </a:cubicBezTo>
                <a:cubicBezTo>
                  <a:pt x="1062" y="666"/>
                  <a:pt x="1062" y="664"/>
                  <a:pt x="1062" y="663"/>
                </a:cubicBezTo>
                <a:cubicBezTo>
                  <a:pt x="1062" y="661"/>
                  <a:pt x="1062" y="661"/>
                  <a:pt x="1062" y="660"/>
                </a:cubicBezTo>
                <a:cubicBezTo>
                  <a:pt x="1061" y="660"/>
                  <a:pt x="1061" y="659"/>
                  <a:pt x="1061" y="659"/>
                </a:cubicBezTo>
                <a:cubicBezTo>
                  <a:pt x="1061" y="657"/>
                  <a:pt x="1062" y="656"/>
                  <a:pt x="1063" y="656"/>
                </a:cubicBezTo>
                <a:cubicBezTo>
                  <a:pt x="1064" y="655"/>
                  <a:pt x="1065" y="654"/>
                  <a:pt x="1065" y="653"/>
                </a:cubicBezTo>
                <a:lnTo>
                  <a:pt x="1064" y="649"/>
                </a:lnTo>
                <a:cubicBezTo>
                  <a:pt x="1064" y="649"/>
                  <a:pt x="1064" y="648"/>
                  <a:pt x="1064" y="648"/>
                </a:cubicBezTo>
                <a:cubicBezTo>
                  <a:pt x="1064" y="647"/>
                  <a:pt x="1064" y="647"/>
                  <a:pt x="1065" y="647"/>
                </a:cubicBezTo>
                <a:cubicBezTo>
                  <a:pt x="1066" y="647"/>
                  <a:pt x="1066" y="647"/>
                  <a:pt x="1066" y="647"/>
                </a:cubicBezTo>
                <a:lnTo>
                  <a:pt x="1066" y="646"/>
                </a:lnTo>
                <a:cubicBezTo>
                  <a:pt x="1065" y="646"/>
                  <a:pt x="1065" y="645"/>
                  <a:pt x="1065" y="645"/>
                </a:cubicBezTo>
                <a:cubicBezTo>
                  <a:pt x="1065" y="644"/>
                  <a:pt x="1065" y="643"/>
                  <a:pt x="1066" y="642"/>
                </a:cubicBezTo>
                <a:cubicBezTo>
                  <a:pt x="1067" y="641"/>
                  <a:pt x="1067" y="640"/>
                  <a:pt x="1067" y="639"/>
                </a:cubicBezTo>
                <a:cubicBezTo>
                  <a:pt x="1067" y="637"/>
                  <a:pt x="1067" y="636"/>
                  <a:pt x="1067" y="636"/>
                </a:cubicBezTo>
                <a:cubicBezTo>
                  <a:pt x="1067" y="636"/>
                  <a:pt x="1067" y="635"/>
                  <a:pt x="1067" y="634"/>
                </a:cubicBezTo>
                <a:cubicBezTo>
                  <a:pt x="1067" y="634"/>
                  <a:pt x="1067" y="633"/>
                  <a:pt x="1067" y="633"/>
                </a:cubicBezTo>
                <a:cubicBezTo>
                  <a:pt x="1068" y="632"/>
                  <a:pt x="1068" y="631"/>
                  <a:pt x="1069" y="628"/>
                </a:cubicBezTo>
                <a:cubicBezTo>
                  <a:pt x="1070" y="626"/>
                  <a:pt x="1071" y="623"/>
                  <a:pt x="1071" y="619"/>
                </a:cubicBezTo>
                <a:cubicBezTo>
                  <a:pt x="1072" y="616"/>
                  <a:pt x="1073" y="613"/>
                  <a:pt x="1074" y="610"/>
                </a:cubicBezTo>
                <a:cubicBezTo>
                  <a:pt x="1074" y="607"/>
                  <a:pt x="1074" y="606"/>
                  <a:pt x="1074" y="605"/>
                </a:cubicBezTo>
                <a:cubicBezTo>
                  <a:pt x="1074" y="605"/>
                  <a:pt x="1075" y="602"/>
                  <a:pt x="1076" y="596"/>
                </a:cubicBezTo>
                <a:cubicBezTo>
                  <a:pt x="1077" y="590"/>
                  <a:pt x="1079" y="583"/>
                  <a:pt x="1081" y="575"/>
                </a:cubicBezTo>
                <a:cubicBezTo>
                  <a:pt x="1082" y="567"/>
                  <a:pt x="1084" y="560"/>
                  <a:pt x="1085" y="554"/>
                </a:cubicBezTo>
                <a:cubicBezTo>
                  <a:pt x="1086" y="549"/>
                  <a:pt x="1086" y="545"/>
                  <a:pt x="1086" y="544"/>
                </a:cubicBezTo>
                <a:cubicBezTo>
                  <a:pt x="1086" y="543"/>
                  <a:pt x="1086" y="543"/>
                  <a:pt x="1086" y="543"/>
                </a:cubicBezTo>
                <a:lnTo>
                  <a:pt x="1086" y="542"/>
                </a:lnTo>
                <a:cubicBezTo>
                  <a:pt x="1088" y="542"/>
                  <a:pt x="1089" y="542"/>
                  <a:pt x="1089" y="541"/>
                </a:cubicBezTo>
                <a:lnTo>
                  <a:pt x="1087" y="539"/>
                </a:lnTo>
                <a:cubicBezTo>
                  <a:pt x="1087" y="537"/>
                  <a:pt x="1088" y="536"/>
                  <a:pt x="1089" y="534"/>
                </a:cubicBezTo>
                <a:cubicBezTo>
                  <a:pt x="1091" y="532"/>
                  <a:pt x="1091" y="530"/>
                  <a:pt x="1091" y="529"/>
                </a:cubicBezTo>
                <a:lnTo>
                  <a:pt x="1091" y="529"/>
                </a:lnTo>
                <a:cubicBezTo>
                  <a:pt x="1091" y="524"/>
                  <a:pt x="1095" y="510"/>
                  <a:pt x="1103" y="487"/>
                </a:cubicBezTo>
                <a:cubicBezTo>
                  <a:pt x="1112" y="458"/>
                  <a:pt x="1118" y="443"/>
                  <a:pt x="1121" y="443"/>
                </a:cubicBezTo>
                <a:cubicBezTo>
                  <a:pt x="1122" y="443"/>
                  <a:pt x="1123" y="444"/>
                  <a:pt x="1125" y="445"/>
                </a:cubicBezTo>
                <a:cubicBezTo>
                  <a:pt x="1130" y="447"/>
                  <a:pt x="1133" y="448"/>
                  <a:pt x="1133" y="448"/>
                </a:cubicBezTo>
                <a:cubicBezTo>
                  <a:pt x="1136" y="448"/>
                  <a:pt x="1137" y="449"/>
                  <a:pt x="1138" y="451"/>
                </a:cubicBezTo>
                <a:cubicBezTo>
                  <a:pt x="1138" y="458"/>
                  <a:pt x="1135" y="471"/>
                  <a:pt x="1129" y="490"/>
                </a:cubicBezTo>
                <a:cubicBezTo>
                  <a:pt x="1126" y="498"/>
                  <a:pt x="1123" y="508"/>
                  <a:pt x="1120" y="519"/>
                </a:cubicBezTo>
                <a:cubicBezTo>
                  <a:pt x="1103" y="576"/>
                  <a:pt x="1094" y="606"/>
                  <a:pt x="1093" y="611"/>
                </a:cubicBezTo>
                <a:cubicBezTo>
                  <a:pt x="1091" y="615"/>
                  <a:pt x="1090" y="620"/>
                  <a:pt x="1089" y="626"/>
                </a:cubicBezTo>
                <a:cubicBezTo>
                  <a:pt x="1089" y="630"/>
                  <a:pt x="1088" y="632"/>
                  <a:pt x="1088" y="632"/>
                </a:cubicBezTo>
                <a:cubicBezTo>
                  <a:pt x="1087" y="632"/>
                  <a:pt x="1086" y="633"/>
                  <a:pt x="1085" y="636"/>
                </a:cubicBezTo>
                <a:cubicBezTo>
                  <a:pt x="1084" y="639"/>
                  <a:pt x="1083" y="643"/>
                  <a:pt x="1082" y="648"/>
                </a:cubicBezTo>
                <a:cubicBezTo>
                  <a:pt x="1080" y="659"/>
                  <a:pt x="1078" y="664"/>
                  <a:pt x="1077" y="665"/>
                </a:cubicBezTo>
                <a:cubicBezTo>
                  <a:pt x="1077" y="666"/>
                  <a:pt x="1076" y="666"/>
                  <a:pt x="1076" y="668"/>
                </a:cubicBezTo>
                <a:lnTo>
                  <a:pt x="1077" y="676"/>
                </a:lnTo>
                <a:cubicBezTo>
                  <a:pt x="1077" y="679"/>
                  <a:pt x="1076" y="681"/>
                  <a:pt x="1075" y="681"/>
                </a:cubicBezTo>
                <a:lnTo>
                  <a:pt x="1074" y="681"/>
                </a:lnTo>
                <a:cubicBezTo>
                  <a:pt x="1074" y="681"/>
                  <a:pt x="1073" y="681"/>
                  <a:pt x="1073" y="681"/>
                </a:cubicBezTo>
                <a:cubicBezTo>
                  <a:pt x="1074" y="682"/>
                  <a:pt x="1075" y="683"/>
                  <a:pt x="1075" y="685"/>
                </a:cubicBezTo>
                <a:cubicBezTo>
                  <a:pt x="1075" y="686"/>
                  <a:pt x="1074" y="686"/>
                  <a:pt x="1074" y="686"/>
                </a:cubicBezTo>
                <a:cubicBezTo>
                  <a:pt x="1073" y="686"/>
                  <a:pt x="1072" y="687"/>
                  <a:pt x="1072" y="688"/>
                </a:cubicBezTo>
                <a:lnTo>
                  <a:pt x="1072" y="688"/>
                </a:lnTo>
                <a:cubicBezTo>
                  <a:pt x="1073" y="690"/>
                  <a:pt x="1073" y="691"/>
                  <a:pt x="1073" y="692"/>
                </a:cubicBezTo>
                <a:cubicBezTo>
                  <a:pt x="1073" y="694"/>
                  <a:pt x="1073" y="695"/>
                  <a:pt x="1072" y="695"/>
                </a:cubicBezTo>
                <a:lnTo>
                  <a:pt x="1069" y="694"/>
                </a:lnTo>
                <a:cubicBezTo>
                  <a:pt x="1069" y="694"/>
                  <a:pt x="1069" y="694"/>
                  <a:pt x="1069" y="694"/>
                </a:cubicBezTo>
                <a:cubicBezTo>
                  <a:pt x="1069" y="694"/>
                  <a:pt x="1070" y="695"/>
                  <a:pt x="1070" y="696"/>
                </a:cubicBezTo>
                <a:cubicBezTo>
                  <a:pt x="1071" y="698"/>
                  <a:pt x="1071" y="698"/>
                  <a:pt x="1071" y="699"/>
                </a:cubicBezTo>
                <a:lnTo>
                  <a:pt x="1071" y="700"/>
                </a:lnTo>
                <a:lnTo>
                  <a:pt x="1071" y="700"/>
                </a:lnTo>
                <a:cubicBezTo>
                  <a:pt x="1071" y="700"/>
                  <a:pt x="1070" y="699"/>
                  <a:pt x="1069" y="699"/>
                </a:cubicBezTo>
                <a:cubicBezTo>
                  <a:pt x="1067" y="698"/>
                  <a:pt x="1067" y="698"/>
                  <a:pt x="1066" y="698"/>
                </a:cubicBezTo>
                <a:lnTo>
                  <a:pt x="1066" y="699"/>
                </a:lnTo>
                <a:lnTo>
                  <a:pt x="1067" y="699"/>
                </a:lnTo>
                <a:cubicBezTo>
                  <a:pt x="1067" y="700"/>
                  <a:pt x="1067" y="700"/>
                  <a:pt x="1067" y="701"/>
                </a:cubicBezTo>
                <a:cubicBezTo>
                  <a:pt x="1067" y="701"/>
                  <a:pt x="1067" y="702"/>
                  <a:pt x="1067" y="703"/>
                </a:cubicBezTo>
                <a:cubicBezTo>
                  <a:pt x="1067" y="704"/>
                  <a:pt x="1067" y="705"/>
                  <a:pt x="1067" y="706"/>
                </a:cubicBezTo>
                <a:cubicBezTo>
                  <a:pt x="1067" y="707"/>
                  <a:pt x="1067" y="709"/>
                  <a:pt x="1067" y="711"/>
                </a:cubicBezTo>
                <a:cubicBezTo>
                  <a:pt x="1067" y="718"/>
                  <a:pt x="1067" y="722"/>
                  <a:pt x="1068" y="722"/>
                </a:cubicBezTo>
                <a:lnTo>
                  <a:pt x="1069" y="721"/>
                </a:lnTo>
                <a:cubicBezTo>
                  <a:pt x="1069" y="721"/>
                  <a:pt x="1069" y="720"/>
                  <a:pt x="1071" y="718"/>
                </a:cubicBezTo>
                <a:cubicBezTo>
                  <a:pt x="1072" y="716"/>
                  <a:pt x="1073" y="713"/>
                  <a:pt x="1074" y="710"/>
                </a:cubicBezTo>
                <a:cubicBezTo>
                  <a:pt x="1076" y="707"/>
                  <a:pt x="1077" y="705"/>
                  <a:pt x="1079" y="703"/>
                </a:cubicBezTo>
                <a:cubicBezTo>
                  <a:pt x="1080" y="701"/>
                  <a:pt x="1081" y="700"/>
                  <a:pt x="1082" y="700"/>
                </a:cubicBezTo>
                <a:cubicBezTo>
                  <a:pt x="1083" y="700"/>
                  <a:pt x="1084" y="700"/>
                  <a:pt x="1085" y="698"/>
                </a:cubicBezTo>
                <a:cubicBezTo>
                  <a:pt x="1087" y="697"/>
                  <a:pt x="1088" y="696"/>
                  <a:pt x="1089" y="693"/>
                </a:cubicBezTo>
                <a:cubicBezTo>
                  <a:pt x="1090" y="691"/>
                  <a:pt x="1091" y="690"/>
                  <a:pt x="1091" y="689"/>
                </a:cubicBezTo>
                <a:cubicBezTo>
                  <a:pt x="1091" y="689"/>
                  <a:pt x="1091" y="688"/>
                  <a:pt x="1090" y="688"/>
                </a:cubicBezTo>
                <a:cubicBezTo>
                  <a:pt x="1089" y="688"/>
                  <a:pt x="1088" y="690"/>
                  <a:pt x="1087" y="693"/>
                </a:cubicBezTo>
                <a:cubicBezTo>
                  <a:pt x="1086" y="696"/>
                  <a:pt x="1084" y="698"/>
                  <a:pt x="1083" y="698"/>
                </a:cubicBezTo>
                <a:cubicBezTo>
                  <a:pt x="1082" y="698"/>
                  <a:pt x="1082" y="697"/>
                  <a:pt x="1082" y="696"/>
                </a:cubicBezTo>
                <a:cubicBezTo>
                  <a:pt x="1082" y="694"/>
                  <a:pt x="1084" y="690"/>
                  <a:pt x="1089" y="685"/>
                </a:cubicBezTo>
                <a:cubicBezTo>
                  <a:pt x="1090" y="683"/>
                  <a:pt x="1090" y="682"/>
                  <a:pt x="1090" y="681"/>
                </a:cubicBezTo>
                <a:cubicBezTo>
                  <a:pt x="1090" y="680"/>
                  <a:pt x="1090" y="679"/>
                  <a:pt x="1089" y="679"/>
                </a:cubicBezTo>
                <a:lnTo>
                  <a:pt x="1089" y="677"/>
                </a:lnTo>
                <a:lnTo>
                  <a:pt x="1092" y="679"/>
                </a:lnTo>
                <a:cubicBezTo>
                  <a:pt x="1094" y="680"/>
                  <a:pt x="1095" y="681"/>
                  <a:pt x="1095" y="681"/>
                </a:cubicBezTo>
                <a:cubicBezTo>
                  <a:pt x="1096" y="681"/>
                  <a:pt x="1097" y="680"/>
                  <a:pt x="1098" y="679"/>
                </a:cubicBezTo>
                <a:lnTo>
                  <a:pt x="1099" y="676"/>
                </a:lnTo>
                <a:cubicBezTo>
                  <a:pt x="1098" y="676"/>
                  <a:pt x="1097" y="676"/>
                  <a:pt x="1096" y="676"/>
                </a:cubicBezTo>
                <a:cubicBezTo>
                  <a:pt x="1094" y="676"/>
                  <a:pt x="1093" y="676"/>
                  <a:pt x="1093" y="676"/>
                </a:cubicBezTo>
                <a:lnTo>
                  <a:pt x="1093" y="674"/>
                </a:lnTo>
                <a:cubicBezTo>
                  <a:pt x="1093" y="674"/>
                  <a:pt x="1093" y="673"/>
                  <a:pt x="1095" y="672"/>
                </a:cubicBezTo>
                <a:cubicBezTo>
                  <a:pt x="1096" y="671"/>
                  <a:pt x="1097" y="671"/>
                  <a:pt x="1097" y="670"/>
                </a:cubicBezTo>
                <a:lnTo>
                  <a:pt x="1097" y="669"/>
                </a:lnTo>
                <a:cubicBezTo>
                  <a:pt x="1097" y="669"/>
                  <a:pt x="1096" y="667"/>
                  <a:pt x="1095" y="666"/>
                </a:cubicBezTo>
                <a:lnTo>
                  <a:pt x="1095" y="666"/>
                </a:lnTo>
                <a:cubicBezTo>
                  <a:pt x="1096" y="666"/>
                  <a:pt x="1097" y="666"/>
                  <a:pt x="1098" y="667"/>
                </a:cubicBezTo>
                <a:cubicBezTo>
                  <a:pt x="1099" y="668"/>
                  <a:pt x="1101" y="669"/>
                  <a:pt x="1101" y="669"/>
                </a:cubicBezTo>
                <a:cubicBezTo>
                  <a:pt x="1103" y="669"/>
                  <a:pt x="1104" y="668"/>
                  <a:pt x="1104" y="665"/>
                </a:cubicBezTo>
                <a:lnTo>
                  <a:pt x="1104" y="661"/>
                </a:lnTo>
                <a:lnTo>
                  <a:pt x="1103" y="660"/>
                </a:lnTo>
                <a:cubicBezTo>
                  <a:pt x="1103" y="659"/>
                  <a:pt x="1104" y="659"/>
                  <a:pt x="1104" y="658"/>
                </a:cubicBezTo>
                <a:cubicBezTo>
                  <a:pt x="1104" y="658"/>
                  <a:pt x="1105" y="658"/>
                  <a:pt x="1106" y="658"/>
                </a:cubicBezTo>
                <a:cubicBezTo>
                  <a:pt x="1106" y="658"/>
                  <a:pt x="1107" y="657"/>
                  <a:pt x="1108" y="657"/>
                </a:cubicBezTo>
                <a:cubicBezTo>
                  <a:pt x="1110" y="655"/>
                  <a:pt x="1111" y="653"/>
                  <a:pt x="1111" y="652"/>
                </a:cubicBezTo>
                <a:lnTo>
                  <a:pt x="1109" y="653"/>
                </a:lnTo>
                <a:cubicBezTo>
                  <a:pt x="1109" y="652"/>
                  <a:pt x="1110" y="650"/>
                  <a:pt x="1112" y="646"/>
                </a:cubicBezTo>
                <a:cubicBezTo>
                  <a:pt x="1119" y="634"/>
                  <a:pt x="1127" y="622"/>
                  <a:pt x="1136" y="611"/>
                </a:cubicBezTo>
                <a:cubicBezTo>
                  <a:pt x="1139" y="606"/>
                  <a:pt x="1141" y="603"/>
                  <a:pt x="1142" y="603"/>
                </a:cubicBezTo>
                <a:lnTo>
                  <a:pt x="1142" y="605"/>
                </a:lnTo>
                <a:cubicBezTo>
                  <a:pt x="1143" y="605"/>
                  <a:pt x="1144" y="603"/>
                  <a:pt x="1146" y="601"/>
                </a:cubicBezTo>
                <a:cubicBezTo>
                  <a:pt x="1148" y="599"/>
                  <a:pt x="1149" y="597"/>
                  <a:pt x="1149" y="595"/>
                </a:cubicBezTo>
                <a:lnTo>
                  <a:pt x="1149" y="593"/>
                </a:lnTo>
                <a:cubicBezTo>
                  <a:pt x="1149" y="591"/>
                  <a:pt x="1151" y="588"/>
                  <a:pt x="1154" y="581"/>
                </a:cubicBezTo>
                <a:cubicBezTo>
                  <a:pt x="1163" y="567"/>
                  <a:pt x="1171" y="554"/>
                  <a:pt x="1181" y="544"/>
                </a:cubicBezTo>
                <a:cubicBezTo>
                  <a:pt x="1187" y="536"/>
                  <a:pt x="1193" y="532"/>
                  <a:pt x="1199" y="532"/>
                </a:cubicBezTo>
                <a:cubicBezTo>
                  <a:pt x="1202" y="532"/>
                  <a:pt x="1205" y="533"/>
                  <a:pt x="1207" y="535"/>
                </a:cubicBezTo>
                <a:lnTo>
                  <a:pt x="1210" y="537"/>
                </a:lnTo>
                <a:lnTo>
                  <a:pt x="1210" y="537"/>
                </a:lnTo>
                <a:lnTo>
                  <a:pt x="1209" y="535"/>
                </a:lnTo>
                <a:lnTo>
                  <a:pt x="1209" y="535"/>
                </a:lnTo>
                <a:cubicBezTo>
                  <a:pt x="1210" y="535"/>
                  <a:pt x="1211" y="536"/>
                  <a:pt x="1213" y="537"/>
                </a:cubicBezTo>
                <a:cubicBezTo>
                  <a:pt x="1216" y="538"/>
                  <a:pt x="1218" y="539"/>
                  <a:pt x="1221" y="541"/>
                </a:cubicBezTo>
                <a:cubicBezTo>
                  <a:pt x="1224" y="542"/>
                  <a:pt x="1226" y="544"/>
                  <a:pt x="1227" y="545"/>
                </a:cubicBezTo>
                <a:cubicBezTo>
                  <a:pt x="1230" y="549"/>
                  <a:pt x="1234" y="560"/>
                  <a:pt x="1240" y="577"/>
                </a:cubicBezTo>
                <a:cubicBezTo>
                  <a:pt x="1245" y="594"/>
                  <a:pt x="1249" y="606"/>
                  <a:pt x="1252" y="612"/>
                </a:cubicBezTo>
                <a:cubicBezTo>
                  <a:pt x="1255" y="617"/>
                  <a:pt x="1258" y="620"/>
                  <a:pt x="1262" y="620"/>
                </a:cubicBezTo>
                <a:cubicBezTo>
                  <a:pt x="1266" y="620"/>
                  <a:pt x="1272" y="618"/>
                  <a:pt x="1280" y="614"/>
                </a:cubicBezTo>
                <a:cubicBezTo>
                  <a:pt x="1286" y="610"/>
                  <a:pt x="1292" y="607"/>
                  <a:pt x="1298" y="602"/>
                </a:cubicBezTo>
                <a:cubicBezTo>
                  <a:pt x="1301" y="600"/>
                  <a:pt x="1305" y="596"/>
                  <a:pt x="1311" y="593"/>
                </a:cubicBezTo>
                <a:cubicBezTo>
                  <a:pt x="1324" y="583"/>
                  <a:pt x="1332" y="578"/>
                  <a:pt x="1334" y="578"/>
                </a:cubicBezTo>
                <a:cubicBezTo>
                  <a:pt x="1338" y="578"/>
                  <a:pt x="1340" y="581"/>
                  <a:pt x="1340" y="586"/>
                </a:cubicBezTo>
                <a:cubicBezTo>
                  <a:pt x="1340" y="597"/>
                  <a:pt x="1336" y="606"/>
                  <a:pt x="1329" y="615"/>
                </a:cubicBezTo>
                <a:cubicBezTo>
                  <a:pt x="1314" y="633"/>
                  <a:pt x="1297" y="642"/>
                  <a:pt x="1278" y="642"/>
                </a:cubicBezTo>
                <a:cubicBezTo>
                  <a:pt x="1269" y="642"/>
                  <a:pt x="1260" y="640"/>
                  <a:pt x="1252" y="636"/>
                </a:cubicBezTo>
                <a:cubicBezTo>
                  <a:pt x="1235" y="630"/>
                  <a:pt x="1223" y="612"/>
                  <a:pt x="1215" y="582"/>
                </a:cubicBezTo>
                <a:cubicBezTo>
                  <a:pt x="1212" y="571"/>
                  <a:pt x="1209" y="565"/>
                  <a:pt x="1206" y="565"/>
                </a:cubicBezTo>
                <a:cubicBezTo>
                  <a:pt x="1203" y="565"/>
                  <a:pt x="1198" y="572"/>
                  <a:pt x="1190" y="584"/>
                </a:cubicBezTo>
                <a:cubicBezTo>
                  <a:pt x="1185" y="592"/>
                  <a:pt x="1179" y="600"/>
                  <a:pt x="1172" y="611"/>
                </a:cubicBezTo>
                <a:cubicBezTo>
                  <a:pt x="1165" y="621"/>
                  <a:pt x="1159" y="631"/>
                  <a:pt x="1154" y="639"/>
                </a:cubicBezTo>
                <a:cubicBezTo>
                  <a:pt x="1142" y="659"/>
                  <a:pt x="1135" y="669"/>
                  <a:pt x="1133" y="671"/>
                </a:cubicBezTo>
                <a:cubicBezTo>
                  <a:pt x="1130" y="672"/>
                  <a:pt x="1129" y="673"/>
                  <a:pt x="1129" y="674"/>
                </a:cubicBezTo>
                <a:cubicBezTo>
                  <a:pt x="1129" y="674"/>
                  <a:pt x="1129" y="674"/>
                  <a:pt x="1129" y="674"/>
                </a:cubicBezTo>
                <a:cubicBezTo>
                  <a:pt x="1130" y="674"/>
                  <a:pt x="1130" y="674"/>
                  <a:pt x="1130" y="674"/>
                </a:cubicBezTo>
                <a:lnTo>
                  <a:pt x="1133" y="673"/>
                </a:lnTo>
                <a:lnTo>
                  <a:pt x="1131" y="678"/>
                </a:lnTo>
                <a:lnTo>
                  <a:pt x="1124" y="692"/>
                </a:lnTo>
                <a:cubicBezTo>
                  <a:pt x="1123" y="695"/>
                  <a:pt x="1121" y="698"/>
                  <a:pt x="1119" y="700"/>
                </a:cubicBezTo>
                <a:cubicBezTo>
                  <a:pt x="1118" y="702"/>
                  <a:pt x="1116" y="703"/>
                  <a:pt x="1116" y="703"/>
                </a:cubicBezTo>
                <a:lnTo>
                  <a:pt x="1114" y="702"/>
                </a:lnTo>
                <a:cubicBezTo>
                  <a:pt x="1114" y="703"/>
                  <a:pt x="1115" y="703"/>
                  <a:pt x="1115" y="703"/>
                </a:cubicBezTo>
                <a:cubicBezTo>
                  <a:pt x="1116" y="704"/>
                  <a:pt x="1116" y="705"/>
                  <a:pt x="1116" y="705"/>
                </a:cubicBezTo>
                <a:cubicBezTo>
                  <a:pt x="1116" y="707"/>
                  <a:pt x="1116" y="710"/>
                  <a:pt x="1115" y="712"/>
                </a:cubicBezTo>
                <a:cubicBezTo>
                  <a:pt x="1114" y="714"/>
                  <a:pt x="1113" y="715"/>
                  <a:pt x="1111" y="715"/>
                </a:cubicBezTo>
                <a:lnTo>
                  <a:pt x="1109" y="714"/>
                </a:lnTo>
                <a:lnTo>
                  <a:pt x="1110" y="717"/>
                </a:lnTo>
                <a:cubicBezTo>
                  <a:pt x="1110" y="722"/>
                  <a:pt x="1103" y="739"/>
                  <a:pt x="1089" y="766"/>
                </a:cubicBezTo>
                <a:cubicBezTo>
                  <a:pt x="1074" y="794"/>
                  <a:pt x="1065" y="808"/>
                  <a:pt x="1062" y="808"/>
                </a:cubicBezTo>
                <a:cubicBezTo>
                  <a:pt x="1059" y="808"/>
                  <a:pt x="1057" y="809"/>
                  <a:pt x="1056" y="810"/>
                </a:cubicBezTo>
                <a:cubicBezTo>
                  <a:pt x="1056" y="812"/>
                  <a:pt x="1055" y="812"/>
                  <a:pt x="1054" y="812"/>
                </a:cubicBezTo>
                <a:close/>
                <a:moveTo>
                  <a:pt x="1064" y="688"/>
                </a:moveTo>
                <a:cubicBezTo>
                  <a:pt x="1064" y="688"/>
                  <a:pt x="1065" y="688"/>
                  <a:pt x="1066" y="687"/>
                </a:cubicBezTo>
                <a:cubicBezTo>
                  <a:pt x="1066" y="686"/>
                  <a:pt x="1067" y="685"/>
                  <a:pt x="1067" y="684"/>
                </a:cubicBezTo>
                <a:lnTo>
                  <a:pt x="1066" y="683"/>
                </a:lnTo>
                <a:cubicBezTo>
                  <a:pt x="1065" y="683"/>
                  <a:pt x="1064" y="683"/>
                  <a:pt x="1064" y="686"/>
                </a:cubicBezTo>
                <a:lnTo>
                  <a:pt x="1064" y="688"/>
                </a:lnTo>
                <a:close/>
                <a:moveTo>
                  <a:pt x="1052" y="810"/>
                </a:moveTo>
                <a:cubicBezTo>
                  <a:pt x="1052" y="810"/>
                  <a:pt x="1053" y="809"/>
                  <a:pt x="1054" y="807"/>
                </a:cubicBezTo>
                <a:cubicBezTo>
                  <a:pt x="1055" y="806"/>
                  <a:pt x="1056" y="805"/>
                  <a:pt x="1056" y="804"/>
                </a:cubicBezTo>
                <a:lnTo>
                  <a:pt x="1055" y="804"/>
                </a:lnTo>
                <a:cubicBezTo>
                  <a:pt x="1055" y="804"/>
                  <a:pt x="1054" y="804"/>
                  <a:pt x="1052" y="805"/>
                </a:cubicBezTo>
                <a:cubicBezTo>
                  <a:pt x="1051" y="806"/>
                  <a:pt x="1050" y="806"/>
                  <a:pt x="1050" y="808"/>
                </a:cubicBezTo>
                <a:cubicBezTo>
                  <a:pt x="1050" y="809"/>
                  <a:pt x="1051" y="810"/>
                  <a:pt x="1052" y="810"/>
                </a:cubicBezTo>
                <a:close/>
                <a:moveTo>
                  <a:pt x="1051" y="800"/>
                </a:moveTo>
                <a:cubicBezTo>
                  <a:pt x="1052" y="800"/>
                  <a:pt x="1053" y="800"/>
                  <a:pt x="1054" y="799"/>
                </a:cubicBezTo>
                <a:cubicBezTo>
                  <a:pt x="1055" y="797"/>
                  <a:pt x="1056" y="796"/>
                  <a:pt x="1056" y="796"/>
                </a:cubicBezTo>
                <a:cubicBezTo>
                  <a:pt x="1056" y="796"/>
                  <a:pt x="1056" y="796"/>
                  <a:pt x="1055" y="795"/>
                </a:cubicBezTo>
                <a:cubicBezTo>
                  <a:pt x="1055" y="795"/>
                  <a:pt x="1055" y="795"/>
                  <a:pt x="1054" y="794"/>
                </a:cubicBezTo>
                <a:cubicBezTo>
                  <a:pt x="1054" y="794"/>
                  <a:pt x="1054" y="794"/>
                  <a:pt x="1054" y="794"/>
                </a:cubicBezTo>
                <a:cubicBezTo>
                  <a:pt x="1053" y="794"/>
                  <a:pt x="1052" y="795"/>
                  <a:pt x="1051" y="796"/>
                </a:cubicBezTo>
                <a:cubicBezTo>
                  <a:pt x="1051" y="796"/>
                  <a:pt x="1050" y="797"/>
                  <a:pt x="1050" y="798"/>
                </a:cubicBezTo>
                <a:cubicBezTo>
                  <a:pt x="1050" y="800"/>
                  <a:pt x="1051" y="800"/>
                  <a:pt x="1051" y="800"/>
                </a:cubicBezTo>
                <a:close/>
                <a:moveTo>
                  <a:pt x="1060" y="802"/>
                </a:moveTo>
                <a:cubicBezTo>
                  <a:pt x="1061" y="802"/>
                  <a:pt x="1064" y="801"/>
                  <a:pt x="1067" y="797"/>
                </a:cubicBezTo>
                <a:cubicBezTo>
                  <a:pt x="1069" y="795"/>
                  <a:pt x="1069" y="794"/>
                  <a:pt x="1069" y="792"/>
                </a:cubicBezTo>
                <a:lnTo>
                  <a:pt x="1068" y="790"/>
                </a:lnTo>
                <a:lnTo>
                  <a:pt x="1069" y="790"/>
                </a:lnTo>
                <a:cubicBezTo>
                  <a:pt x="1070" y="790"/>
                  <a:pt x="1071" y="790"/>
                  <a:pt x="1072" y="788"/>
                </a:cubicBezTo>
                <a:cubicBezTo>
                  <a:pt x="1074" y="787"/>
                  <a:pt x="1075" y="785"/>
                  <a:pt x="1076" y="782"/>
                </a:cubicBezTo>
                <a:cubicBezTo>
                  <a:pt x="1078" y="779"/>
                  <a:pt x="1079" y="777"/>
                  <a:pt x="1079" y="777"/>
                </a:cubicBezTo>
                <a:lnTo>
                  <a:pt x="1077" y="777"/>
                </a:lnTo>
                <a:lnTo>
                  <a:pt x="1077" y="777"/>
                </a:lnTo>
                <a:cubicBezTo>
                  <a:pt x="1077" y="776"/>
                  <a:pt x="1078" y="775"/>
                  <a:pt x="1080" y="773"/>
                </a:cubicBezTo>
                <a:cubicBezTo>
                  <a:pt x="1082" y="771"/>
                  <a:pt x="1083" y="769"/>
                  <a:pt x="1083" y="767"/>
                </a:cubicBezTo>
                <a:lnTo>
                  <a:pt x="1082" y="767"/>
                </a:lnTo>
                <a:cubicBezTo>
                  <a:pt x="1082" y="766"/>
                  <a:pt x="1082" y="766"/>
                  <a:pt x="1082" y="765"/>
                </a:cubicBezTo>
                <a:cubicBezTo>
                  <a:pt x="1082" y="765"/>
                  <a:pt x="1082" y="765"/>
                  <a:pt x="1083" y="765"/>
                </a:cubicBezTo>
                <a:cubicBezTo>
                  <a:pt x="1084" y="765"/>
                  <a:pt x="1084" y="764"/>
                  <a:pt x="1084" y="763"/>
                </a:cubicBezTo>
                <a:cubicBezTo>
                  <a:pt x="1084" y="762"/>
                  <a:pt x="1085" y="760"/>
                  <a:pt x="1087" y="758"/>
                </a:cubicBezTo>
                <a:cubicBezTo>
                  <a:pt x="1090" y="756"/>
                  <a:pt x="1091" y="754"/>
                  <a:pt x="1091" y="752"/>
                </a:cubicBezTo>
                <a:cubicBezTo>
                  <a:pt x="1091" y="750"/>
                  <a:pt x="1091" y="750"/>
                  <a:pt x="1091" y="749"/>
                </a:cubicBezTo>
                <a:cubicBezTo>
                  <a:pt x="1091" y="747"/>
                  <a:pt x="1091" y="747"/>
                  <a:pt x="1091" y="747"/>
                </a:cubicBezTo>
                <a:lnTo>
                  <a:pt x="1093" y="747"/>
                </a:lnTo>
                <a:cubicBezTo>
                  <a:pt x="1095" y="747"/>
                  <a:pt x="1096" y="745"/>
                  <a:pt x="1096" y="742"/>
                </a:cubicBezTo>
                <a:cubicBezTo>
                  <a:pt x="1096" y="740"/>
                  <a:pt x="1096" y="738"/>
                  <a:pt x="1096" y="737"/>
                </a:cubicBezTo>
                <a:cubicBezTo>
                  <a:pt x="1095" y="737"/>
                  <a:pt x="1094" y="737"/>
                  <a:pt x="1094" y="737"/>
                </a:cubicBezTo>
                <a:cubicBezTo>
                  <a:pt x="1093" y="737"/>
                  <a:pt x="1093" y="737"/>
                  <a:pt x="1093" y="738"/>
                </a:cubicBezTo>
                <a:cubicBezTo>
                  <a:pt x="1093" y="739"/>
                  <a:pt x="1093" y="740"/>
                  <a:pt x="1094" y="740"/>
                </a:cubicBezTo>
                <a:cubicBezTo>
                  <a:pt x="1094" y="741"/>
                  <a:pt x="1094" y="742"/>
                  <a:pt x="1095" y="742"/>
                </a:cubicBezTo>
                <a:cubicBezTo>
                  <a:pt x="1095" y="742"/>
                  <a:pt x="1095" y="743"/>
                  <a:pt x="1094" y="743"/>
                </a:cubicBezTo>
                <a:lnTo>
                  <a:pt x="1091" y="742"/>
                </a:lnTo>
                <a:lnTo>
                  <a:pt x="1094" y="745"/>
                </a:lnTo>
                <a:lnTo>
                  <a:pt x="1094" y="746"/>
                </a:lnTo>
                <a:cubicBezTo>
                  <a:pt x="1094" y="746"/>
                  <a:pt x="1093" y="745"/>
                  <a:pt x="1092" y="745"/>
                </a:cubicBezTo>
                <a:cubicBezTo>
                  <a:pt x="1091" y="745"/>
                  <a:pt x="1091" y="744"/>
                  <a:pt x="1090" y="744"/>
                </a:cubicBezTo>
                <a:cubicBezTo>
                  <a:pt x="1089" y="744"/>
                  <a:pt x="1088" y="745"/>
                  <a:pt x="1088" y="746"/>
                </a:cubicBezTo>
                <a:cubicBezTo>
                  <a:pt x="1087" y="747"/>
                  <a:pt x="1085" y="748"/>
                  <a:pt x="1081" y="750"/>
                </a:cubicBezTo>
                <a:cubicBezTo>
                  <a:pt x="1076" y="751"/>
                  <a:pt x="1073" y="752"/>
                  <a:pt x="1073" y="753"/>
                </a:cubicBezTo>
                <a:cubicBezTo>
                  <a:pt x="1073" y="754"/>
                  <a:pt x="1074" y="754"/>
                  <a:pt x="1074" y="755"/>
                </a:cubicBezTo>
                <a:cubicBezTo>
                  <a:pt x="1074" y="756"/>
                  <a:pt x="1075" y="756"/>
                  <a:pt x="1076" y="756"/>
                </a:cubicBezTo>
                <a:cubicBezTo>
                  <a:pt x="1077" y="756"/>
                  <a:pt x="1078" y="755"/>
                  <a:pt x="1079" y="754"/>
                </a:cubicBezTo>
                <a:cubicBezTo>
                  <a:pt x="1080" y="752"/>
                  <a:pt x="1081" y="752"/>
                  <a:pt x="1082" y="752"/>
                </a:cubicBezTo>
                <a:cubicBezTo>
                  <a:pt x="1084" y="752"/>
                  <a:pt x="1084" y="752"/>
                  <a:pt x="1084" y="753"/>
                </a:cubicBezTo>
                <a:cubicBezTo>
                  <a:pt x="1084" y="755"/>
                  <a:pt x="1084" y="755"/>
                  <a:pt x="1083" y="756"/>
                </a:cubicBezTo>
                <a:cubicBezTo>
                  <a:pt x="1082" y="756"/>
                  <a:pt x="1081" y="757"/>
                  <a:pt x="1080" y="759"/>
                </a:cubicBezTo>
                <a:cubicBezTo>
                  <a:pt x="1078" y="762"/>
                  <a:pt x="1074" y="769"/>
                  <a:pt x="1068" y="782"/>
                </a:cubicBezTo>
                <a:lnTo>
                  <a:pt x="1062" y="792"/>
                </a:lnTo>
                <a:cubicBezTo>
                  <a:pt x="1060" y="796"/>
                  <a:pt x="1058" y="799"/>
                  <a:pt x="1058" y="801"/>
                </a:cubicBezTo>
                <a:cubicBezTo>
                  <a:pt x="1058" y="802"/>
                  <a:pt x="1059" y="802"/>
                  <a:pt x="1060" y="802"/>
                </a:cubicBezTo>
                <a:close/>
                <a:moveTo>
                  <a:pt x="1058" y="792"/>
                </a:moveTo>
                <a:cubicBezTo>
                  <a:pt x="1058" y="792"/>
                  <a:pt x="1059" y="791"/>
                  <a:pt x="1059" y="791"/>
                </a:cubicBezTo>
                <a:cubicBezTo>
                  <a:pt x="1059" y="790"/>
                  <a:pt x="1060" y="789"/>
                  <a:pt x="1061" y="789"/>
                </a:cubicBezTo>
                <a:cubicBezTo>
                  <a:pt x="1061" y="788"/>
                  <a:pt x="1062" y="787"/>
                  <a:pt x="1062" y="786"/>
                </a:cubicBezTo>
                <a:cubicBezTo>
                  <a:pt x="1062" y="785"/>
                  <a:pt x="1061" y="785"/>
                  <a:pt x="1060" y="785"/>
                </a:cubicBezTo>
                <a:cubicBezTo>
                  <a:pt x="1059" y="785"/>
                  <a:pt x="1058" y="786"/>
                  <a:pt x="1058" y="788"/>
                </a:cubicBezTo>
                <a:lnTo>
                  <a:pt x="1058" y="792"/>
                </a:lnTo>
                <a:close/>
                <a:moveTo>
                  <a:pt x="1061" y="780"/>
                </a:moveTo>
                <a:cubicBezTo>
                  <a:pt x="1062" y="780"/>
                  <a:pt x="1063" y="780"/>
                  <a:pt x="1065" y="779"/>
                </a:cubicBezTo>
                <a:cubicBezTo>
                  <a:pt x="1066" y="778"/>
                  <a:pt x="1067" y="777"/>
                  <a:pt x="1068" y="776"/>
                </a:cubicBezTo>
                <a:cubicBezTo>
                  <a:pt x="1069" y="774"/>
                  <a:pt x="1069" y="773"/>
                  <a:pt x="1069" y="772"/>
                </a:cubicBezTo>
                <a:cubicBezTo>
                  <a:pt x="1069" y="772"/>
                  <a:pt x="1068" y="771"/>
                  <a:pt x="1067" y="771"/>
                </a:cubicBezTo>
                <a:cubicBezTo>
                  <a:pt x="1067" y="771"/>
                  <a:pt x="1066" y="770"/>
                  <a:pt x="1066" y="768"/>
                </a:cubicBezTo>
                <a:lnTo>
                  <a:pt x="1067" y="767"/>
                </a:lnTo>
                <a:lnTo>
                  <a:pt x="1066" y="767"/>
                </a:lnTo>
                <a:lnTo>
                  <a:pt x="1064" y="767"/>
                </a:lnTo>
                <a:cubicBezTo>
                  <a:pt x="1061" y="768"/>
                  <a:pt x="1060" y="769"/>
                  <a:pt x="1059" y="769"/>
                </a:cubicBezTo>
                <a:cubicBezTo>
                  <a:pt x="1059" y="770"/>
                  <a:pt x="1060" y="771"/>
                  <a:pt x="1063" y="772"/>
                </a:cubicBezTo>
                <a:lnTo>
                  <a:pt x="1067" y="775"/>
                </a:lnTo>
                <a:cubicBezTo>
                  <a:pt x="1067" y="776"/>
                  <a:pt x="1066" y="777"/>
                  <a:pt x="1063" y="778"/>
                </a:cubicBezTo>
                <a:cubicBezTo>
                  <a:pt x="1061" y="779"/>
                  <a:pt x="1060" y="779"/>
                  <a:pt x="1060" y="779"/>
                </a:cubicBezTo>
                <a:cubicBezTo>
                  <a:pt x="1060" y="780"/>
                  <a:pt x="1061" y="780"/>
                  <a:pt x="1061" y="780"/>
                </a:cubicBezTo>
                <a:close/>
                <a:moveTo>
                  <a:pt x="1071" y="767"/>
                </a:moveTo>
                <a:cubicBezTo>
                  <a:pt x="1072" y="767"/>
                  <a:pt x="1073" y="766"/>
                  <a:pt x="1074" y="764"/>
                </a:cubicBezTo>
                <a:cubicBezTo>
                  <a:pt x="1075" y="762"/>
                  <a:pt x="1075" y="761"/>
                  <a:pt x="1075" y="760"/>
                </a:cubicBezTo>
                <a:cubicBezTo>
                  <a:pt x="1074" y="757"/>
                  <a:pt x="1072" y="755"/>
                  <a:pt x="1069" y="755"/>
                </a:cubicBezTo>
                <a:cubicBezTo>
                  <a:pt x="1067" y="755"/>
                  <a:pt x="1066" y="756"/>
                  <a:pt x="1066" y="758"/>
                </a:cubicBezTo>
                <a:lnTo>
                  <a:pt x="1066" y="759"/>
                </a:lnTo>
                <a:cubicBezTo>
                  <a:pt x="1067" y="764"/>
                  <a:pt x="1069" y="767"/>
                  <a:pt x="1071" y="767"/>
                </a:cubicBezTo>
                <a:close/>
                <a:moveTo>
                  <a:pt x="1112" y="693"/>
                </a:moveTo>
                <a:cubicBezTo>
                  <a:pt x="1113" y="693"/>
                  <a:pt x="1113" y="693"/>
                  <a:pt x="1114" y="693"/>
                </a:cubicBezTo>
                <a:cubicBezTo>
                  <a:pt x="1114" y="692"/>
                  <a:pt x="1114" y="692"/>
                  <a:pt x="1114" y="691"/>
                </a:cubicBezTo>
                <a:cubicBezTo>
                  <a:pt x="1113" y="689"/>
                  <a:pt x="1113" y="688"/>
                  <a:pt x="1112" y="688"/>
                </a:cubicBezTo>
                <a:lnTo>
                  <a:pt x="1112" y="689"/>
                </a:lnTo>
                <a:cubicBezTo>
                  <a:pt x="1111" y="690"/>
                  <a:pt x="1111" y="691"/>
                  <a:pt x="1111" y="691"/>
                </a:cubicBezTo>
                <a:cubicBezTo>
                  <a:pt x="1111" y="691"/>
                  <a:pt x="1111" y="692"/>
                  <a:pt x="1111" y="692"/>
                </a:cubicBezTo>
                <a:lnTo>
                  <a:pt x="1112" y="693"/>
                </a:lnTo>
                <a:close/>
                <a:moveTo>
                  <a:pt x="1124" y="686"/>
                </a:moveTo>
                <a:cubicBezTo>
                  <a:pt x="1125" y="686"/>
                  <a:pt x="1126" y="685"/>
                  <a:pt x="1127" y="683"/>
                </a:cubicBezTo>
                <a:lnTo>
                  <a:pt x="1129" y="679"/>
                </a:lnTo>
                <a:lnTo>
                  <a:pt x="1128" y="679"/>
                </a:lnTo>
                <a:lnTo>
                  <a:pt x="1126" y="682"/>
                </a:lnTo>
                <a:cubicBezTo>
                  <a:pt x="1124" y="684"/>
                  <a:pt x="1123" y="685"/>
                  <a:pt x="1123" y="686"/>
                </a:cubicBezTo>
                <a:lnTo>
                  <a:pt x="1124" y="686"/>
                </a:lnTo>
                <a:close/>
                <a:moveTo>
                  <a:pt x="1077" y="732"/>
                </a:moveTo>
                <a:cubicBezTo>
                  <a:pt x="1077" y="732"/>
                  <a:pt x="1079" y="732"/>
                  <a:pt x="1081" y="731"/>
                </a:cubicBezTo>
                <a:cubicBezTo>
                  <a:pt x="1082" y="730"/>
                  <a:pt x="1083" y="729"/>
                  <a:pt x="1083" y="728"/>
                </a:cubicBezTo>
                <a:lnTo>
                  <a:pt x="1083" y="725"/>
                </a:lnTo>
                <a:cubicBezTo>
                  <a:pt x="1083" y="724"/>
                  <a:pt x="1084" y="722"/>
                  <a:pt x="1085" y="721"/>
                </a:cubicBezTo>
                <a:cubicBezTo>
                  <a:pt x="1087" y="719"/>
                  <a:pt x="1091" y="713"/>
                  <a:pt x="1097" y="701"/>
                </a:cubicBezTo>
                <a:lnTo>
                  <a:pt x="1108" y="681"/>
                </a:lnTo>
                <a:lnTo>
                  <a:pt x="1115" y="665"/>
                </a:lnTo>
                <a:cubicBezTo>
                  <a:pt x="1119" y="656"/>
                  <a:pt x="1122" y="650"/>
                  <a:pt x="1124" y="646"/>
                </a:cubicBezTo>
                <a:cubicBezTo>
                  <a:pt x="1127" y="642"/>
                  <a:pt x="1128" y="639"/>
                  <a:pt x="1129" y="636"/>
                </a:cubicBezTo>
                <a:cubicBezTo>
                  <a:pt x="1130" y="632"/>
                  <a:pt x="1132" y="627"/>
                  <a:pt x="1136" y="620"/>
                </a:cubicBezTo>
                <a:cubicBezTo>
                  <a:pt x="1138" y="615"/>
                  <a:pt x="1140" y="612"/>
                  <a:pt x="1140" y="611"/>
                </a:cubicBezTo>
                <a:cubicBezTo>
                  <a:pt x="1140" y="611"/>
                  <a:pt x="1139" y="611"/>
                  <a:pt x="1139" y="611"/>
                </a:cubicBezTo>
                <a:lnTo>
                  <a:pt x="1124" y="639"/>
                </a:lnTo>
                <a:cubicBezTo>
                  <a:pt x="1093" y="698"/>
                  <a:pt x="1077" y="729"/>
                  <a:pt x="1077" y="732"/>
                </a:cubicBezTo>
                <a:close/>
                <a:moveTo>
                  <a:pt x="1068" y="751"/>
                </a:moveTo>
                <a:cubicBezTo>
                  <a:pt x="1069" y="751"/>
                  <a:pt x="1071" y="750"/>
                  <a:pt x="1074" y="749"/>
                </a:cubicBezTo>
                <a:cubicBezTo>
                  <a:pt x="1077" y="747"/>
                  <a:pt x="1079" y="747"/>
                  <a:pt x="1081" y="747"/>
                </a:cubicBezTo>
                <a:cubicBezTo>
                  <a:pt x="1083" y="747"/>
                  <a:pt x="1086" y="745"/>
                  <a:pt x="1089" y="741"/>
                </a:cubicBezTo>
                <a:cubicBezTo>
                  <a:pt x="1091" y="737"/>
                  <a:pt x="1094" y="735"/>
                  <a:pt x="1097" y="735"/>
                </a:cubicBezTo>
                <a:lnTo>
                  <a:pt x="1099" y="736"/>
                </a:lnTo>
                <a:cubicBezTo>
                  <a:pt x="1100" y="736"/>
                  <a:pt x="1100" y="735"/>
                  <a:pt x="1100" y="735"/>
                </a:cubicBezTo>
                <a:lnTo>
                  <a:pt x="1099" y="734"/>
                </a:lnTo>
                <a:cubicBezTo>
                  <a:pt x="1099" y="732"/>
                  <a:pt x="1100" y="730"/>
                  <a:pt x="1101" y="729"/>
                </a:cubicBezTo>
                <a:cubicBezTo>
                  <a:pt x="1101" y="728"/>
                  <a:pt x="1102" y="727"/>
                  <a:pt x="1103" y="727"/>
                </a:cubicBezTo>
                <a:lnTo>
                  <a:pt x="1104" y="728"/>
                </a:lnTo>
                <a:lnTo>
                  <a:pt x="1105" y="728"/>
                </a:lnTo>
                <a:cubicBezTo>
                  <a:pt x="1105" y="727"/>
                  <a:pt x="1105" y="727"/>
                  <a:pt x="1105" y="727"/>
                </a:cubicBezTo>
                <a:cubicBezTo>
                  <a:pt x="1104" y="727"/>
                  <a:pt x="1104" y="726"/>
                  <a:pt x="1104" y="725"/>
                </a:cubicBezTo>
                <a:cubicBezTo>
                  <a:pt x="1103" y="724"/>
                  <a:pt x="1102" y="724"/>
                  <a:pt x="1101" y="724"/>
                </a:cubicBezTo>
                <a:cubicBezTo>
                  <a:pt x="1101" y="724"/>
                  <a:pt x="1099" y="725"/>
                  <a:pt x="1098" y="728"/>
                </a:cubicBezTo>
                <a:cubicBezTo>
                  <a:pt x="1097" y="730"/>
                  <a:pt x="1096" y="732"/>
                  <a:pt x="1096" y="732"/>
                </a:cubicBezTo>
                <a:lnTo>
                  <a:pt x="1097" y="728"/>
                </a:lnTo>
                <a:cubicBezTo>
                  <a:pt x="1098" y="726"/>
                  <a:pt x="1098" y="725"/>
                  <a:pt x="1099" y="724"/>
                </a:cubicBezTo>
                <a:cubicBezTo>
                  <a:pt x="1100" y="723"/>
                  <a:pt x="1100" y="723"/>
                  <a:pt x="1101" y="723"/>
                </a:cubicBezTo>
                <a:lnTo>
                  <a:pt x="1102" y="723"/>
                </a:lnTo>
                <a:cubicBezTo>
                  <a:pt x="1103" y="723"/>
                  <a:pt x="1104" y="722"/>
                  <a:pt x="1104" y="720"/>
                </a:cubicBezTo>
                <a:cubicBezTo>
                  <a:pt x="1105" y="719"/>
                  <a:pt x="1106" y="717"/>
                  <a:pt x="1106" y="715"/>
                </a:cubicBezTo>
                <a:cubicBezTo>
                  <a:pt x="1106" y="714"/>
                  <a:pt x="1106" y="714"/>
                  <a:pt x="1105" y="714"/>
                </a:cubicBezTo>
                <a:cubicBezTo>
                  <a:pt x="1105" y="714"/>
                  <a:pt x="1105" y="713"/>
                  <a:pt x="1105" y="712"/>
                </a:cubicBezTo>
                <a:cubicBezTo>
                  <a:pt x="1105" y="711"/>
                  <a:pt x="1105" y="708"/>
                  <a:pt x="1106" y="705"/>
                </a:cubicBezTo>
                <a:cubicBezTo>
                  <a:pt x="1108" y="702"/>
                  <a:pt x="1108" y="700"/>
                  <a:pt x="1108" y="699"/>
                </a:cubicBezTo>
                <a:lnTo>
                  <a:pt x="1108" y="699"/>
                </a:lnTo>
                <a:lnTo>
                  <a:pt x="1106" y="703"/>
                </a:lnTo>
                <a:cubicBezTo>
                  <a:pt x="1105" y="705"/>
                  <a:pt x="1104" y="705"/>
                  <a:pt x="1103" y="706"/>
                </a:cubicBezTo>
                <a:cubicBezTo>
                  <a:pt x="1103" y="707"/>
                  <a:pt x="1101" y="708"/>
                  <a:pt x="1099" y="708"/>
                </a:cubicBezTo>
                <a:lnTo>
                  <a:pt x="1099" y="707"/>
                </a:lnTo>
                <a:lnTo>
                  <a:pt x="1100" y="710"/>
                </a:lnTo>
                <a:cubicBezTo>
                  <a:pt x="1100" y="713"/>
                  <a:pt x="1099" y="715"/>
                  <a:pt x="1096" y="719"/>
                </a:cubicBezTo>
                <a:cubicBezTo>
                  <a:pt x="1093" y="723"/>
                  <a:pt x="1091" y="726"/>
                  <a:pt x="1091" y="728"/>
                </a:cubicBezTo>
                <a:lnTo>
                  <a:pt x="1091" y="728"/>
                </a:lnTo>
                <a:cubicBezTo>
                  <a:pt x="1091" y="729"/>
                  <a:pt x="1091" y="729"/>
                  <a:pt x="1091" y="729"/>
                </a:cubicBezTo>
                <a:lnTo>
                  <a:pt x="1087" y="728"/>
                </a:lnTo>
                <a:cubicBezTo>
                  <a:pt x="1086" y="728"/>
                  <a:pt x="1086" y="728"/>
                  <a:pt x="1086" y="728"/>
                </a:cubicBezTo>
                <a:cubicBezTo>
                  <a:pt x="1086" y="729"/>
                  <a:pt x="1086" y="729"/>
                  <a:pt x="1087" y="730"/>
                </a:cubicBezTo>
                <a:cubicBezTo>
                  <a:pt x="1087" y="731"/>
                  <a:pt x="1087" y="732"/>
                  <a:pt x="1087" y="732"/>
                </a:cubicBezTo>
                <a:cubicBezTo>
                  <a:pt x="1087" y="734"/>
                  <a:pt x="1086" y="736"/>
                  <a:pt x="1084" y="737"/>
                </a:cubicBezTo>
                <a:cubicBezTo>
                  <a:pt x="1081" y="739"/>
                  <a:pt x="1080" y="740"/>
                  <a:pt x="1080" y="742"/>
                </a:cubicBezTo>
                <a:lnTo>
                  <a:pt x="1080" y="742"/>
                </a:lnTo>
                <a:cubicBezTo>
                  <a:pt x="1080" y="743"/>
                  <a:pt x="1079" y="744"/>
                  <a:pt x="1077" y="744"/>
                </a:cubicBezTo>
                <a:cubicBezTo>
                  <a:pt x="1076" y="744"/>
                  <a:pt x="1075" y="743"/>
                  <a:pt x="1075" y="743"/>
                </a:cubicBezTo>
                <a:cubicBezTo>
                  <a:pt x="1075" y="742"/>
                  <a:pt x="1076" y="742"/>
                  <a:pt x="1078" y="740"/>
                </a:cubicBezTo>
                <a:cubicBezTo>
                  <a:pt x="1080" y="739"/>
                  <a:pt x="1081" y="737"/>
                  <a:pt x="1082" y="736"/>
                </a:cubicBezTo>
                <a:cubicBezTo>
                  <a:pt x="1082" y="735"/>
                  <a:pt x="1083" y="734"/>
                  <a:pt x="1083" y="734"/>
                </a:cubicBezTo>
                <a:cubicBezTo>
                  <a:pt x="1083" y="733"/>
                  <a:pt x="1082" y="733"/>
                  <a:pt x="1082" y="733"/>
                </a:cubicBezTo>
                <a:cubicBezTo>
                  <a:pt x="1080" y="733"/>
                  <a:pt x="1079" y="734"/>
                  <a:pt x="1077" y="736"/>
                </a:cubicBezTo>
                <a:cubicBezTo>
                  <a:pt x="1073" y="738"/>
                  <a:pt x="1071" y="740"/>
                  <a:pt x="1071" y="742"/>
                </a:cubicBezTo>
                <a:lnTo>
                  <a:pt x="1072" y="745"/>
                </a:lnTo>
                <a:cubicBezTo>
                  <a:pt x="1072" y="746"/>
                  <a:pt x="1071" y="747"/>
                  <a:pt x="1069" y="747"/>
                </a:cubicBezTo>
                <a:cubicBezTo>
                  <a:pt x="1068" y="749"/>
                  <a:pt x="1067" y="750"/>
                  <a:pt x="1067" y="751"/>
                </a:cubicBezTo>
                <a:lnTo>
                  <a:pt x="1068" y="751"/>
                </a:lnTo>
                <a:close/>
                <a:moveTo>
                  <a:pt x="1061" y="705"/>
                </a:moveTo>
                <a:cubicBezTo>
                  <a:pt x="1062" y="705"/>
                  <a:pt x="1062" y="703"/>
                  <a:pt x="1063" y="701"/>
                </a:cubicBezTo>
                <a:lnTo>
                  <a:pt x="1063" y="700"/>
                </a:lnTo>
                <a:cubicBezTo>
                  <a:pt x="1063" y="699"/>
                  <a:pt x="1062" y="699"/>
                  <a:pt x="1062" y="699"/>
                </a:cubicBezTo>
                <a:cubicBezTo>
                  <a:pt x="1062" y="699"/>
                  <a:pt x="1061" y="699"/>
                  <a:pt x="1061" y="699"/>
                </a:cubicBezTo>
                <a:cubicBezTo>
                  <a:pt x="1061" y="700"/>
                  <a:pt x="1060" y="701"/>
                  <a:pt x="1060" y="702"/>
                </a:cubicBezTo>
                <a:cubicBezTo>
                  <a:pt x="1060" y="702"/>
                  <a:pt x="1060" y="703"/>
                  <a:pt x="1061" y="703"/>
                </a:cubicBezTo>
                <a:cubicBezTo>
                  <a:pt x="1061" y="704"/>
                  <a:pt x="1061" y="705"/>
                  <a:pt x="1061" y="705"/>
                </a:cubicBezTo>
                <a:close/>
                <a:moveTo>
                  <a:pt x="1051" y="751"/>
                </a:moveTo>
                <a:cubicBezTo>
                  <a:pt x="1052" y="751"/>
                  <a:pt x="1054" y="747"/>
                  <a:pt x="1056" y="739"/>
                </a:cubicBezTo>
                <a:lnTo>
                  <a:pt x="1058" y="732"/>
                </a:lnTo>
                <a:lnTo>
                  <a:pt x="1059" y="729"/>
                </a:lnTo>
                <a:lnTo>
                  <a:pt x="1060" y="730"/>
                </a:lnTo>
                <a:cubicBezTo>
                  <a:pt x="1061" y="730"/>
                  <a:pt x="1062" y="729"/>
                  <a:pt x="1063" y="728"/>
                </a:cubicBezTo>
                <a:cubicBezTo>
                  <a:pt x="1064" y="727"/>
                  <a:pt x="1065" y="726"/>
                  <a:pt x="1065" y="724"/>
                </a:cubicBezTo>
                <a:lnTo>
                  <a:pt x="1065" y="723"/>
                </a:lnTo>
                <a:cubicBezTo>
                  <a:pt x="1065" y="722"/>
                  <a:pt x="1064" y="722"/>
                  <a:pt x="1064" y="722"/>
                </a:cubicBezTo>
                <a:cubicBezTo>
                  <a:pt x="1064" y="722"/>
                  <a:pt x="1063" y="723"/>
                  <a:pt x="1062" y="724"/>
                </a:cubicBezTo>
                <a:cubicBezTo>
                  <a:pt x="1061" y="726"/>
                  <a:pt x="1061" y="727"/>
                  <a:pt x="1060" y="727"/>
                </a:cubicBezTo>
                <a:cubicBezTo>
                  <a:pt x="1059" y="727"/>
                  <a:pt x="1059" y="726"/>
                  <a:pt x="1059" y="725"/>
                </a:cubicBezTo>
                <a:cubicBezTo>
                  <a:pt x="1059" y="723"/>
                  <a:pt x="1060" y="721"/>
                  <a:pt x="1061" y="718"/>
                </a:cubicBezTo>
                <a:lnTo>
                  <a:pt x="1061" y="714"/>
                </a:lnTo>
                <a:cubicBezTo>
                  <a:pt x="1061" y="710"/>
                  <a:pt x="1061" y="708"/>
                  <a:pt x="1060" y="706"/>
                </a:cubicBezTo>
                <a:cubicBezTo>
                  <a:pt x="1059" y="704"/>
                  <a:pt x="1059" y="702"/>
                  <a:pt x="1059" y="700"/>
                </a:cubicBezTo>
                <a:cubicBezTo>
                  <a:pt x="1059" y="695"/>
                  <a:pt x="1060" y="693"/>
                  <a:pt x="1061" y="693"/>
                </a:cubicBezTo>
                <a:cubicBezTo>
                  <a:pt x="1062" y="693"/>
                  <a:pt x="1062" y="693"/>
                  <a:pt x="1063" y="694"/>
                </a:cubicBezTo>
                <a:lnTo>
                  <a:pt x="1065" y="696"/>
                </a:lnTo>
                <a:lnTo>
                  <a:pt x="1065" y="695"/>
                </a:lnTo>
                <a:cubicBezTo>
                  <a:pt x="1065" y="693"/>
                  <a:pt x="1062" y="691"/>
                  <a:pt x="1058" y="690"/>
                </a:cubicBezTo>
                <a:lnTo>
                  <a:pt x="1056" y="690"/>
                </a:lnTo>
                <a:lnTo>
                  <a:pt x="1056" y="692"/>
                </a:lnTo>
                <a:cubicBezTo>
                  <a:pt x="1056" y="693"/>
                  <a:pt x="1056" y="694"/>
                  <a:pt x="1055" y="695"/>
                </a:cubicBezTo>
                <a:cubicBezTo>
                  <a:pt x="1054" y="696"/>
                  <a:pt x="1054" y="697"/>
                  <a:pt x="1054" y="698"/>
                </a:cubicBezTo>
                <a:cubicBezTo>
                  <a:pt x="1054" y="699"/>
                  <a:pt x="1054" y="700"/>
                  <a:pt x="1055" y="701"/>
                </a:cubicBezTo>
                <a:cubicBezTo>
                  <a:pt x="1055" y="702"/>
                  <a:pt x="1056" y="703"/>
                  <a:pt x="1056" y="703"/>
                </a:cubicBezTo>
                <a:cubicBezTo>
                  <a:pt x="1056" y="704"/>
                  <a:pt x="1055" y="705"/>
                  <a:pt x="1055" y="705"/>
                </a:cubicBezTo>
                <a:cubicBezTo>
                  <a:pt x="1053" y="705"/>
                  <a:pt x="1052" y="707"/>
                  <a:pt x="1052" y="713"/>
                </a:cubicBezTo>
                <a:cubicBezTo>
                  <a:pt x="1052" y="718"/>
                  <a:pt x="1052" y="722"/>
                  <a:pt x="1054" y="723"/>
                </a:cubicBezTo>
                <a:lnTo>
                  <a:pt x="1056" y="725"/>
                </a:lnTo>
                <a:lnTo>
                  <a:pt x="1054" y="725"/>
                </a:lnTo>
                <a:cubicBezTo>
                  <a:pt x="1052" y="725"/>
                  <a:pt x="1050" y="725"/>
                  <a:pt x="1049" y="725"/>
                </a:cubicBezTo>
                <a:cubicBezTo>
                  <a:pt x="1049" y="726"/>
                  <a:pt x="1049" y="727"/>
                  <a:pt x="1048" y="727"/>
                </a:cubicBezTo>
                <a:cubicBezTo>
                  <a:pt x="1047" y="727"/>
                  <a:pt x="1046" y="726"/>
                  <a:pt x="1045" y="725"/>
                </a:cubicBezTo>
                <a:lnTo>
                  <a:pt x="1043" y="723"/>
                </a:lnTo>
                <a:cubicBezTo>
                  <a:pt x="1043" y="722"/>
                  <a:pt x="1044" y="722"/>
                  <a:pt x="1044" y="721"/>
                </a:cubicBezTo>
                <a:cubicBezTo>
                  <a:pt x="1046" y="720"/>
                  <a:pt x="1046" y="720"/>
                  <a:pt x="1046" y="719"/>
                </a:cubicBezTo>
                <a:cubicBezTo>
                  <a:pt x="1046" y="719"/>
                  <a:pt x="1046" y="719"/>
                  <a:pt x="1045" y="718"/>
                </a:cubicBezTo>
                <a:cubicBezTo>
                  <a:pt x="1045" y="718"/>
                  <a:pt x="1045" y="718"/>
                  <a:pt x="1044" y="718"/>
                </a:cubicBezTo>
                <a:cubicBezTo>
                  <a:pt x="1044" y="717"/>
                  <a:pt x="1045" y="716"/>
                  <a:pt x="1046" y="716"/>
                </a:cubicBezTo>
                <a:cubicBezTo>
                  <a:pt x="1046" y="716"/>
                  <a:pt x="1047" y="716"/>
                  <a:pt x="1047" y="716"/>
                </a:cubicBezTo>
                <a:cubicBezTo>
                  <a:pt x="1047" y="715"/>
                  <a:pt x="1047" y="715"/>
                  <a:pt x="1047" y="715"/>
                </a:cubicBezTo>
                <a:cubicBezTo>
                  <a:pt x="1047" y="715"/>
                  <a:pt x="1047" y="715"/>
                  <a:pt x="1046" y="714"/>
                </a:cubicBezTo>
                <a:cubicBezTo>
                  <a:pt x="1046" y="714"/>
                  <a:pt x="1046" y="713"/>
                  <a:pt x="1046" y="713"/>
                </a:cubicBezTo>
                <a:cubicBezTo>
                  <a:pt x="1046" y="712"/>
                  <a:pt x="1046" y="712"/>
                  <a:pt x="1047" y="712"/>
                </a:cubicBezTo>
                <a:cubicBezTo>
                  <a:pt x="1048" y="712"/>
                  <a:pt x="1048" y="712"/>
                  <a:pt x="1048" y="711"/>
                </a:cubicBezTo>
                <a:lnTo>
                  <a:pt x="1047" y="708"/>
                </a:lnTo>
                <a:cubicBezTo>
                  <a:pt x="1047" y="707"/>
                  <a:pt x="1047" y="707"/>
                  <a:pt x="1048" y="707"/>
                </a:cubicBezTo>
                <a:cubicBezTo>
                  <a:pt x="1049" y="707"/>
                  <a:pt x="1049" y="706"/>
                  <a:pt x="1049" y="706"/>
                </a:cubicBezTo>
                <a:lnTo>
                  <a:pt x="1048" y="704"/>
                </a:lnTo>
                <a:cubicBezTo>
                  <a:pt x="1048" y="703"/>
                  <a:pt x="1049" y="702"/>
                  <a:pt x="1049" y="702"/>
                </a:cubicBezTo>
                <a:cubicBezTo>
                  <a:pt x="1050" y="701"/>
                  <a:pt x="1051" y="701"/>
                  <a:pt x="1051" y="701"/>
                </a:cubicBezTo>
                <a:cubicBezTo>
                  <a:pt x="1051" y="701"/>
                  <a:pt x="1050" y="700"/>
                  <a:pt x="1049" y="699"/>
                </a:cubicBezTo>
                <a:lnTo>
                  <a:pt x="1049" y="699"/>
                </a:lnTo>
                <a:cubicBezTo>
                  <a:pt x="1047" y="699"/>
                  <a:pt x="1046" y="706"/>
                  <a:pt x="1042" y="718"/>
                </a:cubicBezTo>
                <a:cubicBezTo>
                  <a:pt x="1042" y="719"/>
                  <a:pt x="1042" y="720"/>
                  <a:pt x="1042" y="722"/>
                </a:cubicBezTo>
                <a:cubicBezTo>
                  <a:pt x="1040" y="732"/>
                  <a:pt x="1039" y="738"/>
                  <a:pt x="1039" y="740"/>
                </a:cubicBezTo>
                <a:cubicBezTo>
                  <a:pt x="1039" y="740"/>
                  <a:pt x="1039" y="741"/>
                  <a:pt x="1040" y="741"/>
                </a:cubicBezTo>
                <a:lnTo>
                  <a:pt x="1041" y="741"/>
                </a:lnTo>
                <a:cubicBezTo>
                  <a:pt x="1042" y="741"/>
                  <a:pt x="1042" y="741"/>
                  <a:pt x="1042" y="740"/>
                </a:cubicBezTo>
                <a:cubicBezTo>
                  <a:pt x="1042" y="740"/>
                  <a:pt x="1042" y="739"/>
                  <a:pt x="1041" y="737"/>
                </a:cubicBezTo>
                <a:cubicBezTo>
                  <a:pt x="1041" y="737"/>
                  <a:pt x="1041" y="737"/>
                  <a:pt x="1042" y="737"/>
                </a:cubicBezTo>
                <a:cubicBezTo>
                  <a:pt x="1043" y="737"/>
                  <a:pt x="1044" y="736"/>
                  <a:pt x="1044" y="736"/>
                </a:cubicBezTo>
                <a:lnTo>
                  <a:pt x="1043" y="735"/>
                </a:lnTo>
                <a:cubicBezTo>
                  <a:pt x="1042" y="734"/>
                  <a:pt x="1042" y="733"/>
                  <a:pt x="1042" y="732"/>
                </a:cubicBezTo>
                <a:cubicBezTo>
                  <a:pt x="1042" y="730"/>
                  <a:pt x="1043" y="728"/>
                  <a:pt x="1045" y="728"/>
                </a:cubicBezTo>
                <a:cubicBezTo>
                  <a:pt x="1046" y="728"/>
                  <a:pt x="1047" y="729"/>
                  <a:pt x="1047" y="730"/>
                </a:cubicBezTo>
                <a:cubicBezTo>
                  <a:pt x="1048" y="730"/>
                  <a:pt x="1049" y="731"/>
                  <a:pt x="1050" y="731"/>
                </a:cubicBezTo>
                <a:cubicBezTo>
                  <a:pt x="1051" y="731"/>
                  <a:pt x="1052" y="731"/>
                  <a:pt x="1052" y="730"/>
                </a:cubicBezTo>
                <a:cubicBezTo>
                  <a:pt x="1053" y="729"/>
                  <a:pt x="1053" y="729"/>
                  <a:pt x="1054" y="729"/>
                </a:cubicBezTo>
                <a:lnTo>
                  <a:pt x="1054" y="730"/>
                </a:lnTo>
                <a:cubicBezTo>
                  <a:pt x="1054" y="731"/>
                  <a:pt x="1054" y="734"/>
                  <a:pt x="1053" y="739"/>
                </a:cubicBezTo>
                <a:cubicBezTo>
                  <a:pt x="1051" y="744"/>
                  <a:pt x="1051" y="748"/>
                  <a:pt x="1051" y="750"/>
                </a:cubicBezTo>
                <a:lnTo>
                  <a:pt x="1051" y="751"/>
                </a:lnTo>
                <a:close/>
                <a:moveTo>
                  <a:pt x="1041" y="753"/>
                </a:moveTo>
                <a:lnTo>
                  <a:pt x="1040" y="751"/>
                </a:lnTo>
                <a:lnTo>
                  <a:pt x="1039" y="749"/>
                </a:lnTo>
                <a:cubicBezTo>
                  <a:pt x="1039" y="749"/>
                  <a:pt x="1039" y="748"/>
                  <a:pt x="1040" y="748"/>
                </a:cubicBezTo>
                <a:cubicBezTo>
                  <a:pt x="1041" y="748"/>
                  <a:pt x="1042" y="748"/>
                  <a:pt x="1042" y="747"/>
                </a:cubicBezTo>
                <a:cubicBezTo>
                  <a:pt x="1042" y="747"/>
                  <a:pt x="1041" y="746"/>
                  <a:pt x="1041" y="746"/>
                </a:cubicBezTo>
                <a:cubicBezTo>
                  <a:pt x="1040" y="745"/>
                  <a:pt x="1039" y="745"/>
                  <a:pt x="1039" y="745"/>
                </a:cubicBezTo>
                <a:cubicBezTo>
                  <a:pt x="1039" y="745"/>
                  <a:pt x="1038" y="745"/>
                  <a:pt x="1038" y="746"/>
                </a:cubicBezTo>
                <a:lnTo>
                  <a:pt x="1037" y="749"/>
                </a:lnTo>
                <a:cubicBezTo>
                  <a:pt x="1038" y="752"/>
                  <a:pt x="1039" y="753"/>
                  <a:pt x="1041" y="753"/>
                </a:cubicBezTo>
                <a:close/>
                <a:moveTo>
                  <a:pt x="1039" y="764"/>
                </a:moveTo>
                <a:lnTo>
                  <a:pt x="1039" y="764"/>
                </a:lnTo>
                <a:lnTo>
                  <a:pt x="1038" y="761"/>
                </a:lnTo>
                <a:cubicBezTo>
                  <a:pt x="1038" y="760"/>
                  <a:pt x="1038" y="760"/>
                  <a:pt x="1039" y="760"/>
                </a:cubicBezTo>
                <a:cubicBezTo>
                  <a:pt x="1040" y="760"/>
                  <a:pt x="1041" y="759"/>
                  <a:pt x="1041" y="759"/>
                </a:cubicBezTo>
                <a:lnTo>
                  <a:pt x="1040" y="758"/>
                </a:lnTo>
                <a:lnTo>
                  <a:pt x="1039" y="758"/>
                </a:lnTo>
                <a:cubicBezTo>
                  <a:pt x="1037" y="758"/>
                  <a:pt x="1036" y="759"/>
                  <a:pt x="1036" y="760"/>
                </a:cubicBezTo>
                <a:cubicBezTo>
                  <a:pt x="1036" y="761"/>
                  <a:pt x="1036" y="762"/>
                  <a:pt x="1037" y="763"/>
                </a:cubicBezTo>
                <a:cubicBezTo>
                  <a:pt x="1038" y="764"/>
                  <a:pt x="1039" y="764"/>
                  <a:pt x="1039" y="764"/>
                </a:cubicBezTo>
                <a:close/>
                <a:moveTo>
                  <a:pt x="1068" y="715"/>
                </a:moveTo>
                <a:cubicBezTo>
                  <a:pt x="1068" y="715"/>
                  <a:pt x="1067" y="715"/>
                  <a:pt x="1067" y="715"/>
                </a:cubicBezTo>
                <a:lnTo>
                  <a:pt x="1068" y="707"/>
                </a:lnTo>
                <a:cubicBezTo>
                  <a:pt x="1069" y="704"/>
                  <a:pt x="1070" y="703"/>
                  <a:pt x="1070" y="703"/>
                </a:cubicBezTo>
                <a:cubicBezTo>
                  <a:pt x="1071" y="703"/>
                  <a:pt x="1071" y="703"/>
                  <a:pt x="1071" y="704"/>
                </a:cubicBezTo>
                <a:cubicBezTo>
                  <a:pt x="1071" y="705"/>
                  <a:pt x="1071" y="706"/>
                  <a:pt x="1071" y="707"/>
                </a:cubicBezTo>
                <a:cubicBezTo>
                  <a:pt x="1071" y="709"/>
                  <a:pt x="1070" y="710"/>
                  <a:pt x="1069" y="712"/>
                </a:cubicBezTo>
                <a:cubicBezTo>
                  <a:pt x="1069" y="714"/>
                  <a:pt x="1069" y="715"/>
                  <a:pt x="1068" y="715"/>
                </a:cubicBezTo>
                <a:close/>
                <a:moveTo>
                  <a:pt x="1445" y="667"/>
                </a:moveTo>
                <a:lnTo>
                  <a:pt x="1444" y="666"/>
                </a:lnTo>
                <a:lnTo>
                  <a:pt x="1445" y="664"/>
                </a:lnTo>
                <a:cubicBezTo>
                  <a:pt x="1446" y="662"/>
                  <a:pt x="1447" y="661"/>
                  <a:pt x="1448" y="661"/>
                </a:cubicBezTo>
                <a:lnTo>
                  <a:pt x="1448" y="662"/>
                </a:lnTo>
                <a:cubicBezTo>
                  <a:pt x="1448" y="663"/>
                  <a:pt x="1448" y="664"/>
                  <a:pt x="1447" y="665"/>
                </a:cubicBezTo>
                <a:lnTo>
                  <a:pt x="1445" y="667"/>
                </a:lnTo>
                <a:close/>
                <a:moveTo>
                  <a:pt x="1376" y="759"/>
                </a:moveTo>
                <a:cubicBezTo>
                  <a:pt x="1373" y="759"/>
                  <a:pt x="1372" y="759"/>
                  <a:pt x="1370" y="758"/>
                </a:cubicBezTo>
                <a:cubicBezTo>
                  <a:pt x="1369" y="757"/>
                  <a:pt x="1368" y="757"/>
                  <a:pt x="1368" y="756"/>
                </a:cubicBezTo>
                <a:cubicBezTo>
                  <a:pt x="1368" y="755"/>
                  <a:pt x="1368" y="754"/>
                  <a:pt x="1367" y="754"/>
                </a:cubicBezTo>
                <a:lnTo>
                  <a:pt x="1367" y="755"/>
                </a:lnTo>
                <a:cubicBezTo>
                  <a:pt x="1367" y="755"/>
                  <a:pt x="1366" y="755"/>
                  <a:pt x="1366" y="755"/>
                </a:cubicBezTo>
                <a:cubicBezTo>
                  <a:pt x="1364" y="755"/>
                  <a:pt x="1361" y="754"/>
                  <a:pt x="1357" y="753"/>
                </a:cubicBezTo>
                <a:cubicBezTo>
                  <a:pt x="1349" y="750"/>
                  <a:pt x="1344" y="746"/>
                  <a:pt x="1342" y="742"/>
                </a:cubicBezTo>
                <a:cubicBezTo>
                  <a:pt x="1338" y="736"/>
                  <a:pt x="1336" y="732"/>
                  <a:pt x="1336" y="730"/>
                </a:cubicBezTo>
                <a:cubicBezTo>
                  <a:pt x="1336" y="730"/>
                  <a:pt x="1336" y="730"/>
                  <a:pt x="1337" y="730"/>
                </a:cubicBezTo>
                <a:lnTo>
                  <a:pt x="1338" y="730"/>
                </a:lnTo>
                <a:cubicBezTo>
                  <a:pt x="1339" y="730"/>
                  <a:pt x="1339" y="730"/>
                  <a:pt x="1339" y="728"/>
                </a:cubicBezTo>
                <a:lnTo>
                  <a:pt x="1337" y="707"/>
                </a:lnTo>
                <a:lnTo>
                  <a:pt x="1336" y="699"/>
                </a:lnTo>
                <a:cubicBezTo>
                  <a:pt x="1337" y="699"/>
                  <a:pt x="1337" y="701"/>
                  <a:pt x="1337" y="703"/>
                </a:cubicBezTo>
                <a:cubicBezTo>
                  <a:pt x="1338" y="706"/>
                  <a:pt x="1338" y="708"/>
                  <a:pt x="1339" y="708"/>
                </a:cubicBezTo>
                <a:cubicBezTo>
                  <a:pt x="1339" y="708"/>
                  <a:pt x="1340" y="703"/>
                  <a:pt x="1341" y="694"/>
                </a:cubicBezTo>
                <a:cubicBezTo>
                  <a:pt x="1342" y="681"/>
                  <a:pt x="1343" y="674"/>
                  <a:pt x="1344" y="674"/>
                </a:cubicBezTo>
                <a:cubicBezTo>
                  <a:pt x="1345" y="673"/>
                  <a:pt x="1345" y="671"/>
                  <a:pt x="1345" y="669"/>
                </a:cubicBezTo>
                <a:cubicBezTo>
                  <a:pt x="1345" y="666"/>
                  <a:pt x="1346" y="665"/>
                  <a:pt x="1346" y="665"/>
                </a:cubicBezTo>
                <a:cubicBezTo>
                  <a:pt x="1347" y="665"/>
                  <a:pt x="1348" y="664"/>
                  <a:pt x="1348" y="663"/>
                </a:cubicBezTo>
                <a:lnTo>
                  <a:pt x="1347" y="662"/>
                </a:lnTo>
                <a:cubicBezTo>
                  <a:pt x="1347" y="661"/>
                  <a:pt x="1348" y="660"/>
                  <a:pt x="1349" y="659"/>
                </a:cubicBezTo>
                <a:cubicBezTo>
                  <a:pt x="1350" y="659"/>
                  <a:pt x="1351" y="659"/>
                  <a:pt x="1351" y="658"/>
                </a:cubicBezTo>
                <a:lnTo>
                  <a:pt x="1349" y="658"/>
                </a:lnTo>
                <a:cubicBezTo>
                  <a:pt x="1348" y="658"/>
                  <a:pt x="1347" y="657"/>
                  <a:pt x="1347" y="657"/>
                </a:cubicBezTo>
                <a:lnTo>
                  <a:pt x="1348" y="654"/>
                </a:lnTo>
                <a:cubicBezTo>
                  <a:pt x="1348" y="654"/>
                  <a:pt x="1347" y="653"/>
                  <a:pt x="1347" y="653"/>
                </a:cubicBezTo>
                <a:cubicBezTo>
                  <a:pt x="1345" y="653"/>
                  <a:pt x="1344" y="656"/>
                  <a:pt x="1343" y="662"/>
                </a:cubicBezTo>
                <a:cubicBezTo>
                  <a:pt x="1342" y="665"/>
                  <a:pt x="1342" y="667"/>
                  <a:pt x="1342" y="670"/>
                </a:cubicBezTo>
                <a:cubicBezTo>
                  <a:pt x="1342" y="671"/>
                  <a:pt x="1341" y="671"/>
                  <a:pt x="1340" y="671"/>
                </a:cubicBezTo>
                <a:cubicBezTo>
                  <a:pt x="1339" y="671"/>
                  <a:pt x="1339" y="672"/>
                  <a:pt x="1339" y="674"/>
                </a:cubicBezTo>
                <a:lnTo>
                  <a:pt x="1340" y="678"/>
                </a:lnTo>
                <a:cubicBezTo>
                  <a:pt x="1339" y="678"/>
                  <a:pt x="1339" y="677"/>
                  <a:pt x="1338" y="676"/>
                </a:cubicBezTo>
                <a:cubicBezTo>
                  <a:pt x="1337" y="674"/>
                  <a:pt x="1337" y="672"/>
                  <a:pt x="1337" y="668"/>
                </a:cubicBezTo>
                <a:cubicBezTo>
                  <a:pt x="1337" y="665"/>
                  <a:pt x="1337" y="663"/>
                  <a:pt x="1337" y="663"/>
                </a:cubicBezTo>
                <a:cubicBezTo>
                  <a:pt x="1338" y="663"/>
                  <a:pt x="1339" y="661"/>
                  <a:pt x="1339" y="656"/>
                </a:cubicBezTo>
                <a:cubicBezTo>
                  <a:pt x="1339" y="654"/>
                  <a:pt x="1338" y="653"/>
                  <a:pt x="1337" y="653"/>
                </a:cubicBezTo>
                <a:cubicBezTo>
                  <a:pt x="1337" y="653"/>
                  <a:pt x="1336" y="652"/>
                  <a:pt x="1336" y="650"/>
                </a:cubicBezTo>
                <a:cubicBezTo>
                  <a:pt x="1336" y="647"/>
                  <a:pt x="1337" y="646"/>
                  <a:pt x="1339" y="646"/>
                </a:cubicBezTo>
                <a:cubicBezTo>
                  <a:pt x="1341" y="646"/>
                  <a:pt x="1342" y="646"/>
                  <a:pt x="1342" y="646"/>
                </a:cubicBezTo>
                <a:cubicBezTo>
                  <a:pt x="1342" y="645"/>
                  <a:pt x="1341" y="645"/>
                  <a:pt x="1340" y="644"/>
                </a:cubicBezTo>
                <a:cubicBezTo>
                  <a:pt x="1339" y="643"/>
                  <a:pt x="1339" y="642"/>
                  <a:pt x="1339" y="641"/>
                </a:cubicBezTo>
                <a:cubicBezTo>
                  <a:pt x="1339" y="639"/>
                  <a:pt x="1339" y="636"/>
                  <a:pt x="1340" y="633"/>
                </a:cubicBezTo>
                <a:cubicBezTo>
                  <a:pt x="1341" y="630"/>
                  <a:pt x="1341" y="627"/>
                  <a:pt x="1342" y="625"/>
                </a:cubicBezTo>
                <a:cubicBezTo>
                  <a:pt x="1343" y="622"/>
                  <a:pt x="1343" y="621"/>
                  <a:pt x="1343" y="620"/>
                </a:cubicBezTo>
                <a:cubicBezTo>
                  <a:pt x="1343" y="620"/>
                  <a:pt x="1343" y="619"/>
                  <a:pt x="1344" y="618"/>
                </a:cubicBezTo>
                <a:cubicBezTo>
                  <a:pt x="1344" y="617"/>
                  <a:pt x="1344" y="616"/>
                  <a:pt x="1344" y="615"/>
                </a:cubicBezTo>
                <a:cubicBezTo>
                  <a:pt x="1345" y="613"/>
                  <a:pt x="1346" y="611"/>
                  <a:pt x="1347" y="608"/>
                </a:cubicBezTo>
                <a:cubicBezTo>
                  <a:pt x="1348" y="605"/>
                  <a:pt x="1349" y="601"/>
                  <a:pt x="1351" y="596"/>
                </a:cubicBezTo>
                <a:cubicBezTo>
                  <a:pt x="1357" y="576"/>
                  <a:pt x="1364" y="560"/>
                  <a:pt x="1372" y="547"/>
                </a:cubicBezTo>
                <a:cubicBezTo>
                  <a:pt x="1375" y="541"/>
                  <a:pt x="1376" y="538"/>
                  <a:pt x="1376" y="537"/>
                </a:cubicBezTo>
                <a:cubicBezTo>
                  <a:pt x="1376" y="537"/>
                  <a:pt x="1375" y="538"/>
                  <a:pt x="1374" y="539"/>
                </a:cubicBezTo>
                <a:cubicBezTo>
                  <a:pt x="1372" y="540"/>
                  <a:pt x="1371" y="541"/>
                  <a:pt x="1371" y="541"/>
                </a:cubicBezTo>
                <a:cubicBezTo>
                  <a:pt x="1371" y="541"/>
                  <a:pt x="1371" y="540"/>
                  <a:pt x="1371" y="540"/>
                </a:cubicBezTo>
                <a:lnTo>
                  <a:pt x="1372" y="538"/>
                </a:lnTo>
                <a:cubicBezTo>
                  <a:pt x="1372" y="535"/>
                  <a:pt x="1374" y="534"/>
                  <a:pt x="1376" y="534"/>
                </a:cubicBezTo>
                <a:cubicBezTo>
                  <a:pt x="1379" y="534"/>
                  <a:pt x="1381" y="533"/>
                  <a:pt x="1383" y="531"/>
                </a:cubicBezTo>
                <a:cubicBezTo>
                  <a:pt x="1385" y="530"/>
                  <a:pt x="1386" y="528"/>
                  <a:pt x="1386" y="527"/>
                </a:cubicBezTo>
                <a:cubicBezTo>
                  <a:pt x="1386" y="527"/>
                  <a:pt x="1386" y="526"/>
                  <a:pt x="1386" y="526"/>
                </a:cubicBezTo>
                <a:cubicBezTo>
                  <a:pt x="1383" y="526"/>
                  <a:pt x="1381" y="527"/>
                  <a:pt x="1380" y="527"/>
                </a:cubicBezTo>
                <a:cubicBezTo>
                  <a:pt x="1379" y="528"/>
                  <a:pt x="1378" y="529"/>
                  <a:pt x="1377" y="529"/>
                </a:cubicBezTo>
                <a:cubicBezTo>
                  <a:pt x="1377" y="529"/>
                  <a:pt x="1377" y="528"/>
                  <a:pt x="1377" y="527"/>
                </a:cubicBezTo>
                <a:cubicBezTo>
                  <a:pt x="1377" y="525"/>
                  <a:pt x="1378" y="524"/>
                  <a:pt x="1381" y="523"/>
                </a:cubicBezTo>
                <a:cubicBezTo>
                  <a:pt x="1383" y="523"/>
                  <a:pt x="1385" y="522"/>
                  <a:pt x="1385" y="521"/>
                </a:cubicBezTo>
                <a:lnTo>
                  <a:pt x="1384" y="520"/>
                </a:lnTo>
                <a:cubicBezTo>
                  <a:pt x="1384" y="520"/>
                  <a:pt x="1384" y="519"/>
                  <a:pt x="1384" y="519"/>
                </a:cubicBezTo>
                <a:cubicBezTo>
                  <a:pt x="1384" y="517"/>
                  <a:pt x="1385" y="516"/>
                  <a:pt x="1387" y="516"/>
                </a:cubicBezTo>
                <a:cubicBezTo>
                  <a:pt x="1388" y="516"/>
                  <a:pt x="1389" y="517"/>
                  <a:pt x="1390" y="517"/>
                </a:cubicBezTo>
                <a:cubicBezTo>
                  <a:pt x="1391" y="517"/>
                  <a:pt x="1391" y="518"/>
                  <a:pt x="1391" y="519"/>
                </a:cubicBezTo>
                <a:cubicBezTo>
                  <a:pt x="1391" y="519"/>
                  <a:pt x="1391" y="520"/>
                  <a:pt x="1389" y="522"/>
                </a:cubicBezTo>
                <a:cubicBezTo>
                  <a:pt x="1387" y="523"/>
                  <a:pt x="1386" y="524"/>
                  <a:pt x="1386" y="524"/>
                </a:cubicBezTo>
                <a:cubicBezTo>
                  <a:pt x="1386" y="525"/>
                  <a:pt x="1387" y="525"/>
                  <a:pt x="1388" y="525"/>
                </a:cubicBezTo>
                <a:cubicBezTo>
                  <a:pt x="1389" y="525"/>
                  <a:pt x="1390" y="524"/>
                  <a:pt x="1391" y="524"/>
                </a:cubicBezTo>
                <a:cubicBezTo>
                  <a:pt x="1392" y="524"/>
                  <a:pt x="1393" y="523"/>
                  <a:pt x="1394" y="522"/>
                </a:cubicBezTo>
                <a:cubicBezTo>
                  <a:pt x="1394" y="522"/>
                  <a:pt x="1395" y="521"/>
                  <a:pt x="1396" y="521"/>
                </a:cubicBezTo>
                <a:cubicBezTo>
                  <a:pt x="1397" y="521"/>
                  <a:pt x="1399" y="522"/>
                  <a:pt x="1400" y="524"/>
                </a:cubicBezTo>
                <a:cubicBezTo>
                  <a:pt x="1401" y="526"/>
                  <a:pt x="1402" y="529"/>
                  <a:pt x="1402" y="532"/>
                </a:cubicBezTo>
                <a:cubicBezTo>
                  <a:pt x="1402" y="534"/>
                  <a:pt x="1403" y="535"/>
                  <a:pt x="1403" y="535"/>
                </a:cubicBezTo>
                <a:lnTo>
                  <a:pt x="1404" y="535"/>
                </a:lnTo>
                <a:cubicBezTo>
                  <a:pt x="1406" y="535"/>
                  <a:pt x="1409" y="537"/>
                  <a:pt x="1413" y="541"/>
                </a:cubicBezTo>
                <a:cubicBezTo>
                  <a:pt x="1417" y="543"/>
                  <a:pt x="1419" y="545"/>
                  <a:pt x="1419" y="548"/>
                </a:cubicBezTo>
                <a:cubicBezTo>
                  <a:pt x="1419" y="551"/>
                  <a:pt x="1417" y="556"/>
                  <a:pt x="1413" y="563"/>
                </a:cubicBezTo>
                <a:cubicBezTo>
                  <a:pt x="1408" y="575"/>
                  <a:pt x="1404" y="580"/>
                  <a:pt x="1402" y="580"/>
                </a:cubicBezTo>
                <a:cubicBezTo>
                  <a:pt x="1401" y="580"/>
                  <a:pt x="1401" y="579"/>
                  <a:pt x="1401" y="577"/>
                </a:cubicBezTo>
                <a:cubicBezTo>
                  <a:pt x="1401" y="576"/>
                  <a:pt x="1401" y="576"/>
                  <a:pt x="1401" y="576"/>
                </a:cubicBezTo>
                <a:lnTo>
                  <a:pt x="1403" y="576"/>
                </a:lnTo>
                <a:cubicBezTo>
                  <a:pt x="1403" y="576"/>
                  <a:pt x="1404" y="576"/>
                  <a:pt x="1404" y="574"/>
                </a:cubicBezTo>
                <a:cubicBezTo>
                  <a:pt x="1404" y="572"/>
                  <a:pt x="1404" y="571"/>
                  <a:pt x="1404" y="571"/>
                </a:cubicBezTo>
                <a:cubicBezTo>
                  <a:pt x="1403" y="571"/>
                  <a:pt x="1402" y="572"/>
                  <a:pt x="1401" y="573"/>
                </a:cubicBezTo>
                <a:cubicBezTo>
                  <a:pt x="1399" y="575"/>
                  <a:pt x="1399" y="576"/>
                  <a:pt x="1399" y="577"/>
                </a:cubicBezTo>
                <a:cubicBezTo>
                  <a:pt x="1399" y="578"/>
                  <a:pt x="1399" y="580"/>
                  <a:pt x="1400" y="581"/>
                </a:cubicBezTo>
                <a:cubicBezTo>
                  <a:pt x="1401" y="582"/>
                  <a:pt x="1401" y="583"/>
                  <a:pt x="1401" y="584"/>
                </a:cubicBezTo>
                <a:cubicBezTo>
                  <a:pt x="1401" y="586"/>
                  <a:pt x="1401" y="588"/>
                  <a:pt x="1400" y="590"/>
                </a:cubicBezTo>
                <a:cubicBezTo>
                  <a:pt x="1399" y="593"/>
                  <a:pt x="1398" y="593"/>
                  <a:pt x="1397" y="593"/>
                </a:cubicBezTo>
                <a:lnTo>
                  <a:pt x="1397" y="593"/>
                </a:lnTo>
                <a:cubicBezTo>
                  <a:pt x="1397" y="592"/>
                  <a:pt x="1398" y="591"/>
                  <a:pt x="1399" y="588"/>
                </a:cubicBezTo>
                <a:cubicBezTo>
                  <a:pt x="1400" y="586"/>
                  <a:pt x="1401" y="584"/>
                  <a:pt x="1401" y="583"/>
                </a:cubicBezTo>
                <a:cubicBezTo>
                  <a:pt x="1401" y="583"/>
                  <a:pt x="1400" y="582"/>
                  <a:pt x="1399" y="582"/>
                </a:cubicBezTo>
                <a:cubicBezTo>
                  <a:pt x="1398" y="582"/>
                  <a:pt x="1396" y="583"/>
                  <a:pt x="1395" y="587"/>
                </a:cubicBezTo>
                <a:cubicBezTo>
                  <a:pt x="1394" y="590"/>
                  <a:pt x="1393" y="592"/>
                  <a:pt x="1393" y="593"/>
                </a:cubicBezTo>
                <a:cubicBezTo>
                  <a:pt x="1393" y="594"/>
                  <a:pt x="1392" y="595"/>
                  <a:pt x="1392" y="595"/>
                </a:cubicBezTo>
                <a:cubicBezTo>
                  <a:pt x="1391" y="599"/>
                  <a:pt x="1391" y="601"/>
                  <a:pt x="1391" y="602"/>
                </a:cubicBezTo>
                <a:cubicBezTo>
                  <a:pt x="1391" y="603"/>
                  <a:pt x="1391" y="604"/>
                  <a:pt x="1391" y="605"/>
                </a:cubicBezTo>
                <a:cubicBezTo>
                  <a:pt x="1392" y="606"/>
                  <a:pt x="1392" y="606"/>
                  <a:pt x="1392" y="607"/>
                </a:cubicBezTo>
                <a:cubicBezTo>
                  <a:pt x="1392" y="607"/>
                  <a:pt x="1392" y="607"/>
                  <a:pt x="1391" y="607"/>
                </a:cubicBezTo>
                <a:lnTo>
                  <a:pt x="1390" y="606"/>
                </a:lnTo>
                <a:cubicBezTo>
                  <a:pt x="1389" y="606"/>
                  <a:pt x="1388" y="608"/>
                  <a:pt x="1388" y="611"/>
                </a:cubicBezTo>
                <a:cubicBezTo>
                  <a:pt x="1388" y="614"/>
                  <a:pt x="1387" y="618"/>
                  <a:pt x="1386" y="623"/>
                </a:cubicBezTo>
                <a:cubicBezTo>
                  <a:pt x="1381" y="637"/>
                  <a:pt x="1377" y="657"/>
                  <a:pt x="1373" y="683"/>
                </a:cubicBezTo>
                <a:cubicBezTo>
                  <a:pt x="1371" y="695"/>
                  <a:pt x="1370" y="703"/>
                  <a:pt x="1370" y="708"/>
                </a:cubicBezTo>
                <a:lnTo>
                  <a:pt x="1371" y="712"/>
                </a:lnTo>
                <a:cubicBezTo>
                  <a:pt x="1372" y="712"/>
                  <a:pt x="1372" y="711"/>
                  <a:pt x="1372" y="710"/>
                </a:cubicBezTo>
                <a:cubicBezTo>
                  <a:pt x="1372" y="708"/>
                  <a:pt x="1373" y="708"/>
                  <a:pt x="1374" y="708"/>
                </a:cubicBezTo>
                <a:cubicBezTo>
                  <a:pt x="1375" y="707"/>
                  <a:pt x="1377" y="705"/>
                  <a:pt x="1382" y="701"/>
                </a:cubicBezTo>
                <a:cubicBezTo>
                  <a:pt x="1383" y="699"/>
                  <a:pt x="1385" y="698"/>
                  <a:pt x="1386" y="697"/>
                </a:cubicBezTo>
                <a:lnTo>
                  <a:pt x="1390" y="696"/>
                </a:lnTo>
                <a:lnTo>
                  <a:pt x="1391" y="696"/>
                </a:lnTo>
                <a:cubicBezTo>
                  <a:pt x="1392" y="696"/>
                  <a:pt x="1394" y="694"/>
                  <a:pt x="1397" y="691"/>
                </a:cubicBezTo>
                <a:cubicBezTo>
                  <a:pt x="1399" y="688"/>
                  <a:pt x="1400" y="686"/>
                  <a:pt x="1400" y="685"/>
                </a:cubicBezTo>
                <a:cubicBezTo>
                  <a:pt x="1400" y="684"/>
                  <a:pt x="1400" y="684"/>
                  <a:pt x="1400" y="684"/>
                </a:cubicBezTo>
                <a:cubicBezTo>
                  <a:pt x="1399" y="684"/>
                  <a:pt x="1397" y="685"/>
                  <a:pt x="1395" y="688"/>
                </a:cubicBezTo>
                <a:lnTo>
                  <a:pt x="1390" y="692"/>
                </a:lnTo>
                <a:lnTo>
                  <a:pt x="1394" y="687"/>
                </a:lnTo>
                <a:cubicBezTo>
                  <a:pt x="1397" y="684"/>
                  <a:pt x="1399" y="683"/>
                  <a:pt x="1402" y="683"/>
                </a:cubicBezTo>
                <a:cubicBezTo>
                  <a:pt x="1404" y="683"/>
                  <a:pt x="1405" y="682"/>
                  <a:pt x="1405" y="681"/>
                </a:cubicBezTo>
                <a:cubicBezTo>
                  <a:pt x="1405" y="679"/>
                  <a:pt x="1405" y="679"/>
                  <a:pt x="1403" y="679"/>
                </a:cubicBezTo>
                <a:cubicBezTo>
                  <a:pt x="1402" y="679"/>
                  <a:pt x="1401" y="678"/>
                  <a:pt x="1401" y="677"/>
                </a:cubicBezTo>
                <a:cubicBezTo>
                  <a:pt x="1401" y="677"/>
                  <a:pt x="1402" y="677"/>
                  <a:pt x="1403" y="676"/>
                </a:cubicBezTo>
                <a:cubicBezTo>
                  <a:pt x="1403" y="675"/>
                  <a:pt x="1405" y="675"/>
                  <a:pt x="1408" y="675"/>
                </a:cubicBezTo>
                <a:lnTo>
                  <a:pt x="1410" y="676"/>
                </a:lnTo>
                <a:lnTo>
                  <a:pt x="1411" y="674"/>
                </a:lnTo>
                <a:cubicBezTo>
                  <a:pt x="1411" y="674"/>
                  <a:pt x="1414" y="668"/>
                  <a:pt x="1421" y="657"/>
                </a:cubicBezTo>
                <a:lnTo>
                  <a:pt x="1424" y="651"/>
                </a:lnTo>
                <a:cubicBezTo>
                  <a:pt x="1430" y="642"/>
                  <a:pt x="1433" y="637"/>
                  <a:pt x="1433" y="636"/>
                </a:cubicBezTo>
                <a:lnTo>
                  <a:pt x="1429" y="639"/>
                </a:lnTo>
                <a:cubicBezTo>
                  <a:pt x="1426" y="642"/>
                  <a:pt x="1425" y="644"/>
                  <a:pt x="1425" y="646"/>
                </a:cubicBezTo>
                <a:cubicBezTo>
                  <a:pt x="1423" y="649"/>
                  <a:pt x="1421" y="652"/>
                  <a:pt x="1419" y="655"/>
                </a:cubicBezTo>
                <a:cubicBezTo>
                  <a:pt x="1416" y="658"/>
                  <a:pt x="1415" y="659"/>
                  <a:pt x="1415" y="659"/>
                </a:cubicBezTo>
                <a:cubicBezTo>
                  <a:pt x="1415" y="659"/>
                  <a:pt x="1416" y="656"/>
                  <a:pt x="1419" y="651"/>
                </a:cubicBezTo>
                <a:cubicBezTo>
                  <a:pt x="1423" y="644"/>
                  <a:pt x="1425" y="639"/>
                  <a:pt x="1426" y="635"/>
                </a:cubicBezTo>
                <a:lnTo>
                  <a:pt x="1430" y="623"/>
                </a:lnTo>
                <a:cubicBezTo>
                  <a:pt x="1432" y="618"/>
                  <a:pt x="1433" y="615"/>
                  <a:pt x="1433" y="612"/>
                </a:cubicBezTo>
                <a:lnTo>
                  <a:pt x="1432" y="611"/>
                </a:lnTo>
                <a:cubicBezTo>
                  <a:pt x="1432" y="610"/>
                  <a:pt x="1432" y="610"/>
                  <a:pt x="1433" y="610"/>
                </a:cubicBezTo>
                <a:cubicBezTo>
                  <a:pt x="1433" y="610"/>
                  <a:pt x="1433" y="610"/>
                  <a:pt x="1434" y="609"/>
                </a:cubicBezTo>
                <a:cubicBezTo>
                  <a:pt x="1434" y="608"/>
                  <a:pt x="1435" y="606"/>
                  <a:pt x="1436" y="602"/>
                </a:cubicBezTo>
                <a:cubicBezTo>
                  <a:pt x="1436" y="598"/>
                  <a:pt x="1437" y="594"/>
                  <a:pt x="1437" y="589"/>
                </a:cubicBezTo>
                <a:lnTo>
                  <a:pt x="1436" y="574"/>
                </a:lnTo>
                <a:cubicBezTo>
                  <a:pt x="1435" y="563"/>
                  <a:pt x="1432" y="552"/>
                  <a:pt x="1427" y="541"/>
                </a:cubicBezTo>
                <a:cubicBezTo>
                  <a:pt x="1424" y="536"/>
                  <a:pt x="1422" y="533"/>
                  <a:pt x="1421" y="533"/>
                </a:cubicBezTo>
                <a:cubicBezTo>
                  <a:pt x="1420" y="533"/>
                  <a:pt x="1419" y="533"/>
                  <a:pt x="1419" y="532"/>
                </a:cubicBezTo>
                <a:lnTo>
                  <a:pt x="1419" y="530"/>
                </a:lnTo>
                <a:cubicBezTo>
                  <a:pt x="1419" y="529"/>
                  <a:pt x="1417" y="526"/>
                  <a:pt x="1413" y="520"/>
                </a:cubicBezTo>
                <a:cubicBezTo>
                  <a:pt x="1408" y="516"/>
                  <a:pt x="1405" y="512"/>
                  <a:pt x="1405" y="511"/>
                </a:cubicBezTo>
                <a:cubicBezTo>
                  <a:pt x="1405" y="509"/>
                  <a:pt x="1407" y="508"/>
                  <a:pt x="1411" y="508"/>
                </a:cubicBezTo>
                <a:cubicBezTo>
                  <a:pt x="1414" y="507"/>
                  <a:pt x="1416" y="507"/>
                  <a:pt x="1416" y="506"/>
                </a:cubicBezTo>
                <a:cubicBezTo>
                  <a:pt x="1416" y="505"/>
                  <a:pt x="1414" y="504"/>
                  <a:pt x="1412" y="502"/>
                </a:cubicBezTo>
                <a:cubicBezTo>
                  <a:pt x="1410" y="500"/>
                  <a:pt x="1409" y="499"/>
                  <a:pt x="1409" y="498"/>
                </a:cubicBezTo>
                <a:cubicBezTo>
                  <a:pt x="1409" y="498"/>
                  <a:pt x="1409" y="497"/>
                  <a:pt x="1409" y="497"/>
                </a:cubicBezTo>
                <a:cubicBezTo>
                  <a:pt x="1410" y="497"/>
                  <a:pt x="1411" y="498"/>
                  <a:pt x="1413" y="499"/>
                </a:cubicBezTo>
                <a:cubicBezTo>
                  <a:pt x="1413" y="500"/>
                  <a:pt x="1414" y="501"/>
                  <a:pt x="1415" y="501"/>
                </a:cubicBezTo>
                <a:lnTo>
                  <a:pt x="1416" y="501"/>
                </a:lnTo>
                <a:cubicBezTo>
                  <a:pt x="1418" y="501"/>
                  <a:pt x="1421" y="504"/>
                  <a:pt x="1426" y="509"/>
                </a:cubicBezTo>
                <a:cubicBezTo>
                  <a:pt x="1428" y="512"/>
                  <a:pt x="1431" y="514"/>
                  <a:pt x="1434" y="517"/>
                </a:cubicBezTo>
                <a:cubicBezTo>
                  <a:pt x="1441" y="523"/>
                  <a:pt x="1444" y="526"/>
                  <a:pt x="1446" y="526"/>
                </a:cubicBezTo>
                <a:lnTo>
                  <a:pt x="1441" y="521"/>
                </a:lnTo>
                <a:cubicBezTo>
                  <a:pt x="1439" y="520"/>
                  <a:pt x="1438" y="518"/>
                  <a:pt x="1437" y="516"/>
                </a:cubicBezTo>
                <a:lnTo>
                  <a:pt x="1435" y="512"/>
                </a:lnTo>
                <a:cubicBezTo>
                  <a:pt x="1435" y="512"/>
                  <a:pt x="1435" y="512"/>
                  <a:pt x="1434" y="512"/>
                </a:cubicBezTo>
                <a:lnTo>
                  <a:pt x="1431" y="513"/>
                </a:lnTo>
                <a:lnTo>
                  <a:pt x="1433" y="511"/>
                </a:lnTo>
                <a:cubicBezTo>
                  <a:pt x="1433" y="510"/>
                  <a:pt x="1433" y="510"/>
                  <a:pt x="1435" y="510"/>
                </a:cubicBezTo>
                <a:cubicBezTo>
                  <a:pt x="1439" y="510"/>
                  <a:pt x="1446" y="515"/>
                  <a:pt x="1455" y="524"/>
                </a:cubicBezTo>
                <a:cubicBezTo>
                  <a:pt x="1460" y="529"/>
                  <a:pt x="1464" y="535"/>
                  <a:pt x="1468" y="540"/>
                </a:cubicBezTo>
                <a:cubicBezTo>
                  <a:pt x="1472" y="546"/>
                  <a:pt x="1474" y="550"/>
                  <a:pt x="1474" y="552"/>
                </a:cubicBezTo>
                <a:cubicBezTo>
                  <a:pt x="1474" y="552"/>
                  <a:pt x="1473" y="552"/>
                  <a:pt x="1473" y="552"/>
                </a:cubicBezTo>
                <a:lnTo>
                  <a:pt x="1473" y="553"/>
                </a:lnTo>
                <a:cubicBezTo>
                  <a:pt x="1473" y="554"/>
                  <a:pt x="1474" y="554"/>
                  <a:pt x="1475" y="555"/>
                </a:cubicBezTo>
                <a:cubicBezTo>
                  <a:pt x="1475" y="556"/>
                  <a:pt x="1476" y="557"/>
                  <a:pt x="1476" y="557"/>
                </a:cubicBezTo>
                <a:cubicBezTo>
                  <a:pt x="1476" y="557"/>
                  <a:pt x="1476" y="559"/>
                  <a:pt x="1476" y="561"/>
                </a:cubicBezTo>
                <a:cubicBezTo>
                  <a:pt x="1476" y="561"/>
                  <a:pt x="1476" y="561"/>
                  <a:pt x="1476" y="562"/>
                </a:cubicBezTo>
                <a:cubicBezTo>
                  <a:pt x="1476" y="563"/>
                  <a:pt x="1476" y="564"/>
                  <a:pt x="1477" y="566"/>
                </a:cubicBezTo>
                <a:cubicBezTo>
                  <a:pt x="1478" y="567"/>
                  <a:pt x="1479" y="568"/>
                  <a:pt x="1479" y="568"/>
                </a:cubicBezTo>
                <a:lnTo>
                  <a:pt x="1475" y="566"/>
                </a:lnTo>
                <a:cubicBezTo>
                  <a:pt x="1475" y="566"/>
                  <a:pt x="1475" y="567"/>
                  <a:pt x="1476" y="568"/>
                </a:cubicBezTo>
                <a:cubicBezTo>
                  <a:pt x="1477" y="569"/>
                  <a:pt x="1477" y="571"/>
                  <a:pt x="1478" y="572"/>
                </a:cubicBezTo>
                <a:cubicBezTo>
                  <a:pt x="1478" y="573"/>
                  <a:pt x="1478" y="574"/>
                  <a:pt x="1478" y="575"/>
                </a:cubicBezTo>
                <a:cubicBezTo>
                  <a:pt x="1478" y="576"/>
                  <a:pt x="1479" y="578"/>
                  <a:pt x="1479" y="582"/>
                </a:cubicBezTo>
                <a:cubicBezTo>
                  <a:pt x="1479" y="585"/>
                  <a:pt x="1480" y="588"/>
                  <a:pt x="1480" y="593"/>
                </a:cubicBezTo>
                <a:cubicBezTo>
                  <a:pt x="1481" y="597"/>
                  <a:pt x="1481" y="600"/>
                  <a:pt x="1481" y="603"/>
                </a:cubicBezTo>
                <a:cubicBezTo>
                  <a:pt x="1481" y="606"/>
                  <a:pt x="1481" y="610"/>
                  <a:pt x="1480" y="614"/>
                </a:cubicBezTo>
                <a:cubicBezTo>
                  <a:pt x="1475" y="633"/>
                  <a:pt x="1470" y="647"/>
                  <a:pt x="1465" y="656"/>
                </a:cubicBezTo>
                <a:cubicBezTo>
                  <a:pt x="1461" y="662"/>
                  <a:pt x="1459" y="666"/>
                  <a:pt x="1457" y="666"/>
                </a:cubicBezTo>
                <a:cubicBezTo>
                  <a:pt x="1455" y="666"/>
                  <a:pt x="1454" y="666"/>
                  <a:pt x="1454" y="667"/>
                </a:cubicBezTo>
                <a:lnTo>
                  <a:pt x="1453" y="668"/>
                </a:lnTo>
                <a:cubicBezTo>
                  <a:pt x="1453" y="669"/>
                  <a:pt x="1453" y="669"/>
                  <a:pt x="1454" y="669"/>
                </a:cubicBezTo>
                <a:lnTo>
                  <a:pt x="1456" y="667"/>
                </a:lnTo>
                <a:cubicBezTo>
                  <a:pt x="1457" y="667"/>
                  <a:pt x="1457" y="668"/>
                  <a:pt x="1457" y="668"/>
                </a:cubicBezTo>
                <a:cubicBezTo>
                  <a:pt x="1457" y="670"/>
                  <a:pt x="1456" y="672"/>
                  <a:pt x="1454" y="675"/>
                </a:cubicBezTo>
                <a:cubicBezTo>
                  <a:pt x="1453" y="678"/>
                  <a:pt x="1451" y="679"/>
                  <a:pt x="1448" y="679"/>
                </a:cubicBezTo>
                <a:lnTo>
                  <a:pt x="1447" y="679"/>
                </a:lnTo>
                <a:lnTo>
                  <a:pt x="1447" y="681"/>
                </a:lnTo>
                <a:cubicBezTo>
                  <a:pt x="1447" y="682"/>
                  <a:pt x="1445" y="685"/>
                  <a:pt x="1442" y="690"/>
                </a:cubicBezTo>
                <a:cubicBezTo>
                  <a:pt x="1439" y="695"/>
                  <a:pt x="1435" y="700"/>
                  <a:pt x="1430" y="706"/>
                </a:cubicBezTo>
                <a:cubicBezTo>
                  <a:pt x="1429" y="707"/>
                  <a:pt x="1428" y="709"/>
                  <a:pt x="1426" y="711"/>
                </a:cubicBezTo>
                <a:cubicBezTo>
                  <a:pt x="1424" y="714"/>
                  <a:pt x="1423" y="718"/>
                  <a:pt x="1421" y="721"/>
                </a:cubicBezTo>
                <a:cubicBezTo>
                  <a:pt x="1414" y="731"/>
                  <a:pt x="1407" y="740"/>
                  <a:pt x="1398" y="748"/>
                </a:cubicBezTo>
                <a:cubicBezTo>
                  <a:pt x="1389" y="755"/>
                  <a:pt x="1382" y="759"/>
                  <a:pt x="1376" y="759"/>
                </a:cubicBezTo>
                <a:close/>
                <a:moveTo>
                  <a:pt x="1411" y="555"/>
                </a:moveTo>
                <a:cubicBezTo>
                  <a:pt x="1413" y="555"/>
                  <a:pt x="1414" y="554"/>
                  <a:pt x="1414" y="552"/>
                </a:cubicBezTo>
                <a:cubicBezTo>
                  <a:pt x="1414" y="551"/>
                  <a:pt x="1414" y="550"/>
                  <a:pt x="1413" y="550"/>
                </a:cubicBezTo>
                <a:cubicBezTo>
                  <a:pt x="1412" y="550"/>
                  <a:pt x="1411" y="551"/>
                  <a:pt x="1411" y="552"/>
                </a:cubicBezTo>
                <a:lnTo>
                  <a:pt x="1410" y="554"/>
                </a:lnTo>
                <a:cubicBezTo>
                  <a:pt x="1410" y="554"/>
                  <a:pt x="1411" y="555"/>
                  <a:pt x="1411" y="555"/>
                </a:cubicBezTo>
                <a:close/>
                <a:moveTo>
                  <a:pt x="1406" y="564"/>
                </a:moveTo>
                <a:lnTo>
                  <a:pt x="1409" y="562"/>
                </a:lnTo>
                <a:cubicBezTo>
                  <a:pt x="1410" y="560"/>
                  <a:pt x="1411" y="558"/>
                  <a:pt x="1411" y="558"/>
                </a:cubicBezTo>
                <a:cubicBezTo>
                  <a:pt x="1411" y="557"/>
                  <a:pt x="1410" y="557"/>
                  <a:pt x="1410" y="557"/>
                </a:cubicBezTo>
                <a:cubicBezTo>
                  <a:pt x="1408" y="557"/>
                  <a:pt x="1407" y="558"/>
                  <a:pt x="1407" y="560"/>
                </a:cubicBezTo>
                <a:lnTo>
                  <a:pt x="1406" y="563"/>
                </a:lnTo>
                <a:lnTo>
                  <a:pt x="1406" y="564"/>
                </a:lnTo>
                <a:close/>
                <a:moveTo>
                  <a:pt x="1454" y="660"/>
                </a:moveTo>
                <a:cubicBezTo>
                  <a:pt x="1454" y="659"/>
                  <a:pt x="1454" y="658"/>
                  <a:pt x="1453" y="656"/>
                </a:cubicBezTo>
                <a:cubicBezTo>
                  <a:pt x="1451" y="655"/>
                  <a:pt x="1451" y="654"/>
                  <a:pt x="1451" y="653"/>
                </a:cubicBezTo>
                <a:lnTo>
                  <a:pt x="1456" y="655"/>
                </a:lnTo>
                <a:cubicBezTo>
                  <a:pt x="1456" y="654"/>
                  <a:pt x="1456" y="653"/>
                  <a:pt x="1455" y="652"/>
                </a:cubicBezTo>
                <a:cubicBezTo>
                  <a:pt x="1454" y="650"/>
                  <a:pt x="1453" y="650"/>
                  <a:pt x="1452" y="650"/>
                </a:cubicBezTo>
                <a:cubicBezTo>
                  <a:pt x="1452" y="650"/>
                  <a:pt x="1451" y="650"/>
                  <a:pt x="1451" y="651"/>
                </a:cubicBezTo>
                <a:cubicBezTo>
                  <a:pt x="1451" y="652"/>
                  <a:pt x="1450" y="652"/>
                  <a:pt x="1449" y="652"/>
                </a:cubicBezTo>
                <a:lnTo>
                  <a:pt x="1447" y="651"/>
                </a:lnTo>
                <a:lnTo>
                  <a:pt x="1447" y="652"/>
                </a:lnTo>
                <a:lnTo>
                  <a:pt x="1449" y="655"/>
                </a:lnTo>
                <a:cubicBezTo>
                  <a:pt x="1452" y="658"/>
                  <a:pt x="1454" y="660"/>
                  <a:pt x="1454" y="660"/>
                </a:cubicBezTo>
                <a:close/>
                <a:moveTo>
                  <a:pt x="1452" y="646"/>
                </a:moveTo>
                <a:cubicBezTo>
                  <a:pt x="1453" y="646"/>
                  <a:pt x="1454" y="645"/>
                  <a:pt x="1456" y="643"/>
                </a:cubicBezTo>
                <a:cubicBezTo>
                  <a:pt x="1457" y="641"/>
                  <a:pt x="1457" y="640"/>
                  <a:pt x="1457" y="639"/>
                </a:cubicBezTo>
                <a:cubicBezTo>
                  <a:pt x="1457" y="639"/>
                  <a:pt x="1457" y="639"/>
                  <a:pt x="1456" y="639"/>
                </a:cubicBezTo>
                <a:cubicBezTo>
                  <a:pt x="1456" y="639"/>
                  <a:pt x="1454" y="639"/>
                  <a:pt x="1453" y="642"/>
                </a:cubicBezTo>
                <a:cubicBezTo>
                  <a:pt x="1451" y="644"/>
                  <a:pt x="1450" y="645"/>
                  <a:pt x="1450" y="645"/>
                </a:cubicBezTo>
                <a:cubicBezTo>
                  <a:pt x="1450" y="646"/>
                  <a:pt x="1450" y="646"/>
                  <a:pt x="1452" y="646"/>
                </a:cubicBezTo>
                <a:close/>
                <a:moveTo>
                  <a:pt x="1456" y="634"/>
                </a:moveTo>
                <a:lnTo>
                  <a:pt x="1458" y="632"/>
                </a:lnTo>
                <a:cubicBezTo>
                  <a:pt x="1460" y="632"/>
                  <a:pt x="1461" y="631"/>
                  <a:pt x="1463" y="631"/>
                </a:cubicBezTo>
                <a:lnTo>
                  <a:pt x="1464" y="631"/>
                </a:lnTo>
                <a:cubicBezTo>
                  <a:pt x="1464" y="631"/>
                  <a:pt x="1465" y="631"/>
                  <a:pt x="1466" y="630"/>
                </a:cubicBezTo>
                <a:cubicBezTo>
                  <a:pt x="1467" y="629"/>
                  <a:pt x="1468" y="628"/>
                  <a:pt x="1468" y="626"/>
                </a:cubicBezTo>
                <a:cubicBezTo>
                  <a:pt x="1468" y="626"/>
                  <a:pt x="1467" y="627"/>
                  <a:pt x="1466" y="628"/>
                </a:cubicBezTo>
                <a:cubicBezTo>
                  <a:pt x="1466" y="630"/>
                  <a:pt x="1465" y="630"/>
                  <a:pt x="1465" y="630"/>
                </a:cubicBezTo>
                <a:cubicBezTo>
                  <a:pt x="1464" y="630"/>
                  <a:pt x="1463" y="629"/>
                  <a:pt x="1463" y="628"/>
                </a:cubicBezTo>
                <a:cubicBezTo>
                  <a:pt x="1462" y="626"/>
                  <a:pt x="1461" y="625"/>
                  <a:pt x="1460" y="625"/>
                </a:cubicBezTo>
                <a:cubicBezTo>
                  <a:pt x="1459" y="625"/>
                  <a:pt x="1459" y="627"/>
                  <a:pt x="1458" y="629"/>
                </a:cubicBezTo>
                <a:cubicBezTo>
                  <a:pt x="1457" y="631"/>
                  <a:pt x="1456" y="633"/>
                  <a:pt x="1456" y="634"/>
                </a:cubicBezTo>
                <a:close/>
                <a:moveTo>
                  <a:pt x="1460" y="658"/>
                </a:moveTo>
                <a:cubicBezTo>
                  <a:pt x="1461" y="658"/>
                  <a:pt x="1465" y="650"/>
                  <a:pt x="1471" y="635"/>
                </a:cubicBezTo>
                <a:cubicBezTo>
                  <a:pt x="1475" y="624"/>
                  <a:pt x="1478" y="612"/>
                  <a:pt x="1478" y="599"/>
                </a:cubicBezTo>
                <a:cubicBezTo>
                  <a:pt x="1478" y="590"/>
                  <a:pt x="1476" y="582"/>
                  <a:pt x="1474" y="575"/>
                </a:cubicBezTo>
                <a:cubicBezTo>
                  <a:pt x="1472" y="572"/>
                  <a:pt x="1471" y="571"/>
                  <a:pt x="1470" y="571"/>
                </a:cubicBezTo>
                <a:cubicBezTo>
                  <a:pt x="1470" y="571"/>
                  <a:pt x="1469" y="572"/>
                  <a:pt x="1469" y="575"/>
                </a:cubicBezTo>
                <a:cubicBezTo>
                  <a:pt x="1469" y="577"/>
                  <a:pt x="1470" y="578"/>
                  <a:pt x="1470" y="578"/>
                </a:cubicBezTo>
                <a:lnTo>
                  <a:pt x="1471" y="578"/>
                </a:lnTo>
                <a:cubicBezTo>
                  <a:pt x="1473" y="578"/>
                  <a:pt x="1473" y="586"/>
                  <a:pt x="1473" y="601"/>
                </a:cubicBezTo>
                <a:cubicBezTo>
                  <a:pt x="1473" y="606"/>
                  <a:pt x="1473" y="609"/>
                  <a:pt x="1472" y="610"/>
                </a:cubicBezTo>
                <a:cubicBezTo>
                  <a:pt x="1471" y="610"/>
                  <a:pt x="1470" y="611"/>
                  <a:pt x="1470" y="612"/>
                </a:cubicBezTo>
                <a:cubicBezTo>
                  <a:pt x="1470" y="613"/>
                  <a:pt x="1471" y="613"/>
                  <a:pt x="1471" y="613"/>
                </a:cubicBezTo>
                <a:lnTo>
                  <a:pt x="1474" y="612"/>
                </a:lnTo>
                <a:cubicBezTo>
                  <a:pt x="1474" y="612"/>
                  <a:pt x="1474" y="614"/>
                  <a:pt x="1473" y="615"/>
                </a:cubicBezTo>
                <a:cubicBezTo>
                  <a:pt x="1471" y="617"/>
                  <a:pt x="1471" y="618"/>
                  <a:pt x="1471" y="619"/>
                </a:cubicBezTo>
                <a:lnTo>
                  <a:pt x="1471" y="621"/>
                </a:lnTo>
                <a:cubicBezTo>
                  <a:pt x="1471" y="624"/>
                  <a:pt x="1468" y="635"/>
                  <a:pt x="1460" y="654"/>
                </a:cubicBezTo>
                <a:lnTo>
                  <a:pt x="1459" y="657"/>
                </a:lnTo>
                <a:lnTo>
                  <a:pt x="1460" y="658"/>
                </a:lnTo>
                <a:close/>
                <a:moveTo>
                  <a:pt x="1470" y="568"/>
                </a:moveTo>
                <a:cubicBezTo>
                  <a:pt x="1472" y="568"/>
                  <a:pt x="1472" y="568"/>
                  <a:pt x="1472" y="567"/>
                </a:cubicBezTo>
                <a:cubicBezTo>
                  <a:pt x="1472" y="566"/>
                  <a:pt x="1471" y="563"/>
                  <a:pt x="1470" y="559"/>
                </a:cubicBezTo>
                <a:cubicBezTo>
                  <a:pt x="1465" y="550"/>
                  <a:pt x="1462" y="543"/>
                  <a:pt x="1459" y="540"/>
                </a:cubicBezTo>
                <a:cubicBezTo>
                  <a:pt x="1456" y="537"/>
                  <a:pt x="1454" y="535"/>
                  <a:pt x="1454" y="534"/>
                </a:cubicBezTo>
                <a:cubicBezTo>
                  <a:pt x="1454" y="534"/>
                  <a:pt x="1454" y="534"/>
                  <a:pt x="1454" y="534"/>
                </a:cubicBezTo>
                <a:lnTo>
                  <a:pt x="1454" y="533"/>
                </a:lnTo>
                <a:cubicBezTo>
                  <a:pt x="1454" y="532"/>
                  <a:pt x="1454" y="531"/>
                  <a:pt x="1453" y="531"/>
                </a:cubicBezTo>
                <a:lnTo>
                  <a:pt x="1452" y="530"/>
                </a:lnTo>
                <a:cubicBezTo>
                  <a:pt x="1451" y="530"/>
                  <a:pt x="1451" y="531"/>
                  <a:pt x="1451" y="531"/>
                </a:cubicBezTo>
                <a:cubicBezTo>
                  <a:pt x="1451" y="534"/>
                  <a:pt x="1453" y="537"/>
                  <a:pt x="1455" y="539"/>
                </a:cubicBezTo>
                <a:cubicBezTo>
                  <a:pt x="1456" y="540"/>
                  <a:pt x="1458" y="542"/>
                  <a:pt x="1459" y="545"/>
                </a:cubicBezTo>
                <a:cubicBezTo>
                  <a:pt x="1459" y="547"/>
                  <a:pt x="1460" y="549"/>
                  <a:pt x="1461" y="549"/>
                </a:cubicBezTo>
                <a:cubicBezTo>
                  <a:pt x="1462" y="550"/>
                  <a:pt x="1463" y="551"/>
                  <a:pt x="1463" y="553"/>
                </a:cubicBezTo>
                <a:lnTo>
                  <a:pt x="1462" y="554"/>
                </a:lnTo>
                <a:cubicBezTo>
                  <a:pt x="1462" y="554"/>
                  <a:pt x="1463" y="555"/>
                  <a:pt x="1464" y="555"/>
                </a:cubicBezTo>
                <a:cubicBezTo>
                  <a:pt x="1465" y="555"/>
                  <a:pt x="1466" y="556"/>
                  <a:pt x="1466" y="557"/>
                </a:cubicBezTo>
                <a:lnTo>
                  <a:pt x="1465" y="563"/>
                </a:lnTo>
                <a:lnTo>
                  <a:pt x="1466" y="565"/>
                </a:lnTo>
                <a:lnTo>
                  <a:pt x="1467" y="565"/>
                </a:lnTo>
                <a:cubicBezTo>
                  <a:pt x="1468" y="565"/>
                  <a:pt x="1468" y="565"/>
                  <a:pt x="1468" y="566"/>
                </a:cubicBezTo>
                <a:cubicBezTo>
                  <a:pt x="1468" y="567"/>
                  <a:pt x="1469" y="568"/>
                  <a:pt x="1470" y="568"/>
                </a:cubicBezTo>
                <a:close/>
                <a:moveTo>
                  <a:pt x="1436" y="627"/>
                </a:moveTo>
                <a:cubicBezTo>
                  <a:pt x="1436" y="627"/>
                  <a:pt x="1437" y="627"/>
                  <a:pt x="1438" y="626"/>
                </a:cubicBezTo>
                <a:cubicBezTo>
                  <a:pt x="1438" y="625"/>
                  <a:pt x="1439" y="624"/>
                  <a:pt x="1439" y="623"/>
                </a:cubicBezTo>
                <a:cubicBezTo>
                  <a:pt x="1439" y="622"/>
                  <a:pt x="1440" y="621"/>
                  <a:pt x="1440" y="620"/>
                </a:cubicBezTo>
                <a:cubicBezTo>
                  <a:pt x="1440" y="620"/>
                  <a:pt x="1439" y="619"/>
                  <a:pt x="1439" y="619"/>
                </a:cubicBezTo>
                <a:cubicBezTo>
                  <a:pt x="1439" y="619"/>
                  <a:pt x="1438" y="620"/>
                  <a:pt x="1438" y="621"/>
                </a:cubicBezTo>
                <a:cubicBezTo>
                  <a:pt x="1436" y="623"/>
                  <a:pt x="1435" y="625"/>
                  <a:pt x="1435" y="627"/>
                </a:cubicBezTo>
                <a:cubicBezTo>
                  <a:pt x="1435" y="627"/>
                  <a:pt x="1436" y="627"/>
                  <a:pt x="1436" y="627"/>
                </a:cubicBezTo>
                <a:close/>
                <a:moveTo>
                  <a:pt x="1390" y="579"/>
                </a:moveTo>
                <a:cubicBezTo>
                  <a:pt x="1391" y="579"/>
                  <a:pt x="1393" y="576"/>
                  <a:pt x="1397" y="569"/>
                </a:cubicBezTo>
                <a:lnTo>
                  <a:pt x="1398" y="567"/>
                </a:lnTo>
                <a:cubicBezTo>
                  <a:pt x="1397" y="567"/>
                  <a:pt x="1396" y="568"/>
                  <a:pt x="1394" y="571"/>
                </a:cubicBezTo>
                <a:cubicBezTo>
                  <a:pt x="1391" y="575"/>
                  <a:pt x="1390" y="577"/>
                  <a:pt x="1390" y="579"/>
                </a:cubicBezTo>
                <a:cubicBezTo>
                  <a:pt x="1390" y="579"/>
                  <a:pt x="1390" y="579"/>
                  <a:pt x="1390" y="579"/>
                </a:cubicBezTo>
                <a:close/>
                <a:moveTo>
                  <a:pt x="1387" y="590"/>
                </a:moveTo>
                <a:cubicBezTo>
                  <a:pt x="1389" y="590"/>
                  <a:pt x="1390" y="590"/>
                  <a:pt x="1390" y="588"/>
                </a:cubicBezTo>
                <a:lnTo>
                  <a:pt x="1390" y="588"/>
                </a:lnTo>
                <a:cubicBezTo>
                  <a:pt x="1390" y="588"/>
                  <a:pt x="1390" y="587"/>
                  <a:pt x="1390" y="586"/>
                </a:cubicBezTo>
                <a:cubicBezTo>
                  <a:pt x="1390" y="585"/>
                  <a:pt x="1390" y="585"/>
                  <a:pt x="1390" y="584"/>
                </a:cubicBezTo>
                <a:cubicBezTo>
                  <a:pt x="1390" y="583"/>
                  <a:pt x="1390" y="583"/>
                  <a:pt x="1389" y="583"/>
                </a:cubicBezTo>
                <a:cubicBezTo>
                  <a:pt x="1389" y="583"/>
                  <a:pt x="1388" y="584"/>
                  <a:pt x="1387" y="585"/>
                </a:cubicBezTo>
                <a:cubicBezTo>
                  <a:pt x="1386" y="587"/>
                  <a:pt x="1385" y="588"/>
                  <a:pt x="1384" y="588"/>
                </a:cubicBezTo>
                <a:lnTo>
                  <a:pt x="1382" y="587"/>
                </a:lnTo>
                <a:lnTo>
                  <a:pt x="1382" y="588"/>
                </a:lnTo>
                <a:cubicBezTo>
                  <a:pt x="1382" y="588"/>
                  <a:pt x="1382" y="588"/>
                  <a:pt x="1382" y="589"/>
                </a:cubicBezTo>
                <a:cubicBezTo>
                  <a:pt x="1383" y="590"/>
                  <a:pt x="1384" y="590"/>
                  <a:pt x="1387" y="590"/>
                </a:cubicBezTo>
                <a:close/>
                <a:moveTo>
                  <a:pt x="1361" y="740"/>
                </a:moveTo>
                <a:cubicBezTo>
                  <a:pt x="1361" y="740"/>
                  <a:pt x="1361" y="739"/>
                  <a:pt x="1361" y="737"/>
                </a:cubicBezTo>
                <a:lnTo>
                  <a:pt x="1361" y="734"/>
                </a:lnTo>
                <a:cubicBezTo>
                  <a:pt x="1361" y="729"/>
                  <a:pt x="1360" y="727"/>
                  <a:pt x="1358" y="727"/>
                </a:cubicBezTo>
                <a:cubicBezTo>
                  <a:pt x="1356" y="727"/>
                  <a:pt x="1355" y="728"/>
                  <a:pt x="1355" y="731"/>
                </a:cubicBezTo>
                <a:cubicBezTo>
                  <a:pt x="1355" y="733"/>
                  <a:pt x="1356" y="735"/>
                  <a:pt x="1357" y="737"/>
                </a:cubicBezTo>
                <a:cubicBezTo>
                  <a:pt x="1359" y="739"/>
                  <a:pt x="1360" y="740"/>
                  <a:pt x="1361" y="740"/>
                </a:cubicBezTo>
                <a:close/>
                <a:moveTo>
                  <a:pt x="1364" y="690"/>
                </a:moveTo>
                <a:cubicBezTo>
                  <a:pt x="1365" y="690"/>
                  <a:pt x="1366" y="688"/>
                  <a:pt x="1366" y="686"/>
                </a:cubicBezTo>
                <a:cubicBezTo>
                  <a:pt x="1366" y="684"/>
                  <a:pt x="1365" y="683"/>
                  <a:pt x="1364" y="683"/>
                </a:cubicBezTo>
                <a:cubicBezTo>
                  <a:pt x="1362" y="683"/>
                  <a:pt x="1362" y="683"/>
                  <a:pt x="1362" y="685"/>
                </a:cubicBezTo>
                <a:cubicBezTo>
                  <a:pt x="1362" y="686"/>
                  <a:pt x="1362" y="687"/>
                  <a:pt x="1363" y="688"/>
                </a:cubicBezTo>
                <a:cubicBezTo>
                  <a:pt x="1364" y="689"/>
                  <a:pt x="1364" y="690"/>
                  <a:pt x="1364" y="690"/>
                </a:cubicBezTo>
                <a:close/>
                <a:moveTo>
                  <a:pt x="1366" y="676"/>
                </a:moveTo>
                <a:cubicBezTo>
                  <a:pt x="1367" y="676"/>
                  <a:pt x="1367" y="675"/>
                  <a:pt x="1368" y="674"/>
                </a:cubicBezTo>
                <a:lnTo>
                  <a:pt x="1368" y="672"/>
                </a:lnTo>
                <a:cubicBezTo>
                  <a:pt x="1368" y="671"/>
                  <a:pt x="1368" y="670"/>
                  <a:pt x="1367" y="670"/>
                </a:cubicBezTo>
                <a:lnTo>
                  <a:pt x="1366" y="669"/>
                </a:lnTo>
                <a:cubicBezTo>
                  <a:pt x="1365" y="669"/>
                  <a:pt x="1364" y="670"/>
                  <a:pt x="1364" y="671"/>
                </a:cubicBezTo>
                <a:cubicBezTo>
                  <a:pt x="1364" y="672"/>
                  <a:pt x="1364" y="673"/>
                  <a:pt x="1365" y="674"/>
                </a:cubicBezTo>
                <a:cubicBezTo>
                  <a:pt x="1366" y="675"/>
                  <a:pt x="1366" y="676"/>
                  <a:pt x="1366" y="676"/>
                </a:cubicBezTo>
                <a:close/>
                <a:moveTo>
                  <a:pt x="1354" y="721"/>
                </a:moveTo>
                <a:cubicBezTo>
                  <a:pt x="1355" y="721"/>
                  <a:pt x="1357" y="720"/>
                  <a:pt x="1358" y="718"/>
                </a:cubicBezTo>
                <a:cubicBezTo>
                  <a:pt x="1360" y="718"/>
                  <a:pt x="1361" y="715"/>
                  <a:pt x="1361" y="713"/>
                </a:cubicBezTo>
                <a:cubicBezTo>
                  <a:pt x="1361" y="712"/>
                  <a:pt x="1361" y="712"/>
                  <a:pt x="1360" y="711"/>
                </a:cubicBezTo>
                <a:lnTo>
                  <a:pt x="1359" y="712"/>
                </a:lnTo>
                <a:cubicBezTo>
                  <a:pt x="1358" y="712"/>
                  <a:pt x="1357" y="710"/>
                  <a:pt x="1357" y="705"/>
                </a:cubicBezTo>
                <a:cubicBezTo>
                  <a:pt x="1357" y="701"/>
                  <a:pt x="1357" y="700"/>
                  <a:pt x="1358" y="700"/>
                </a:cubicBezTo>
                <a:cubicBezTo>
                  <a:pt x="1358" y="700"/>
                  <a:pt x="1359" y="701"/>
                  <a:pt x="1359" y="704"/>
                </a:cubicBezTo>
                <a:cubicBezTo>
                  <a:pt x="1360" y="707"/>
                  <a:pt x="1361" y="708"/>
                  <a:pt x="1361" y="708"/>
                </a:cubicBezTo>
                <a:cubicBezTo>
                  <a:pt x="1362" y="708"/>
                  <a:pt x="1362" y="706"/>
                  <a:pt x="1362" y="701"/>
                </a:cubicBezTo>
                <a:lnTo>
                  <a:pt x="1362" y="699"/>
                </a:lnTo>
                <a:cubicBezTo>
                  <a:pt x="1362" y="696"/>
                  <a:pt x="1362" y="695"/>
                  <a:pt x="1361" y="695"/>
                </a:cubicBezTo>
                <a:cubicBezTo>
                  <a:pt x="1360" y="695"/>
                  <a:pt x="1359" y="693"/>
                  <a:pt x="1359" y="691"/>
                </a:cubicBezTo>
                <a:cubicBezTo>
                  <a:pt x="1359" y="686"/>
                  <a:pt x="1360" y="682"/>
                  <a:pt x="1362" y="681"/>
                </a:cubicBezTo>
                <a:cubicBezTo>
                  <a:pt x="1364" y="680"/>
                  <a:pt x="1366" y="679"/>
                  <a:pt x="1366" y="679"/>
                </a:cubicBezTo>
                <a:cubicBezTo>
                  <a:pt x="1366" y="679"/>
                  <a:pt x="1365" y="679"/>
                  <a:pt x="1364" y="679"/>
                </a:cubicBezTo>
                <a:cubicBezTo>
                  <a:pt x="1363" y="679"/>
                  <a:pt x="1362" y="676"/>
                  <a:pt x="1362" y="670"/>
                </a:cubicBezTo>
                <a:cubicBezTo>
                  <a:pt x="1362" y="665"/>
                  <a:pt x="1363" y="663"/>
                  <a:pt x="1364" y="663"/>
                </a:cubicBezTo>
                <a:cubicBezTo>
                  <a:pt x="1365" y="663"/>
                  <a:pt x="1366" y="664"/>
                  <a:pt x="1368" y="665"/>
                </a:cubicBezTo>
                <a:lnTo>
                  <a:pt x="1370" y="667"/>
                </a:lnTo>
                <a:cubicBezTo>
                  <a:pt x="1370" y="666"/>
                  <a:pt x="1370" y="666"/>
                  <a:pt x="1370" y="666"/>
                </a:cubicBezTo>
                <a:cubicBezTo>
                  <a:pt x="1369" y="666"/>
                  <a:pt x="1369" y="665"/>
                  <a:pt x="1369" y="664"/>
                </a:cubicBezTo>
                <a:cubicBezTo>
                  <a:pt x="1369" y="663"/>
                  <a:pt x="1370" y="662"/>
                  <a:pt x="1371" y="661"/>
                </a:cubicBezTo>
                <a:cubicBezTo>
                  <a:pt x="1372" y="659"/>
                  <a:pt x="1372" y="658"/>
                  <a:pt x="1373" y="656"/>
                </a:cubicBezTo>
                <a:cubicBezTo>
                  <a:pt x="1374" y="654"/>
                  <a:pt x="1374" y="652"/>
                  <a:pt x="1374" y="650"/>
                </a:cubicBezTo>
                <a:cubicBezTo>
                  <a:pt x="1374" y="649"/>
                  <a:pt x="1374" y="648"/>
                  <a:pt x="1373" y="648"/>
                </a:cubicBezTo>
                <a:cubicBezTo>
                  <a:pt x="1372" y="648"/>
                  <a:pt x="1371" y="649"/>
                  <a:pt x="1370" y="650"/>
                </a:cubicBezTo>
                <a:cubicBezTo>
                  <a:pt x="1369" y="652"/>
                  <a:pt x="1369" y="654"/>
                  <a:pt x="1369" y="655"/>
                </a:cubicBezTo>
                <a:cubicBezTo>
                  <a:pt x="1369" y="657"/>
                  <a:pt x="1368" y="658"/>
                  <a:pt x="1366" y="659"/>
                </a:cubicBezTo>
                <a:cubicBezTo>
                  <a:pt x="1366" y="659"/>
                  <a:pt x="1365" y="659"/>
                  <a:pt x="1365" y="658"/>
                </a:cubicBezTo>
                <a:cubicBezTo>
                  <a:pt x="1365" y="657"/>
                  <a:pt x="1365" y="656"/>
                  <a:pt x="1366" y="653"/>
                </a:cubicBezTo>
                <a:lnTo>
                  <a:pt x="1367" y="644"/>
                </a:lnTo>
                <a:cubicBezTo>
                  <a:pt x="1367" y="642"/>
                  <a:pt x="1369" y="641"/>
                  <a:pt x="1372" y="641"/>
                </a:cubicBezTo>
                <a:lnTo>
                  <a:pt x="1372" y="641"/>
                </a:lnTo>
                <a:cubicBezTo>
                  <a:pt x="1375" y="641"/>
                  <a:pt x="1376" y="639"/>
                  <a:pt x="1376" y="637"/>
                </a:cubicBezTo>
                <a:cubicBezTo>
                  <a:pt x="1376" y="635"/>
                  <a:pt x="1375" y="634"/>
                  <a:pt x="1372" y="633"/>
                </a:cubicBezTo>
                <a:lnTo>
                  <a:pt x="1371" y="633"/>
                </a:lnTo>
                <a:cubicBezTo>
                  <a:pt x="1371" y="632"/>
                  <a:pt x="1373" y="632"/>
                  <a:pt x="1375" y="632"/>
                </a:cubicBezTo>
                <a:cubicBezTo>
                  <a:pt x="1377" y="632"/>
                  <a:pt x="1377" y="631"/>
                  <a:pt x="1377" y="630"/>
                </a:cubicBezTo>
                <a:lnTo>
                  <a:pt x="1377" y="629"/>
                </a:lnTo>
                <a:cubicBezTo>
                  <a:pt x="1377" y="627"/>
                  <a:pt x="1376" y="627"/>
                  <a:pt x="1375" y="627"/>
                </a:cubicBezTo>
                <a:cubicBezTo>
                  <a:pt x="1374" y="627"/>
                  <a:pt x="1374" y="627"/>
                  <a:pt x="1374" y="627"/>
                </a:cubicBezTo>
                <a:cubicBezTo>
                  <a:pt x="1371" y="627"/>
                  <a:pt x="1370" y="627"/>
                  <a:pt x="1370" y="626"/>
                </a:cubicBezTo>
                <a:cubicBezTo>
                  <a:pt x="1370" y="625"/>
                  <a:pt x="1371" y="624"/>
                  <a:pt x="1372" y="624"/>
                </a:cubicBezTo>
                <a:lnTo>
                  <a:pt x="1376" y="624"/>
                </a:lnTo>
                <a:cubicBezTo>
                  <a:pt x="1378" y="624"/>
                  <a:pt x="1380" y="622"/>
                  <a:pt x="1382" y="620"/>
                </a:cubicBezTo>
                <a:cubicBezTo>
                  <a:pt x="1383" y="617"/>
                  <a:pt x="1384" y="614"/>
                  <a:pt x="1384" y="610"/>
                </a:cubicBezTo>
                <a:cubicBezTo>
                  <a:pt x="1384" y="608"/>
                  <a:pt x="1384" y="606"/>
                  <a:pt x="1383" y="605"/>
                </a:cubicBezTo>
                <a:lnTo>
                  <a:pt x="1381" y="603"/>
                </a:lnTo>
                <a:lnTo>
                  <a:pt x="1382" y="608"/>
                </a:lnTo>
                <a:cubicBezTo>
                  <a:pt x="1382" y="609"/>
                  <a:pt x="1382" y="609"/>
                  <a:pt x="1381" y="610"/>
                </a:cubicBezTo>
                <a:cubicBezTo>
                  <a:pt x="1380" y="610"/>
                  <a:pt x="1380" y="611"/>
                  <a:pt x="1380" y="614"/>
                </a:cubicBezTo>
                <a:cubicBezTo>
                  <a:pt x="1380" y="618"/>
                  <a:pt x="1379" y="620"/>
                  <a:pt x="1376" y="620"/>
                </a:cubicBezTo>
                <a:cubicBezTo>
                  <a:pt x="1375" y="620"/>
                  <a:pt x="1374" y="619"/>
                  <a:pt x="1374" y="618"/>
                </a:cubicBezTo>
                <a:lnTo>
                  <a:pt x="1372" y="617"/>
                </a:lnTo>
                <a:cubicBezTo>
                  <a:pt x="1372" y="617"/>
                  <a:pt x="1373" y="617"/>
                  <a:pt x="1373" y="617"/>
                </a:cubicBezTo>
                <a:lnTo>
                  <a:pt x="1376" y="618"/>
                </a:lnTo>
                <a:cubicBezTo>
                  <a:pt x="1376" y="618"/>
                  <a:pt x="1376" y="618"/>
                  <a:pt x="1376" y="617"/>
                </a:cubicBezTo>
                <a:cubicBezTo>
                  <a:pt x="1376" y="617"/>
                  <a:pt x="1376" y="615"/>
                  <a:pt x="1375" y="613"/>
                </a:cubicBezTo>
                <a:cubicBezTo>
                  <a:pt x="1374" y="612"/>
                  <a:pt x="1373" y="611"/>
                  <a:pt x="1372" y="611"/>
                </a:cubicBezTo>
                <a:lnTo>
                  <a:pt x="1371" y="611"/>
                </a:lnTo>
                <a:cubicBezTo>
                  <a:pt x="1371" y="611"/>
                  <a:pt x="1372" y="610"/>
                  <a:pt x="1374" y="608"/>
                </a:cubicBezTo>
                <a:cubicBezTo>
                  <a:pt x="1376" y="607"/>
                  <a:pt x="1376" y="605"/>
                  <a:pt x="1376" y="604"/>
                </a:cubicBezTo>
                <a:cubicBezTo>
                  <a:pt x="1376" y="604"/>
                  <a:pt x="1376" y="604"/>
                  <a:pt x="1376" y="604"/>
                </a:cubicBezTo>
                <a:lnTo>
                  <a:pt x="1376" y="603"/>
                </a:lnTo>
                <a:cubicBezTo>
                  <a:pt x="1376" y="602"/>
                  <a:pt x="1377" y="600"/>
                  <a:pt x="1378" y="598"/>
                </a:cubicBezTo>
                <a:cubicBezTo>
                  <a:pt x="1380" y="596"/>
                  <a:pt x="1380" y="595"/>
                  <a:pt x="1380" y="594"/>
                </a:cubicBezTo>
                <a:cubicBezTo>
                  <a:pt x="1380" y="594"/>
                  <a:pt x="1380" y="593"/>
                  <a:pt x="1380" y="593"/>
                </a:cubicBezTo>
                <a:cubicBezTo>
                  <a:pt x="1378" y="593"/>
                  <a:pt x="1376" y="594"/>
                  <a:pt x="1375" y="596"/>
                </a:cubicBezTo>
                <a:cubicBezTo>
                  <a:pt x="1373" y="598"/>
                  <a:pt x="1371" y="599"/>
                  <a:pt x="1369" y="599"/>
                </a:cubicBezTo>
                <a:lnTo>
                  <a:pt x="1368" y="599"/>
                </a:lnTo>
                <a:cubicBezTo>
                  <a:pt x="1366" y="599"/>
                  <a:pt x="1366" y="600"/>
                  <a:pt x="1366" y="602"/>
                </a:cubicBezTo>
                <a:cubicBezTo>
                  <a:pt x="1366" y="604"/>
                  <a:pt x="1365" y="607"/>
                  <a:pt x="1363" y="610"/>
                </a:cubicBezTo>
                <a:cubicBezTo>
                  <a:pt x="1362" y="611"/>
                  <a:pt x="1362" y="612"/>
                  <a:pt x="1362" y="612"/>
                </a:cubicBezTo>
                <a:lnTo>
                  <a:pt x="1366" y="610"/>
                </a:lnTo>
                <a:cubicBezTo>
                  <a:pt x="1366" y="610"/>
                  <a:pt x="1365" y="611"/>
                  <a:pt x="1364" y="612"/>
                </a:cubicBezTo>
                <a:cubicBezTo>
                  <a:pt x="1363" y="614"/>
                  <a:pt x="1362" y="615"/>
                  <a:pt x="1362" y="616"/>
                </a:cubicBezTo>
                <a:lnTo>
                  <a:pt x="1364" y="618"/>
                </a:lnTo>
                <a:cubicBezTo>
                  <a:pt x="1364" y="619"/>
                  <a:pt x="1363" y="619"/>
                  <a:pt x="1362" y="619"/>
                </a:cubicBezTo>
                <a:cubicBezTo>
                  <a:pt x="1361" y="619"/>
                  <a:pt x="1360" y="621"/>
                  <a:pt x="1360" y="626"/>
                </a:cubicBezTo>
                <a:lnTo>
                  <a:pt x="1359" y="629"/>
                </a:lnTo>
                <a:lnTo>
                  <a:pt x="1359" y="629"/>
                </a:lnTo>
                <a:cubicBezTo>
                  <a:pt x="1357" y="629"/>
                  <a:pt x="1357" y="631"/>
                  <a:pt x="1356" y="634"/>
                </a:cubicBezTo>
                <a:cubicBezTo>
                  <a:pt x="1355" y="638"/>
                  <a:pt x="1354" y="639"/>
                  <a:pt x="1352" y="639"/>
                </a:cubicBezTo>
                <a:cubicBezTo>
                  <a:pt x="1352" y="639"/>
                  <a:pt x="1352" y="639"/>
                  <a:pt x="1352" y="639"/>
                </a:cubicBezTo>
                <a:cubicBezTo>
                  <a:pt x="1352" y="638"/>
                  <a:pt x="1352" y="637"/>
                  <a:pt x="1352" y="637"/>
                </a:cubicBezTo>
                <a:cubicBezTo>
                  <a:pt x="1352" y="636"/>
                  <a:pt x="1352" y="636"/>
                  <a:pt x="1352" y="635"/>
                </a:cubicBezTo>
                <a:cubicBezTo>
                  <a:pt x="1352" y="635"/>
                  <a:pt x="1352" y="635"/>
                  <a:pt x="1352" y="635"/>
                </a:cubicBezTo>
                <a:lnTo>
                  <a:pt x="1351" y="636"/>
                </a:lnTo>
                <a:cubicBezTo>
                  <a:pt x="1350" y="637"/>
                  <a:pt x="1349" y="639"/>
                  <a:pt x="1347" y="641"/>
                </a:cubicBezTo>
                <a:cubicBezTo>
                  <a:pt x="1346" y="644"/>
                  <a:pt x="1346" y="646"/>
                  <a:pt x="1346" y="648"/>
                </a:cubicBezTo>
                <a:cubicBezTo>
                  <a:pt x="1346" y="649"/>
                  <a:pt x="1346" y="650"/>
                  <a:pt x="1347" y="651"/>
                </a:cubicBezTo>
                <a:cubicBezTo>
                  <a:pt x="1350" y="651"/>
                  <a:pt x="1352" y="654"/>
                  <a:pt x="1352" y="659"/>
                </a:cubicBezTo>
                <a:cubicBezTo>
                  <a:pt x="1352" y="664"/>
                  <a:pt x="1351" y="671"/>
                  <a:pt x="1350" y="681"/>
                </a:cubicBezTo>
                <a:lnTo>
                  <a:pt x="1349" y="685"/>
                </a:lnTo>
                <a:cubicBezTo>
                  <a:pt x="1349" y="685"/>
                  <a:pt x="1350" y="684"/>
                  <a:pt x="1351" y="683"/>
                </a:cubicBezTo>
                <a:cubicBezTo>
                  <a:pt x="1351" y="682"/>
                  <a:pt x="1352" y="681"/>
                  <a:pt x="1352" y="681"/>
                </a:cubicBezTo>
                <a:cubicBezTo>
                  <a:pt x="1352" y="681"/>
                  <a:pt x="1352" y="683"/>
                  <a:pt x="1352" y="685"/>
                </a:cubicBezTo>
                <a:cubicBezTo>
                  <a:pt x="1352" y="687"/>
                  <a:pt x="1351" y="688"/>
                  <a:pt x="1350" y="688"/>
                </a:cubicBezTo>
                <a:cubicBezTo>
                  <a:pt x="1349" y="688"/>
                  <a:pt x="1349" y="689"/>
                  <a:pt x="1349" y="691"/>
                </a:cubicBezTo>
                <a:cubicBezTo>
                  <a:pt x="1349" y="692"/>
                  <a:pt x="1349" y="692"/>
                  <a:pt x="1349" y="693"/>
                </a:cubicBezTo>
                <a:cubicBezTo>
                  <a:pt x="1350" y="694"/>
                  <a:pt x="1350" y="695"/>
                  <a:pt x="1351" y="695"/>
                </a:cubicBezTo>
                <a:cubicBezTo>
                  <a:pt x="1352" y="695"/>
                  <a:pt x="1352" y="698"/>
                  <a:pt x="1352" y="704"/>
                </a:cubicBezTo>
                <a:cubicBezTo>
                  <a:pt x="1352" y="715"/>
                  <a:pt x="1353" y="721"/>
                  <a:pt x="1354" y="721"/>
                </a:cubicBezTo>
                <a:close/>
                <a:moveTo>
                  <a:pt x="1369" y="732"/>
                </a:moveTo>
                <a:cubicBezTo>
                  <a:pt x="1371" y="732"/>
                  <a:pt x="1374" y="729"/>
                  <a:pt x="1379" y="722"/>
                </a:cubicBezTo>
                <a:cubicBezTo>
                  <a:pt x="1382" y="718"/>
                  <a:pt x="1385" y="715"/>
                  <a:pt x="1387" y="713"/>
                </a:cubicBezTo>
                <a:lnTo>
                  <a:pt x="1392" y="710"/>
                </a:lnTo>
                <a:lnTo>
                  <a:pt x="1393" y="710"/>
                </a:lnTo>
                <a:cubicBezTo>
                  <a:pt x="1394" y="710"/>
                  <a:pt x="1394" y="710"/>
                  <a:pt x="1394" y="709"/>
                </a:cubicBezTo>
                <a:lnTo>
                  <a:pt x="1393" y="708"/>
                </a:lnTo>
                <a:cubicBezTo>
                  <a:pt x="1393" y="707"/>
                  <a:pt x="1395" y="705"/>
                  <a:pt x="1398" y="702"/>
                </a:cubicBezTo>
                <a:cubicBezTo>
                  <a:pt x="1400" y="700"/>
                  <a:pt x="1403" y="697"/>
                  <a:pt x="1406" y="695"/>
                </a:cubicBezTo>
                <a:cubicBezTo>
                  <a:pt x="1409" y="692"/>
                  <a:pt x="1412" y="691"/>
                  <a:pt x="1413" y="691"/>
                </a:cubicBezTo>
                <a:lnTo>
                  <a:pt x="1415" y="692"/>
                </a:lnTo>
                <a:cubicBezTo>
                  <a:pt x="1417" y="692"/>
                  <a:pt x="1418" y="691"/>
                  <a:pt x="1420" y="690"/>
                </a:cubicBezTo>
                <a:cubicBezTo>
                  <a:pt x="1421" y="688"/>
                  <a:pt x="1422" y="688"/>
                  <a:pt x="1423" y="688"/>
                </a:cubicBezTo>
                <a:lnTo>
                  <a:pt x="1421" y="691"/>
                </a:lnTo>
                <a:lnTo>
                  <a:pt x="1421" y="691"/>
                </a:lnTo>
                <a:lnTo>
                  <a:pt x="1425" y="687"/>
                </a:lnTo>
                <a:cubicBezTo>
                  <a:pt x="1429" y="683"/>
                  <a:pt x="1431" y="680"/>
                  <a:pt x="1431" y="679"/>
                </a:cubicBezTo>
                <a:cubicBezTo>
                  <a:pt x="1431" y="679"/>
                  <a:pt x="1431" y="679"/>
                  <a:pt x="1431" y="679"/>
                </a:cubicBezTo>
                <a:lnTo>
                  <a:pt x="1428" y="680"/>
                </a:lnTo>
                <a:cubicBezTo>
                  <a:pt x="1428" y="679"/>
                  <a:pt x="1428" y="678"/>
                  <a:pt x="1429" y="676"/>
                </a:cubicBezTo>
                <a:cubicBezTo>
                  <a:pt x="1430" y="675"/>
                  <a:pt x="1430" y="674"/>
                  <a:pt x="1431" y="673"/>
                </a:cubicBezTo>
                <a:cubicBezTo>
                  <a:pt x="1432" y="672"/>
                  <a:pt x="1432" y="671"/>
                  <a:pt x="1433" y="671"/>
                </a:cubicBezTo>
                <a:lnTo>
                  <a:pt x="1433" y="672"/>
                </a:lnTo>
                <a:lnTo>
                  <a:pt x="1432" y="676"/>
                </a:lnTo>
                <a:cubicBezTo>
                  <a:pt x="1432" y="676"/>
                  <a:pt x="1433" y="674"/>
                  <a:pt x="1434" y="672"/>
                </a:cubicBezTo>
                <a:cubicBezTo>
                  <a:pt x="1436" y="670"/>
                  <a:pt x="1436" y="669"/>
                  <a:pt x="1436" y="667"/>
                </a:cubicBezTo>
                <a:lnTo>
                  <a:pt x="1436" y="665"/>
                </a:lnTo>
                <a:lnTo>
                  <a:pt x="1439" y="666"/>
                </a:lnTo>
                <a:cubicBezTo>
                  <a:pt x="1439" y="666"/>
                  <a:pt x="1440" y="666"/>
                  <a:pt x="1440" y="666"/>
                </a:cubicBezTo>
                <a:lnTo>
                  <a:pt x="1439" y="664"/>
                </a:lnTo>
                <a:cubicBezTo>
                  <a:pt x="1439" y="662"/>
                  <a:pt x="1441" y="656"/>
                  <a:pt x="1445" y="648"/>
                </a:cubicBezTo>
                <a:cubicBezTo>
                  <a:pt x="1450" y="638"/>
                  <a:pt x="1453" y="631"/>
                  <a:pt x="1454" y="626"/>
                </a:cubicBezTo>
                <a:cubicBezTo>
                  <a:pt x="1455" y="622"/>
                  <a:pt x="1456" y="619"/>
                  <a:pt x="1456" y="618"/>
                </a:cubicBezTo>
                <a:cubicBezTo>
                  <a:pt x="1459" y="608"/>
                  <a:pt x="1460" y="600"/>
                  <a:pt x="1460" y="591"/>
                </a:cubicBezTo>
                <a:cubicBezTo>
                  <a:pt x="1460" y="584"/>
                  <a:pt x="1459" y="579"/>
                  <a:pt x="1457" y="577"/>
                </a:cubicBezTo>
                <a:lnTo>
                  <a:pt x="1457" y="577"/>
                </a:lnTo>
                <a:cubicBezTo>
                  <a:pt x="1456" y="577"/>
                  <a:pt x="1455" y="580"/>
                  <a:pt x="1454" y="587"/>
                </a:cubicBezTo>
                <a:cubicBezTo>
                  <a:pt x="1453" y="593"/>
                  <a:pt x="1452" y="600"/>
                  <a:pt x="1449" y="608"/>
                </a:cubicBezTo>
                <a:cubicBezTo>
                  <a:pt x="1447" y="615"/>
                  <a:pt x="1445" y="620"/>
                  <a:pt x="1445" y="621"/>
                </a:cubicBezTo>
                <a:cubicBezTo>
                  <a:pt x="1445" y="623"/>
                  <a:pt x="1445" y="624"/>
                  <a:pt x="1444" y="625"/>
                </a:cubicBezTo>
                <a:cubicBezTo>
                  <a:pt x="1444" y="626"/>
                  <a:pt x="1444" y="626"/>
                  <a:pt x="1444" y="626"/>
                </a:cubicBezTo>
                <a:cubicBezTo>
                  <a:pt x="1444" y="627"/>
                  <a:pt x="1444" y="627"/>
                  <a:pt x="1444" y="627"/>
                </a:cubicBezTo>
                <a:lnTo>
                  <a:pt x="1444" y="628"/>
                </a:lnTo>
                <a:cubicBezTo>
                  <a:pt x="1444" y="630"/>
                  <a:pt x="1443" y="630"/>
                  <a:pt x="1443" y="630"/>
                </a:cubicBezTo>
                <a:cubicBezTo>
                  <a:pt x="1442" y="630"/>
                  <a:pt x="1441" y="631"/>
                  <a:pt x="1440" y="632"/>
                </a:cubicBezTo>
                <a:cubicBezTo>
                  <a:pt x="1438" y="636"/>
                  <a:pt x="1437" y="638"/>
                  <a:pt x="1437" y="641"/>
                </a:cubicBezTo>
                <a:lnTo>
                  <a:pt x="1437" y="643"/>
                </a:lnTo>
                <a:cubicBezTo>
                  <a:pt x="1437" y="643"/>
                  <a:pt x="1437" y="644"/>
                  <a:pt x="1437" y="644"/>
                </a:cubicBezTo>
                <a:lnTo>
                  <a:pt x="1434" y="642"/>
                </a:lnTo>
                <a:cubicBezTo>
                  <a:pt x="1433" y="642"/>
                  <a:pt x="1433" y="645"/>
                  <a:pt x="1432" y="650"/>
                </a:cubicBezTo>
                <a:cubicBezTo>
                  <a:pt x="1432" y="652"/>
                  <a:pt x="1432" y="653"/>
                  <a:pt x="1431" y="655"/>
                </a:cubicBezTo>
                <a:cubicBezTo>
                  <a:pt x="1431" y="657"/>
                  <a:pt x="1430" y="658"/>
                  <a:pt x="1429" y="658"/>
                </a:cubicBezTo>
                <a:lnTo>
                  <a:pt x="1429" y="657"/>
                </a:lnTo>
                <a:lnTo>
                  <a:pt x="1430" y="652"/>
                </a:lnTo>
                <a:cubicBezTo>
                  <a:pt x="1429" y="652"/>
                  <a:pt x="1427" y="655"/>
                  <a:pt x="1423" y="662"/>
                </a:cubicBezTo>
                <a:cubicBezTo>
                  <a:pt x="1418" y="669"/>
                  <a:pt x="1411" y="679"/>
                  <a:pt x="1401" y="690"/>
                </a:cubicBezTo>
                <a:cubicBezTo>
                  <a:pt x="1391" y="701"/>
                  <a:pt x="1386" y="708"/>
                  <a:pt x="1385" y="710"/>
                </a:cubicBezTo>
                <a:cubicBezTo>
                  <a:pt x="1384" y="712"/>
                  <a:pt x="1383" y="713"/>
                  <a:pt x="1381" y="713"/>
                </a:cubicBezTo>
                <a:cubicBezTo>
                  <a:pt x="1381" y="713"/>
                  <a:pt x="1380" y="713"/>
                  <a:pt x="1380" y="712"/>
                </a:cubicBezTo>
                <a:cubicBezTo>
                  <a:pt x="1380" y="711"/>
                  <a:pt x="1381" y="710"/>
                  <a:pt x="1383" y="708"/>
                </a:cubicBezTo>
                <a:cubicBezTo>
                  <a:pt x="1387" y="703"/>
                  <a:pt x="1389" y="700"/>
                  <a:pt x="1389" y="699"/>
                </a:cubicBezTo>
                <a:lnTo>
                  <a:pt x="1388" y="699"/>
                </a:lnTo>
                <a:cubicBezTo>
                  <a:pt x="1388" y="699"/>
                  <a:pt x="1386" y="700"/>
                  <a:pt x="1383" y="703"/>
                </a:cubicBezTo>
                <a:cubicBezTo>
                  <a:pt x="1379" y="707"/>
                  <a:pt x="1376" y="709"/>
                  <a:pt x="1374" y="709"/>
                </a:cubicBezTo>
                <a:lnTo>
                  <a:pt x="1373" y="709"/>
                </a:lnTo>
                <a:lnTo>
                  <a:pt x="1374" y="710"/>
                </a:lnTo>
                <a:cubicBezTo>
                  <a:pt x="1374" y="712"/>
                  <a:pt x="1373" y="713"/>
                  <a:pt x="1372" y="714"/>
                </a:cubicBezTo>
                <a:cubicBezTo>
                  <a:pt x="1371" y="717"/>
                  <a:pt x="1369" y="720"/>
                  <a:pt x="1369" y="726"/>
                </a:cubicBezTo>
                <a:lnTo>
                  <a:pt x="1369" y="730"/>
                </a:lnTo>
                <a:cubicBezTo>
                  <a:pt x="1369" y="731"/>
                  <a:pt x="1369" y="732"/>
                  <a:pt x="1369" y="732"/>
                </a:cubicBezTo>
                <a:close/>
                <a:moveTo>
                  <a:pt x="1420" y="704"/>
                </a:moveTo>
                <a:cubicBezTo>
                  <a:pt x="1421" y="704"/>
                  <a:pt x="1421" y="704"/>
                  <a:pt x="1423" y="703"/>
                </a:cubicBezTo>
                <a:lnTo>
                  <a:pt x="1419" y="702"/>
                </a:lnTo>
                <a:lnTo>
                  <a:pt x="1419" y="704"/>
                </a:lnTo>
                <a:lnTo>
                  <a:pt x="1420" y="704"/>
                </a:lnTo>
                <a:close/>
                <a:moveTo>
                  <a:pt x="1381" y="747"/>
                </a:moveTo>
                <a:cubicBezTo>
                  <a:pt x="1381" y="747"/>
                  <a:pt x="1381" y="747"/>
                  <a:pt x="1382" y="746"/>
                </a:cubicBezTo>
                <a:cubicBezTo>
                  <a:pt x="1382" y="746"/>
                  <a:pt x="1383" y="746"/>
                  <a:pt x="1383" y="746"/>
                </a:cubicBezTo>
                <a:cubicBezTo>
                  <a:pt x="1388" y="742"/>
                  <a:pt x="1391" y="740"/>
                  <a:pt x="1392" y="738"/>
                </a:cubicBezTo>
                <a:cubicBezTo>
                  <a:pt x="1394" y="735"/>
                  <a:pt x="1399" y="730"/>
                  <a:pt x="1407" y="723"/>
                </a:cubicBezTo>
                <a:cubicBezTo>
                  <a:pt x="1415" y="715"/>
                  <a:pt x="1419" y="711"/>
                  <a:pt x="1419" y="710"/>
                </a:cubicBezTo>
                <a:lnTo>
                  <a:pt x="1418" y="710"/>
                </a:lnTo>
                <a:cubicBezTo>
                  <a:pt x="1418" y="710"/>
                  <a:pt x="1417" y="709"/>
                  <a:pt x="1417" y="706"/>
                </a:cubicBezTo>
                <a:lnTo>
                  <a:pt x="1418" y="705"/>
                </a:lnTo>
                <a:lnTo>
                  <a:pt x="1417" y="705"/>
                </a:lnTo>
                <a:cubicBezTo>
                  <a:pt x="1416" y="705"/>
                  <a:pt x="1415" y="706"/>
                  <a:pt x="1413" y="709"/>
                </a:cubicBezTo>
                <a:cubicBezTo>
                  <a:pt x="1410" y="712"/>
                  <a:pt x="1408" y="714"/>
                  <a:pt x="1407" y="714"/>
                </a:cubicBezTo>
                <a:lnTo>
                  <a:pt x="1406" y="713"/>
                </a:lnTo>
                <a:cubicBezTo>
                  <a:pt x="1406" y="712"/>
                  <a:pt x="1408" y="710"/>
                  <a:pt x="1411" y="706"/>
                </a:cubicBezTo>
                <a:cubicBezTo>
                  <a:pt x="1413" y="705"/>
                  <a:pt x="1414" y="704"/>
                  <a:pt x="1415" y="702"/>
                </a:cubicBezTo>
                <a:lnTo>
                  <a:pt x="1416" y="699"/>
                </a:lnTo>
                <a:lnTo>
                  <a:pt x="1416" y="697"/>
                </a:lnTo>
                <a:cubicBezTo>
                  <a:pt x="1416" y="697"/>
                  <a:pt x="1417" y="697"/>
                  <a:pt x="1417" y="697"/>
                </a:cubicBezTo>
                <a:cubicBezTo>
                  <a:pt x="1418" y="697"/>
                  <a:pt x="1419" y="698"/>
                  <a:pt x="1421" y="701"/>
                </a:cubicBezTo>
                <a:lnTo>
                  <a:pt x="1423" y="703"/>
                </a:lnTo>
                <a:cubicBezTo>
                  <a:pt x="1425" y="702"/>
                  <a:pt x="1427" y="700"/>
                  <a:pt x="1429" y="696"/>
                </a:cubicBezTo>
                <a:cubicBezTo>
                  <a:pt x="1431" y="693"/>
                  <a:pt x="1431" y="691"/>
                  <a:pt x="1431" y="688"/>
                </a:cubicBezTo>
                <a:lnTo>
                  <a:pt x="1431" y="686"/>
                </a:lnTo>
                <a:cubicBezTo>
                  <a:pt x="1431" y="686"/>
                  <a:pt x="1431" y="686"/>
                  <a:pt x="1432" y="686"/>
                </a:cubicBezTo>
                <a:lnTo>
                  <a:pt x="1434" y="686"/>
                </a:lnTo>
                <a:cubicBezTo>
                  <a:pt x="1435" y="686"/>
                  <a:pt x="1437" y="685"/>
                  <a:pt x="1438" y="682"/>
                </a:cubicBezTo>
                <a:cubicBezTo>
                  <a:pt x="1439" y="679"/>
                  <a:pt x="1440" y="676"/>
                  <a:pt x="1441" y="673"/>
                </a:cubicBezTo>
                <a:lnTo>
                  <a:pt x="1442" y="670"/>
                </a:lnTo>
                <a:cubicBezTo>
                  <a:pt x="1442" y="670"/>
                  <a:pt x="1441" y="670"/>
                  <a:pt x="1441" y="670"/>
                </a:cubicBezTo>
                <a:cubicBezTo>
                  <a:pt x="1441" y="670"/>
                  <a:pt x="1439" y="671"/>
                  <a:pt x="1438" y="674"/>
                </a:cubicBezTo>
                <a:cubicBezTo>
                  <a:pt x="1436" y="677"/>
                  <a:pt x="1434" y="680"/>
                  <a:pt x="1434" y="682"/>
                </a:cubicBezTo>
                <a:lnTo>
                  <a:pt x="1434" y="683"/>
                </a:lnTo>
                <a:cubicBezTo>
                  <a:pt x="1434" y="684"/>
                  <a:pt x="1434" y="685"/>
                  <a:pt x="1434" y="685"/>
                </a:cubicBezTo>
                <a:lnTo>
                  <a:pt x="1433" y="684"/>
                </a:lnTo>
                <a:cubicBezTo>
                  <a:pt x="1432" y="684"/>
                  <a:pt x="1431" y="685"/>
                  <a:pt x="1429" y="686"/>
                </a:cubicBezTo>
                <a:cubicBezTo>
                  <a:pt x="1428" y="687"/>
                  <a:pt x="1428" y="688"/>
                  <a:pt x="1427" y="690"/>
                </a:cubicBezTo>
                <a:cubicBezTo>
                  <a:pt x="1426" y="691"/>
                  <a:pt x="1425" y="692"/>
                  <a:pt x="1425" y="693"/>
                </a:cubicBezTo>
                <a:cubicBezTo>
                  <a:pt x="1425" y="694"/>
                  <a:pt x="1426" y="694"/>
                  <a:pt x="1426" y="695"/>
                </a:cubicBezTo>
                <a:cubicBezTo>
                  <a:pt x="1426" y="695"/>
                  <a:pt x="1426" y="696"/>
                  <a:pt x="1426" y="696"/>
                </a:cubicBezTo>
                <a:lnTo>
                  <a:pt x="1423" y="695"/>
                </a:lnTo>
                <a:lnTo>
                  <a:pt x="1424" y="699"/>
                </a:lnTo>
                <a:lnTo>
                  <a:pt x="1422" y="697"/>
                </a:lnTo>
                <a:cubicBezTo>
                  <a:pt x="1419" y="694"/>
                  <a:pt x="1417" y="693"/>
                  <a:pt x="1415" y="693"/>
                </a:cubicBezTo>
                <a:cubicBezTo>
                  <a:pt x="1412" y="693"/>
                  <a:pt x="1410" y="695"/>
                  <a:pt x="1409" y="700"/>
                </a:cubicBezTo>
                <a:lnTo>
                  <a:pt x="1409" y="703"/>
                </a:lnTo>
                <a:cubicBezTo>
                  <a:pt x="1409" y="703"/>
                  <a:pt x="1409" y="703"/>
                  <a:pt x="1409" y="703"/>
                </a:cubicBezTo>
                <a:lnTo>
                  <a:pt x="1408" y="703"/>
                </a:lnTo>
                <a:cubicBezTo>
                  <a:pt x="1406" y="703"/>
                  <a:pt x="1405" y="703"/>
                  <a:pt x="1404" y="705"/>
                </a:cubicBezTo>
                <a:cubicBezTo>
                  <a:pt x="1401" y="708"/>
                  <a:pt x="1400" y="712"/>
                  <a:pt x="1400" y="715"/>
                </a:cubicBezTo>
                <a:cubicBezTo>
                  <a:pt x="1399" y="717"/>
                  <a:pt x="1398" y="718"/>
                  <a:pt x="1397" y="718"/>
                </a:cubicBezTo>
                <a:lnTo>
                  <a:pt x="1397" y="718"/>
                </a:lnTo>
                <a:cubicBezTo>
                  <a:pt x="1395" y="718"/>
                  <a:pt x="1394" y="718"/>
                  <a:pt x="1394" y="718"/>
                </a:cubicBezTo>
                <a:lnTo>
                  <a:pt x="1395" y="719"/>
                </a:lnTo>
                <a:cubicBezTo>
                  <a:pt x="1395" y="719"/>
                  <a:pt x="1395" y="720"/>
                  <a:pt x="1395" y="720"/>
                </a:cubicBezTo>
                <a:cubicBezTo>
                  <a:pt x="1395" y="721"/>
                  <a:pt x="1394" y="723"/>
                  <a:pt x="1393" y="725"/>
                </a:cubicBezTo>
                <a:lnTo>
                  <a:pt x="1392" y="727"/>
                </a:lnTo>
                <a:cubicBezTo>
                  <a:pt x="1392" y="727"/>
                  <a:pt x="1394" y="725"/>
                  <a:pt x="1397" y="721"/>
                </a:cubicBezTo>
                <a:lnTo>
                  <a:pt x="1402" y="716"/>
                </a:lnTo>
                <a:lnTo>
                  <a:pt x="1406" y="715"/>
                </a:lnTo>
                <a:cubicBezTo>
                  <a:pt x="1406" y="716"/>
                  <a:pt x="1401" y="723"/>
                  <a:pt x="1391" y="734"/>
                </a:cubicBezTo>
                <a:cubicBezTo>
                  <a:pt x="1384" y="741"/>
                  <a:pt x="1381" y="746"/>
                  <a:pt x="1381" y="747"/>
                </a:cubicBezTo>
                <a:close/>
                <a:moveTo>
                  <a:pt x="1445" y="674"/>
                </a:moveTo>
                <a:lnTo>
                  <a:pt x="1446" y="672"/>
                </a:lnTo>
                <a:cubicBezTo>
                  <a:pt x="1447" y="672"/>
                  <a:pt x="1447" y="671"/>
                  <a:pt x="1447" y="670"/>
                </a:cubicBezTo>
                <a:lnTo>
                  <a:pt x="1447" y="669"/>
                </a:lnTo>
                <a:lnTo>
                  <a:pt x="1447" y="668"/>
                </a:lnTo>
                <a:cubicBezTo>
                  <a:pt x="1447" y="667"/>
                  <a:pt x="1448" y="666"/>
                  <a:pt x="1449" y="666"/>
                </a:cubicBezTo>
                <a:cubicBezTo>
                  <a:pt x="1450" y="665"/>
                  <a:pt x="1451" y="664"/>
                  <a:pt x="1451" y="663"/>
                </a:cubicBezTo>
                <a:cubicBezTo>
                  <a:pt x="1451" y="662"/>
                  <a:pt x="1451" y="661"/>
                  <a:pt x="1450" y="659"/>
                </a:cubicBezTo>
                <a:cubicBezTo>
                  <a:pt x="1449" y="658"/>
                  <a:pt x="1448" y="658"/>
                  <a:pt x="1446" y="658"/>
                </a:cubicBezTo>
                <a:cubicBezTo>
                  <a:pt x="1446" y="658"/>
                  <a:pt x="1445" y="659"/>
                  <a:pt x="1444" y="660"/>
                </a:cubicBezTo>
                <a:cubicBezTo>
                  <a:pt x="1444" y="662"/>
                  <a:pt x="1443" y="663"/>
                  <a:pt x="1443" y="665"/>
                </a:cubicBezTo>
                <a:cubicBezTo>
                  <a:pt x="1443" y="666"/>
                  <a:pt x="1444" y="668"/>
                  <a:pt x="1444" y="668"/>
                </a:cubicBezTo>
                <a:cubicBezTo>
                  <a:pt x="1445" y="669"/>
                  <a:pt x="1445" y="669"/>
                  <a:pt x="1445" y="670"/>
                </a:cubicBezTo>
                <a:cubicBezTo>
                  <a:pt x="1445" y="671"/>
                  <a:pt x="1445" y="671"/>
                  <a:pt x="1445" y="672"/>
                </a:cubicBezTo>
                <a:lnTo>
                  <a:pt x="1444" y="673"/>
                </a:lnTo>
                <a:cubicBezTo>
                  <a:pt x="1444" y="673"/>
                  <a:pt x="1445" y="674"/>
                  <a:pt x="1445" y="674"/>
                </a:cubicBezTo>
                <a:close/>
                <a:moveTo>
                  <a:pt x="1420" y="543"/>
                </a:moveTo>
                <a:cubicBezTo>
                  <a:pt x="1419" y="543"/>
                  <a:pt x="1418" y="542"/>
                  <a:pt x="1416" y="540"/>
                </a:cubicBezTo>
                <a:cubicBezTo>
                  <a:pt x="1416" y="539"/>
                  <a:pt x="1415" y="539"/>
                  <a:pt x="1415" y="538"/>
                </a:cubicBezTo>
                <a:cubicBezTo>
                  <a:pt x="1415" y="537"/>
                  <a:pt x="1416" y="537"/>
                  <a:pt x="1418" y="537"/>
                </a:cubicBezTo>
                <a:cubicBezTo>
                  <a:pt x="1420" y="537"/>
                  <a:pt x="1421" y="538"/>
                  <a:pt x="1421" y="540"/>
                </a:cubicBezTo>
                <a:cubicBezTo>
                  <a:pt x="1421" y="542"/>
                  <a:pt x="1421" y="543"/>
                  <a:pt x="1420" y="543"/>
                </a:cubicBezTo>
                <a:close/>
                <a:moveTo>
                  <a:pt x="1374" y="637"/>
                </a:moveTo>
                <a:lnTo>
                  <a:pt x="1372" y="637"/>
                </a:lnTo>
                <a:cubicBezTo>
                  <a:pt x="1371" y="636"/>
                  <a:pt x="1370" y="635"/>
                  <a:pt x="1370" y="634"/>
                </a:cubicBezTo>
                <a:lnTo>
                  <a:pt x="1371" y="633"/>
                </a:lnTo>
                <a:cubicBezTo>
                  <a:pt x="1371" y="633"/>
                  <a:pt x="1371" y="634"/>
                  <a:pt x="1372" y="635"/>
                </a:cubicBezTo>
                <a:cubicBezTo>
                  <a:pt x="1374" y="636"/>
                  <a:pt x="1374" y="636"/>
                  <a:pt x="1374" y="637"/>
                </a:cubicBezTo>
                <a:close/>
                <a:moveTo>
                  <a:pt x="1401" y="713"/>
                </a:moveTo>
                <a:cubicBezTo>
                  <a:pt x="1401" y="713"/>
                  <a:pt x="1401" y="713"/>
                  <a:pt x="1401" y="712"/>
                </a:cubicBezTo>
                <a:cubicBezTo>
                  <a:pt x="1401" y="711"/>
                  <a:pt x="1402" y="710"/>
                  <a:pt x="1405" y="708"/>
                </a:cubicBezTo>
                <a:lnTo>
                  <a:pt x="1407" y="706"/>
                </a:lnTo>
                <a:cubicBezTo>
                  <a:pt x="1407" y="706"/>
                  <a:pt x="1406" y="708"/>
                  <a:pt x="1405" y="710"/>
                </a:cubicBezTo>
                <a:cubicBezTo>
                  <a:pt x="1403" y="712"/>
                  <a:pt x="1402" y="713"/>
                  <a:pt x="1401" y="713"/>
                </a:cubicBezTo>
                <a:close/>
                <a:moveTo>
                  <a:pt x="1354" y="649"/>
                </a:moveTo>
                <a:cubicBezTo>
                  <a:pt x="1351" y="649"/>
                  <a:pt x="1349" y="647"/>
                  <a:pt x="1349" y="645"/>
                </a:cubicBezTo>
                <a:cubicBezTo>
                  <a:pt x="1349" y="644"/>
                  <a:pt x="1349" y="643"/>
                  <a:pt x="1349" y="643"/>
                </a:cubicBezTo>
                <a:cubicBezTo>
                  <a:pt x="1350" y="643"/>
                  <a:pt x="1350" y="642"/>
                  <a:pt x="1350" y="642"/>
                </a:cubicBezTo>
                <a:cubicBezTo>
                  <a:pt x="1350" y="642"/>
                  <a:pt x="1351" y="642"/>
                  <a:pt x="1352" y="642"/>
                </a:cubicBezTo>
                <a:cubicBezTo>
                  <a:pt x="1352" y="643"/>
                  <a:pt x="1354" y="644"/>
                  <a:pt x="1355" y="645"/>
                </a:cubicBezTo>
                <a:cubicBezTo>
                  <a:pt x="1356" y="647"/>
                  <a:pt x="1356" y="647"/>
                  <a:pt x="1356" y="648"/>
                </a:cubicBezTo>
                <a:cubicBezTo>
                  <a:pt x="1356" y="649"/>
                  <a:pt x="1356" y="649"/>
                  <a:pt x="1354" y="649"/>
                </a:cubicBezTo>
                <a:close/>
                <a:moveTo>
                  <a:pt x="1408" y="720"/>
                </a:moveTo>
                <a:cubicBezTo>
                  <a:pt x="1408" y="718"/>
                  <a:pt x="1409" y="717"/>
                  <a:pt x="1411" y="714"/>
                </a:cubicBezTo>
                <a:cubicBezTo>
                  <a:pt x="1414" y="711"/>
                  <a:pt x="1415" y="710"/>
                  <a:pt x="1415" y="710"/>
                </a:cubicBezTo>
                <a:lnTo>
                  <a:pt x="1416" y="711"/>
                </a:lnTo>
                <a:lnTo>
                  <a:pt x="1413" y="715"/>
                </a:lnTo>
                <a:cubicBezTo>
                  <a:pt x="1410" y="718"/>
                  <a:pt x="1408" y="720"/>
                  <a:pt x="1408" y="720"/>
                </a:cubicBezTo>
                <a:close/>
                <a:moveTo>
                  <a:pt x="1406" y="671"/>
                </a:moveTo>
                <a:lnTo>
                  <a:pt x="1405" y="671"/>
                </a:lnTo>
                <a:lnTo>
                  <a:pt x="1408" y="667"/>
                </a:lnTo>
                <a:cubicBezTo>
                  <a:pt x="1411" y="664"/>
                  <a:pt x="1413" y="662"/>
                  <a:pt x="1413" y="662"/>
                </a:cubicBezTo>
                <a:cubicBezTo>
                  <a:pt x="1413" y="663"/>
                  <a:pt x="1412" y="665"/>
                  <a:pt x="1410" y="667"/>
                </a:cubicBezTo>
                <a:cubicBezTo>
                  <a:pt x="1407" y="670"/>
                  <a:pt x="1406" y="671"/>
                  <a:pt x="1406" y="671"/>
                </a:cubicBezTo>
                <a:close/>
                <a:moveTo>
                  <a:pt x="1371" y="633"/>
                </a:moveTo>
                <a:lnTo>
                  <a:pt x="1370" y="633"/>
                </a:lnTo>
                <a:lnTo>
                  <a:pt x="1371" y="633"/>
                </a:lnTo>
                <a:close/>
                <a:moveTo>
                  <a:pt x="1531" y="753"/>
                </a:moveTo>
                <a:cubicBezTo>
                  <a:pt x="1529" y="753"/>
                  <a:pt x="1528" y="753"/>
                  <a:pt x="1528" y="753"/>
                </a:cubicBezTo>
                <a:cubicBezTo>
                  <a:pt x="1528" y="752"/>
                  <a:pt x="1529" y="752"/>
                  <a:pt x="1530" y="751"/>
                </a:cubicBezTo>
                <a:cubicBezTo>
                  <a:pt x="1531" y="750"/>
                  <a:pt x="1532" y="750"/>
                  <a:pt x="1532" y="749"/>
                </a:cubicBezTo>
                <a:cubicBezTo>
                  <a:pt x="1532" y="749"/>
                  <a:pt x="1532" y="748"/>
                  <a:pt x="1530" y="748"/>
                </a:cubicBezTo>
                <a:cubicBezTo>
                  <a:pt x="1529" y="747"/>
                  <a:pt x="1528" y="747"/>
                  <a:pt x="1528" y="747"/>
                </a:cubicBezTo>
                <a:lnTo>
                  <a:pt x="1531" y="746"/>
                </a:lnTo>
                <a:cubicBezTo>
                  <a:pt x="1532" y="746"/>
                  <a:pt x="1532" y="746"/>
                  <a:pt x="1532" y="746"/>
                </a:cubicBezTo>
                <a:cubicBezTo>
                  <a:pt x="1532" y="745"/>
                  <a:pt x="1532" y="745"/>
                  <a:pt x="1530" y="744"/>
                </a:cubicBezTo>
                <a:cubicBezTo>
                  <a:pt x="1529" y="743"/>
                  <a:pt x="1528" y="742"/>
                  <a:pt x="1528" y="742"/>
                </a:cubicBezTo>
                <a:lnTo>
                  <a:pt x="1531" y="742"/>
                </a:lnTo>
                <a:cubicBezTo>
                  <a:pt x="1533" y="742"/>
                  <a:pt x="1534" y="743"/>
                  <a:pt x="1534" y="746"/>
                </a:cubicBezTo>
                <a:cubicBezTo>
                  <a:pt x="1534" y="751"/>
                  <a:pt x="1533" y="753"/>
                  <a:pt x="1531" y="753"/>
                </a:cubicBezTo>
                <a:close/>
                <a:moveTo>
                  <a:pt x="1555" y="810"/>
                </a:moveTo>
                <a:cubicBezTo>
                  <a:pt x="1551" y="810"/>
                  <a:pt x="1547" y="810"/>
                  <a:pt x="1543" y="808"/>
                </a:cubicBezTo>
                <a:cubicBezTo>
                  <a:pt x="1538" y="807"/>
                  <a:pt x="1534" y="803"/>
                  <a:pt x="1529" y="796"/>
                </a:cubicBezTo>
                <a:cubicBezTo>
                  <a:pt x="1524" y="789"/>
                  <a:pt x="1521" y="784"/>
                  <a:pt x="1519" y="778"/>
                </a:cubicBezTo>
                <a:cubicBezTo>
                  <a:pt x="1518" y="773"/>
                  <a:pt x="1517" y="765"/>
                  <a:pt x="1517" y="756"/>
                </a:cubicBezTo>
                <a:cubicBezTo>
                  <a:pt x="1517" y="735"/>
                  <a:pt x="1519" y="710"/>
                  <a:pt x="1523" y="679"/>
                </a:cubicBezTo>
                <a:cubicBezTo>
                  <a:pt x="1528" y="647"/>
                  <a:pt x="1533" y="619"/>
                  <a:pt x="1540" y="593"/>
                </a:cubicBezTo>
                <a:lnTo>
                  <a:pt x="1541" y="592"/>
                </a:lnTo>
                <a:cubicBezTo>
                  <a:pt x="1541" y="589"/>
                  <a:pt x="1542" y="586"/>
                  <a:pt x="1542" y="583"/>
                </a:cubicBezTo>
                <a:cubicBezTo>
                  <a:pt x="1542" y="580"/>
                  <a:pt x="1542" y="579"/>
                  <a:pt x="1543" y="579"/>
                </a:cubicBezTo>
                <a:cubicBezTo>
                  <a:pt x="1544" y="579"/>
                  <a:pt x="1545" y="578"/>
                  <a:pt x="1545" y="577"/>
                </a:cubicBezTo>
                <a:lnTo>
                  <a:pt x="1544" y="573"/>
                </a:lnTo>
                <a:cubicBezTo>
                  <a:pt x="1544" y="571"/>
                  <a:pt x="1544" y="570"/>
                  <a:pt x="1545" y="570"/>
                </a:cubicBezTo>
                <a:cubicBezTo>
                  <a:pt x="1546" y="570"/>
                  <a:pt x="1546" y="569"/>
                  <a:pt x="1546" y="568"/>
                </a:cubicBezTo>
                <a:lnTo>
                  <a:pt x="1546" y="566"/>
                </a:lnTo>
                <a:cubicBezTo>
                  <a:pt x="1546" y="564"/>
                  <a:pt x="1547" y="563"/>
                  <a:pt x="1549" y="563"/>
                </a:cubicBezTo>
                <a:cubicBezTo>
                  <a:pt x="1550" y="563"/>
                  <a:pt x="1551" y="562"/>
                  <a:pt x="1551" y="562"/>
                </a:cubicBezTo>
                <a:lnTo>
                  <a:pt x="1550" y="561"/>
                </a:lnTo>
                <a:cubicBezTo>
                  <a:pt x="1550" y="561"/>
                  <a:pt x="1549" y="560"/>
                  <a:pt x="1548" y="559"/>
                </a:cubicBezTo>
                <a:cubicBezTo>
                  <a:pt x="1548" y="558"/>
                  <a:pt x="1547" y="558"/>
                  <a:pt x="1547" y="557"/>
                </a:cubicBezTo>
                <a:cubicBezTo>
                  <a:pt x="1547" y="555"/>
                  <a:pt x="1548" y="554"/>
                  <a:pt x="1550" y="554"/>
                </a:cubicBezTo>
                <a:cubicBezTo>
                  <a:pt x="1552" y="555"/>
                  <a:pt x="1553" y="556"/>
                  <a:pt x="1553" y="558"/>
                </a:cubicBezTo>
                <a:cubicBezTo>
                  <a:pt x="1553" y="562"/>
                  <a:pt x="1550" y="573"/>
                  <a:pt x="1545" y="590"/>
                </a:cubicBezTo>
                <a:cubicBezTo>
                  <a:pt x="1538" y="618"/>
                  <a:pt x="1533" y="646"/>
                  <a:pt x="1528" y="674"/>
                </a:cubicBezTo>
                <a:cubicBezTo>
                  <a:pt x="1524" y="703"/>
                  <a:pt x="1522" y="726"/>
                  <a:pt x="1522" y="744"/>
                </a:cubicBezTo>
                <a:cubicBezTo>
                  <a:pt x="1522" y="750"/>
                  <a:pt x="1523" y="755"/>
                  <a:pt x="1523" y="760"/>
                </a:cubicBezTo>
                <a:cubicBezTo>
                  <a:pt x="1525" y="772"/>
                  <a:pt x="1526" y="778"/>
                  <a:pt x="1527" y="778"/>
                </a:cubicBezTo>
                <a:cubicBezTo>
                  <a:pt x="1528" y="778"/>
                  <a:pt x="1528" y="777"/>
                  <a:pt x="1528" y="774"/>
                </a:cubicBezTo>
                <a:cubicBezTo>
                  <a:pt x="1528" y="772"/>
                  <a:pt x="1529" y="770"/>
                  <a:pt x="1530" y="767"/>
                </a:cubicBezTo>
                <a:lnTo>
                  <a:pt x="1530" y="765"/>
                </a:lnTo>
                <a:lnTo>
                  <a:pt x="1531" y="768"/>
                </a:lnTo>
                <a:cubicBezTo>
                  <a:pt x="1532" y="770"/>
                  <a:pt x="1532" y="773"/>
                  <a:pt x="1533" y="776"/>
                </a:cubicBezTo>
                <a:cubicBezTo>
                  <a:pt x="1534" y="779"/>
                  <a:pt x="1535" y="782"/>
                  <a:pt x="1536" y="785"/>
                </a:cubicBezTo>
                <a:cubicBezTo>
                  <a:pt x="1537" y="787"/>
                  <a:pt x="1538" y="789"/>
                  <a:pt x="1538" y="789"/>
                </a:cubicBezTo>
                <a:cubicBezTo>
                  <a:pt x="1540" y="789"/>
                  <a:pt x="1540" y="789"/>
                  <a:pt x="1540" y="788"/>
                </a:cubicBezTo>
                <a:lnTo>
                  <a:pt x="1540" y="784"/>
                </a:lnTo>
                <a:cubicBezTo>
                  <a:pt x="1538" y="780"/>
                  <a:pt x="1538" y="768"/>
                  <a:pt x="1538" y="749"/>
                </a:cubicBezTo>
                <a:cubicBezTo>
                  <a:pt x="1538" y="730"/>
                  <a:pt x="1537" y="721"/>
                  <a:pt x="1536" y="721"/>
                </a:cubicBezTo>
                <a:cubicBezTo>
                  <a:pt x="1535" y="721"/>
                  <a:pt x="1534" y="726"/>
                  <a:pt x="1534" y="735"/>
                </a:cubicBezTo>
                <a:cubicBezTo>
                  <a:pt x="1534" y="736"/>
                  <a:pt x="1534" y="737"/>
                  <a:pt x="1533" y="737"/>
                </a:cubicBezTo>
                <a:cubicBezTo>
                  <a:pt x="1532" y="738"/>
                  <a:pt x="1532" y="739"/>
                  <a:pt x="1531" y="739"/>
                </a:cubicBezTo>
                <a:cubicBezTo>
                  <a:pt x="1530" y="739"/>
                  <a:pt x="1529" y="738"/>
                  <a:pt x="1529" y="736"/>
                </a:cubicBezTo>
                <a:cubicBezTo>
                  <a:pt x="1529" y="733"/>
                  <a:pt x="1531" y="719"/>
                  <a:pt x="1534" y="693"/>
                </a:cubicBezTo>
                <a:cubicBezTo>
                  <a:pt x="1538" y="665"/>
                  <a:pt x="1540" y="650"/>
                  <a:pt x="1541" y="648"/>
                </a:cubicBezTo>
                <a:cubicBezTo>
                  <a:pt x="1542" y="647"/>
                  <a:pt x="1542" y="644"/>
                  <a:pt x="1542" y="641"/>
                </a:cubicBezTo>
                <a:cubicBezTo>
                  <a:pt x="1543" y="631"/>
                  <a:pt x="1545" y="616"/>
                  <a:pt x="1550" y="597"/>
                </a:cubicBezTo>
                <a:cubicBezTo>
                  <a:pt x="1555" y="577"/>
                  <a:pt x="1560" y="559"/>
                  <a:pt x="1567" y="542"/>
                </a:cubicBezTo>
                <a:cubicBezTo>
                  <a:pt x="1572" y="528"/>
                  <a:pt x="1574" y="519"/>
                  <a:pt x="1574" y="514"/>
                </a:cubicBezTo>
                <a:cubicBezTo>
                  <a:pt x="1574" y="510"/>
                  <a:pt x="1575" y="508"/>
                  <a:pt x="1576" y="508"/>
                </a:cubicBezTo>
                <a:cubicBezTo>
                  <a:pt x="1577" y="508"/>
                  <a:pt x="1578" y="508"/>
                  <a:pt x="1578" y="509"/>
                </a:cubicBezTo>
                <a:cubicBezTo>
                  <a:pt x="1578" y="511"/>
                  <a:pt x="1578" y="512"/>
                  <a:pt x="1579" y="512"/>
                </a:cubicBezTo>
                <a:cubicBezTo>
                  <a:pt x="1579" y="512"/>
                  <a:pt x="1580" y="511"/>
                  <a:pt x="1580" y="510"/>
                </a:cubicBezTo>
                <a:cubicBezTo>
                  <a:pt x="1581" y="509"/>
                  <a:pt x="1584" y="509"/>
                  <a:pt x="1587" y="509"/>
                </a:cubicBezTo>
                <a:cubicBezTo>
                  <a:pt x="1589" y="509"/>
                  <a:pt x="1590" y="509"/>
                  <a:pt x="1590" y="509"/>
                </a:cubicBezTo>
                <a:cubicBezTo>
                  <a:pt x="1590" y="508"/>
                  <a:pt x="1589" y="507"/>
                  <a:pt x="1589" y="506"/>
                </a:cubicBezTo>
                <a:cubicBezTo>
                  <a:pt x="1588" y="505"/>
                  <a:pt x="1587" y="504"/>
                  <a:pt x="1587" y="503"/>
                </a:cubicBezTo>
                <a:cubicBezTo>
                  <a:pt x="1587" y="502"/>
                  <a:pt x="1588" y="502"/>
                  <a:pt x="1589" y="502"/>
                </a:cubicBezTo>
                <a:cubicBezTo>
                  <a:pt x="1592" y="502"/>
                  <a:pt x="1597" y="505"/>
                  <a:pt x="1601" y="509"/>
                </a:cubicBezTo>
                <a:cubicBezTo>
                  <a:pt x="1602" y="510"/>
                  <a:pt x="1603" y="511"/>
                  <a:pt x="1603" y="512"/>
                </a:cubicBezTo>
                <a:cubicBezTo>
                  <a:pt x="1605" y="513"/>
                  <a:pt x="1607" y="514"/>
                  <a:pt x="1608" y="515"/>
                </a:cubicBezTo>
                <a:cubicBezTo>
                  <a:pt x="1608" y="515"/>
                  <a:pt x="1609" y="516"/>
                  <a:pt x="1609" y="517"/>
                </a:cubicBezTo>
                <a:cubicBezTo>
                  <a:pt x="1609" y="521"/>
                  <a:pt x="1603" y="538"/>
                  <a:pt x="1592" y="570"/>
                </a:cubicBezTo>
                <a:cubicBezTo>
                  <a:pt x="1590" y="577"/>
                  <a:pt x="1588" y="581"/>
                  <a:pt x="1587" y="584"/>
                </a:cubicBezTo>
                <a:cubicBezTo>
                  <a:pt x="1587" y="588"/>
                  <a:pt x="1585" y="593"/>
                  <a:pt x="1585" y="600"/>
                </a:cubicBezTo>
                <a:cubicBezTo>
                  <a:pt x="1584" y="603"/>
                  <a:pt x="1584" y="604"/>
                  <a:pt x="1584" y="606"/>
                </a:cubicBezTo>
                <a:cubicBezTo>
                  <a:pt x="1583" y="607"/>
                  <a:pt x="1583" y="609"/>
                  <a:pt x="1582" y="610"/>
                </a:cubicBezTo>
                <a:cubicBezTo>
                  <a:pt x="1582" y="612"/>
                  <a:pt x="1582" y="614"/>
                  <a:pt x="1581" y="617"/>
                </a:cubicBezTo>
                <a:cubicBezTo>
                  <a:pt x="1581" y="619"/>
                  <a:pt x="1580" y="622"/>
                  <a:pt x="1579" y="627"/>
                </a:cubicBezTo>
                <a:lnTo>
                  <a:pt x="1578" y="632"/>
                </a:lnTo>
                <a:cubicBezTo>
                  <a:pt x="1577" y="636"/>
                  <a:pt x="1576" y="642"/>
                  <a:pt x="1575" y="650"/>
                </a:cubicBezTo>
                <a:cubicBezTo>
                  <a:pt x="1574" y="652"/>
                  <a:pt x="1573" y="654"/>
                  <a:pt x="1573" y="656"/>
                </a:cubicBezTo>
                <a:cubicBezTo>
                  <a:pt x="1573" y="657"/>
                  <a:pt x="1573" y="659"/>
                  <a:pt x="1572" y="660"/>
                </a:cubicBezTo>
                <a:cubicBezTo>
                  <a:pt x="1572" y="662"/>
                  <a:pt x="1572" y="663"/>
                  <a:pt x="1572" y="665"/>
                </a:cubicBezTo>
                <a:cubicBezTo>
                  <a:pt x="1572" y="667"/>
                  <a:pt x="1571" y="669"/>
                  <a:pt x="1571" y="671"/>
                </a:cubicBezTo>
                <a:cubicBezTo>
                  <a:pt x="1570" y="673"/>
                  <a:pt x="1570" y="675"/>
                  <a:pt x="1569" y="677"/>
                </a:cubicBezTo>
                <a:cubicBezTo>
                  <a:pt x="1569" y="680"/>
                  <a:pt x="1568" y="682"/>
                  <a:pt x="1568" y="684"/>
                </a:cubicBezTo>
                <a:cubicBezTo>
                  <a:pt x="1568" y="687"/>
                  <a:pt x="1567" y="691"/>
                  <a:pt x="1567" y="695"/>
                </a:cubicBezTo>
                <a:cubicBezTo>
                  <a:pt x="1563" y="721"/>
                  <a:pt x="1561" y="744"/>
                  <a:pt x="1561" y="763"/>
                </a:cubicBezTo>
                <a:cubicBezTo>
                  <a:pt x="1561" y="770"/>
                  <a:pt x="1562" y="773"/>
                  <a:pt x="1563" y="773"/>
                </a:cubicBezTo>
                <a:cubicBezTo>
                  <a:pt x="1565" y="773"/>
                  <a:pt x="1570" y="768"/>
                  <a:pt x="1577" y="758"/>
                </a:cubicBezTo>
                <a:cubicBezTo>
                  <a:pt x="1587" y="744"/>
                  <a:pt x="1599" y="726"/>
                  <a:pt x="1612" y="705"/>
                </a:cubicBezTo>
                <a:cubicBezTo>
                  <a:pt x="1623" y="688"/>
                  <a:pt x="1629" y="681"/>
                  <a:pt x="1629" y="681"/>
                </a:cubicBezTo>
                <a:lnTo>
                  <a:pt x="1625" y="688"/>
                </a:lnTo>
                <a:cubicBezTo>
                  <a:pt x="1620" y="698"/>
                  <a:pt x="1612" y="711"/>
                  <a:pt x="1601" y="727"/>
                </a:cubicBezTo>
                <a:cubicBezTo>
                  <a:pt x="1590" y="743"/>
                  <a:pt x="1582" y="756"/>
                  <a:pt x="1574" y="765"/>
                </a:cubicBezTo>
                <a:cubicBezTo>
                  <a:pt x="1565" y="777"/>
                  <a:pt x="1560" y="784"/>
                  <a:pt x="1560" y="785"/>
                </a:cubicBezTo>
                <a:cubicBezTo>
                  <a:pt x="1560" y="786"/>
                  <a:pt x="1560" y="787"/>
                  <a:pt x="1559" y="787"/>
                </a:cubicBezTo>
                <a:lnTo>
                  <a:pt x="1558" y="786"/>
                </a:lnTo>
                <a:cubicBezTo>
                  <a:pt x="1557" y="786"/>
                  <a:pt x="1556" y="788"/>
                  <a:pt x="1556" y="791"/>
                </a:cubicBezTo>
                <a:cubicBezTo>
                  <a:pt x="1556" y="794"/>
                  <a:pt x="1557" y="795"/>
                  <a:pt x="1558" y="795"/>
                </a:cubicBezTo>
                <a:cubicBezTo>
                  <a:pt x="1558" y="795"/>
                  <a:pt x="1560" y="795"/>
                  <a:pt x="1561" y="795"/>
                </a:cubicBezTo>
                <a:cubicBezTo>
                  <a:pt x="1563" y="794"/>
                  <a:pt x="1563" y="794"/>
                  <a:pt x="1563" y="793"/>
                </a:cubicBezTo>
                <a:cubicBezTo>
                  <a:pt x="1563" y="793"/>
                  <a:pt x="1563" y="792"/>
                  <a:pt x="1562" y="792"/>
                </a:cubicBezTo>
                <a:cubicBezTo>
                  <a:pt x="1561" y="791"/>
                  <a:pt x="1560" y="790"/>
                  <a:pt x="1560" y="790"/>
                </a:cubicBezTo>
                <a:cubicBezTo>
                  <a:pt x="1560" y="789"/>
                  <a:pt x="1561" y="788"/>
                  <a:pt x="1562" y="787"/>
                </a:cubicBezTo>
                <a:cubicBezTo>
                  <a:pt x="1563" y="786"/>
                  <a:pt x="1564" y="785"/>
                  <a:pt x="1564" y="785"/>
                </a:cubicBezTo>
                <a:cubicBezTo>
                  <a:pt x="1564" y="785"/>
                  <a:pt x="1565" y="786"/>
                  <a:pt x="1565" y="787"/>
                </a:cubicBezTo>
                <a:cubicBezTo>
                  <a:pt x="1565" y="789"/>
                  <a:pt x="1565" y="789"/>
                  <a:pt x="1565" y="789"/>
                </a:cubicBezTo>
                <a:cubicBezTo>
                  <a:pt x="1566" y="789"/>
                  <a:pt x="1567" y="789"/>
                  <a:pt x="1568" y="788"/>
                </a:cubicBezTo>
                <a:cubicBezTo>
                  <a:pt x="1569" y="787"/>
                  <a:pt x="1570" y="787"/>
                  <a:pt x="1570" y="787"/>
                </a:cubicBezTo>
                <a:cubicBezTo>
                  <a:pt x="1571" y="787"/>
                  <a:pt x="1572" y="787"/>
                  <a:pt x="1572" y="787"/>
                </a:cubicBezTo>
                <a:lnTo>
                  <a:pt x="1573" y="787"/>
                </a:lnTo>
                <a:lnTo>
                  <a:pt x="1572" y="785"/>
                </a:lnTo>
                <a:cubicBezTo>
                  <a:pt x="1572" y="783"/>
                  <a:pt x="1573" y="782"/>
                  <a:pt x="1577" y="780"/>
                </a:cubicBezTo>
                <a:cubicBezTo>
                  <a:pt x="1578" y="779"/>
                  <a:pt x="1580" y="779"/>
                  <a:pt x="1581" y="778"/>
                </a:cubicBezTo>
                <a:cubicBezTo>
                  <a:pt x="1582" y="777"/>
                  <a:pt x="1582" y="776"/>
                  <a:pt x="1582" y="776"/>
                </a:cubicBezTo>
                <a:cubicBezTo>
                  <a:pt x="1582" y="775"/>
                  <a:pt x="1582" y="774"/>
                  <a:pt x="1581" y="774"/>
                </a:cubicBezTo>
                <a:lnTo>
                  <a:pt x="1579" y="776"/>
                </a:lnTo>
                <a:lnTo>
                  <a:pt x="1579" y="775"/>
                </a:lnTo>
                <a:lnTo>
                  <a:pt x="1581" y="772"/>
                </a:lnTo>
                <a:cubicBezTo>
                  <a:pt x="1583" y="771"/>
                  <a:pt x="1584" y="769"/>
                  <a:pt x="1587" y="767"/>
                </a:cubicBezTo>
                <a:cubicBezTo>
                  <a:pt x="1589" y="765"/>
                  <a:pt x="1591" y="764"/>
                  <a:pt x="1593" y="763"/>
                </a:cubicBezTo>
                <a:cubicBezTo>
                  <a:pt x="1594" y="762"/>
                  <a:pt x="1595" y="761"/>
                  <a:pt x="1595" y="761"/>
                </a:cubicBezTo>
                <a:lnTo>
                  <a:pt x="1589" y="762"/>
                </a:lnTo>
                <a:lnTo>
                  <a:pt x="1589" y="761"/>
                </a:lnTo>
                <a:cubicBezTo>
                  <a:pt x="1589" y="761"/>
                  <a:pt x="1590" y="760"/>
                  <a:pt x="1592" y="758"/>
                </a:cubicBezTo>
                <a:cubicBezTo>
                  <a:pt x="1594" y="756"/>
                  <a:pt x="1596" y="754"/>
                  <a:pt x="1597" y="753"/>
                </a:cubicBezTo>
                <a:cubicBezTo>
                  <a:pt x="1598" y="752"/>
                  <a:pt x="1599" y="750"/>
                  <a:pt x="1599" y="750"/>
                </a:cubicBezTo>
                <a:cubicBezTo>
                  <a:pt x="1599" y="749"/>
                  <a:pt x="1599" y="748"/>
                  <a:pt x="1600" y="748"/>
                </a:cubicBezTo>
                <a:cubicBezTo>
                  <a:pt x="1600" y="747"/>
                  <a:pt x="1601" y="747"/>
                  <a:pt x="1602" y="747"/>
                </a:cubicBezTo>
                <a:cubicBezTo>
                  <a:pt x="1603" y="747"/>
                  <a:pt x="1603" y="747"/>
                  <a:pt x="1604" y="746"/>
                </a:cubicBezTo>
                <a:cubicBezTo>
                  <a:pt x="1605" y="745"/>
                  <a:pt x="1605" y="745"/>
                  <a:pt x="1606" y="744"/>
                </a:cubicBezTo>
                <a:lnTo>
                  <a:pt x="1606" y="743"/>
                </a:lnTo>
                <a:cubicBezTo>
                  <a:pt x="1606" y="742"/>
                  <a:pt x="1605" y="742"/>
                  <a:pt x="1605" y="742"/>
                </a:cubicBezTo>
                <a:lnTo>
                  <a:pt x="1604" y="743"/>
                </a:lnTo>
                <a:cubicBezTo>
                  <a:pt x="1604" y="743"/>
                  <a:pt x="1603" y="743"/>
                  <a:pt x="1602" y="743"/>
                </a:cubicBezTo>
                <a:cubicBezTo>
                  <a:pt x="1602" y="743"/>
                  <a:pt x="1602" y="743"/>
                  <a:pt x="1602" y="743"/>
                </a:cubicBezTo>
                <a:cubicBezTo>
                  <a:pt x="1602" y="742"/>
                  <a:pt x="1602" y="742"/>
                  <a:pt x="1604" y="741"/>
                </a:cubicBezTo>
                <a:cubicBezTo>
                  <a:pt x="1605" y="740"/>
                  <a:pt x="1606" y="740"/>
                  <a:pt x="1609" y="739"/>
                </a:cubicBezTo>
                <a:cubicBezTo>
                  <a:pt x="1610" y="738"/>
                  <a:pt x="1612" y="737"/>
                  <a:pt x="1612" y="736"/>
                </a:cubicBezTo>
                <a:cubicBezTo>
                  <a:pt x="1612" y="736"/>
                  <a:pt x="1611" y="736"/>
                  <a:pt x="1610" y="735"/>
                </a:cubicBezTo>
                <a:cubicBezTo>
                  <a:pt x="1610" y="735"/>
                  <a:pt x="1609" y="735"/>
                  <a:pt x="1609" y="734"/>
                </a:cubicBezTo>
                <a:cubicBezTo>
                  <a:pt x="1609" y="732"/>
                  <a:pt x="1610" y="731"/>
                  <a:pt x="1612" y="729"/>
                </a:cubicBezTo>
                <a:cubicBezTo>
                  <a:pt x="1613" y="727"/>
                  <a:pt x="1614" y="725"/>
                  <a:pt x="1614" y="724"/>
                </a:cubicBezTo>
                <a:cubicBezTo>
                  <a:pt x="1614" y="724"/>
                  <a:pt x="1614" y="723"/>
                  <a:pt x="1614" y="723"/>
                </a:cubicBezTo>
                <a:cubicBezTo>
                  <a:pt x="1613" y="723"/>
                  <a:pt x="1613" y="723"/>
                  <a:pt x="1613" y="723"/>
                </a:cubicBezTo>
                <a:cubicBezTo>
                  <a:pt x="1613" y="723"/>
                  <a:pt x="1614" y="722"/>
                  <a:pt x="1615" y="720"/>
                </a:cubicBezTo>
                <a:cubicBezTo>
                  <a:pt x="1617" y="718"/>
                  <a:pt x="1618" y="718"/>
                  <a:pt x="1619" y="718"/>
                </a:cubicBezTo>
                <a:cubicBezTo>
                  <a:pt x="1619" y="718"/>
                  <a:pt x="1619" y="718"/>
                  <a:pt x="1620" y="718"/>
                </a:cubicBezTo>
                <a:cubicBezTo>
                  <a:pt x="1620" y="718"/>
                  <a:pt x="1620" y="719"/>
                  <a:pt x="1620" y="719"/>
                </a:cubicBezTo>
                <a:cubicBezTo>
                  <a:pt x="1620" y="720"/>
                  <a:pt x="1620" y="720"/>
                  <a:pt x="1618" y="721"/>
                </a:cubicBezTo>
                <a:lnTo>
                  <a:pt x="1615" y="723"/>
                </a:lnTo>
                <a:cubicBezTo>
                  <a:pt x="1615" y="723"/>
                  <a:pt x="1616" y="723"/>
                  <a:pt x="1617" y="723"/>
                </a:cubicBezTo>
                <a:cubicBezTo>
                  <a:pt x="1620" y="723"/>
                  <a:pt x="1622" y="721"/>
                  <a:pt x="1623" y="719"/>
                </a:cubicBezTo>
                <a:cubicBezTo>
                  <a:pt x="1625" y="716"/>
                  <a:pt x="1625" y="714"/>
                  <a:pt x="1625" y="713"/>
                </a:cubicBezTo>
                <a:cubicBezTo>
                  <a:pt x="1625" y="713"/>
                  <a:pt x="1625" y="712"/>
                  <a:pt x="1624" y="712"/>
                </a:cubicBezTo>
                <a:lnTo>
                  <a:pt x="1622" y="713"/>
                </a:lnTo>
                <a:cubicBezTo>
                  <a:pt x="1620" y="713"/>
                  <a:pt x="1619" y="713"/>
                  <a:pt x="1619" y="712"/>
                </a:cubicBezTo>
                <a:cubicBezTo>
                  <a:pt x="1619" y="711"/>
                  <a:pt x="1620" y="710"/>
                  <a:pt x="1621" y="710"/>
                </a:cubicBezTo>
                <a:cubicBezTo>
                  <a:pt x="1622" y="710"/>
                  <a:pt x="1623" y="709"/>
                  <a:pt x="1624" y="709"/>
                </a:cubicBezTo>
                <a:cubicBezTo>
                  <a:pt x="1625" y="709"/>
                  <a:pt x="1626" y="709"/>
                  <a:pt x="1627" y="708"/>
                </a:cubicBezTo>
                <a:cubicBezTo>
                  <a:pt x="1630" y="707"/>
                  <a:pt x="1633" y="703"/>
                  <a:pt x="1638" y="696"/>
                </a:cubicBezTo>
                <a:cubicBezTo>
                  <a:pt x="1642" y="688"/>
                  <a:pt x="1650" y="675"/>
                  <a:pt x="1661" y="655"/>
                </a:cubicBezTo>
                <a:cubicBezTo>
                  <a:pt x="1672" y="636"/>
                  <a:pt x="1677" y="626"/>
                  <a:pt x="1677" y="625"/>
                </a:cubicBezTo>
                <a:cubicBezTo>
                  <a:pt x="1677" y="623"/>
                  <a:pt x="1677" y="622"/>
                  <a:pt x="1677" y="622"/>
                </a:cubicBezTo>
                <a:lnTo>
                  <a:pt x="1677" y="622"/>
                </a:lnTo>
                <a:cubicBezTo>
                  <a:pt x="1675" y="622"/>
                  <a:pt x="1674" y="624"/>
                  <a:pt x="1672" y="628"/>
                </a:cubicBezTo>
                <a:cubicBezTo>
                  <a:pt x="1672" y="632"/>
                  <a:pt x="1671" y="634"/>
                  <a:pt x="1670" y="634"/>
                </a:cubicBezTo>
                <a:cubicBezTo>
                  <a:pt x="1669" y="634"/>
                  <a:pt x="1668" y="634"/>
                  <a:pt x="1668" y="635"/>
                </a:cubicBezTo>
                <a:cubicBezTo>
                  <a:pt x="1667" y="636"/>
                  <a:pt x="1667" y="636"/>
                  <a:pt x="1667" y="637"/>
                </a:cubicBezTo>
                <a:cubicBezTo>
                  <a:pt x="1667" y="639"/>
                  <a:pt x="1666" y="641"/>
                  <a:pt x="1664" y="644"/>
                </a:cubicBezTo>
                <a:cubicBezTo>
                  <a:pt x="1663" y="644"/>
                  <a:pt x="1662" y="647"/>
                  <a:pt x="1659" y="652"/>
                </a:cubicBezTo>
                <a:cubicBezTo>
                  <a:pt x="1658" y="655"/>
                  <a:pt x="1657" y="657"/>
                  <a:pt x="1656" y="657"/>
                </a:cubicBezTo>
                <a:cubicBezTo>
                  <a:pt x="1654" y="657"/>
                  <a:pt x="1654" y="658"/>
                  <a:pt x="1654" y="660"/>
                </a:cubicBezTo>
                <a:cubicBezTo>
                  <a:pt x="1654" y="663"/>
                  <a:pt x="1653" y="664"/>
                  <a:pt x="1652" y="664"/>
                </a:cubicBezTo>
                <a:cubicBezTo>
                  <a:pt x="1651" y="664"/>
                  <a:pt x="1650" y="664"/>
                  <a:pt x="1650" y="665"/>
                </a:cubicBezTo>
                <a:lnTo>
                  <a:pt x="1651" y="666"/>
                </a:lnTo>
                <a:cubicBezTo>
                  <a:pt x="1651" y="667"/>
                  <a:pt x="1650" y="668"/>
                  <a:pt x="1649" y="668"/>
                </a:cubicBezTo>
                <a:cubicBezTo>
                  <a:pt x="1648" y="668"/>
                  <a:pt x="1647" y="669"/>
                  <a:pt x="1647" y="672"/>
                </a:cubicBezTo>
                <a:cubicBezTo>
                  <a:pt x="1647" y="673"/>
                  <a:pt x="1647" y="673"/>
                  <a:pt x="1647" y="674"/>
                </a:cubicBezTo>
                <a:cubicBezTo>
                  <a:pt x="1646" y="675"/>
                  <a:pt x="1646" y="675"/>
                  <a:pt x="1646" y="675"/>
                </a:cubicBezTo>
                <a:cubicBezTo>
                  <a:pt x="1645" y="675"/>
                  <a:pt x="1644" y="675"/>
                  <a:pt x="1644" y="676"/>
                </a:cubicBezTo>
                <a:cubicBezTo>
                  <a:pt x="1643" y="677"/>
                  <a:pt x="1643" y="677"/>
                  <a:pt x="1643" y="678"/>
                </a:cubicBezTo>
                <a:cubicBezTo>
                  <a:pt x="1643" y="679"/>
                  <a:pt x="1643" y="680"/>
                  <a:pt x="1642" y="681"/>
                </a:cubicBezTo>
                <a:cubicBezTo>
                  <a:pt x="1642" y="682"/>
                  <a:pt x="1639" y="685"/>
                  <a:pt x="1636" y="690"/>
                </a:cubicBezTo>
                <a:cubicBezTo>
                  <a:pt x="1634" y="692"/>
                  <a:pt x="1633" y="694"/>
                  <a:pt x="1632" y="695"/>
                </a:cubicBezTo>
                <a:cubicBezTo>
                  <a:pt x="1631" y="697"/>
                  <a:pt x="1631" y="697"/>
                  <a:pt x="1631" y="698"/>
                </a:cubicBezTo>
                <a:cubicBezTo>
                  <a:pt x="1630" y="698"/>
                  <a:pt x="1630" y="699"/>
                  <a:pt x="1628" y="700"/>
                </a:cubicBezTo>
                <a:lnTo>
                  <a:pt x="1628" y="699"/>
                </a:lnTo>
                <a:cubicBezTo>
                  <a:pt x="1628" y="697"/>
                  <a:pt x="1630" y="693"/>
                  <a:pt x="1634" y="688"/>
                </a:cubicBezTo>
                <a:lnTo>
                  <a:pt x="1636" y="683"/>
                </a:lnTo>
                <a:cubicBezTo>
                  <a:pt x="1639" y="679"/>
                  <a:pt x="1641" y="676"/>
                  <a:pt x="1641" y="675"/>
                </a:cubicBezTo>
                <a:cubicBezTo>
                  <a:pt x="1642" y="674"/>
                  <a:pt x="1644" y="670"/>
                  <a:pt x="1647" y="665"/>
                </a:cubicBezTo>
                <a:cubicBezTo>
                  <a:pt x="1649" y="663"/>
                  <a:pt x="1651" y="659"/>
                  <a:pt x="1653" y="654"/>
                </a:cubicBezTo>
                <a:cubicBezTo>
                  <a:pt x="1654" y="651"/>
                  <a:pt x="1655" y="650"/>
                  <a:pt x="1656" y="650"/>
                </a:cubicBezTo>
                <a:cubicBezTo>
                  <a:pt x="1657" y="650"/>
                  <a:pt x="1657" y="649"/>
                  <a:pt x="1657" y="648"/>
                </a:cubicBezTo>
                <a:lnTo>
                  <a:pt x="1657" y="647"/>
                </a:lnTo>
                <a:cubicBezTo>
                  <a:pt x="1657" y="646"/>
                  <a:pt x="1658" y="645"/>
                  <a:pt x="1659" y="644"/>
                </a:cubicBezTo>
                <a:cubicBezTo>
                  <a:pt x="1661" y="644"/>
                  <a:pt x="1662" y="643"/>
                  <a:pt x="1662" y="642"/>
                </a:cubicBezTo>
                <a:lnTo>
                  <a:pt x="1661" y="640"/>
                </a:lnTo>
                <a:cubicBezTo>
                  <a:pt x="1661" y="639"/>
                  <a:pt x="1662" y="639"/>
                  <a:pt x="1662" y="639"/>
                </a:cubicBezTo>
                <a:cubicBezTo>
                  <a:pt x="1663" y="639"/>
                  <a:pt x="1664" y="638"/>
                  <a:pt x="1664" y="638"/>
                </a:cubicBezTo>
                <a:lnTo>
                  <a:pt x="1664" y="636"/>
                </a:lnTo>
                <a:cubicBezTo>
                  <a:pt x="1664" y="635"/>
                  <a:pt x="1664" y="634"/>
                  <a:pt x="1666" y="633"/>
                </a:cubicBezTo>
                <a:cubicBezTo>
                  <a:pt x="1668" y="632"/>
                  <a:pt x="1669" y="629"/>
                  <a:pt x="1670" y="626"/>
                </a:cubicBezTo>
                <a:cubicBezTo>
                  <a:pt x="1671" y="624"/>
                  <a:pt x="1672" y="622"/>
                  <a:pt x="1674" y="620"/>
                </a:cubicBezTo>
                <a:cubicBezTo>
                  <a:pt x="1675" y="618"/>
                  <a:pt x="1676" y="616"/>
                  <a:pt x="1677" y="614"/>
                </a:cubicBezTo>
                <a:cubicBezTo>
                  <a:pt x="1677" y="612"/>
                  <a:pt x="1678" y="610"/>
                  <a:pt x="1679" y="608"/>
                </a:cubicBezTo>
                <a:cubicBezTo>
                  <a:pt x="1681" y="607"/>
                  <a:pt x="1681" y="605"/>
                  <a:pt x="1681" y="605"/>
                </a:cubicBezTo>
                <a:cubicBezTo>
                  <a:pt x="1681" y="604"/>
                  <a:pt x="1681" y="604"/>
                  <a:pt x="1681" y="604"/>
                </a:cubicBezTo>
                <a:cubicBezTo>
                  <a:pt x="1681" y="604"/>
                  <a:pt x="1681" y="604"/>
                  <a:pt x="1681" y="604"/>
                </a:cubicBezTo>
                <a:cubicBezTo>
                  <a:pt x="1681" y="603"/>
                  <a:pt x="1682" y="602"/>
                  <a:pt x="1684" y="599"/>
                </a:cubicBezTo>
                <a:cubicBezTo>
                  <a:pt x="1687" y="596"/>
                  <a:pt x="1688" y="595"/>
                  <a:pt x="1688" y="593"/>
                </a:cubicBezTo>
                <a:lnTo>
                  <a:pt x="1688" y="593"/>
                </a:lnTo>
                <a:cubicBezTo>
                  <a:pt x="1688" y="592"/>
                  <a:pt x="1689" y="590"/>
                  <a:pt x="1691" y="588"/>
                </a:cubicBezTo>
                <a:cubicBezTo>
                  <a:pt x="1693" y="585"/>
                  <a:pt x="1694" y="584"/>
                  <a:pt x="1695" y="584"/>
                </a:cubicBezTo>
                <a:cubicBezTo>
                  <a:pt x="1695" y="584"/>
                  <a:pt x="1695" y="584"/>
                  <a:pt x="1695" y="584"/>
                </a:cubicBezTo>
                <a:cubicBezTo>
                  <a:pt x="1695" y="585"/>
                  <a:pt x="1695" y="587"/>
                  <a:pt x="1694" y="589"/>
                </a:cubicBezTo>
                <a:cubicBezTo>
                  <a:pt x="1691" y="595"/>
                  <a:pt x="1689" y="600"/>
                  <a:pt x="1687" y="602"/>
                </a:cubicBezTo>
                <a:cubicBezTo>
                  <a:pt x="1685" y="603"/>
                  <a:pt x="1684" y="606"/>
                  <a:pt x="1681" y="611"/>
                </a:cubicBezTo>
                <a:lnTo>
                  <a:pt x="1678" y="621"/>
                </a:lnTo>
                <a:cubicBezTo>
                  <a:pt x="1679" y="621"/>
                  <a:pt x="1682" y="617"/>
                  <a:pt x="1687" y="608"/>
                </a:cubicBezTo>
                <a:cubicBezTo>
                  <a:pt x="1692" y="600"/>
                  <a:pt x="1695" y="595"/>
                  <a:pt x="1695" y="595"/>
                </a:cubicBezTo>
                <a:cubicBezTo>
                  <a:pt x="1696" y="595"/>
                  <a:pt x="1696" y="595"/>
                  <a:pt x="1696" y="595"/>
                </a:cubicBezTo>
                <a:cubicBezTo>
                  <a:pt x="1696" y="597"/>
                  <a:pt x="1695" y="600"/>
                  <a:pt x="1692" y="605"/>
                </a:cubicBezTo>
                <a:cubicBezTo>
                  <a:pt x="1680" y="631"/>
                  <a:pt x="1662" y="663"/>
                  <a:pt x="1638" y="700"/>
                </a:cubicBezTo>
                <a:cubicBezTo>
                  <a:pt x="1612" y="742"/>
                  <a:pt x="1592" y="771"/>
                  <a:pt x="1577" y="786"/>
                </a:cubicBezTo>
                <a:cubicBezTo>
                  <a:pt x="1572" y="791"/>
                  <a:pt x="1570" y="794"/>
                  <a:pt x="1570" y="795"/>
                </a:cubicBezTo>
                <a:cubicBezTo>
                  <a:pt x="1570" y="796"/>
                  <a:pt x="1571" y="797"/>
                  <a:pt x="1574" y="797"/>
                </a:cubicBezTo>
                <a:lnTo>
                  <a:pt x="1576" y="797"/>
                </a:lnTo>
                <a:cubicBezTo>
                  <a:pt x="1579" y="797"/>
                  <a:pt x="1581" y="797"/>
                  <a:pt x="1581" y="796"/>
                </a:cubicBezTo>
                <a:lnTo>
                  <a:pt x="1581" y="795"/>
                </a:lnTo>
                <a:cubicBezTo>
                  <a:pt x="1581" y="794"/>
                  <a:pt x="1581" y="794"/>
                  <a:pt x="1582" y="794"/>
                </a:cubicBezTo>
                <a:cubicBezTo>
                  <a:pt x="1584" y="794"/>
                  <a:pt x="1587" y="791"/>
                  <a:pt x="1592" y="786"/>
                </a:cubicBezTo>
                <a:lnTo>
                  <a:pt x="1594" y="781"/>
                </a:lnTo>
                <a:lnTo>
                  <a:pt x="1594" y="780"/>
                </a:lnTo>
                <a:cubicBezTo>
                  <a:pt x="1594" y="779"/>
                  <a:pt x="1594" y="778"/>
                  <a:pt x="1595" y="777"/>
                </a:cubicBezTo>
                <a:cubicBezTo>
                  <a:pt x="1597" y="775"/>
                  <a:pt x="1598" y="774"/>
                  <a:pt x="1599" y="774"/>
                </a:cubicBezTo>
                <a:lnTo>
                  <a:pt x="1600" y="775"/>
                </a:lnTo>
                <a:cubicBezTo>
                  <a:pt x="1601" y="775"/>
                  <a:pt x="1605" y="771"/>
                  <a:pt x="1611" y="762"/>
                </a:cubicBezTo>
                <a:cubicBezTo>
                  <a:pt x="1613" y="760"/>
                  <a:pt x="1614" y="758"/>
                  <a:pt x="1615" y="757"/>
                </a:cubicBezTo>
                <a:cubicBezTo>
                  <a:pt x="1618" y="755"/>
                  <a:pt x="1619" y="752"/>
                  <a:pt x="1619" y="751"/>
                </a:cubicBezTo>
                <a:cubicBezTo>
                  <a:pt x="1619" y="750"/>
                  <a:pt x="1620" y="748"/>
                  <a:pt x="1622" y="747"/>
                </a:cubicBezTo>
                <a:cubicBezTo>
                  <a:pt x="1624" y="745"/>
                  <a:pt x="1625" y="743"/>
                  <a:pt x="1625" y="739"/>
                </a:cubicBezTo>
                <a:cubicBezTo>
                  <a:pt x="1625" y="736"/>
                  <a:pt x="1625" y="734"/>
                  <a:pt x="1627" y="734"/>
                </a:cubicBezTo>
                <a:cubicBezTo>
                  <a:pt x="1628" y="734"/>
                  <a:pt x="1630" y="732"/>
                  <a:pt x="1632" y="730"/>
                </a:cubicBezTo>
                <a:cubicBezTo>
                  <a:pt x="1638" y="723"/>
                  <a:pt x="1641" y="718"/>
                  <a:pt x="1641" y="716"/>
                </a:cubicBezTo>
                <a:lnTo>
                  <a:pt x="1637" y="720"/>
                </a:lnTo>
                <a:cubicBezTo>
                  <a:pt x="1637" y="721"/>
                  <a:pt x="1636" y="722"/>
                  <a:pt x="1635" y="722"/>
                </a:cubicBezTo>
                <a:cubicBezTo>
                  <a:pt x="1635" y="722"/>
                  <a:pt x="1634" y="722"/>
                  <a:pt x="1634" y="721"/>
                </a:cubicBezTo>
                <a:cubicBezTo>
                  <a:pt x="1634" y="721"/>
                  <a:pt x="1635" y="720"/>
                  <a:pt x="1636" y="718"/>
                </a:cubicBezTo>
                <a:cubicBezTo>
                  <a:pt x="1637" y="717"/>
                  <a:pt x="1638" y="715"/>
                  <a:pt x="1639" y="713"/>
                </a:cubicBezTo>
                <a:cubicBezTo>
                  <a:pt x="1641" y="712"/>
                  <a:pt x="1641" y="710"/>
                  <a:pt x="1641" y="710"/>
                </a:cubicBezTo>
                <a:cubicBezTo>
                  <a:pt x="1641" y="710"/>
                  <a:pt x="1641" y="709"/>
                  <a:pt x="1641" y="709"/>
                </a:cubicBezTo>
                <a:cubicBezTo>
                  <a:pt x="1641" y="709"/>
                  <a:pt x="1640" y="709"/>
                  <a:pt x="1640" y="709"/>
                </a:cubicBezTo>
                <a:cubicBezTo>
                  <a:pt x="1640" y="708"/>
                  <a:pt x="1641" y="707"/>
                  <a:pt x="1643" y="705"/>
                </a:cubicBezTo>
                <a:cubicBezTo>
                  <a:pt x="1646" y="702"/>
                  <a:pt x="1647" y="699"/>
                  <a:pt x="1647" y="698"/>
                </a:cubicBezTo>
                <a:cubicBezTo>
                  <a:pt x="1647" y="696"/>
                  <a:pt x="1649" y="695"/>
                  <a:pt x="1651" y="693"/>
                </a:cubicBezTo>
                <a:cubicBezTo>
                  <a:pt x="1653" y="691"/>
                  <a:pt x="1654" y="689"/>
                  <a:pt x="1654" y="686"/>
                </a:cubicBezTo>
                <a:cubicBezTo>
                  <a:pt x="1655" y="684"/>
                  <a:pt x="1656" y="682"/>
                  <a:pt x="1659" y="680"/>
                </a:cubicBezTo>
                <a:cubicBezTo>
                  <a:pt x="1661" y="679"/>
                  <a:pt x="1662" y="674"/>
                  <a:pt x="1662" y="667"/>
                </a:cubicBezTo>
                <a:cubicBezTo>
                  <a:pt x="1662" y="667"/>
                  <a:pt x="1662" y="666"/>
                  <a:pt x="1663" y="666"/>
                </a:cubicBezTo>
                <a:lnTo>
                  <a:pt x="1665" y="667"/>
                </a:lnTo>
                <a:cubicBezTo>
                  <a:pt x="1666" y="667"/>
                  <a:pt x="1666" y="667"/>
                  <a:pt x="1666" y="666"/>
                </a:cubicBezTo>
                <a:lnTo>
                  <a:pt x="1665" y="664"/>
                </a:lnTo>
                <a:cubicBezTo>
                  <a:pt x="1665" y="661"/>
                  <a:pt x="1666" y="660"/>
                  <a:pt x="1667" y="659"/>
                </a:cubicBezTo>
                <a:cubicBezTo>
                  <a:pt x="1668" y="659"/>
                  <a:pt x="1669" y="657"/>
                  <a:pt x="1671" y="653"/>
                </a:cubicBezTo>
                <a:cubicBezTo>
                  <a:pt x="1672" y="648"/>
                  <a:pt x="1675" y="644"/>
                  <a:pt x="1678" y="639"/>
                </a:cubicBezTo>
                <a:cubicBezTo>
                  <a:pt x="1681" y="634"/>
                  <a:pt x="1683" y="630"/>
                  <a:pt x="1685" y="627"/>
                </a:cubicBezTo>
                <a:cubicBezTo>
                  <a:pt x="1686" y="624"/>
                  <a:pt x="1687" y="622"/>
                  <a:pt x="1688" y="622"/>
                </a:cubicBezTo>
                <a:cubicBezTo>
                  <a:pt x="1689" y="622"/>
                  <a:pt x="1690" y="622"/>
                  <a:pt x="1690" y="621"/>
                </a:cubicBezTo>
                <a:lnTo>
                  <a:pt x="1689" y="619"/>
                </a:lnTo>
                <a:cubicBezTo>
                  <a:pt x="1689" y="618"/>
                  <a:pt x="1690" y="617"/>
                  <a:pt x="1691" y="615"/>
                </a:cubicBezTo>
                <a:cubicBezTo>
                  <a:pt x="1692" y="614"/>
                  <a:pt x="1693" y="612"/>
                  <a:pt x="1694" y="609"/>
                </a:cubicBezTo>
                <a:cubicBezTo>
                  <a:pt x="1696" y="606"/>
                  <a:pt x="1697" y="604"/>
                  <a:pt x="1698" y="603"/>
                </a:cubicBezTo>
                <a:cubicBezTo>
                  <a:pt x="1699" y="602"/>
                  <a:pt x="1700" y="601"/>
                  <a:pt x="1700" y="599"/>
                </a:cubicBezTo>
                <a:lnTo>
                  <a:pt x="1700" y="597"/>
                </a:lnTo>
                <a:cubicBezTo>
                  <a:pt x="1700" y="595"/>
                  <a:pt x="1701" y="594"/>
                  <a:pt x="1703" y="593"/>
                </a:cubicBezTo>
                <a:cubicBezTo>
                  <a:pt x="1704" y="592"/>
                  <a:pt x="1705" y="591"/>
                  <a:pt x="1705" y="590"/>
                </a:cubicBezTo>
                <a:cubicBezTo>
                  <a:pt x="1705" y="590"/>
                  <a:pt x="1705" y="589"/>
                  <a:pt x="1704" y="589"/>
                </a:cubicBezTo>
                <a:cubicBezTo>
                  <a:pt x="1704" y="587"/>
                  <a:pt x="1705" y="585"/>
                  <a:pt x="1707" y="584"/>
                </a:cubicBezTo>
                <a:cubicBezTo>
                  <a:pt x="1708" y="583"/>
                  <a:pt x="1709" y="582"/>
                  <a:pt x="1709" y="581"/>
                </a:cubicBezTo>
                <a:lnTo>
                  <a:pt x="1709" y="581"/>
                </a:lnTo>
                <a:cubicBezTo>
                  <a:pt x="1709" y="580"/>
                  <a:pt x="1708" y="579"/>
                  <a:pt x="1706" y="579"/>
                </a:cubicBezTo>
                <a:lnTo>
                  <a:pt x="1704" y="580"/>
                </a:lnTo>
                <a:cubicBezTo>
                  <a:pt x="1703" y="580"/>
                  <a:pt x="1703" y="580"/>
                  <a:pt x="1703" y="579"/>
                </a:cubicBezTo>
                <a:lnTo>
                  <a:pt x="1703" y="578"/>
                </a:lnTo>
                <a:cubicBezTo>
                  <a:pt x="1703" y="577"/>
                  <a:pt x="1703" y="576"/>
                  <a:pt x="1702" y="576"/>
                </a:cubicBezTo>
                <a:cubicBezTo>
                  <a:pt x="1701" y="575"/>
                  <a:pt x="1701" y="575"/>
                  <a:pt x="1701" y="575"/>
                </a:cubicBezTo>
                <a:cubicBezTo>
                  <a:pt x="1700" y="575"/>
                  <a:pt x="1700" y="576"/>
                  <a:pt x="1700" y="577"/>
                </a:cubicBezTo>
                <a:cubicBezTo>
                  <a:pt x="1700" y="578"/>
                  <a:pt x="1699" y="579"/>
                  <a:pt x="1699" y="580"/>
                </a:cubicBezTo>
                <a:cubicBezTo>
                  <a:pt x="1698" y="580"/>
                  <a:pt x="1697" y="581"/>
                  <a:pt x="1696" y="581"/>
                </a:cubicBezTo>
                <a:cubicBezTo>
                  <a:pt x="1695" y="581"/>
                  <a:pt x="1694" y="581"/>
                  <a:pt x="1694" y="580"/>
                </a:cubicBezTo>
                <a:cubicBezTo>
                  <a:pt x="1694" y="580"/>
                  <a:pt x="1695" y="579"/>
                  <a:pt x="1696" y="577"/>
                </a:cubicBezTo>
                <a:cubicBezTo>
                  <a:pt x="1698" y="576"/>
                  <a:pt x="1699" y="574"/>
                  <a:pt x="1699" y="573"/>
                </a:cubicBezTo>
                <a:lnTo>
                  <a:pt x="1698" y="570"/>
                </a:lnTo>
                <a:cubicBezTo>
                  <a:pt x="1698" y="570"/>
                  <a:pt x="1698" y="570"/>
                  <a:pt x="1699" y="570"/>
                </a:cubicBezTo>
                <a:cubicBezTo>
                  <a:pt x="1701" y="570"/>
                  <a:pt x="1703" y="571"/>
                  <a:pt x="1704" y="573"/>
                </a:cubicBezTo>
                <a:cubicBezTo>
                  <a:pt x="1706" y="575"/>
                  <a:pt x="1708" y="576"/>
                  <a:pt x="1708" y="576"/>
                </a:cubicBezTo>
                <a:cubicBezTo>
                  <a:pt x="1709" y="576"/>
                  <a:pt x="1710" y="576"/>
                  <a:pt x="1712" y="574"/>
                </a:cubicBezTo>
                <a:cubicBezTo>
                  <a:pt x="1713" y="572"/>
                  <a:pt x="1714" y="571"/>
                  <a:pt x="1714" y="571"/>
                </a:cubicBezTo>
                <a:cubicBezTo>
                  <a:pt x="1714" y="571"/>
                  <a:pt x="1714" y="570"/>
                  <a:pt x="1714" y="570"/>
                </a:cubicBezTo>
                <a:cubicBezTo>
                  <a:pt x="1714" y="570"/>
                  <a:pt x="1713" y="570"/>
                  <a:pt x="1713" y="570"/>
                </a:cubicBezTo>
                <a:cubicBezTo>
                  <a:pt x="1712" y="570"/>
                  <a:pt x="1711" y="571"/>
                  <a:pt x="1709" y="572"/>
                </a:cubicBezTo>
                <a:cubicBezTo>
                  <a:pt x="1708" y="573"/>
                  <a:pt x="1707" y="574"/>
                  <a:pt x="1706" y="574"/>
                </a:cubicBezTo>
                <a:cubicBezTo>
                  <a:pt x="1706" y="574"/>
                  <a:pt x="1706" y="574"/>
                  <a:pt x="1706" y="573"/>
                </a:cubicBezTo>
                <a:cubicBezTo>
                  <a:pt x="1706" y="573"/>
                  <a:pt x="1706" y="572"/>
                  <a:pt x="1706" y="571"/>
                </a:cubicBezTo>
                <a:cubicBezTo>
                  <a:pt x="1707" y="571"/>
                  <a:pt x="1707" y="570"/>
                  <a:pt x="1707" y="569"/>
                </a:cubicBezTo>
                <a:cubicBezTo>
                  <a:pt x="1707" y="568"/>
                  <a:pt x="1707" y="567"/>
                  <a:pt x="1706" y="566"/>
                </a:cubicBezTo>
                <a:cubicBezTo>
                  <a:pt x="1705" y="566"/>
                  <a:pt x="1705" y="565"/>
                  <a:pt x="1705" y="564"/>
                </a:cubicBezTo>
                <a:cubicBezTo>
                  <a:pt x="1705" y="563"/>
                  <a:pt x="1705" y="563"/>
                  <a:pt x="1706" y="561"/>
                </a:cubicBezTo>
                <a:cubicBezTo>
                  <a:pt x="1707" y="560"/>
                  <a:pt x="1708" y="559"/>
                  <a:pt x="1710" y="559"/>
                </a:cubicBezTo>
                <a:lnTo>
                  <a:pt x="1711" y="560"/>
                </a:lnTo>
                <a:cubicBezTo>
                  <a:pt x="1711" y="560"/>
                  <a:pt x="1712" y="559"/>
                  <a:pt x="1712" y="559"/>
                </a:cubicBezTo>
                <a:cubicBezTo>
                  <a:pt x="1712" y="558"/>
                  <a:pt x="1711" y="558"/>
                  <a:pt x="1711" y="557"/>
                </a:cubicBezTo>
                <a:cubicBezTo>
                  <a:pt x="1711" y="556"/>
                  <a:pt x="1711" y="555"/>
                  <a:pt x="1711" y="554"/>
                </a:cubicBezTo>
                <a:cubicBezTo>
                  <a:pt x="1711" y="552"/>
                  <a:pt x="1711" y="550"/>
                  <a:pt x="1713" y="550"/>
                </a:cubicBezTo>
                <a:cubicBezTo>
                  <a:pt x="1714" y="550"/>
                  <a:pt x="1715" y="551"/>
                  <a:pt x="1716" y="551"/>
                </a:cubicBezTo>
                <a:cubicBezTo>
                  <a:pt x="1717" y="553"/>
                  <a:pt x="1718" y="553"/>
                  <a:pt x="1719" y="553"/>
                </a:cubicBezTo>
                <a:cubicBezTo>
                  <a:pt x="1720" y="553"/>
                  <a:pt x="1720" y="553"/>
                  <a:pt x="1721" y="553"/>
                </a:cubicBezTo>
                <a:lnTo>
                  <a:pt x="1721" y="552"/>
                </a:lnTo>
                <a:cubicBezTo>
                  <a:pt x="1721" y="551"/>
                  <a:pt x="1720" y="551"/>
                  <a:pt x="1719" y="551"/>
                </a:cubicBezTo>
                <a:cubicBezTo>
                  <a:pt x="1718" y="551"/>
                  <a:pt x="1718" y="551"/>
                  <a:pt x="1718" y="550"/>
                </a:cubicBezTo>
                <a:lnTo>
                  <a:pt x="1719" y="548"/>
                </a:lnTo>
                <a:cubicBezTo>
                  <a:pt x="1719" y="547"/>
                  <a:pt x="1719" y="547"/>
                  <a:pt x="1718" y="547"/>
                </a:cubicBezTo>
                <a:lnTo>
                  <a:pt x="1716" y="548"/>
                </a:lnTo>
                <a:cubicBezTo>
                  <a:pt x="1715" y="548"/>
                  <a:pt x="1714" y="547"/>
                  <a:pt x="1714" y="546"/>
                </a:cubicBezTo>
                <a:cubicBezTo>
                  <a:pt x="1714" y="544"/>
                  <a:pt x="1715" y="543"/>
                  <a:pt x="1716" y="542"/>
                </a:cubicBezTo>
                <a:cubicBezTo>
                  <a:pt x="1717" y="541"/>
                  <a:pt x="1718" y="541"/>
                  <a:pt x="1718" y="541"/>
                </a:cubicBezTo>
                <a:cubicBezTo>
                  <a:pt x="1719" y="541"/>
                  <a:pt x="1720" y="541"/>
                  <a:pt x="1721" y="542"/>
                </a:cubicBezTo>
                <a:cubicBezTo>
                  <a:pt x="1721" y="544"/>
                  <a:pt x="1723" y="544"/>
                  <a:pt x="1724" y="544"/>
                </a:cubicBezTo>
                <a:cubicBezTo>
                  <a:pt x="1724" y="544"/>
                  <a:pt x="1724" y="544"/>
                  <a:pt x="1724" y="544"/>
                </a:cubicBezTo>
                <a:cubicBezTo>
                  <a:pt x="1724" y="543"/>
                  <a:pt x="1724" y="542"/>
                  <a:pt x="1723" y="541"/>
                </a:cubicBezTo>
                <a:cubicBezTo>
                  <a:pt x="1721" y="539"/>
                  <a:pt x="1720" y="537"/>
                  <a:pt x="1720" y="534"/>
                </a:cubicBezTo>
                <a:cubicBezTo>
                  <a:pt x="1720" y="532"/>
                  <a:pt x="1721" y="530"/>
                  <a:pt x="1721" y="528"/>
                </a:cubicBezTo>
                <a:cubicBezTo>
                  <a:pt x="1722" y="526"/>
                  <a:pt x="1723" y="525"/>
                  <a:pt x="1724" y="525"/>
                </a:cubicBezTo>
                <a:lnTo>
                  <a:pt x="1726" y="525"/>
                </a:lnTo>
                <a:cubicBezTo>
                  <a:pt x="1727" y="525"/>
                  <a:pt x="1728" y="524"/>
                  <a:pt x="1730" y="522"/>
                </a:cubicBezTo>
                <a:lnTo>
                  <a:pt x="1732" y="519"/>
                </a:lnTo>
                <a:cubicBezTo>
                  <a:pt x="1732" y="519"/>
                  <a:pt x="1731" y="520"/>
                  <a:pt x="1730" y="521"/>
                </a:cubicBezTo>
                <a:cubicBezTo>
                  <a:pt x="1728" y="522"/>
                  <a:pt x="1727" y="523"/>
                  <a:pt x="1726" y="523"/>
                </a:cubicBezTo>
                <a:cubicBezTo>
                  <a:pt x="1726" y="523"/>
                  <a:pt x="1726" y="522"/>
                  <a:pt x="1726" y="521"/>
                </a:cubicBezTo>
                <a:cubicBezTo>
                  <a:pt x="1726" y="518"/>
                  <a:pt x="1727" y="516"/>
                  <a:pt x="1729" y="513"/>
                </a:cubicBezTo>
                <a:cubicBezTo>
                  <a:pt x="1729" y="512"/>
                  <a:pt x="1730" y="512"/>
                  <a:pt x="1730" y="512"/>
                </a:cubicBezTo>
                <a:cubicBezTo>
                  <a:pt x="1731" y="512"/>
                  <a:pt x="1731" y="513"/>
                  <a:pt x="1731" y="514"/>
                </a:cubicBezTo>
                <a:lnTo>
                  <a:pt x="1730" y="517"/>
                </a:lnTo>
                <a:cubicBezTo>
                  <a:pt x="1731" y="517"/>
                  <a:pt x="1731" y="517"/>
                  <a:pt x="1732" y="516"/>
                </a:cubicBezTo>
                <a:cubicBezTo>
                  <a:pt x="1733" y="515"/>
                  <a:pt x="1733" y="514"/>
                  <a:pt x="1733" y="514"/>
                </a:cubicBezTo>
                <a:cubicBezTo>
                  <a:pt x="1733" y="513"/>
                  <a:pt x="1733" y="512"/>
                  <a:pt x="1733" y="512"/>
                </a:cubicBezTo>
                <a:cubicBezTo>
                  <a:pt x="1733" y="512"/>
                  <a:pt x="1732" y="511"/>
                  <a:pt x="1732" y="509"/>
                </a:cubicBezTo>
                <a:cubicBezTo>
                  <a:pt x="1732" y="507"/>
                  <a:pt x="1733" y="505"/>
                  <a:pt x="1733" y="502"/>
                </a:cubicBezTo>
                <a:cubicBezTo>
                  <a:pt x="1734" y="499"/>
                  <a:pt x="1735" y="497"/>
                  <a:pt x="1736" y="495"/>
                </a:cubicBezTo>
                <a:cubicBezTo>
                  <a:pt x="1737" y="493"/>
                  <a:pt x="1738" y="492"/>
                  <a:pt x="1739" y="492"/>
                </a:cubicBezTo>
                <a:cubicBezTo>
                  <a:pt x="1740" y="492"/>
                  <a:pt x="1740" y="491"/>
                  <a:pt x="1740" y="491"/>
                </a:cubicBezTo>
                <a:lnTo>
                  <a:pt x="1740" y="488"/>
                </a:lnTo>
                <a:cubicBezTo>
                  <a:pt x="1740" y="485"/>
                  <a:pt x="1742" y="479"/>
                  <a:pt x="1746" y="470"/>
                </a:cubicBezTo>
                <a:cubicBezTo>
                  <a:pt x="1752" y="455"/>
                  <a:pt x="1756" y="446"/>
                  <a:pt x="1757" y="441"/>
                </a:cubicBezTo>
                <a:cubicBezTo>
                  <a:pt x="1758" y="438"/>
                  <a:pt x="1759" y="435"/>
                  <a:pt x="1761" y="433"/>
                </a:cubicBezTo>
                <a:cubicBezTo>
                  <a:pt x="1762" y="431"/>
                  <a:pt x="1763" y="430"/>
                  <a:pt x="1763" y="430"/>
                </a:cubicBezTo>
                <a:cubicBezTo>
                  <a:pt x="1763" y="430"/>
                  <a:pt x="1764" y="429"/>
                  <a:pt x="1764" y="429"/>
                </a:cubicBezTo>
                <a:lnTo>
                  <a:pt x="1764" y="427"/>
                </a:lnTo>
                <a:cubicBezTo>
                  <a:pt x="1764" y="421"/>
                  <a:pt x="1767" y="409"/>
                  <a:pt x="1775" y="391"/>
                </a:cubicBezTo>
                <a:cubicBezTo>
                  <a:pt x="1782" y="372"/>
                  <a:pt x="1787" y="363"/>
                  <a:pt x="1788" y="363"/>
                </a:cubicBezTo>
                <a:cubicBezTo>
                  <a:pt x="1790" y="363"/>
                  <a:pt x="1791" y="362"/>
                  <a:pt x="1791" y="360"/>
                </a:cubicBezTo>
                <a:cubicBezTo>
                  <a:pt x="1791" y="358"/>
                  <a:pt x="1792" y="357"/>
                  <a:pt x="1794" y="357"/>
                </a:cubicBezTo>
                <a:cubicBezTo>
                  <a:pt x="1796" y="357"/>
                  <a:pt x="1797" y="356"/>
                  <a:pt x="1797" y="354"/>
                </a:cubicBezTo>
                <a:cubicBezTo>
                  <a:pt x="1797" y="353"/>
                  <a:pt x="1797" y="353"/>
                  <a:pt x="1796" y="353"/>
                </a:cubicBezTo>
                <a:lnTo>
                  <a:pt x="1793" y="353"/>
                </a:lnTo>
                <a:cubicBezTo>
                  <a:pt x="1793" y="353"/>
                  <a:pt x="1794" y="353"/>
                  <a:pt x="1796" y="351"/>
                </a:cubicBezTo>
                <a:cubicBezTo>
                  <a:pt x="1797" y="350"/>
                  <a:pt x="1798" y="349"/>
                  <a:pt x="1800" y="348"/>
                </a:cubicBezTo>
                <a:cubicBezTo>
                  <a:pt x="1801" y="348"/>
                  <a:pt x="1802" y="348"/>
                  <a:pt x="1803" y="348"/>
                </a:cubicBezTo>
                <a:cubicBezTo>
                  <a:pt x="1803" y="348"/>
                  <a:pt x="1803" y="347"/>
                  <a:pt x="1803" y="346"/>
                </a:cubicBezTo>
                <a:cubicBezTo>
                  <a:pt x="1803" y="346"/>
                  <a:pt x="1803" y="345"/>
                  <a:pt x="1803" y="344"/>
                </a:cubicBezTo>
                <a:cubicBezTo>
                  <a:pt x="1802" y="344"/>
                  <a:pt x="1802" y="343"/>
                  <a:pt x="1802" y="343"/>
                </a:cubicBezTo>
                <a:cubicBezTo>
                  <a:pt x="1802" y="343"/>
                  <a:pt x="1803" y="343"/>
                  <a:pt x="1804" y="344"/>
                </a:cubicBezTo>
                <a:cubicBezTo>
                  <a:pt x="1805" y="345"/>
                  <a:pt x="1805" y="345"/>
                  <a:pt x="1805" y="346"/>
                </a:cubicBezTo>
                <a:cubicBezTo>
                  <a:pt x="1805" y="347"/>
                  <a:pt x="1805" y="347"/>
                  <a:pt x="1805" y="348"/>
                </a:cubicBezTo>
                <a:lnTo>
                  <a:pt x="1805" y="348"/>
                </a:lnTo>
                <a:cubicBezTo>
                  <a:pt x="1805" y="349"/>
                  <a:pt x="1805" y="350"/>
                  <a:pt x="1806" y="350"/>
                </a:cubicBezTo>
                <a:cubicBezTo>
                  <a:pt x="1807" y="350"/>
                  <a:pt x="1807" y="354"/>
                  <a:pt x="1807" y="362"/>
                </a:cubicBezTo>
                <a:cubicBezTo>
                  <a:pt x="1807" y="376"/>
                  <a:pt x="1806" y="386"/>
                  <a:pt x="1805" y="392"/>
                </a:cubicBezTo>
                <a:cubicBezTo>
                  <a:pt x="1803" y="403"/>
                  <a:pt x="1795" y="426"/>
                  <a:pt x="1781" y="462"/>
                </a:cubicBezTo>
                <a:cubicBezTo>
                  <a:pt x="1768" y="497"/>
                  <a:pt x="1760" y="517"/>
                  <a:pt x="1757" y="520"/>
                </a:cubicBezTo>
                <a:cubicBezTo>
                  <a:pt x="1756" y="522"/>
                  <a:pt x="1755" y="523"/>
                  <a:pt x="1755" y="524"/>
                </a:cubicBezTo>
                <a:cubicBezTo>
                  <a:pt x="1755" y="524"/>
                  <a:pt x="1755" y="524"/>
                  <a:pt x="1755" y="524"/>
                </a:cubicBezTo>
                <a:cubicBezTo>
                  <a:pt x="1756" y="525"/>
                  <a:pt x="1756" y="525"/>
                  <a:pt x="1756" y="525"/>
                </a:cubicBezTo>
                <a:cubicBezTo>
                  <a:pt x="1756" y="526"/>
                  <a:pt x="1755" y="528"/>
                  <a:pt x="1755" y="529"/>
                </a:cubicBezTo>
                <a:cubicBezTo>
                  <a:pt x="1753" y="534"/>
                  <a:pt x="1751" y="536"/>
                  <a:pt x="1750" y="536"/>
                </a:cubicBezTo>
                <a:lnTo>
                  <a:pt x="1749" y="536"/>
                </a:lnTo>
                <a:cubicBezTo>
                  <a:pt x="1747" y="536"/>
                  <a:pt x="1746" y="538"/>
                  <a:pt x="1746" y="542"/>
                </a:cubicBezTo>
                <a:lnTo>
                  <a:pt x="1747" y="546"/>
                </a:lnTo>
                <a:cubicBezTo>
                  <a:pt x="1747" y="546"/>
                  <a:pt x="1747" y="546"/>
                  <a:pt x="1746" y="546"/>
                </a:cubicBezTo>
                <a:lnTo>
                  <a:pt x="1745" y="546"/>
                </a:lnTo>
                <a:cubicBezTo>
                  <a:pt x="1744" y="546"/>
                  <a:pt x="1743" y="546"/>
                  <a:pt x="1742" y="548"/>
                </a:cubicBezTo>
                <a:cubicBezTo>
                  <a:pt x="1742" y="549"/>
                  <a:pt x="1741" y="550"/>
                  <a:pt x="1741" y="552"/>
                </a:cubicBezTo>
                <a:lnTo>
                  <a:pt x="1742" y="555"/>
                </a:lnTo>
                <a:cubicBezTo>
                  <a:pt x="1742" y="555"/>
                  <a:pt x="1742" y="556"/>
                  <a:pt x="1741" y="556"/>
                </a:cubicBezTo>
                <a:cubicBezTo>
                  <a:pt x="1740" y="556"/>
                  <a:pt x="1739" y="556"/>
                  <a:pt x="1739" y="557"/>
                </a:cubicBezTo>
                <a:lnTo>
                  <a:pt x="1740" y="558"/>
                </a:lnTo>
                <a:cubicBezTo>
                  <a:pt x="1740" y="560"/>
                  <a:pt x="1739" y="561"/>
                  <a:pt x="1738" y="561"/>
                </a:cubicBezTo>
                <a:cubicBezTo>
                  <a:pt x="1738" y="561"/>
                  <a:pt x="1737" y="561"/>
                  <a:pt x="1737" y="562"/>
                </a:cubicBezTo>
                <a:lnTo>
                  <a:pt x="1738" y="564"/>
                </a:lnTo>
                <a:cubicBezTo>
                  <a:pt x="1738" y="565"/>
                  <a:pt x="1737" y="565"/>
                  <a:pt x="1736" y="565"/>
                </a:cubicBezTo>
                <a:cubicBezTo>
                  <a:pt x="1736" y="565"/>
                  <a:pt x="1735" y="566"/>
                  <a:pt x="1735" y="567"/>
                </a:cubicBezTo>
                <a:lnTo>
                  <a:pt x="1736" y="569"/>
                </a:lnTo>
                <a:cubicBezTo>
                  <a:pt x="1736" y="570"/>
                  <a:pt x="1735" y="570"/>
                  <a:pt x="1734" y="570"/>
                </a:cubicBezTo>
                <a:cubicBezTo>
                  <a:pt x="1733" y="570"/>
                  <a:pt x="1733" y="570"/>
                  <a:pt x="1733" y="571"/>
                </a:cubicBezTo>
                <a:lnTo>
                  <a:pt x="1733" y="572"/>
                </a:lnTo>
                <a:cubicBezTo>
                  <a:pt x="1733" y="573"/>
                  <a:pt x="1733" y="574"/>
                  <a:pt x="1732" y="574"/>
                </a:cubicBezTo>
                <a:cubicBezTo>
                  <a:pt x="1731" y="574"/>
                  <a:pt x="1731" y="575"/>
                  <a:pt x="1731" y="576"/>
                </a:cubicBezTo>
                <a:lnTo>
                  <a:pt x="1731" y="578"/>
                </a:lnTo>
                <a:cubicBezTo>
                  <a:pt x="1731" y="579"/>
                  <a:pt x="1731" y="579"/>
                  <a:pt x="1730" y="579"/>
                </a:cubicBezTo>
                <a:cubicBezTo>
                  <a:pt x="1729" y="579"/>
                  <a:pt x="1729" y="580"/>
                  <a:pt x="1728" y="581"/>
                </a:cubicBezTo>
                <a:cubicBezTo>
                  <a:pt x="1726" y="582"/>
                  <a:pt x="1725" y="584"/>
                  <a:pt x="1724" y="587"/>
                </a:cubicBezTo>
                <a:cubicBezTo>
                  <a:pt x="1723" y="589"/>
                  <a:pt x="1723" y="591"/>
                  <a:pt x="1723" y="592"/>
                </a:cubicBezTo>
                <a:lnTo>
                  <a:pt x="1725" y="590"/>
                </a:lnTo>
                <a:cubicBezTo>
                  <a:pt x="1725" y="590"/>
                  <a:pt x="1726" y="591"/>
                  <a:pt x="1726" y="591"/>
                </a:cubicBezTo>
                <a:cubicBezTo>
                  <a:pt x="1726" y="592"/>
                  <a:pt x="1724" y="594"/>
                  <a:pt x="1721" y="598"/>
                </a:cubicBezTo>
                <a:lnTo>
                  <a:pt x="1718" y="601"/>
                </a:lnTo>
                <a:lnTo>
                  <a:pt x="1720" y="600"/>
                </a:lnTo>
                <a:cubicBezTo>
                  <a:pt x="1721" y="600"/>
                  <a:pt x="1721" y="600"/>
                  <a:pt x="1721" y="600"/>
                </a:cubicBezTo>
                <a:cubicBezTo>
                  <a:pt x="1721" y="600"/>
                  <a:pt x="1720" y="602"/>
                  <a:pt x="1719" y="603"/>
                </a:cubicBezTo>
                <a:cubicBezTo>
                  <a:pt x="1718" y="605"/>
                  <a:pt x="1717" y="606"/>
                  <a:pt x="1716" y="607"/>
                </a:cubicBezTo>
                <a:cubicBezTo>
                  <a:pt x="1715" y="608"/>
                  <a:pt x="1715" y="609"/>
                  <a:pt x="1714" y="609"/>
                </a:cubicBezTo>
                <a:cubicBezTo>
                  <a:pt x="1713" y="609"/>
                  <a:pt x="1713" y="609"/>
                  <a:pt x="1713" y="610"/>
                </a:cubicBezTo>
                <a:lnTo>
                  <a:pt x="1714" y="611"/>
                </a:lnTo>
                <a:cubicBezTo>
                  <a:pt x="1714" y="613"/>
                  <a:pt x="1713" y="615"/>
                  <a:pt x="1711" y="617"/>
                </a:cubicBezTo>
                <a:cubicBezTo>
                  <a:pt x="1708" y="620"/>
                  <a:pt x="1707" y="622"/>
                  <a:pt x="1707" y="622"/>
                </a:cubicBezTo>
                <a:lnTo>
                  <a:pt x="1708" y="625"/>
                </a:lnTo>
                <a:cubicBezTo>
                  <a:pt x="1708" y="625"/>
                  <a:pt x="1707" y="627"/>
                  <a:pt x="1706" y="628"/>
                </a:cubicBezTo>
                <a:cubicBezTo>
                  <a:pt x="1704" y="630"/>
                  <a:pt x="1703" y="631"/>
                  <a:pt x="1703" y="632"/>
                </a:cubicBezTo>
                <a:cubicBezTo>
                  <a:pt x="1702" y="632"/>
                  <a:pt x="1702" y="634"/>
                  <a:pt x="1702" y="635"/>
                </a:cubicBezTo>
                <a:cubicBezTo>
                  <a:pt x="1702" y="637"/>
                  <a:pt x="1701" y="637"/>
                  <a:pt x="1700" y="637"/>
                </a:cubicBezTo>
                <a:lnTo>
                  <a:pt x="1699" y="637"/>
                </a:lnTo>
                <a:cubicBezTo>
                  <a:pt x="1698" y="637"/>
                  <a:pt x="1698" y="638"/>
                  <a:pt x="1697" y="639"/>
                </a:cubicBezTo>
                <a:cubicBezTo>
                  <a:pt x="1696" y="640"/>
                  <a:pt x="1696" y="641"/>
                  <a:pt x="1696" y="642"/>
                </a:cubicBezTo>
                <a:cubicBezTo>
                  <a:pt x="1696" y="642"/>
                  <a:pt x="1696" y="642"/>
                  <a:pt x="1696" y="642"/>
                </a:cubicBezTo>
                <a:lnTo>
                  <a:pt x="1698" y="642"/>
                </a:lnTo>
                <a:cubicBezTo>
                  <a:pt x="1698" y="642"/>
                  <a:pt x="1698" y="642"/>
                  <a:pt x="1698" y="642"/>
                </a:cubicBezTo>
                <a:cubicBezTo>
                  <a:pt x="1698" y="644"/>
                  <a:pt x="1697" y="645"/>
                  <a:pt x="1695" y="648"/>
                </a:cubicBezTo>
                <a:lnTo>
                  <a:pt x="1693" y="649"/>
                </a:lnTo>
                <a:cubicBezTo>
                  <a:pt x="1691" y="649"/>
                  <a:pt x="1689" y="650"/>
                  <a:pt x="1689" y="653"/>
                </a:cubicBezTo>
                <a:cubicBezTo>
                  <a:pt x="1689" y="654"/>
                  <a:pt x="1690" y="654"/>
                  <a:pt x="1690" y="654"/>
                </a:cubicBezTo>
                <a:lnTo>
                  <a:pt x="1691" y="653"/>
                </a:lnTo>
                <a:cubicBezTo>
                  <a:pt x="1691" y="653"/>
                  <a:pt x="1692" y="653"/>
                  <a:pt x="1692" y="653"/>
                </a:cubicBezTo>
                <a:cubicBezTo>
                  <a:pt x="1693" y="653"/>
                  <a:pt x="1693" y="653"/>
                  <a:pt x="1693" y="653"/>
                </a:cubicBezTo>
                <a:cubicBezTo>
                  <a:pt x="1693" y="655"/>
                  <a:pt x="1692" y="657"/>
                  <a:pt x="1689" y="659"/>
                </a:cubicBezTo>
                <a:lnTo>
                  <a:pt x="1686" y="660"/>
                </a:lnTo>
                <a:cubicBezTo>
                  <a:pt x="1686" y="660"/>
                  <a:pt x="1686" y="660"/>
                  <a:pt x="1685" y="660"/>
                </a:cubicBezTo>
                <a:cubicBezTo>
                  <a:pt x="1685" y="660"/>
                  <a:pt x="1684" y="660"/>
                  <a:pt x="1682" y="662"/>
                </a:cubicBezTo>
                <a:cubicBezTo>
                  <a:pt x="1681" y="663"/>
                  <a:pt x="1681" y="664"/>
                  <a:pt x="1681" y="665"/>
                </a:cubicBezTo>
                <a:cubicBezTo>
                  <a:pt x="1681" y="666"/>
                  <a:pt x="1681" y="666"/>
                  <a:pt x="1683" y="666"/>
                </a:cubicBezTo>
                <a:lnTo>
                  <a:pt x="1686" y="666"/>
                </a:lnTo>
                <a:cubicBezTo>
                  <a:pt x="1686" y="667"/>
                  <a:pt x="1684" y="667"/>
                  <a:pt x="1682" y="669"/>
                </a:cubicBezTo>
                <a:cubicBezTo>
                  <a:pt x="1679" y="670"/>
                  <a:pt x="1677" y="672"/>
                  <a:pt x="1676" y="675"/>
                </a:cubicBezTo>
                <a:cubicBezTo>
                  <a:pt x="1675" y="679"/>
                  <a:pt x="1673" y="681"/>
                  <a:pt x="1670" y="683"/>
                </a:cubicBezTo>
                <a:cubicBezTo>
                  <a:pt x="1668" y="684"/>
                  <a:pt x="1667" y="685"/>
                  <a:pt x="1667" y="686"/>
                </a:cubicBezTo>
                <a:lnTo>
                  <a:pt x="1667" y="687"/>
                </a:lnTo>
                <a:cubicBezTo>
                  <a:pt x="1667" y="689"/>
                  <a:pt x="1666" y="693"/>
                  <a:pt x="1662" y="699"/>
                </a:cubicBezTo>
                <a:cubicBezTo>
                  <a:pt x="1658" y="708"/>
                  <a:pt x="1656" y="713"/>
                  <a:pt x="1656" y="714"/>
                </a:cubicBezTo>
                <a:cubicBezTo>
                  <a:pt x="1656" y="715"/>
                  <a:pt x="1655" y="716"/>
                  <a:pt x="1655" y="716"/>
                </a:cubicBezTo>
                <a:lnTo>
                  <a:pt x="1654" y="715"/>
                </a:lnTo>
                <a:cubicBezTo>
                  <a:pt x="1652" y="715"/>
                  <a:pt x="1651" y="717"/>
                  <a:pt x="1649" y="720"/>
                </a:cubicBezTo>
                <a:cubicBezTo>
                  <a:pt x="1647" y="723"/>
                  <a:pt x="1646" y="725"/>
                  <a:pt x="1646" y="725"/>
                </a:cubicBezTo>
                <a:cubicBezTo>
                  <a:pt x="1646" y="726"/>
                  <a:pt x="1643" y="730"/>
                  <a:pt x="1637" y="737"/>
                </a:cubicBezTo>
                <a:cubicBezTo>
                  <a:pt x="1618" y="764"/>
                  <a:pt x="1608" y="777"/>
                  <a:pt x="1606" y="777"/>
                </a:cubicBezTo>
                <a:cubicBezTo>
                  <a:pt x="1605" y="777"/>
                  <a:pt x="1605" y="777"/>
                  <a:pt x="1605" y="778"/>
                </a:cubicBezTo>
                <a:lnTo>
                  <a:pt x="1606" y="781"/>
                </a:lnTo>
                <a:cubicBezTo>
                  <a:pt x="1606" y="782"/>
                  <a:pt x="1605" y="783"/>
                  <a:pt x="1604" y="783"/>
                </a:cubicBezTo>
                <a:cubicBezTo>
                  <a:pt x="1603" y="783"/>
                  <a:pt x="1599" y="786"/>
                  <a:pt x="1593" y="792"/>
                </a:cubicBezTo>
                <a:cubicBezTo>
                  <a:pt x="1580" y="804"/>
                  <a:pt x="1568" y="810"/>
                  <a:pt x="1555" y="810"/>
                </a:cubicBezTo>
                <a:close/>
                <a:moveTo>
                  <a:pt x="1614" y="732"/>
                </a:moveTo>
                <a:cubicBezTo>
                  <a:pt x="1614" y="732"/>
                  <a:pt x="1614" y="731"/>
                  <a:pt x="1615" y="731"/>
                </a:cubicBezTo>
                <a:cubicBezTo>
                  <a:pt x="1616" y="730"/>
                  <a:pt x="1617" y="729"/>
                  <a:pt x="1617" y="728"/>
                </a:cubicBezTo>
                <a:cubicBezTo>
                  <a:pt x="1617" y="727"/>
                  <a:pt x="1617" y="727"/>
                  <a:pt x="1616" y="727"/>
                </a:cubicBezTo>
                <a:lnTo>
                  <a:pt x="1615" y="727"/>
                </a:lnTo>
                <a:cubicBezTo>
                  <a:pt x="1613" y="728"/>
                  <a:pt x="1612" y="729"/>
                  <a:pt x="1612" y="730"/>
                </a:cubicBezTo>
                <a:cubicBezTo>
                  <a:pt x="1612" y="731"/>
                  <a:pt x="1613" y="732"/>
                  <a:pt x="1614" y="732"/>
                </a:cubicBezTo>
                <a:close/>
                <a:moveTo>
                  <a:pt x="1590" y="521"/>
                </a:moveTo>
                <a:cubicBezTo>
                  <a:pt x="1592" y="521"/>
                  <a:pt x="1593" y="520"/>
                  <a:pt x="1594" y="518"/>
                </a:cubicBezTo>
                <a:lnTo>
                  <a:pt x="1594" y="517"/>
                </a:lnTo>
                <a:cubicBezTo>
                  <a:pt x="1594" y="515"/>
                  <a:pt x="1594" y="514"/>
                  <a:pt x="1593" y="514"/>
                </a:cubicBezTo>
                <a:cubicBezTo>
                  <a:pt x="1592" y="513"/>
                  <a:pt x="1591" y="513"/>
                  <a:pt x="1591" y="513"/>
                </a:cubicBezTo>
                <a:lnTo>
                  <a:pt x="1591" y="514"/>
                </a:lnTo>
                <a:cubicBezTo>
                  <a:pt x="1592" y="514"/>
                  <a:pt x="1592" y="514"/>
                  <a:pt x="1592" y="515"/>
                </a:cubicBezTo>
                <a:cubicBezTo>
                  <a:pt x="1592" y="516"/>
                  <a:pt x="1591" y="517"/>
                  <a:pt x="1590" y="518"/>
                </a:cubicBezTo>
                <a:lnTo>
                  <a:pt x="1589" y="520"/>
                </a:lnTo>
                <a:cubicBezTo>
                  <a:pt x="1589" y="521"/>
                  <a:pt x="1590" y="521"/>
                  <a:pt x="1590" y="521"/>
                </a:cubicBezTo>
                <a:close/>
                <a:moveTo>
                  <a:pt x="1584" y="546"/>
                </a:moveTo>
                <a:lnTo>
                  <a:pt x="1583" y="544"/>
                </a:lnTo>
                <a:cubicBezTo>
                  <a:pt x="1583" y="543"/>
                  <a:pt x="1584" y="542"/>
                  <a:pt x="1585" y="541"/>
                </a:cubicBezTo>
                <a:cubicBezTo>
                  <a:pt x="1587" y="541"/>
                  <a:pt x="1588" y="539"/>
                  <a:pt x="1588" y="536"/>
                </a:cubicBezTo>
                <a:lnTo>
                  <a:pt x="1588" y="535"/>
                </a:lnTo>
                <a:cubicBezTo>
                  <a:pt x="1587" y="531"/>
                  <a:pt x="1587" y="528"/>
                  <a:pt x="1586" y="528"/>
                </a:cubicBezTo>
                <a:cubicBezTo>
                  <a:pt x="1586" y="528"/>
                  <a:pt x="1585" y="529"/>
                  <a:pt x="1585" y="530"/>
                </a:cubicBezTo>
                <a:cubicBezTo>
                  <a:pt x="1584" y="531"/>
                  <a:pt x="1584" y="532"/>
                  <a:pt x="1584" y="534"/>
                </a:cubicBezTo>
                <a:cubicBezTo>
                  <a:pt x="1584" y="535"/>
                  <a:pt x="1584" y="536"/>
                  <a:pt x="1585" y="537"/>
                </a:cubicBezTo>
                <a:cubicBezTo>
                  <a:pt x="1586" y="538"/>
                  <a:pt x="1587" y="539"/>
                  <a:pt x="1587" y="539"/>
                </a:cubicBezTo>
                <a:lnTo>
                  <a:pt x="1586" y="540"/>
                </a:lnTo>
                <a:lnTo>
                  <a:pt x="1582" y="539"/>
                </a:lnTo>
                <a:cubicBezTo>
                  <a:pt x="1581" y="539"/>
                  <a:pt x="1580" y="540"/>
                  <a:pt x="1580" y="541"/>
                </a:cubicBezTo>
                <a:cubicBezTo>
                  <a:pt x="1580" y="542"/>
                  <a:pt x="1580" y="544"/>
                  <a:pt x="1581" y="545"/>
                </a:cubicBezTo>
                <a:cubicBezTo>
                  <a:pt x="1582" y="546"/>
                  <a:pt x="1583" y="546"/>
                  <a:pt x="1584" y="546"/>
                </a:cubicBezTo>
                <a:close/>
                <a:moveTo>
                  <a:pt x="1569" y="558"/>
                </a:moveTo>
                <a:cubicBezTo>
                  <a:pt x="1570" y="558"/>
                  <a:pt x="1571" y="557"/>
                  <a:pt x="1571" y="556"/>
                </a:cubicBezTo>
                <a:cubicBezTo>
                  <a:pt x="1571" y="554"/>
                  <a:pt x="1571" y="554"/>
                  <a:pt x="1570" y="554"/>
                </a:cubicBezTo>
                <a:cubicBezTo>
                  <a:pt x="1570" y="554"/>
                  <a:pt x="1569" y="554"/>
                  <a:pt x="1568" y="556"/>
                </a:cubicBezTo>
                <a:lnTo>
                  <a:pt x="1568" y="557"/>
                </a:lnTo>
                <a:cubicBezTo>
                  <a:pt x="1568" y="558"/>
                  <a:pt x="1568" y="558"/>
                  <a:pt x="1569" y="558"/>
                </a:cubicBezTo>
                <a:close/>
                <a:moveTo>
                  <a:pt x="1563" y="579"/>
                </a:moveTo>
                <a:cubicBezTo>
                  <a:pt x="1564" y="579"/>
                  <a:pt x="1565" y="578"/>
                  <a:pt x="1565" y="574"/>
                </a:cubicBezTo>
                <a:lnTo>
                  <a:pt x="1565" y="572"/>
                </a:lnTo>
                <a:cubicBezTo>
                  <a:pt x="1565" y="571"/>
                  <a:pt x="1565" y="571"/>
                  <a:pt x="1565" y="571"/>
                </a:cubicBezTo>
                <a:lnTo>
                  <a:pt x="1565" y="571"/>
                </a:lnTo>
                <a:cubicBezTo>
                  <a:pt x="1563" y="572"/>
                  <a:pt x="1563" y="574"/>
                  <a:pt x="1563" y="575"/>
                </a:cubicBezTo>
                <a:cubicBezTo>
                  <a:pt x="1563" y="578"/>
                  <a:pt x="1563" y="579"/>
                  <a:pt x="1563" y="579"/>
                </a:cubicBezTo>
                <a:close/>
                <a:moveTo>
                  <a:pt x="1559" y="595"/>
                </a:moveTo>
                <a:cubicBezTo>
                  <a:pt x="1560" y="595"/>
                  <a:pt x="1560" y="594"/>
                  <a:pt x="1560" y="593"/>
                </a:cubicBezTo>
                <a:lnTo>
                  <a:pt x="1560" y="590"/>
                </a:lnTo>
                <a:cubicBezTo>
                  <a:pt x="1560" y="589"/>
                  <a:pt x="1559" y="589"/>
                  <a:pt x="1559" y="589"/>
                </a:cubicBezTo>
                <a:cubicBezTo>
                  <a:pt x="1558" y="589"/>
                  <a:pt x="1558" y="590"/>
                  <a:pt x="1558" y="591"/>
                </a:cubicBezTo>
                <a:cubicBezTo>
                  <a:pt x="1558" y="593"/>
                  <a:pt x="1559" y="594"/>
                  <a:pt x="1559" y="595"/>
                </a:cubicBezTo>
                <a:close/>
                <a:moveTo>
                  <a:pt x="1552" y="622"/>
                </a:moveTo>
                <a:cubicBezTo>
                  <a:pt x="1553" y="622"/>
                  <a:pt x="1554" y="621"/>
                  <a:pt x="1554" y="617"/>
                </a:cubicBezTo>
                <a:cubicBezTo>
                  <a:pt x="1554" y="615"/>
                  <a:pt x="1554" y="614"/>
                  <a:pt x="1553" y="614"/>
                </a:cubicBezTo>
                <a:cubicBezTo>
                  <a:pt x="1553" y="614"/>
                  <a:pt x="1552" y="614"/>
                  <a:pt x="1552" y="615"/>
                </a:cubicBezTo>
                <a:cubicBezTo>
                  <a:pt x="1550" y="618"/>
                  <a:pt x="1550" y="620"/>
                  <a:pt x="1550" y="620"/>
                </a:cubicBezTo>
                <a:cubicBezTo>
                  <a:pt x="1550" y="622"/>
                  <a:pt x="1550" y="622"/>
                  <a:pt x="1552" y="622"/>
                </a:cubicBezTo>
                <a:close/>
                <a:moveTo>
                  <a:pt x="1550" y="632"/>
                </a:moveTo>
                <a:cubicBezTo>
                  <a:pt x="1551" y="632"/>
                  <a:pt x="1552" y="631"/>
                  <a:pt x="1552" y="630"/>
                </a:cubicBezTo>
                <a:cubicBezTo>
                  <a:pt x="1552" y="628"/>
                  <a:pt x="1551" y="627"/>
                  <a:pt x="1550" y="627"/>
                </a:cubicBezTo>
                <a:cubicBezTo>
                  <a:pt x="1548" y="627"/>
                  <a:pt x="1547" y="628"/>
                  <a:pt x="1547" y="630"/>
                </a:cubicBezTo>
                <a:cubicBezTo>
                  <a:pt x="1547" y="631"/>
                  <a:pt x="1548" y="632"/>
                  <a:pt x="1550" y="632"/>
                </a:cubicBezTo>
                <a:close/>
                <a:moveTo>
                  <a:pt x="1547" y="644"/>
                </a:moveTo>
                <a:cubicBezTo>
                  <a:pt x="1549" y="643"/>
                  <a:pt x="1550" y="642"/>
                  <a:pt x="1550" y="639"/>
                </a:cubicBezTo>
                <a:cubicBezTo>
                  <a:pt x="1550" y="637"/>
                  <a:pt x="1549" y="636"/>
                  <a:pt x="1548" y="636"/>
                </a:cubicBezTo>
                <a:cubicBezTo>
                  <a:pt x="1547" y="636"/>
                  <a:pt x="1547" y="637"/>
                  <a:pt x="1546" y="641"/>
                </a:cubicBezTo>
                <a:lnTo>
                  <a:pt x="1546" y="642"/>
                </a:lnTo>
                <a:cubicBezTo>
                  <a:pt x="1546" y="644"/>
                  <a:pt x="1546" y="644"/>
                  <a:pt x="1547" y="644"/>
                </a:cubicBezTo>
                <a:close/>
                <a:moveTo>
                  <a:pt x="1545" y="655"/>
                </a:moveTo>
                <a:cubicBezTo>
                  <a:pt x="1547" y="655"/>
                  <a:pt x="1547" y="654"/>
                  <a:pt x="1547" y="652"/>
                </a:cubicBezTo>
                <a:cubicBezTo>
                  <a:pt x="1547" y="651"/>
                  <a:pt x="1547" y="650"/>
                  <a:pt x="1545" y="650"/>
                </a:cubicBezTo>
                <a:cubicBezTo>
                  <a:pt x="1544" y="650"/>
                  <a:pt x="1543" y="651"/>
                  <a:pt x="1543" y="652"/>
                </a:cubicBezTo>
                <a:cubicBezTo>
                  <a:pt x="1543" y="654"/>
                  <a:pt x="1544" y="655"/>
                  <a:pt x="1545" y="655"/>
                </a:cubicBezTo>
                <a:close/>
                <a:moveTo>
                  <a:pt x="1543" y="668"/>
                </a:moveTo>
                <a:cubicBezTo>
                  <a:pt x="1545" y="668"/>
                  <a:pt x="1545" y="667"/>
                  <a:pt x="1545" y="666"/>
                </a:cubicBezTo>
                <a:cubicBezTo>
                  <a:pt x="1545" y="664"/>
                  <a:pt x="1545" y="664"/>
                  <a:pt x="1543" y="664"/>
                </a:cubicBezTo>
                <a:cubicBezTo>
                  <a:pt x="1542" y="664"/>
                  <a:pt x="1541" y="664"/>
                  <a:pt x="1541" y="666"/>
                </a:cubicBezTo>
                <a:cubicBezTo>
                  <a:pt x="1541" y="667"/>
                  <a:pt x="1542" y="668"/>
                  <a:pt x="1543" y="668"/>
                </a:cubicBezTo>
                <a:close/>
                <a:moveTo>
                  <a:pt x="1540" y="685"/>
                </a:moveTo>
                <a:cubicBezTo>
                  <a:pt x="1540" y="685"/>
                  <a:pt x="1541" y="684"/>
                  <a:pt x="1542" y="683"/>
                </a:cubicBezTo>
                <a:cubicBezTo>
                  <a:pt x="1543" y="681"/>
                  <a:pt x="1543" y="680"/>
                  <a:pt x="1543" y="678"/>
                </a:cubicBezTo>
                <a:cubicBezTo>
                  <a:pt x="1543" y="676"/>
                  <a:pt x="1543" y="676"/>
                  <a:pt x="1542" y="676"/>
                </a:cubicBezTo>
                <a:lnTo>
                  <a:pt x="1541" y="676"/>
                </a:lnTo>
                <a:cubicBezTo>
                  <a:pt x="1540" y="677"/>
                  <a:pt x="1539" y="679"/>
                  <a:pt x="1539" y="683"/>
                </a:cubicBezTo>
                <a:cubicBezTo>
                  <a:pt x="1539" y="684"/>
                  <a:pt x="1539" y="685"/>
                  <a:pt x="1539" y="685"/>
                </a:cubicBezTo>
                <a:lnTo>
                  <a:pt x="1540" y="685"/>
                </a:lnTo>
                <a:close/>
                <a:moveTo>
                  <a:pt x="1537" y="719"/>
                </a:moveTo>
                <a:cubicBezTo>
                  <a:pt x="1538" y="719"/>
                  <a:pt x="1539" y="716"/>
                  <a:pt x="1539" y="710"/>
                </a:cubicBezTo>
                <a:cubicBezTo>
                  <a:pt x="1539" y="705"/>
                  <a:pt x="1538" y="703"/>
                  <a:pt x="1538" y="703"/>
                </a:cubicBezTo>
                <a:cubicBezTo>
                  <a:pt x="1537" y="703"/>
                  <a:pt x="1537" y="706"/>
                  <a:pt x="1536" y="711"/>
                </a:cubicBezTo>
                <a:lnTo>
                  <a:pt x="1536" y="714"/>
                </a:lnTo>
                <a:cubicBezTo>
                  <a:pt x="1536" y="716"/>
                  <a:pt x="1536" y="717"/>
                  <a:pt x="1536" y="717"/>
                </a:cubicBezTo>
                <a:cubicBezTo>
                  <a:pt x="1536" y="717"/>
                  <a:pt x="1536" y="718"/>
                  <a:pt x="1537" y="719"/>
                </a:cubicBezTo>
                <a:close/>
                <a:moveTo>
                  <a:pt x="1539" y="700"/>
                </a:moveTo>
                <a:cubicBezTo>
                  <a:pt x="1541" y="700"/>
                  <a:pt x="1541" y="698"/>
                  <a:pt x="1541" y="694"/>
                </a:cubicBezTo>
                <a:cubicBezTo>
                  <a:pt x="1541" y="691"/>
                  <a:pt x="1541" y="689"/>
                  <a:pt x="1540" y="689"/>
                </a:cubicBezTo>
                <a:lnTo>
                  <a:pt x="1539" y="690"/>
                </a:lnTo>
                <a:cubicBezTo>
                  <a:pt x="1538" y="691"/>
                  <a:pt x="1538" y="691"/>
                  <a:pt x="1538" y="693"/>
                </a:cubicBezTo>
                <a:cubicBezTo>
                  <a:pt x="1538" y="694"/>
                  <a:pt x="1538" y="695"/>
                  <a:pt x="1538" y="696"/>
                </a:cubicBezTo>
                <a:cubicBezTo>
                  <a:pt x="1538" y="697"/>
                  <a:pt x="1538" y="698"/>
                  <a:pt x="1538" y="698"/>
                </a:cubicBezTo>
                <a:cubicBezTo>
                  <a:pt x="1538" y="699"/>
                  <a:pt x="1538" y="700"/>
                  <a:pt x="1539" y="700"/>
                </a:cubicBezTo>
                <a:close/>
                <a:moveTo>
                  <a:pt x="1543" y="803"/>
                </a:moveTo>
                <a:cubicBezTo>
                  <a:pt x="1545" y="803"/>
                  <a:pt x="1546" y="803"/>
                  <a:pt x="1546" y="803"/>
                </a:cubicBezTo>
                <a:lnTo>
                  <a:pt x="1546" y="802"/>
                </a:lnTo>
                <a:cubicBezTo>
                  <a:pt x="1545" y="801"/>
                  <a:pt x="1544" y="801"/>
                  <a:pt x="1544" y="800"/>
                </a:cubicBezTo>
                <a:cubicBezTo>
                  <a:pt x="1544" y="800"/>
                  <a:pt x="1545" y="799"/>
                  <a:pt x="1546" y="797"/>
                </a:cubicBezTo>
                <a:cubicBezTo>
                  <a:pt x="1547" y="796"/>
                  <a:pt x="1547" y="795"/>
                  <a:pt x="1547" y="795"/>
                </a:cubicBezTo>
                <a:cubicBezTo>
                  <a:pt x="1547" y="795"/>
                  <a:pt x="1545" y="795"/>
                  <a:pt x="1544" y="796"/>
                </a:cubicBezTo>
                <a:cubicBezTo>
                  <a:pt x="1542" y="798"/>
                  <a:pt x="1541" y="799"/>
                  <a:pt x="1540" y="800"/>
                </a:cubicBezTo>
                <a:cubicBezTo>
                  <a:pt x="1539" y="801"/>
                  <a:pt x="1539" y="801"/>
                  <a:pt x="1539" y="802"/>
                </a:cubicBezTo>
                <a:cubicBezTo>
                  <a:pt x="1539" y="803"/>
                  <a:pt x="1540" y="803"/>
                  <a:pt x="1543" y="803"/>
                </a:cubicBezTo>
                <a:close/>
                <a:moveTo>
                  <a:pt x="1543" y="776"/>
                </a:moveTo>
                <a:cubicBezTo>
                  <a:pt x="1543" y="776"/>
                  <a:pt x="1544" y="774"/>
                  <a:pt x="1544" y="771"/>
                </a:cubicBezTo>
                <a:lnTo>
                  <a:pt x="1544" y="769"/>
                </a:lnTo>
                <a:cubicBezTo>
                  <a:pt x="1544" y="764"/>
                  <a:pt x="1545" y="762"/>
                  <a:pt x="1545" y="762"/>
                </a:cubicBezTo>
                <a:cubicBezTo>
                  <a:pt x="1546" y="762"/>
                  <a:pt x="1547" y="762"/>
                  <a:pt x="1547" y="762"/>
                </a:cubicBezTo>
                <a:cubicBezTo>
                  <a:pt x="1547" y="762"/>
                  <a:pt x="1546" y="761"/>
                  <a:pt x="1545" y="760"/>
                </a:cubicBezTo>
                <a:cubicBezTo>
                  <a:pt x="1544" y="759"/>
                  <a:pt x="1543" y="759"/>
                  <a:pt x="1543" y="758"/>
                </a:cubicBezTo>
                <a:cubicBezTo>
                  <a:pt x="1543" y="758"/>
                  <a:pt x="1545" y="758"/>
                  <a:pt x="1547" y="757"/>
                </a:cubicBezTo>
                <a:cubicBezTo>
                  <a:pt x="1549" y="757"/>
                  <a:pt x="1550" y="757"/>
                  <a:pt x="1550" y="757"/>
                </a:cubicBezTo>
                <a:lnTo>
                  <a:pt x="1546" y="755"/>
                </a:lnTo>
                <a:cubicBezTo>
                  <a:pt x="1545" y="754"/>
                  <a:pt x="1544" y="754"/>
                  <a:pt x="1544" y="754"/>
                </a:cubicBezTo>
                <a:cubicBezTo>
                  <a:pt x="1544" y="754"/>
                  <a:pt x="1545" y="753"/>
                  <a:pt x="1547" y="753"/>
                </a:cubicBezTo>
                <a:cubicBezTo>
                  <a:pt x="1548" y="753"/>
                  <a:pt x="1549" y="750"/>
                  <a:pt x="1549" y="742"/>
                </a:cubicBezTo>
                <a:cubicBezTo>
                  <a:pt x="1549" y="734"/>
                  <a:pt x="1550" y="726"/>
                  <a:pt x="1552" y="717"/>
                </a:cubicBezTo>
                <a:lnTo>
                  <a:pt x="1557" y="684"/>
                </a:lnTo>
                <a:cubicBezTo>
                  <a:pt x="1557" y="680"/>
                  <a:pt x="1558" y="679"/>
                  <a:pt x="1558" y="679"/>
                </a:cubicBezTo>
                <a:cubicBezTo>
                  <a:pt x="1558" y="679"/>
                  <a:pt x="1559" y="678"/>
                  <a:pt x="1559" y="676"/>
                </a:cubicBezTo>
                <a:cubicBezTo>
                  <a:pt x="1559" y="675"/>
                  <a:pt x="1559" y="674"/>
                  <a:pt x="1559" y="672"/>
                </a:cubicBezTo>
                <a:lnTo>
                  <a:pt x="1560" y="665"/>
                </a:lnTo>
                <a:cubicBezTo>
                  <a:pt x="1560" y="665"/>
                  <a:pt x="1561" y="662"/>
                  <a:pt x="1562" y="656"/>
                </a:cubicBezTo>
                <a:cubicBezTo>
                  <a:pt x="1562" y="650"/>
                  <a:pt x="1563" y="646"/>
                  <a:pt x="1564" y="644"/>
                </a:cubicBezTo>
                <a:cubicBezTo>
                  <a:pt x="1565" y="640"/>
                  <a:pt x="1565" y="637"/>
                  <a:pt x="1565" y="634"/>
                </a:cubicBezTo>
                <a:lnTo>
                  <a:pt x="1565" y="633"/>
                </a:lnTo>
                <a:cubicBezTo>
                  <a:pt x="1565" y="631"/>
                  <a:pt x="1566" y="630"/>
                  <a:pt x="1567" y="630"/>
                </a:cubicBezTo>
                <a:cubicBezTo>
                  <a:pt x="1568" y="630"/>
                  <a:pt x="1568" y="629"/>
                  <a:pt x="1568" y="628"/>
                </a:cubicBezTo>
                <a:cubicBezTo>
                  <a:pt x="1568" y="628"/>
                  <a:pt x="1568" y="627"/>
                  <a:pt x="1568" y="627"/>
                </a:cubicBezTo>
                <a:cubicBezTo>
                  <a:pt x="1568" y="626"/>
                  <a:pt x="1567" y="625"/>
                  <a:pt x="1566" y="625"/>
                </a:cubicBezTo>
                <a:lnTo>
                  <a:pt x="1564" y="626"/>
                </a:lnTo>
                <a:cubicBezTo>
                  <a:pt x="1564" y="626"/>
                  <a:pt x="1563" y="626"/>
                  <a:pt x="1563" y="625"/>
                </a:cubicBezTo>
                <a:cubicBezTo>
                  <a:pt x="1563" y="624"/>
                  <a:pt x="1564" y="622"/>
                  <a:pt x="1565" y="621"/>
                </a:cubicBezTo>
                <a:cubicBezTo>
                  <a:pt x="1567" y="620"/>
                  <a:pt x="1568" y="620"/>
                  <a:pt x="1569" y="620"/>
                </a:cubicBezTo>
                <a:cubicBezTo>
                  <a:pt x="1570" y="620"/>
                  <a:pt x="1571" y="620"/>
                  <a:pt x="1571" y="619"/>
                </a:cubicBezTo>
                <a:cubicBezTo>
                  <a:pt x="1571" y="619"/>
                  <a:pt x="1570" y="619"/>
                  <a:pt x="1569" y="618"/>
                </a:cubicBezTo>
                <a:cubicBezTo>
                  <a:pt x="1568" y="617"/>
                  <a:pt x="1568" y="615"/>
                  <a:pt x="1568" y="611"/>
                </a:cubicBezTo>
                <a:cubicBezTo>
                  <a:pt x="1568" y="605"/>
                  <a:pt x="1569" y="603"/>
                  <a:pt x="1570" y="603"/>
                </a:cubicBezTo>
                <a:lnTo>
                  <a:pt x="1572" y="603"/>
                </a:lnTo>
                <a:lnTo>
                  <a:pt x="1573" y="603"/>
                </a:lnTo>
                <a:cubicBezTo>
                  <a:pt x="1573" y="602"/>
                  <a:pt x="1572" y="601"/>
                  <a:pt x="1572" y="599"/>
                </a:cubicBezTo>
                <a:cubicBezTo>
                  <a:pt x="1571" y="598"/>
                  <a:pt x="1570" y="597"/>
                  <a:pt x="1570" y="596"/>
                </a:cubicBezTo>
                <a:cubicBezTo>
                  <a:pt x="1570" y="595"/>
                  <a:pt x="1571" y="595"/>
                  <a:pt x="1572" y="595"/>
                </a:cubicBezTo>
                <a:cubicBezTo>
                  <a:pt x="1573" y="595"/>
                  <a:pt x="1573" y="594"/>
                  <a:pt x="1573" y="593"/>
                </a:cubicBezTo>
                <a:lnTo>
                  <a:pt x="1573" y="588"/>
                </a:lnTo>
                <a:cubicBezTo>
                  <a:pt x="1573" y="586"/>
                  <a:pt x="1573" y="585"/>
                  <a:pt x="1574" y="585"/>
                </a:cubicBezTo>
                <a:cubicBezTo>
                  <a:pt x="1575" y="585"/>
                  <a:pt x="1575" y="585"/>
                  <a:pt x="1575" y="583"/>
                </a:cubicBezTo>
                <a:cubicBezTo>
                  <a:pt x="1575" y="582"/>
                  <a:pt x="1575" y="580"/>
                  <a:pt x="1575" y="579"/>
                </a:cubicBezTo>
                <a:cubicBezTo>
                  <a:pt x="1574" y="577"/>
                  <a:pt x="1574" y="576"/>
                  <a:pt x="1574" y="575"/>
                </a:cubicBezTo>
                <a:lnTo>
                  <a:pt x="1574" y="575"/>
                </a:lnTo>
                <a:cubicBezTo>
                  <a:pt x="1575" y="575"/>
                  <a:pt x="1576" y="576"/>
                  <a:pt x="1577" y="577"/>
                </a:cubicBezTo>
                <a:lnTo>
                  <a:pt x="1580" y="579"/>
                </a:lnTo>
                <a:cubicBezTo>
                  <a:pt x="1580" y="579"/>
                  <a:pt x="1579" y="578"/>
                  <a:pt x="1579" y="576"/>
                </a:cubicBezTo>
                <a:cubicBezTo>
                  <a:pt x="1578" y="575"/>
                  <a:pt x="1577" y="573"/>
                  <a:pt x="1577" y="571"/>
                </a:cubicBezTo>
                <a:cubicBezTo>
                  <a:pt x="1577" y="569"/>
                  <a:pt x="1578" y="566"/>
                  <a:pt x="1579" y="561"/>
                </a:cubicBezTo>
                <a:cubicBezTo>
                  <a:pt x="1580" y="557"/>
                  <a:pt x="1580" y="554"/>
                  <a:pt x="1580" y="552"/>
                </a:cubicBezTo>
                <a:cubicBezTo>
                  <a:pt x="1580" y="551"/>
                  <a:pt x="1580" y="550"/>
                  <a:pt x="1579" y="550"/>
                </a:cubicBezTo>
                <a:cubicBezTo>
                  <a:pt x="1579" y="550"/>
                  <a:pt x="1578" y="550"/>
                  <a:pt x="1578" y="551"/>
                </a:cubicBezTo>
                <a:cubicBezTo>
                  <a:pt x="1577" y="553"/>
                  <a:pt x="1577" y="554"/>
                  <a:pt x="1576" y="556"/>
                </a:cubicBezTo>
                <a:cubicBezTo>
                  <a:pt x="1576" y="557"/>
                  <a:pt x="1576" y="559"/>
                  <a:pt x="1575" y="560"/>
                </a:cubicBezTo>
                <a:cubicBezTo>
                  <a:pt x="1575" y="561"/>
                  <a:pt x="1574" y="562"/>
                  <a:pt x="1574" y="563"/>
                </a:cubicBezTo>
                <a:cubicBezTo>
                  <a:pt x="1570" y="566"/>
                  <a:pt x="1565" y="581"/>
                  <a:pt x="1560" y="607"/>
                </a:cubicBezTo>
                <a:cubicBezTo>
                  <a:pt x="1555" y="634"/>
                  <a:pt x="1551" y="663"/>
                  <a:pt x="1547" y="694"/>
                </a:cubicBezTo>
                <a:cubicBezTo>
                  <a:pt x="1542" y="725"/>
                  <a:pt x="1540" y="748"/>
                  <a:pt x="1540" y="763"/>
                </a:cubicBezTo>
                <a:cubicBezTo>
                  <a:pt x="1540" y="772"/>
                  <a:pt x="1541" y="776"/>
                  <a:pt x="1543" y="776"/>
                </a:cubicBezTo>
                <a:close/>
                <a:moveTo>
                  <a:pt x="1555" y="783"/>
                </a:moveTo>
                <a:cubicBezTo>
                  <a:pt x="1556" y="783"/>
                  <a:pt x="1556" y="780"/>
                  <a:pt x="1556" y="774"/>
                </a:cubicBezTo>
                <a:lnTo>
                  <a:pt x="1556" y="770"/>
                </a:lnTo>
                <a:cubicBezTo>
                  <a:pt x="1556" y="767"/>
                  <a:pt x="1556" y="764"/>
                  <a:pt x="1557" y="763"/>
                </a:cubicBezTo>
                <a:cubicBezTo>
                  <a:pt x="1557" y="762"/>
                  <a:pt x="1557" y="762"/>
                  <a:pt x="1557" y="761"/>
                </a:cubicBezTo>
                <a:cubicBezTo>
                  <a:pt x="1557" y="760"/>
                  <a:pt x="1557" y="760"/>
                  <a:pt x="1556" y="760"/>
                </a:cubicBezTo>
                <a:cubicBezTo>
                  <a:pt x="1555" y="760"/>
                  <a:pt x="1554" y="758"/>
                  <a:pt x="1553" y="755"/>
                </a:cubicBezTo>
                <a:lnTo>
                  <a:pt x="1553" y="753"/>
                </a:lnTo>
                <a:cubicBezTo>
                  <a:pt x="1552" y="753"/>
                  <a:pt x="1552" y="756"/>
                  <a:pt x="1552" y="762"/>
                </a:cubicBezTo>
                <a:cubicBezTo>
                  <a:pt x="1552" y="769"/>
                  <a:pt x="1553" y="775"/>
                  <a:pt x="1554" y="780"/>
                </a:cubicBezTo>
                <a:lnTo>
                  <a:pt x="1555" y="783"/>
                </a:lnTo>
                <a:close/>
                <a:moveTo>
                  <a:pt x="1567" y="805"/>
                </a:moveTo>
                <a:lnTo>
                  <a:pt x="1576" y="804"/>
                </a:lnTo>
                <a:lnTo>
                  <a:pt x="1576" y="803"/>
                </a:lnTo>
                <a:cubicBezTo>
                  <a:pt x="1576" y="803"/>
                  <a:pt x="1575" y="802"/>
                  <a:pt x="1573" y="800"/>
                </a:cubicBezTo>
                <a:cubicBezTo>
                  <a:pt x="1571" y="799"/>
                  <a:pt x="1570" y="798"/>
                  <a:pt x="1568" y="798"/>
                </a:cubicBezTo>
                <a:cubicBezTo>
                  <a:pt x="1567" y="798"/>
                  <a:pt x="1566" y="799"/>
                  <a:pt x="1565" y="799"/>
                </a:cubicBezTo>
                <a:cubicBezTo>
                  <a:pt x="1562" y="801"/>
                  <a:pt x="1561" y="802"/>
                  <a:pt x="1561" y="803"/>
                </a:cubicBezTo>
                <a:cubicBezTo>
                  <a:pt x="1561" y="804"/>
                  <a:pt x="1563" y="805"/>
                  <a:pt x="1567" y="805"/>
                </a:cubicBezTo>
                <a:close/>
                <a:moveTo>
                  <a:pt x="1714" y="565"/>
                </a:moveTo>
                <a:cubicBezTo>
                  <a:pt x="1716" y="565"/>
                  <a:pt x="1717" y="564"/>
                  <a:pt x="1717" y="563"/>
                </a:cubicBezTo>
                <a:cubicBezTo>
                  <a:pt x="1717" y="561"/>
                  <a:pt x="1717" y="561"/>
                  <a:pt x="1716" y="561"/>
                </a:cubicBezTo>
                <a:cubicBezTo>
                  <a:pt x="1715" y="561"/>
                  <a:pt x="1715" y="561"/>
                  <a:pt x="1714" y="562"/>
                </a:cubicBezTo>
                <a:cubicBezTo>
                  <a:pt x="1714" y="563"/>
                  <a:pt x="1714" y="563"/>
                  <a:pt x="1714" y="564"/>
                </a:cubicBezTo>
                <a:cubicBezTo>
                  <a:pt x="1714" y="565"/>
                  <a:pt x="1714" y="565"/>
                  <a:pt x="1714" y="565"/>
                </a:cubicBezTo>
                <a:close/>
                <a:moveTo>
                  <a:pt x="1744" y="491"/>
                </a:moveTo>
                <a:lnTo>
                  <a:pt x="1745" y="490"/>
                </a:lnTo>
                <a:cubicBezTo>
                  <a:pt x="1745" y="489"/>
                  <a:pt x="1744" y="488"/>
                  <a:pt x="1743" y="487"/>
                </a:cubicBezTo>
                <a:cubicBezTo>
                  <a:pt x="1742" y="485"/>
                  <a:pt x="1742" y="485"/>
                  <a:pt x="1741" y="485"/>
                </a:cubicBezTo>
                <a:lnTo>
                  <a:pt x="1741" y="485"/>
                </a:lnTo>
                <a:cubicBezTo>
                  <a:pt x="1741" y="486"/>
                  <a:pt x="1742" y="487"/>
                  <a:pt x="1742" y="488"/>
                </a:cubicBezTo>
                <a:cubicBezTo>
                  <a:pt x="1743" y="490"/>
                  <a:pt x="1743" y="491"/>
                  <a:pt x="1744" y="491"/>
                </a:cubicBezTo>
                <a:close/>
                <a:moveTo>
                  <a:pt x="1750" y="533"/>
                </a:moveTo>
                <a:cubicBezTo>
                  <a:pt x="1751" y="533"/>
                  <a:pt x="1751" y="532"/>
                  <a:pt x="1752" y="529"/>
                </a:cubicBezTo>
                <a:lnTo>
                  <a:pt x="1753" y="527"/>
                </a:lnTo>
                <a:cubicBezTo>
                  <a:pt x="1753" y="527"/>
                  <a:pt x="1753" y="527"/>
                  <a:pt x="1752" y="527"/>
                </a:cubicBezTo>
                <a:lnTo>
                  <a:pt x="1752" y="527"/>
                </a:lnTo>
                <a:cubicBezTo>
                  <a:pt x="1751" y="528"/>
                  <a:pt x="1751" y="528"/>
                  <a:pt x="1750" y="529"/>
                </a:cubicBezTo>
                <a:cubicBezTo>
                  <a:pt x="1750" y="529"/>
                  <a:pt x="1749" y="530"/>
                  <a:pt x="1749" y="531"/>
                </a:cubicBezTo>
                <a:cubicBezTo>
                  <a:pt x="1749" y="532"/>
                  <a:pt x="1750" y="533"/>
                  <a:pt x="1750" y="533"/>
                </a:cubicBezTo>
                <a:close/>
                <a:moveTo>
                  <a:pt x="1752" y="501"/>
                </a:moveTo>
                <a:lnTo>
                  <a:pt x="1755" y="497"/>
                </a:lnTo>
                <a:cubicBezTo>
                  <a:pt x="1757" y="495"/>
                  <a:pt x="1758" y="492"/>
                  <a:pt x="1758" y="491"/>
                </a:cubicBezTo>
                <a:cubicBezTo>
                  <a:pt x="1758" y="490"/>
                  <a:pt x="1758" y="490"/>
                  <a:pt x="1758" y="490"/>
                </a:cubicBezTo>
                <a:cubicBezTo>
                  <a:pt x="1757" y="490"/>
                  <a:pt x="1756" y="492"/>
                  <a:pt x="1754" y="497"/>
                </a:cubicBezTo>
                <a:lnTo>
                  <a:pt x="1752" y="500"/>
                </a:lnTo>
                <a:lnTo>
                  <a:pt x="1752" y="501"/>
                </a:lnTo>
                <a:close/>
                <a:moveTo>
                  <a:pt x="1757" y="516"/>
                </a:moveTo>
                <a:cubicBezTo>
                  <a:pt x="1758" y="516"/>
                  <a:pt x="1758" y="515"/>
                  <a:pt x="1759" y="512"/>
                </a:cubicBezTo>
                <a:cubicBezTo>
                  <a:pt x="1759" y="510"/>
                  <a:pt x="1760" y="508"/>
                  <a:pt x="1761" y="506"/>
                </a:cubicBezTo>
                <a:cubicBezTo>
                  <a:pt x="1762" y="504"/>
                  <a:pt x="1765" y="497"/>
                  <a:pt x="1769" y="486"/>
                </a:cubicBezTo>
                <a:cubicBezTo>
                  <a:pt x="1779" y="459"/>
                  <a:pt x="1788" y="435"/>
                  <a:pt x="1794" y="414"/>
                </a:cubicBezTo>
                <a:cubicBezTo>
                  <a:pt x="1798" y="402"/>
                  <a:pt x="1800" y="392"/>
                  <a:pt x="1803" y="382"/>
                </a:cubicBezTo>
                <a:cubicBezTo>
                  <a:pt x="1805" y="372"/>
                  <a:pt x="1806" y="365"/>
                  <a:pt x="1806" y="362"/>
                </a:cubicBezTo>
                <a:cubicBezTo>
                  <a:pt x="1806" y="360"/>
                  <a:pt x="1806" y="360"/>
                  <a:pt x="1805" y="360"/>
                </a:cubicBezTo>
                <a:cubicBezTo>
                  <a:pt x="1805" y="360"/>
                  <a:pt x="1804" y="360"/>
                  <a:pt x="1803" y="362"/>
                </a:cubicBezTo>
                <a:cubicBezTo>
                  <a:pt x="1803" y="363"/>
                  <a:pt x="1802" y="365"/>
                  <a:pt x="1802" y="367"/>
                </a:cubicBezTo>
                <a:lnTo>
                  <a:pt x="1803" y="371"/>
                </a:lnTo>
                <a:cubicBezTo>
                  <a:pt x="1803" y="372"/>
                  <a:pt x="1802" y="373"/>
                  <a:pt x="1801" y="374"/>
                </a:cubicBezTo>
                <a:cubicBezTo>
                  <a:pt x="1801" y="375"/>
                  <a:pt x="1800" y="375"/>
                  <a:pt x="1800" y="376"/>
                </a:cubicBezTo>
                <a:lnTo>
                  <a:pt x="1801" y="378"/>
                </a:lnTo>
                <a:cubicBezTo>
                  <a:pt x="1801" y="379"/>
                  <a:pt x="1800" y="379"/>
                  <a:pt x="1799" y="379"/>
                </a:cubicBezTo>
                <a:cubicBezTo>
                  <a:pt x="1798" y="379"/>
                  <a:pt x="1798" y="380"/>
                  <a:pt x="1798" y="382"/>
                </a:cubicBezTo>
                <a:lnTo>
                  <a:pt x="1798" y="387"/>
                </a:lnTo>
                <a:cubicBezTo>
                  <a:pt x="1798" y="388"/>
                  <a:pt x="1798" y="389"/>
                  <a:pt x="1797" y="390"/>
                </a:cubicBezTo>
                <a:cubicBezTo>
                  <a:pt x="1796" y="391"/>
                  <a:pt x="1795" y="393"/>
                  <a:pt x="1794" y="397"/>
                </a:cubicBezTo>
                <a:cubicBezTo>
                  <a:pt x="1793" y="401"/>
                  <a:pt x="1791" y="407"/>
                  <a:pt x="1788" y="416"/>
                </a:cubicBezTo>
                <a:cubicBezTo>
                  <a:pt x="1780" y="438"/>
                  <a:pt x="1775" y="452"/>
                  <a:pt x="1772" y="456"/>
                </a:cubicBezTo>
                <a:cubicBezTo>
                  <a:pt x="1771" y="457"/>
                  <a:pt x="1770" y="458"/>
                  <a:pt x="1770" y="459"/>
                </a:cubicBezTo>
                <a:cubicBezTo>
                  <a:pt x="1770" y="460"/>
                  <a:pt x="1771" y="460"/>
                  <a:pt x="1772" y="461"/>
                </a:cubicBezTo>
                <a:cubicBezTo>
                  <a:pt x="1773" y="462"/>
                  <a:pt x="1773" y="463"/>
                  <a:pt x="1773" y="464"/>
                </a:cubicBezTo>
                <a:cubicBezTo>
                  <a:pt x="1773" y="465"/>
                  <a:pt x="1773" y="465"/>
                  <a:pt x="1771" y="466"/>
                </a:cubicBezTo>
                <a:cubicBezTo>
                  <a:pt x="1771" y="466"/>
                  <a:pt x="1771" y="465"/>
                  <a:pt x="1770" y="465"/>
                </a:cubicBezTo>
                <a:cubicBezTo>
                  <a:pt x="1769" y="465"/>
                  <a:pt x="1769" y="465"/>
                  <a:pt x="1768" y="465"/>
                </a:cubicBezTo>
                <a:cubicBezTo>
                  <a:pt x="1767" y="465"/>
                  <a:pt x="1767" y="465"/>
                  <a:pt x="1767" y="466"/>
                </a:cubicBezTo>
                <a:cubicBezTo>
                  <a:pt x="1766" y="472"/>
                  <a:pt x="1765" y="477"/>
                  <a:pt x="1761" y="480"/>
                </a:cubicBezTo>
                <a:cubicBezTo>
                  <a:pt x="1760" y="482"/>
                  <a:pt x="1759" y="484"/>
                  <a:pt x="1759" y="485"/>
                </a:cubicBezTo>
                <a:cubicBezTo>
                  <a:pt x="1759" y="486"/>
                  <a:pt x="1759" y="487"/>
                  <a:pt x="1760" y="487"/>
                </a:cubicBezTo>
                <a:cubicBezTo>
                  <a:pt x="1760" y="487"/>
                  <a:pt x="1760" y="486"/>
                  <a:pt x="1760" y="485"/>
                </a:cubicBezTo>
                <a:cubicBezTo>
                  <a:pt x="1760" y="484"/>
                  <a:pt x="1761" y="483"/>
                  <a:pt x="1761" y="483"/>
                </a:cubicBezTo>
                <a:lnTo>
                  <a:pt x="1764" y="484"/>
                </a:lnTo>
                <a:lnTo>
                  <a:pt x="1764" y="482"/>
                </a:lnTo>
                <a:cubicBezTo>
                  <a:pt x="1764" y="481"/>
                  <a:pt x="1765" y="480"/>
                  <a:pt x="1766" y="478"/>
                </a:cubicBezTo>
                <a:cubicBezTo>
                  <a:pt x="1767" y="477"/>
                  <a:pt x="1768" y="476"/>
                  <a:pt x="1769" y="476"/>
                </a:cubicBezTo>
                <a:lnTo>
                  <a:pt x="1769" y="477"/>
                </a:lnTo>
                <a:cubicBezTo>
                  <a:pt x="1769" y="478"/>
                  <a:pt x="1768" y="480"/>
                  <a:pt x="1766" y="485"/>
                </a:cubicBezTo>
                <a:cubicBezTo>
                  <a:pt x="1765" y="489"/>
                  <a:pt x="1764" y="491"/>
                  <a:pt x="1763" y="491"/>
                </a:cubicBezTo>
                <a:cubicBezTo>
                  <a:pt x="1762" y="491"/>
                  <a:pt x="1761" y="493"/>
                  <a:pt x="1761" y="498"/>
                </a:cubicBezTo>
                <a:cubicBezTo>
                  <a:pt x="1760" y="502"/>
                  <a:pt x="1760" y="505"/>
                  <a:pt x="1758" y="507"/>
                </a:cubicBezTo>
                <a:cubicBezTo>
                  <a:pt x="1757" y="508"/>
                  <a:pt x="1756" y="511"/>
                  <a:pt x="1756" y="513"/>
                </a:cubicBezTo>
                <a:cubicBezTo>
                  <a:pt x="1756" y="515"/>
                  <a:pt x="1756" y="516"/>
                  <a:pt x="1757" y="516"/>
                </a:cubicBezTo>
                <a:close/>
                <a:moveTo>
                  <a:pt x="1531" y="757"/>
                </a:moveTo>
                <a:cubicBezTo>
                  <a:pt x="1530" y="757"/>
                  <a:pt x="1529" y="757"/>
                  <a:pt x="1529" y="757"/>
                </a:cubicBezTo>
                <a:lnTo>
                  <a:pt x="1530" y="756"/>
                </a:lnTo>
                <a:lnTo>
                  <a:pt x="1532" y="755"/>
                </a:lnTo>
                <a:cubicBezTo>
                  <a:pt x="1533" y="755"/>
                  <a:pt x="1534" y="756"/>
                  <a:pt x="1534" y="756"/>
                </a:cubicBezTo>
                <a:cubicBezTo>
                  <a:pt x="1534" y="757"/>
                  <a:pt x="1533" y="757"/>
                  <a:pt x="1531" y="757"/>
                </a:cubicBezTo>
                <a:close/>
                <a:moveTo>
                  <a:pt x="1626" y="707"/>
                </a:moveTo>
                <a:cubicBezTo>
                  <a:pt x="1624" y="707"/>
                  <a:pt x="1624" y="706"/>
                  <a:pt x="1624" y="705"/>
                </a:cubicBezTo>
                <a:cubicBezTo>
                  <a:pt x="1624" y="703"/>
                  <a:pt x="1624" y="703"/>
                  <a:pt x="1626" y="703"/>
                </a:cubicBezTo>
                <a:cubicBezTo>
                  <a:pt x="1627" y="703"/>
                  <a:pt x="1628" y="703"/>
                  <a:pt x="1628" y="705"/>
                </a:cubicBezTo>
                <a:cubicBezTo>
                  <a:pt x="1628" y="706"/>
                  <a:pt x="1627" y="707"/>
                  <a:pt x="1626" y="707"/>
                </a:cubicBezTo>
                <a:close/>
                <a:moveTo>
                  <a:pt x="1632" y="677"/>
                </a:moveTo>
                <a:lnTo>
                  <a:pt x="1631" y="676"/>
                </a:lnTo>
                <a:cubicBezTo>
                  <a:pt x="1631" y="675"/>
                  <a:pt x="1633" y="672"/>
                  <a:pt x="1636" y="667"/>
                </a:cubicBezTo>
                <a:lnTo>
                  <a:pt x="1638" y="666"/>
                </a:lnTo>
                <a:lnTo>
                  <a:pt x="1638" y="666"/>
                </a:lnTo>
                <a:cubicBezTo>
                  <a:pt x="1638" y="668"/>
                  <a:pt x="1637" y="670"/>
                  <a:pt x="1634" y="674"/>
                </a:cubicBezTo>
                <a:cubicBezTo>
                  <a:pt x="1633" y="676"/>
                  <a:pt x="1632" y="677"/>
                  <a:pt x="1632" y="677"/>
                </a:cubicBezTo>
                <a:close/>
                <a:moveTo>
                  <a:pt x="1716" y="515"/>
                </a:moveTo>
                <a:lnTo>
                  <a:pt x="1716" y="511"/>
                </a:lnTo>
                <a:cubicBezTo>
                  <a:pt x="1717" y="509"/>
                  <a:pt x="1718" y="508"/>
                  <a:pt x="1720" y="508"/>
                </a:cubicBezTo>
                <a:cubicBezTo>
                  <a:pt x="1720" y="508"/>
                  <a:pt x="1720" y="508"/>
                  <a:pt x="1720" y="509"/>
                </a:cubicBezTo>
                <a:cubicBezTo>
                  <a:pt x="1720" y="509"/>
                  <a:pt x="1720" y="510"/>
                  <a:pt x="1719" y="511"/>
                </a:cubicBezTo>
                <a:cubicBezTo>
                  <a:pt x="1717" y="514"/>
                  <a:pt x="1716" y="515"/>
                  <a:pt x="1716" y="515"/>
                </a:cubicBezTo>
                <a:close/>
                <a:moveTo>
                  <a:pt x="1727" y="494"/>
                </a:moveTo>
                <a:cubicBezTo>
                  <a:pt x="1726" y="494"/>
                  <a:pt x="1726" y="493"/>
                  <a:pt x="1726" y="490"/>
                </a:cubicBezTo>
                <a:cubicBezTo>
                  <a:pt x="1726" y="489"/>
                  <a:pt x="1726" y="488"/>
                  <a:pt x="1727" y="488"/>
                </a:cubicBezTo>
                <a:cubicBezTo>
                  <a:pt x="1728" y="488"/>
                  <a:pt x="1729" y="489"/>
                  <a:pt x="1729" y="491"/>
                </a:cubicBezTo>
                <a:lnTo>
                  <a:pt x="1729" y="492"/>
                </a:lnTo>
                <a:cubicBezTo>
                  <a:pt x="1728" y="493"/>
                  <a:pt x="1727" y="494"/>
                  <a:pt x="1727" y="494"/>
                </a:cubicBezTo>
                <a:close/>
                <a:moveTo>
                  <a:pt x="1712" y="531"/>
                </a:moveTo>
                <a:cubicBezTo>
                  <a:pt x="1711" y="531"/>
                  <a:pt x="1711" y="531"/>
                  <a:pt x="1711" y="530"/>
                </a:cubicBezTo>
                <a:cubicBezTo>
                  <a:pt x="1710" y="529"/>
                  <a:pt x="1710" y="529"/>
                  <a:pt x="1709" y="528"/>
                </a:cubicBezTo>
                <a:cubicBezTo>
                  <a:pt x="1709" y="528"/>
                  <a:pt x="1709" y="528"/>
                  <a:pt x="1709" y="527"/>
                </a:cubicBezTo>
                <a:cubicBezTo>
                  <a:pt x="1709" y="527"/>
                  <a:pt x="1709" y="526"/>
                  <a:pt x="1710" y="526"/>
                </a:cubicBezTo>
                <a:cubicBezTo>
                  <a:pt x="1712" y="526"/>
                  <a:pt x="1713" y="527"/>
                  <a:pt x="1713" y="528"/>
                </a:cubicBezTo>
                <a:cubicBezTo>
                  <a:pt x="1713" y="530"/>
                  <a:pt x="1712" y="531"/>
                  <a:pt x="1712" y="531"/>
                </a:cubicBezTo>
                <a:close/>
                <a:moveTo>
                  <a:pt x="1735" y="470"/>
                </a:moveTo>
                <a:cubicBezTo>
                  <a:pt x="1734" y="470"/>
                  <a:pt x="1734" y="470"/>
                  <a:pt x="1734" y="469"/>
                </a:cubicBezTo>
                <a:cubicBezTo>
                  <a:pt x="1734" y="468"/>
                  <a:pt x="1735" y="467"/>
                  <a:pt x="1736" y="466"/>
                </a:cubicBezTo>
                <a:cubicBezTo>
                  <a:pt x="1737" y="465"/>
                  <a:pt x="1738" y="464"/>
                  <a:pt x="1739" y="464"/>
                </a:cubicBezTo>
                <a:cubicBezTo>
                  <a:pt x="1739" y="464"/>
                  <a:pt x="1740" y="465"/>
                  <a:pt x="1740" y="465"/>
                </a:cubicBezTo>
                <a:cubicBezTo>
                  <a:pt x="1740" y="465"/>
                  <a:pt x="1740" y="466"/>
                  <a:pt x="1739" y="467"/>
                </a:cubicBezTo>
                <a:cubicBezTo>
                  <a:pt x="1739" y="468"/>
                  <a:pt x="1738" y="468"/>
                  <a:pt x="1738" y="469"/>
                </a:cubicBezTo>
                <a:cubicBezTo>
                  <a:pt x="1737" y="470"/>
                  <a:pt x="1736" y="470"/>
                  <a:pt x="1735" y="470"/>
                </a:cubicBezTo>
                <a:close/>
                <a:moveTo>
                  <a:pt x="1739" y="462"/>
                </a:moveTo>
                <a:cubicBezTo>
                  <a:pt x="1739" y="462"/>
                  <a:pt x="1738" y="461"/>
                  <a:pt x="1738" y="460"/>
                </a:cubicBezTo>
                <a:cubicBezTo>
                  <a:pt x="1738" y="458"/>
                  <a:pt x="1739" y="457"/>
                  <a:pt x="1741" y="457"/>
                </a:cubicBezTo>
                <a:cubicBezTo>
                  <a:pt x="1742" y="457"/>
                  <a:pt x="1742" y="457"/>
                  <a:pt x="1742" y="458"/>
                </a:cubicBezTo>
                <a:lnTo>
                  <a:pt x="1742" y="460"/>
                </a:lnTo>
                <a:cubicBezTo>
                  <a:pt x="1741" y="461"/>
                  <a:pt x="1740" y="462"/>
                  <a:pt x="1739" y="462"/>
                </a:cubicBezTo>
                <a:close/>
                <a:moveTo>
                  <a:pt x="1554" y="554"/>
                </a:moveTo>
                <a:cubicBezTo>
                  <a:pt x="1553" y="554"/>
                  <a:pt x="1552" y="553"/>
                  <a:pt x="1551" y="552"/>
                </a:cubicBezTo>
                <a:lnTo>
                  <a:pt x="1551" y="551"/>
                </a:lnTo>
                <a:cubicBezTo>
                  <a:pt x="1551" y="549"/>
                  <a:pt x="1552" y="544"/>
                  <a:pt x="1555" y="535"/>
                </a:cubicBezTo>
                <a:cubicBezTo>
                  <a:pt x="1558" y="527"/>
                  <a:pt x="1559" y="523"/>
                  <a:pt x="1559" y="521"/>
                </a:cubicBezTo>
                <a:cubicBezTo>
                  <a:pt x="1559" y="521"/>
                  <a:pt x="1560" y="519"/>
                  <a:pt x="1561" y="515"/>
                </a:cubicBezTo>
                <a:cubicBezTo>
                  <a:pt x="1570" y="497"/>
                  <a:pt x="1575" y="487"/>
                  <a:pt x="1577" y="487"/>
                </a:cubicBezTo>
                <a:cubicBezTo>
                  <a:pt x="1580" y="487"/>
                  <a:pt x="1582" y="491"/>
                  <a:pt x="1582" y="497"/>
                </a:cubicBezTo>
                <a:cubicBezTo>
                  <a:pt x="1582" y="501"/>
                  <a:pt x="1581" y="504"/>
                  <a:pt x="1580" y="508"/>
                </a:cubicBezTo>
                <a:lnTo>
                  <a:pt x="1577" y="506"/>
                </a:lnTo>
                <a:cubicBezTo>
                  <a:pt x="1575" y="506"/>
                  <a:pt x="1571" y="512"/>
                  <a:pt x="1565" y="526"/>
                </a:cubicBezTo>
                <a:cubicBezTo>
                  <a:pt x="1558" y="539"/>
                  <a:pt x="1555" y="547"/>
                  <a:pt x="1555" y="551"/>
                </a:cubicBezTo>
                <a:lnTo>
                  <a:pt x="1555" y="553"/>
                </a:lnTo>
                <a:cubicBezTo>
                  <a:pt x="1555" y="553"/>
                  <a:pt x="1555" y="554"/>
                  <a:pt x="1554" y="554"/>
                </a:cubicBezTo>
                <a:close/>
                <a:moveTo>
                  <a:pt x="2155" y="589"/>
                </a:moveTo>
                <a:cubicBezTo>
                  <a:pt x="2154" y="589"/>
                  <a:pt x="2154" y="589"/>
                  <a:pt x="2153" y="588"/>
                </a:cubicBezTo>
                <a:cubicBezTo>
                  <a:pt x="2153" y="587"/>
                  <a:pt x="2152" y="586"/>
                  <a:pt x="2152" y="585"/>
                </a:cubicBezTo>
                <a:cubicBezTo>
                  <a:pt x="2152" y="585"/>
                  <a:pt x="2151" y="584"/>
                  <a:pt x="2151" y="583"/>
                </a:cubicBezTo>
                <a:lnTo>
                  <a:pt x="2152" y="583"/>
                </a:lnTo>
                <a:lnTo>
                  <a:pt x="2154" y="585"/>
                </a:lnTo>
                <a:cubicBezTo>
                  <a:pt x="2155" y="586"/>
                  <a:pt x="2155" y="587"/>
                  <a:pt x="2155" y="588"/>
                </a:cubicBezTo>
                <a:lnTo>
                  <a:pt x="2155" y="589"/>
                </a:lnTo>
                <a:close/>
                <a:moveTo>
                  <a:pt x="1841" y="595"/>
                </a:moveTo>
                <a:cubicBezTo>
                  <a:pt x="1840" y="595"/>
                  <a:pt x="1840" y="595"/>
                  <a:pt x="1839" y="594"/>
                </a:cubicBezTo>
                <a:cubicBezTo>
                  <a:pt x="1838" y="593"/>
                  <a:pt x="1838" y="592"/>
                  <a:pt x="1838" y="591"/>
                </a:cubicBezTo>
                <a:cubicBezTo>
                  <a:pt x="1838" y="589"/>
                  <a:pt x="1838" y="587"/>
                  <a:pt x="1840" y="584"/>
                </a:cubicBezTo>
                <a:cubicBezTo>
                  <a:pt x="1841" y="582"/>
                  <a:pt x="1842" y="580"/>
                  <a:pt x="1842" y="580"/>
                </a:cubicBezTo>
                <a:lnTo>
                  <a:pt x="1844" y="586"/>
                </a:lnTo>
                <a:lnTo>
                  <a:pt x="1844" y="588"/>
                </a:lnTo>
                <a:cubicBezTo>
                  <a:pt x="1844" y="593"/>
                  <a:pt x="1843" y="595"/>
                  <a:pt x="1841" y="595"/>
                </a:cubicBezTo>
                <a:close/>
                <a:moveTo>
                  <a:pt x="1857" y="565"/>
                </a:moveTo>
                <a:cubicBezTo>
                  <a:pt x="1857" y="565"/>
                  <a:pt x="1856" y="564"/>
                  <a:pt x="1856" y="563"/>
                </a:cubicBezTo>
                <a:cubicBezTo>
                  <a:pt x="1855" y="563"/>
                  <a:pt x="1855" y="563"/>
                  <a:pt x="1854" y="562"/>
                </a:cubicBezTo>
                <a:lnTo>
                  <a:pt x="1854" y="561"/>
                </a:lnTo>
                <a:cubicBezTo>
                  <a:pt x="1854" y="560"/>
                  <a:pt x="1854" y="560"/>
                  <a:pt x="1855" y="560"/>
                </a:cubicBezTo>
                <a:cubicBezTo>
                  <a:pt x="1857" y="560"/>
                  <a:pt x="1858" y="561"/>
                  <a:pt x="1858" y="562"/>
                </a:cubicBezTo>
                <a:cubicBezTo>
                  <a:pt x="1858" y="564"/>
                  <a:pt x="1857" y="565"/>
                  <a:pt x="1857" y="565"/>
                </a:cubicBezTo>
                <a:close/>
                <a:moveTo>
                  <a:pt x="1862" y="747"/>
                </a:moveTo>
                <a:cubicBezTo>
                  <a:pt x="1858" y="747"/>
                  <a:pt x="1854" y="747"/>
                  <a:pt x="1850" y="746"/>
                </a:cubicBezTo>
                <a:cubicBezTo>
                  <a:pt x="1838" y="743"/>
                  <a:pt x="1830" y="738"/>
                  <a:pt x="1825" y="732"/>
                </a:cubicBezTo>
                <a:cubicBezTo>
                  <a:pt x="1823" y="729"/>
                  <a:pt x="1821" y="728"/>
                  <a:pt x="1819" y="728"/>
                </a:cubicBezTo>
                <a:cubicBezTo>
                  <a:pt x="1817" y="728"/>
                  <a:pt x="1815" y="726"/>
                  <a:pt x="1812" y="722"/>
                </a:cubicBezTo>
                <a:cubicBezTo>
                  <a:pt x="1809" y="718"/>
                  <a:pt x="1806" y="714"/>
                  <a:pt x="1803" y="710"/>
                </a:cubicBezTo>
                <a:cubicBezTo>
                  <a:pt x="1801" y="705"/>
                  <a:pt x="1800" y="702"/>
                  <a:pt x="1800" y="699"/>
                </a:cubicBezTo>
                <a:lnTo>
                  <a:pt x="1801" y="696"/>
                </a:lnTo>
                <a:cubicBezTo>
                  <a:pt x="1801" y="696"/>
                  <a:pt x="1800" y="695"/>
                  <a:pt x="1799" y="695"/>
                </a:cubicBezTo>
                <a:cubicBezTo>
                  <a:pt x="1798" y="695"/>
                  <a:pt x="1797" y="689"/>
                  <a:pt x="1797" y="678"/>
                </a:cubicBezTo>
                <a:cubicBezTo>
                  <a:pt x="1797" y="667"/>
                  <a:pt x="1798" y="654"/>
                  <a:pt x="1799" y="638"/>
                </a:cubicBezTo>
                <a:cubicBezTo>
                  <a:pt x="1801" y="623"/>
                  <a:pt x="1803" y="612"/>
                  <a:pt x="1805" y="604"/>
                </a:cubicBezTo>
                <a:cubicBezTo>
                  <a:pt x="1806" y="599"/>
                  <a:pt x="1807" y="595"/>
                  <a:pt x="1807" y="592"/>
                </a:cubicBezTo>
                <a:lnTo>
                  <a:pt x="1806" y="589"/>
                </a:lnTo>
                <a:cubicBezTo>
                  <a:pt x="1806" y="588"/>
                  <a:pt x="1807" y="586"/>
                  <a:pt x="1808" y="585"/>
                </a:cubicBezTo>
                <a:cubicBezTo>
                  <a:pt x="1810" y="583"/>
                  <a:pt x="1810" y="581"/>
                  <a:pt x="1810" y="579"/>
                </a:cubicBezTo>
                <a:lnTo>
                  <a:pt x="1810" y="577"/>
                </a:lnTo>
                <a:cubicBezTo>
                  <a:pt x="1810" y="577"/>
                  <a:pt x="1810" y="576"/>
                  <a:pt x="1811" y="576"/>
                </a:cubicBezTo>
                <a:lnTo>
                  <a:pt x="1813" y="577"/>
                </a:lnTo>
                <a:cubicBezTo>
                  <a:pt x="1813" y="577"/>
                  <a:pt x="1813" y="577"/>
                  <a:pt x="1813" y="576"/>
                </a:cubicBezTo>
                <a:lnTo>
                  <a:pt x="1813" y="574"/>
                </a:lnTo>
                <a:cubicBezTo>
                  <a:pt x="1813" y="572"/>
                  <a:pt x="1815" y="566"/>
                  <a:pt x="1820" y="557"/>
                </a:cubicBezTo>
                <a:cubicBezTo>
                  <a:pt x="1824" y="549"/>
                  <a:pt x="1829" y="541"/>
                  <a:pt x="1834" y="533"/>
                </a:cubicBezTo>
                <a:cubicBezTo>
                  <a:pt x="1843" y="521"/>
                  <a:pt x="1850" y="515"/>
                  <a:pt x="1856" y="515"/>
                </a:cubicBezTo>
                <a:cubicBezTo>
                  <a:pt x="1858" y="515"/>
                  <a:pt x="1859" y="516"/>
                  <a:pt x="1860" y="516"/>
                </a:cubicBezTo>
                <a:cubicBezTo>
                  <a:pt x="1863" y="517"/>
                  <a:pt x="1867" y="518"/>
                  <a:pt x="1871" y="519"/>
                </a:cubicBezTo>
                <a:cubicBezTo>
                  <a:pt x="1875" y="520"/>
                  <a:pt x="1877" y="522"/>
                  <a:pt x="1877" y="523"/>
                </a:cubicBezTo>
                <a:lnTo>
                  <a:pt x="1876" y="529"/>
                </a:lnTo>
                <a:cubicBezTo>
                  <a:pt x="1876" y="531"/>
                  <a:pt x="1877" y="533"/>
                  <a:pt x="1879" y="533"/>
                </a:cubicBezTo>
                <a:cubicBezTo>
                  <a:pt x="1880" y="534"/>
                  <a:pt x="1881" y="535"/>
                  <a:pt x="1881" y="537"/>
                </a:cubicBezTo>
                <a:lnTo>
                  <a:pt x="1881" y="541"/>
                </a:lnTo>
                <a:cubicBezTo>
                  <a:pt x="1881" y="541"/>
                  <a:pt x="1880" y="540"/>
                  <a:pt x="1880" y="538"/>
                </a:cubicBezTo>
                <a:cubicBezTo>
                  <a:pt x="1879" y="536"/>
                  <a:pt x="1879" y="535"/>
                  <a:pt x="1878" y="535"/>
                </a:cubicBezTo>
                <a:cubicBezTo>
                  <a:pt x="1876" y="535"/>
                  <a:pt x="1875" y="537"/>
                  <a:pt x="1874" y="541"/>
                </a:cubicBezTo>
                <a:cubicBezTo>
                  <a:pt x="1873" y="546"/>
                  <a:pt x="1872" y="548"/>
                  <a:pt x="1872" y="548"/>
                </a:cubicBezTo>
                <a:lnTo>
                  <a:pt x="1870" y="547"/>
                </a:lnTo>
                <a:cubicBezTo>
                  <a:pt x="1869" y="547"/>
                  <a:pt x="1869" y="547"/>
                  <a:pt x="1868" y="548"/>
                </a:cubicBezTo>
                <a:cubicBezTo>
                  <a:pt x="1867" y="548"/>
                  <a:pt x="1867" y="549"/>
                  <a:pt x="1867" y="550"/>
                </a:cubicBezTo>
                <a:cubicBezTo>
                  <a:pt x="1867" y="550"/>
                  <a:pt x="1867" y="551"/>
                  <a:pt x="1867" y="551"/>
                </a:cubicBezTo>
                <a:lnTo>
                  <a:pt x="1870" y="550"/>
                </a:lnTo>
                <a:cubicBezTo>
                  <a:pt x="1870" y="550"/>
                  <a:pt x="1870" y="550"/>
                  <a:pt x="1870" y="551"/>
                </a:cubicBezTo>
                <a:cubicBezTo>
                  <a:pt x="1870" y="553"/>
                  <a:pt x="1870" y="555"/>
                  <a:pt x="1868" y="558"/>
                </a:cubicBezTo>
                <a:lnTo>
                  <a:pt x="1867" y="560"/>
                </a:lnTo>
                <a:lnTo>
                  <a:pt x="1868" y="554"/>
                </a:lnTo>
                <a:lnTo>
                  <a:pt x="1868" y="553"/>
                </a:lnTo>
                <a:cubicBezTo>
                  <a:pt x="1867" y="553"/>
                  <a:pt x="1866" y="554"/>
                  <a:pt x="1865" y="556"/>
                </a:cubicBezTo>
                <a:cubicBezTo>
                  <a:pt x="1863" y="558"/>
                  <a:pt x="1862" y="560"/>
                  <a:pt x="1860" y="560"/>
                </a:cubicBezTo>
                <a:cubicBezTo>
                  <a:pt x="1857" y="560"/>
                  <a:pt x="1855" y="556"/>
                  <a:pt x="1855" y="550"/>
                </a:cubicBezTo>
                <a:lnTo>
                  <a:pt x="1855" y="544"/>
                </a:lnTo>
                <a:cubicBezTo>
                  <a:pt x="1855" y="542"/>
                  <a:pt x="1855" y="541"/>
                  <a:pt x="1854" y="541"/>
                </a:cubicBezTo>
                <a:cubicBezTo>
                  <a:pt x="1853" y="541"/>
                  <a:pt x="1853" y="541"/>
                  <a:pt x="1853" y="541"/>
                </a:cubicBezTo>
                <a:cubicBezTo>
                  <a:pt x="1852" y="542"/>
                  <a:pt x="1852" y="543"/>
                  <a:pt x="1852" y="544"/>
                </a:cubicBezTo>
                <a:lnTo>
                  <a:pt x="1852" y="548"/>
                </a:lnTo>
                <a:cubicBezTo>
                  <a:pt x="1852" y="549"/>
                  <a:pt x="1852" y="551"/>
                  <a:pt x="1851" y="553"/>
                </a:cubicBezTo>
                <a:cubicBezTo>
                  <a:pt x="1850" y="556"/>
                  <a:pt x="1849" y="557"/>
                  <a:pt x="1848" y="559"/>
                </a:cubicBezTo>
                <a:cubicBezTo>
                  <a:pt x="1847" y="560"/>
                  <a:pt x="1846" y="561"/>
                  <a:pt x="1845" y="561"/>
                </a:cubicBezTo>
                <a:cubicBezTo>
                  <a:pt x="1845" y="561"/>
                  <a:pt x="1845" y="561"/>
                  <a:pt x="1844" y="561"/>
                </a:cubicBezTo>
                <a:lnTo>
                  <a:pt x="1844" y="560"/>
                </a:lnTo>
                <a:lnTo>
                  <a:pt x="1844" y="562"/>
                </a:lnTo>
                <a:cubicBezTo>
                  <a:pt x="1844" y="564"/>
                  <a:pt x="1841" y="571"/>
                  <a:pt x="1836" y="583"/>
                </a:cubicBezTo>
                <a:cubicBezTo>
                  <a:pt x="1829" y="598"/>
                  <a:pt x="1826" y="607"/>
                  <a:pt x="1826" y="611"/>
                </a:cubicBezTo>
                <a:lnTo>
                  <a:pt x="1826" y="612"/>
                </a:lnTo>
                <a:cubicBezTo>
                  <a:pt x="1826" y="612"/>
                  <a:pt x="1827" y="611"/>
                  <a:pt x="1827" y="610"/>
                </a:cubicBezTo>
                <a:cubicBezTo>
                  <a:pt x="1827" y="610"/>
                  <a:pt x="1828" y="609"/>
                  <a:pt x="1828" y="609"/>
                </a:cubicBezTo>
                <a:lnTo>
                  <a:pt x="1830" y="610"/>
                </a:lnTo>
                <a:lnTo>
                  <a:pt x="1831" y="609"/>
                </a:lnTo>
                <a:cubicBezTo>
                  <a:pt x="1831" y="608"/>
                  <a:pt x="1831" y="608"/>
                  <a:pt x="1830" y="607"/>
                </a:cubicBezTo>
                <a:cubicBezTo>
                  <a:pt x="1830" y="606"/>
                  <a:pt x="1830" y="605"/>
                  <a:pt x="1830" y="604"/>
                </a:cubicBezTo>
                <a:cubicBezTo>
                  <a:pt x="1830" y="602"/>
                  <a:pt x="1830" y="600"/>
                  <a:pt x="1832" y="598"/>
                </a:cubicBezTo>
                <a:cubicBezTo>
                  <a:pt x="1833" y="597"/>
                  <a:pt x="1834" y="596"/>
                  <a:pt x="1835" y="596"/>
                </a:cubicBezTo>
                <a:cubicBezTo>
                  <a:pt x="1836" y="596"/>
                  <a:pt x="1837" y="596"/>
                  <a:pt x="1837" y="597"/>
                </a:cubicBezTo>
                <a:cubicBezTo>
                  <a:pt x="1838" y="597"/>
                  <a:pt x="1839" y="598"/>
                  <a:pt x="1840" y="599"/>
                </a:cubicBezTo>
                <a:cubicBezTo>
                  <a:pt x="1840" y="600"/>
                  <a:pt x="1840" y="601"/>
                  <a:pt x="1840" y="602"/>
                </a:cubicBezTo>
                <a:cubicBezTo>
                  <a:pt x="1840" y="603"/>
                  <a:pt x="1840" y="603"/>
                  <a:pt x="1840" y="603"/>
                </a:cubicBezTo>
                <a:cubicBezTo>
                  <a:pt x="1840" y="603"/>
                  <a:pt x="1839" y="602"/>
                  <a:pt x="1837" y="600"/>
                </a:cubicBezTo>
                <a:lnTo>
                  <a:pt x="1835" y="597"/>
                </a:lnTo>
                <a:lnTo>
                  <a:pt x="1834" y="597"/>
                </a:lnTo>
                <a:cubicBezTo>
                  <a:pt x="1834" y="598"/>
                  <a:pt x="1835" y="599"/>
                  <a:pt x="1836" y="602"/>
                </a:cubicBezTo>
                <a:cubicBezTo>
                  <a:pt x="1837" y="604"/>
                  <a:pt x="1837" y="605"/>
                  <a:pt x="1837" y="606"/>
                </a:cubicBezTo>
                <a:cubicBezTo>
                  <a:pt x="1837" y="607"/>
                  <a:pt x="1837" y="607"/>
                  <a:pt x="1837" y="607"/>
                </a:cubicBezTo>
                <a:lnTo>
                  <a:pt x="1835" y="606"/>
                </a:lnTo>
                <a:cubicBezTo>
                  <a:pt x="1834" y="606"/>
                  <a:pt x="1834" y="607"/>
                  <a:pt x="1834" y="607"/>
                </a:cubicBezTo>
                <a:lnTo>
                  <a:pt x="1836" y="614"/>
                </a:lnTo>
                <a:cubicBezTo>
                  <a:pt x="1836" y="614"/>
                  <a:pt x="1835" y="614"/>
                  <a:pt x="1835" y="614"/>
                </a:cubicBezTo>
                <a:lnTo>
                  <a:pt x="1832" y="613"/>
                </a:lnTo>
                <a:cubicBezTo>
                  <a:pt x="1832" y="613"/>
                  <a:pt x="1832" y="614"/>
                  <a:pt x="1832" y="614"/>
                </a:cubicBezTo>
                <a:cubicBezTo>
                  <a:pt x="1832" y="615"/>
                  <a:pt x="1832" y="616"/>
                  <a:pt x="1832" y="617"/>
                </a:cubicBezTo>
                <a:cubicBezTo>
                  <a:pt x="1833" y="618"/>
                  <a:pt x="1833" y="619"/>
                  <a:pt x="1833" y="620"/>
                </a:cubicBezTo>
                <a:cubicBezTo>
                  <a:pt x="1833" y="622"/>
                  <a:pt x="1832" y="623"/>
                  <a:pt x="1832" y="623"/>
                </a:cubicBezTo>
                <a:cubicBezTo>
                  <a:pt x="1831" y="624"/>
                  <a:pt x="1830" y="625"/>
                  <a:pt x="1830" y="625"/>
                </a:cubicBezTo>
                <a:lnTo>
                  <a:pt x="1831" y="628"/>
                </a:lnTo>
                <a:cubicBezTo>
                  <a:pt x="1831" y="628"/>
                  <a:pt x="1831" y="628"/>
                  <a:pt x="1831" y="628"/>
                </a:cubicBezTo>
                <a:lnTo>
                  <a:pt x="1828" y="627"/>
                </a:lnTo>
                <a:cubicBezTo>
                  <a:pt x="1828" y="627"/>
                  <a:pt x="1827" y="628"/>
                  <a:pt x="1827" y="629"/>
                </a:cubicBezTo>
                <a:lnTo>
                  <a:pt x="1827" y="634"/>
                </a:lnTo>
                <a:cubicBezTo>
                  <a:pt x="1827" y="636"/>
                  <a:pt x="1827" y="638"/>
                  <a:pt x="1827" y="639"/>
                </a:cubicBezTo>
                <a:cubicBezTo>
                  <a:pt x="1825" y="642"/>
                  <a:pt x="1824" y="648"/>
                  <a:pt x="1823" y="657"/>
                </a:cubicBezTo>
                <a:cubicBezTo>
                  <a:pt x="1823" y="666"/>
                  <a:pt x="1822" y="674"/>
                  <a:pt x="1822" y="683"/>
                </a:cubicBezTo>
                <a:cubicBezTo>
                  <a:pt x="1822" y="690"/>
                  <a:pt x="1823" y="696"/>
                  <a:pt x="1823" y="701"/>
                </a:cubicBezTo>
                <a:cubicBezTo>
                  <a:pt x="1825" y="711"/>
                  <a:pt x="1832" y="716"/>
                  <a:pt x="1845" y="716"/>
                </a:cubicBezTo>
                <a:cubicBezTo>
                  <a:pt x="1873" y="716"/>
                  <a:pt x="1933" y="689"/>
                  <a:pt x="2024" y="637"/>
                </a:cubicBezTo>
                <a:lnTo>
                  <a:pt x="2124" y="578"/>
                </a:lnTo>
                <a:cubicBezTo>
                  <a:pt x="2149" y="563"/>
                  <a:pt x="2163" y="555"/>
                  <a:pt x="2167" y="555"/>
                </a:cubicBezTo>
                <a:lnTo>
                  <a:pt x="2167" y="555"/>
                </a:lnTo>
                <a:cubicBezTo>
                  <a:pt x="2168" y="555"/>
                  <a:pt x="2168" y="555"/>
                  <a:pt x="2168" y="554"/>
                </a:cubicBezTo>
                <a:cubicBezTo>
                  <a:pt x="2168" y="553"/>
                  <a:pt x="2169" y="552"/>
                  <a:pt x="2170" y="551"/>
                </a:cubicBezTo>
                <a:cubicBezTo>
                  <a:pt x="2170" y="551"/>
                  <a:pt x="2171" y="551"/>
                  <a:pt x="2171" y="551"/>
                </a:cubicBezTo>
                <a:cubicBezTo>
                  <a:pt x="2173" y="551"/>
                  <a:pt x="2175" y="550"/>
                  <a:pt x="2175" y="549"/>
                </a:cubicBezTo>
                <a:cubicBezTo>
                  <a:pt x="2175" y="548"/>
                  <a:pt x="2175" y="547"/>
                  <a:pt x="2176" y="547"/>
                </a:cubicBezTo>
                <a:lnTo>
                  <a:pt x="2178" y="548"/>
                </a:lnTo>
                <a:cubicBezTo>
                  <a:pt x="2179" y="548"/>
                  <a:pt x="2179" y="547"/>
                  <a:pt x="2179" y="546"/>
                </a:cubicBezTo>
                <a:cubicBezTo>
                  <a:pt x="2179" y="545"/>
                  <a:pt x="2180" y="545"/>
                  <a:pt x="2182" y="545"/>
                </a:cubicBezTo>
                <a:lnTo>
                  <a:pt x="2183" y="545"/>
                </a:lnTo>
                <a:cubicBezTo>
                  <a:pt x="2185" y="545"/>
                  <a:pt x="2188" y="543"/>
                  <a:pt x="2192" y="540"/>
                </a:cubicBezTo>
                <a:lnTo>
                  <a:pt x="2192" y="539"/>
                </a:lnTo>
                <a:cubicBezTo>
                  <a:pt x="2194" y="539"/>
                  <a:pt x="2195" y="540"/>
                  <a:pt x="2197" y="542"/>
                </a:cubicBezTo>
                <a:cubicBezTo>
                  <a:pt x="2199" y="544"/>
                  <a:pt x="2201" y="546"/>
                  <a:pt x="2203" y="548"/>
                </a:cubicBezTo>
                <a:cubicBezTo>
                  <a:pt x="2205" y="550"/>
                  <a:pt x="2205" y="551"/>
                  <a:pt x="2205" y="552"/>
                </a:cubicBezTo>
                <a:cubicBezTo>
                  <a:pt x="2205" y="555"/>
                  <a:pt x="2200" y="560"/>
                  <a:pt x="2188" y="568"/>
                </a:cubicBezTo>
                <a:cubicBezTo>
                  <a:pt x="2185" y="570"/>
                  <a:pt x="2182" y="571"/>
                  <a:pt x="2181" y="571"/>
                </a:cubicBezTo>
                <a:cubicBezTo>
                  <a:pt x="2180" y="571"/>
                  <a:pt x="2180" y="571"/>
                  <a:pt x="2180" y="570"/>
                </a:cubicBezTo>
                <a:cubicBezTo>
                  <a:pt x="2180" y="569"/>
                  <a:pt x="2180" y="568"/>
                  <a:pt x="2181" y="568"/>
                </a:cubicBezTo>
                <a:lnTo>
                  <a:pt x="2182" y="568"/>
                </a:lnTo>
                <a:cubicBezTo>
                  <a:pt x="2183" y="568"/>
                  <a:pt x="2183" y="568"/>
                  <a:pt x="2183" y="567"/>
                </a:cubicBezTo>
                <a:cubicBezTo>
                  <a:pt x="2183" y="566"/>
                  <a:pt x="2184" y="566"/>
                  <a:pt x="2185" y="565"/>
                </a:cubicBezTo>
                <a:cubicBezTo>
                  <a:pt x="2187" y="564"/>
                  <a:pt x="2189" y="563"/>
                  <a:pt x="2191" y="562"/>
                </a:cubicBezTo>
                <a:cubicBezTo>
                  <a:pt x="2193" y="561"/>
                  <a:pt x="2195" y="561"/>
                  <a:pt x="2196" y="559"/>
                </a:cubicBezTo>
                <a:cubicBezTo>
                  <a:pt x="2197" y="558"/>
                  <a:pt x="2198" y="557"/>
                  <a:pt x="2198" y="556"/>
                </a:cubicBezTo>
                <a:cubicBezTo>
                  <a:pt x="2198" y="554"/>
                  <a:pt x="2198" y="553"/>
                  <a:pt x="2197" y="553"/>
                </a:cubicBezTo>
                <a:cubicBezTo>
                  <a:pt x="2196" y="553"/>
                  <a:pt x="2195" y="554"/>
                  <a:pt x="2192" y="557"/>
                </a:cubicBezTo>
                <a:cubicBezTo>
                  <a:pt x="2190" y="560"/>
                  <a:pt x="2188" y="561"/>
                  <a:pt x="2186" y="561"/>
                </a:cubicBezTo>
                <a:lnTo>
                  <a:pt x="2185" y="561"/>
                </a:lnTo>
                <a:cubicBezTo>
                  <a:pt x="2184" y="561"/>
                  <a:pt x="2182" y="562"/>
                  <a:pt x="2181" y="564"/>
                </a:cubicBezTo>
                <a:cubicBezTo>
                  <a:pt x="2179" y="566"/>
                  <a:pt x="2176" y="568"/>
                  <a:pt x="2173" y="569"/>
                </a:cubicBezTo>
                <a:cubicBezTo>
                  <a:pt x="2170" y="571"/>
                  <a:pt x="2168" y="571"/>
                  <a:pt x="2166" y="571"/>
                </a:cubicBezTo>
                <a:lnTo>
                  <a:pt x="2164" y="571"/>
                </a:lnTo>
                <a:cubicBezTo>
                  <a:pt x="2163" y="571"/>
                  <a:pt x="2163" y="571"/>
                  <a:pt x="2162" y="573"/>
                </a:cubicBezTo>
                <a:cubicBezTo>
                  <a:pt x="2161" y="574"/>
                  <a:pt x="2160" y="576"/>
                  <a:pt x="2160" y="578"/>
                </a:cubicBezTo>
                <a:cubicBezTo>
                  <a:pt x="2159" y="580"/>
                  <a:pt x="2159" y="581"/>
                  <a:pt x="2159" y="583"/>
                </a:cubicBezTo>
                <a:lnTo>
                  <a:pt x="2159" y="586"/>
                </a:lnTo>
                <a:lnTo>
                  <a:pt x="2158" y="585"/>
                </a:lnTo>
                <a:cubicBezTo>
                  <a:pt x="2157" y="582"/>
                  <a:pt x="2155" y="580"/>
                  <a:pt x="2153" y="580"/>
                </a:cubicBezTo>
                <a:cubicBezTo>
                  <a:pt x="2152" y="580"/>
                  <a:pt x="2151" y="581"/>
                  <a:pt x="2150" y="583"/>
                </a:cubicBezTo>
                <a:cubicBezTo>
                  <a:pt x="2148" y="585"/>
                  <a:pt x="2148" y="586"/>
                  <a:pt x="2148" y="588"/>
                </a:cubicBezTo>
                <a:lnTo>
                  <a:pt x="2148" y="588"/>
                </a:lnTo>
                <a:cubicBezTo>
                  <a:pt x="2148" y="589"/>
                  <a:pt x="2148" y="589"/>
                  <a:pt x="2147" y="589"/>
                </a:cubicBezTo>
                <a:lnTo>
                  <a:pt x="2144" y="588"/>
                </a:lnTo>
                <a:cubicBezTo>
                  <a:pt x="2143" y="588"/>
                  <a:pt x="2142" y="590"/>
                  <a:pt x="2142" y="593"/>
                </a:cubicBezTo>
                <a:cubicBezTo>
                  <a:pt x="2142" y="596"/>
                  <a:pt x="2141" y="598"/>
                  <a:pt x="2140" y="598"/>
                </a:cubicBezTo>
                <a:cubicBezTo>
                  <a:pt x="2138" y="599"/>
                  <a:pt x="2137" y="600"/>
                  <a:pt x="2137" y="601"/>
                </a:cubicBezTo>
                <a:lnTo>
                  <a:pt x="2138" y="603"/>
                </a:lnTo>
                <a:lnTo>
                  <a:pt x="2137" y="604"/>
                </a:lnTo>
                <a:lnTo>
                  <a:pt x="2137" y="603"/>
                </a:lnTo>
                <a:cubicBezTo>
                  <a:pt x="2137" y="603"/>
                  <a:pt x="2136" y="603"/>
                  <a:pt x="2135" y="603"/>
                </a:cubicBezTo>
                <a:cubicBezTo>
                  <a:pt x="2134" y="603"/>
                  <a:pt x="2133" y="603"/>
                  <a:pt x="2132" y="604"/>
                </a:cubicBezTo>
                <a:cubicBezTo>
                  <a:pt x="2131" y="605"/>
                  <a:pt x="2130" y="605"/>
                  <a:pt x="2130" y="605"/>
                </a:cubicBezTo>
                <a:cubicBezTo>
                  <a:pt x="2129" y="605"/>
                  <a:pt x="2129" y="605"/>
                  <a:pt x="2129" y="604"/>
                </a:cubicBezTo>
                <a:cubicBezTo>
                  <a:pt x="2129" y="603"/>
                  <a:pt x="2130" y="601"/>
                  <a:pt x="2131" y="601"/>
                </a:cubicBezTo>
                <a:cubicBezTo>
                  <a:pt x="2132" y="600"/>
                  <a:pt x="2133" y="600"/>
                  <a:pt x="2133" y="599"/>
                </a:cubicBezTo>
                <a:cubicBezTo>
                  <a:pt x="2133" y="598"/>
                  <a:pt x="2133" y="596"/>
                  <a:pt x="2132" y="595"/>
                </a:cubicBezTo>
                <a:cubicBezTo>
                  <a:pt x="2132" y="593"/>
                  <a:pt x="2131" y="593"/>
                  <a:pt x="2131" y="593"/>
                </a:cubicBezTo>
                <a:cubicBezTo>
                  <a:pt x="2130" y="593"/>
                  <a:pt x="2130" y="593"/>
                  <a:pt x="2129" y="595"/>
                </a:cubicBezTo>
                <a:cubicBezTo>
                  <a:pt x="2126" y="598"/>
                  <a:pt x="2116" y="603"/>
                  <a:pt x="2100" y="612"/>
                </a:cubicBezTo>
                <a:cubicBezTo>
                  <a:pt x="2084" y="620"/>
                  <a:pt x="2076" y="625"/>
                  <a:pt x="2076" y="627"/>
                </a:cubicBezTo>
                <a:cubicBezTo>
                  <a:pt x="2076" y="628"/>
                  <a:pt x="2075" y="628"/>
                  <a:pt x="2073" y="628"/>
                </a:cubicBezTo>
                <a:cubicBezTo>
                  <a:pt x="2071" y="628"/>
                  <a:pt x="2070" y="629"/>
                  <a:pt x="2070" y="630"/>
                </a:cubicBezTo>
                <a:lnTo>
                  <a:pt x="2070" y="635"/>
                </a:lnTo>
                <a:cubicBezTo>
                  <a:pt x="2070" y="635"/>
                  <a:pt x="2070" y="634"/>
                  <a:pt x="2069" y="634"/>
                </a:cubicBezTo>
                <a:cubicBezTo>
                  <a:pt x="2068" y="633"/>
                  <a:pt x="2067" y="632"/>
                  <a:pt x="2066" y="632"/>
                </a:cubicBezTo>
                <a:cubicBezTo>
                  <a:pt x="2064" y="632"/>
                  <a:pt x="2062" y="633"/>
                  <a:pt x="2060" y="634"/>
                </a:cubicBezTo>
                <a:cubicBezTo>
                  <a:pt x="2057" y="635"/>
                  <a:pt x="2055" y="636"/>
                  <a:pt x="2053" y="638"/>
                </a:cubicBezTo>
                <a:cubicBezTo>
                  <a:pt x="2051" y="639"/>
                  <a:pt x="2051" y="641"/>
                  <a:pt x="2051" y="642"/>
                </a:cubicBezTo>
                <a:lnTo>
                  <a:pt x="2051" y="643"/>
                </a:lnTo>
                <a:lnTo>
                  <a:pt x="2050" y="646"/>
                </a:lnTo>
                <a:cubicBezTo>
                  <a:pt x="2048" y="648"/>
                  <a:pt x="2046" y="650"/>
                  <a:pt x="2044" y="650"/>
                </a:cubicBezTo>
                <a:cubicBezTo>
                  <a:pt x="2043" y="650"/>
                  <a:pt x="2043" y="649"/>
                  <a:pt x="2043" y="649"/>
                </a:cubicBezTo>
                <a:cubicBezTo>
                  <a:pt x="2043" y="648"/>
                  <a:pt x="2044" y="647"/>
                  <a:pt x="2045" y="646"/>
                </a:cubicBezTo>
                <a:cubicBezTo>
                  <a:pt x="2046" y="644"/>
                  <a:pt x="2046" y="643"/>
                  <a:pt x="2046" y="643"/>
                </a:cubicBezTo>
                <a:lnTo>
                  <a:pt x="2046" y="643"/>
                </a:lnTo>
                <a:cubicBezTo>
                  <a:pt x="2045" y="643"/>
                  <a:pt x="2042" y="644"/>
                  <a:pt x="2036" y="648"/>
                </a:cubicBezTo>
                <a:cubicBezTo>
                  <a:pt x="2031" y="652"/>
                  <a:pt x="2028" y="654"/>
                  <a:pt x="2028" y="655"/>
                </a:cubicBezTo>
                <a:cubicBezTo>
                  <a:pt x="2028" y="657"/>
                  <a:pt x="2028" y="658"/>
                  <a:pt x="2027" y="659"/>
                </a:cubicBezTo>
                <a:cubicBezTo>
                  <a:pt x="2026" y="660"/>
                  <a:pt x="2025" y="661"/>
                  <a:pt x="2023" y="661"/>
                </a:cubicBezTo>
                <a:cubicBezTo>
                  <a:pt x="2023" y="661"/>
                  <a:pt x="2023" y="660"/>
                  <a:pt x="2025" y="659"/>
                </a:cubicBezTo>
                <a:cubicBezTo>
                  <a:pt x="2026" y="658"/>
                  <a:pt x="2027" y="657"/>
                  <a:pt x="2027" y="656"/>
                </a:cubicBezTo>
                <a:cubicBezTo>
                  <a:pt x="2027" y="655"/>
                  <a:pt x="2026" y="655"/>
                  <a:pt x="2026" y="655"/>
                </a:cubicBezTo>
                <a:cubicBezTo>
                  <a:pt x="2024" y="655"/>
                  <a:pt x="2023" y="655"/>
                  <a:pt x="2021" y="657"/>
                </a:cubicBezTo>
                <a:cubicBezTo>
                  <a:pt x="2019" y="658"/>
                  <a:pt x="2018" y="659"/>
                  <a:pt x="2018" y="660"/>
                </a:cubicBezTo>
                <a:cubicBezTo>
                  <a:pt x="2018" y="661"/>
                  <a:pt x="2018" y="661"/>
                  <a:pt x="2019" y="661"/>
                </a:cubicBezTo>
                <a:cubicBezTo>
                  <a:pt x="2019" y="661"/>
                  <a:pt x="2019" y="661"/>
                  <a:pt x="2019" y="662"/>
                </a:cubicBezTo>
                <a:lnTo>
                  <a:pt x="2019" y="665"/>
                </a:lnTo>
                <a:cubicBezTo>
                  <a:pt x="2019" y="666"/>
                  <a:pt x="2020" y="668"/>
                  <a:pt x="2021" y="669"/>
                </a:cubicBezTo>
                <a:cubicBezTo>
                  <a:pt x="2023" y="671"/>
                  <a:pt x="2023" y="672"/>
                  <a:pt x="2023" y="673"/>
                </a:cubicBezTo>
                <a:cubicBezTo>
                  <a:pt x="2023" y="674"/>
                  <a:pt x="2022" y="674"/>
                  <a:pt x="2020" y="674"/>
                </a:cubicBezTo>
                <a:cubicBezTo>
                  <a:pt x="2018" y="674"/>
                  <a:pt x="2013" y="677"/>
                  <a:pt x="2004" y="681"/>
                </a:cubicBezTo>
                <a:cubicBezTo>
                  <a:pt x="1996" y="686"/>
                  <a:pt x="1992" y="689"/>
                  <a:pt x="1992" y="690"/>
                </a:cubicBezTo>
                <a:cubicBezTo>
                  <a:pt x="1992" y="691"/>
                  <a:pt x="1991" y="692"/>
                  <a:pt x="1989" y="692"/>
                </a:cubicBezTo>
                <a:lnTo>
                  <a:pt x="1986" y="692"/>
                </a:lnTo>
                <a:cubicBezTo>
                  <a:pt x="1982" y="692"/>
                  <a:pt x="1981" y="692"/>
                  <a:pt x="1981" y="693"/>
                </a:cubicBezTo>
                <a:cubicBezTo>
                  <a:pt x="1981" y="694"/>
                  <a:pt x="1981" y="694"/>
                  <a:pt x="1980" y="694"/>
                </a:cubicBezTo>
                <a:lnTo>
                  <a:pt x="1978" y="693"/>
                </a:lnTo>
                <a:cubicBezTo>
                  <a:pt x="1977" y="693"/>
                  <a:pt x="1977" y="693"/>
                  <a:pt x="1977" y="694"/>
                </a:cubicBezTo>
                <a:cubicBezTo>
                  <a:pt x="1977" y="695"/>
                  <a:pt x="1978" y="696"/>
                  <a:pt x="1978" y="697"/>
                </a:cubicBezTo>
                <a:cubicBezTo>
                  <a:pt x="1979" y="699"/>
                  <a:pt x="1979" y="699"/>
                  <a:pt x="1979" y="700"/>
                </a:cubicBezTo>
                <a:cubicBezTo>
                  <a:pt x="1979" y="700"/>
                  <a:pt x="1977" y="698"/>
                  <a:pt x="1976" y="696"/>
                </a:cubicBezTo>
                <a:cubicBezTo>
                  <a:pt x="1974" y="694"/>
                  <a:pt x="1973" y="693"/>
                  <a:pt x="1972" y="693"/>
                </a:cubicBezTo>
                <a:cubicBezTo>
                  <a:pt x="1972" y="693"/>
                  <a:pt x="1972" y="693"/>
                  <a:pt x="1972" y="694"/>
                </a:cubicBezTo>
                <a:cubicBezTo>
                  <a:pt x="1972" y="694"/>
                  <a:pt x="1972" y="696"/>
                  <a:pt x="1973" y="697"/>
                </a:cubicBezTo>
                <a:cubicBezTo>
                  <a:pt x="1973" y="698"/>
                  <a:pt x="1974" y="700"/>
                  <a:pt x="1974" y="701"/>
                </a:cubicBezTo>
                <a:cubicBezTo>
                  <a:pt x="1974" y="703"/>
                  <a:pt x="1972" y="704"/>
                  <a:pt x="1970" y="704"/>
                </a:cubicBezTo>
                <a:cubicBezTo>
                  <a:pt x="1969" y="704"/>
                  <a:pt x="1969" y="704"/>
                  <a:pt x="1969" y="703"/>
                </a:cubicBezTo>
                <a:lnTo>
                  <a:pt x="1970" y="700"/>
                </a:lnTo>
                <a:cubicBezTo>
                  <a:pt x="1970" y="699"/>
                  <a:pt x="1969" y="698"/>
                  <a:pt x="1967" y="698"/>
                </a:cubicBezTo>
                <a:cubicBezTo>
                  <a:pt x="1965" y="698"/>
                  <a:pt x="1964" y="700"/>
                  <a:pt x="1964" y="703"/>
                </a:cubicBezTo>
                <a:cubicBezTo>
                  <a:pt x="1964" y="706"/>
                  <a:pt x="1962" y="709"/>
                  <a:pt x="1959" y="711"/>
                </a:cubicBezTo>
                <a:cubicBezTo>
                  <a:pt x="1955" y="714"/>
                  <a:pt x="1952" y="715"/>
                  <a:pt x="1950" y="715"/>
                </a:cubicBezTo>
                <a:cubicBezTo>
                  <a:pt x="1948" y="715"/>
                  <a:pt x="1947" y="714"/>
                  <a:pt x="1946" y="713"/>
                </a:cubicBezTo>
                <a:cubicBezTo>
                  <a:pt x="1945" y="713"/>
                  <a:pt x="1945" y="712"/>
                  <a:pt x="1945" y="712"/>
                </a:cubicBezTo>
                <a:cubicBezTo>
                  <a:pt x="1944" y="713"/>
                  <a:pt x="1944" y="714"/>
                  <a:pt x="1944" y="716"/>
                </a:cubicBezTo>
                <a:lnTo>
                  <a:pt x="1944" y="716"/>
                </a:lnTo>
                <a:cubicBezTo>
                  <a:pt x="1944" y="719"/>
                  <a:pt x="1937" y="723"/>
                  <a:pt x="1924" y="729"/>
                </a:cubicBezTo>
                <a:cubicBezTo>
                  <a:pt x="1899" y="741"/>
                  <a:pt x="1879" y="747"/>
                  <a:pt x="1862" y="747"/>
                </a:cubicBezTo>
                <a:close/>
                <a:moveTo>
                  <a:pt x="1821" y="627"/>
                </a:moveTo>
                <a:cubicBezTo>
                  <a:pt x="1822" y="627"/>
                  <a:pt x="1822" y="627"/>
                  <a:pt x="1823" y="626"/>
                </a:cubicBezTo>
                <a:cubicBezTo>
                  <a:pt x="1823" y="625"/>
                  <a:pt x="1823" y="624"/>
                  <a:pt x="1824" y="622"/>
                </a:cubicBezTo>
                <a:cubicBezTo>
                  <a:pt x="1825" y="621"/>
                  <a:pt x="1825" y="620"/>
                  <a:pt x="1825" y="618"/>
                </a:cubicBezTo>
                <a:cubicBezTo>
                  <a:pt x="1825" y="618"/>
                  <a:pt x="1825" y="618"/>
                  <a:pt x="1825" y="618"/>
                </a:cubicBezTo>
                <a:cubicBezTo>
                  <a:pt x="1824" y="618"/>
                  <a:pt x="1824" y="618"/>
                  <a:pt x="1823" y="619"/>
                </a:cubicBezTo>
                <a:cubicBezTo>
                  <a:pt x="1822" y="620"/>
                  <a:pt x="1822" y="622"/>
                  <a:pt x="1821" y="623"/>
                </a:cubicBezTo>
                <a:cubicBezTo>
                  <a:pt x="1821" y="624"/>
                  <a:pt x="1821" y="625"/>
                  <a:pt x="1821" y="626"/>
                </a:cubicBezTo>
                <a:cubicBezTo>
                  <a:pt x="1821" y="627"/>
                  <a:pt x="1821" y="627"/>
                  <a:pt x="1821" y="627"/>
                </a:cubicBezTo>
                <a:close/>
                <a:moveTo>
                  <a:pt x="1846" y="734"/>
                </a:moveTo>
                <a:cubicBezTo>
                  <a:pt x="1848" y="734"/>
                  <a:pt x="1848" y="734"/>
                  <a:pt x="1848" y="733"/>
                </a:cubicBezTo>
                <a:lnTo>
                  <a:pt x="1848" y="732"/>
                </a:lnTo>
                <a:lnTo>
                  <a:pt x="1847" y="732"/>
                </a:lnTo>
                <a:cubicBezTo>
                  <a:pt x="1844" y="732"/>
                  <a:pt x="1843" y="732"/>
                  <a:pt x="1843" y="734"/>
                </a:cubicBezTo>
                <a:cubicBezTo>
                  <a:pt x="1843" y="734"/>
                  <a:pt x="1844" y="734"/>
                  <a:pt x="1846" y="734"/>
                </a:cubicBezTo>
                <a:close/>
                <a:moveTo>
                  <a:pt x="1951" y="712"/>
                </a:moveTo>
                <a:cubicBezTo>
                  <a:pt x="1953" y="712"/>
                  <a:pt x="1954" y="711"/>
                  <a:pt x="1954" y="710"/>
                </a:cubicBezTo>
                <a:cubicBezTo>
                  <a:pt x="1954" y="710"/>
                  <a:pt x="1954" y="709"/>
                  <a:pt x="1953" y="708"/>
                </a:cubicBezTo>
                <a:cubicBezTo>
                  <a:pt x="1952" y="707"/>
                  <a:pt x="1952" y="707"/>
                  <a:pt x="1951" y="707"/>
                </a:cubicBezTo>
                <a:cubicBezTo>
                  <a:pt x="1951" y="707"/>
                  <a:pt x="1950" y="708"/>
                  <a:pt x="1949" y="709"/>
                </a:cubicBezTo>
                <a:cubicBezTo>
                  <a:pt x="1948" y="710"/>
                  <a:pt x="1947" y="711"/>
                  <a:pt x="1946" y="711"/>
                </a:cubicBezTo>
                <a:lnTo>
                  <a:pt x="1951" y="712"/>
                </a:lnTo>
                <a:close/>
                <a:moveTo>
                  <a:pt x="1866" y="735"/>
                </a:moveTo>
                <a:cubicBezTo>
                  <a:pt x="1868" y="735"/>
                  <a:pt x="1873" y="733"/>
                  <a:pt x="1884" y="730"/>
                </a:cubicBezTo>
                <a:cubicBezTo>
                  <a:pt x="1887" y="730"/>
                  <a:pt x="1895" y="727"/>
                  <a:pt x="1907" y="722"/>
                </a:cubicBezTo>
                <a:cubicBezTo>
                  <a:pt x="1920" y="717"/>
                  <a:pt x="1926" y="714"/>
                  <a:pt x="1927" y="713"/>
                </a:cubicBezTo>
                <a:cubicBezTo>
                  <a:pt x="1928" y="713"/>
                  <a:pt x="1930" y="712"/>
                  <a:pt x="1933" y="712"/>
                </a:cubicBezTo>
                <a:cubicBezTo>
                  <a:pt x="1937" y="711"/>
                  <a:pt x="1941" y="709"/>
                  <a:pt x="1946" y="706"/>
                </a:cubicBezTo>
                <a:cubicBezTo>
                  <a:pt x="1951" y="704"/>
                  <a:pt x="1954" y="702"/>
                  <a:pt x="1954" y="702"/>
                </a:cubicBezTo>
                <a:cubicBezTo>
                  <a:pt x="1955" y="702"/>
                  <a:pt x="1955" y="703"/>
                  <a:pt x="1955" y="703"/>
                </a:cubicBezTo>
                <a:lnTo>
                  <a:pt x="1954" y="706"/>
                </a:lnTo>
                <a:cubicBezTo>
                  <a:pt x="1954" y="707"/>
                  <a:pt x="1955" y="708"/>
                  <a:pt x="1956" y="708"/>
                </a:cubicBezTo>
                <a:cubicBezTo>
                  <a:pt x="1957" y="708"/>
                  <a:pt x="1959" y="707"/>
                  <a:pt x="1960" y="706"/>
                </a:cubicBezTo>
                <a:cubicBezTo>
                  <a:pt x="1961" y="705"/>
                  <a:pt x="1962" y="705"/>
                  <a:pt x="1962" y="704"/>
                </a:cubicBezTo>
                <a:cubicBezTo>
                  <a:pt x="1962" y="704"/>
                  <a:pt x="1961" y="703"/>
                  <a:pt x="1960" y="702"/>
                </a:cubicBezTo>
                <a:cubicBezTo>
                  <a:pt x="1959" y="701"/>
                  <a:pt x="1958" y="701"/>
                  <a:pt x="1958" y="700"/>
                </a:cubicBezTo>
                <a:lnTo>
                  <a:pt x="1958" y="699"/>
                </a:lnTo>
                <a:cubicBezTo>
                  <a:pt x="1962" y="697"/>
                  <a:pt x="1966" y="694"/>
                  <a:pt x="1972" y="692"/>
                </a:cubicBezTo>
                <a:lnTo>
                  <a:pt x="1976" y="691"/>
                </a:lnTo>
                <a:cubicBezTo>
                  <a:pt x="1978" y="691"/>
                  <a:pt x="1979" y="690"/>
                  <a:pt x="1979" y="688"/>
                </a:cubicBezTo>
                <a:cubicBezTo>
                  <a:pt x="1979" y="687"/>
                  <a:pt x="1979" y="686"/>
                  <a:pt x="1978" y="686"/>
                </a:cubicBezTo>
                <a:cubicBezTo>
                  <a:pt x="1976" y="686"/>
                  <a:pt x="1973" y="688"/>
                  <a:pt x="1969" y="690"/>
                </a:cubicBezTo>
                <a:lnTo>
                  <a:pt x="1967" y="691"/>
                </a:lnTo>
                <a:cubicBezTo>
                  <a:pt x="1967" y="691"/>
                  <a:pt x="1966" y="690"/>
                  <a:pt x="1966" y="690"/>
                </a:cubicBezTo>
                <a:lnTo>
                  <a:pt x="1967" y="688"/>
                </a:lnTo>
                <a:cubicBezTo>
                  <a:pt x="1967" y="687"/>
                  <a:pt x="1967" y="687"/>
                  <a:pt x="1967" y="687"/>
                </a:cubicBezTo>
                <a:cubicBezTo>
                  <a:pt x="1967" y="687"/>
                  <a:pt x="1966" y="687"/>
                  <a:pt x="1965" y="688"/>
                </a:cubicBezTo>
                <a:cubicBezTo>
                  <a:pt x="1964" y="688"/>
                  <a:pt x="1964" y="688"/>
                  <a:pt x="1963" y="689"/>
                </a:cubicBezTo>
                <a:cubicBezTo>
                  <a:pt x="1963" y="690"/>
                  <a:pt x="1962" y="690"/>
                  <a:pt x="1962" y="691"/>
                </a:cubicBezTo>
                <a:lnTo>
                  <a:pt x="1962" y="691"/>
                </a:lnTo>
                <a:cubicBezTo>
                  <a:pt x="1962" y="693"/>
                  <a:pt x="1961" y="694"/>
                  <a:pt x="1958" y="694"/>
                </a:cubicBezTo>
                <a:cubicBezTo>
                  <a:pt x="1952" y="695"/>
                  <a:pt x="1942" y="699"/>
                  <a:pt x="1927" y="707"/>
                </a:cubicBezTo>
                <a:cubicBezTo>
                  <a:pt x="1915" y="713"/>
                  <a:pt x="1906" y="718"/>
                  <a:pt x="1901" y="720"/>
                </a:cubicBezTo>
                <a:cubicBezTo>
                  <a:pt x="1895" y="722"/>
                  <a:pt x="1891" y="723"/>
                  <a:pt x="1888" y="724"/>
                </a:cubicBezTo>
                <a:cubicBezTo>
                  <a:pt x="1884" y="725"/>
                  <a:pt x="1882" y="725"/>
                  <a:pt x="1882" y="727"/>
                </a:cubicBezTo>
                <a:cubicBezTo>
                  <a:pt x="1881" y="728"/>
                  <a:pt x="1880" y="728"/>
                  <a:pt x="1879" y="728"/>
                </a:cubicBezTo>
                <a:cubicBezTo>
                  <a:pt x="1878" y="728"/>
                  <a:pt x="1877" y="728"/>
                  <a:pt x="1876" y="728"/>
                </a:cubicBezTo>
                <a:cubicBezTo>
                  <a:pt x="1875" y="728"/>
                  <a:pt x="1874" y="728"/>
                  <a:pt x="1874" y="728"/>
                </a:cubicBezTo>
                <a:cubicBezTo>
                  <a:pt x="1873" y="728"/>
                  <a:pt x="1873" y="728"/>
                  <a:pt x="1873" y="728"/>
                </a:cubicBezTo>
                <a:lnTo>
                  <a:pt x="1874" y="730"/>
                </a:lnTo>
                <a:cubicBezTo>
                  <a:pt x="1874" y="731"/>
                  <a:pt x="1874" y="732"/>
                  <a:pt x="1872" y="732"/>
                </a:cubicBezTo>
                <a:lnTo>
                  <a:pt x="1864" y="730"/>
                </a:lnTo>
                <a:lnTo>
                  <a:pt x="1863" y="730"/>
                </a:lnTo>
                <a:lnTo>
                  <a:pt x="1864" y="731"/>
                </a:lnTo>
                <a:cubicBezTo>
                  <a:pt x="1865" y="732"/>
                  <a:pt x="1865" y="732"/>
                  <a:pt x="1865" y="733"/>
                </a:cubicBezTo>
                <a:lnTo>
                  <a:pt x="1865" y="735"/>
                </a:lnTo>
                <a:lnTo>
                  <a:pt x="1866" y="735"/>
                </a:lnTo>
                <a:close/>
                <a:moveTo>
                  <a:pt x="1972" y="686"/>
                </a:moveTo>
                <a:cubicBezTo>
                  <a:pt x="1974" y="686"/>
                  <a:pt x="1975" y="685"/>
                  <a:pt x="1976" y="683"/>
                </a:cubicBezTo>
                <a:lnTo>
                  <a:pt x="1976" y="683"/>
                </a:lnTo>
                <a:cubicBezTo>
                  <a:pt x="1976" y="683"/>
                  <a:pt x="1976" y="683"/>
                  <a:pt x="1976" y="683"/>
                </a:cubicBezTo>
                <a:lnTo>
                  <a:pt x="1974" y="683"/>
                </a:lnTo>
                <a:cubicBezTo>
                  <a:pt x="1972" y="684"/>
                  <a:pt x="1971" y="685"/>
                  <a:pt x="1971" y="686"/>
                </a:cubicBezTo>
                <a:cubicBezTo>
                  <a:pt x="1971" y="686"/>
                  <a:pt x="1971" y="686"/>
                  <a:pt x="1972" y="686"/>
                </a:cubicBezTo>
                <a:close/>
                <a:moveTo>
                  <a:pt x="1852" y="727"/>
                </a:moveTo>
                <a:cubicBezTo>
                  <a:pt x="1857" y="727"/>
                  <a:pt x="1861" y="726"/>
                  <a:pt x="1866" y="725"/>
                </a:cubicBezTo>
                <a:cubicBezTo>
                  <a:pt x="1869" y="724"/>
                  <a:pt x="1872" y="724"/>
                  <a:pt x="1874" y="723"/>
                </a:cubicBezTo>
                <a:cubicBezTo>
                  <a:pt x="1877" y="722"/>
                  <a:pt x="1878" y="722"/>
                  <a:pt x="1879" y="722"/>
                </a:cubicBezTo>
                <a:cubicBezTo>
                  <a:pt x="1879" y="721"/>
                  <a:pt x="1880" y="721"/>
                  <a:pt x="1881" y="721"/>
                </a:cubicBezTo>
                <a:cubicBezTo>
                  <a:pt x="1882" y="720"/>
                  <a:pt x="1882" y="720"/>
                  <a:pt x="1883" y="719"/>
                </a:cubicBezTo>
                <a:cubicBezTo>
                  <a:pt x="1884" y="718"/>
                  <a:pt x="1885" y="718"/>
                  <a:pt x="1887" y="718"/>
                </a:cubicBezTo>
                <a:cubicBezTo>
                  <a:pt x="1889" y="718"/>
                  <a:pt x="1895" y="716"/>
                  <a:pt x="1904" y="712"/>
                </a:cubicBezTo>
                <a:cubicBezTo>
                  <a:pt x="1913" y="708"/>
                  <a:pt x="1922" y="705"/>
                  <a:pt x="1931" y="700"/>
                </a:cubicBezTo>
                <a:cubicBezTo>
                  <a:pt x="1937" y="697"/>
                  <a:pt x="1942" y="695"/>
                  <a:pt x="1947" y="694"/>
                </a:cubicBezTo>
                <a:cubicBezTo>
                  <a:pt x="1948" y="694"/>
                  <a:pt x="1950" y="693"/>
                  <a:pt x="1951" y="691"/>
                </a:cubicBezTo>
                <a:cubicBezTo>
                  <a:pt x="1951" y="690"/>
                  <a:pt x="1952" y="690"/>
                  <a:pt x="1952" y="690"/>
                </a:cubicBezTo>
                <a:lnTo>
                  <a:pt x="1954" y="690"/>
                </a:lnTo>
                <a:cubicBezTo>
                  <a:pt x="1955" y="690"/>
                  <a:pt x="1955" y="689"/>
                  <a:pt x="1955" y="688"/>
                </a:cubicBezTo>
                <a:cubicBezTo>
                  <a:pt x="1955" y="687"/>
                  <a:pt x="1956" y="687"/>
                  <a:pt x="1958" y="687"/>
                </a:cubicBezTo>
                <a:cubicBezTo>
                  <a:pt x="1959" y="687"/>
                  <a:pt x="1961" y="686"/>
                  <a:pt x="1962" y="686"/>
                </a:cubicBezTo>
                <a:cubicBezTo>
                  <a:pt x="1965" y="683"/>
                  <a:pt x="1967" y="682"/>
                  <a:pt x="1969" y="681"/>
                </a:cubicBezTo>
                <a:cubicBezTo>
                  <a:pt x="1971" y="681"/>
                  <a:pt x="1972" y="680"/>
                  <a:pt x="1973" y="679"/>
                </a:cubicBezTo>
                <a:cubicBezTo>
                  <a:pt x="1974" y="678"/>
                  <a:pt x="1975" y="678"/>
                  <a:pt x="1976" y="678"/>
                </a:cubicBezTo>
                <a:cubicBezTo>
                  <a:pt x="1981" y="677"/>
                  <a:pt x="1983" y="677"/>
                  <a:pt x="1983" y="676"/>
                </a:cubicBezTo>
                <a:lnTo>
                  <a:pt x="1983" y="674"/>
                </a:lnTo>
                <a:cubicBezTo>
                  <a:pt x="1983" y="674"/>
                  <a:pt x="1984" y="674"/>
                  <a:pt x="1986" y="674"/>
                </a:cubicBezTo>
                <a:cubicBezTo>
                  <a:pt x="1988" y="674"/>
                  <a:pt x="1989" y="674"/>
                  <a:pt x="1989" y="674"/>
                </a:cubicBezTo>
                <a:cubicBezTo>
                  <a:pt x="1989" y="674"/>
                  <a:pt x="1988" y="675"/>
                  <a:pt x="1987" y="676"/>
                </a:cubicBezTo>
                <a:cubicBezTo>
                  <a:pt x="1985" y="677"/>
                  <a:pt x="1984" y="678"/>
                  <a:pt x="1984" y="679"/>
                </a:cubicBezTo>
                <a:cubicBezTo>
                  <a:pt x="1984" y="679"/>
                  <a:pt x="1985" y="680"/>
                  <a:pt x="1986" y="680"/>
                </a:cubicBezTo>
                <a:lnTo>
                  <a:pt x="1987" y="681"/>
                </a:lnTo>
                <a:cubicBezTo>
                  <a:pt x="1987" y="681"/>
                  <a:pt x="1987" y="681"/>
                  <a:pt x="1986" y="681"/>
                </a:cubicBezTo>
                <a:lnTo>
                  <a:pt x="1980" y="680"/>
                </a:lnTo>
                <a:cubicBezTo>
                  <a:pt x="1980" y="680"/>
                  <a:pt x="1981" y="681"/>
                  <a:pt x="1982" y="681"/>
                </a:cubicBezTo>
                <a:cubicBezTo>
                  <a:pt x="1982" y="681"/>
                  <a:pt x="1983" y="682"/>
                  <a:pt x="1983" y="683"/>
                </a:cubicBezTo>
                <a:lnTo>
                  <a:pt x="1982" y="685"/>
                </a:lnTo>
                <a:cubicBezTo>
                  <a:pt x="1982" y="686"/>
                  <a:pt x="1983" y="687"/>
                  <a:pt x="1984" y="687"/>
                </a:cubicBezTo>
                <a:cubicBezTo>
                  <a:pt x="1985" y="687"/>
                  <a:pt x="1987" y="685"/>
                  <a:pt x="1989" y="681"/>
                </a:cubicBezTo>
                <a:cubicBezTo>
                  <a:pt x="1990" y="679"/>
                  <a:pt x="1991" y="678"/>
                  <a:pt x="1992" y="676"/>
                </a:cubicBezTo>
                <a:cubicBezTo>
                  <a:pt x="1994" y="675"/>
                  <a:pt x="1994" y="674"/>
                  <a:pt x="1995" y="674"/>
                </a:cubicBezTo>
                <a:cubicBezTo>
                  <a:pt x="1996" y="674"/>
                  <a:pt x="1997" y="675"/>
                  <a:pt x="1997" y="675"/>
                </a:cubicBezTo>
                <a:cubicBezTo>
                  <a:pt x="1997" y="675"/>
                  <a:pt x="1996" y="676"/>
                  <a:pt x="1995" y="676"/>
                </a:cubicBezTo>
                <a:cubicBezTo>
                  <a:pt x="1994" y="677"/>
                  <a:pt x="1993" y="678"/>
                  <a:pt x="1993" y="679"/>
                </a:cubicBezTo>
                <a:cubicBezTo>
                  <a:pt x="1993" y="680"/>
                  <a:pt x="1994" y="681"/>
                  <a:pt x="1996" y="681"/>
                </a:cubicBezTo>
                <a:cubicBezTo>
                  <a:pt x="1996" y="681"/>
                  <a:pt x="1997" y="680"/>
                  <a:pt x="1997" y="679"/>
                </a:cubicBezTo>
                <a:cubicBezTo>
                  <a:pt x="1997" y="679"/>
                  <a:pt x="1997" y="678"/>
                  <a:pt x="1998" y="676"/>
                </a:cubicBezTo>
                <a:lnTo>
                  <a:pt x="1998" y="673"/>
                </a:lnTo>
                <a:cubicBezTo>
                  <a:pt x="1998" y="672"/>
                  <a:pt x="1997" y="671"/>
                  <a:pt x="1996" y="669"/>
                </a:cubicBezTo>
                <a:cubicBezTo>
                  <a:pt x="1996" y="668"/>
                  <a:pt x="1995" y="666"/>
                  <a:pt x="1995" y="666"/>
                </a:cubicBezTo>
                <a:cubicBezTo>
                  <a:pt x="1995" y="666"/>
                  <a:pt x="1995" y="665"/>
                  <a:pt x="1996" y="665"/>
                </a:cubicBezTo>
                <a:lnTo>
                  <a:pt x="1999" y="666"/>
                </a:lnTo>
                <a:cubicBezTo>
                  <a:pt x="2001" y="666"/>
                  <a:pt x="2002" y="665"/>
                  <a:pt x="2002" y="664"/>
                </a:cubicBezTo>
                <a:lnTo>
                  <a:pt x="2002" y="663"/>
                </a:lnTo>
                <a:cubicBezTo>
                  <a:pt x="2002" y="662"/>
                  <a:pt x="2005" y="661"/>
                  <a:pt x="2011" y="661"/>
                </a:cubicBezTo>
                <a:cubicBezTo>
                  <a:pt x="2011" y="662"/>
                  <a:pt x="2009" y="664"/>
                  <a:pt x="2006" y="666"/>
                </a:cubicBezTo>
                <a:cubicBezTo>
                  <a:pt x="2002" y="668"/>
                  <a:pt x="2000" y="669"/>
                  <a:pt x="2000" y="670"/>
                </a:cubicBezTo>
                <a:lnTo>
                  <a:pt x="2000" y="670"/>
                </a:lnTo>
                <a:cubicBezTo>
                  <a:pt x="2002" y="670"/>
                  <a:pt x="2003" y="671"/>
                  <a:pt x="2003" y="672"/>
                </a:cubicBezTo>
                <a:lnTo>
                  <a:pt x="2003" y="673"/>
                </a:lnTo>
                <a:cubicBezTo>
                  <a:pt x="2003" y="674"/>
                  <a:pt x="2004" y="675"/>
                  <a:pt x="2005" y="676"/>
                </a:cubicBezTo>
                <a:lnTo>
                  <a:pt x="2007" y="676"/>
                </a:lnTo>
                <a:lnTo>
                  <a:pt x="2008" y="676"/>
                </a:lnTo>
                <a:lnTo>
                  <a:pt x="2006" y="675"/>
                </a:lnTo>
                <a:cubicBezTo>
                  <a:pt x="2004" y="674"/>
                  <a:pt x="2003" y="673"/>
                  <a:pt x="2003" y="673"/>
                </a:cubicBezTo>
                <a:cubicBezTo>
                  <a:pt x="2003" y="673"/>
                  <a:pt x="2004" y="672"/>
                  <a:pt x="2004" y="672"/>
                </a:cubicBezTo>
                <a:cubicBezTo>
                  <a:pt x="2005" y="672"/>
                  <a:pt x="2006" y="672"/>
                  <a:pt x="2006" y="671"/>
                </a:cubicBezTo>
                <a:cubicBezTo>
                  <a:pt x="2007" y="671"/>
                  <a:pt x="2007" y="670"/>
                  <a:pt x="2007" y="670"/>
                </a:cubicBezTo>
                <a:cubicBezTo>
                  <a:pt x="2007" y="668"/>
                  <a:pt x="2008" y="667"/>
                  <a:pt x="2009" y="666"/>
                </a:cubicBezTo>
                <a:cubicBezTo>
                  <a:pt x="2011" y="666"/>
                  <a:pt x="2011" y="666"/>
                  <a:pt x="2011" y="667"/>
                </a:cubicBezTo>
                <a:lnTo>
                  <a:pt x="2011" y="668"/>
                </a:lnTo>
                <a:cubicBezTo>
                  <a:pt x="2011" y="668"/>
                  <a:pt x="2011" y="668"/>
                  <a:pt x="2012" y="669"/>
                </a:cubicBezTo>
                <a:cubicBezTo>
                  <a:pt x="2012" y="669"/>
                  <a:pt x="2012" y="669"/>
                  <a:pt x="2013" y="669"/>
                </a:cubicBezTo>
                <a:cubicBezTo>
                  <a:pt x="2014" y="669"/>
                  <a:pt x="2015" y="665"/>
                  <a:pt x="2015" y="660"/>
                </a:cubicBezTo>
                <a:cubicBezTo>
                  <a:pt x="2015" y="656"/>
                  <a:pt x="2014" y="654"/>
                  <a:pt x="2013" y="653"/>
                </a:cubicBezTo>
                <a:cubicBezTo>
                  <a:pt x="2011" y="653"/>
                  <a:pt x="1999" y="659"/>
                  <a:pt x="1975" y="671"/>
                </a:cubicBezTo>
                <a:cubicBezTo>
                  <a:pt x="1931" y="694"/>
                  <a:pt x="1903" y="707"/>
                  <a:pt x="1890" y="710"/>
                </a:cubicBezTo>
                <a:lnTo>
                  <a:pt x="1874" y="714"/>
                </a:lnTo>
                <a:cubicBezTo>
                  <a:pt x="1867" y="717"/>
                  <a:pt x="1857" y="718"/>
                  <a:pt x="1846" y="718"/>
                </a:cubicBezTo>
                <a:cubicBezTo>
                  <a:pt x="1836" y="718"/>
                  <a:pt x="1831" y="718"/>
                  <a:pt x="1831" y="720"/>
                </a:cubicBezTo>
                <a:cubicBezTo>
                  <a:pt x="1831" y="721"/>
                  <a:pt x="1833" y="722"/>
                  <a:pt x="1838" y="724"/>
                </a:cubicBezTo>
                <a:cubicBezTo>
                  <a:pt x="1843" y="726"/>
                  <a:pt x="1848" y="727"/>
                  <a:pt x="1852" y="727"/>
                </a:cubicBezTo>
                <a:close/>
                <a:moveTo>
                  <a:pt x="2021" y="652"/>
                </a:moveTo>
                <a:cubicBezTo>
                  <a:pt x="2022" y="652"/>
                  <a:pt x="2023" y="651"/>
                  <a:pt x="2023" y="650"/>
                </a:cubicBezTo>
                <a:cubicBezTo>
                  <a:pt x="2023" y="649"/>
                  <a:pt x="2023" y="648"/>
                  <a:pt x="2022" y="648"/>
                </a:cubicBezTo>
                <a:lnTo>
                  <a:pt x="2021" y="647"/>
                </a:lnTo>
                <a:cubicBezTo>
                  <a:pt x="2020" y="647"/>
                  <a:pt x="2019" y="647"/>
                  <a:pt x="2018" y="648"/>
                </a:cubicBezTo>
                <a:cubicBezTo>
                  <a:pt x="2017" y="649"/>
                  <a:pt x="2017" y="649"/>
                  <a:pt x="2017" y="650"/>
                </a:cubicBezTo>
                <a:cubicBezTo>
                  <a:pt x="2017" y="650"/>
                  <a:pt x="2017" y="651"/>
                  <a:pt x="2019" y="652"/>
                </a:cubicBezTo>
                <a:lnTo>
                  <a:pt x="2021" y="652"/>
                </a:lnTo>
                <a:close/>
                <a:moveTo>
                  <a:pt x="2027" y="650"/>
                </a:moveTo>
                <a:cubicBezTo>
                  <a:pt x="2027" y="650"/>
                  <a:pt x="2028" y="650"/>
                  <a:pt x="2029" y="649"/>
                </a:cubicBezTo>
                <a:cubicBezTo>
                  <a:pt x="2031" y="648"/>
                  <a:pt x="2033" y="647"/>
                  <a:pt x="2033" y="645"/>
                </a:cubicBezTo>
                <a:lnTo>
                  <a:pt x="2033" y="644"/>
                </a:lnTo>
                <a:cubicBezTo>
                  <a:pt x="2032" y="643"/>
                  <a:pt x="2031" y="643"/>
                  <a:pt x="2029" y="643"/>
                </a:cubicBezTo>
                <a:cubicBezTo>
                  <a:pt x="2029" y="643"/>
                  <a:pt x="2028" y="643"/>
                  <a:pt x="2027" y="644"/>
                </a:cubicBezTo>
                <a:cubicBezTo>
                  <a:pt x="2026" y="645"/>
                  <a:pt x="2026" y="647"/>
                  <a:pt x="2026" y="649"/>
                </a:cubicBezTo>
                <a:cubicBezTo>
                  <a:pt x="2026" y="649"/>
                  <a:pt x="2026" y="650"/>
                  <a:pt x="2027" y="650"/>
                </a:cubicBezTo>
                <a:close/>
                <a:moveTo>
                  <a:pt x="2137" y="597"/>
                </a:moveTo>
                <a:cubicBezTo>
                  <a:pt x="2139" y="597"/>
                  <a:pt x="2139" y="595"/>
                  <a:pt x="2139" y="593"/>
                </a:cubicBezTo>
                <a:cubicBezTo>
                  <a:pt x="2139" y="592"/>
                  <a:pt x="2139" y="591"/>
                  <a:pt x="2138" y="591"/>
                </a:cubicBezTo>
                <a:lnTo>
                  <a:pt x="2137" y="592"/>
                </a:lnTo>
                <a:cubicBezTo>
                  <a:pt x="2136" y="592"/>
                  <a:pt x="2136" y="593"/>
                  <a:pt x="2136" y="595"/>
                </a:cubicBezTo>
                <a:cubicBezTo>
                  <a:pt x="2136" y="595"/>
                  <a:pt x="2136" y="595"/>
                  <a:pt x="2136" y="595"/>
                </a:cubicBezTo>
                <a:cubicBezTo>
                  <a:pt x="2137" y="596"/>
                  <a:pt x="2137" y="596"/>
                  <a:pt x="2137" y="597"/>
                </a:cubicBezTo>
                <a:close/>
                <a:moveTo>
                  <a:pt x="1846" y="576"/>
                </a:moveTo>
                <a:cubicBezTo>
                  <a:pt x="1846" y="576"/>
                  <a:pt x="1846" y="576"/>
                  <a:pt x="1846" y="575"/>
                </a:cubicBezTo>
                <a:cubicBezTo>
                  <a:pt x="1846" y="575"/>
                  <a:pt x="1846" y="574"/>
                  <a:pt x="1847" y="573"/>
                </a:cubicBezTo>
                <a:cubicBezTo>
                  <a:pt x="1848" y="572"/>
                  <a:pt x="1850" y="571"/>
                  <a:pt x="1850" y="570"/>
                </a:cubicBezTo>
                <a:cubicBezTo>
                  <a:pt x="1851" y="570"/>
                  <a:pt x="1852" y="569"/>
                  <a:pt x="1852" y="569"/>
                </a:cubicBezTo>
                <a:cubicBezTo>
                  <a:pt x="1853" y="569"/>
                  <a:pt x="1853" y="570"/>
                  <a:pt x="1853" y="570"/>
                </a:cubicBezTo>
                <a:cubicBezTo>
                  <a:pt x="1853" y="570"/>
                  <a:pt x="1852" y="571"/>
                  <a:pt x="1851" y="573"/>
                </a:cubicBezTo>
                <a:cubicBezTo>
                  <a:pt x="1849" y="575"/>
                  <a:pt x="1848" y="576"/>
                  <a:pt x="1846" y="576"/>
                </a:cubicBezTo>
                <a:close/>
                <a:moveTo>
                  <a:pt x="2169" y="578"/>
                </a:moveTo>
                <a:cubicBezTo>
                  <a:pt x="2169" y="578"/>
                  <a:pt x="2169" y="578"/>
                  <a:pt x="2169" y="578"/>
                </a:cubicBezTo>
                <a:cubicBezTo>
                  <a:pt x="2169" y="577"/>
                  <a:pt x="2170" y="576"/>
                  <a:pt x="2172" y="575"/>
                </a:cubicBezTo>
                <a:cubicBezTo>
                  <a:pt x="2173" y="573"/>
                  <a:pt x="2175" y="572"/>
                  <a:pt x="2176" y="572"/>
                </a:cubicBezTo>
                <a:cubicBezTo>
                  <a:pt x="2176" y="572"/>
                  <a:pt x="2177" y="573"/>
                  <a:pt x="2177" y="573"/>
                </a:cubicBezTo>
                <a:lnTo>
                  <a:pt x="2177" y="573"/>
                </a:lnTo>
                <a:cubicBezTo>
                  <a:pt x="2177" y="574"/>
                  <a:pt x="2177" y="575"/>
                  <a:pt x="2176" y="576"/>
                </a:cubicBezTo>
                <a:cubicBezTo>
                  <a:pt x="2175" y="576"/>
                  <a:pt x="2174" y="577"/>
                  <a:pt x="2173" y="578"/>
                </a:cubicBezTo>
                <a:cubicBezTo>
                  <a:pt x="2172" y="578"/>
                  <a:pt x="2170" y="578"/>
                  <a:pt x="2169" y="578"/>
                </a:cubicBezTo>
                <a:close/>
                <a:moveTo>
                  <a:pt x="1827" y="679"/>
                </a:moveTo>
                <a:cubicBezTo>
                  <a:pt x="1826" y="679"/>
                  <a:pt x="1826" y="678"/>
                  <a:pt x="1826" y="676"/>
                </a:cubicBezTo>
                <a:cubicBezTo>
                  <a:pt x="1826" y="674"/>
                  <a:pt x="1826" y="674"/>
                  <a:pt x="1827" y="674"/>
                </a:cubicBezTo>
                <a:cubicBezTo>
                  <a:pt x="1827" y="674"/>
                  <a:pt x="1827" y="674"/>
                  <a:pt x="1828" y="674"/>
                </a:cubicBezTo>
                <a:cubicBezTo>
                  <a:pt x="1828" y="674"/>
                  <a:pt x="1828" y="675"/>
                  <a:pt x="1828" y="676"/>
                </a:cubicBezTo>
                <a:cubicBezTo>
                  <a:pt x="1828" y="676"/>
                  <a:pt x="1828" y="677"/>
                  <a:pt x="1828" y="678"/>
                </a:cubicBezTo>
                <a:cubicBezTo>
                  <a:pt x="1827" y="679"/>
                  <a:pt x="1827" y="679"/>
                  <a:pt x="1827" y="679"/>
                </a:cubicBezTo>
                <a:close/>
                <a:moveTo>
                  <a:pt x="2034" y="656"/>
                </a:moveTo>
                <a:cubicBezTo>
                  <a:pt x="2034" y="656"/>
                  <a:pt x="2033" y="656"/>
                  <a:pt x="2033" y="654"/>
                </a:cubicBezTo>
                <a:cubicBezTo>
                  <a:pt x="2033" y="654"/>
                  <a:pt x="2034" y="653"/>
                  <a:pt x="2035" y="652"/>
                </a:cubicBezTo>
                <a:cubicBezTo>
                  <a:pt x="2036" y="652"/>
                  <a:pt x="2036" y="652"/>
                  <a:pt x="2037" y="651"/>
                </a:cubicBezTo>
                <a:cubicBezTo>
                  <a:pt x="2038" y="650"/>
                  <a:pt x="2039" y="650"/>
                  <a:pt x="2039" y="650"/>
                </a:cubicBezTo>
                <a:lnTo>
                  <a:pt x="2040" y="650"/>
                </a:lnTo>
                <a:lnTo>
                  <a:pt x="2038" y="653"/>
                </a:lnTo>
                <a:cubicBezTo>
                  <a:pt x="2036" y="655"/>
                  <a:pt x="2035" y="656"/>
                  <a:pt x="2034" y="656"/>
                </a:cubicBezTo>
                <a:close/>
                <a:moveTo>
                  <a:pt x="2085" y="633"/>
                </a:moveTo>
                <a:lnTo>
                  <a:pt x="2082" y="633"/>
                </a:lnTo>
                <a:cubicBezTo>
                  <a:pt x="2082" y="633"/>
                  <a:pt x="2082" y="632"/>
                  <a:pt x="2084" y="632"/>
                </a:cubicBezTo>
                <a:cubicBezTo>
                  <a:pt x="2086" y="631"/>
                  <a:pt x="2088" y="630"/>
                  <a:pt x="2090" y="627"/>
                </a:cubicBezTo>
                <a:cubicBezTo>
                  <a:pt x="2092" y="626"/>
                  <a:pt x="2094" y="625"/>
                  <a:pt x="2096" y="625"/>
                </a:cubicBezTo>
                <a:cubicBezTo>
                  <a:pt x="2098" y="625"/>
                  <a:pt x="2098" y="625"/>
                  <a:pt x="2098" y="626"/>
                </a:cubicBezTo>
                <a:lnTo>
                  <a:pt x="2095" y="626"/>
                </a:lnTo>
                <a:cubicBezTo>
                  <a:pt x="2094" y="626"/>
                  <a:pt x="2092" y="627"/>
                  <a:pt x="2090" y="630"/>
                </a:cubicBezTo>
                <a:cubicBezTo>
                  <a:pt x="2088" y="632"/>
                  <a:pt x="2086" y="633"/>
                  <a:pt x="2085" y="633"/>
                </a:cubicBezTo>
                <a:close/>
                <a:moveTo>
                  <a:pt x="2067" y="644"/>
                </a:moveTo>
                <a:cubicBezTo>
                  <a:pt x="2066" y="644"/>
                  <a:pt x="2066" y="643"/>
                  <a:pt x="2066" y="643"/>
                </a:cubicBezTo>
                <a:cubicBezTo>
                  <a:pt x="2066" y="642"/>
                  <a:pt x="2068" y="640"/>
                  <a:pt x="2073" y="638"/>
                </a:cubicBezTo>
                <a:cubicBezTo>
                  <a:pt x="2075" y="637"/>
                  <a:pt x="2077" y="637"/>
                  <a:pt x="2078" y="637"/>
                </a:cubicBezTo>
                <a:lnTo>
                  <a:pt x="2078" y="637"/>
                </a:lnTo>
                <a:cubicBezTo>
                  <a:pt x="2078" y="637"/>
                  <a:pt x="2078" y="638"/>
                  <a:pt x="2077" y="639"/>
                </a:cubicBezTo>
                <a:cubicBezTo>
                  <a:pt x="2076" y="640"/>
                  <a:pt x="2074" y="641"/>
                  <a:pt x="2072" y="642"/>
                </a:cubicBezTo>
                <a:cubicBezTo>
                  <a:pt x="2070" y="643"/>
                  <a:pt x="2069" y="644"/>
                  <a:pt x="2067" y="644"/>
                </a:cubicBezTo>
                <a:close/>
                <a:moveTo>
                  <a:pt x="2027" y="669"/>
                </a:moveTo>
                <a:cubicBezTo>
                  <a:pt x="2026" y="669"/>
                  <a:pt x="2025" y="669"/>
                  <a:pt x="2024" y="669"/>
                </a:cubicBezTo>
                <a:cubicBezTo>
                  <a:pt x="2022" y="669"/>
                  <a:pt x="2021" y="668"/>
                  <a:pt x="2021" y="667"/>
                </a:cubicBezTo>
                <a:cubicBezTo>
                  <a:pt x="2021" y="666"/>
                  <a:pt x="2023" y="665"/>
                  <a:pt x="2026" y="665"/>
                </a:cubicBezTo>
                <a:cubicBezTo>
                  <a:pt x="2029" y="665"/>
                  <a:pt x="2030" y="665"/>
                  <a:pt x="2031" y="664"/>
                </a:cubicBezTo>
                <a:lnTo>
                  <a:pt x="2029" y="662"/>
                </a:lnTo>
                <a:cubicBezTo>
                  <a:pt x="2029" y="661"/>
                  <a:pt x="2030" y="661"/>
                  <a:pt x="2030" y="661"/>
                </a:cubicBezTo>
                <a:lnTo>
                  <a:pt x="2031" y="661"/>
                </a:lnTo>
                <a:cubicBezTo>
                  <a:pt x="2032" y="661"/>
                  <a:pt x="2034" y="660"/>
                  <a:pt x="2038" y="659"/>
                </a:cubicBezTo>
                <a:cubicBezTo>
                  <a:pt x="2042" y="657"/>
                  <a:pt x="2045" y="655"/>
                  <a:pt x="2049" y="653"/>
                </a:cubicBezTo>
                <a:cubicBezTo>
                  <a:pt x="2053" y="651"/>
                  <a:pt x="2056" y="649"/>
                  <a:pt x="2058" y="647"/>
                </a:cubicBezTo>
                <a:cubicBezTo>
                  <a:pt x="2060" y="646"/>
                  <a:pt x="2061" y="645"/>
                  <a:pt x="2062" y="645"/>
                </a:cubicBezTo>
                <a:cubicBezTo>
                  <a:pt x="2063" y="645"/>
                  <a:pt x="2064" y="646"/>
                  <a:pt x="2064" y="647"/>
                </a:cubicBezTo>
                <a:cubicBezTo>
                  <a:pt x="2064" y="649"/>
                  <a:pt x="2063" y="649"/>
                  <a:pt x="2061" y="649"/>
                </a:cubicBezTo>
                <a:cubicBezTo>
                  <a:pt x="2060" y="649"/>
                  <a:pt x="2059" y="650"/>
                  <a:pt x="2058" y="651"/>
                </a:cubicBezTo>
                <a:lnTo>
                  <a:pt x="2059" y="653"/>
                </a:lnTo>
                <a:cubicBezTo>
                  <a:pt x="2059" y="654"/>
                  <a:pt x="2059" y="654"/>
                  <a:pt x="2059" y="654"/>
                </a:cubicBezTo>
                <a:lnTo>
                  <a:pt x="2057" y="653"/>
                </a:lnTo>
                <a:cubicBezTo>
                  <a:pt x="2055" y="653"/>
                  <a:pt x="2054" y="654"/>
                  <a:pt x="2052" y="656"/>
                </a:cubicBezTo>
                <a:cubicBezTo>
                  <a:pt x="2051" y="658"/>
                  <a:pt x="2049" y="659"/>
                  <a:pt x="2048" y="659"/>
                </a:cubicBezTo>
                <a:cubicBezTo>
                  <a:pt x="2046" y="659"/>
                  <a:pt x="2044" y="660"/>
                  <a:pt x="2041" y="661"/>
                </a:cubicBezTo>
                <a:cubicBezTo>
                  <a:pt x="2035" y="665"/>
                  <a:pt x="2031" y="667"/>
                  <a:pt x="2031" y="668"/>
                </a:cubicBezTo>
                <a:cubicBezTo>
                  <a:pt x="2031" y="669"/>
                  <a:pt x="2030" y="669"/>
                  <a:pt x="2027" y="669"/>
                </a:cubicBezTo>
                <a:close/>
                <a:moveTo>
                  <a:pt x="2021" y="667"/>
                </a:moveTo>
                <a:close/>
                <a:moveTo>
                  <a:pt x="2104" y="623"/>
                </a:moveTo>
                <a:cubicBezTo>
                  <a:pt x="2103" y="623"/>
                  <a:pt x="2103" y="623"/>
                  <a:pt x="2103" y="623"/>
                </a:cubicBezTo>
                <a:cubicBezTo>
                  <a:pt x="2103" y="622"/>
                  <a:pt x="2104" y="620"/>
                  <a:pt x="2106" y="618"/>
                </a:cubicBezTo>
                <a:cubicBezTo>
                  <a:pt x="2109" y="614"/>
                  <a:pt x="2112" y="611"/>
                  <a:pt x="2113" y="611"/>
                </a:cubicBezTo>
                <a:cubicBezTo>
                  <a:pt x="2115" y="611"/>
                  <a:pt x="2117" y="610"/>
                  <a:pt x="2120" y="608"/>
                </a:cubicBezTo>
                <a:cubicBezTo>
                  <a:pt x="2123" y="606"/>
                  <a:pt x="2125" y="605"/>
                  <a:pt x="2126" y="605"/>
                </a:cubicBezTo>
                <a:cubicBezTo>
                  <a:pt x="2127" y="605"/>
                  <a:pt x="2127" y="605"/>
                  <a:pt x="2127" y="606"/>
                </a:cubicBezTo>
                <a:cubicBezTo>
                  <a:pt x="2127" y="608"/>
                  <a:pt x="2127" y="610"/>
                  <a:pt x="2126" y="610"/>
                </a:cubicBezTo>
                <a:lnTo>
                  <a:pt x="2124" y="609"/>
                </a:lnTo>
                <a:cubicBezTo>
                  <a:pt x="2123" y="609"/>
                  <a:pt x="2120" y="610"/>
                  <a:pt x="2117" y="613"/>
                </a:cubicBezTo>
                <a:cubicBezTo>
                  <a:pt x="2114" y="616"/>
                  <a:pt x="2111" y="617"/>
                  <a:pt x="2110" y="617"/>
                </a:cubicBezTo>
                <a:cubicBezTo>
                  <a:pt x="2108" y="617"/>
                  <a:pt x="2107" y="619"/>
                  <a:pt x="2105" y="621"/>
                </a:cubicBezTo>
                <a:cubicBezTo>
                  <a:pt x="2105" y="623"/>
                  <a:pt x="2104" y="623"/>
                  <a:pt x="2104" y="623"/>
                </a:cubicBezTo>
                <a:close/>
                <a:moveTo>
                  <a:pt x="1938" y="362"/>
                </a:moveTo>
                <a:close/>
                <a:moveTo>
                  <a:pt x="1923" y="383"/>
                </a:moveTo>
                <a:cubicBezTo>
                  <a:pt x="1923" y="383"/>
                  <a:pt x="1923" y="383"/>
                  <a:pt x="1923" y="382"/>
                </a:cubicBezTo>
                <a:lnTo>
                  <a:pt x="1929" y="377"/>
                </a:lnTo>
                <a:cubicBezTo>
                  <a:pt x="1929" y="377"/>
                  <a:pt x="1929" y="378"/>
                  <a:pt x="1927" y="379"/>
                </a:cubicBezTo>
                <a:cubicBezTo>
                  <a:pt x="1925" y="382"/>
                  <a:pt x="1924" y="383"/>
                  <a:pt x="1923" y="383"/>
                </a:cubicBezTo>
                <a:close/>
                <a:moveTo>
                  <a:pt x="1912" y="394"/>
                </a:moveTo>
                <a:close/>
                <a:moveTo>
                  <a:pt x="1939" y="362"/>
                </a:moveTo>
                <a:cubicBezTo>
                  <a:pt x="1938" y="362"/>
                  <a:pt x="1938" y="362"/>
                  <a:pt x="1938" y="362"/>
                </a:cubicBezTo>
                <a:cubicBezTo>
                  <a:pt x="1938" y="361"/>
                  <a:pt x="1939" y="360"/>
                  <a:pt x="1941" y="358"/>
                </a:cubicBezTo>
                <a:lnTo>
                  <a:pt x="1944" y="356"/>
                </a:lnTo>
                <a:lnTo>
                  <a:pt x="1942" y="359"/>
                </a:lnTo>
                <a:cubicBezTo>
                  <a:pt x="1941" y="361"/>
                  <a:pt x="1939" y="362"/>
                  <a:pt x="1939" y="362"/>
                </a:cubicBezTo>
                <a:close/>
                <a:moveTo>
                  <a:pt x="1923" y="382"/>
                </a:moveTo>
                <a:close/>
                <a:moveTo>
                  <a:pt x="1887" y="458"/>
                </a:moveTo>
                <a:cubicBezTo>
                  <a:pt x="1886" y="458"/>
                  <a:pt x="1885" y="457"/>
                  <a:pt x="1884" y="455"/>
                </a:cubicBezTo>
                <a:lnTo>
                  <a:pt x="1884" y="455"/>
                </a:lnTo>
                <a:cubicBezTo>
                  <a:pt x="1884" y="453"/>
                  <a:pt x="1885" y="451"/>
                  <a:pt x="1886" y="451"/>
                </a:cubicBezTo>
                <a:cubicBezTo>
                  <a:pt x="1886" y="451"/>
                  <a:pt x="1887" y="452"/>
                  <a:pt x="1887" y="452"/>
                </a:cubicBezTo>
                <a:cubicBezTo>
                  <a:pt x="1888" y="453"/>
                  <a:pt x="1889" y="453"/>
                  <a:pt x="1889" y="453"/>
                </a:cubicBezTo>
                <a:cubicBezTo>
                  <a:pt x="1890" y="453"/>
                  <a:pt x="1891" y="453"/>
                  <a:pt x="1892" y="451"/>
                </a:cubicBezTo>
                <a:cubicBezTo>
                  <a:pt x="1893" y="451"/>
                  <a:pt x="1894" y="450"/>
                  <a:pt x="1894" y="450"/>
                </a:cubicBezTo>
                <a:lnTo>
                  <a:pt x="1894" y="453"/>
                </a:lnTo>
                <a:cubicBezTo>
                  <a:pt x="1892" y="456"/>
                  <a:pt x="1890" y="458"/>
                  <a:pt x="1887" y="458"/>
                </a:cubicBezTo>
                <a:close/>
                <a:moveTo>
                  <a:pt x="1912" y="394"/>
                </a:moveTo>
                <a:cubicBezTo>
                  <a:pt x="1912" y="394"/>
                  <a:pt x="1912" y="394"/>
                  <a:pt x="1912" y="394"/>
                </a:cubicBezTo>
                <a:cubicBezTo>
                  <a:pt x="1912" y="394"/>
                  <a:pt x="1912" y="393"/>
                  <a:pt x="1914" y="392"/>
                </a:cubicBezTo>
                <a:cubicBezTo>
                  <a:pt x="1915" y="391"/>
                  <a:pt x="1916" y="390"/>
                  <a:pt x="1918" y="389"/>
                </a:cubicBezTo>
                <a:cubicBezTo>
                  <a:pt x="1920" y="387"/>
                  <a:pt x="1921" y="387"/>
                  <a:pt x="1922" y="387"/>
                </a:cubicBezTo>
                <a:lnTo>
                  <a:pt x="1922" y="387"/>
                </a:lnTo>
                <a:cubicBezTo>
                  <a:pt x="1922" y="388"/>
                  <a:pt x="1921" y="389"/>
                  <a:pt x="1919" y="390"/>
                </a:cubicBezTo>
                <a:cubicBezTo>
                  <a:pt x="1916" y="393"/>
                  <a:pt x="1914" y="394"/>
                  <a:pt x="1912" y="394"/>
                </a:cubicBezTo>
                <a:close/>
                <a:moveTo>
                  <a:pt x="1872" y="482"/>
                </a:moveTo>
                <a:cubicBezTo>
                  <a:pt x="1872" y="482"/>
                  <a:pt x="1871" y="481"/>
                  <a:pt x="1869" y="479"/>
                </a:cubicBezTo>
                <a:cubicBezTo>
                  <a:pt x="1868" y="478"/>
                  <a:pt x="1867" y="474"/>
                  <a:pt x="1865" y="468"/>
                </a:cubicBezTo>
                <a:cubicBezTo>
                  <a:pt x="1864" y="463"/>
                  <a:pt x="1863" y="459"/>
                  <a:pt x="1861" y="457"/>
                </a:cubicBezTo>
                <a:lnTo>
                  <a:pt x="1860" y="455"/>
                </a:lnTo>
                <a:lnTo>
                  <a:pt x="1863" y="457"/>
                </a:lnTo>
                <a:cubicBezTo>
                  <a:pt x="1864" y="457"/>
                  <a:pt x="1864" y="456"/>
                  <a:pt x="1864" y="456"/>
                </a:cubicBezTo>
                <a:lnTo>
                  <a:pt x="1863" y="453"/>
                </a:lnTo>
                <a:cubicBezTo>
                  <a:pt x="1863" y="453"/>
                  <a:pt x="1863" y="452"/>
                  <a:pt x="1865" y="452"/>
                </a:cubicBezTo>
                <a:cubicBezTo>
                  <a:pt x="1866" y="452"/>
                  <a:pt x="1866" y="451"/>
                  <a:pt x="1866" y="449"/>
                </a:cubicBezTo>
                <a:cubicBezTo>
                  <a:pt x="1866" y="447"/>
                  <a:pt x="1868" y="442"/>
                  <a:pt x="1872" y="434"/>
                </a:cubicBezTo>
                <a:cubicBezTo>
                  <a:pt x="1874" y="428"/>
                  <a:pt x="1876" y="424"/>
                  <a:pt x="1876" y="423"/>
                </a:cubicBezTo>
                <a:cubicBezTo>
                  <a:pt x="1876" y="422"/>
                  <a:pt x="1876" y="422"/>
                  <a:pt x="1875" y="422"/>
                </a:cubicBezTo>
                <a:cubicBezTo>
                  <a:pt x="1875" y="422"/>
                  <a:pt x="1873" y="424"/>
                  <a:pt x="1872" y="427"/>
                </a:cubicBezTo>
                <a:cubicBezTo>
                  <a:pt x="1870" y="431"/>
                  <a:pt x="1868" y="434"/>
                  <a:pt x="1867" y="438"/>
                </a:cubicBezTo>
                <a:cubicBezTo>
                  <a:pt x="1865" y="442"/>
                  <a:pt x="1864" y="444"/>
                  <a:pt x="1864" y="445"/>
                </a:cubicBezTo>
                <a:cubicBezTo>
                  <a:pt x="1864" y="446"/>
                  <a:pt x="1864" y="448"/>
                  <a:pt x="1862" y="450"/>
                </a:cubicBezTo>
                <a:cubicBezTo>
                  <a:pt x="1861" y="452"/>
                  <a:pt x="1860" y="453"/>
                  <a:pt x="1858" y="455"/>
                </a:cubicBezTo>
                <a:cubicBezTo>
                  <a:pt x="1857" y="456"/>
                  <a:pt x="1855" y="457"/>
                  <a:pt x="1854" y="457"/>
                </a:cubicBezTo>
                <a:cubicBezTo>
                  <a:pt x="1853" y="457"/>
                  <a:pt x="1853" y="456"/>
                  <a:pt x="1853" y="453"/>
                </a:cubicBezTo>
                <a:cubicBezTo>
                  <a:pt x="1853" y="441"/>
                  <a:pt x="1862" y="421"/>
                  <a:pt x="1879" y="394"/>
                </a:cubicBezTo>
                <a:cubicBezTo>
                  <a:pt x="1896" y="366"/>
                  <a:pt x="1908" y="349"/>
                  <a:pt x="1914" y="342"/>
                </a:cubicBezTo>
                <a:cubicBezTo>
                  <a:pt x="1914" y="341"/>
                  <a:pt x="1917" y="338"/>
                  <a:pt x="1921" y="333"/>
                </a:cubicBezTo>
                <a:cubicBezTo>
                  <a:pt x="1928" y="322"/>
                  <a:pt x="1934" y="317"/>
                  <a:pt x="1937" y="317"/>
                </a:cubicBezTo>
                <a:cubicBezTo>
                  <a:pt x="1940" y="317"/>
                  <a:pt x="1941" y="319"/>
                  <a:pt x="1941" y="322"/>
                </a:cubicBezTo>
                <a:cubicBezTo>
                  <a:pt x="1941" y="324"/>
                  <a:pt x="1941" y="326"/>
                  <a:pt x="1939" y="329"/>
                </a:cubicBezTo>
                <a:cubicBezTo>
                  <a:pt x="1938" y="332"/>
                  <a:pt x="1937" y="333"/>
                  <a:pt x="1937" y="334"/>
                </a:cubicBezTo>
                <a:cubicBezTo>
                  <a:pt x="1937" y="335"/>
                  <a:pt x="1938" y="335"/>
                  <a:pt x="1939" y="335"/>
                </a:cubicBezTo>
                <a:cubicBezTo>
                  <a:pt x="1941" y="335"/>
                  <a:pt x="1941" y="337"/>
                  <a:pt x="1941" y="341"/>
                </a:cubicBezTo>
                <a:cubicBezTo>
                  <a:pt x="1941" y="348"/>
                  <a:pt x="1940" y="352"/>
                  <a:pt x="1938" y="355"/>
                </a:cubicBezTo>
                <a:cubicBezTo>
                  <a:pt x="1932" y="360"/>
                  <a:pt x="1924" y="372"/>
                  <a:pt x="1914" y="390"/>
                </a:cubicBezTo>
                <a:cubicBezTo>
                  <a:pt x="1910" y="397"/>
                  <a:pt x="1907" y="401"/>
                  <a:pt x="1907" y="403"/>
                </a:cubicBezTo>
                <a:lnTo>
                  <a:pt x="1907" y="404"/>
                </a:lnTo>
                <a:cubicBezTo>
                  <a:pt x="1907" y="405"/>
                  <a:pt x="1907" y="406"/>
                  <a:pt x="1907" y="406"/>
                </a:cubicBezTo>
                <a:lnTo>
                  <a:pt x="1905" y="405"/>
                </a:lnTo>
                <a:cubicBezTo>
                  <a:pt x="1904" y="405"/>
                  <a:pt x="1903" y="406"/>
                  <a:pt x="1901" y="408"/>
                </a:cubicBezTo>
                <a:lnTo>
                  <a:pt x="1899" y="411"/>
                </a:lnTo>
                <a:cubicBezTo>
                  <a:pt x="1900" y="411"/>
                  <a:pt x="1901" y="411"/>
                  <a:pt x="1902" y="410"/>
                </a:cubicBezTo>
                <a:lnTo>
                  <a:pt x="1905" y="409"/>
                </a:lnTo>
                <a:cubicBezTo>
                  <a:pt x="1905" y="410"/>
                  <a:pt x="1904" y="411"/>
                  <a:pt x="1903" y="411"/>
                </a:cubicBezTo>
                <a:cubicBezTo>
                  <a:pt x="1902" y="413"/>
                  <a:pt x="1900" y="415"/>
                  <a:pt x="1899" y="419"/>
                </a:cubicBezTo>
                <a:cubicBezTo>
                  <a:pt x="1898" y="422"/>
                  <a:pt x="1896" y="426"/>
                  <a:pt x="1894" y="429"/>
                </a:cubicBezTo>
                <a:cubicBezTo>
                  <a:pt x="1883" y="447"/>
                  <a:pt x="1877" y="456"/>
                  <a:pt x="1877" y="458"/>
                </a:cubicBezTo>
                <a:cubicBezTo>
                  <a:pt x="1877" y="458"/>
                  <a:pt x="1877" y="459"/>
                  <a:pt x="1878" y="459"/>
                </a:cubicBezTo>
                <a:lnTo>
                  <a:pt x="1879" y="458"/>
                </a:lnTo>
                <a:cubicBezTo>
                  <a:pt x="1880" y="458"/>
                  <a:pt x="1882" y="459"/>
                  <a:pt x="1883" y="460"/>
                </a:cubicBezTo>
                <a:cubicBezTo>
                  <a:pt x="1884" y="461"/>
                  <a:pt x="1884" y="462"/>
                  <a:pt x="1884" y="463"/>
                </a:cubicBezTo>
                <a:cubicBezTo>
                  <a:pt x="1884" y="464"/>
                  <a:pt x="1884" y="464"/>
                  <a:pt x="1884" y="465"/>
                </a:cubicBezTo>
                <a:cubicBezTo>
                  <a:pt x="1883" y="465"/>
                  <a:pt x="1883" y="465"/>
                  <a:pt x="1883" y="465"/>
                </a:cubicBezTo>
                <a:cubicBezTo>
                  <a:pt x="1882" y="465"/>
                  <a:pt x="1882" y="465"/>
                  <a:pt x="1882" y="464"/>
                </a:cubicBezTo>
                <a:cubicBezTo>
                  <a:pt x="1882" y="463"/>
                  <a:pt x="1880" y="462"/>
                  <a:pt x="1878" y="462"/>
                </a:cubicBezTo>
                <a:cubicBezTo>
                  <a:pt x="1877" y="462"/>
                  <a:pt x="1876" y="463"/>
                  <a:pt x="1876" y="463"/>
                </a:cubicBezTo>
                <a:cubicBezTo>
                  <a:pt x="1876" y="463"/>
                  <a:pt x="1877" y="464"/>
                  <a:pt x="1877" y="464"/>
                </a:cubicBezTo>
                <a:cubicBezTo>
                  <a:pt x="1877" y="465"/>
                  <a:pt x="1878" y="466"/>
                  <a:pt x="1878" y="467"/>
                </a:cubicBezTo>
                <a:cubicBezTo>
                  <a:pt x="1878" y="469"/>
                  <a:pt x="1877" y="471"/>
                  <a:pt x="1877" y="473"/>
                </a:cubicBezTo>
                <a:cubicBezTo>
                  <a:pt x="1876" y="476"/>
                  <a:pt x="1875" y="478"/>
                  <a:pt x="1875" y="479"/>
                </a:cubicBezTo>
                <a:cubicBezTo>
                  <a:pt x="1874" y="481"/>
                  <a:pt x="1873" y="482"/>
                  <a:pt x="1872" y="482"/>
                </a:cubicBezTo>
                <a:close/>
                <a:moveTo>
                  <a:pt x="1921" y="353"/>
                </a:moveTo>
                <a:cubicBezTo>
                  <a:pt x="1922" y="353"/>
                  <a:pt x="1923" y="352"/>
                  <a:pt x="1925" y="349"/>
                </a:cubicBezTo>
                <a:cubicBezTo>
                  <a:pt x="1928" y="346"/>
                  <a:pt x="1929" y="345"/>
                  <a:pt x="1929" y="344"/>
                </a:cubicBezTo>
                <a:cubicBezTo>
                  <a:pt x="1928" y="344"/>
                  <a:pt x="1927" y="346"/>
                  <a:pt x="1924" y="349"/>
                </a:cubicBezTo>
                <a:cubicBezTo>
                  <a:pt x="1922" y="352"/>
                  <a:pt x="1921" y="353"/>
                  <a:pt x="1921" y="353"/>
                </a:cubicBezTo>
                <a:close/>
                <a:moveTo>
                  <a:pt x="1912" y="365"/>
                </a:moveTo>
                <a:cubicBezTo>
                  <a:pt x="1913" y="365"/>
                  <a:pt x="1914" y="364"/>
                  <a:pt x="1917" y="361"/>
                </a:cubicBezTo>
                <a:cubicBezTo>
                  <a:pt x="1919" y="358"/>
                  <a:pt x="1920" y="356"/>
                  <a:pt x="1920" y="356"/>
                </a:cubicBezTo>
                <a:cubicBezTo>
                  <a:pt x="1920" y="356"/>
                  <a:pt x="1918" y="357"/>
                  <a:pt x="1915" y="360"/>
                </a:cubicBezTo>
                <a:cubicBezTo>
                  <a:pt x="1913" y="363"/>
                  <a:pt x="1912" y="365"/>
                  <a:pt x="1912" y="365"/>
                </a:cubicBezTo>
                <a:close/>
                <a:moveTo>
                  <a:pt x="1884" y="408"/>
                </a:moveTo>
                <a:cubicBezTo>
                  <a:pt x="1885" y="408"/>
                  <a:pt x="1890" y="401"/>
                  <a:pt x="1900" y="386"/>
                </a:cubicBezTo>
                <a:cubicBezTo>
                  <a:pt x="1907" y="375"/>
                  <a:pt x="1911" y="368"/>
                  <a:pt x="1911" y="368"/>
                </a:cubicBezTo>
                <a:cubicBezTo>
                  <a:pt x="1910" y="368"/>
                  <a:pt x="1907" y="372"/>
                  <a:pt x="1902" y="379"/>
                </a:cubicBezTo>
                <a:cubicBezTo>
                  <a:pt x="1897" y="387"/>
                  <a:pt x="1893" y="392"/>
                  <a:pt x="1892" y="392"/>
                </a:cubicBezTo>
                <a:cubicBezTo>
                  <a:pt x="1891" y="392"/>
                  <a:pt x="1891" y="393"/>
                  <a:pt x="1891" y="394"/>
                </a:cubicBezTo>
                <a:cubicBezTo>
                  <a:pt x="1890" y="394"/>
                  <a:pt x="1890" y="395"/>
                  <a:pt x="1890" y="396"/>
                </a:cubicBezTo>
                <a:cubicBezTo>
                  <a:pt x="1890" y="397"/>
                  <a:pt x="1890" y="398"/>
                  <a:pt x="1889" y="398"/>
                </a:cubicBezTo>
                <a:cubicBezTo>
                  <a:pt x="1889" y="399"/>
                  <a:pt x="1888" y="399"/>
                  <a:pt x="1886" y="399"/>
                </a:cubicBezTo>
                <a:cubicBezTo>
                  <a:pt x="1885" y="399"/>
                  <a:pt x="1884" y="401"/>
                  <a:pt x="1884" y="404"/>
                </a:cubicBezTo>
                <a:lnTo>
                  <a:pt x="1884" y="408"/>
                </a:lnTo>
                <a:close/>
                <a:moveTo>
                  <a:pt x="1877" y="420"/>
                </a:moveTo>
                <a:cubicBezTo>
                  <a:pt x="1879" y="420"/>
                  <a:pt x="1880" y="419"/>
                  <a:pt x="1882" y="416"/>
                </a:cubicBezTo>
                <a:cubicBezTo>
                  <a:pt x="1882" y="414"/>
                  <a:pt x="1883" y="413"/>
                  <a:pt x="1883" y="412"/>
                </a:cubicBezTo>
                <a:cubicBezTo>
                  <a:pt x="1883" y="411"/>
                  <a:pt x="1882" y="411"/>
                  <a:pt x="1882" y="411"/>
                </a:cubicBezTo>
                <a:cubicBezTo>
                  <a:pt x="1881" y="411"/>
                  <a:pt x="1879" y="413"/>
                  <a:pt x="1878" y="416"/>
                </a:cubicBezTo>
                <a:cubicBezTo>
                  <a:pt x="1877" y="417"/>
                  <a:pt x="1876" y="419"/>
                  <a:pt x="1876" y="419"/>
                </a:cubicBezTo>
                <a:cubicBezTo>
                  <a:pt x="1876" y="420"/>
                  <a:pt x="1877" y="420"/>
                  <a:pt x="1877" y="420"/>
                </a:cubicBezTo>
                <a:close/>
                <a:moveTo>
                  <a:pt x="1890" y="449"/>
                </a:moveTo>
                <a:cubicBezTo>
                  <a:pt x="1889" y="449"/>
                  <a:pt x="1889" y="449"/>
                  <a:pt x="1888" y="448"/>
                </a:cubicBezTo>
                <a:lnTo>
                  <a:pt x="1889" y="447"/>
                </a:lnTo>
                <a:cubicBezTo>
                  <a:pt x="1889" y="446"/>
                  <a:pt x="1890" y="445"/>
                  <a:pt x="1891" y="445"/>
                </a:cubicBezTo>
                <a:lnTo>
                  <a:pt x="1892" y="445"/>
                </a:lnTo>
                <a:cubicBezTo>
                  <a:pt x="1893" y="445"/>
                  <a:pt x="1894" y="445"/>
                  <a:pt x="1894" y="444"/>
                </a:cubicBezTo>
                <a:lnTo>
                  <a:pt x="1893" y="441"/>
                </a:lnTo>
                <a:cubicBezTo>
                  <a:pt x="1893" y="439"/>
                  <a:pt x="1894" y="438"/>
                  <a:pt x="1895" y="436"/>
                </a:cubicBezTo>
                <a:cubicBezTo>
                  <a:pt x="1896" y="434"/>
                  <a:pt x="1897" y="433"/>
                  <a:pt x="1898" y="433"/>
                </a:cubicBezTo>
                <a:lnTo>
                  <a:pt x="1900" y="433"/>
                </a:lnTo>
                <a:cubicBezTo>
                  <a:pt x="1900" y="433"/>
                  <a:pt x="1901" y="433"/>
                  <a:pt x="1901" y="433"/>
                </a:cubicBezTo>
                <a:lnTo>
                  <a:pt x="1900" y="430"/>
                </a:lnTo>
                <a:cubicBezTo>
                  <a:pt x="1900" y="429"/>
                  <a:pt x="1900" y="427"/>
                  <a:pt x="1901" y="425"/>
                </a:cubicBezTo>
                <a:cubicBezTo>
                  <a:pt x="1902" y="424"/>
                  <a:pt x="1903" y="422"/>
                  <a:pt x="1904" y="421"/>
                </a:cubicBezTo>
                <a:cubicBezTo>
                  <a:pt x="1905" y="419"/>
                  <a:pt x="1906" y="419"/>
                  <a:pt x="1907" y="419"/>
                </a:cubicBezTo>
                <a:lnTo>
                  <a:pt x="1909" y="419"/>
                </a:lnTo>
                <a:cubicBezTo>
                  <a:pt x="1910" y="419"/>
                  <a:pt x="1910" y="419"/>
                  <a:pt x="1911" y="418"/>
                </a:cubicBezTo>
                <a:cubicBezTo>
                  <a:pt x="1912" y="417"/>
                  <a:pt x="1912" y="416"/>
                  <a:pt x="1912" y="416"/>
                </a:cubicBezTo>
                <a:lnTo>
                  <a:pt x="1909" y="417"/>
                </a:lnTo>
                <a:cubicBezTo>
                  <a:pt x="1908" y="417"/>
                  <a:pt x="1908" y="417"/>
                  <a:pt x="1908" y="417"/>
                </a:cubicBezTo>
                <a:cubicBezTo>
                  <a:pt x="1908" y="415"/>
                  <a:pt x="1910" y="410"/>
                  <a:pt x="1915" y="403"/>
                </a:cubicBezTo>
                <a:cubicBezTo>
                  <a:pt x="1920" y="397"/>
                  <a:pt x="1923" y="393"/>
                  <a:pt x="1924" y="393"/>
                </a:cubicBezTo>
                <a:cubicBezTo>
                  <a:pt x="1924" y="394"/>
                  <a:pt x="1925" y="394"/>
                  <a:pt x="1926" y="394"/>
                </a:cubicBezTo>
                <a:cubicBezTo>
                  <a:pt x="1927" y="394"/>
                  <a:pt x="1928" y="393"/>
                  <a:pt x="1929" y="392"/>
                </a:cubicBezTo>
                <a:cubicBezTo>
                  <a:pt x="1930" y="392"/>
                  <a:pt x="1931" y="391"/>
                  <a:pt x="1931" y="391"/>
                </a:cubicBezTo>
                <a:cubicBezTo>
                  <a:pt x="1931" y="391"/>
                  <a:pt x="1931" y="391"/>
                  <a:pt x="1931" y="391"/>
                </a:cubicBezTo>
                <a:cubicBezTo>
                  <a:pt x="1931" y="393"/>
                  <a:pt x="1930" y="395"/>
                  <a:pt x="1927" y="399"/>
                </a:cubicBezTo>
                <a:cubicBezTo>
                  <a:pt x="1925" y="400"/>
                  <a:pt x="1924" y="400"/>
                  <a:pt x="1924" y="400"/>
                </a:cubicBezTo>
                <a:lnTo>
                  <a:pt x="1923" y="400"/>
                </a:lnTo>
                <a:lnTo>
                  <a:pt x="1925" y="398"/>
                </a:lnTo>
                <a:cubicBezTo>
                  <a:pt x="1925" y="398"/>
                  <a:pt x="1924" y="397"/>
                  <a:pt x="1924" y="397"/>
                </a:cubicBezTo>
                <a:lnTo>
                  <a:pt x="1923" y="399"/>
                </a:lnTo>
                <a:cubicBezTo>
                  <a:pt x="1922" y="399"/>
                  <a:pt x="1922" y="400"/>
                  <a:pt x="1922" y="401"/>
                </a:cubicBezTo>
                <a:lnTo>
                  <a:pt x="1922" y="404"/>
                </a:lnTo>
                <a:cubicBezTo>
                  <a:pt x="1922" y="405"/>
                  <a:pt x="1922" y="406"/>
                  <a:pt x="1920" y="407"/>
                </a:cubicBezTo>
                <a:cubicBezTo>
                  <a:pt x="1919" y="409"/>
                  <a:pt x="1918" y="409"/>
                  <a:pt x="1917" y="409"/>
                </a:cubicBezTo>
                <a:lnTo>
                  <a:pt x="1915" y="409"/>
                </a:lnTo>
                <a:lnTo>
                  <a:pt x="1915" y="411"/>
                </a:lnTo>
                <a:cubicBezTo>
                  <a:pt x="1915" y="413"/>
                  <a:pt x="1915" y="414"/>
                  <a:pt x="1914" y="417"/>
                </a:cubicBezTo>
                <a:cubicBezTo>
                  <a:pt x="1912" y="419"/>
                  <a:pt x="1911" y="422"/>
                  <a:pt x="1909" y="425"/>
                </a:cubicBezTo>
                <a:cubicBezTo>
                  <a:pt x="1907" y="429"/>
                  <a:pt x="1905" y="432"/>
                  <a:pt x="1903" y="435"/>
                </a:cubicBezTo>
                <a:cubicBezTo>
                  <a:pt x="1901" y="438"/>
                  <a:pt x="1900" y="441"/>
                  <a:pt x="1899" y="442"/>
                </a:cubicBezTo>
                <a:cubicBezTo>
                  <a:pt x="1898" y="444"/>
                  <a:pt x="1897" y="446"/>
                  <a:pt x="1895" y="447"/>
                </a:cubicBezTo>
                <a:cubicBezTo>
                  <a:pt x="1893" y="448"/>
                  <a:pt x="1891" y="449"/>
                  <a:pt x="1890" y="449"/>
                </a:cubicBezTo>
                <a:close/>
                <a:moveTo>
                  <a:pt x="1926" y="391"/>
                </a:moveTo>
                <a:cubicBezTo>
                  <a:pt x="1925" y="391"/>
                  <a:pt x="1925" y="391"/>
                  <a:pt x="1925" y="391"/>
                </a:cubicBezTo>
                <a:cubicBezTo>
                  <a:pt x="1925" y="389"/>
                  <a:pt x="1929" y="384"/>
                  <a:pt x="1937" y="373"/>
                </a:cubicBezTo>
                <a:cubicBezTo>
                  <a:pt x="1943" y="365"/>
                  <a:pt x="1947" y="359"/>
                  <a:pt x="1947" y="356"/>
                </a:cubicBezTo>
                <a:cubicBezTo>
                  <a:pt x="1947" y="355"/>
                  <a:pt x="1946" y="355"/>
                  <a:pt x="1946" y="354"/>
                </a:cubicBezTo>
                <a:cubicBezTo>
                  <a:pt x="1946" y="353"/>
                  <a:pt x="1945" y="353"/>
                  <a:pt x="1945" y="351"/>
                </a:cubicBezTo>
                <a:cubicBezTo>
                  <a:pt x="1945" y="350"/>
                  <a:pt x="1946" y="349"/>
                  <a:pt x="1948" y="347"/>
                </a:cubicBezTo>
                <a:cubicBezTo>
                  <a:pt x="1949" y="345"/>
                  <a:pt x="1950" y="344"/>
                  <a:pt x="1951" y="344"/>
                </a:cubicBezTo>
                <a:lnTo>
                  <a:pt x="1951" y="345"/>
                </a:lnTo>
                <a:lnTo>
                  <a:pt x="1948" y="353"/>
                </a:lnTo>
                <a:cubicBezTo>
                  <a:pt x="1948" y="353"/>
                  <a:pt x="1949" y="352"/>
                  <a:pt x="1952" y="348"/>
                </a:cubicBezTo>
                <a:cubicBezTo>
                  <a:pt x="1954" y="346"/>
                  <a:pt x="1956" y="345"/>
                  <a:pt x="1956" y="345"/>
                </a:cubicBezTo>
                <a:cubicBezTo>
                  <a:pt x="1957" y="345"/>
                  <a:pt x="1957" y="345"/>
                  <a:pt x="1957" y="346"/>
                </a:cubicBezTo>
                <a:cubicBezTo>
                  <a:pt x="1957" y="348"/>
                  <a:pt x="1956" y="350"/>
                  <a:pt x="1954" y="353"/>
                </a:cubicBezTo>
                <a:lnTo>
                  <a:pt x="1953" y="355"/>
                </a:lnTo>
                <a:lnTo>
                  <a:pt x="1956" y="354"/>
                </a:lnTo>
                <a:cubicBezTo>
                  <a:pt x="1957" y="354"/>
                  <a:pt x="1957" y="354"/>
                  <a:pt x="1957" y="355"/>
                </a:cubicBezTo>
                <a:cubicBezTo>
                  <a:pt x="1957" y="356"/>
                  <a:pt x="1953" y="362"/>
                  <a:pt x="1946" y="372"/>
                </a:cubicBezTo>
                <a:cubicBezTo>
                  <a:pt x="1938" y="384"/>
                  <a:pt x="1933" y="389"/>
                  <a:pt x="1932" y="389"/>
                </a:cubicBezTo>
                <a:cubicBezTo>
                  <a:pt x="1930" y="389"/>
                  <a:pt x="1929" y="390"/>
                  <a:pt x="1928" y="390"/>
                </a:cubicBezTo>
                <a:cubicBezTo>
                  <a:pt x="1927" y="391"/>
                  <a:pt x="1926" y="391"/>
                  <a:pt x="1926" y="391"/>
                </a:cubicBezTo>
                <a:close/>
                <a:moveTo>
                  <a:pt x="1941" y="374"/>
                </a:moveTo>
                <a:cubicBezTo>
                  <a:pt x="1941" y="374"/>
                  <a:pt x="1943" y="373"/>
                  <a:pt x="1945" y="370"/>
                </a:cubicBezTo>
                <a:lnTo>
                  <a:pt x="1947" y="368"/>
                </a:lnTo>
                <a:lnTo>
                  <a:pt x="1947" y="367"/>
                </a:lnTo>
                <a:cubicBezTo>
                  <a:pt x="1946" y="367"/>
                  <a:pt x="1946" y="368"/>
                  <a:pt x="1945" y="369"/>
                </a:cubicBezTo>
                <a:cubicBezTo>
                  <a:pt x="1944" y="370"/>
                  <a:pt x="1942" y="370"/>
                  <a:pt x="1942" y="371"/>
                </a:cubicBezTo>
                <a:cubicBezTo>
                  <a:pt x="1941" y="372"/>
                  <a:pt x="1940" y="373"/>
                  <a:pt x="1940" y="373"/>
                </a:cubicBezTo>
                <a:cubicBezTo>
                  <a:pt x="1940" y="374"/>
                  <a:pt x="1940" y="374"/>
                  <a:pt x="1941" y="374"/>
                </a:cubicBezTo>
                <a:close/>
                <a:moveTo>
                  <a:pt x="1948" y="365"/>
                </a:moveTo>
                <a:cubicBezTo>
                  <a:pt x="1948" y="365"/>
                  <a:pt x="1949" y="365"/>
                  <a:pt x="1949" y="364"/>
                </a:cubicBezTo>
                <a:cubicBezTo>
                  <a:pt x="1950" y="363"/>
                  <a:pt x="1951" y="362"/>
                  <a:pt x="1952" y="361"/>
                </a:cubicBezTo>
                <a:lnTo>
                  <a:pt x="1953" y="359"/>
                </a:lnTo>
                <a:lnTo>
                  <a:pt x="1953" y="358"/>
                </a:lnTo>
                <a:lnTo>
                  <a:pt x="1951" y="360"/>
                </a:lnTo>
                <a:cubicBezTo>
                  <a:pt x="1948" y="362"/>
                  <a:pt x="1947" y="364"/>
                  <a:pt x="1947" y="365"/>
                </a:cubicBezTo>
                <a:cubicBezTo>
                  <a:pt x="1947" y="365"/>
                  <a:pt x="1947" y="365"/>
                  <a:pt x="1948" y="365"/>
                </a:cubicBezTo>
                <a:close/>
                <a:moveTo>
                  <a:pt x="1880" y="475"/>
                </a:moveTo>
                <a:cubicBezTo>
                  <a:pt x="1879" y="475"/>
                  <a:pt x="1879" y="474"/>
                  <a:pt x="1879" y="472"/>
                </a:cubicBezTo>
                <a:cubicBezTo>
                  <a:pt x="1879" y="469"/>
                  <a:pt x="1880" y="468"/>
                  <a:pt x="1882" y="468"/>
                </a:cubicBezTo>
                <a:cubicBezTo>
                  <a:pt x="1882" y="468"/>
                  <a:pt x="1883" y="469"/>
                  <a:pt x="1883" y="470"/>
                </a:cubicBezTo>
                <a:cubicBezTo>
                  <a:pt x="1883" y="470"/>
                  <a:pt x="1882" y="471"/>
                  <a:pt x="1882" y="472"/>
                </a:cubicBezTo>
                <a:cubicBezTo>
                  <a:pt x="1882" y="473"/>
                  <a:pt x="1882" y="474"/>
                  <a:pt x="1881" y="474"/>
                </a:cubicBezTo>
                <a:cubicBezTo>
                  <a:pt x="1881" y="475"/>
                  <a:pt x="1880" y="475"/>
                  <a:pt x="1880" y="475"/>
                </a:cubicBezTo>
                <a:close/>
                <a:moveTo>
                  <a:pt x="2192" y="588"/>
                </a:moveTo>
                <a:cubicBezTo>
                  <a:pt x="2192" y="588"/>
                  <a:pt x="2191" y="587"/>
                  <a:pt x="2191" y="586"/>
                </a:cubicBezTo>
                <a:cubicBezTo>
                  <a:pt x="2190" y="585"/>
                  <a:pt x="2190" y="584"/>
                  <a:pt x="2190" y="584"/>
                </a:cubicBezTo>
                <a:cubicBezTo>
                  <a:pt x="2190" y="583"/>
                  <a:pt x="2190" y="583"/>
                  <a:pt x="2192" y="583"/>
                </a:cubicBezTo>
                <a:cubicBezTo>
                  <a:pt x="2193" y="583"/>
                  <a:pt x="2193" y="583"/>
                  <a:pt x="2193" y="585"/>
                </a:cubicBezTo>
                <a:cubicBezTo>
                  <a:pt x="2193" y="587"/>
                  <a:pt x="2193" y="588"/>
                  <a:pt x="2192" y="588"/>
                </a:cubicBezTo>
                <a:close/>
                <a:moveTo>
                  <a:pt x="2295" y="608"/>
                </a:moveTo>
                <a:cubicBezTo>
                  <a:pt x="2294" y="608"/>
                  <a:pt x="2294" y="608"/>
                  <a:pt x="2294" y="607"/>
                </a:cubicBezTo>
                <a:cubicBezTo>
                  <a:pt x="2294" y="606"/>
                  <a:pt x="2295" y="605"/>
                  <a:pt x="2296" y="604"/>
                </a:cubicBezTo>
                <a:lnTo>
                  <a:pt x="2298" y="604"/>
                </a:lnTo>
                <a:cubicBezTo>
                  <a:pt x="2299" y="604"/>
                  <a:pt x="2299" y="604"/>
                  <a:pt x="2299" y="605"/>
                </a:cubicBezTo>
                <a:cubicBezTo>
                  <a:pt x="2299" y="605"/>
                  <a:pt x="2299" y="606"/>
                  <a:pt x="2299" y="607"/>
                </a:cubicBezTo>
                <a:cubicBezTo>
                  <a:pt x="2298" y="607"/>
                  <a:pt x="2297" y="608"/>
                  <a:pt x="2295" y="608"/>
                </a:cubicBezTo>
                <a:close/>
                <a:moveTo>
                  <a:pt x="2318" y="591"/>
                </a:moveTo>
                <a:lnTo>
                  <a:pt x="2316" y="591"/>
                </a:lnTo>
                <a:cubicBezTo>
                  <a:pt x="2316" y="591"/>
                  <a:pt x="2315" y="591"/>
                  <a:pt x="2315" y="590"/>
                </a:cubicBezTo>
                <a:cubicBezTo>
                  <a:pt x="2314" y="590"/>
                  <a:pt x="2314" y="589"/>
                  <a:pt x="2314" y="589"/>
                </a:cubicBezTo>
                <a:cubicBezTo>
                  <a:pt x="2314" y="587"/>
                  <a:pt x="2315" y="586"/>
                  <a:pt x="2316" y="586"/>
                </a:cubicBezTo>
                <a:cubicBezTo>
                  <a:pt x="2318" y="586"/>
                  <a:pt x="2319" y="587"/>
                  <a:pt x="2319" y="588"/>
                </a:cubicBezTo>
                <a:cubicBezTo>
                  <a:pt x="2319" y="589"/>
                  <a:pt x="2318" y="590"/>
                  <a:pt x="2318" y="591"/>
                </a:cubicBezTo>
                <a:close/>
                <a:moveTo>
                  <a:pt x="2272" y="630"/>
                </a:moveTo>
                <a:lnTo>
                  <a:pt x="2275" y="626"/>
                </a:lnTo>
                <a:cubicBezTo>
                  <a:pt x="2277" y="623"/>
                  <a:pt x="2279" y="621"/>
                  <a:pt x="2280" y="621"/>
                </a:cubicBezTo>
                <a:cubicBezTo>
                  <a:pt x="2280" y="621"/>
                  <a:pt x="2280" y="621"/>
                  <a:pt x="2280" y="621"/>
                </a:cubicBezTo>
                <a:cubicBezTo>
                  <a:pt x="2280" y="623"/>
                  <a:pt x="2279" y="625"/>
                  <a:pt x="2276" y="627"/>
                </a:cubicBezTo>
                <a:cubicBezTo>
                  <a:pt x="2274" y="629"/>
                  <a:pt x="2273" y="630"/>
                  <a:pt x="2272" y="630"/>
                </a:cubicBezTo>
                <a:close/>
                <a:moveTo>
                  <a:pt x="2345" y="593"/>
                </a:moveTo>
                <a:lnTo>
                  <a:pt x="2344" y="593"/>
                </a:lnTo>
                <a:lnTo>
                  <a:pt x="2344" y="593"/>
                </a:lnTo>
                <a:cubicBezTo>
                  <a:pt x="2345" y="592"/>
                  <a:pt x="2346" y="590"/>
                  <a:pt x="2347" y="590"/>
                </a:cubicBezTo>
                <a:cubicBezTo>
                  <a:pt x="2348" y="589"/>
                  <a:pt x="2350" y="588"/>
                  <a:pt x="2351" y="587"/>
                </a:cubicBezTo>
                <a:cubicBezTo>
                  <a:pt x="2353" y="586"/>
                  <a:pt x="2354" y="585"/>
                  <a:pt x="2354" y="585"/>
                </a:cubicBezTo>
                <a:lnTo>
                  <a:pt x="2354" y="586"/>
                </a:lnTo>
                <a:cubicBezTo>
                  <a:pt x="2354" y="586"/>
                  <a:pt x="2354" y="587"/>
                  <a:pt x="2353" y="588"/>
                </a:cubicBezTo>
                <a:cubicBezTo>
                  <a:pt x="2351" y="588"/>
                  <a:pt x="2350" y="590"/>
                  <a:pt x="2348" y="591"/>
                </a:cubicBezTo>
                <a:cubicBezTo>
                  <a:pt x="2346" y="593"/>
                  <a:pt x="2345" y="593"/>
                  <a:pt x="2345" y="593"/>
                </a:cubicBezTo>
                <a:close/>
                <a:moveTo>
                  <a:pt x="2358" y="583"/>
                </a:moveTo>
                <a:lnTo>
                  <a:pt x="2358" y="583"/>
                </a:lnTo>
                <a:cubicBezTo>
                  <a:pt x="2358" y="582"/>
                  <a:pt x="2359" y="581"/>
                  <a:pt x="2361" y="580"/>
                </a:cubicBezTo>
                <a:cubicBezTo>
                  <a:pt x="2363" y="578"/>
                  <a:pt x="2365" y="577"/>
                  <a:pt x="2367" y="576"/>
                </a:cubicBezTo>
                <a:cubicBezTo>
                  <a:pt x="2369" y="575"/>
                  <a:pt x="2370" y="574"/>
                  <a:pt x="2371" y="574"/>
                </a:cubicBezTo>
                <a:lnTo>
                  <a:pt x="2371" y="575"/>
                </a:lnTo>
                <a:cubicBezTo>
                  <a:pt x="2371" y="576"/>
                  <a:pt x="2369" y="577"/>
                  <a:pt x="2364" y="580"/>
                </a:cubicBezTo>
                <a:cubicBezTo>
                  <a:pt x="2360" y="583"/>
                  <a:pt x="2358" y="583"/>
                  <a:pt x="2358" y="583"/>
                </a:cubicBezTo>
                <a:close/>
                <a:moveTo>
                  <a:pt x="2304" y="602"/>
                </a:moveTo>
                <a:lnTo>
                  <a:pt x="2304" y="602"/>
                </a:lnTo>
                <a:cubicBezTo>
                  <a:pt x="2303" y="602"/>
                  <a:pt x="2303" y="602"/>
                  <a:pt x="2303" y="600"/>
                </a:cubicBezTo>
                <a:cubicBezTo>
                  <a:pt x="2303" y="598"/>
                  <a:pt x="2304" y="596"/>
                  <a:pt x="2306" y="594"/>
                </a:cubicBezTo>
                <a:cubicBezTo>
                  <a:pt x="2308" y="592"/>
                  <a:pt x="2309" y="591"/>
                  <a:pt x="2311" y="591"/>
                </a:cubicBezTo>
                <a:cubicBezTo>
                  <a:pt x="2312" y="591"/>
                  <a:pt x="2312" y="592"/>
                  <a:pt x="2312" y="593"/>
                </a:cubicBezTo>
                <a:cubicBezTo>
                  <a:pt x="2312" y="594"/>
                  <a:pt x="2311" y="595"/>
                  <a:pt x="2309" y="596"/>
                </a:cubicBezTo>
                <a:cubicBezTo>
                  <a:pt x="2307" y="597"/>
                  <a:pt x="2306" y="598"/>
                  <a:pt x="2306" y="599"/>
                </a:cubicBezTo>
                <a:lnTo>
                  <a:pt x="2306" y="600"/>
                </a:lnTo>
                <a:cubicBezTo>
                  <a:pt x="2306" y="601"/>
                  <a:pt x="2305" y="602"/>
                  <a:pt x="2304" y="602"/>
                </a:cubicBezTo>
                <a:close/>
                <a:moveTo>
                  <a:pt x="2213" y="690"/>
                </a:moveTo>
                <a:close/>
                <a:moveTo>
                  <a:pt x="2214" y="691"/>
                </a:moveTo>
                <a:cubicBezTo>
                  <a:pt x="2213" y="691"/>
                  <a:pt x="2213" y="690"/>
                  <a:pt x="2213" y="690"/>
                </a:cubicBezTo>
                <a:cubicBezTo>
                  <a:pt x="2213" y="689"/>
                  <a:pt x="2214" y="688"/>
                  <a:pt x="2214" y="688"/>
                </a:cubicBezTo>
                <a:cubicBezTo>
                  <a:pt x="2215" y="687"/>
                  <a:pt x="2216" y="686"/>
                  <a:pt x="2218" y="685"/>
                </a:cubicBezTo>
                <a:lnTo>
                  <a:pt x="2219" y="683"/>
                </a:lnTo>
                <a:lnTo>
                  <a:pt x="2220" y="684"/>
                </a:lnTo>
                <a:lnTo>
                  <a:pt x="2218" y="686"/>
                </a:lnTo>
                <a:cubicBezTo>
                  <a:pt x="2216" y="689"/>
                  <a:pt x="2214" y="691"/>
                  <a:pt x="2214" y="691"/>
                </a:cubicBezTo>
                <a:close/>
                <a:moveTo>
                  <a:pt x="2165" y="766"/>
                </a:moveTo>
                <a:cubicBezTo>
                  <a:pt x="2162" y="766"/>
                  <a:pt x="2160" y="764"/>
                  <a:pt x="2157" y="762"/>
                </a:cubicBezTo>
                <a:cubicBezTo>
                  <a:pt x="2155" y="759"/>
                  <a:pt x="2154" y="758"/>
                  <a:pt x="2152" y="758"/>
                </a:cubicBezTo>
                <a:cubicBezTo>
                  <a:pt x="2152" y="759"/>
                  <a:pt x="2152" y="759"/>
                  <a:pt x="2152" y="759"/>
                </a:cubicBezTo>
                <a:cubicBezTo>
                  <a:pt x="2151" y="759"/>
                  <a:pt x="2149" y="758"/>
                  <a:pt x="2146" y="756"/>
                </a:cubicBezTo>
                <a:cubicBezTo>
                  <a:pt x="2144" y="754"/>
                  <a:pt x="2142" y="753"/>
                  <a:pt x="2140" y="753"/>
                </a:cubicBezTo>
                <a:lnTo>
                  <a:pt x="2139" y="754"/>
                </a:lnTo>
                <a:cubicBezTo>
                  <a:pt x="2138" y="754"/>
                  <a:pt x="2138" y="753"/>
                  <a:pt x="2137" y="752"/>
                </a:cubicBezTo>
                <a:cubicBezTo>
                  <a:pt x="2136" y="752"/>
                  <a:pt x="2135" y="750"/>
                  <a:pt x="2134" y="749"/>
                </a:cubicBezTo>
                <a:cubicBezTo>
                  <a:pt x="2133" y="747"/>
                  <a:pt x="2132" y="743"/>
                  <a:pt x="2132" y="736"/>
                </a:cubicBezTo>
                <a:cubicBezTo>
                  <a:pt x="2131" y="729"/>
                  <a:pt x="2131" y="722"/>
                  <a:pt x="2131" y="715"/>
                </a:cubicBezTo>
                <a:cubicBezTo>
                  <a:pt x="2131" y="703"/>
                  <a:pt x="2131" y="697"/>
                  <a:pt x="2133" y="697"/>
                </a:cubicBezTo>
                <a:lnTo>
                  <a:pt x="2133" y="697"/>
                </a:lnTo>
                <a:cubicBezTo>
                  <a:pt x="2134" y="697"/>
                  <a:pt x="2135" y="693"/>
                  <a:pt x="2137" y="685"/>
                </a:cubicBezTo>
                <a:cubicBezTo>
                  <a:pt x="2138" y="682"/>
                  <a:pt x="2139" y="679"/>
                  <a:pt x="2140" y="677"/>
                </a:cubicBezTo>
                <a:lnTo>
                  <a:pt x="2142" y="674"/>
                </a:lnTo>
                <a:lnTo>
                  <a:pt x="2142" y="674"/>
                </a:lnTo>
                <a:cubicBezTo>
                  <a:pt x="2143" y="674"/>
                  <a:pt x="2143" y="673"/>
                  <a:pt x="2143" y="672"/>
                </a:cubicBezTo>
                <a:lnTo>
                  <a:pt x="2143" y="667"/>
                </a:lnTo>
                <a:cubicBezTo>
                  <a:pt x="2143" y="662"/>
                  <a:pt x="2144" y="659"/>
                  <a:pt x="2147" y="659"/>
                </a:cubicBezTo>
                <a:cubicBezTo>
                  <a:pt x="2148" y="659"/>
                  <a:pt x="2149" y="659"/>
                  <a:pt x="2149" y="660"/>
                </a:cubicBezTo>
                <a:cubicBezTo>
                  <a:pt x="2149" y="661"/>
                  <a:pt x="2149" y="661"/>
                  <a:pt x="2148" y="662"/>
                </a:cubicBezTo>
                <a:cubicBezTo>
                  <a:pt x="2148" y="662"/>
                  <a:pt x="2147" y="665"/>
                  <a:pt x="2146" y="670"/>
                </a:cubicBezTo>
                <a:cubicBezTo>
                  <a:pt x="2146" y="673"/>
                  <a:pt x="2145" y="675"/>
                  <a:pt x="2144" y="676"/>
                </a:cubicBezTo>
                <a:cubicBezTo>
                  <a:pt x="2143" y="677"/>
                  <a:pt x="2143" y="678"/>
                  <a:pt x="2143" y="681"/>
                </a:cubicBezTo>
                <a:cubicBezTo>
                  <a:pt x="2143" y="681"/>
                  <a:pt x="2143" y="681"/>
                  <a:pt x="2143" y="682"/>
                </a:cubicBezTo>
                <a:cubicBezTo>
                  <a:pt x="2143" y="683"/>
                  <a:pt x="2143" y="684"/>
                  <a:pt x="2142" y="684"/>
                </a:cubicBezTo>
                <a:cubicBezTo>
                  <a:pt x="2141" y="685"/>
                  <a:pt x="2140" y="686"/>
                  <a:pt x="2140" y="688"/>
                </a:cubicBezTo>
                <a:lnTo>
                  <a:pt x="2141" y="690"/>
                </a:lnTo>
                <a:cubicBezTo>
                  <a:pt x="2141" y="690"/>
                  <a:pt x="2140" y="691"/>
                  <a:pt x="2139" y="691"/>
                </a:cubicBezTo>
                <a:cubicBezTo>
                  <a:pt x="2138" y="691"/>
                  <a:pt x="2137" y="691"/>
                  <a:pt x="2137" y="693"/>
                </a:cubicBezTo>
                <a:lnTo>
                  <a:pt x="2137" y="693"/>
                </a:lnTo>
                <a:cubicBezTo>
                  <a:pt x="2137" y="696"/>
                  <a:pt x="2137" y="699"/>
                  <a:pt x="2135" y="703"/>
                </a:cubicBezTo>
                <a:cubicBezTo>
                  <a:pt x="2134" y="710"/>
                  <a:pt x="2133" y="718"/>
                  <a:pt x="2133" y="726"/>
                </a:cubicBezTo>
                <a:cubicBezTo>
                  <a:pt x="2133" y="736"/>
                  <a:pt x="2134" y="742"/>
                  <a:pt x="2137" y="742"/>
                </a:cubicBezTo>
                <a:cubicBezTo>
                  <a:pt x="2139" y="742"/>
                  <a:pt x="2140" y="737"/>
                  <a:pt x="2141" y="728"/>
                </a:cubicBezTo>
                <a:cubicBezTo>
                  <a:pt x="2141" y="718"/>
                  <a:pt x="2143" y="705"/>
                  <a:pt x="2147" y="688"/>
                </a:cubicBezTo>
                <a:cubicBezTo>
                  <a:pt x="2152" y="670"/>
                  <a:pt x="2156" y="656"/>
                  <a:pt x="2160" y="645"/>
                </a:cubicBezTo>
                <a:cubicBezTo>
                  <a:pt x="2163" y="636"/>
                  <a:pt x="2165" y="630"/>
                  <a:pt x="2165" y="628"/>
                </a:cubicBezTo>
                <a:cubicBezTo>
                  <a:pt x="2165" y="627"/>
                  <a:pt x="2165" y="626"/>
                  <a:pt x="2164" y="626"/>
                </a:cubicBezTo>
                <a:cubicBezTo>
                  <a:pt x="2163" y="626"/>
                  <a:pt x="2162" y="627"/>
                  <a:pt x="2161" y="629"/>
                </a:cubicBezTo>
                <a:cubicBezTo>
                  <a:pt x="2158" y="634"/>
                  <a:pt x="2157" y="638"/>
                  <a:pt x="2157" y="641"/>
                </a:cubicBezTo>
                <a:cubicBezTo>
                  <a:pt x="2157" y="641"/>
                  <a:pt x="2157" y="642"/>
                  <a:pt x="2157" y="642"/>
                </a:cubicBezTo>
                <a:cubicBezTo>
                  <a:pt x="2158" y="642"/>
                  <a:pt x="2158" y="643"/>
                  <a:pt x="2158" y="643"/>
                </a:cubicBezTo>
                <a:cubicBezTo>
                  <a:pt x="2158" y="643"/>
                  <a:pt x="2157" y="644"/>
                  <a:pt x="2157" y="644"/>
                </a:cubicBezTo>
                <a:cubicBezTo>
                  <a:pt x="2156" y="644"/>
                  <a:pt x="2155" y="643"/>
                  <a:pt x="2154" y="643"/>
                </a:cubicBezTo>
                <a:cubicBezTo>
                  <a:pt x="2153" y="643"/>
                  <a:pt x="2152" y="643"/>
                  <a:pt x="2151" y="642"/>
                </a:cubicBezTo>
                <a:cubicBezTo>
                  <a:pt x="2150" y="642"/>
                  <a:pt x="2150" y="642"/>
                  <a:pt x="2150" y="642"/>
                </a:cubicBezTo>
                <a:cubicBezTo>
                  <a:pt x="2150" y="641"/>
                  <a:pt x="2151" y="639"/>
                  <a:pt x="2152" y="637"/>
                </a:cubicBezTo>
                <a:cubicBezTo>
                  <a:pt x="2154" y="631"/>
                  <a:pt x="2156" y="627"/>
                  <a:pt x="2157" y="624"/>
                </a:cubicBezTo>
                <a:lnTo>
                  <a:pt x="2159" y="621"/>
                </a:lnTo>
                <a:lnTo>
                  <a:pt x="2160" y="622"/>
                </a:lnTo>
                <a:cubicBezTo>
                  <a:pt x="2160" y="622"/>
                  <a:pt x="2160" y="622"/>
                  <a:pt x="2160" y="621"/>
                </a:cubicBezTo>
                <a:lnTo>
                  <a:pt x="2159" y="617"/>
                </a:lnTo>
                <a:cubicBezTo>
                  <a:pt x="2159" y="616"/>
                  <a:pt x="2160" y="615"/>
                  <a:pt x="2161" y="615"/>
                </a:cubicBezTo>
                <a:cubicBezTo>
                  <a:pt x="2162" y="615"/>
                  <a:pt x="2162" y="614"/>
                  <a:pt x="2162" y="611"/>
                </a:cubicBezTo>
                <a:lnTo>
                  <a:pt x="2161" y="609"/>
                </a:lnTo>
                <a:cubicBezTo>
                  <a:pt x="2161" y="609"/>
                  <a:pt x="2162" y="609"/>
                  <a:pt x="2163" y="609"/>
                </a:cubicBezTo>
                <a:cubicBezTo>
                  <a:pt x="2164" y="609"/>
                  <a:pt x="2165" y="606"/>
                  <a:pt x="2165" y="601"/>
                </a:cubicBezTo>
                <a:cubicBezTo>
                  <a:pt x="2165" y="595"/>
                  <a:pt x="2164" y="593"/>
                  <a:pt x="2163" y="592"/>
                </a:cubicBezTo>
                <a:cubicBezTo>
                  <a:pt x="2163" y="592"/>
                  <a:pt x="2162" y="592"/>
                  <a:pt x="2162" y="591"/>
                </a:cubicBezTo>
                <a:cubicBezTo>
                  <a:pt x="2162" y="590"/>
                  <a:pt x="2163" y="588"/>
                  <a:pt x="2164" y="586"/>
                </a:cubicBezTo>
                <a:cubicBezTo>
                  <a:pt x="2165" y="583"/>
                  <a:pt x="2167" y="581"/>
                  <a:pt x="2168" y="581"/>
                </a:cubicBezTo>
                <a:cubicBezTo>
                  <a:pt x="2169" y="581"/>
                  <a:pt x="2169" y="582"/>
                  <a:pt x="2170" y="582"/>
                </a:cubicBezTo>
                <a:cubicBezTo>
                  <a:pt x="2170" y="582"/>
                  <a:pt x="2171" y="583"/>
                  <a:pt x="2171" y="583"/>
                </a:cubicBezTo>
                <a:cubicBezTo>
                  <a:pt x="2171" y="583"/>
                  <a:pt x="2171" y="582"/>
                  <a:pt x="2171" y="582"/>
                </a:cubicBezTo>
                <a:cubicBezTo>
                  <a:pt x="2171" y="582"/>
                  <a:pt x="2171" y="581"/>
                  <a:pt x="2170" y="580"/>
                </a:cubicBezTo>
                <a:cubicBezTo>
                  <a:pt x="2168" y="578"/>
                  <a:pt x="2168" y="577"/>
                  <a:pt x="2168" y="576"/>
                </a:cubicBezTo>
                <a:cubicBezTo>
                  <a:pt x="2168" y="574"/>
                  <a:pt x="2169" y="572"/>
                  <a:pt x="2171" y="569"/>
                </a:cubicBezTo>
                <a:cubicBezTo>
                  <a:pt x="2174" y="564"/>
                  <a:pt x="2177" y="558"/>
                  <a:pt x="2179" y="552"/>
                </a:cubicBezTo>
                <a:cubicBezTo>
                  <a:pt x="2181" y="545"/>
                  <a:pt x="2185" y="537"/>
                  <a:pt x="2190" y="526"/>
                </a:cubicBezTo>
                <a:cubicBezTo>
                  <a:pt x="2194" y="518"/>
                  <a:pt x="2196" y="513"/>
                  <a:pt x="2196" y="511"/>
                </a:cubicBezTo>
                <a:lnTo>
                  <a:pt x="2195" y="511"/>
                </a:lnTo>
                <a:cubicBezTo>
                  <a:pt x="2195" y="510"/>
                  <a:pt x="2201" y="497"/>
                  <a:pt x="2214" y="474"/>
                </a:cubicBezTo>
                <a:cubicBezTo>
                  <a:pt x="2222" y="460"/>
                  <a:pt x="2226" y="452"/>
                  <a:pt x="2228" y="450"/>
                </a:cubicBezTo>
                <a:cubicBezTo>
                  <a:pt x="2239" y="435"/>
                  <a:pt x="2247" y="428"/>
                  <a:pt x="2253" y="428"/>
                </a:cubicBezTo>
                <a:cubicBezTo>
                  <a:pt x="2256" y="428"/>
                  <a:pt x="2257" y="430"/>
                  <a:pt x="2257" y="434"/>
                </a:cubicBezTo>
                <a:lnTo>
                  <a:pt x="2257" y="437"/>
                </a:lnTo>
                <a:cubicBezTo>
                  <a:pt x="2257" y="438"/>
                  <a:pt x="2259" y="439"/>
                  <a:pt x="2262" y="441"/>
                </a:cubicBezTo>
                <a:cubicBezTo>
                  <a:pt x="2266" y="442"/>
                  <a:pt x="2268" y="445"/>
                  <a:pt x="2269" y="450"/>
                </a:cubicBezTo>
                <a:cubicBezTo>
                  <a:pt x="2269" y="451"/>
                  <a:pt x="2270" y="452"/>
                  <a:pt x="2271" y="453"/>
                </a:cubicBezTo>
                <a:cubicBezTo>
                  <a:pt x="2272" y="454"/>
                  <a:pt x="2273" y="454"/>
                  <a:pt x="2276" y="454"/>
                </a:cubicBezTo>
                <a:cubicBezTo>
                  <a:pt x="2279" y="454"/>
                  <a:pt x="2281" y="455"/>
                  <a:pt x="2281" y="456"/>
                </a:cubicBezTo>
                <a:cubicBezTo>
                  <a:pt x="2281" y="456"/>
                  <a:pt x="2281" y="460"/>
                  <a:pt x="2281" y="465"/>
                </a:cubicBezTo>
                <a:cubicBezTo>
                  <a:pt x="2281" y="469"/>
                  <a:pt x="2281" y="471"/>
                  <a:pt x="2280" y="471"/>
                </a:cubicBezTo>
                <a:cubicBezTo>
                  <a:pt x="2279" y="471"/>
                  <a:pt x="2279" y="471"/>
                  <a:pt x="2279" y="472"/>
                </a:cubicBezTo>
                <a:lnTo>
                  <a:pt x="2279" y="474"/>
                </a:lnTo>
                <a:cubicBezTo>
                  <a:pt x="2279" y="476"/>
                  <a:pt x="2279" y="478"/>
                  <a:pt x="2278" y="478"/>
                </a:cubicBezTo>
                <a:cubicBezTo>
                  <a:pt x="2277" y="478"/>
                  <a:pt x="2276" y="480"/>
                  <a:pt x="2276" y="482"/>
                </a:cubicBezTo>
                <a:cubicBezTo>
                  <a:pt x="2275" y="485"/>
                  <a:pt x="2274" y="487"/>
                  <a:pt x="2274" y="487"/>
                </a:cubicBezTo>
                <a:cubicBezTo>
                  <a:pt x="2273" y="488"/>
                  <a:pt x="2273" y="490"/>
                  <a:pt x="2273" y="490"/>
                </a:cubicBezTo>
                <a:lnTo>
                  <a:pt x="2273" y="493"/>
                </a:lnTo>
                <a:cubicBezTo>
                  <a:pt x="2273" y="495"/>
                  <a:pt x="2272" y="498"/>
                  <a:pt x="2271" y="501"/>
                </a:cubicBezTo>
                <a:cubicBezTo>
                  <a:pt x="2269" y="504"/>
                  <a:pt x="2268" y="506"/>
                  <a:pt x="2268" y="507"/>
                </a:cubicBezTo>
                <a:cubicBezTo>
                  <a:pt x="2268" y="507"/>
                  <a:pt x="2268" y="507"/>
                  <a:pt x="2269" y="507"/>
                </a:cubicBezTo>
                <a:cubicBezTo>
                  <a:pt x="2269" y="507"/>
                  <a:pt x="2269" y="507"/>
                  <a:pt x="2269" y="508"/>
                </a:cubicBezTo>
                <a:cubicBezTo>
                  <a:pt x="2269" y="508"/>
                  <a:pt x="2269" y="509"/>
                  <a:pt x="2267" y="511"/>
                </a:cubicBezTo>
                <a:cubicBezTo>
                  <a:pt x="2265" y="513"/>
                  <a:pt x="2263" y="514"/>
                  <a:pt x="2261" y="514"/>
                </a:cubicBezTo>
                <a:cubicBezTo>
                  <a:pt x="2260" y="514"/>
                  <a:pt x="2259" y="514"/>
                  <a:pt x="2259" y="513"/>
                </a:cubicBezTo>
                <a:lnTo>
                  <a:pt x="2262" y="507"/>
                </a:lnTo>
                <a:cubicBezTo>
                  <a:pt x="2262" y="506"/>
                  <a:pt x="2261" y="506"/>
                  <a:pt x="2261" y="505"/>
                </a:cubicBezTo>
                <a:cubicBezTo>
                  <a:pt x="2261" y="503"/>
                  <a:pt x="2262" y="501"/>
                  <a:pt x="2264" y="497"/>
                </a:cubicBezTo>
                <a:cubicBezTo>
                  <a:pt x="2266" y="493"/>
                  <a:pt x="2267" y="489"/>
                  <a:pt x="2267" y="484"/>
                </a:cubicBezTo>
                <a:cubicBezTo>
                  <a:pt x="2267" y="482"/>
                  <a:pt x="2267" y="480"/>
                  <a:pt x="2268" y="480"/>
                </a:cubicBezTo>
                <a:cubicBezTo>
                  <a:pt x="2269" y="479"/>
                  <a:pt x="2269" y="478"/>
                  <a:pt x="2269" y="478"/>
                </a:cubicBezTo>
                <a:cubicBezTo>
                  <a:pt x="2269" y="478"/>
                  <a:pt x="2269" y="477"/>
                  <a:pt x="2268" y="477"/>
                </a:cubicBezTo>
                <a:cubicBezTo>
                  <a:pt x="2265" y="477"/>
                  <a:pt x="2263" y="480"/>
                  <a:pt x="2262" y="486"/>
                </a:cubicBezTo>
                <a:lnTo>
                  <a:pt x="2259" y="497"/>
                </a:lnTo>
                <a:cubicBezTo>
                  <a:pt x="2257" y="501"/>
                  <a:pt x="2256" y="504"/>
                  <a:pt x="2256" y="506"/>
                </a:cubicBezTo>
                <a:lnTo>
                  <a:pt x="2255" y="506"/>
                </a:lnTo>
                <a:lnTo>
                  <a:pt x="2253" y="506"/>
                </a:lnTo>
                <a:cubicBezTo>
                  <a:pt x="2252" y="506"/>
                  <a:pt x="2251" y="507"/>
                  <a:pt x="2250" y="508"/>
                </a:cubicBezTo>
                <a:cubicBezTo>
                  <a:pt x="2248" y="511"/>
                  <a:pt x="2243" y="521"/>
                  <a:pt x="2235" y="539"/>
                </a:cubicBezTo>
                <a:cubicBezTo>
                  <a:pt x="2220" y="572"/>
                  <a:pt x="2210" y="596"/>
                  <a:pt x="2205" y="610"/>
                </a:cubicBezTo>
                <a:cubicBezTo>
                  <a:pt x="2201" y="622"/>
                  <a:pt x="2195" y="640"/>
                  <a:pt x="2188" y="663"/>
                </a:cubicBezTo>
                <a:lnTo>
                  <a:pt x="2188" y="664"/>
                </a:lnTo>
                <a:cubicBezTo>
                  <a:pt x="2180" y="688"/>
                  <a:pt x="2177" y="701"/>
                  <a:pt x="2177" y="705"/>
                </a:cubicBezTo>
                <a:cubicBezTo>
                  <a:pt x="2177" y="705"/>
                  <a:pt x="2177" y="706"/>
                  <a:pt x="2177" y="706"/>
                </a:cubicBezTo>
                <a:cubicBezTo>
                  <a:pt x="2178" y="706"/>
                  <a:pt x="2178" y="705"/>
                  <a:pt x="2180" y="704"/>
                </a:cubicBezTo>
                <a:cubicBezTo>
                  <a:pt x="2182" y="702"/>
                  <a:pt x="2184" y="701"/>
                  <a:pt x="2185" y="701"/>
                </a:cubicBezTo>
                <a:cubicBezTo>
                  <a:pt x="2185" y="701"/>
                  <a:pt x="2185" y="701"/>
                  <a:pt x="2185" y="699"/>
                </a:cubicBezTo>
                <a:cubicBezTo>
                  <a:pt x="2185" y="698"/>
                  <a:pt x="2186" y="698"/>
                  <a:pt x="2188" y="698"/>
                </a:cubicBezTo>
                <a:cubicBezTo>
                  <a:pt x="2190" y="698"/>
                  <a:pt x="2191" y="697"/>
                  <a:pt x="2192" y="696"/>
                </a:cubicBezTo>
                <a:cubicBezTo>
                  <a:pt x="2192" y="695"/>
                  <a:pt x="2194" y="693"/>
                  <a:pt x="2197" y="690"/>
                </a:cubicBezTo>
                <a:cubicBezTo>
                  <a:pt x="2206" y="681"/>
                  <a:pt x="2213" y="676"/>
                  <a:pt x="2217" y="672"/>
                </a:cubicBezTo>
                <a:lnTo>
                  <a:pt x="2222" y="669"/>
                </a:lnTo>
                <a:cubicBezTo>
                  <a:pt x="2222" y="669"/>
                  <a:pt x="2222" y="669"/>
                  <a:pt x="2222" y="669"/>
                </a:cubicBezTo>
                <a:cubicBezTo>
                  <a:pt x="2223" y="669"/>
                  <a:pt x="2224" y="669"/>
                  <a:pt x="2225" y="667"/>
                </a:cubicBezTo>
                <a:cubicBezTo>
                  <a:pt x="2227" y="666"/>
                  <a:pt x="2227" y="665"/>
                  <a:pt x="2227" y="664"/>
                </a:cubicBezTo>
                <a:lnTo>
                  <a:pt x="2227" y="663"/>
                </a:lnTo>
                <a:cubicBezTo>
                  <a:pt x="2227" y="661"/>
                  <a:pt x="2231" y="656"/>
                  <a:pt x="2239" y="649"/>
                </a:cubicBezTo>
                <a:cubicBezTo>
                  <a:pt x="2247" y="642"/>
                  <a:pt x="2252" y="638"/>
                  <a:pt x="2254" y="638"/>
                </a:cubicBezTo>
                <a:cubicBezTo>
                  <a:pt x="2256" y="638"/>
                  <a:pt x="2258" y="636"/>
                  <a:pt x="2260" y="631"/>
                </a:cubicBezTo>
                <a:cubicBezTo>
                  <a:pt x="2263" y="627"/>
                  <a:pt x="2264" y="625"/>
                  <a:pt x="2265" y="625"/>
                </a:cubicBezTo>
                <a:cubicBezTo>
                  <a:pt x="2266" y="625"/>
                  <a:pt x="2269" y="622"/>
                  <a:pt x="2275" y="616"/>
                </a:cubicBezTo>
                <a:cubicBezTo>
                  <a:pt x="2295" y="597"/>
                  <a:pt x="2308" y="585"/>
                  <a:pt x="2313" y="582"/>
                </a:cubicBezTo>
                <a:cubicBezTo>
                  <a:pt x="2316" y="580"/>
                  <a:pt x="2318" y="579"/>
                  <a:pt x="2318" y="578"/>
                </a:cubicBezTo>
                <a:cubicBezTo>
                  <a:pt x="2318" y="578"/>
                  <a:pt x="2318" y="577"/>
                  <a:pt x="2319" y="576"/>
                </a:cubicBezTo>
                <a:cubicBezTo>
                  <a:pt x="2320" y="575"/>
                  <a:pt x="2321" y="575"/>
                  <a:pt x="2323" y="575"/>
                </a:cubicBezTo>
                <a:cubicBezTo>
                  <a:pt x="2323" y="575"/>
                  <a:pt x="2323" y="575"/>
                  <a:pt x="2323" y="575"/>
                </a:cubicBezTo>
                <a:cubicBezTo>
                  <a:pt x="2323" y="576"/>
                  <a:pt x="2323" y="576"/>
                  <a:pt x="2322" y="577"/>
                </a:cubicBezTo>
                <a:cubicBezTo>
                  <a:pt x="2321" y="579"/>
                  <a:pt x="2320" y="581"/>
                  <a:pt x="2320" y="583"/>
                </a:cubicBezTo>
                <a:cubicBezTo>
                  <a:pt x="2320" y="585"/>
                  <a:pt x="2321" y="586"/>
                  <a:pt x="2324" y="586"/>
                </a:cubicBezTo>
                <a:cubicBezTo>
                  <a:pt x="2325" y="586"/>
                  <a:pt x="2327" y="585"/>
                  <a:pt x="2329" y="583"/>
                </a:cubicBezTo>
                <a:cubicBezTo>
                  <a:pt x="2331" y="581"/>
                  <a:pt x="2331" y="580"/>
                  <a:pt x="2331" y="579"/>
                </a:cubicBezTo>
                <a:cubicBezTo>
                  <a:pt x="2331" y="577"/>
                  <a:pt x="2331" y="576"/>
                  <a:pt x="2329" y="576"/>
                </a:cubicBezTo>
                <a:cubicBezTo>
                  <a:pt x="2329" y="576"/>
                  <a:pt x="2328" y="577"/>
                  <a:pt x="2328" y="577"/>
                </a:cubicBezTo>
                <a:lnTo>
                  <a:pt x="2330" y="580"/>
                </a:lnTo>
                <a:lnTo>
                  <a:pt x="2326" y="579"/>
                </a:lnTo>
                <a:lnTo>
                  <a:pt x="2328" y="582"/>
                </a:lnTo>
                <a:cubicBezTo>
                  <a:pt x="2328" y="582"/>
                  <a:pt x="2328" y="583"/>
                  <a:pt x="2328" y="583"/>
                </a:cubicBezTo>
                <a:cubicBezTo>
                  <a:pt x="2327" y="583"/>
                  <a:pt x="2327" y="582"/>
                  <a:pt x="2326" y="582"/>
                </a:cubicBezTo>
                <a:cubicBezTo>
                  <a:pt x="2325" y="581"/>
                  <a:pt x="2324" y="580"/>
                  <a:pt x="2324" y="580"/>
                </a:cubicBezTo>
                <a:cubicBezTo>
                  <a:pt x="2324" y="579"/>
                  <a:pt x="2325" y="578"/>
                  <a:pt x="2326" y="578"/>
                </a:cubicBezTo>
                <a:cubicBezTo>
                  <a:pt x="2326" y="577"/>
                  <a:pt x="2326" y="576"/>
                  <a:pt x="2327" y="576"/>
                </a:cubicBezTo>
                <a:cubicBezTo>
                  <a:pt x="2327" y="576"/>
                  <a:pt x="2327" y="575"/>
                  <a:pt x="2327" y="573"/>
                </a:cubicBezTo>
                <a:lnTo>
                  <a:pt x="2327" y="573"/>
                </a:lnTo>
                <a:cubicBezTo>
                  <a:pt x="2327" y="572"/>
                  <a:pt x="2329" y="570"/>
                  <a:pt x="2333" y="567"/>
                </a:cubicBezTo>
                <a:lnTo>
                  <a:pt x="2338" y="563"/>
                </a:lnTo>
                <a:lnTo>
                  <a:pt x="2334" y="567"/>
                </a:lnTo>
                <a:cubicBezTo>
                  <a:pt x="2331" y="569"/>
                  <a:pt x="2330" y="571"/>
                  <a:pt x="2330" y="572"/>
                </a:cubicBezTo>
                <a:cubicBezTo>
                  <a:pt x="2330" y="573"/>
                  <a:pt x="2332" y="573"/>
                  <a:pt x="2336" y="573"/>
                </a:cubicBezTo>
                <a:cubicBezTo>
                  <a:pt x="2342" y="573"/>
                  <a:pt x="2345" y="572"/>
                  <a:pt x="2345" y="570"/>
                </a:cubicBezTo>
                <a:cubicBezTo>
                  <a:pt x="2345" y="570"/>
                  <a:pt x="2345" y="569"/>
                  <a:pt x="2344" y="568"/>
                </a:cubicBezTo>
                <a:cubicBezTo>
                  <a:pt x="2343" y="568"/>
                  <a:pt x="2342" y="567"/>
                  <a:pt x="2342" y="567"/>
                </a:cubicBezTo>
                <a:lnTo>
                  <a:pt x="2343" y="571"/>
                </a:lnTo>
                <a:cubicBezTo>
                  <a:pt x="2343" y="571"/>
                  <a:pt x="2342" y="571"/>
                  <a:pt x="2341" y="570"/>
                </a:cubicBezTo>
                <a:cubicBezTo>
                  <a:pt x="2340" y="570"/>
                  <a:pt x="2339" y="569"/>
                  <a:pt x="2339" y="568"/>
                </a:cubicBezTo>
                <a:cubicBezTo>
                  <a:pt x="2339" y="567"/>
                  <a:pt x="2342" y="566"/>
                  <a:pt x="2348" y="566"/>
                </a:cubicBezTo>
                <a:cubicBezTo>
                  <a:pt x="2352" y="566"/>
                  <a:pt x="2354" y="565"/>
                  <a:pt x="2354" y="564"/>
                </a:cubicBezTo>
                <a:cubicBezTo>
                  <a:pt x="2354" y="563"/>
                  <a:pt x="2356" y="562"/>
                  <a:pt x="2358" y="561"/>
                </a:cubicBezTo>
                <a:cubicBezTo>
                  <a:pt x="2361" y="561"/>
                  <a:pt x="2363" y="560"/>
                  <a:pt x="2363" y="559"/>
                </a:cubicBezTo>
                <a:lnTo>
                  <a:pt x="2361" y="556"/>
                </a:lnTo>
                <a:cubicBezTo>
                  <a:pt x="2361" y="555"/>
                  <a:pt x="2362" y="555"/>
                  <a:pt x="2364" y="555"/>
                </a:cubicBezTo>
                <a:cubicBezTo>
                  <a:pt x="2368" y="555"/>
                  <a:pt x="2373" y="556"/>
                  <a:pt x="2381" y="560"/>
                </a:cubicBezTo>
                <a:cubicBezTo>
                  <a:pt x="2388" y="563"/>
                  <a:pt x="2394" y="567"/>
                  <a:pt x="2398" y="571"/>
                </a:cubicBezTo>
                <a:lnTo>
                  <a:pt x="2403" y="577"/>
                </a:lnTo>
                <a:lnTo>
                  <a:pt x="2401" y="577"/>
                </a:lnTo>
                <a:cubicBezTo>
                  <a:pt x="2400" y="577"/>
                  <a:pt x="2400" y="577"/>
                  <a:pt x="2399" y="578"/>
                </a:cubicBezTo>
                <a:lnTo>
                  <a:pt x="2399" y="578"/>
                </a:lnTo>
                <a:cubicBezTo>
                  <a:pt x="2399" y="579"/>
                  <a:pt x="2400" y="579"/>
                  <a:pt x="2401" y="579"/>
                </a:cubicBezTo>
                <a:cubicBezTo>
                  <a:pt x="2407" y="579"/>
                  <a:pt x="2410" y="580"/>
                  <a:pt x="2410" y="583"/>
                </a:cubicBezTo>
                <a:lnTo>
                  <a:pt x="2408" y="581"/>
                </a:lnTo>
                <a:lnTo>
                  <a:pt x="2407" y="581"/>
                </a:lnTo>
                <a:cubicBezTo>
                  <a:pt x="2407" y="582"/>
                  <a:pt x="2409" y="584"/>
                  <a:pt x="2412" y="587"/>
                </a:cubicBezTo>
                <a:cubicBezTo>
                  <a:pt x="2419" y="594"/>
                  <a:pt x="2426" y="610"/>
                  <a:pt x="2432" y="634"/>
                </a:cubicBezTo>
                <a:cubicBezTo>
                  <a:pt x="2434" y="643"/>
                  <a:pt x="2437" y="652"/>
                  <a:pt x="2440" y="661"/>
                </a:cubicBezTo>
                <a:cubicBezTo>
                  <a:pt x="2447" y="676"/>
                  <a:pt x="2452" y="683"/>
                  <a:pt x="2456" y="683"/>
                </a:cubicBezTo>
                <a:cubicBezTo>
                  <a:pt x="2457" y="683"/>
                  <a:pt x="2457" y="683"/>
                  <a:pt x="2457" y="683"/>
                </a:cubicBezTo>
                <a:cubicBezTo>
                  <a:pt x="2457" y="681"/>
                  <a:pt x="2456" y="679"/>
                  <a:pt x="2453" y="676"/>
                </a:cubicBezTo>
                <a:cubicBezTo>
                  <a:pt x="2450" y="672"/>
                  <a:pt x="2448" y="667"/>
                  <a:pt x="2445" y="662"/>
                </a:cubicBezTo>
                <a:cubicBezTo>
                  <a:pt x="2443" y="658"/>
                  <a:pt x="2442" y="655"/>
                  <a:pt x="2442" y="653"/>
                </a:cubicBezTo>
                <a:lnTo>
                  <a:pt x="2442" y="653"/>
                </a:lnTo>
                <a:cubicBezTo>
                  <a:pt x="2443" y="653"/>
                  <a:pt x="2445" y="656"/>
                  <a:pt x="2448" y="662"/>
                </a:cubicBezTo>
                <a:cubicBezTo>
                  <a:pt x="2450" y="665"/>
                  <a:pt x="2451" y="668"/>
                  <a:pt x="2453" y="670"/>
                </a:cubicBezTo>
                <a:lnTo>
                  <a:pt x="2456" y="673"/>
                </a:lnTo>
                <a:lnTo>
                  <a:pt x="2456" y="673"/>
                </a:lnTo>
                <a:cubicBezTo>
                  <a:pt x="2457" y="673"/>
                  <a:pt x="2457" y="674"/>
                  <a:pt x="2457" y="676"/>
                </a:cubicBezTo>
                <a:cubicBezTo>
                  <a:pt x="2457" y="679"/>
                  <a:pt x="2460" y="681"/>
                  <a:pt x="2465" y="684"/>
                </a:cubicBezTo>
                <a:cubicBezTo>
                  <a:pt x="2471" y="687"/>
                  <a:pt x="2477" y="689"/>
                  <a:pt x="2483" y="690"/>
                </a:cubicBezTo>
                <a:cubicBezTo>
                  <a:pt x="2490" y="690"/>
                  <a:pt x="2493" y="689"/>
                  <a:pt x="2493" y="688"/>
                </a:cubicBezTo>
                <a:cubicBezTo>
                  <a:pt x="2493" y="687"/>
                  <a:pt x="2495" y="687"/>
                  <a:pt x="2497" y="687"/>
                </a:cubicBezTo>
                <a:lnTo>
                  <a:pt x="2500" y="688"/>
                </a:lnTo>
                <a:cubicBezTo>
                  <a:pt x="2501" y="688"/>
                  <a:pt x="2502" y="687"/>
                  <a:pt x="2502" y="686"/>
                </a:cubicBezTo>
                <a:cubicBezTo>
                  <a:pt x="2502" y="685"/>
                  <a:pt x="2503" y="685"/>
                  <a:pt x="2505" y="685"/>
                </a:cubicBezTo>
                <a:lnTo>
                  <a:pt x="2507" y="686"/>
                </a:lnTo>
                <a:cubicBezTo>
                  <a:pt x="2508" y="686"/>
                  <a:pt x="2509" y="685"/>
                  <a:pt x="2509" y="684"/>
                </a:cubicBezTo>
                <a:cubicBezTo>
                  <a:pt x="2509" y="683"/>
                  <a:pt x="2509" y="683"/>
                  <a:pt x="2511" y="683"/>
                </a:cubicBezTo>
                <a:lnTo>
                  <a:pt x="2512" y="683"/>
                </a:lnTo>
                <a:cubicBezTo>
                  <a:pt x="2512" y="683"/>
                  <a:pt x="2513" y="682"/>
                  <a:pt x="2513" y="681"/>
                </a:cubicBezTo>
                <a:cubicBezTo>
                  <a:pt x="2513" y="681"/>
                  <a:pt x="2514" y="680"/>
                  <a:pt x="2517" y="680"/>
                </a:cubicBezTo>
                <a:lnTo>
                  <a:pt x="2518" y="681"/>
                </a:lnTo>
                <a:cubicBezTo>
                  <a:pt x="2520" y="681"/>
                  <a:pt x="2522" y="679"/>
                  <a:pt x="2524" y="677"/>
                </a:cubicBezTo>
                <a:cubicBezTo>
                  <a:pt x="2525" y="674"/>
                  <a:pt x="2528" y="673"/>
                  <a:pt x="2530" y="673"/>
                </a:cubicBezTo>
                <a:lnTo>
                  <a:pt x="2532" y="674"/>
                </a:lnTo>
                <a:cubicBezTo>
                  <a:pt x="2533" y="674"/>
                  <a:pt x="2534" y="673"/>
                  <a:pt x="2534" y="672"/>
                </a:cubicBezTo>
                <a:lnTo>
                  <a:pt x="2534" y="671"/>
                </a:lnTo>
                <a:cubicBezTo>
                  <a:pt x="2534" y="670"/>
                  <a:pt x="2535" y="669"/>
                  <a:pt x="2538" y="669"/>
                </a:cubicBezTo>
                <a:cubicBezTo>
                  <a:pt x="2540" y="669"/>
                  <a:pt x="2542" y="669"/>
                  <a:pt x="2542" y="668"/>
                </a:cubicBezTo>
                <a:lnTo>
                  <a:pt x="2542" y="667"/>
                </a:lnTo>
                <a:cubicBezTo>
                  <a:pt x="2542" y="666"/>
                  <a:pt x="2543" y="666"/>
                  <a:pt x="2545" y="666"/>
                </a:cubicBezTo>
                <a:cubicBezTo>
                  <a:pt x="2546" y="665"/>
                  <a:pt x="2547" y="665"/>
                  <a:pt x="2547" y="665"/>
                </a:cubicBezTo>
                <a:cubicBezTo>
                  <a:pt x="2547" y="664"/>
                  <a:pt x="2547" y="664"/>
                  <a:pt x="2545" y="663"/>
                </a:cubicBezTo>
                <a:cubicBezTo>
                  <a:pt x="2544" y="662"/>
                  <a:pt x="2544" y="661"/>
                  <a:pt x="2544" y="661"/>
                </a:cubicBezTo>
                <a:lnTo>
                  <a:pt x="2548" y="661"/>
                </a:lnTo>
                <a:lnTo>
                  <a:pt x="2551" y="662"/>
                </a:lnTo>
                <a:cubicBezTo>
                  <a:pt x="2552" y="662"/>
                  <a:pt x="2553" y="661"/>
                  <a:pt x="2553" y="661"/>
                </a:cubicBezTo>
                <a:lnTo>
                  <a:pt x="2552" y="659"/>
                </a:lnTo>
                <a:cubicBezTo>
                  <a:pt x="2552" y="656"/>
                  <a:pt x="2554" y="655"/>
                  <a:pt x="2556" y="655"/>
                </a:cubicBezTo>
                <a:cubicBezTo>
                  <a:pt x="2556" y="655"/>
                  <a:pt x="2556" y="655"/>
                  <a:pt x="2556" y="656"/>
                </a:cubicBezTo>
                <a:cubicBezTo>
                  <a:pt x="2556" y="657"/>
                  <a:pt x="2557" y="657"/>
                  <a:pt x="2557" y="657"/>
                </a:cubicBezTo>
                <a:cubicBezTo>
                  <a:pt x="2557" y="657"/>
                  <a:pt x="2558" y="657"/>
                  <a:pt x="2560" y="655"/>
                </a:cubicBezTo>
                <a:cubicBezTo>
                  <a:pt x="2561" y="654"/>
                  <a:pt x="2562" y="653"/>
                  <a:pt x="2562" y="652"/>
                </a:cubicBezTo>
                <a:lnTo>
                  <a:pt x="2561" y="651"/>
                </a:lnTo>
                <a:cubicBezTo>
                  <a:pt x="2561" y="650"/>
                  <a:pt x="2563" y="649"/>
                  <a:pt x="2568" y="649"/>
                </a:cubicBezTo>
                <a:cubicBezTo>
                  <a:pt x="2569" y="649"/>
                  <a:pt x="2570" y="648"/>
                  <a:pt x="2571" y="645"/>
                </a:cubicBezTo>
                <a:cubicBezTo>
                  <a:pt x="2572" y="643"/>
                  <a:pt x="2574" y="642"/>
                  <a:pt x="2575" y="642"/>
                </a:cubicBezTo>
                <a:cubicBezTo>
                  <a:pt x="2575" y="642"/>
                  <a:pt x="2576" y="642"/>
                  <a:pt x="2577" y="643"/>
                </a:cubicBezTo>
                <a:cubicBezTo>
                  <a:pt x="2578" y="644"/>
                  <a:pt x="2579" y="646"/>
                  <a:pt x="2579" y="648"/>
                </a:cubicBezTo>
                <a:lnTo>
                  <a:pt x="2578" y="649"/>
                </a:lnTo>
                <a:cubicBezTo>
                  <a:pt x="2579" y="649"/>
                  <a:pt x="2579" y="649"/>
                  <a:pt x="2581" y="647"/>
                </a:cubicBezTo>
                <a:cubicBezTo>
                  <a:pt x="2582" y="646"/>
                  <a:pt x="2583" y="646"/>
                  <a:pt x="2585" y="646"/>
                </a:cubicBezTo>
                <a:lnTo>
                  <a:pt x="2587" y="646"/>
                </a:lnTo>
                <a:lnTo>
                  <a:pt x="2586" y="645"/>
                </a:lnTo>
                <a:cubicBezTo>
                  <a:pt x="2585" y="644"/>
                  <a:pt x="2584" y="644"/>
                  <a:pt x="2584" y="643"/>
                </a:cubicBezTo>
                <a:cubicBezTo>
                  <a:pt x="2584" y="641"/>
                  <a:pt x="2585" y="639"/>
                  <a:pt x="2587" y="639"/>
                </a:cubicBezTo>
                <a:cubicBezTo>
                  <a:pt x="2588" y="639"/>
                  <a:pt x="2588" y="639"/>
                  <a:pt x="2589" y="640"/>
                </a:cubicBezTo>
                <a:cubicBezTo>
                  <a:pt x="2589" y="640"/>
                  <a:pt x="2590" y="641"/>
                  <a:pt x="2593" y="642"/>
                </a:cubicBezTo>
                <a:cubicBezTo>
                  <a:pt x="2593" y="641"/>
                  <a:pt x="2593" y="641"/>
                  <a:pt x="2592" y="640"/>
                </a:cubicBezTo>
                <a:cubicBezTo>
                  <a:pt x="2591" y="639"/>
                  <a:pt x="2590" y="639"/>
                  <a:pt x="2589" y="638"/>
                </a:cubicBezTo>
                <a:cubicBezTo>
                  <a:pt x="2587" y="637"/>
                  <a:pt x="2586" y="637"/>
                  <a:pt x="2586" y="637"/>
                </a:cubicBezTo>
                <a:cubicBezTo>
                  <a:pt x="2584" y="637"/>
                  <a:pt x="2583" y="638"/>
                  <a:pt x="2582" y="641"/>
                </a:cubicBezTo>
                <a:cubicBezTo>
                  <a:pt x="2582" y="643"/>
                  <a:pt x="2581" y="644"/>
                  <a:pt x="2581" y="644"/>
                </a:cubicBezTo>
                <a:cubicBezTo>
                  <a:pt x="2581" y="644"/>
                  <a:pt x="2580" y="643"/>
                  <a:pt x="2580" y="641"/>
                </a:cubicBezTo>
                <a:cubicBezTo>
                  <a:pt x="2580" y="640"/>
                  <a:pt x="2581" y="638"/>
                  <a:pt x="2582" y="637"/>
                </a:cubicBezTo>
                <a:cubicBezTo>
                  <a:pt x="2582" y="635"/>
                  <a:pt x="2584" y="633"/>
                  <a:pt x="2585" y="632"/>
                </a:cubicBezTo>
                <a:cubicBezTo>
                  <a:pt x="2587" y="630"/>
                  <a:pt x="2588" y="630"/>
                  <a:pt x="2588" y="630"/>
                </a:cubicBezTo>
                <a:cubicBezTo>
                  <a:pt x="2588" y="630"/>
                  <a:pt x="2589" y="630"/>
                  <a:pt x="2589" y="630"/>
                </a:cubicBezTo>
                <a:lnTo>
                  <a:pt x="2588" y="631"/>
                </a:lnTo>
                <a:cubicBezTo>
                  <a:pt x="2587" y="632"/>
                  <a:pt x="2587" y="632"/>
                  <a:pt x="2587" y="632"/>
                </a:cubicBezTo>
                <a:cubicBezTo>
                  <a:pt x="2587" y="633"/>
                  <a:pt x="2587" y="633"/>
                  <a:pt x="2587" y="633"/>
                </a:cubicBezTo>
                <a:cubicBezTo>
                  <a:pt x="2588" y="633"/>
                  <a:pt x="2590" y="632"/>
                  <a:pt x="2593" y="629"/>
                </a:cubicBezTo>
                <a:cubicBezTo>
                  <a:pt x="2596" y="626"/>
                  <a:pt x="2598" y="623"/>
                  <a:pt x="2601" y="619"/>
                </a:cubicBezTo>
                <a:cubicBezTo>
                  <a:pt x="2605" y="613"/>
                  <a:pt x="2609" y="609"/>
                  <a:pt x="2611" y="607"/>
                </a:cubicBezTo>
                <a:cubicBezTo>
                  <a:pt x="2614" y="606"/>
                  <a:pt x="2616" y="604"/>
                  <a:pt x="2617" y="601"/>
                </a:cubicBezTo>
                <a:cubicBezTo>
                  <a:pt x="2618" y="598"/>
                  <a:pt x="2619" y="597"/>
                  <a:pt x="2620" y="596"/>
                </a:cubicBezTo>
                <a:lnTo>
                  <a:pt x="2621" y="595"/>
                </a:lnTo>
                <a:lnTo>
                  <a:pt x="2619" y="599"/>
                </a:lnTo>
                <a:cubicBezTo>
                  <a:pt x="2619" y="599"/>
                  <a:pt x="2619" y="599"/>
                  <a:pt x="2620" y="599"/>
                </a:cubicBezTo>
                <a:cubicBezTo>
                  <a:pt x="2621" y="599"/>
                  <a:pt x="2622" y="598"/>
                  <a:pt x="2624" y="595"/>
                </a:cubicBezTo>
                <a:lnTo>
                  <a:pt x="2625" y="592"/>
                </a:lnTo>
                <a:cubicBezTo>
                  <a:pt x="2625" y="590"/>
                  <a:pt x="2626" y="589"/>
                  <a:pt x="2629" y="587"/>
                </a:cubicBezTo>
                <a:cubicBezTo>
                  <a:pt x="2632" y="585"/>
                  <a:pt x="2634" y="582"/>
                  <a:pt x="2636" y="577"/>
                </a:cubicBezTo>
                <a:cubicBezTo>
                  <a:pt x="2636" y="576"/>
                  <a:pt x="2637" y="575"/>
                  <a:pt x="2637" y="574"/>
                </a:cubicBezTo>
                <a:cubicBezTo>
                  <a:pt x="2637" y="574"/>
                  <a:pt x="2638" y="573"/>
                  <a:pt x="2639" y="572"/>
                </a:cubicBezTo>
                <a:lnTo>
                  <a:pt x="2639" y="572"/>
                </a:lnTo>
                <a:cubicBezTo>
                  <a:pt x="2640" y="572"/>
                  <a:pt x="2641" y="572"/>
                  <a:pt x="2643" y="570"/>
                </a:cubicBezTo>
                <a:cubicBezTo>
                  <a:pt x="2644" y="569"/>
                  <a:pt x="2644" y="568"/>
                  <a:pt x="2644" y="567"/>
                </a:cubicBezTo>
                <a:lnTo>
                  <a:pt x="2644" y="567"/>
                </a:lnTo>
                <a:cubicBezTo>
                  <a:pt x="2644" y="566"/>
                  <a:pt x="2645" y="565"/>
                  <a:pt x="2647" y="564"/>
                </a:cubicBezTo>
                <a:cubicBezTo>
                  <a:pt x="2649" y="562"/>
                  <a:pt x="2650" y="561"/>
                  <a:pt x="2650" y="559"/>
                </a:cubicBezTo>
                <a:cubicBezTo>
                  <a:pt x="2650" y="557"/>
                  <a:pt x="2650" y="556"/>
                  <a:pt x="2651" y="556"/>
                </a:cubicBezTo>
                <a:lnTo>
                  <a:pt x="2654" y="557"/>
                </a:lnTo>
                <a:cubicBezTo>
                  <a:pt x="2656" y="557"/>
                  <a:pt x="2656" y="556"/>
                  <a:pt x="2656" y="554"/>
                </a:cubicBezTo>
                <a:cubicBezTo>
                  <a:pt x="2656" y="553"/>
                  <a:pt x="2657" y="552"/>
                  <a:pt x="2658" y="552"/>
                </a:cubicBezTo>
                <a:lnTo>
                  <a:pt x="2659" y="552"/>
                </a:lnTo>
                <a:cubicBezTo>
                  <a:pt x="2659" y="552"/>
                  <a:pt x="2659" y="551"/>
                  <a:pt x="2659" y="551"/>
                </a:cubicBezTo>
                <a:lnTo>
                  <a:pt x="2659" y="549"/>
                </a:lnTo>
                <a:cubicBezTo>
                  <a:pt x="2659" y="546"/>
                  <a:pt x="2661" y="544"/>
                  <a:pt x="2663" y="542"/>
                </a:cubicBezTo>
                <a:cubicBezTo>
                  <a:pt x="2666" y="540"/>
                  <a:pt x="2668" y="539"/>
                  <a:pt x="2670" y="539"/>
                </a:cubicBezTo>
                <a:lnTo>
                  <a:pt x="2670" y="541"/>
                </a:lnTo>
                <a:cubicBezTo>
                  <a:pt x="2670" y="543"/>
                  <a:pt x="2669" y="547"/>
                  <a:pt x="2669" y="553"/>
                </a:cubicBezTo>
                <a:cubicBezTo>
                  <a:pt x="2664" y="579"/>
                  <a:pt x="2646" y="608"/>
                  <a:pt x="2613" y="639"/>
                </a:cubicBezTo>
                <a:cubicBezTo>
                  <a:pt x="2581" y="669"/>
                  <a:pt x="2547" y="691"/>
                  <a:pt x="2512" y="703"/>
                </a:cubicBezTo>
                <a:cubicBezTo>
                  <a:pt x="2505" y="705"/>
                  <a:pt x="2498" y="706"/>
                  <a:pt x="2490" y="706"/>
                </a:cubicBezTo>
                <a:cubicBezTo>
                  <a:pt x="2481" y="706"/>
                  <a:pt x="2472" y="705"/>
                  <a:pt x="2464" y="703"/>
                </a:cubicBezTo>
                <a:cubicBezTo>
                  <a:pt x="2455" y="701"/>
                  <a:pt x="2449" y="697"/>
                  <a:pt x="2446" y="693"/>
                </a:cubicBezTo>
                <a:lnTo>
                  <a:pt x="2439" y="688"/>
                </a:lnTo>
                <a:cubicBezTo>
                  <a:pt x="2435" y="686"/>
                  <a:pt x="2432" y="683"/>
                  <a:pt x="2430" y="679"/>
                </a:cubicBezTo>
                <a:cubicBezTo>
                  <a:pt x="2428" y="676"/>
                  <a:pt x="2425" y="674"/>
                  <a:pt x="2423" y="674"/>
                </a:cubicBezTo>
                <a:lnTo>
                  <a:pt x="2422" y="674"/>
                </a:lnTo>
                <a:cubicBezTo>
                  <a:pt x="2422" y="674"/>
                  <a:pt x="2422" y="674"/>
                  <a:pt x="2422" y="674"/>
                </a:cubicBezTo>
                <a:lnTo>
                  <a:pt x="2423" y="671"/>
                </a:lnTo>
                <a:cubicBezTo>
                  <a:pt x="2423" y="670"/>
                  <a:pt x="2422" y="669"/>
                  <a:pt x="2421" y="668"/>
                </a:cubicBezTo>
                <a:cubicBezTo>
                  <a:pt x="2419" y="667"/>
                  <a:pt x="2417" y="664"/>
                  <a:pt x="2415" y="661"/>
                </a:cubicBezTo>
                <a:cubicBezTo>
                  <a:pt x="2413" y="657"/>
                  <a:pt x="2412" y="654"/>
                  <a:pt x="2412" y="652"/>
                </a:cubicBezTo>
                <a:cubicBezTo>
                  <a:pt x="2412" y="650"/>
                  <a:pt x="2413" y="649"/>
                  <a:pt x="2413" y="649"/>
                </a:cubicBezTo>
                <a:cubicBezTo>
                  <a:pt x="2414" y="649"/>
                  <a:pt x="2415" y="648"/>
                  <a:pt x="2415" y="648"/>
                </a:cubicBezTo>
                <a:cubicBezTo>
                  <a:pt x="2415" y="647"/>
                  <a:pt x="2414" y="647"/>
                  <a:pt x="2412" y="647"/>
                </a:cubicBezTo>
                <a:lnTo>
                  <a:pt x="2410" y="647"/>
                </a:lnTo>
                <a:cubicBezTo>
                  <a:pt x="2409" y="647"/>
                  <a:pt x="2408" y="646"/>
                  <a:pt x="2408" y="644"/>
                </a:cubicBezTo>
                <a:cubicBezTo>
                  <a:pt x="2408" y="643"/>
                  <a:pt x="2409" y="643"/>
                  <a:pt x="2411" y="643"/>
                </a:cubicBezTo>
                <a:cubicBezTo>
                  <a:pt x="2413" y="643"/>
                  <a:pt x="2414" y="642"/>
                  <a:pt x="2414" y="641"/>
                </a:cubicBezTo>
                <a:cubicBezTo>
                  <a:pt x="2414" y="640"/>
                  <a:pt x="2414" y="639"/>
                  <a:pt x="2413" y="638"/>
                </a:cubicBezTo>
                <a:cubicBezTo>
                  <a:pt x="2413" y="637"/>
                  <a:pt x="2413" y="637"/>
                  <a:pt x="2412" y="637"/>
                </a:cubicBezTo>
                <a:cubicBezTo>
                  <a:pt x="2412" y="637"/>
                  <a:pt x="2411" y="637"/>
                  <a:pt x="2411" y="638"/>
                </a:cubicBezTo>
                <a:cubicBezTo>
                  <a:pt x="2411" y="639"/>
                  <a:pt x="2410" y="640"/>
                  <a:pt x="2409" y="640"/>
                </a:cubicBezTo>
                <a:cubicBezTo>
                  <a:pt x="2407" y="640"/>
                  <a:pt x="2405" y="634"/>
                  <a:pt x="2402" y="624"/>
                </a:cubicBezTo>
                <a:cubicBezTo>
                  <a:pt x="2399" y="613"/>
                  <a:pt x="2396" y="607"/>
                  <a:pt x="2395" y="607"/>
                </a:cubicBezTo>
                <a:lnTo>
                  <a:pt x="2394" y="608"/>
                </a:lnTo>
                <a:cubicBezTo>
                  <a:pt x="2394" y="607"/>
                  <a:pt x="2394" y="607"/>
                  <a:pt x="2395" y="606"/>
                </a:cubicBezTo>
                <a:cubicBezTo>
                  <a:pt x="2395" y="605"/>
                  <a:pt x="2395" y="604"/>
                  <a:pt x="2395" y="603"/>
                </a:cubicBezTo>
                <a:lnTo>
                  <a:pt x="2395" y="597"/>
                </a:lnTo>
                <a:cubicBezTo>
                  <a:pt x="2394" y="593"/>
                  <a:pt x="2393" y="591"/>
                  <a:pt x="2392" y="591"/>
                </a:cubicBezTo>
                <a:lnTo>
                  <a:pt x="2391" y="591"/>
                </a:lnTo>
                <a:cubicBezTo>
                  <a:pt x="2390" y="591"/>
                  <a:pt x="2390" y="590"/>
                  <a:pt x="2390" y="589"/>
                </a:cubicBezTo>
                <a:lnTo>
                  <a:pt x="2391" y="586"/>
                </a:lnTo>
                <a:cubicBezTo>
                  <a:pt x="2391" y="585"/>
                  <a:pt x="2390" y="585"/>
                  <a:pt x="2389" y="585"/>
                </a:cubicBezTo>
                <a:cubicBezTo>
                  <a:pt x="2385" y="585"/>
                  <a:pt x="2373" y="593"/>
                  <a:pt x="2353" y="609"/>
                </a:cubicBezTo>
                <a:cubicBezTo>
                  <a:pt x="2333" y="626"/>
                  <a:pt x="2311" y="647"/>
                  <a:pt x="2286" y="672"/>
                </a:cubicBezTo>
                <a:cubicBezTo>
                  <a:pt x="2259" y="699"/>
                  <a:pt x="2244" y="714"/>
                  <a:pt x="2240" y="717"/>
                </a:cubicBezTo>
                <a:cubicBezTo>
                  <a:pt x="2219" y="736"/>
                  <a:pt x="2208" y="746"/>
                  <a:pt x="2205" y="746"/>
                </a:cubicBezTo>
                <a:cubicBezTo>
                  <a:pt x="2203" y="746"/>
                  <a:pt x="2202" y="746"/>
                  <a:pt x="2202" y="747"/>
                </a:cubicBezTo>
                <a:cubicBezTo>
                  <a:pt x="2202" y="749"/>
                  <a:pt x="2200" y="750"/>
                  <a:pt x="2196" y="753"/>
                </a:cubicBezTo>
                <a:cubicBezTo>
                  <a:pt x="2192" y="755"/>
                  <a:pt x="2190" y="756"/>
                  <a:pt x="2189" y="756"/>
                </a:cubicBezTo>
                <a:cubicBezTo>
                  <a:pt x="2189" y="756"/>
                  <a:pt x="2189" y="756"/>
                  <a:pt x="2189" y="756"/>
                </a:cubicBezTo>
                <a:cubicBezTo>
                  <a:pt x="2188" y="756"/>
                  <a:pt x="2184" y="757"/>
                  <a:pt x="2179" y="761"/>
                </a:cubicBezTo>
                <a:cubicBezTo>
                  <a:pt x="2173" y="764"/>
                  <a:pt x="2169" y="766"/>
                  <a:pt x="2165" y="766"/>
                </a:cubicBezTo>
                <a:close/>
                <a:moveTo>
                  <a:pt x="2368" y="560"/>
                </a:moveTo>
                <a:lnTo>
                  <a:pt x="2371" y="559"/>
                </a:lnTo>
                <a:lnTo>
                  <a:pt x="2371" y="559"/>
                </a:lnTo>
                <a:cubicBezTo>
                  <a:pt x="2371" y="558"/>
                  <a:pt x="2370" y="558"/>
                  <a:pt x="2370" y="558"/>
                </a:cubicBezTo>
                <a:lnTo>
                  <a:pt x="2367" y="559"/>
                </a:lnTo>
                <a:lnTo>
                  <a:pt x="2366" y="559"/>
                </a:lnTo>
                <a:cubicBezTo>
                  <a:pt x="2366" y="559"/>
                  <a:pt x="2367" y="560"/>
                  <a:pt x="2368" y="560"/>
                </a:cubicBezTo>
                <a:close/>
                <a:moveTo>
                  <a:pt x="2183" y="619"/>
                </a:moveTo>
                <a:cubicBezTo>
                  <a:pt x="2183" y="619"/>
                  <a:pt x="2184" y="618"/>
                  <a:pt x="2185" y="617"/>
                </a:cubicBezTo>
                <a:cubicBezTo>
                  <a:pt x="2186" y="615"/>
                  <a:pt x="2186" y="614"/>
                  <a:pt x="2186" y="612"/>
                </a:cubicBezTo>
                <a:lnTo>
                  <a:pt x="2186" y="610"/>
                </a:lnTo>
                <a:cubicBezTo>
                  <a:pt x="2185" y="609"/>
                  <a:pt x="2184" y="608"/>
                  <a:pt x="2182" y="608"/>
                </a:cubicBezTo>
                <a:cubicBezTo>
                  <a:pt x="2181" y="608"/>
                  <a:pt x="2181" y="608"/>
                  <a:pt x="2181" y="609"/>
                </a:cubicBezTo>
                <a:cubicBezTo>
                  <a:pt x="2181" y="609"/>
                  <a:pt x="2181" y="610"/>
                  <a:pt x="2182" y="611"/>
                </a:cubicBezTo>
                <a:cubicBezTo>
                  <a:pt x="2183" y="612"/>
                  <a:pt x="2183" y="614"/>
                  <a:pt x="2183" y="615"/>
                </a:cubicBezTo>
                <a:lnTo>
                  <a:pt x="2183" y="619"/>
                </a:lnTo>
                <a:close/>
                <a:moveTo>
                  <a:pt x="2240" y="442"/>
                </a:moveTo>
                <a:cubicBezTo>
                  <a:pt x="2240" y="442"/>
                  <a:pt x="2242" y="441"/>
                  <a:pt x="2246" y="439"/>
                </a:cubicBezTo>
                <a:cubicBezTo>
                  <a:pt x="2251" y="436"/>
                  <a:pt x="2254" y="433"/>
                  <a:pt x="2254" y="432"/>
                </a:cubicBezTo>
                <a:cubicBezTo>
                  <a:pt x="2254" y="431"/>
                  <a:pt x="2254" y="431"/>
                  <a:pt x="2254" y="430"/>
                </a:cubicBezTo>
                <a:cubicBezTo>
                  <a:pt x="2254" y="429"/>
                  <a:pt x="2254" y="429"/>
                  <a:pt x="2253" y="429"/>
                </a:cubicBezTo>
                <a:cubicBezTo>
                  <a:pt x="2252" y="429"/>
                  <a:pt x="2249" y="432"/>
                  <a:pt x="2245" y="436"/>
                </a:cubicBezTo>
                <a:cubicBezTo>
                  <a:pt x="2242" y="440"/>
                  <a:pt x="2240" y="442"/>
                  <a:pt x="2240" y="442"/>
                </a:cubicBezTo>
                <a:close/>
                <a:moveTo>
                  <a:pt x="2196" y="539"/>
                </a:moveTo>
                <a:cubicBezTo>
                  <a:pt x="2198" y="539"/>
                  <a:pt x="2200" y="535"/>
                  <a:pt x="2204" y="528"/>
                </a:cubicBezTo>
                <a:cubicBezTo>
                  <a:pt x="2205" y="523"/>
                  <a:pt x="2206" y="520"/>
                  <a:pt x="2206" y="519"/>
                </a:cubicBezTo>
                <a:cubicBezTo>
                  <a:pt x="2206" y="518"/>
                  <a:pt x="2206" y="518"/>
                  <a:pt x="2206" y="518"/>
                </a:cubicBezTo>
                <a:cubicBezTo>
                  <a:pt x="2205" y="518"/>
                  <a:pt x="2205" y="518"/>
                  <a:pt x="2205" y="518"/>
                </a:cubicBezTo>
                <a:cubicBezTo>
                  <a:pt x="2205" y="518"/>
                  <a:pt x="2204" y="519"/>
                  <a:pt x="2204" y="519"/>
                </a:cubicBezTo>
                <a:cubicBezTo>
                  <a:pt x="2203" y="519"/>
                  <a:pt x="2203" y="520"/>
                  <a:pt x="2203" y="520"/>
                </a:cubicBezTo>
                <a:lnTo>
                  <a:pt x="2203" y="521"/>
                </a:lnTo>
                <a:cubicBezTo>
                  <a:pt x="2203" y="523"/>
                  <a:pt x="2203" y="524"/>
                  <a:pt x="2202" y="526"/>
                </a:cubicBezTo>
                <a:cubicBezTo>
                  <a:pt x="2201" y="527"/>
                  <a:pt x="2201" y="529"/>
                  <a:pt x="2200" y="530"/>
                </a:cubicBezTo>
                <a:cubicBezTo>
                  <a:pt x="2199" y="532"/>
                  <a:pt x="2198" y="532"/>
                  <a:pt x="2197" y="532"/>
                </a:cubicBezTo>
                <a:cubicBezTo>
                  <a:pt x="2197" y="532"/>
                  <a:pt x="2196" y="533"/>
                  <a:pt x="2196" y="534"/>
                </a:cubicBezTo>
                <a:lnTo>
                  <a:pt x="2197" y="535"/>
                </a:lnTo>
                <a:cubicBezTo>
                  <a:pt x="2197" y="536"/>
                  <a:pt x="2196" y="537"/>
                  <a:pt x="2195" y="538"/>
                </a:cubicBezTo>
                <a:lnTo>
                  <a:pt x="2194" y="539"/>
                </a:lnTo>
                <a:cubicBezTo>
                  <a:pt x="2194" y="539"/>
                  <a:pt x="2194" y="539"/>
                  <a:pt x="2196" y="539"/>
                </a:cubicBezTo>
                <a:close/>
                <a:moveTo>
                  <a:pt x="2191" y="553"/>
                </a:moveTo>
                <a:cubicBezTo>
                  <a:pt x="2192" y="553"/>
                  <a:pt x="2194" y="552"/>
                  <a:pt x="2194" y="550"/>
                </a:cubicBezTo>
                <a:lnTo>
                  <a:pt x="2195" y="547"/>
                </a:lnTo>
                <a:lnTo>
                  <a:pt x="2195" y="546"/>
                </a:lnTo>
                <a:lnTo>
                  <a:pt x="2192" y="549"/>
                </a:lnTo>
                <a:cubicBezTo>
                  <a:pt x="2190" y="550"/>
                  <a:pt x="2189" y="551"/>
                  <a:pt x="2189" y="552"/>
                </a:cubicBezTo>
                <a:cubicBezTo>
                  <a:pt x="2189" y="553"/>
                  <a:pt x="2190" y="553"/>
                  <a:pt x="2191" y="553"/>
                </a:cubicBezTo>
                <a:close/>
                <a:moveTo>
                  <a:pt x="2186" y="608"/>
                </a:moveTo>
                <a:cubicBezTo>
                  <a:pt x="2188" y="608"/>
                  <a:pt x="2191" y="602"/>
                  <a:pt x="2195" y="589"/>
                </a:cubicBezTo>
                <a:cubicBezTo>
                  <a:pt x="2208" y="557"/>
                  <a:pt x="2221" y="529"/>
                  <a:pt x="2235" y="506"/>
                </a:cubicBezTo>
                <a:cubicBezTo>
                  <a:pt x="2241" y="495"/>
                  <a:pt x="2244" y="488"/>
                  <a:pt x="2244" y="486"/>
                </a:cubicBezTo>
                <a:cubicBezTo>
                  <a:pt x="2244" y="484"/>
                  <a:pt x="2245" y="482"/>
                  <a:pt x="2246" y="480"/>
                </a:cubicBezTo>
                <a:cubicBezTo>
                  <a:pt x="2247" y="478"/>
                  <a:pt x="2247" y="476"/>
                  <a:pt x="2247" y="475"/>
                </a:cubicBezTo>
                <a:lnTo>
                  <a:pt x="2247" y="474"/>
                </a:lnTo>
                <a:cubicBezTo>
                  <a:pt x="2246" y="474"/>
                  <a:pt x="2242" y="480"/>
                  <a:pt x="2237" y="490"/>
                </a:cubicBezTo>
                <a:cubicBezTo>
                  <a:pt x="2231" y="501"/>
                  <a:pt x="2228" y="508"/>
                  <a:pt x="2228" y="510"/>
                </a:cubicBezTo>
                <a:cubicBezTo>
                  <a:pt x="2228" y="512"/>
                  <a:pt x="2227" y="513"/>
                  <a:pt x="2226" y="513"/>
                </a:cubicBezTo>
                <a:lnTo>
                  <a:pt x="2224" y="512"/>
                </a:lnTo>
                <a:lnTo>
                  <a:pt x="2225" y="514"/>
                </a:lnTo>
                <a:cubicBezTo>
                  <a:pt x="2225" y="515"/>
                  <a:pt x="2224" y="517"/>
                  <a:pt x="2222" y="518"/>
                </a:cubicBezTo>
                <a:cubicBezTo>
                  <a:pt x="2220" y="520"/>
                  <a:pt x="2219" y="522"/>
                  <a:pt x="2218" y="526"/>
                </a:cubicBezTo>
                <a:cubicBezTo>
                  <a:pt x="2218" y="531"/>
                  <a:pt x="2217" y="534"/>
                  <a:pt x="2217" y="534"/>
                </a:cubicBezTo>
                <a:lnTo>
                  <a:pt x="2215" y="534"/>
                </a:lnTo>
                <a:cubicBezTo>
                  <a:pt x="2214" y="534"/>
                  <a:pt x="2214" y="534"/>
                  <a:pt x="2214" y="534"/>
                </a:cubicBezTo>
                <a:lnTo>
                  <a:pt x="2215" y="539"/>
                </a:lnTo>
                <a:lnTo>
                  <a:pt x="2212" y="538"/>
                </a:lnTo>
                <a:lnTo>
                  <a:pt x="2213" y="543"/>
                </a:lnTo>
                <a:cubicBezTo>
                  <a:pt x="2213" y="543"/>
                  <a:pt x="2213" y="544"/>
                  <a:pt x="2212" y="544"/>
                </a:cubicBezTo>
                <a:lnTo>
                  <a:pt x="2210" y="542"/>
                </a:lnTo>
                <a:cubicBezTo>
                  <a:pt x="2209" y="542"/>
                  <a:pt x="2209" y="542"/>
                  <a:pt x="2209" y="543"/>
                </a:cubicBezTo>
                <a:lnTo>
                  <a:pt x="2210" y="545"/>
                </a:lnTo>
                <a:cubicBezTo>
                  <a:pt x="2210" y="546"/>
                  <a:pt x="2210" y="546"/>
                  <a:pt x="2209" y="546"/>
                </a:cubicBezTo>
                <a:cubicBezTo>
                  <a:pt x="2208" y="546"/>
                  <a:pt x="2207" y="546"/>
                  <a:pt x="2207" y="547"/>
                </a:cubicBezTo>
                <a:lnTo>
                  <a:pt x="2208" y="550"/>
                </a:lnTo>
                <a:cubicBezTo>
                  <a:pt x="2208" y="550"/>
                  <a:pt x="2207" y="551"/>
                  <a:pt x="2207" y="551"/>
                </a:cubicBezTo>
                <a:cubicBezTo>
                  <a:pt x="2206" y="551"/>
                  <a:pt x="2205" y="551"/>
                  <a:pt x="2205" y="552"/>
                </a:cubicBezTo>
                <a:lnTo>
                  <a:pt x="2206" y="556"/>
                </a:lnTo>
                <a:cubicBezTo>
                  <a:pt x="2206" y="556"/>
                  <a:pt x="2205" y="558"/>
                  <a:pt x="2205" y="559"/>
                </a:cubicBezTo>
                <a:cubicBezTo>
                  <a:pt x="2204" y="561"/>
                  <a:pt x="2203" y="561"/>
                  <a:pt x="2202" y="561"/>
                </a:cubicBezTo>
                <a:lnTo>
                  <a:pt x="2202" y="561"/>
                </a:lnTo>
                <a:cubicBezTo>
                  <a:pt x="2201" y="561"/>
                  <a:pt x="2201" y="561"/>
                  <a:pt x="2201" y="562"/>
                </a:cubicBezTo>
                <a:lnTo>
                  <a:pt x="2202" y="566"/>
                </a:lnTo>
                <a:cubicBezTo>
                  <a:pt x="2202" y="566"/>
                  <a:pt x="2202" y="567"/>
                  <a:pt x="2202" y="567"/>
                </a:cubicBezTo>
                <a:lnTo>
                  <a:pt x="2198" y="565"/>
                </a:lnTo>
                <a:lnTo>
                  <a:pt x="2198" y="565"/>
                </a:lnTo>
                <a:lnTo>
                  <a:pt x="2199" y="570"/>
                </a:lnTo>
                <a:cubicBezTo>
                  <a:pt x="2199" y="571"/>
                  <a:pt x="2199" y="571"/>
                  <a:pt x="2198" y="571"/>
                </a:cubicBezTo>
                <a:cubicBezTo>
                  <a:pt x="2196" y="571"/>
                  <a:pt x="2196" y="571"/>
                  <a:pt x="2196" y="569"/>
                </a:cubicBezTo>
                <a:cubicBezTo>
                  <a:pt x="2196" y="568"/>
                  <a:pt x="2195" y="567"/>
                  <a:pt x="2195" y="567"/>
                </a:cubicBezTo>
                <a:cubicBezTo>
                  <a:pt x="2194" y="567"/>
                  <a:pt x="2194" y="568"/>
                  <a:pt x="2194" y="569"/>
                </a:cubicBezTo>
                <a:cubicBezTo>
                  <a:pt x="2194" y="570"/>
                  <a:pt x="2194" y="571"/>
                  <a:pt x="2196" y="573"/>
                </a:cubicBezTo>
                <a:cubicBezTo>
                  <a:pt x="2197" y="574"/>
                  <a:pt x="2198" y="576"/>
                  <a:pt x="2198" y="576"/>
                </a:cubicBezTo>
                <a:lnTo>
                  <a:pt x="2198" y="576"/>
                </a:lnTo>
                <a:lnTo>
                  <a:pt x="2192" y="574"/>
                </a:lnTo>
                <a:cubicBezTo>
                  <a:pt x="2192" y="575"/>
                  <a:pt x="2192" y="576"/>
                  <a:pt x="2194" y="577"/>
                </a:cubicBezTo>
                <a:cubicBezTo>
                  <a:pt x="2195" y="579"/>
                  <a:pt x="2196" y="580"/>
                  <a:pt x="2196" y="580"/>
                </a:cubicBezTo>
                <a:cubicBezTo>
                  <a:pt x="2195" y="580"/>
                  <a:pt x="2195" y="580"/>
                  <a:pt x="2194" y="580"/>
                </a:cubicBezTo>
                <a:cubicBezTo>
                  <a:pt x="2193" y="579"/>
                  <a:pt x="2193" y="579"/>
                  <a:pt x="2192" y="579"/>
                </a:cubicBezTo>
                <a:cubicBezTo>
                  <a:pt x="2190" y="579"/>
                  <a:pt x="2189" y="581"/>
                  <a:pt x="2189" y="584"/>
                </a:cubicBezTo>
                <a:cubicBezTo>
                  <a:pt x="2189" y="585"/>
                  <a:pt x="2189" y="587"/>
                  <a:pt x="2190" y="588"/>
                </a:cubicBezTo>
                <a:cubicBezTo>
                  <a:pt x="2190" y="589"/>
                  <a:pt x="2190" y="590"/>
                  <a:pt x="2190" y="591"/>
                </a:cubicBezTo>
                <a:cubicBezTo>
                  <a:pt x="2190" y="592"/>
                  <a:pt x="2190" y="592"/>
                  <a:pt x="2189" y="592"/>
                </a:cubicBezTo>
                <a:cubicBezTo>
                  <a:pt x="2188" y="592"/>
                  <a:pt x="2188" y="592"/>
                  <a:pt x="2188" y="593"/>
                </a:cubicBezTo>
                <a:lnTo>
                  <a:pt x="2189" y="596"/>
                </a:lnTo>
                <a:cubicBezTo>
                  <a:pt x="2189" y="596"/>
                  <a:pt x="2189" y="597"/>
                  <a:pt x="2188" y="597"/>
                </a:cubicBezTo>
                <a:lnTo>
                  <a:pt x="2184" y="595"/>
                </a:lnTo>
                <a:lnTo>
                  <a:pt x="2183" y="595"/>
                </a:lnTo>
                <a:lnTo>
                  <a:pt x="2187" y="603"/>
                </a:lnTo>
                <a:lnTo>
                  <a:pt x="2187" y="604"/>
                </a:lnTo>
                <a:cubicBezTo>
                  <a:pt x="2186" y="604"/>
                  <a:pt x="2185" y="603"/>
                  <a:pt x="2184" y="601"/>
                </a:cubicBezTo>
                <a:cubicBezTo>
                  <a:pt x="2182" y="600"/>
                  <a:pt x="2181" y="599"/>
                  <a:pt x="2181" y="599"/>
                </a:cubicBezTo>
                <a:cubicBezTo>
                  <a:pt x="2181" y="600"/>
                  <a:pt x="2182" y="601"/>
                  <a:pt x="2183" y="604"/>
                </a:cubicBezTo>
                <a:cubicBezTo>
                  <a:pt x="2184" y="607"/>
                  <a:pt x="2185" y="608"/>
                  <a:pt x="2186" y="608"/>
                </a:cubicBezTo>
                <a:close/>
                <a:moveTo>
                  <a:pt x="2180" y="590"/>
                </a:moveTo>
                <a:cubicBezTo>
                  <a:pt x="2180" y="590"/>
                  <a:pt x="2180" y="590"/>
                  <a:pt x="2180" y="590"/>
                </a:cubicBezTo>
                <a:lnTo>
                  <a:pt x="2179" y="586"/>
                </a:lnTo>
                <a:cubicBezTo>
                  <a:pt x="2179" y="585"/>
                  <a:pt x="2179" y="585"/>
                  <a:pt x="2180" y="585"/>
                </a:cubicBezTo>
                <a:cubicBezTo>
                  <a:pt x="2181" y="585"/>
                  <a:pt x="2181" y="584"/>
                  <a:pt x="2181" y="583"/>
                </a:cubicBezTo>
                <a:lnTo>
                  <a:pt x="2180" y="579"/>
                </a:lnTo>
                <a:cubicBezTo>
                  <a:pt x="2180" y="579"/>
                  <a:pt x="2181" y="579"/>
                  <a:pt x="2181" y="579"/>
                </a:cubicBezTo>
                <a:lnTo>
                  <a:pt x="2183" y="580"/>
                </a:lnTo>
                <a:cubicBezTo>
                  <a:pt x="2184" y="580"/>
                  <a:pt x="2184" y="580"/>
                  <a:pt x="2184" y="579"/>
                </a:cubicBezTo>
                <a:cubicBezTo>
                  <a:pt x="2184" y="579"/>
                  <a:pt x="2184" y="578"/>
                  <a:pt x="2184" y="577"/>
                </a:cubicBezTo>
                <a:cubicBezTo>
                  <a:pt x="2183" y="576"/>
                  <a:pt x="2183" y="575"/>
                  <a:pt x="2182" y="575"/>
                </a:cubicBezTo>
                <a:cubicBezTo>
                  <a:pt x="2181" y="575"/>
                  <a:pt x="2180" y="576"/>
                  <a:pt x="2179" y="579"/>
                </a:cubicBezTo>
                <a:cubicBezTo>
                  <a:pt x="2178" y="582"/>
                  <a:pt x="2177" y="584"/>
                  <a:pt x="2177" y="586"/>
                </a:cubicBezTo>
                <a:cubicBezTo>
                  <a:pt x="2177" y="588"/>
                  <a:pt x="2178" y="590"/>
                  <a:pt x="2180" y="590"/>
                </a:cubicBezTo>
                <a:close/>
                <a:moveTo>
                  <a:pt x="2177" y="644"/>
                </a:moveTo>
                <a:cubicBezTo>
                  <a:pt x="2178" y="643"/>
                  <a:pt x="2179" y="641"/>
                  <a:pt x="2179" y="638"/>
                </a:cubicBezTo>
                <a:lnTo>
                  <a:pt x="2179" y="637"/>
                </a:lnTo>
                <a:cubicBezTo>
                  <a:pt x="2179" y="634"/>
                  <a:pt x="2180" y="634"/>
                  <a:pt x="2180" y="634"/>
                </a:cubicBezTo>
                <a:cubicBezTo>
                  <a:pt x="2181" y="634"/>
                  <a:pt x="2182" y="633"/>
                  <a:pt x="2182" y="632"/>
                </a:cubicBezTo>
                <a:lnTo>
                  <a:pt x="2181" y="631"/>
                </a:lnTo>
                <a:cubicBezTo>
                  <a:pt x="2181" y="630"/>
                  <a:pt x="2180" y="630"/>
                  <a:pt x="2180" y="630"/>
                </a:cubicBezTo>
                <a:cubicBezTo>
                  <a:pt x="2179" y="630"/>
                  <a:pt x="2178" y="631"/>
                  <a:pt x="2178" y="632"/>
                </a:cubicBezTo>
                <a:cubicBezTo>
                  <a:pt x="2177" y="633"/>
                  <a:pt x="2177" y="634"/>
                  <a:pt x="2177" y="636"/>
                </a:cubicBezTo>
                <a:lnTo>
                  <a:pt x="2178" y="641"/>
                </a:lnTo>
                <a:cubicBezTo>
                  <a:pt x="2178" y="642"/>
                  <a:pt x="2178" y="642"/>
                  <a:pt x="2178" y="642"/>
                </a:cubicBezTo>
                <a:lnTo>
                  <a:pt x="2175" y="641"/>
                </a:lnTo>
                <a:cubicBezTo>
                  <a:pt x="2174" y="641"/>
                  <a:pt x="2174" y="642"/>
                  <a:pt x="2174" y="643"/>
                </a:cubicBezTo>
                <a:cubicBezTo>
                  <a:pt x="2174" y="644"/>
                  <a:pt x="2174" y="644"/>
                  <a:pt x="2176" y="644"/>
                </a:cubicBezTo>
                <a:lnTo>
                  <a:pt x="2177" y="644"/>
                </a:lnTo>
                <a:close/>
                <a:moveTo>
                  <a:pt x="2169" y="663"/>
                </a:moveTo>
                <a:cubicBezTo>
                  <a:pt x="2170" y="663"/>
                  <a:pt x="2171" y="661"/>
                  <a:pt x="2173" y="658"/>
                </a:cubicBezTo>
                <a:lnTo>
                  <a:pt x="2175" y="655"/>
                </a:lnTo>
                <a:lnTo>
                  <a:pt x="2175" y="654"/>
                </a:lnTo>
                <a:lnTo>
                  <a:pt x="2173" y="655"/>
                </a:lnTo>
                <a:cubicBezTo>
                  <a:pt x="2172" y="655"/>
                  <a:pt x="2172" y="655"/>
                  <a:pt x="2172" y="654"/>
                </a:cubicBezTo>
                <a:cubicBezTo>
                  <a:pt x="2171" y="653"/>
                  <a:pt x="2171" y="653"/>
                  <a:pt x="2171" y="653"/>
                </a:cubicBezTo>
                <a:cubicBezTo>
                  <a:pt x="2171" y="653"/>
                  <a:pt x="2170" y="654"/>
                  <a:pt x="2170" y="657"/>
                </a:cubicBezTo>
                <a:cubicBezTo>
                  <a:pt x="2169" y="659"/>
                  <a:pt x="2168" y="661"/>
                  <a:pt x="2168" y="662"/>
                </a:cubicBezTo>
                <a:lnTo>
                  <a:pt x="2169" y="663"/>
                </a:lnTo>
                <a:close/>
                <a:moveTo>
                  <a:pt x="2170" y="613"/>
                </a:moveTo>
                <a:cubicBezTo>
                  <a:pt x="2171" y="613"/>
                  <a:pt x="2171" y="612"/>
                  <a:pt x="2171" y="612"/>
                </a:cubicBezTo>
                <a:lnTo>
                  <a:pt x="2170" y="607"/>
                </a:lnTo>
                <a:cubicBezTo>
                  <a:pt x="2170" y="606"/>
                  <a:pt x="2170" y="606"/>
                  <a:pt x="2170" y="606"/>
                </a:cubicBezTo>
                <a:lnTo>
                  <a:pt x="2171" y="607"/>
                </a:lnTo>
                <a:cubicBezTo>
                  <a:pt x="2172" y="607"/>
                  <a:pt x="2173" y="606"/>
                  <a:pt x="2174" y="605"/>
                </a:cubicBezTo>
                <a:cubicBezTo>
                  <a:pt x="2175" y="603"/>
                  <a:pt x="2175" y="602"/>
                  <a:pt x="2176" y="600"/>
                </a:cubicBezTo>
                <a:cubicBezTo>
                  <a:pt x="2176" y="598"/>
                  <a:pt x="2177" y="596"/>
                  <a:pt x="2177" y="595"/>
                </a:cubicBezTo>
                <a:cubicBezTo>
                  <a:pt x="2177" y="594"/>
                  <a:pt x="2176" y="593"/>
                  <a:pt x="2176" y="592"/>
                </a:cubicBezTo>
                <a:lnTo>
                  <a:pt x="2176" y="592"/>
                </a:lnTo>
                <a:cubicBezTo>
                  <a:pt x="2174" y="592"/>
                  <a:pt x="2173" y="594"/>
                  <a:pt x="2171" y="599"/>
                </a:cubicBezTo>
                <a:cubicBezTo>
                  <a:pt x="2169" y="604"/>
                  <a:pt x="2168" y="607"/>
                  <a:pt x="2168" y="610"/>
                </a:cubicBezTo>
                <a:lnTo>
                  <a:pt x="2168" y="611"/>
                </a:lnTo>
                <a:cubicBezTo>
                  <a:pt x="2169" y="612"/>
                  <a:pt x="2170" y="613"/>
                  <a:pt x="2170" y="613"/>
                </a:cubicBezTo>
                <a:close/>
                <a:moveTo>
                  <a:pt x="2169" y="592"/>
                </a:moveTo>
                <a:lnTo>
                  <a:pt x="2171" y="592"/>
                </a:lnTo>
                <a:cubicBezTo>
                  <a:pt x="2171" y="591"/>
                  <a:pt x="2171" y="591"/>
                  <a:pt x="2170" y="590"/>
                </a:cubicBezTo>
                <a:cubicBezTo>
                  <a:pt x="2168" y="590"/>
                  <a:pt x="2168" y="590"/>
                  <a:pt x="2168" y="589"/>
                </a:cubicBezTo>
                <a:cubicBezTo>
                  <a:pt x="2168" y="589"/>
                  <a:pt x="2168" y="588"/>
                  <a:pt x="2170" y="587"/>
                </a:cubicBezTo>
                <a:cubicBezTo>
                  <a:pt x="2171" y="587"/>
                  <a:pt x="2171" y="586"/>
                  <a:pt x="2171" y="586"/>
                </a:cubicBezTo>
                <a:cubicBezTo>
                  <a:pt x="2171" y="586"/>
                  <a:pt x="2170" y="585"/>
                  <a:pt x="2169" y="585"/>
                </a:cubicBezTo>
                <a:cubicBezTo>
                  <a:pt x="2168" y="585"/>
                  <a:pt x="2167" y="586"/>
                  <a:pt x="2166" y="586"/>
                </a:cubicBezTo>
                <a:cubicBezTo>
                  <a:pt x="2165" y="587"/>
                  <a:pt x="2165" y="588"/>
                  <a:pt x="2165" y="588"/>
                </a:cubicBezTo>
                <a:cubicBezTo>
                  <a:pt x="2165" y="589"/>
                  <a:pt x="2165" y="590"/>
                  <a:pt x="2166" y="591"/>
                </a:cubicBezTo>
                <a:cubicBezTo>
                  <a:pt x="2167" y="592"/>
                  <a:pt x="2168" y="592"/>
                  <a:pt x="2169" y="592"/>
                </a:cubicBezTo>
                <a:close/>
                <a:moveTo>
                  <a:pt x="2165" y="625"/>
                </a:moveTo>
                <a:cubicBezTo>
                  <a:pt x="2166" y="625"/>
                  <a:pt x="2167" y="623"/>
                  <a:pt x="2168" y="620"/>
                </a:cubicBezTo>
                <a:lnTo>
                  <a:pt x="2169" y="618"/>
                </a:lnTo>
                <a:cubicBezTo>
                  <a:pt x="2169" y="615"/>
                  <a:pt x="2168" y="614"/>
                  <a:pt x="2167" y="614"/>
                </a:cubicBezTo>
                <a:cubicBezTo>
                  <a:pt x="2166" y="614"/>
                  <a:pt x="2165" y="615"/>
                  <a:pt x="2165" y="616"/>
                </a:cubicBezTo>
                <a:cubicBezTo>
                  <a:pt x="2164" y="618"/>
                  <a:pt x="2163" y="620"/>
                  <a:pt x="2163" y="621"/>
                </a:cubicBezTo>
                <a:cubicBezTo>
                  <a:pt x="2163" y="623"/>
                  <a:pt x="2164" y="624"/>
                  <a:pt x="2165" y="625"/>
                </a:cubicBezTo>
                <a:close/>
                <a:moveTo>
                  <a:pt x="2153" y="737"/>
                </a:moveTo>
                <a:lnTo>
                  <a:pt x="2153" y="735"/>
                </a:lnTo>
                <a:cubicBezTo>
                  <a:pt x="2154" y="733"/>
                  <a:pt x="2154" y="732"/>
                  <a:pt x="2155" y="732"/>
                </a:cubicBezTo>
                <a:cubicBezTo>
                  <a:pt x="2155" y="731"/>
                  <a:pt x="2156" y="730"/>
                  <a:pt x="2157" y="730"/>
                </a:cubicBezTo>
                <a:cubicBezTo>
                  <a:pt x="2158" y="730"/>
                  <a:pt x="2158" y="729"/>
                  <a:pt x="2158" y="729"/>
                </a:cubicBezTo>
                <a:cubicBezTo>
                  <a:pt x="2158" y="729"/>
                  <a:pt x="2158" y="728"/>
                  <a:pt x="2157" y="728"/>
                </a:cubicBezTo>
                <a:cubicBezTo>
                  <a:pt x="2157" y="727"/>
                  <a:pt x="2157" y="726"/>
                  <a:pt x="2157" y="724"/>
                </a:cubicBezTo>
                <a:cubicBezTo>
                  <a:pt x="2157" y="718"/>
                  <a:pt x="2160" y="706"/>
                  <a:pt x="2166" y="688"/>
                </a:cubicBezTo>
                <a:cubicBezTo>
                  <a:pt x="2167" y="686"/>
                  <a:pt x="2167" y="684"/>
                  <a:pt x="2167" y="683"/>
                </a:cubicBezTo>
                <a:cubicBezTo>
                  <a:pt x="2167" y="681"/>
                  <a:pt x="2167" y="679"/>
                  <a:pt x="2166" y="679"/>
                </a:cubicBezTo>
                <a:cubicBezTo>
                  <a:pt x="2165" y="678"/>
                  <a:pt x="2164" y="677"/>
                  <a:pt x="2164" y="677"/>
                </a:cubicBezTo>
                <a:cubicBezTo>
                  <a:pt x="2163" y="677"/>
                  <a:pt x="2163" y="678"/>
                  <a:pt x="2163" y="678"/>
                </a:cubicBezTo>
                <a:lnTo>
                  <a:pt x="2164" y="683"/>
                </a:lnTo>
                <a:cubicBezTo>
                  <a:pt x="2164" y="685"/>
                  <a:pt x="2163" y="686"/>
                  <a:pt x="2163" y="687"/>
                </a:cubicBezTo>
                <a:cubicBezTo>
                  <a:pt x="2162" y="687"/>
                  <a:pt x="2160" y="691"/>
                  <a:pt x="2159" y="696"/>
                </a:cubicBezTo>
                <a:cubicBezTo>
                  <a:pt x="2157" y="702"/>
                  <a:pt x="2156" y="708"/>
                  <a:pt x="2155" y="715"/>
                </a:cubicBezTo>
                <a:cubicBezTo>
                  <a:pt x="2153" y="722"/>
                  <a:pt x="2153" y="727"/>
                  <a:pt x="2153" y="730"/>
                </a:cubicBezTo>
                <a:cubicBezTo>
                  <a:pt x="2153" y="735"/>
                  <a:pt x="2153" y="737"/>
                  <a:pt x="2153" y="737"/>
                </a:cubicBezTo>
                <a:close/>
                <a:moveTo>
                  <a:pt x="2168" y="762"/>
                </a:moveTo>
                <a:cubicBezTo>
                  <a:pt x="2169" y="762"/>
                  <a:pt x="2169" y="761"/>
                  <a:pt x="2169" y="759"/>
                </a:cubicBezTo>
                <a:cubicBezTo>
                  <a:pt x="2169" y="758"/>
                  <a:pt x="2169" y="757"/>
                  <a:pt x="2167" y="757"/>
                </a:cubicBezTo>
                <a:cubicBezTo>
                  <a:pt x="2167" y="757"/>
                  <a:pt x="2166" y="758"/>
                  <a:pt x="2166" y="758"/>
                </a:cubicBezTo>
                <a:cubicBezTo>
                  <a:pt x="2166" y="759"/>
                  <a:pt x="2166" y="759"/>
                  <a:pt x="2167" y="759"/>
                </a:cubicBezTo>
                <a:cubicBezTo>
                  <a:pt x="2167" y="760"/>
                  <a:pt x="2167" y="760"/>
                  <a:pt x="2167" y="761"/>
                </a:cubicBezTo>
                <a:cubicBezTo>
                  <a:pt x="2167" y="761"/>
                  <a:pt x="2168" y="762"/>
                  <a:pt x="2168" y="762"/>
                </a:cubicBezTo>
                <a:close/>
                <a:moveTo>
                  <a:pt x="2168" y="676"/>
                </a:moveTo>
                <a:cubicBezTo>
                  <a:pt x="2171" y="676"/>
                  <a:pt x="2172" y="674"/>
                  <a:pt x="2172" y="669"/>
                </a:cubicBezTo>
                <a:cubicBezTo>
                  <a:pt x="2172" y="667"/>
                  <a:pt x="2172" y="666"/>
                  <a:pt x="2171" y="666"/>
                </a:cubicBezTo>
                <a:cubicBezTo>
                  <a:pt x="2171" y="666"/>
                  <a:pt x="2171" y="667"/>
                  <a:pt x="2170" y="670"/>
                </a:cubicBezTo>
                <a:cubicBezTo>
                  <a:pt x="2169" y="672"/>
                  <a:pt x="2168" y="674"/>
                  <a:pt x="2168" y="674"/>
                </a:cubicBezTo>
                <a:cubicBezTo>
                  <a:pt x="2168" y="674"/>
                  <a:pt x="2167" y="673"/>
                  <a:pt x="2167" y="672"/>
                </a:cubicBezTo>
                <a:cubicBezTo>
                  <a:pt x="2167" y="671"/>
                  <a:pt x="2167" y="671"/>
                  <a:pt x="2167" y="671"/>
                </a:cubicBezTo>
                <a:cubicBezTo>
                  <a:pt x="2166" y="671"/>
                  <a:pt x="2166" y="671"/>
                  <a:pt x="2165" y="671"/>
                </a:cubicBezTo>
                <a:cubicBezTo>
                  <a:pt x="2164" y="671"/>
                  <a:pt x="2164" y="672"/>
                  <a:pt x="2164" y="673"/>
                </a:cubicBezTo>
                <a:cubicBezTo>
                  <a:pt x="2164" y="674"/>
                  <a:pt x="2164" y="674"/>
                  <a:pt x="2166" y="675"/>
                </a:cubicBezTo>
                <a:cubicBezTo>
                  <a:pt x="2167" y="676"/>
                  <a:pt x="2168" y="676"/>
                  <a:pt x="2168" y="676"/>
                </a:cubicBezTo>
                <a:close/>
                <a:moveTo>
                  <a:pt x="2224" y="700"/>
                </a:moveTo>
                <a:cubicBezTo>
                  <a:pt x="2225" y="700"/>
                  <a:pt x="2226" y="698"/>
                  <a:pt x="2228" y="696"/>
                </a:cubicBezTo>
                <a:lnTo>
                  <a:pt x="2230" y="693"/>
                </a:lnTo>
                <a:lnTo>
                  <a:pt x="2227" y="695"/>
                </a:lnTo>
                <a:cubicBezTo>
                  <a:pt x="2225" y="697"/>
                  <a:pt x="2224" y="698"/>
                  <a:pt x="2224" y="699"/>
                </a:cubicBezTo>
                <a:cubicBezTo>
                  <a:pt x="2224" y="700"/>
                  <a:pt x="2224" y="700"/>
                  <a:pt x="2224" y="700"/>
                </a:cubicBezTo>
                <a:close/>
                <a:moveTo>
                  <a:pt x="2172" y="738"/>
                </a:moveTo>
                <a:cubicBezTo>
                  <a:pt x="2174" y="738"/>
                  <a:pt x="2177" y="736"/>
                  <a:pt x="2180" y="732"/>
                </a:cubicBezTo>
                <a:cubicBezTo>
                  <a:pt x="2181" y="731"/>
                  <a:pt x="2185" y="728"/>
                  <a:pt x="2192" y="723"/>
                </a:cubicBezTo>
                <a:cubicBezTo>
                  <a:pt x="2198" y="718"/>
                  <a:pt x="2202" y="714"/>
                  <a:pt x="2202" y="712"/>
                </a:cubicBezTo>
                <a:lnTo>
                  <a:pt x="2202" y="711"/>
                </a:lnTo>
                <a:cubicBezTo>
                  <a:pt x="2202" y="709"/>
                  <a:pt x="2203" y="708"/>
                  <a:pt x="2206" y="708"/>
                </a:cubicBezTo>
                <a:cubicBezTo>
                  <a:pt x="2208" y="708"/>
                  <a:pt x="2210" y="707"/>
                  <a:pt x="2210" y="706"/>
                </a:cubicBezTo>
                <a:cubicBezTo>
                  <a:pt x="2210" y="705"/>
                  <a:pt x="2210" y="704"/>
                  <a:pt x="2211" y="702"/>
                </a:cubicBezTo>
                <a:cubicBezTo>
                  <a:pt x="2211" y="701"/>
                  <a:pt x="2212" y="700"/>
                  <a:pt x="2212" y="700"/>
                </a:cubicBezTo>
                <a:lnTo>
                  <a:pt x="2212" y="703"/>
                </a:lnTo>
                <a:cubicBezTo>
                  <a:pt x="2212" y="704"/>
                  <a:pt x="2212" y="704"/>
                  <a:pt x="2212" y="704"/>
                </a:cubicBezTo>
                <a:cubicBezTo>
                  <a:pt x="2214" y="704"/>
                  <a:pt x="2215" y="703"/>
                  <a:pt x="2217" y="700"/>
                </a:cubicBezTo>
                <a:cubicBezTo>
                  <a:pt x="2220" y="698"/>
                  <a:pt x="2222" y="695"/>
                  <a:pt x="2224" y="691"/>
                </a:cubicBezTo>
                <a:cubicBezTo>
                  <a:pt x="2225" y="688"/>
                  <a:pt x="2227" y="686"/>
                  <a:pt x="2227" y="685"/>
                </a:cubicBezTo>
                <a:cubicBezTo>
                  <a:pt x="2227" y="683"/>
                  <a:pt x="2228" y="681"/>
                  <a:pt x="2230" y="679"/>
                </a:cubicBezTo>
                <a:cubicBezTo>
                  <a:pt x="2232" y="676"/>
                  <a:pt x="2234" y="674"/>
                  <a:pt x="2237" y="672"/>
                </a:cubicBezTo>
                <a:cubicBezTo>
                  <a:pt x="2239" y="670"/>
                  <a:pt x="2240" y="669"/>
                  <a:pt x="2241" y="669"/>
                </a:cubicBezTo>
                <a:cubicBezTo>
                  <a:pt x="2242" y="669"/>
                  <a:pt x="2242" y="670"/>
                  <a:pt x="2242" y="671"/>
                </a:cubicBezTo>
                <a:cubicBezTo>
                  <a:pt x="2242" y="671"/>
                  <a:pt x="2242" y="672"/>
                  <a:pt x="2241" y="674"/>
                </a:cubicBezTo>
                <a:cubicBezTo>
                  <a:pt x="2240" y="675"/>
                  <a:pt x="2239" y="676"/>
                  <a:pt x="2237" y="676"/>
                </a:cubicBezTo>
                <a:lnTo>
                  <a:pt x="2235" y="675"/>
                </a:lnTo>
                <a:cubicBezTo>
                  <a:pt x="2235" y="675"/>
                  <a:pt x="2235" y="675"/>
                  <a:pt x="2235" y="676"/>
                </a:cubicBezTo>
                <a:lnTo>
                  <a:pt x="2236" y="678"/>
                </a:lnTo>
                <a:cubicBezTo>
                  <a:pt x="2236" y="678"/>
                  <a:pt x="2236" y="679"/>
                  <a:pt x="2235" y="679"/>
                </a:cubicBezTo>
                <a:lnTo>
                  <a:pt x="2235" y="679"/>
                </a:lnTo>
                <a:cubicBezTo>
                  <a:pt x="2233" y="679"/>
                  <a:pt x="2232" y="679"/>
                  <a:pt x="2232" y="681"/>
                </a:cubicBezTo>
                <a:lnTo>
                  <a:pt x="2232" y="682"/>
                </a:lnTo>
                <a:cubicBezTo>
                  <a:pt x="2232" y="683"/>
                  <a:pt x="2232" y="683"/>
                  <a:pt x="2231" y="683"/>
                </a:cubicBezTo>
                <a:lnTo>
                  <a:pt x="2230" y="683"/>
                </a:lnTo>
                <a:cubicBezTo>
                  <a:pt x="2229" y="683"/>
                  <a:pt x="2229" y="683"/>
                  <a:pt x="2229" y="685"/>
                </a:cubicBezTo>
                <a:cubicBezTo>
                  <a:pt x="2229" y="686"/>
                  <a:pt x="2229" y="686"/>
                  <a:pt x="2230" y="686"/>
                </a:cubicBezTo>
                <a:cubicBezTo>
                  <a:pt x="2231" y="686"/>
                  <a:pt x="2232" y="685"/>
                  <a:pt x="2234" y="683"/>
                </a:cubicBezTo>
                <a:cubicBezTo>
                  <a:pt x="2239" y="679"/>
                  <a:pt x="2243" y="675"/>
                  <a:pt x="2246" y="670"/>
                </a:cubicBezTo>
                <a:cubicBezTo>
                  <a:pt x="2248" y="667"/>
                  <a:pt x="2250" y="665"/>
                  <a:pt x="2252" y="665"/>
                </a:cubicBezTo>
                <a:cubicBezTo>
                  <a:pt x="2253" y="665"/>
                  <a:pt x="2254" y="665"/>
                  <a:pt x="2254" y="664"/>
                </a:cubicBezTo>
                <a:cubicBezTo>
                  <a:pt x="2254" y="662"/>
                  <a:pt x="2256" y="660"/>
                  <a:pt x="2258" y="657"/>
                </a:cubicBezTo>
                <a:cubicBezTo>
                  <a:pt x="2265" y="648"/>
                  <a:pt x="2270" y="644"/>
                  <a:pt x="2272" y="644"/>
                </a:cubicBezTo>
                <a:cubicBezTo>
                  <a:pt x="2272" y="644"/>
                  <a:pt x="2274" y="642"/>
                  <a:pt x="2276" y="640"/>
                </a:cubicBezTo>
                <a:cubicBezTo>
                  <a:pt x="2278" y="638"/>
                  <a:pt x="2280" y="636"/>
                  <a:pt x="2282" y="633"/>
                </a:cubicBezTo>
                <a:cubicBezTo>
                  <a:pt x="2284" y="631"/>
                  <a:pt x="2284" y="629"/>
                  <a:pt x="2284" y="628"/>
                </a:cubicBezTo>
                <a:lnTo>
                  <a:pt x="2284" y="627"/>
                </a:lnTo>
                <a:cubicBezTo>
                  <a:pt x="2284" y="625"/>
                  <a:pt x="2291" y="619"/>
                  <a:pt x="2303" y="607"/>
                </a:cubicBezTo>
                <a:cubicBezTo>
                  <a:pt x="2308" y="603"/>
                  <a:pt x="2311" y="601"/>
                  <a:pt x="2312" y="601"/>
                </a:cubicBezTo>
                <a:lnTo>
                  <a:pt x="2313" y="601"/>
                </a:lnTo>
                <a:lnTo>
                  <a:pt x="2312" y="604"/>
                </a:lnTo>
                <a:cubicBezTo>
                  <a:pt x="2312" y="605"/>
                  <a:pt x="2313" y="606"/>
                  <a:pt x="2313" y="606"/>
                </a:cubicBezTo>
                <a:cubicBezTo>
                  <a:pt x="2314" y="606"/>
                  <a:pt x="2314" y="607"/>
                  <a:pt x="2314" y="607"/>
                </a:cubicBezTo>
                <a:cubicBezTo>
                  <a:pt x="2314" y="608"/>
                  <a:pt x="2314" y="609"/>
                  <a:pt x="2312" y="610"/>
                </a:cubicBezTo>
                <a:cubicBezTo>
                  <a:pt x="2311" y="611"/>
                  <a:pt x="2310" y="612"/>
                  <a:pt x="2310" y="612"/>
                </a:cubicBezTo>
                <a:lnTo>
                  <a:pt x="2309" y="612"/>
                </a:lnTo>
                <a:lnTo>
                  <a:pt x="2309" y="611"/>
                </a:lnTo>
                <a:cubicBezTo>
                  <a:pt x="2309" y="610"/>
                  <a:pt x="2309" y="608"/>
                  <a:pt x="2307" y="608"/>
                </a:cubicBezTo>
                <a:cubicBezTo>
                  <a:pt x="2306" y="608"/>
                  <a:pt x="2306" y="609"/>
                  <a:pt x="2306" y="611"/>
                </a:cubicBezTo>
                <a:cubicBezTo>
                  <a:pt x="2306" y="612"/>
                  <a:pt x="2305" y="613"/>
                  <a:pt x="2303" y="613"/>
                </a:cubicBezTo>
                <a:lnTo>
                  <a:pt x="2302" y="613"/>
                </a:lnTo>
                <a:cubicBezTo>
                  <a:pt x="2299" y="613"/>
                  <a:pt x="2297" y="615"/>
                  <a:pt x="2293" y="618"/>
                </a:cubicBezTo>
                <a:cubicBezTo>
                  <a:pt x="2291" y="621"/>
                  <a:pt x="2290" y="623"/>
                  <a:pt x="2290" y="624"/>
                </a:cubicBezTo>
                <a:cubicBezTo>
                  <a:pt x="2290" y="625"/>
                  <a:pt x="2291" y="625"/>
                  <a:pt x="2292" y="625"/>
                </a:cubicBezTo>
                <a:cubicBezTo>
                  <a:pt x="2294" y="625"/>
                  <a:pt x="2297" y="624"/>
                  <a:pt x="2302" y="620"/>
                </a:cubicBezTo>
                <a:cubicBezTo>
                  <a:pt x="2304" y="618"/>
                  <a:pt x="2306" y="617"/>
                  <a:pt x="2307" y="617"/>
                </a:cubicBezTo>
                <a:lnTo>
                  <a:pt x="2303" y="624"/>
                </a:lnTo>
                <a:lnTo>
                  <a:pt x="2304" y="625"/>
                </a:lnTo>
                <a:cubicBezTo>
                  <a:pt x="2304" y="626"/>
                  <a:pt x="2303" y="627"/>
                  <a:pt x="2301" y="629"/>
                </a:cubicBezTo>
                <a:cubicBezTo>
                  <a:pt x="2299" y="630"/>
                  <a:pt x="2299" y="631"/>
                  <a:pt x="2298" y="631"/>
                </a:cubicBezTo>
                <a:lnTo>
                  <a:pt x="2299" y="628"/>
                </a:lnTo>
                <a:cubicBezTo>
                  <a:pt x="2299" y="627"/>
                  <a:pt x="2299" y="626"/>
                  <a:pt x="2298" y="626"/>
                </a:cubicBezTo>
                <a:cubicBezTo>
                  <a:pt x="2297" y="626"/>
                  <a:pt x="2296" y="627"/>
                  <a:pt x="2294" y="629"/>
                </a:cubicBezTo>
                <a:cubicBezTo>
                  <a:pt x="2292" y="631"/>
                  <a:pt x="2290" y="633"/>
                  <a:pt x="2289" y="635"/>
                </a:cubicBezTo>
                <a:cubicBezTo>
                  <a:pt x="2287" y="638"/>
                  <a:pt x="2286" y="639"/>
                  <a:pt x="2286" y="640"/>
                </a:cubicBezTo>
                <a:lnTo>
                  <a:pt x="2286" y="642"/>
                </a:lnTo>
                <a:cubicBezTo>
                  <a:pt x="2286" y="642"/>
                  <a:pt x="2286" y="643"/>
                  <a:pt x="2285" y="644"/>
                </a:cubicBezTo>
                <a:lnTo>
                  <a:pt x="2283" y="644"/>
                </a:lnTo>
                <a:lnTo>
                  <a:pt x="2283" y="644"/>
                </a:lnTo>
                <a:lnTo>
                  <a:pt x="2284" y="641"/>
                </a:lnTo>
                <a:cubicBezTo>
                  <a:pt x="2284" y="641"/>
                  <a:pt x="2282" y="642"/>
                  <a:pt x="2279" y="645"/>
                </a:cubicBezTo>
                <a:cubicBezTo>
                  <a:pt x="2276" y="647"/>
                  <a:pt x="2272" y="650"/>
                  <a:pt x="2269" y="654"/>
                </a:cubicBezTo>
                <a:cubicBezTo>
                  <a:pt x="2265" y="658"/>
                  <a:pt x="2261" y="662"/>
                  <a:pt x="2257" y="666"/>
                </a:cubicBezTo>
                <a:lnTo>
                  <a:pt x="2249" y="676"/>
                </a:lnTo>
                <a:cubicBezTo>
                  <a:pt x="2249" y="676"/>
                  <a:pt x="2252" y="673"/>
                  <a:pt x="2257" y="669"/>
                </a:cubicBezTo>
                <a:cubicBezTo>
                  <a:pt x="2270" y="656"/>
                  <a:pt x="2276" y="650"/>
                  <a:pt x="2277" y="650"/>
                </a:cubicBezTo>
                <a:cubicBezTo>
                  <a:pt x="2277" y="650"/>
                  <a:pt x="2276" y="653"/>
                  <a:pt x="2272" y="657"/>
                </a:cubicBezTo>
                <a:cubicBezTo>
                  <a:pt x="2267" y="663"/>
                  <a:pt x="2264" y="667"/>
                  <a:pt x="2264" y="668"/>
                </a:cubicBezTo>
                <a:cubicBezTo>
                  <a:pt x="2265" y="668"/>
                  <a:pt x="2270" y="663"/>
                  <a:pt x="2279" y="654"/>
                </a:cubicBezTo>
                <a:cubicBezTo>
                  <a:pt x="2288" y="645"/>
                  <a:pt x="2292" y="639"/>
                  <a:pt x="2292" y="638"/>
                </a:cubicBezTo>
                <a:lnTo>
                  <a:pt x="2292" y="637"/>
                </a:lnTo>
                <a:cubicBezTo>
                  <a:pt x="2292" y="636"/>
                  <a:pt x="2292" y="636"/>
                  <a:pt x="2293" y="635"/>
                </a:cubicBezTo>
                <a:cubicBezTo>
                  <a:pt x="2294" y="634"/>
                  <a:pt x="2294" y="634"/>
                  <a:pt x="2295" y="634"/>
                </a:cubicBezTo>
                <a:lnTo>
                  <a:pt x="2294" y="637"/>
                </a:lnTo>
                <a:cubicBezTo>
                  <a:pt x="2294" y="638"/>
                  <a:pt x="2295" y="638"/>
                  <a:pt x="2295" y="638"/>
                </a:cubicBezTo>
                <a:cubicBezTo>
                  <a:pt x="2296" y="638"/>
                  <a:pt x="2297" y="637"/>
                  <a:pt x="2300" y="634"/>
                </a:cubicBezTo>
                <a:cubicBezTo>
                  <a:pt x="2302" y="632"/>
                  <a:pt x="2305" y="630"/>
                  <a:pt x="2307" y="627"/>
                </a:cubicBezTo>
                <a:cubicBezTo>
                  <a:pt x="2309" y="624"/>
                  <a:pt x="2310" y="622"/>
                  <a:pt x="2310" y="622"/>
                </a:cubicBezTo>
                <a:lnTo>
                  <a:pt x="2309" y="621"/>
                </a:lnTo>
                <a:cubicBezTo>
                  <a:pt x="2309" y="621"/>
                  <a:pt x="2309" y="620"/>
                  <a:pt x="2310" y="619"/>
                </a:cubicBezTo>
                <a:cubicBezTo>
                  <a:pt x="2311" y="618"/>
                  <a:pt x="2312" y="618"/>
                  <a:pt x="2313" y="618"/>
                </a:cubicBezTo>
                <a:lnTo>
                  <a:pt x="2311" y="621"/>
                </a:lnTo>
                <a:cubicBezTo>
                  <a:pt x="2311" y="622"/>
                  <a:pt x="2311" y="622"/>
                  <a:pt x="2312" y="622"/>
                </a:cubicBezTo>
                <a:cubicBezTo>
                  <a:pt x="2314" y="622"/>
                  <a:pt x="2316" y="620"/>
                  <a:pt x="2319" y="617"/>
                </a:cubicBezTo>
                <a:cubicBezTo>
                  <a:pt x="2322" y="615"/>
                  <a:pt x="2323" y="613"/>
                  <a:pt x="2323" y="611"/>
                </a:cubicBezTo>
                <a:lnTo>
                  <a:pt x="2323" y="610"/>
                </a:lnTo>
                <a:cubicBezTo>
                  <a:pt x="2323" y="608"/>
                  <a:pt x="2323" y="607"/>
                  <a:pt x="2324" y="607"/>
                </a:cubicBezTo>
                <a:cubicBezTo>
                  <a:pt x="2325" y="607"/>
                  <a:pt x="2325" y="606"/>
                  <a:pt x="2326" y="606"/>
                </a:cubicBezTo>
                <a:lnTo>
                  <a:pt x="2326" y="607"/>
                </a:lnTo>
                <a:lnTo>
                  <a:pt x="2324" y="610"/>
                </a:lnTo>
                <a:cubicBezTo>
                  <a:pt x="2324" y="610"/>
                  <a:pt x="2324" y="610"/>
                  <a:pt x="2325" y="610"/>
                </a:cubicBezTo>
                <a:cubicBezTo>
                  <a:pt x="2325" y="610"/>
                  <a:pt x="2326" y="610"/>
                  <a:pt x="2328" y="609"/>
                </a:cubicBezTo>
                <a:cubicBezTo>
                  <a:pt x="2329" y="608"/>
                  <a:pt x="2330" y="608"/>
                  <a:pt x="2332" y="608"/>
                </a:cubicBezTo>
                <a:cubicBezTo>
                  <a:pt x="2333" y="608"/>
                  <a:pt x="2334" y="607"/>
                  <a:pt x="2334" y="607"/>
                </a:cubicBezTo>
                <a:lnTo>
                  <a:pt x="2333" y="604"/>
                </a:lnTo>
                <a:cubicBezTo>
                  <a:pt x="2333" y="602"/>
                  <a:pt x="2334" y="601"/>
                  <a:pt x="2335" y="600"/>
                </a:cubicBezTo>
                <a:cubicBezTo>
                  <a:pt x="2336" y="600"/>
                  <a:pt x="2336" y="600"/>
                  <a:pt x="2337" y="600"/>
                </a:cubicBezTo>
                <a:cubicBezTo>
                  <a:pt x="2337" y="600"/>
                  <a:pt x="2336" y="600"/>
                  <a:pt x="2336" y="601"/>
                </a:cubicBezTo>
                <a:cubicBezTo>
                  <a:pt x="2336" y="601"/>
                  <a:pt x="2336" y="602"/>
                  <a:pt x="2336" y="603"/>
                </a:cubicBezTo>
                <a:cubicBezTo>
                  <a:pt x="2336" y="603"/>
                  <a:pt x="2336" y="604"/>
                  <a:pt x="2337" y="604"/>
                </a:cubicBezTo>
                <a:cubicBezTo>
                  <a:pt x="2338" y="604"/>
                  <a:pt x="2339" y="603"/>
                  <a:pt x="2339" y="601"/>
                </a:cubicBezTo>
                <a:cubicBezTo>
                  <a:pt x="2339" y="600"/>
                  <a:pt x="2340" y="599"/>
                  <a:pt x="2341" y="599"/>
                </a:cubicBezTo>
                <a:cubicBezTo>
                  <a:pt x="2343" y="599"/>
                  <a:pt x="2346" y="597"/>
                  <a:pt x="2353" y="593"/>
                </a:cubicBezTo>
                <a:cubicBezTo>
                  <a:pt x="2368" y="582"/>
                  <a:pt x="2378" y="577"/>
                  <a:pt x="2383" y="577"/>
                </a:cubicBezTo>
                <a:lnTo>
                  <a:pt x="2384" y="577"/>
                </a:lnTo>
                <a:lnTo>
                  <a:pt x="2386" y="578"/>
                </a:lnTo>
                <a:lnTo>
                  <a:pt x="2386" y="577"/>
                </a:lnTo>
                <a:cubicBezTo>
                  <a:pt x="2386" y="577"/>
                  <a:pt x="2386" y="576"/>
                  <a:pt x="2385" y="575"/>
                </a:cubicBezTo>
                <a:cubicBezTo>
                  <a:pt x="2383" y="573"/>
                  <a:pt x="2382" y="572"/>
                  <a:pt x="2380" y="572"/>
                </a:cubicBezTo>
                <a:lnTo>
                  <a:pt x="2375" y="573"/>
                </a:lnTo>
                <a:cubicBezTo>
                  <a:pt x="2375" y="573"/>
                  <a:pt x="2375" y="573"/>
                  <a:pt x="2375" y="572"/>
                </a:cubicBezTo>
                <a:lnTo>
                  <a:pt x="2375" y="571"/>
                </a:lnTo>
                <a:cubicBezTo>
                  <a:pt x="2375" y="571"/>
                  <a:pt x="2374" y="570"/>
                  <a:pt x="2371" y="570"/>
                </a:cubicBezTo>
                <a:cubicBezTo>
                  <a:pt x="2363" y="570"/>
                  <a:pt x="2359" y="571"/>
                  <a:pt x="2359" y="573"/>
                </a:cubicBezTo>
                <a:lnTo>
                  <a:pt x="2361" y="575"/>
                </a:lnTo>
                <a:cubicBezTo>
                  <a:pt x="2361" y="576"/>
                  <a:pt x="2360" y="576"/>
                  <a:pt x="2359" y="576"/>
                </a:cubicBezTo>
                <a:lnTo>
                  <a:pt x="2357" y="575"/>
                </a:lnTo>
                <a:cubicBezTo>
                  <a:pt x="2353" y="575"/>
                  <a:pt x="2351" y="576"/>
                  <a:pt x="2351" y="578"/>
                </a:cubicBezTo>
                <a:lnTo>
                  <a:pt x="2351" y="579"/>
                </a:lnTo>
                <a:cubicBezTo>
                  <a:pt x="2351" y="580"/>
                  <a:pt x="2351" y="581"/>
                  <a:pt x="2350" y="581"/>
                </a:cubicBezTo>
                <a:cubicBezTo>
                  <a:pt x="2349" y="582"/>
                  <a:pt x="2348" y="583"/>
                  <a:pt x="2348" y="583"/>
                </a:cubicBezTo>
                <a:lnTo>
                  <a:pt x="2349" y="580"/>
                </a:lnTo>
                <a:cubicBezTo>
                  <a:pt x="2349" y="578"/>
                  <a:pt x="2348" y="577"/>
                  <a:pt x="2345" y="577"/>
                </a:cubicBezTo>
                <a:cubicBezTo>
                  <a:pt x="2344" y="577"/>
                  <a:pt x="2342" y="578"/>
                  <a:pt x="2340" y="579"/>
                </a:cubicBezTo>
                <a:cubicBezTo>
                  <a:pt x="2338" y="581"/>
                  <a:pt x="2338" y="582"/>
                  <a:pt x="2338" y="583"/>
                </a:cubicBezTo>
                <a:cubicBezTo>
                  <a:pt x="2338" y="583"/>
                  <a:pt x="2338" y="583"/>
                  <a:pt x="2338" y="583"/>
                </a:cubicBezTo>
                <a:cubicBezTo>
                  <a:pt x="2339" y="583"/>
                  <a:pt x="2341" y="582"/>
                  <a:pt x="2342" y="581"/>
                </a:cubicBezTo>
                <a:cubicBezTo>
                  <a:pt x="2344" y="580"/>
                  <a:pt x="2344" y="579"/>
                  <a:pt x="2345" y="579"/>
                </a:cubicBezTo>
                <a:cubicBezTo>
                  <a:pt x="2346" y="579"/>
                  <a:pt x="2346" y="579"/>
                  <a:pt x="2346" y="580"/>
                </a:cubicBezTo>
                <a:cubicBezTo>
                  <a:pt x="2346" y="580"/>
                  <a:pt x="2345" y="581"/>
                  <a:pt x="2344" y="583"/>
                </a:cubicBezTo>
                <a:cubicBezTo>
                  <a:pt x="2343" y="584"/>
                  <a:pt x="2342" y="585"/>
                  <a:pt x="2340" y="586"/>
                </a:cubicBezTo>
                <a:cubicBezTo>
                  <a:pt x="2338" y="588"/>
                  <a:pt x="2336" y="588"/>
                  <a:pt x="2336" y="588"/>
                </a:cubicBezTo>
                <a:cubicBezTo>
                  <a:pt x="2335" y="588"/>
                  <a:pt x="2335" y="588"/>
                  <a:pt x="2335" y="586"/>
                </a:cubicBezTo>
                <a:cubicBezTo>
                  <a:pt x="2335" y="585"/>
                  <a:pt x="2334" y="585"/>
                  <a:pt x="2332" y="585"/>
                </a:cubicBezTo>
                <a:cubicBezTo>
                  <a:pt x="2332" y="585"/>
                  <a:pt x="2331" y="585"/>
                  <a:pt x="2331" y="586"/>
                </a:cubicBezTo>
                <a:lnTo>
                  <a:pt x="2331" y="588"/>
                </a:lnTo>
                <a:cubicBezTo>
                  <a:pt x="2331" y="589"/>
                  <a:pt x="2331" y="590"/>
                  <a:pt x="2330" y="593"/>
                </a:cubicBezTo>
                <a:cubicBezTo>
                  <a:pt x="2329" y="595"/>
                  <a:pt x="2328" y="596"/>
                  <a:pt x="2326" y="598"/>
                </a:cubicBezTo>
                <a:cubicBezTo>
                  <a:pt x="2325" y="599"/>
                  <a:pt x="2324" y="600"/>
                  <a:pt x="2323" y="600"/>
                </a:cubicBezTo>
                <a:lnTo>
                  <a:pt x="2322" y="600"/>
                </a:lnTo>
                <a:cubicBezTo>
                  <a:pt x="2320" y="600"/>
                  <a:pt x="2319" y="601"/>
                  <a:pt x="2318" y="602"/>
                </a:cubicBezTo>
                <a:cubicBezTo>
                  <a:pt x="2316" y="603"/>
                  <a:pt x="2316" y="604"/>
                  <a:pt x="2316" y="604"/>
                </a:cubicBezTo>
                <a:lnTo>
                  <a:pt x="2315" y="603"/>
                </a:lnTo>
                <a:lnTo>
                  <a:pt x="2316" y="600"/>
                </a:lnTo>
                <a:cubicBezTo>
                  <a:pt x="2316" y="599"/>
                  <a:pt x="2316" y="599"/>
                  <a:pt x="2316" y="599"/>
                </a:cubicBezTo>
                <a:cubicBezTo>
                  <a:pt x="2315" y="599"/>
                  <a:pt x="2314" y="599"/>
                  <a:pt x="2314" y="599"/>
                </a:cubicBezTo>
                <a:cubicBezTo>
                  <a:pt x="2314" y="598"/>
                  <a:pt x="2316" y="596"/>
                  <a:pt x="2318" y="593"/>
                </a:cubicBezTo>
                <a:cubicBezTo>
                  <a:pt x="2319" y="591"/>
                  <a:pt x="2320" y="589"/>
                  <a:pt x="2320" y="588"/>
                </a:cubicBezTo>
                <a:cubicBezTo>
                  <a:pt x="2320" y="587"/>
                  <a:pt x="2320" y="587"/>
                  <a:pt x="2319" y="586"/>
                </a:cubicBezTo>
                <a:cubicBezTo>
                  <a:pt x="2319" y="586"/>
                  <a:pt x="2318" y="585"/>
                  <a:pt x="2318" y="584"/>
                </a:cubicBezTo>
                <a:lnTo>
                  <a:pt x="2319" y="582"/>
                </a:lnTo>
                <a:lnTo>
                  <a:pt x="2319" y="581"/>
                </a:lnTo>
                <a:cubicBezTo>
                  <a:pt x="2317" y="581"/>
                  <a:pt x="2313" y="584"/>
                  <a:pt x="2307" y="589"/>
                </a:cubicBezTo>
                <a:cubicBezTo>
                  <a:pt x="2305" y="591"/>
                  <a:pt x="2298" y="598"/>
                  <a:pt x="2286" y="609"/>
                </a:cubicBezTo>
                <a:cubicBezTo>
                  <a:pt x="2274" y="620"/>
                  <a:pt x="2266" y="629"/>
                  <a:pt x="2262" y="634"/>
                </a:cubicBezTo>
                <a:lnTo>
                  <a:pt x="2251" y="646"/>
                </a:lnTo>
                <a:cubicBezTo>
                  <a:pt x="2240" y="657"/>
                  <a:pt x="2233" y="663"/>
                  <a:pt x="2232" y="663"/>
                </a:cubicBezTo>
                <a:cubicBezTo>
                  <a:pt x="2231" y="663"/>
                  <a:pt x="2231" y="663"/>
                  <a:pt x="2231" y="663"/>
                </a:cubicBezTo>
                <a:cubicBezTo>
                  <a:pt x="2231" y="662"/>
                  <a:pt x="2232" y="660"/>
                  <a:pt x="2234" y="658"/>
                </a:cubicBezTo>
                <a:lnTo>
                  <a:pt x="2237" y="654"/>
                </a:lnTo>
                <a:cubicBezTo>
                  <a:pt x="2237" y="654"/>
                  <a:pt x="2235" y="655"/>
                  <a:pt x="2233" y="658"/>
                </a:cubicBezTo>
                <a:cubicBezTo>
                  <a:pt x="2230" y="660"/>
                  <a:pt x="2229" y="662"/>
                  <a:pt x="2229" y="663"/>
                </a:cubicBezTo>
                <a:lnTo>
                  <a:pt x="2229" y="664"/>
                </a:lnTo>
                <a:cubicBezTo>
                  <a:pt x="2229" y="665"/>
                  <a:pt x="2228" y="667"/>
                  <a:pt x="2226" y="669"/>
                </a:cubicBezTo>
                <a:cubicBezTo>
                  <a:pt x="2224" y="671"/>
                  <a:pt x="2223" y="671"/>
                  <a:pt x="2222" y="671"/>
                </a:cubicBezTo>
                <a:cubicBezTo>
                  <a:pt x="2222" y="671"/>
                  <a:pt x="2222" y="671"/>
                  <a:pt x="2222" y="671"/>
                </a:cubicBezTo>
                <a:lnTo>
                  <a:pt x="2222" y="671"/>
                </a:lnTo>
                <a:cubicBezTo>
                  <a:pt x="2220" y="671"/>
                  <a:pt x="2217" y="674"/>
                  <a:pt x="2212" y="680"/>
                </a:cubicBezTo>
                <a:cubicBezTo>
                  <a:pt x="2207" y="686"/>
                  <a:pt x="2204" y="689"/>
                  <a:pt x="2202" y="689"/>
                </a:cubicBezTo>
                <a:lnTo>
                  <a:pt x="2200" y="688"/>
                </a:lnTo>
                <a:lnTo>
                  <a:pt x="2201" y="691"/>
                </a:lnTo>
                <a:cubicBezTo>
                  <a:pt x="2201" y="692"/>
                  <a:pt x="2198" y="695"/>
                  <a:pt x="2193" y="699"/>
                </a:cubicBezTo>
                <a:cubicBezTo>
                  <a:pt x="2187" y="704"/>
                  <a:pt x="2184" y="706"/>
                  <a:pt x="2183" y="706"/>
                </a:cubicBezTo>
                <a:lnTo>
                  <a:pt x="2183" y="705"/>
                </a:lnTo>
                <a:cubicBezTo>
                  <a:pt x="2183" y="705"/>
                  <a:pt x="2183" y="705"/>
                  <a:pt x="2182" y="705"/>
                </a:cubicBezTo>
                <a:cubicBezTo>
                  <a:pt x="2181" y="705"/>
                  <a:pt x="2179" y="708"/>
                  <a:pt x="2175" y="714"/>
                </a:cubicBezTo>
                <a:cubicBezTo>
                  <a:pt x="2173" y="719"/>
                  <a:pt x="2172" y="723"/>
                  <a:pt x="2172" y="727"/>
                </a:cubicBezTo>
                <a:cubicBezTo>
                  <a:pt x="2172" y="727"/>
                  <a:pt x="2172" y="727"/>
                  <a:pt x="2172" y="727"/>
                </a:cubicBezTo>
                <a:cubicBezTo>
                  <a:pt x="2173" y="727"/>
                  <a:pt x="2174" y="726"/>
                  <a:pt x="2176" y="725"/>
                </a:cubicBezTo>
                <a:cubicBezTo>
                  <a:pt x="2179" y="722"/>
                  <a:pt x="2181" y="720"/>
                  <a:pt x="2182" y="720"/>
                </a:cubicBezTo>
                <a:cubicBezTo>
                  <a:pt x="2182" y="720"/>
                  <a:pt x="2185" y="717"/>
                  <a:pt x="2192" y="711"/>
                </a:cubicBezTo>
                <a:cubicBezTo>
                  <a:pt x="2196" y="706"/>
                  <a:pt x="2199" y="703"/>
                  <a:pt x="2200" y="703"/>
                </a:cubicBezTo>
                <a:cubicBezTo>
                  <a:pt x="2200" y="703"/>
                  <a:pt x="2200" y="703"/>
                  <a:pt x="2200" y="704"/>
                </a:cubicBezTo>
                <a:cubicBezTo>
                  <a:pt x="2200" y="705"/>
                  <a:pt x="2199" y="707"/>
                  <a:pt x="2196" y="710"/>
                </a:cubicBezTo>
                <a:cubicBezTo>
                  <a:pt x="2194" y="712"/>
                  <a:pt x="2192" y="715"/>
                  <a:pt x="2190" y="718"/>
                </a:cubicBezTo>
                <a:cubicBezTo>
                  <a:pt x="2189" y="721"/>
                  <a:pt x="2188" y="723"/>
                  <a:pt x="2185" y="723"/>
                </a:cubicBezTo>
                <a:cubicBezTo>
                  <a:pt x="2184" y="723"/>
                  <a:pt x="2182" y="724"/>
                  <a:pt x="2180" y="726"/>
                </a:cubicBezTo>
                <a:cubicBezTo>
                  <a:pt x="2175" y="731"/>
                  <a:pt x="2172" y="735"/>
                  <a:pt x="2172" y="737"/>
                </a:cubicBezTo>
                <a:lnTo>
                  <a:pt x="2172" y="738"/>
                </a:lnTo>
                <a:close/>
                <a:moveTo>
                  <a:pt x="2259" y="659"/>
                </a:moveTo>
                <a:cubicBezTo>
                  <a:pt x="2260" y="659"/>
                  <a:pt x="2261" y="658"/>
                  <a:pt x="2262" y="656"/>
                </a:cubicBezTo>
                <a:cubicBezTo>
                  <a:pt x="2264" y="654"/>
                  <a:pt x="2265" y="653"/>
                  <a:pt x="2267" y="651"/>
                </a:cubicBezTo>
                <a:lnTo>
                  <a:pt x="2271" y="646"/>
                </a:lnTo>
                <a:cubicBezTo>
                  <a:pt x="2271" y="646"/>
                  <a:pt x="2269" y="647"/>
                  <a:pt x="2266" y="650"/>
                </a:cubicBezTo>
                <a:cubicBezTo>
                  <a:pt x="2261" y="654"/>
                  <a:pt x="2259" y="657"/>
                  <a:pt x="2259" y="658"/>
                </a:cubicBezTo>
                <a:cubicBezTo>
                  <a:pt x="2259" y="659"/>
                  <a:pt x="2259" y="659"/>
                  <a:pt x="2259" y="659"/>
                </a:cubicBezTo>
                <a:close/>
                <a:moveTo>
                  <a:pt x="2281" y="637"/>
                </a:moveTo>
                <a:cubicBezTo>
                  <a:pt x="2281" y="637"/>
                  <a:pt x="2282" y="637"/>
                  <a:pt x="2284" y="635"/>
                </a:cubicBezTo>
                <a:cubicBezTo>
                  <a:pt x="2287" y="633"/>
                  <a:pt x="2288" y="632"/>
                  <a:pt x="2289" y="631"/>
                </a:cubicBezTo>
                <a:cubicBezTo>
                  <a:pt x="2291" y="630"/>
                  <a:pt x="2291" y="629"/>
                  <a:pt x="2291" y="628"/>
                </a:cubicBezTo>
                <a:cubicBezTo>
                  <a:pt x="2291" y="628"/>
                  <a:pt x="2291" y="627"/>
                  <a:pt x="2290" y="626"/>
                </a:cubicBezTo>
                <a:cubicBezTo>
                  <a:pt x="2289" y="625"/>
                  <a:pt x="2289" y="625"/>
                  <a:pt x="2287" y="625"/>
                </a:cubicBezTo>
                <a:lnTo>
                  <a:pt x="2288" y="626"/>
                </a:lnTo>
                <a:cubicBezTo>
                  <a:pt x="2288" y="627"/>
                  <a:pt x="2287" y="630"/>
                  <a:pt x="2284" y="633"/>
                </a:cubicBezTo>
                <a:cubicBezTo>
                  <a:pt x="2282" y="636"/>
                  <a:pt x="2281" y="637"/>
                  <a:pt x="2281" y="637"/>
                </a:cubicBezTo>
                <a:close/>
                <a:moveTo>
                  <a:pt x="2402" y="606"/>
                </a:moveTo>
                <a:cubicBezTo>
                  <a:pt x="2402" y="606"/>
                  <a:pt x="2403" y="605"/>
                  <a:pt x="2404" y="605"/>
                </a:cubicBezTo>
                <a:cubicBezTo>
                  <a:pt x="2405" y="605"/>
                  <a:pt x="2406" y="604"/>
                  <a:pt x="2406" y="603"/>
                </a:cubicBezTo>
                <a:cubicBezTo>
                  <a:pt x="2406" y="602"/>
                  <a:pt x="2405" y="601"/>
                  <a:pt x="2404" y="601"/>
                </a:cubicBezTo>
                <a:cubicBezTo>
                  <a:pt x="2403" y="601"/>
                  <a:pt x="2403" y="600"/>
                  <a:pt x="2403" y="599"/>
                </a:cubicBezTo>
                <a:lnTo>
                  <a:pt x="2403" y="596"/>
                </a:lnTo>
                <a:cubicBezTo>
                  <a:pt x="2403" y="595"/>
                  <a:pt x="2402" y="595"/>
                  <a:pt x="2401" y="595"/>
                </a:cubicBezTo>
                <a:cubicBezTo>
                  <a:pt x="2399" y="595"/>
                  <a:pt x="2399" y="595"/>
                  <a:pt x="2399" y="595"/>
                </a:cubicBezTo>
                <a:cubicBezTo>
                  <a:pt x="2399" y="596"/>
                  <a:pt x="2399" y="598"/>
                  <a:pt x="2400" y="599"/>
                </a:cubicBezTo>
                <a:cubicBezTo>
                  <a:pt x="2400" y="601"/>
                  <a:pt x="2401" y="602"/>
                  <a:pt x="2401" y="603"/>
                </a:cubicBezTo>
                <a:lnTo>
                  <a:pt x="2400" y="605"/>
                </a:lnTo>
                <a:cubicBezTo>
                  <a:pt x="2400" y="605"/>
                  <a:pt x="2401" y="606"/>
                  <a:pt x="2402" y="606"/>
                </a:cubicBezTo>
                <a:close/>
                <a:moveTo>
                  <a:pt x="2410" y="632"/>
                </a:moveTo>
                <a:cubicBezTo>
                  <a:pt x="2410" y="632"/>
                  <a:pt x="2410" y="632"/>
                  <a:pt x="2410" y="631"/>
                </a:cubicBezTo>
                <a:cubicBezTo>
                  <a:pt x="2410" y="629"/>
                  <a:pt x="2410" y="626"/>
                  <a:pt x="2409" y="623"/>
                </a:cubicBezTo>
                <a:cubicBezTo>
                  <a:pt x="2408" y="620"/>
                  <a:pt x="2407" y="617"/>
                  <a:pt x="2407" y="614"/>
                </a:cubicBezTo>
                <a:lnTo>
                  <a:pt x="2408" y="611"/>
                </a:lnTo>
                <a:cubicBezTo>
                  <a:pt x="2408" y="609"/>
                  <a:pt x="2407" y="609"/>
                  <a:pt x="2406" y="609"/>
                </a:cubicBezTo>
                <a:cubicBezTo>
                  <a:pt x="2404" y="609"/>
                  <a:pt x="2403" y="610"/>
                  <a:pt x="2403" y="611"/>
                </a:cubicBezTo>
                <a:cubicBezTo>
                  <a:pt x="2403" y="612"/>
                  <a:pt x="2403" y="612"/>
                  <a:pt x="2404" y="614"/>
                </a:cubicBezTo>
                <a:cubicBezTo>
                  <a:pt x="2404" y="615"/>
                  <a:pt x="2405" y="617"/>
                  <a:pt x="2406" y="620"/>
                </a:cubicBezTo>
                <a:cubicBezTo>
                  <a:pt x="2407" y="628"/>
                  <a:pt x="2408" y="632"/>
                  <a:pt x="2409" y="632"/>
                </a:cubicBezTo>
                <a:lnTo>
                  <a:pt x="2410" y="632"/>
                </a:lnTo>
                <a:close/>
                <a:moveTo>
                  <a:pt x="2418" y="661"/>
                </a:moveTo>
                <a:cubicBezTo>
                  <a:pt x="2419" y="661"/>
                  <a:pt x="2420" y="660"/>
                  <a:pt x="2420" y="659"/>
                </a:cubicBezTo>
                <a:cubicBezTo>
                  <a:pt x="2420" y="657"/>
                  <a:pt x="2419" y="656"/>
                  <a:pt x="2417" y="656"/>
                </a:cubicBezTo>
                <a:cubicBezTo>
                  <a:pt x="2416" y="656"/>
                  <a:pt x="2416" y="657"/>
                  <a:pt x="2416" y="658"/>
                </a:cubicBezTo>
                <a:cubicBezTo>
                  <a:pt x="2416" y="658"/>
                  <a:pt x="2416" y="659"/>
                  <a:pt x="2416" y="659"/>
                </a:cubicBezTo>
                <a:cubicBezTo>
                  <a:pt x="2417" y="659"/>
                  <a:pt x="2417" y="660"/>
                  <a:pt x="2417" y="660"/>
                </a:cubicBezTo>
                <a:cubicBezTo>
                  <a:pt x="2418" y="660"/>
                  <a:pt x="2418" y="661"/>
                  <a:pt x="2418" y="661"/>
                </a:cubicBezTo>
                <a:close/>
                <a:moveTo>
                  <a:pt x="2463" y="692"/>
                </a:moveTo>
                <a:lnTo>
                  <a:pt x="2463" y="691"/>
                </a:lnTo>
                <a:cubicBezTo>
                  <a:pt x="2464" y="691"/>
                  <a:pt x="2464" y="691"/>
                  <a:pt x="2464" y="690"/>
                </a:cubicBezTo>
                <a:cubicBezTo>
                  <a:pt x="2464" y="689"/>
                  <a:pt x="2464" y="689"/>
                  <a:pt x="2463" y="688"/>
                </a:cubicBezTo>
                <a:cubicBezTo>
                  <a:pt x="2461" y="687"/>
                  <a:pt x="2459" y="686"/>
                  <a:pt x="2458" y="686"/>
                </a:cubicBezTo>
                <a:cubicBezTo>
                  <a:pt x="2458" y="686"/>
                  <a:pt x="2458" y="686"/>
                  <a:pt x="2458" y="686"/>
                </a:cubicBezTo>
                <a:cubicBezTo>
                  <a:pt x="2458" y="687"/>
                  <a:pt x="2458" y="688"/>
                  <a:pt x="2459" y="690"/>
                </a:cubicBezTo>
                <a:cubicBezTo>
                  <a:pt x="2460" y="691"/>
                  <a:pt x="2462" y="692"/>
                  <a:pt x="2463" y="692"/>
                </a:cubicBezTo>
                <a:close/>
                <a:moveTo>
                  <a:pt x="2469" y="695"/>
                </a:moveTo>
                <a:cubicBezTo>
                  <a:pt x="2472" y="695"/>
                  <a:pt x="2473" y="695"/>
                  <a:pt x="2473" y="694"/>
                </a:cubicBezTo>
                <a:cubicBezTo>
                  <a:pt x="2473" y="693"/>
                  <a:pt x="2472" y="693"/>
                  <a:pt x="2470" y="693"/>
                </a:cubicBezTo>
                <a:cubicBezTo>
                  <a:pt x="2467" y="693"/>
                  <a:pt x="2466" y="693"/>
                  <a:pt x="2466" y="694"/>
                </a:cubicBezTo>
                <a:cubicBezTo>
                  <a:pt x="2466" y="695"/>
                  <a:pt x="2467" y="695"/>
                  <a:pt x="2469" y="695"/>
                </a:cubicBezTo>
                <a:close/>
                <a:moveTo>
                  <a:pt x="2603" y="632"/>
                </a:moveTo>
                <a:cubicBezTo>
                  <a:pt x="2605" y="632"/>
                  <a:pt x="2607" y="631"/>
                  <a:pt x="2609" y="628"/>
                </a:cubicBezTo>
                <a:cubicBezTo>
                  <a:pt x="2610" y="627"/>
                  <a:pt x="2611" y="625"/>
                  <a:pt x="2611" y="625"/>
                </a:cubicBezTo>
                <a:cubicBezTo>
                  <a:pt x="2611" y="623"/>
                  <a:pt x="2609" y="623"/>
                  <a:pt x="2608" y="623"/>
                </a:cubicBezTo>
                <a:cubicBezTo>
                  <a:pt x="2607" y="623"/>
                  <a:pt x="2606" y="623"/>
                  <a:pt x="2605" y="624"/>
                </a:cubicBezTo>
                <a:cubicBezTo>
                  <a:pt x="2604" y="625"/>
                  <a:pt x="2604" y="626"/>
                  <a:pt x="2603" y="627"/>
                </a:cubicBezTo>
                <a:cubicBezTo>
                  <a:pt x="2602" y="629"/>
                  <a:pt x="2602" y="630"/>
                  <a:pt x="2602" y="630"/>
                </a:cubicBezTo>
                <a:cubicBezTo>
                  <a:pt x="2602" y="631"/>
                  <a:pt x="2602" y="632"/>
                  <a:pt x="2603" y="632"/>
                </a:cubicBezTo>
                <a:close/>
                <a:moveTo>
                  <a:pt x="2656" y="567"/>
                </a:moveTo>
                <a:cubicBezTo>
                  <a:pt x="2658" y="567"/>
                  <a:pt x="2659" y="565"/>
                  <a:pt x="2660" y="562"/>
                </a:cubicBezTo>
                <a:cubicBezTo>
                  <a:pt x="2662" y="560"/>
                  <a:pt x="2663" y="558"/>
                  <a:pt x="2663" y="557"/>
                </a:cubicBezTo>
                <a:cubicBezTo>
                  <a:pt x="2663" y="557"/>
                  <a:pt x="2663" y="557"/>
                  <a:pt x="2662" y="557"/>
                </a:cubicBezTo>
                <a:cubicBezTo>
                  <a:pt x="2661" y="557"/>
                  <a:pt x="2660" y="557"/>
                  <a:pt x="2658" y="558"/>
                </a:cubicBezTo>
                <a:cubicBezTo>
                  <a:pt x="2656" y="560"/>
                  <a:pt x="2654" y="562"/>
                  <a:pt x="2654" y="565"/>
                </a:cubicBezTo>
                <a:cubicBezTo>
                  <a:pt x="2654" y="566"/>
                  <a:pt x="2655" y="567"/>
                  <a:pt x="2656" y="567"/>
                </a:cubicBezTo>
                <a:close/>
                <a:moveTo>
                  <a:pt x="2651" y="574"/>
                </a:moveTo>
                <a:cubicBezTo>
                  <a:pt x="2653" y="574"/>
                  <a:pt x="2654" y="573"/>
                  <a:pt x="2656" y="571"/>
                </a:cubicBezTo>
                <a:lnTo>
                  <a:pt x="2656" y="569"/>
                </a:lnTo>
                <a:lnTo>
                  <a:pt x="2656" y="569"/>
                </a:lnTo>
                <a:lnTo>
                  <a:pt x="2655" y="570"/>
                </a:lnTo>
                <a:cubicBezTo>
                  <a:pt x="2655" y="570"/>
                  <a:pt x="2654" y="570"/>
                  <a:pt x="2654" y="570"/>
                </a:cubicBezTo>
                <a:cubicBezTo>
                  <a:pt x="2653" y="570"/>
                  <a:pt x="2652" y="570"/>
                  <a:pt x="2651" y="569"/>
                </a:cubicBezTo>
                <a:cubicBezTo>
                  <a:pt x="2650" y="568"/>
                  <a:pt x="2649" y="568"/>
                  <a:pt x="2649" y="568"/>
                </a:cubicBezTo>
                <a:cubicBezTo>
                  <a:pt x="2649" y="568"/>
                  <a:pt x="2648" y="569"/>
                  <a:pt x="2648" y="570"/>
                </a:cubicBezTo>
                <a:cubicBezTo>
                  <a:pt x="2648" y="573"/>
                  <a:pt x="2649" y="574"/>
                  <a:pt x="2651" y="574"/>
                </a:cubicBezTo>
                <a:close/>
                <a:moveTo>
                  <a:pt x="2636" y="599"/>
                </a:moveTo>
                <a:cubicBezTo>
                  <a:pt x="2637" y="599"/>
                  <a:pt x="2639" y="597"/>
                  <a:pt x="2642" y="592"/>
                </a:cubicBezTo>
                <a:cubicBezTo>
                  <a:pt x="2644" y="588"/>
                  <a:pt x="2646" y="584"/>
                  <a:pt x="2646" y="581"/>
                </a:cubicBezTo>
                <a:lnTo>
                  <a:pt x="2646" y="580"/>
                </a:lnTo>
                <a:cubicBezTo>
                  <a:pt x="2646" y="579"/>
                  <a:pt x="2646" y="579"/>
                  <a:pt x="2646" y="579"/>
                </a:cubicBezTo>
                <a:lnTo>
                  <a:pt x="2649" y="580"/>
                </a:lnTo>
                <a:cubicBezTo>
                  <a:pt x="2649" y="580"/>
                  <a:pt x="2650" y="580"/>
                  <a:pt x="2650" y="579"/>
                </a:cubicBezTo>
                <a:lnTo>
                  <a:pt x="2651" y="578"/>
                </a:lnTo>
                <a:cubicBezTo>
                  <a:pt x="2651" y="578"/>
                  <a:pt x="2650" y="577"/>
                  <a:pt x="2648" y="577"/>
                </a:cubicBezTo>
                <a:cubicBezTo>
                  <a:pt x="2646" y="577"/>
                  <a:pt x="2644" y="578"/>
                  <a:pt x="2643" y="582"/>
                </a:cubicBezTo>
                <a:cubicBezTo>
                  <a:pt x="2642" y="585"/>
                  <a:pt x="2640" y="588"/>
                  <a:pt x="2638" y="590"/>
                </a:cubicBezTo>
                <a:cubicBezTo>
                  <a:pt x="2636" y="592"/>
                  <a:pt x="2634" y="594"/>
                  <a:pt x="2634" y="597"/>
                </a:cubicBezTo>
                <a:cubicBezTo>
                  <a:pt x="2634" y="598"/>
                  <a:pt x="2635" y="599"/>
                  <a:pt x="2636" y="599"/>
                </a:cubicBezTo>
                <a:close/>
                <a:moveTo>
                  <a:pt x="2615" y="622"/>
                </a:moveTo>
                <a:cubicBezTo>
                  <a:pt x="2616" y="622"/>
                  <a:pt x="2619" y="619"/>
                  <a:pt x="2623" y="614"/>
                </a:cubicBezTo>
                <a:cubicBezTo>
                  <a:pt x="2628" y="610"/>
                  <a:pt x="2630" y="607"/>
                  <a:pt x="2630" y="605"/>
                </a:cubicBezTo>
                <a:lnTo>
                  <a:pt x="2629" y="603"/>
                </a:lnTo>
                <a:cubicBezTo>
                  <a:pt x="2629" y="602"/>
                  <a:pt x="2630" y="601"/>
                  <a:pt x="2631" y="600"/>
                </a:cubicBezTo>
                <a:cubicBezTo>
                  <a:pt x="2631" y="599"/>
                  <a:pt x="2632" y="598"/>
                  <a:pt x="2632" y="598"/>
                </a:cubicBezTo>
                <a:cubicBezTo>
                  <a:pt x="2631" y="598"/>
                  <a:pt x="2630" y="598"/>
                  <a:pt x="2629" y="600"/>
                </a:cubicBezTo>
                <a:cubicBezTo>
                  <a:pt x="2627" y="601"/>
                  <a:pt x="2626" y="603"/>
                  <a:pt x="2625" y="604"/>
                </a:cubicBezTo>
                <a:cubicBezTo>
                  <a:pt x="2624" y="605"/>
                  <a:pt x="2623" y="607"/>
                  <a:pt x="2623" y="607"/>
                </a:cubicBezTo>
                <a:cubicBezTo>
                  <a:pt x="2623" y="608"/>
                  <a:pt x="2623" y="609"/>
                  <a:pt x="2623" y="610"/>
                </a:cubicBezTo>
                <a:cubicBezTo>
                  <a:pt x="2622" y="611"/>
                  <a:pt x="2621" y="612"/>
                  <a:pt x="2620" y="613"/>
                </a:cubicBezTo>
                <a:cubicBezTo>
                  <a:pt x="2619" y="614"/>
                  <a:pt x="2618" y="614"/>
                  <a:pt x="2618" y="614"/>
                </a:cubicBezTo>
                <a:lnTo>
                  <a:pt x="2617" y="614"/>
                </a:lnTo>
                <a:lnTo>
                  <a:pt x="2618" y="612"/>
                </a:lnTo>
                <a:cubicBezTo>
                  <a:pt x="2618" y="611"/>
                  <a:pt x="2618" y="610"/>
                  <a:pt x="2617" y="609"/>
                </a:cubicBezTo>
                <a:cubicBezTo>
                  <a:pt x="2616" y="609"/>
                  <a:pt x="2616" y="609"/>
                  <a:pt x="2615" y="609"/>
                </a:cubicBezTo>
                <a:lnTo>
                  <a:pt x="2616" y="611"/>
                </a:lnTo>
                <a:cubicBezTo>
                  <a:pt x="2616" y="613"/>
                  <a:pt x="2616" y="614"/>
                  <a:pt x="2614" y="614"/>
                </a:cubicBezTo>
                <a:cubicBezTo>
                  <a:pt x="2613" y="615"/>
                  <a:pt x="2612" y="616"/>
                  <a:pt x="2612" y="618"/>
                </a:cubicBezTo>
                <a:cubicBezTo>
                  <a:pt x="2612" y="619"/>
                  <a:pt x="2612" y="620"/>
                  <a:pt x="2613" y="620"/>
                </a:cubicBezTo>
                <a:cubicBezTo>
                  <a:pt x="2613" y="621"/>
                  <a:pt x="2613" y="621"/>
                  <a:pt x="2615" y="622"/>
                </a:cubicBezTo>
                <a:close/>
                <a:moveTo>
                  <a:pt x="2148" y="626"/>
                </a:moveTo>
                <a:cubicBezTo>
                  <a:pt x="2148" y="626"/>
                  <a:pt x="2148" y="626"/>
                  <a:pt x="2148" y="625"/>
                </a:cubicBezTo>
                <a:cubicBezTo>
                  <a:pt x="2148" y="624"/>
                  <a:pt x="2149" y="621"/>
                  <a:pt x="2151" y="616"/>
                </a:cubicBezTo>
                <a:cubicBezTo>
                  <a:pt x="2153" y="611"/>
                  <a:pt x="2154" y="608"/>
                  <a:pt x="2155" y="608"/>
                </a:cubicBezTo>
                <a:cubicBezTo>
                  <a:pt x="2155" y="608"/>
                  <a:pt x="2155" y="608"/>
                  <a:pt x="2155" y="609"/>
                </a:cubicBezTo>
                <a:cubicBezTo>
                  <a:pt x="2155" y="610"/>
                  <a:pt x="2155" y="613"/>
                  <a:pt x="2153" y="617"/>
                </a:cubicBezTo>
                <a:cubicBezTo>
                  <a:pt x="2150" y="623"/>
                  <a:pt x="2149" y="626"/>
                  <a:pt x="2148" y="626"/>
                </a:cubicBezTo>
                <a:close/>
                <a:moveTo>
                  <a:pt x="2155" y="606"/>
                </a:moveTo>
                <a:cubicBezTo>
                  <a:pt x="2155" y="606"/>
                  <a:pt x="2155" y="605"/>
                  <a:pt x="2155" y="605"/>
                </a:cubicBezTo>
                <a:cubicBezTo>
                  <a:pt x="2155" y="604"/>
                  <a:pt x="2155" y="603"/>
                  <a:pt x="2156" y="601"/>
                </a:cubicBezTo>
                <a:cubicBezTo>
                  <a:pt x="2157" y="600"/>
                  <a:pt x="2158" y="599"/>
                  <a:pt x="2158" y="598"/>
                </a:cubicBezTo>
                <a:cubicBezTo>
                  <a:pt x="2159" y="597"/>
                  <a:pt x="2160" y="597"/>
                  <a:pt x="2160" y="597"/>
                </a:cubicBezTo>
                <a:cubicBezTo>
                  <a:pt x="2160" y="597"/>
                  <a:pt x="2160" y="597"/>
                  <a:pt x="2160" y="597"/>
                </a:cubicBezTo>
                <a:lnTo>
                  <a:pt x="2159" y="601"/>
                </a:lnTo>
                <a:cubicBezTo>
                  <a:pt x="2157" y="604"/>
                  <a:pt x="2156" y="606"/>
                  <a:pt x="2155" y="606"/>
                </a:cubicBezTo>
                <a:close/>
                <a:moveTo>
                  <a:pt x="2147" y="635"/>
                </a:moveTo>
                <a:cubicBezTo>
                  <a:pt x="2146" y="635"/>
                  <a:pt x="2146" y="634"/>
                  <a:pt x="2146" y="632"/>
                </a:cubicBezTo>
                <a:cubicBezTo>
                  <a:pt x="2146" y="630"/>
                  <a:pt x="2146" y="630"/>
                  <a:pt x="2147" y="630"/>
                </a:cubicBezTo>
                <a:cubicBezTo>
                  <a:pt x="2147" y="630"/>
                  <a:pt x="2148" y="631"/>
                  <a:pt x="2148" y="633"/>
                </a:cubicBezTo>
                <a:cubicBezTo>
                  <a:pt x="2148" y="634"/>
                  <a:pt x="2148" y="634"/>
                  <a:pt x="2147" y="635"/>
                </a:cubicBezTo>
                <a:cubicBezTo>
                  <a:pt x="2147" y="635"/>
                  <a:pt x="2147" y="635"/>
                  <a:pt x="2147" y="635"/>
                </a:cubicBezTo>
                <a:close/>
                <a:moveTo>
                  <a:pt x="2147" y="656"/>
                </a:moveTo>
                <a:cubicBezTo>
                  <a:pt x="2147" y="656"/>
                  <a:pt x="2146" y="656"/>
                  <a:pt x="2146" y="655"/>
                </a:cubicBezTo>
                <a:lnTo>
                  <a:pt x="2147" y="653"/>
                </a:lnTo>
                <a:cubicBezTo>
                  <a:pt x="2147" y="651"/>
                  <a:pt x="2148" y="649"/>
                  <a:pt x="2148" y="647"/>
                </a:cubicBezTo>
                <a:cubicBezTo>
                  <a:pt x="2148" y="645"/>
                  <a:pt x="2149" y="644"/>
                  <a:pt x="2151" y="644"/>
                </a:cubicBezTo>
                <a:cubicBezTo>
                  <a:pt x="2153" y="644"/>
                  <a:pt x="2154" y="645"/>
                  <a:pt x="2154" y="646"/>
                </a:cubicBezTo>
                <a:cubicBezTo>
                  <a:pt x="2154" y="648"/>
                  <a:pt x="2153" y="649"/>
                  <a:pt x="2152" y="652"/>
                </a:cubicBezTo>
                <a:cubicBezTo>
                  <a:pt x="2150" y="655"/>
                  <a:pt x="2149" y="656"/>
                  <a:pt x="2147" y="656"/>
                </a:cubicBezTo>
                <a:close/>
                <a:moveTo>
                  <a:pt x="2618" y="590"/>
                </a:moveTo>
                <a:cubicBezTo>
                  <a:pt x="2618" y="590"/>
                  <a:pt x="2617" y="590"/>
                  <a:pt x="2617" y="589"/>
                </a:cubicBezTo>
                <a:cubicBezTo>
                  <a:pt x="2617" y="588"/>
                  <a:pt x="2618" y="587"/>
                  <a:pt x="2621" y="585"/>
                </a:cubicBezTo>
                <a:lnTo>
                  <a:pt x="2623" y="583"/>
                </a:lnTo>
                <a:lnTo>
                  <a:pt x="2624" y="583"/>
                </a:lnTo>
                <a:lnTo>
                  <a:pt x="2622" y="586"/>
                </a:lnTo>
                <a:cubicBezTo>
                  <a:pt x="2620" y="589"/>
                  <a:pt x="2618" y="590"/>
                  <a:pt x="2618" y="590"/>
                </a:cubicBezTo>
                <a:close/>
                <a:moveTo>
                  <a:pt x="2143" y="651"/>
                </a:moveTo>
                <a:cubicBezTo>
                  <a:pt x="2142" y="651"/>
                  <a:pt x="2142" y="650"/>
                  <a:pt x="2142" y="648"/>
                </a:cubicBezTo>
                <a:cubicBezTo>
                  <a:pt x="2142" y="647"/>
                  <a:pt x="2142" y="646"/>
                  <a:pt x="2142" y="646"/>
                </a:cubicBezTo>
                <a:cubicBezTo>
                  <a:pt x="2143" y="646"/>
                  <a:pt x="2143" y="647"/>
                  <a:pt x="2143" y="649"/>
                </a:cubicBezTo>
                <a:cubicBezTo>
                  <a:pt x="2143" y="649"/>
                  <a:pt x="2143" y="650"/>
                  <a:pt x="2143" y="651"/>
                </a:cubicBezTo>
                <a:close/>
                <a:moveTo>
                  <a:pt x="2344" y="560"/>
                </a:moveTo>
                <a:cubicBezTo>
                  <a:pt x="2344" y="560"/>
                  <a:pt x="2343" y="559"/>
                  <a:pt x="2343" y="559"/>
                </a:cubicBezTo>
                <a:cubicBezTo>
                  <a:pt x="2343" y="559"/>
                  <a:pt x="2344" y="558"/>
                  <a:pt x="2345" y="558"/>
                </a:cubicBezTo>
                <a:cubicBezTo>
                  <a:pt x="2346" y="557"/>
                  <a:pt x="2347" y="557"/>
                  <a:pt x="2348" y="557"/>
                </a:cubicBezTo>
                <a:cubicBezTo>
                  <a:pt x="2349" y="557"/>
                  <a:pt x="2349" y="557"/>
                  <a:pt x="2349" y="557"/>
                </a:cubicBezTo>
                <a:lnTo>
                  <a:pt x="2349" y="558"/>
                </a:lnTo>
                <a:cubicBezTo>
                  <a:pt x="2348" y="559"/>
                  <a:pt x="2346" y="560"/>
                  <a:pt x="2344" y="560"/>
                </a:cubicBezTo>
                <a:close/>
                <a:moveTo>
                  <a:pt x="2443" y="649"/>
                </a:moveTo>
                <a:lnTo>
                  <a:pt x="2441" y="649"/>
                </a:lnTo>
                <a:cubicBezTo>
                  <a:pt x="2440" y="649"/>
                  <a:pt x="2439" y="649"/>
                  <a:pt x="2439" y="647"/>
                </a:cubicBezTo>
                <a:cubicBezTo>
                  <a:pt x="2439" y="646"/>
                  <a:pt x="2439" y="646"/>
                  <a:pt x="2440" y="646"/>
                </a:cubicBezTo>
                <a:cubicBezTo>
                  <a:pt x="2440" y="646"/>
                  <a:pt x="2441" y="646"/>
                  <a:pt x="2442" y="646"/>
                </a:cubicBezTo>
                <a:cubicBezTo>
                  <a:pt x="2443" y="647"/>
                  <a:pt x="2443" y="647"/>
                  <a:pt x="2443" y="648"/>
                </a:cubicBezTo>
                <a:lnTo>
                  <a:pt x="2443" y="649"/>
                </a:lnTo>
                <a:close/>
                <a:moveTo>
                  <a:pt x="2438" y="643"/>
                </a:moveTo>
                <a:cubicBezTo>
                  <a:pt x="2437" y="643"/>
                  <a:pt x="2437" y="642"/>
                  <a:pt x="2437" y="641"/>
                </a:cubicBezTo>
                <a:cubicBezTo>
                  <a:pt x="2437" y="639"/>
                  <a:pt x="2436" y="637"/>
                  <a:pt x="2435" y="634"/>
                </a:cubicBezTo>
                <a:lnTo>
                  <a:pt x="2435" y="632"/>
                </a:lnTo>
                <a:cubicBezTo>
                  <a:pt x="2435" y="632"/>
                  <a:pt x="2435" y="632"/>
                  <a:pt x="2435" y="632"/>
                </a:cubicBezTo>
                <a:lnTo>
                  <a:pt x="2436" y="632"/>
                </a:lnTo>
                <a:cubicBezTo>
                  <a:pt x="2437" y="633"/>
                  <a:pt x="2438" y="634"/>
                  <a:pt x="2439" y="636"/>
                </a:cubicBezTo>
                <a:cubicBezTo>
                  <a:pt x="2440" y="638"/>
                  <a:pt x="2440" y="639"/>
                  <a:pt x="2440" y="641"/>
                </a:cubicBezTo>
                <a:cubicBezTo>
                  <a:pt x="2440" y="642"/>
                  <a:pt x="2440" y="643"/>
                  <a:pt x="2438" y="643"/>
                </a:cubicBezTo>
                <a:close/>
                <a:moveTo>
                  <a:pt x="2617" y="589"/>
                </a:moveTo>
                <a:close/>
                <a:moveTo>
                  <a:pt x="2715" y="639"/>
                </a:moveTo>
                <a:lnTo>
                  <a:pt x="2714" y="639"/>
                </a:lnTo>
                <a:lnTo>
                  <a:pt x="2714" y="638"/>
                </a:lnTo>
                <a:cubicBezTo>
                  <a:pt x="2714" y="637"/>
                  <a:pt x="2715" y="637"/>
                  <a:pt x="2716" y="635"/>
                </a:cubicBezTo>
                <a:cubicBezTo>
                  <a:pt x="2716" y="634"/>
                  <a:pt x="2718" y="633"/>
                  <a:pt x="2719" y="632"/>
                </a:cubicBezTo>
                <a:cubicBezTo>
                  <a:pt x="2720" y="631"/>
                  <a:pt x="2721" y="630"/>
                  <a:pt x="2721" y="630"/>
                </a:cubicBezTo>
                <a:cubicBezTo>
                  <a:pt x="2721" y="631"/>
                  <a:pt x="2721" y="632"/>
                  <a:pt x="2720" y="633"/>
                </a:cubicBezTo>
                <a:cubicBezTo>
                  <a:pt x="2718" y="635"/>
                  <a:pt x="2717" y="637"/>
                  <a:pt x="2716" y="637"/>
                </a:cubicBezTo>
                <a:cubicBezTo>
                  <a:pt x="2716" y="639"/>
                  <a:pt x="2715" y="639"/>
                  <a:pt x="2715" y="639"/>
                </a:cubicBezTo>
                <a:close/>
                <a:moveTo>
                  <a:pt x="2604" y="954"/>
                </a:moveTo>
                <a:cubicBezTo>
                  <a:pt x="2604" y="954"/>
                  <a:pt x="2606" y="951"/>
                  <a:pt x="2612" y="945"/>
                </a:cubicBezTo>
                <a:cubicBezTo>
                  <a:pt x="2619" y="938"/>
                  <a:pt x="2624" y="935"/>
                  <a:pt x="2625" y="935"/>
                </a:cubicBezTo>
                <a:cubicBezTo>
                  <a:pt x="2625" y="935"/>
                  <a:pt x="2624" y="936"/>
                  <a:pt x="2623" y="938"/>
                </a:cubicBezTo>
                <a:cubicBezTo>
                  <a:pt x="2621" y="941"/>
                  <a:pt x="2620" y="942"/>
                  <a:pt x="2619" y="943"/>
                </a:cubicBezTo>
                <a:cubicBezTo>
                  <a:pt x="2619" y="945"/>
                  <a:pt x="2619" y="946"/>
                  <a:pt x="2618" y="946"/>
                </a:cubicBezTo>
                <a:cubicBezTo>
                  <a:pt x="2617" y="946"/>
                  <a:pt x="2613" y="948"/>
                  <a:pt x="2608" y="951"/>
                </a:cubicBezTo>
                <a:lnTo>
                  <a:pt x="2604" y="954"/>
                </a:lnTo>
                <a:close/>
                <a:moveTo>
                  <a:pt x="2660" y="612"/>
                </a:moveTo>
                <a:cubicBezTo>
                  <a:pt x="2659" y="612"/>
                  <a:pt x="2659" y="612"/>
                  <a:pt x="2659" y="612"/>
                </a:cubicBezTo>
                <a:cubicBezTo>
                  <a:pt x="2659" y="611"/>
                  <a:pt x="2660" y="610"/>
                  <a:pt x="2661" y="609"/>
                </a:cubicBezTo>
                <a:cubicBezTo>
                  <a:pt x="2664" y="606"/>
                  <a:pt x="2666" y="603"/>
                  <a:pt x="2667" y="600"/>
                </a:cubicBezTo>
                <a:cubicBezTo>
                  <a:pt x="2668" y="596"/>
                  <a:pt x="2669" y="594"/>
                  <a:pt x="2670" y="594"/>
                </a:cubicBezTo>
                <a:cubicBezTo>
                  <a:pt x="2671" y="594"/>
                  <a:pt x="2671" y="594"/>
                  <a:pt x="2671" y="595"/>
                </a:cubicBezTo>
                <a:cubicBezTo>
                  <a:pt x="2671" y="597"/>
                  <a:pt x="2670" y="599"/>
                  <a:pt x="2667" y="603"/>
                </a:cubicBezTo>
                <a:cubicBezTo>
                  <a:pt x="2664" y="609"/>
                  <a:pt x="2661" y="612"/>
                  <a:pt x="2660" y="612"/>
                </a:cubicBezTo>
                <a:close/>
                <a:moveTo>
                  <a:pt x="2780" y="846"/>
                </a:moveTo>
                <a:cubicBezTo>
                  <a:pt x="2778" y="846"/>
                  <a:pt x="2778" y="845"/>
                  <a:pt x="2778" y="845"/>
                </a:cubicBezTo>
                <a:cubicBezTo>
                  <a:pt x="2778" y="844"/>
                  <a:pt x="2778" y="843"/>
                  <a:pt x="2780" y="842"/>
                </a:cubicBezTo>
                <a:lnTo>
                  <a:pt x="2781" y="841"/>
                </a:lnTo>
                <a:cubicBezTo>
                  <a:pt x="2782" y="841"/>
                  <a:pt x="2782" y="842"/>
                  <a:pt x="2782" y="843"/>
                </a:cubicBezTo>
                <a:cubicBezTo>
                  <a:pt x="2782" y="845"/>
                  <a:pt x="2781" y="846"/>
                  <a:pt x="2780" y="846"/>
                </a:cubicBezTo>
                <a:close/>
                <a:moveTo>
                  <a:pt x="2833" y="682"/>
                </a:moveTo>
                <a:lnTo>
                  <a:pt x="2833" y="679"/>
                </a:lnTo>
                <a:cubicBezTo>
                  <a:pt x="2833" y="676"/>
                  <a:pt x="2833" y="676"/>
                  <a:pt x="2834" y="676"/>
                </a:cubicBezTo>
                <a:cubicBezTo>
                  <a:pt x="2834" y="676"/>
                  <a:pt x="2835" y="676"/>
                  <a:pt x="2835" y="678"/>
                </a:cubicBezTo>
                <a:cubicBezTo>
                  <a:pt x="2835" y="679"/>
                  <a:pt x="2834" y="680"/>
                  <a:pt x="2834" y="681"/>
                </a:cubicBezTo>
                <a:cubicBezTo>
                  <a:pt x="2834" y="682"/>
                  <a:pt x="2833" y="682"/>
                  <a:pt x="2833" y="682"/>
                </a:cubicBezTo>
                <a:close/>
                <a:moveTo>
                  <a:pt x="2648" y="635"/>
                </a:moveTo>
                <a:lnTo>
                  <a:pt x="2648" y="634"/>
                </a:lnTo>
                <a:lnTo>
                  <a:pt x="2649" y="632"/>
                </a:lnTo>
                <a:cubicBezTo>
                  <a:pt x="2649" y="630"/>
                  <a:pt x="2650" y="629"/>
                  <a:pt x="2651" y="629"/>
                </a:cubicBezTo>
                <a:cubicBezTo>
                  <a:pt x="2651" y="629"/>
                  <a:pt x="2652" y="629"/>
                  <a:pt x="2652" y="630"/>
                </a:cubicBezTo>
                <a:cubicBezTo>
                  <a:pt x="2652" y="631"/>
                  <a:pt x="2651" y="632"/>
                  <a:pt x="2650" y="633"/>
                </a:cubicBezTo>
                <a:cubicBezTo>
                  <a:pt x="2649" y="634"/>
                  <a:pt x="2648" y="635"/>
                  <a:pt x="2648" y="635"/>
                </a:cubicBezTo>
                <a:close/>
                <a:moveTo>
                  <a:pt x="2790" y="828"/>
                </a:moveTo>
                <a:close/>
                <a:moveTo>
                  <a:pt x="2794" y="829"/>
                </a:moveTo>
                <a:cubicBezTo>
                  <a:pt x="2792" y="829"/>
                  <a:pt x="2790" y="828"/>
                  <a:pt x="2790" y="828"/>
                </a:cubicBezTo>
                <a:cubicBezTo>
                  <a:pt x="2790" y="827"/>
                  <a:pt x="2793" y="825"/>
                  <a:pt x="2799" y="821"/>
                </a:cubicBezTo>
                <a:cubicBezTo>
                  <a:pt x="2805" y="816"/>
                  <a:pt x="2808" y="814"/>
                  <a:pt x="2810" y="814"/>
                </a:cubicBezTo>
                <a:cubicBezTo>
                  <a:pt x="2810" y="814"/>
                  <a:pt x="2808" y="816"/>
                  <a:pt x="2804" y="820"/>
                </a:cubicBezTo>
                <a:cubicBezTo>
                  <a:pt x="2799" y="823"/>
                  <a:pt x="2797" y="826"/>
                  <a:pt x="2797" y="827"/>
                </a:cubicBezTo>
                <a:lnTo>
                  <a:pt x="2797" y="828"/>
                </a:lnTo>
                <a:cubicBezTo>
                  <a:pt x="2797" y="828"/>
                  <a:pt x="2796" y="829"/>
                  <a:pt x="2794" y="829"/>
                </a:cubicBezTo>
                <a:close/>
                <a:moveTo>
                  <a:pt x="2837" y="670"/>
                </a:moveTo>
                <a:cubicBezTo>
                  <a:pt x="2836" y="670"/>
                  <a:pt x="2836" y="669"/>
                  <a:pt x="2836" y="667"/>
                </a:cubicBezTo>
                <a:cubicBezTo>
                  <a:pt x="2836" y="665"/>
                  <a:pt x="2837" y="664"/>
                  <a:pt x="2837" y="664"/>
                </a:cubicBezTo>
                <a:cubicBezTo>
                  <a:pt x="2838" y="664"/>
                  <a:pt x="2838" y="665"/>
                  <a:pt x="2838" y="666"/>
                </a:cubicBezTo>
                <a:cubicBezTo>
                  <a:pt x="2838" y="668"/>
                  <a:pt x="2838" y="669"/>
                  <a:pt x="2837" y="669"/>
                </a:cubicBezTo>
                <a:lnTo>
                  <a:pt x="2837" y="670"/>
                </a:lnTo>
                <a:close/>
                <a:moveTo>
                  <a:pt x="2840" y="655"/>
                </a:moveTo>
                <a:lnTo>
                  <a:pt x="2840" y="655"/>
                </a:lnTo>
                <a:cubicBezTo>
                  <a:pt x="2840" y="655"/>
                  <a:pt x="2839" y="655"/>
                  <a:pt x="2839" y="654"/>
                </a:cubicBezTo>
                <a:lnTo>
                  <a:pt x="2839" y="652"/>
                </a:lnTo>
                <a:cubicBezTo>
                  <a:pt x="2840" y="651"/>
                  <a:pt x="2840" y="650"/>
                  <a:pt x="2840" y="650"/>
                </a:cubicBezTo>
                <a:cubicBezTo>
                  <a:pt x="2841" y="650"/>
                  <a:pt x="2841" y="651"/>
                  <a:pt x="2841" y="653"/>
                </a:cubicBezTo>
                <a:cubicBezTo>
                  <a:pt x="2841" y="654"/>
                  <a:pt x="2841" y="654"/>
                  <a:pt x="2840" y="655"/>
                </a:cubicBezTo>
                <a:close/>
                <a:moveTo>
                  <a:pt x="2650" y="926"/>
                </a:moveTo>
                <a:cubicBezTo>
                  <a:pt x="2649" y="926"/>
                  <a:pt x="2649" y="925"/>
                  <a:pt x="2649" y="925"/>
                </a:cubicBezTo>
                <a:cubicBezTo>
                  <a:pt x="2649" y="923"/>
                  <a:pt x="2650" y="922"/>
                  <a:pt x="2651" y="921"/>
                </a:cubicBezTo>
                <a:cubicBezTo>
                  <a:pt x="2653" y="920"/>
                  <a:pt x="2654" y="920"/>
                  <a:pt x="2654" y="920"/>
                </a:cubicBezTo>
                <a:cubicBezTo>
                  <a:pt x="2655" y="920"/>
                  <a:pt x="2655" y="920"/>
                  <a:pt x="2655" y="920"/>
                </a:cubicBezTo>
                <a:cubicBezTo>
                  <a:pt x="2655" y="921"/>
                  <a:pt x="2654" y="922"/>
                  <a:pt x="2653" y="924"/>
                </a:cubicBezTo>
                <a:cubicBezTo>
                  <a:pt x="2651" y="925"/>
                  <a:pt x="2650" y="926"/>
                  <a:pt x="2650" y="926"/>
                </a:cubicBezTo>
                <a:close/>
                <a:moveTo>
                  <a:pt x="2552" y="1151"/>
                </a:moveTo>
                <a:cubicBezTo>
                  <a:pt x="2550" y="1151"/>
                  <a:pt x="2550" y="1151"/>
                  <a:pt x="2550" y="1150"/>
                </a:cubicBezTo>
                <a:cubicBezTo>
                  <a:pt x="2550" y="1150"/>
                  <a:pt x="2550" y="1149"/>
                  <a:pt x="2551" y="1149"/>
                </a:cubicBezTo>
                <a:cubicBezTo>
                  <a:pt x="2551" y="1149"/>
                  <a:pt x="2553" y="1149"/>
                  <a:pt x="2555" y="1148"/>
                </a:cubicBezTo>
                <a:lnTo>
                  <a:pt x="2557" y="1147"/>
                </a:lnTo>
                <a:lnTo>
                  <a:pt x="2558" y="1148"/>
                </a:lnTo>
                <a:cubicBezTo>
                  <a:pt x="2558" y="1148"/>
                  <a:pt x="2558" y="1149"/>
                  <a:pt x="2557" y="1149"/>
                </a:cubicBezTo>
                <a:cubicBezTo>
                  <a:pt x="2557" y="1150"/>
                  <a:pt x="2556" y="1150"/>
                  <a:pt x="2555" y="1151"/>
                </a:cubicBezTo>
                <a:cubicBezTo>
                  <a:pt x="2554" y="1151"/>
                  <a:pt x="2553" y="1151"/>
                  <a:pt x="2552" y="1151"/>
                </a:cubicBezTo>
                <a:close/>
                <a:moveTo>
                  <a:pt x="2598" y="1123"/>
                </a:moveTo>
                <a:close/>
                <a:moveTo>
                  <a:pt x="2598" y="1123"/>
                </a:moveTo>
                <a:cubicBezTo>
                  <a:pt x="2598" y="1123"/>
                  <a:pt x="2598" y="1123"/>
                  <a:pt x="2598" y="1123"/>
                </a:cubicBezTo>
                <a:cubicBezTo>
                  <a:pt x="2598" y="1122"/>
                  <a:pt x="2599" y="1121"/>
                  <a:pt x="2602" y="1119"/>
                </a:cubicBezTo>
                <a:lnTo>
                  <a:pt x="2605" y="1117"/>
                </a:lnTo>
                <a:lnTo>
                  <a:pt x="2603" y="1119"/>
                </a:lnTo>
                <a:cubicBezTo>
                  <a:pt x="2601" y="1122"/>
                  <a:pt x="2599" y="1123"/>
                  <a:pt x="2598" y="1123"/>
                </a:cubicBezTo>
                <a:close/>
                <a:moveTo>
                  <a:pt x="2522" y="1054"/>
                </a:moveTo>
                <a:lnTo>
                  <a:pt x="2524" y="1050"/>
                </a:lnTo>
                <a:cubicBezTo>
                  <a:pt x="2526" y="1046"/>
                  <a:pt x="2528" y="1044"/>
                  <a:pt x="2529" y="1044"/>
                </a:cubicBezTo>
                <a:lnTo>
                  <a:pt x="2529" y="1044"/>
                </a:lnTo>
                <a:cubicBezTo>
                  <a:pt x="2529" y="1045"/>
                  <a:pt x="2528" y="1046"/>
                  <a:pt x="2527" y="1047"/>
                </a:cubicBezTo>
                <a:cubicBezTo>
                  <a:pt x="2525" y="1052"/>
                  <a:pt x="2523" y="1054"/>
                  <a:pt x="2522" y="1054"/>
                </a:cubicBezTo>
                <a:close/>
                <a:moveTo>
                  <a:pt x="2795" y="803"/>
                </a:moveTo>
                <a:cubicBezTo>
                  <a:pt x="2795" y="803"/>
                  <a:pt x="2794" y="803"/>
                  <a:pt x="2794" y="802"/>
                </a:cubicBezTo>
                <a:lnTo>
                  <a:pt x="2798" y="791"/>
                </a:lnTo>
                <a:cubicBezTo>
                  <a:pt x="2800" y="787"/>
                  <a:pt x="2801" y="786"/>
                  <a:pt x="2802" y="786"/>
                </a:cubicBezTo>
                <a:lnTo>
                  <a:pt x="2802" y="786"/>
                </a:lnTo>
                <a:cubicBezTo>
                  <a:pt x="2802" y="787"/>
                  <a:pt x="2801" y="789"/>
                  <a:pt x="2800" y="791"/>
                </a:cubicBezTo>
                <a:cubicBezTo>
                  <a:pt x="2797" y="799"/>
                  <a:pt x="2795" y="803"/>
                  <a:pt x="2795" y="803"/>
                </a:cubicBezTo>
                <a:close/>
                <a:moveTo>
                  <a:pt x="2512" y="1073"/>
                </a:moveTo>
                <a:lnTo>
                  <a:pt x="2511" y="1073"/>
                </a:lnTo>
                <a:lnTo>
                  <a:pt x="2516" y="1063"/>
                </a:lnTo>
                <a:cubicBezTo>
                  <a:pt x="2518" y="1059"/>
                  <a:pt x="2519" y="1058"/>
                  <a:pt x="2520" y="1058"/>
                </a:cubicBezTo>
                <a:lnTo>
                  <a:pt x="2520" y="1058"/>
                </a:lnTo>
                <a:cubicBezTo>
                  <a:pt x="2520" y="1059"/>
                  <a:pt x="2519" y="1061"/>
                  <a:pt x="2518" y="1063"/>
                </a:cubicBezTo>
                <a:cubicBezTo>
                  <a:pt x="2517" y="1066"/>
                  <a:pt x="2516" y="1068"/>
                  <a:pt x="2515" y="1070"/>
                </a:cubicBezTo>
                <a:cubicBezTo>
                  <a:pt x="2513" y="1072"/>
                  <a:pt x="2512" y="1073"/>
                  <a:pt x="2512" y="1073"/>
                </a:cubicBezTo>
                <a:close/>
                <a:moveTo>
                  <a:pt x="2544" y="1168"/>
                </a:moveTo>
                <a:cubicBezTo>
                  <a:pt x="2531" y="1168"/>
                  <a:pt x="2525" y="1168"/>
                  <a:pt x="2525" y="1166"/>
                </a:cubicBezTo>
                <a:cubicBezTo>
                  <a:pt x="2525" y="1166"/>
                  <a:pt x="2524" y="1165"/>
                  <a:pt x="2523" y="1165"/>
                </a:cubicBezTo>
                <a:lnTo>
                  <a:pt x="2519" y="1166"/>
                </a:lnTo>
                <a:cubicBezTo>
                  <a:pt x="2517" y="1166"/>
                  <a:pt x="2514" y="1164"/>
                  <a:pt x="2511" y="1160"/>
                </a:cubicBezTo>
                <a:cubicBezTo>
                  <a:pt x="2508" y="1156"/>
                  <a:pt x="2503" y="1154"/>
                  <a:pt x="2497" y="1153"/>
                </a:cubicBezTo>
                <a:cubicBezTo>
                  <a:pt x="2489" y="1151"/>
                  <a:pt x="2482" y="1147"/>
                  <a:pt x="2477" y="1140"/>
                </a:cubicBezTo>
                <a:cubicBezTo>
                  <a:pt x="2473" y="1133"/>
                  <a:pt x="2470" y="1125"/>
                  <a:pt x="2470" y="1115"/>
                </a:cubicBezTo>
                <a:lnTo>
                  <a:pt x="2470" y="1109"/>
                </a:lnTo>
                <a:cubicBezTo>
                  <a:pt x="2472" y="1089"/>
                  <a:pt x="2474" y="1079"/>
                  <a:pt x="2476" y="1079"/>
                </a:cubicBezTo>
                <a:lnTo>
                  <a:pt x="2476" y="1079"/>
                </a:lnTo>
                <a:cubicBezTo>
                  <a:pt x="2477" y="1079"/>
                  <a:pt x="2478" y="1078"/>
                  <a:pt x="2479" y="1076"/>
                </a:cubicBezTo>
                <a:cubicBezTo>
                  <a:pt x="2480" y="1073"/>
                  <a:pt x="2480" y="1071"/>
                  <a:pt x="2481" y="1068"/>
                </a:cubicBezTo>
                <a:cubicBezTo>
                  <a:pt x="2482" y="1066"/>
                  <a:pt x="2482" y="1064"/>
                  <a:pt x="2482" y="1062"/>
                </a:cubicBezTo>
                <a:lnTo>
                  <a:pt x="2482" y="1060"/>
                </a:lnTo>
                <a:lnTo>
                  <a:pt x="2484" y="1061"/>
                </a:lnTo>
                <a:cubicBezTo>
                  <a:pt x="2485" y="1061"/>
                  <a:pt x="2487" y="1060"/>
                  <a:pt x="2487" y="1058"/>
                </a:cubicBezTo>
                <a:cubicBezTo>
                  <a:pt x="2488" y="1056"/>
                  <a:pt x="2489" y="1054"/>
                  <a:pt x="2489" y="1053"/>
                </a:cubicBezTo>
                <a:cubicBezTo>
                  <a:pt x="2489" y="1053"/>
                  <a:pt x="2488" y="1053"/>
                  <a:pt x="2488" y="1053"/>
                </a:cubicBezTo>
                <a:cubicBezTo>
                  <a:pt x="2488" y="1053"/>
                  <a:pt x="2487" y="1053"/>
                  <a:pt x="2486" y="1053"/>
                </a:cubicBezTo>
                <a:cubicBezTo>
                  <a:pt x="2486" y="1054"/>
                  <a:pt x="2485" y="1054"/>
                  <a:pt x="2485" y="1054"/>
                </a:cubicBezTo>
                <a:cubicBezTo>
                  <a:pt x="2484" y="1054"/>
                  <a:pt x="2484" y="1054"/>
                  <a:pt x="2484" y="1053"/>
                </a:cubicBezTo>
                <a:cubicBezTo>
                  <a:pt x="2484" y="1051"/>
                  <a:pt x="2487" y="1045"/>
                  <a:pt x="2494" y="1035"/>
                </a:cubicBezTo>
                <a:cubicBezTo>
                  <a:pt x="2500" y="1025"/>
                  <a:pt x="2508" y="1014"/>
                  <a:pt x="2517" y="1001"/>
                </a:cubicBezTo>
                <a:cubicBezTo>
                  <a:pt x="2551" y="954"/>
                  <a:pt x="2595" y="911"/>
                  <a:pt x="2648" y="874"/>
                </a:cubicBezTo>
                <a:cubicBezTo>
                  <a:pt x="2657" y="868"/>
                  <a:pt x="2662" y="865"/>
                  <a:pt x="2664" y="865"/>
                </a:cubicBezTo>
                <a:lnTo>
                  <a:pt x="2664" y="865"/>
                </a:lnTo>
                <a:cubicBezTo>
                  <a:pt x="2664" y="866"/>
                  <a:pt x="2664" y="867"/>
                  <a:pt x="2663" y="869"/>
                </a:cubicBezTo>
                <a:lnTo>
                  <a:pt x="2661" y="871"/>
                </a:lnTo>
                <a:lnTo>
                  <a:pt x="2663" y="869"/>
                </a:lnTo>
                <a:cubicBezTo>
                  <a:pt x="2665" y="867"/>
                  <a:pt x="2666" y="866"/>
                  <a:pt x="2666" y="864"/>
                </a:cubicBezTo>
                <a:cubicBezTo>
                  <a:pt x="2666" y="862"/>
                  <a:pt x="2671" y="859"/>
                  <a:pt x="2681" y="853"/>
                </a:cubicBezTo>
                <a:cubicBezTo>
                  <a:pt x="2691" y="848"/>
                  <a:pt x="2698" y="845"/>
                  <a:pt x="2700" y="845"/>
                </a:cubicBezTo>
                <a:lnTo>
                  <a:pt x="2702" y="845"/>
                </a:lnTo>
                <a:cubicBezTo>
                  <a:pt x="2703" y="845"/>
                  <a:pt x="2703" y="844"/>
                  <a:pt x="2703" y="843"/>
                </a:cubicBezTo>
                <a:cubicBezTo>
                  <a:pt x="2703" y="842"/>
                  <a:pt x="2708" y="838"/>
                  <a:pt x="2717" y="834"/>
                </a:cubicBezTo>
                <a:cubicBezTo>
                  <a:pt x="2726" y="829"/>
                  <a:pt x="2732" y="827"/>
                  <a:pt x="2735" y="827"/>
                </a:cubicBezTo>
                <a:lnTo>
                  <a:pt x="2736" y="827"/>
                </a:lnTo>
                <a:cubicBezTo>
                  <a:pt x="2737" y="827"/>
                  <a:pt x="2737" y="826"/>
                  <a:pt x="2737" y="826"/>
                </a:cubicBezTo>
                <a:lnTo>
                  <a:pt x="2737" y="825"/>
                </a:lnTo>
                <a:cubicBezTo>
                  <a:pt x="2737" y="824"/>
                  <a:pt x="2738" y="823"/>
                  <a:pt x="2740" y="823"/>
                </a:cubicBezTo>
                <a:cubicBezTo>
                  <a:pt x="2743" y="822"/>
                  <a:pt x="2745" y="820"/>
                  <a:pt x="2747" y="818"/>
                </a:cubicBezTo>
                <a:cubicBezTo>
                  <a:pt x="2748" y="815"/>
                  <a:pt x="2752" y="807"/>
                  <a:pt x="2758" y="792"/>
                </a:cubicBezTo>
                <a:cubicBezTo>
                  <a:pt x="2761" y="786"/>
                  <a:pt x="2763" y="782"/>
                  <a:pt x="2763" y="780"/>
                </a:cubicBezTo>
                <a:cubicBezTo>
                  <a:pt x="2764" y="779"/>
                  <a:pt x="2765" y="778"/>
                  <a:pt x="2765" y="777"/>
                </a:cubicBezTo>
                <a:cubicBezTo>
                  <a:pt x="2765" y="776"/>
                  <a:pt x="2770" y="766"/>
                  <a:pt x="2777" y="747"/>
                </a:cubicBezTo>
                <a:cubicBezTo>
                  <a:pt x="2783" y="732"/>
                  <a:pt x="2786" y="723"/>
                  <a:pt x="2787" y="721"/>
                </a:cubicBezTo>
                <a:cubicBezTo>
                  <a:pt x="2788" y="718"/>
                  <a:pt x="2789" y="715"/>
                  <a:pt x="2790" y="710"/>
                </a:cubicBezTo>
                <a:cubicBezTo>
                  <a:pt x="2791" y="705"/>
                  <a:pt x="2792" y="701"/>
                  <a:pt x="2793" y="697"/>
                </a:cubicBezTo>
                <a:cubicBezTo>
                  <a:pt x="2794" y="695"/>
                  <a:pt x="2795" y="693"/>
                  <a:pt x="2795" y="692"/>
                </a:cubicBezTo>
                <a:lnTo>
                  <a:pt x="2795" y="692"/>
                </a:lnTo>
                <a:cubicBezTo>
                  <a:pt x="2795" y="691"/>
                  <a:pt x="2796" y="687"/>
                  <a:pt x="2798" y="681"/>
                </a:cubicBezTo>
                <a:lnTo>
                  <a:pt x="2807" y="650"/>
                </a:lnTo>
                <a:cubicBezTo>
                  <a:pt x="2810" y="643"/>
                  <a:pt x="2812" y="636"/>
                  <a:pt x="2813" y="628"/>
                </a:cubicBezTo>
                <a:lnTo>
                  <a:pt x="2817" y="611"/>
                </a:lnTo>
                <a:cubicBezTo>
                  <a:pt x="2820" y="598"/>
                  <a:pt x="2823" y="583"/>
                  <a:pt x="2825" y="569"/>
                </a:cubicBezTo>
                <a:cubicBezTo>
                  <a:pt x="2828" y="556"/>
                  <a:pt x="2829" y="546"/>
                  <a:pt x="2829" y="539"/>
                </a:cubicBezTo>
                <a:cubicBezTo>
                  <a:pt x="2829" y="536"/>
                  <a:pt x="2829" y="535"/>
                  <a:pt x="2828" y="535"/>
                </a:cubicBezTo>
                <a:cubicBezTo>
                  <a:pt x="2827" y="535"/>
                  <a:pt x="2819" y="542"/>
                  <a:pt x="2805" y="557"/>
                </a:cubicBezTo>
                <a:cubicBezTo>
                  <a:pt x="2790" y="572"/>
                  <a:pt x="2780" y="583"/>
                  <a:pt x="2774" y="592"/>
                </a:cubicBezTo>
                <a:cubicBezTo>
                  <a:pt x="2770" y="595"/>
                  <a:pt x="2765" y="601"/>
                  <a:pt x="2757" y="608"/>
                </a:cubicBezTo>
                <a:cubicBezTo>
                  <a:pt x="2749" y="616"/>
                  <a:pt x="2745" y="620"/>
                  <a:pt x="2745" y="622"/>
                </a:cubicBezTo>
                <a:lnTo>
                  <a:pt x="2745" y="623"/>
                </a:lnTo>
                <a:cubicBezTo>
                  <a:pt x="2745" y="624"/>
                  <a:pt x="2745" y="624"/>
                  <a:pt x="2743" y="624"/>
                </a:cubicBezTo>
                <a:cubicBezTo>
                  <a:pt x="2741" y="624"/>
                  <a:pt x="2736" y="627"/>
                  <a:pt x="2730" y="634"/>
                </a:cubicBezTo>
                <a:cubicBezTo>
                  <a:pt x="2719" y="645"/>
                  <a:pt x="2708" y="655"/>
                  <a:pt x="2698" y="663"/>
                </a:cubicBezTo>
                <a:cubicBezTo>
                  <a:pt x="2687" y="671"/>
                  <a:pt x="2680" y="676"/>
                  <a:pt x="2678" y="676"/>
                </a:cubicBezTo>
                <a:lnTo>
                  <a:pt x="2676" y="675"/>
                </a:lnTo>
                <a:cubicBezTo>
                  <a:pt x="2675" y="675"/>
                  <a:pt x="2675" y="676"/>
                  <a:pt x="2675" y="676"/>
                </a:cubicBezTo>
                <a:cubicBezTo>
                  <a:pt x="2675" y="677"/>
                  <a:pt x="2673" y="679"/>
                  <a:pt x="2670" y="681"/>
                </a:cubicBezTo>
                <a:cubicBezTo>
                  <a:pt x="2667" y="684"/>
                  <a:pt x="2663" y="686"/>
                  <a:pt x="2659" y="688"/>
                </a:cubicBezTo>
                <a:cubicBezTo>
                  <a:pt x="2656" y="690"/>
                  <a:pt x="2653" y="691"/>
                  <a:pt x="2651" y="691"/>
                </a:cubicBezTo>
                <a:lnTo>
                  <a:pt x="2650" y="691"/>
                </a:lnTo>
                <a:cubicBezTo>
                  <a:pt x="2649" y="691"/>
                  <a:pt x="2649" y="692"/>
                  <a:pt x="2649" y="693"/>
                </a:cubicBezTo>
                <a:cubicBezTo>
                  <a:pt x="2649" y="693"/>
                  <a:pt x="2647" y="695"/>
                  <a:pt x="2644" y="696"/>
                </a:cubicBezTo>
                <a:cubicBezTo>
                  <a:pt x="2638" y="700"/>
                  <a:pt x="2632" y="702"/>
                  <a:pt x="2627" y="702"/>
                </a:cubicBezTo>
                <a:cubicBezTo>
                  <a:pt x="2619" y="701"/>
                  <a:pt x="2612" y="698"/>
                  <a:pt x="2606" y="691"/>
                </a:cubicBezTo>
                <a:cubicBezTo>
                  <a:pt x="2600" y="684"/>
                  <a:pt x="2597" y="677"/>
                  <a:pt x="2597" y="669"/>
                </a:cubicBezTo>
                <a:lnTo>
                  <a:pt x="2597" y="667"/>
                </a:lnTo>
                <a:cubicBezTo>
                  <a:pt x="2599" y="651"/>
                  <a:pt x="2606" y="631"/>
                  <a:pt x="2620" y="607"/>
                </a:cubicBezTo>
                <a:cubicBezTo>
                  <a:pt x="2634" y="583"/>
                  <a:pt x="2651" y="561"/>
                  <a:pt x="2670" y="540"/>
                </a:cubicBezTo>
                <a:cubicBezTo>
                  <a:pt x="2689" y="518"/>
                  <a:pt x="2706" y="503"/>
                  <a:pt x="2722" y="495"/>
                </a:cubicBezTo>
                <a:cubicBezTo>
                  <a:pt x="2740" y="486"/>
                  <a:pt x="2757" y="481"/>
                  <a:pt x="2772" y="481"/>
                </a:cubicBezTo>
                <a:cubicBezTo>
                  <a:pt x="2783" y="481"/>
                  <a:pt x="2792" y="483"/>
                  <a:pt x="2800" y="487"/>
                </a:cubicBezTo>
                <a:cubicBezTo>
                  <a:pt x="2807" y="491"/>
                  <a:pt x="2812" y="497"/>
                  <a:pt x="2815" y="504"/>
                </a:cubicBezTo>
                <a:cubicBezTo>
                  <a:pt x="2817" y="508"/>
                  <a:pt x="2818" y="510"/>
                  <a:pt x="2819" y="512"/>
                </a:cubicBezTo>
                <a:cubicBezTo>
                  <a:pt x="2820" y="513"/>
                  <a:pt x="2821" y="513"/>
                  <a:pt x="2823" y="513"/>
                </a:cubicBezTo>
                <a:lnTo>
                  <a:pt x="2831" y="512"/>
                </a:lnTo>
                <a:cubicBezTo>
                  <a:pt x="2835" y="512"/>
                  <a:pt x="2839" y="513"/>
                  <a:pt x="2843" y="515"/>
                </a:cubicBezTo>
                <a:cubicBezTo>
                  <a:pt x="2846" y="517"/>
                  <a:pt x="2849" y="520"/>
                  <a:pt x="2850" y="523"/>
                </a:cubicBezTo>
                <a:cubicBezTo>
                  <a:pt x="2851" y="526"/>
                  <a:pt x="2852" y="531"/>
                  <a:pt x="2852" y="539"/>
                </a:cubicBezTo>
                <a:cubicBezTo>
                  <a:pt x="2852" y="556"/>
                  <a:pt x="2849" y="583"/>
                  <a:pt x="2843" y="617"/>
                </a:cubicBezTo>
                <a:cubicBezTo>
                  <a:pt x="2837" y="652"/>
                  <a:pt x="2830" y="685"/>
                  <a:pt x="2821" y="715"/>
                </a:cubicBezTo>
                <a:cubicBezTo>
                  <a:pt x="2817" y="728"/>
                  <a:pt x="2815" y="735"/>
                  <a:pt x="2815" y="737"/>
                </a:cubicBezTo>
                <a:lnTo>
                  <a:pt x="2815" y="737"/>
                </a:lnTo>
                <a:cubicBezTo>
                  <a:pt x="2816" y="737"/>
                  <a:pt x="2819" y="729"/>
                  <a:pt x="2823" y="714"/>
                </a:cubicBezTo>
                <a:cubicBezTo>
                  <a:pt x="2827" y="698"/>
                  <a:pt x="2830" y="690"/>
                  <a:pt x="2831" y="690"/>
                </a:cubicBezTo>
                <a:lnTo>
                  <a:pt x="2831" y="691"/>
                </a:lnTo>
                <a:cubicBezTo>
                  <a:pt x="2831" y="695"/>
                  <a:pt x="2827" y="712"/>
                  <a:pt x="2817" y="742"/>
                </a:cubicBezTo>
                <a:cubicBezTo>
                  <a:pt x="2809" y="766"/>
                  <a:pt x="2805" y="778"/>
                  <a:pt x="2804" y="778"/>
                </a:cubicBezTo>
                <a:lnTo>
                  <a:pt x="2804" y="778"/>
                </a:lnTo>
                <a:cubicBezTo>
                  <a:pt x="2804" y="776"/>
                  <a:pt x="2805" y="769"/>
                  <a:pt x="2810" y="757"/>
                </a:cubicBezTo>
                <a:cubicBezTo>
                  <a:pt x="2813" y="749"/>
                  <a:pt x="2814" y="744"/>
                  <a:pt x="2814" y="742"/>
                </a:cubicBezTo>
                <a:lnTo>
                  <a:pt x="2814" y="742"/>
                </a:lnTo>
                <a:cubicBezTo>
                  <a:pt x="2813" y="742"/>
                  <a:pt x="2808" y="754"/>
                  <a:pt x="2800" y="778"/>
                </a:cubicBezTo>
                <a:cubicBezTo>
                  <a:pt x="2793" y="796"/>
                  <a:pt x="2790" y="807"/>
                  <a:pt x="2790" y="810"/>
                </a:cubicBezTo>
                <a:lnTo>
                  <a:pt x="2790" y="811"/>
                </a:lnTo>
                <a:lnTo>
                  <a:pt x="2790" y="810"/>
                </a:lnTo>
                <a:cubicBezTo>
                  <a:pt x="2792" y="809"/>
                  <a:pt x="2793" y="808"/>
                  <a:pt x="2793" y="808"/>
                </a:cubicBezTo>
                <a:lnTo>
                  <a:pt x="2793" y="809"/>
                </a:lnTo>
                <a:cubicBezTo>
                  <a:pt x="2793" y="810"/>
                  <a:pt x="2794" y="811"/>
                  <a:pt x="2795" y="811"/>
                </a:cubicBezTo>
                <a:lnTo>
                  <a:pt x="2800" y="810"/>
                </a:lnTo>
                <a:cubicBezTo>
                  <a:pt x="2801" y="810"/>
                  <a:pt x="2802" y="811"/>
                  <a:pt x="2802" y="812"/>
                </a:cubicBezTo>
                <a:cubicBezTo>
                  <a:pt x="2802" y="813"/>
                  <a:pt x="2801" y="814"/>
                  <a:pt x="2800" y="816"/>
                </a:cubicBezTo>
                <a:cubicBezTo>
                  <a:pt x="2799" y="817"/>
                  <a:pt x="2798" y="818"/>
                  <a:pt x="2796" y="819"/>
                </a:cubicBezTo>
                <a:cubicBezTo>
                  <a:pt x="2794" y="820"/>
                  <a:pt x="2792" y="821"/>
                  <a:pt x="2790" y="823"/>
                </a:cubicBezTo>
                <a:cubicBezTo>
                  <a:pt x="2788" y="825"/>
                  <a:pt x="2786" y="826"/>
                  <a:pt x="2784" y="828"/>
                </a:cubicBezTo>
                <a:lnTo>
                  <a:pt x="2781" y="832"/>
                </a:lnTo>
                <a:cubicBezTo>
                  <a:pt x="2782" y="832"/>
                  <a:pt x="2783" y="831"/>
                  <a:pt x="2784" y="830"/>
                </a:cubicBezTo>
                <a:cubicBezTo>
                  <a:pt x="2785" y="829"/>
                  <a:pt x="2787" y="828"/>
                  <a:pt x="2787" y="828"/>
                </a:cubicBezTo>
                <a:cubicBezTo>
                  <a:pt x="2787" y="828"/>
                  <a:pt x="2788" y="828"/>
                  <a:pt x="2788" y="829"/>
                </a:cubicBezTo>
                <a:lnTo>
                  <a:pt x="2787" y="833"/>
                </a:lnTo>
                <a:cubicBezTo>
                  <a:pt x="2787" y="836"/>
                  <a:pt x="2785" y="837"/>
                  <a:pt x="2783" y="837"/>
                </a:cubicBezTo>
                <a:lnTo>
                  <a:pt x="2782" y="837"/>
                </a:lnTo>
                <a:cubicBezTo>
                  <a:pt x="2780" y="837"/>
                  <a:pt x="2779" y="838"/>
                  <a:pt x="2778" y="839"/>
                </a:cubicBezTo>
                <a:cubicBezTo>
                  <a:pt x="2777" y="841"/>
                  <a:pt x="2777" y="842"/>
                  <a:pt x="2777" y="844"/>
                </a:cubicBezTo>
                <a:cubicBezTo>
                  <a:pt x="2777" y="845"/>
                  <a:pt x="2777" y="846"/>
                  <a:pt x="2778" y="848"/>
                </a:cubicBezTo>
                <a:cubicBezTo>
                  <a:pt x="2779" y="849"/>
                  <a:pt x="2779" y="850"/>
                  <a:pt x="2779" y="850"/>
                </a:cubicBezTo>
                <a:lnTo>
                  <a:pt x="2777" y="850"/>
                </a:lnTo>
                <a:cubicBezTo>
                  <a:pt x="2775" y="850"/>
                  <a:pt x="2772" y="854"/>
                  <a:pt x="2770" y="860"/>
                </a:cubicBezTo>
                <a:cubicBezTo>
                  <a:pt x="2757" y="894"/>
                  <a:pt x="2743" y="926"/>
                  <a:pt x="2729" y="957"/>
                </a:cubicBezTo>
                <a:cubicBezTo>
                  <a:pt x="2715" y="988"/>
                  <a:pt x="2702" y="1013"/>
                  <a:pt x="2691" y="1031"/>
                </a:cubicBezTo>
                <a:cubicBezTo>
                  <a:pt x="2685" y="1043"/>
                  <a:pt x="2681" y="1050"/>
                  <a:pt x="2681" y="1051"/>
                </a:cubicBezTo>
                <a:lnTo>
                  <a:pt x="2681" y="1051"/>
                </a:lnTo>
                <a:cubicBezTo>
                  <a:pt x="2682" y="1051"/>
                  <a:pt x="2684" y="1050"/>
                  <a:pt x="2686" y="1046"/>
                </a:cubicBezTo>
                <a:cubicBezTo>
                  <a:pt x="2688" y="1041"/>
                  <a:pt x="2690" y="1039"/>
                  <a:pt x="2691" y="1039"/>
                </a:cubicBezTo>
                <a:cubicBezTo>
                  <a:pt x="2691" y="1040"/>
                  <a:pt x="2690" y="1041"/>
                  <a:pt x="2689" y="1044"/>
                </a:cubicBezTo>
                <a:cubicBezTo>
                  <a:pt x="2687" y="1047"/>
                  <a:pt x="2685" y="1050"/>
                  <a:pt x="2683" y="1053"/>
                </a:cubicBezTo>
                <a:cubicBezTo>
                  <a:pt x="2681" y="1056"/>
                  <a:pt x="2680" y="1059"/>
                  <a:pt x="2678" y="1062"/>
                </a:cubicBezTo>
                <a:cubicBezTo>
                  <a:pt x="2676" y="1065"/>
                  <a:pt x="2675" y="1066"/>
                  <a:pt x="2674" y="1067"/>
                </a:cubicBezTo>
                <a:lnTo>
                  <a:pt x="2673" y="1068"/>
                </a:lnTo>
                <a:lnTo>
                  <a:pt x="2674" y="1065"/>
                </a:lnTo>
                <a:lnTo>
                  <a:pt x="2674" y="1064"/>
                </a:lnTo>
                <a:cubicBezTo>
                  <a:pt x="2674" y="1064"/>
                  <a:pt x="2673" y="1064"/>
                  <a:pt x="2673" y="1065"/>
                </a:cubicBezTo>
                <a:cubicBezTo>
                  <a:pt x="2672" y="1066"/>
                  <a:pt x="2671" y="1067"/>
                  <a:pt x="2671" y="1068"/>
                </a:cubicBezTo>
                <a:lnTo>
                  <a:pt x="2671" y="1070"/>
                </a:lnTo>
                <a:cubicBezTo>
                  <a:pt x="2671" y="1073"/>
                  <a:pt x="2667" y="1080"/>
                  <a:pt x="2659" y="1090"/>
                </a:cubicBezTo>
                <a:cubicBezTo>
                  <a:pt x="2650" y="1101"/>
                  <a:pt x="2640" y="1112"/>
                  <a:pt x="2629" y="1123"/>
                </a:cubicBezTo>
                <a:cubicBezTo>
                  <a:pt x="2618" y="1134"/>
                  <a:pt x="2609" y="1142"/>
                  <a:pt x="2600" y="1149"/>
                </a:cubicBezTo>
                <a:cubicBezTo>
                  <a:pt x="2590" y="1156"/>
                  <a:pt x="2580" y="1161"/>
                  <a:pt x="2572" y="1164"/>
                </a:cubicBezTo>
                <a:cubicBezTo>
                  <a:pt x="2563" y="1167"/>
                  <a:pt x="2554" y="1168"/>
                  <a:pt x="2544" y="1168"/>
                </a:cubicBezTo>
                <a:close/>
                <a:moveTo>
                  <a:pt x="2683" y="571"/>
                </a:moveTo>
                <a:cubicBezTo>
                  <a:pt x="2684" y="571"/>
                  <a:pt x="2685" y="570"/>
                  <a:pt x="2686" y="568"/>
                </a:cubicBezTo>
                <a:cubicBezTo>
                  <a:pt x="2686" y="567"/>
                  <a:pt x="2688" y="563"/>
                  <a:pt x="2692" y="557"/>
                </a:cubicBezTo>
                <a:cubicBezTo>
                  <a:pt x="2697" y="551"/>
                  <a:pt x="2702" y="545"/>
                  <a:pt x="2708" y="538"/>
                </a:cubicBezTo>
                <a:cubicBezTo>
                  <a:pt x="2713" y="531"/>
                  <a:pt x="2718" y="526"/>
                  <a:pt x="2723" y="521"/>
                </a:cubicBezTo>
                <a:cubicBezTo>
                  <a:pt x="2730" y="514"/>
                  <a:pt x="2734" y="510"/>
                  <a:pt x="2734" y="509"/>
                </a:cubicBezTo>
                <a:lnTo>
                  <a:pt x="2733" y="509"/>
                </a:lnTo>
                <a:cubicBezTo>
                  <a:pt x="2733" y="509"/>
                  <a:pt x="2731" y="511"/>
                  <a:pt x="2727" y="513"/>
                </a:cubicBezTo>
                <a:cubicBezTo>
                  <a:pt x="2721" y="519"/>
                  <a:pt x="2714" y="525"/>
                  <a:pt x="2707" y="533"/>
                </a:cubicBezTo>
                <a:cubicBezTo>
                  <a:pt x="2700" y="540"/>
                  <a:pt x="2694" y="548"/>
                  <a:pt x="2689" y="555"/>
                </a:cubicBezTo>
                <a:cubicBezTo>
                  <a:pt x="2684" y="562"/>
                  <a:pt x="2682" y="567"/>
                  <a:pt x="2682" y="569"/>
                </a:cubicBezTo>
                <a:cubicBezTo>
                  <a:pt x="2682" y="570"/>
                  <a:pt x="2682" y="571"/>
                  <a:pt x="2683" y="571"/>
                </a:cubicBezTo>
                <a:close/>
                <a:moveTo>
                  <a:pt x="2664" y="588"/>
                </a:moveTo>
                <a:cubicBezTo>
                  <a:pt x="2664" y="588"/>
                  <a:pt x="2664" y="587"/>
                  <a:pt x="2665" y="586"/>
                </a:cubicBezTo>
                <a:cubicBezTo>
                  <a:pt x="2666" y="585"/>
                  <a:pt x="2667" y="584"/>
                  <a:pt x="2668" y="583"/>
                </a:cubicBezTo>
                <a:cubicBezTo>
                  <a:pt x="2669" y="583"/>
                  <a:pt x="2670" y="583"/>
                  <a:pt x="2671" y="583"/>
                </a:cubicBezTo>
                <a:lnTo>
                  <a:pt x="2675" y="583"/>
                </a:lnTo>
                <a:cubicBezTo>
                  <a:pt x="2676" y="583"/>
                  <a:pt x="2676" y="583"/>
                  <a:pt x="2676" y="581"/>
                </a:cubicBezTo>
                <a:cubicBezTo>
                  <a:pt x="2676" y="581"/>
                  <a:pt x="2676" y="580"/>
                  <a:pt x="2676" y="579"/>
                </a:cubicBezTo>
                <a:cubicBezTo>
                  <a:pt x="2675" y="578"/>
                  <a:pt x="2675" y="577"/>
                  <a:pt x="2675" y="576"/>
                </a:cubicBezTo>
                <a:lnTo>
                  <a:pt x="2678" y="577"/>
                </a:lnTo>
                <a:cubicBezTo>
                  <a:pt x="2681" y="577"/>
                  <a:pt x="2682" y="576"/>
                  <a:pt x="2682" y="574"/>
                </a:cubicBezTo>
                <a:cubicBezTo>
                  <a:pt x="2682" y="573"/>
                  <a:pt x="2681" y="573"/>
                  <a:pt x="2681" y="572"/>
                </a:cubicBezTo>
                <a:cubicBezTo>
                  <a:pt x="2680" y="572"/>
                  <a:pt x="2680" y="571"/>
                  <a:pt x="2680" y="570"/>
                </a:cubicBezTo>
                <a:lnTo>
                  <a:pt x="2681" y="566"/>
                </a:lnTo>
                <a:cubicBezTo>
                  <a:pt x="2679" y="566"/>
                  <a:pt x="2677" y="568"/>
                  <a:pt x="2674" y="571"/>
                </a:cubicBezTo>
                <a:cubicBezTo>
                  <a:pt x="2667" y="580"/>
                  <a:pt x="2664" y="585"/>
                  <a:pt x="2664" y="587"/>
                </a:cubicBezTo>
                <a:lnTo>
                  <a:pt x="2664" y="588"/>
                </a:lnTo>
                <a:close/>
                <a:moveTo>
                  <a:pt x="2625" y="672"/>
                </a:moveTo>
                <a:cubicBezTo>
                  <a:pt x="2626" y="672"/>
                  <a:pt x="2631" y="669"/>
                  <a:pt x="2640" y="663"/>
                </a:cubicBezTo>
                <a:cubicBezTo>
                  <a:pt x="2664" y="649"/>
                  <a:pt x="2697" y="621"/>
                  <a:pt x="2741" y="579"/>
                </a:cubicBezTo>
                <a:cubicBezTo>
                  <a:pt x="2754" y="566"/>
                  <a:pt x="2766" y="555"/>
                  <a:pt x="2775" y="546"/>
                </a:cubicBezTo>
                <a:cubicBezTo>
                  <a:pt x="2785" y="537"/>
                  <a:pt x="2791" y="532"/>
                  <a:pt x="2792" y="531"/>
                </a:cubicBezTo>
                <a:cubicBezTo>
                  <a:pt x="2794" y="530"/>
                  <a:pt x="2795" y="528"/>
                  <a:pt x="2797" y="526"/>
                </a:cubicBezTo>
                <a:cubicBezTo>
                  <a:pt x="2798" y="523"/>
                  <a:pt x="2798" y="521"/>
                  <a:pt x="2798" y="518"/>
                </a:cubicBezTo>
                <a:cubicBezTo>
                  <a:pt x="2798" y="517"/>
                  <a:pt x="2798" y="516"/>
                  <a:pt x="2798" y="515"/>
                </a:cubicBezTo>
                <a:cubicBezTo>
                  <a:pt x="2797" y="514"/>
                  <a:pt x="2797" y="513"/>
                  <a:pt x="2797" y="512"/>
                </a:cubicBezTo>
                <a:cubicBezTo>
                  <a:pt x="2797" y="512"/>
                  <a:pt x="2797" y="512"/>
                  <a:pt x="2798" y="512"/>
                </a:cubicBezTo>
                <a:lnTo>
                  <a:pt x="2799" y="512"/>
                </a:lnTo>
                <a:cubicBezTo>
                  <a:pt x="2800" y="513"/>
                  <a:pt x="2801" y="514"/>
                  <a:pt x="2801" y="517"/>
                </a:cubicBezTo>
                <a:lnTo>
                  <a:pt x="2801" y="521"/>
                </a:lnTo>
                <a:cubicBezTo>
                  <a:pt x="2801" y="523"/>
                  <a:pt x="2801" y="524"/>
                  <a:pt x="2802" y="524"/>
                </a:cubicBezTo>
                <a:cubicBezTo>
                  <a:pt x="2802" y="524"/>
                  <a:pt x="2802" y="524"/>
                  <a:pt x="2803" y="523"/>
                </a:cubicBezTo>
                <a:cubicBezTo>
                  <a:pt x="2803" y="523"/>
                  <a:pt x="2804" y="522"/>
                  <a:pt x="2804" y="520"/>
                </a:cubicBezTo>
                <a:cubicBezTo>
                  <a:pt x="2805" y="519"/>
                  <a:pt x="2805" y="517"/>
                  <a:pt x="2805" y="516"/>
                </a:cubicBezTo>
                <a:cubicBezTo>
                  <a:pt x="2805" y="513"/>
                  <a:pt x="2804" y="511"/>
                  <a:pt x="2804" y="511"/>
                </a:cubicBezTo>
                <a:cubicBezTo>
                  <a:pt x="2802" y="511"/>
                  <a:pt x="2802" y="511"/>
                  <a:pt x="2802" y="510"/>
                </a:cubicBezTo>
                <a:lnTo>
                  <a:pt x="2803" y="507"/>
                </a:lnTo>
                <a:cubicBezTo>
                  <a:pt x="2803" y="506"/>
                  <a:pt x="2803" y="505"/>
                  <a:pt x="2802" y="504"/>
                </a:cubicBezTo>
                <a:cubicBezTo>
                  <a:pt x="2802" y="503"/>
                  <a:pt x="2801" y="502"/>
                  <a:pt x="2800" y="502"/>
                </a:cubicBezTo>
                <a:cubicBezTo>
                  <a:pt x="2800" y="502"/>
                  <a:pt x="2800" y="503"/>
                  <a:pt x="2800" y="504"/>
                </a:cubicBezTo>
                <a:lnTo>
                  <a:pt x="2800" y="507"/>
                </a:lnTo>
                <a:cubicBezTo>
                  <a:pt x="2800" y="508"/>
                  <a:pt x="2800" y="509"/>
                  <a:pt x="2800" y="509"/>
                </a:cubicBezTo>
                <a:cubicBezTo>
                  <a:pt x="2798" y="509"/>
                  <a:pt x="2797" y="507"/>
                  <a:pt x="2797" y="504"/>
                </a:cubicBezTo>
                <a:lnTo>
                  <a:pt x="2797" y="499"/>
                </a:lnTo>
                <a:lnTo>
                  <a:pt x="2796" y="500"/>
                </a:lnTo>
                <a:cubicBezTo>
                  <a:pt x="2795" y="500"/>
                  <a:pt x="2795" y="501"/>
                  <a:pt x="2794" y="501"/>
                </a:cubicBezTo>
                <a:cubicBezTo>
                  <a:pt x="2793" y="501"/>
                  <a:pt x="2792" y="500"/>
                  <a:pt x="2791" y="499"/>
                </a:cubicBezTo>
                <a:cubicBezTo>
                  <a:pt x="2789" y="497"/>
                  <a:pt x="2788" y="496"/>
                  <a:pt x="2786" y="495"/>
                </a:cubicBezTo>
                <a:cubicBezTo>
                  <a:pt x="2784" y="494"/>
                  <a:pt x="2782" y="494"/>
                  <a:pt x="2780" y="494"/>
                </a:cubicBezTo>
                <a:cubicBezTo>
                  <a:pt x="2779" y="494"/>
                  <a:pt x="2778" y="495"/>
                  <a:pt x="2778" y="495"/>
                </a:cubicBezTo>
                <a:cubicBezTo>
                  <a:pt x="2778" y="496"/>
                  <a:pt x="2777" y="497"/>
                  <a:pt x="2776" y="497"/>
                </a:cubicBezTo>
                <a:lnTo>
                  <a:pt x="2771" y="496"/>
                </a:lnTo>
                <a:cubicBezTo>
                  <a:pt x="2770" y="496"/>
                  <a:pt x="2769" y="496"/>
                  <a:pt x="2769" y="497"/>
                </a:cubicBezTo>
                <a:cubicBezTo>
                  <a:pt x="2769" y="498"/>
                  <a:pt x="2768" y="499"/>
                  <a:pt x="2766" y="500"/>
                </a:cubicBezTo>
                <a:cubicBezTo>
                  <a:pt x="2764" y="502"/>
                  <a:pt x="2762" y="503"/>
                  <a:pt x="2759" y="504"/>
                </a:cubicBezTo>
                <a:cubicBezTo>
                  <a:pt x="2757" y="505"/>
                  <a:pt x="2755" y="506"/>
                  <a:pt x="2754" y="506"/>
                </a:cubicBezTo>
                <a:cubicBezTo>
                  <a:pt x="2753" y="506"/>
                  <a:pt x="2751" y="507"/>
                  <a:pt x="2748" y="510"/>
                </a:cubicBezTo>
                <a:cubicBezTo>
                  <a:pt x="2744" y="513"/>
                  <a:pt x="2738" y="518"/>
                  <a:pt x="2729" y="525"/>
                </a:cubicBezTo>
                <a:cubicBezTo>
                  <a:pt x="2716" y="537"/>
                  <a:pt x="2701" y="554"/>
                  <a:pt x="2685" y="576"/>
                </a:cubicBezTo>
                <a:cubicBezTo>
                  <a:pt x="2679" y="584"/>
                  <a:pt x="2675" y="588"/>
                  <a:pt x="2673" y="588"/>
                </a:cubicBezTo>
                <a:cubicBezTo>
                  <a:pt x="2672" y="588"/>
                  <a:pt x="2672" y="588"/>
                  <a:pt x="2672" y="587"/>
                </a:cubicBezTo>
                <a:cubicBezTo>
                  <a:pt x="2671" y="587"/>
                  <a:pt x="2671" y="586"/>
                  <a:pt x="2670" y="586"/>
                </a:cubicBezTo>
                <a:cubicBezTo>
                  <a:pt x="2668" y="586"/>
                  <a:pt x="2666" y="588"/>
                  <a:pt x="2663" y="590"/>
                </a:cubicBezTo>
                <a:cubicBezTo>
                  <a:pt x="2660" y="593"/>
                  <a:pt x="2659" y="594"/>
                  <a:pt x="2659" y="595"/>
                </a:cubicBezTo>
                <a:lnTo>
                  <a:pt x="2659" y="595"/>
                </a:lnTo>
                <a:lnTo>
                  <a:pt x="2662" y="595"/>
                </a:lnTo>
                <a:cubicBezTo>
                  <a:pt x="2663" y="595"/>
                  <a:pt x="2664" y="595"/>
                  <a:pt x="2664" y="596"/>
                </a:cubicBezTo>
                <a:cubicBezTo>
                  <a:pt x="2663" y="598"/>
                  <a:pt x="2661" y="599"/>
                  <a:pt x="2658" y="599"/>
                </a:cubicBezTo>
                <a:lnTo>
                  <a:pt x="2656" y="599"/>
                </a:lnTo>
                <a:cubicBezTo>
                  <a:pt x="2656" y="599"/>
                  <a:pt x="2655" y="599"/>
                  <a:pt x="2655" y="600"/>
                </a:cubicBezTo>
                <a:lnTo>
                  <a:pt x="2656" y="603"/>
                </a:lnTo>
                <a:cubicBezTo>
                  <a:pt x="2656" y="605"/>
                  <a:pt x="2655" y="607"/>
                  <a:pt x="2654" y="608"/>
                </a:cubicBezTo>
                <a:cubicBezTo>
                  <a:pt x="2653" y="610"/>
                  <a:pt x="2653" y="611"/>
                  <a:pt x="2653" y="612"/>
                </a:cubicBezTo>
                <a:lnTo>
                  <a:pt x="2653" y="614"/>
                </a:lnTo>
                <a:cubicBezTo>
                  <a:pt x="2653" y="614"/>
                  <a:pt x="2653" y="614"/>
                  <a:pt x="2651" y="614"/>
                </a:cubicBezTo>
                <a:cubicBezTo>
                  <a:pt x="2650" y="614"/>
                  <a:pt x="2650" y="615"/>
                  <a:pt x="2650" y="616"/>
                </a:cubicBezTo>
                <a:lnTo>
                  <a:pt x="2650" y="618"/>
                </a:lnTo>
                <a:cubicBezTo>
                  <a:pt x="2650" y="620"/>
                  <a:pt x="2649" y="621"/>
                  <a:pt x="2647" y="623"/>
                </a:cubicBezTo>
                <a:cubicBezTo>
                  <a:pt x="2642" y="628"/>
                  <a:pt x="2636" y="639"/>
                  <a:pt x="2629" y="657"/>
                </a:cubicBezTo>
                <a:cubicBezTo>
                  <a:pt x="2626" y="664"/>
                  <a:pt x="2624" y="669"/>
                  <a:pt x="2624" y="671"/>
                </a:cubicBezTo>
                <a:cubicBezTo>
                  <a:pt x="2624" y="671"/>
                  <a:pt x="2624" y="672"/>
                  <a:pt x="2625" y="672"/>
                </a:cubicBezTo>
                <a:close/>
                <a:moveTo>
                  <a:pt x="2693" y="663"/>
                </a:moveTo>
                <a:cubicBezTo>
                  <a:pt x="2694" y="663"/>
                  <a:pt x="2696" y="661"/>
                  <a:pt x="2698" y="658"/>
                </a:cubicBezTo>
                <a:cubicBezTo>
                  <a:pt x="2701" y="656"/>
                  <a:pt x="2702" y="654"/>
                  <a:pt x="2702" y="653"/>
                </a:cubicBezTo>
                <a:cubicBezTo>
                  <a:pt x="2701" y="653"/>
                  <a:pt x="2699" y="655"/>
                  <a:pt x="2697" y="657"/>
                </a:cubicBezTo>
                <a:cubicBezTo>
                  <a:pt x="2694" y="660"/>
                  <a:pt x="2693" y="662"/>
                  <a:pt x="2693" y="663"/>
                </a:cubicBezTo>
                <a:close/>
                <a:moveTo>
                  <a:pt x="2700" y="651"/>
                </a:moveTo>
                <a:cubicBezTo>
                  <a:pt x="2702" y="651"/>
                  <a:pt x="2708" y="647"/>
                  <a:pt x="2716" y="640"/>
                </a:cubicBezTo>
                <a:cubicBezTo>
                  <a:pt x="2723" y="634"/>
                  <a:pt x="2727" y="630"/>
                  <a:pt x="2727" y="628"/>
                </a:cubicBezTo>
                <a:lnTo>
                  <a:pt x="2727" y="627"/>
                </a:lnTo>
                <a:cubicBezTo>
                  <a:pt x="2727" y="627"/>
                  <a:pt x="2727" y="626"/>
                  <a:pt x="2728" y="626"/>
                </a:cubicBezTo>
                <a:lnTo>
                  <a:pt x="2729" y="626"/>
                </a:lnTo>
                <a:cubicBezTo>
                  <a:pt x="2730" y="626"/>
                  <a:pt x="2732" y="625"/>
                  <a:pt x="2735" y="622"/>
                </a:cubicBezTo>
                <a:cubicBezTo>
                  <a:pt x="2737" y="620"/>
                  <a:pt x="2740" y="617"/>
                  <a:pt x="2742" y="614"/>
                </a:cubicBezTo>
                <a:cubicBezTo>
                  <a:pt x="2744" y="611"/>
                  <a:pt x="2745" y="609"/>
                  <a:pt x="2745" y="607"/>
                </a:cubicBezTo>
                <a:cubicBezTo>
                  <a:pt x="2745" y="607"/>
                  <a:pt x="2745" y="606"/>
                  <a:pt x="2745" y="606"/>
                </a:cubicBezTo>
                <a:cubicBezTo>
                  <a:pt x="2744" y="606"/>
                  <a:pt x="2742" y="608"/>
                  <a:pt x="2736" y="612"/>
                </a:cubicBezTo>
                <a:cubicBezTo>
                  <a:pt x="2726" y="622"/>
                  <a:pt x="2715" y="631"/>
                  <a:pt x="2705" y="641"/>
                </a:cubicBezTo>
                <a:cubicBezTo>
                  <a:pt x="2701" y="646"/>
                  <a:pt x="2698" y="649"/>
                  <a:pt x="2698" y="650"/>
                </a:cubicBezTo>
                <a:cubicBezTo>
                  <a:pt x="2698" y="650"/>
                  <a:pt x="2699" y="651"/>
                  <a:pt x="2700" y="651"/>
                </a:cubicBezTo>
                <a:close/>
                <a:moveTo>
                  <a:pt x="2750" y="608"/>
                </a:moveTo>
                <a:cubicBezTo>
                  <a:pt x="2751" y="608"/>
                  <a:pt x="2752" y="607"/>
                  <a:pt x="2752" y="606"/>
                </a:cubicBezTo>
                <a:cubicBezTo>
                  <a:pt x="2752" y="605"/>
                  <a:pt x="2755" y="601"/>
                  <a:pt x="2760" y="595"/>
                </a:cubicBezTo>
                <a:cubicBezTo>
                  <a:pt x="2763" y="593"/>
                  <a:pt x="2767" y="587"/>
                  <a:pt x="2773" y="580"/>
                </a:cubicBezTo>
                <a:cubicBezTo>
                  <a:pt x="2777" y="575"/>
                  <a:pt x="2790" y="561"/>
                  <a:pt x="2814" y="538"/>
                </a:cubicBezTo>
                <a:cubicBezTo>
                  <a:pt x="2822" y="529"/>
                  <a:pt x="2826" y="524"/>
                  <a:pt x="2826" y="523"/>
                </a:cubicBezTo>
                <a:cubicBezTo>
                  <a:pt x="2826" y="523"/>
                  <a:pt x="2823" y="525"/>
                  <a:pt x="2817" y="531"/>
                </a:cubicBezTo>
                <a:cubicBezTo>
                  <a:pt x="2812" y="536"/>
                  <a:pt x="2805" y="542"/>
                  <a:pt x="2798" y="549"/>
                </a:cubicBezTo>
                <a:cubicBezTo>
                  <a:pt x="2790" y="557"/>
                  <a:pt x="2783" y="564"/>
                  <a:pt x="2777" y="571"/>
                </a:cubicBezTo>
                <a:lnTo>
                  <a:pt x="2770" y="577"/>
                </a:lnTo>
                <a:cubicBezTo>
                  <a:pt x="2766" y="581"/>
                  <a:pt x="2762" y="585"/>
                  <a:pt x="2758" y="589"/>
                </a:cubicBezTo>
                <a:cubicBezTo>
                  <a:pt x="2755" y="593"/>
                  <a:pt x="2752" y="596"/>
                  <a:pt x="2750" y="599"/>
                </a:cubicBezTo>
                <a:cubicBezTo>
                  <a:pt x="2748" y="602"/>
                  <a:pt x="2747" y="604"/>
                  <a:pt x="2747" y="605"/>
                </a:cubicBezTo>
                <a:cubicBezTo>
                  <a:pt x="2747" y="605"/>
                  <a:pt x="2747" y="605"/>
                  <a:pt x="2747" y="606"/>
                </a:cubicBezTo>
                <a:cubicBezTo>
                  <a:pt x="2747" y="606"/>
                  <a:pt x="2747" y="607"/>
                  <a:pt x="2748" y="607"/>
                </a:cubicBezTo>
                <a:cubicBezTo>
                  <a:pt x="2748" y="607"/>
                  <a:pt x="2749" y="608"/>
                  <a:pt x="2750" y="608"/>
                </a:cubicBezTo>
                <a:close/>
                <a:moveTo>
                  <a:pt x="2832" y="581"/>
                </a:moveTo>
                <a:cubicBezTo>
                  <a:pt x="2832" y="581"/>
                  <a:pt x="2833" y="578"/>
                  <a:pt x="2834" y="574"/>
                </a:cubicBezTo>
                <a:cubicBezTo>
                  <a:pt x="2835" y="569"/>
                  <a:pt x="2835" y="563"/>
                  <a:pt x="2836" y="557"/>
                </a:cubicBezTo>
                <a:cubicBezTo>
                  <a:pt x="2837" y="548"/>
                  <a:pt x="2837" y="541"/>
                  <a:pt x="2837" y="537"/>
                </a:cubicBezTo>
                <a:lnTo>
                  <a:pt x="2837" y="534"/>
                </a:lnTo>
                <a:cubicBezTo>
                  <a:pt x="2836" y="531"/>
                  <a:pt x="2836" y="529"/>
                  <a:pt x="2835" y="529"/>
                </a:cubicBezTo>
                <a:cubicBezTo>
                  <a:pt x="2834" y="529"/>
                  <a:pt x="2833" y="535"/>
                  <a:pt x="2833" y="546"/>
                </a:cubicBezTo>
                <a:lnTo>
                  <a:pt x="2831" y="577"/>
                </a:lnTo>
                <a:cubicBezTo>
                  <a:pt x="2831" y="580"/>
                  <a:pt x="2831" y="581"/>
                  <a:pt x="2832" y="581"/>
                </a:cubicBezTo>
                <a:close/>
                <a:moveTo>
                  <a:pt x="2829" y="601"/>
                </a:moveTo>
                <a:lnTo>
                  <a:pt x="2830" y="600"/>
                </a:lnTo>
                <a:cubicBezTo>
                  <a:pt x="2830" y="599"/>
                  <a:pt x="2831" y="597"/>
                  <a:pt x="2831" y="595"/>
                </a:cubicBezTo>
                <a:cubicBezTo>
                  <a:pt x="2831" y="593"/>
                  <a:pt x="2830" y="591"/>
                  <a:pt x="2830" y="591"/>
                </a:cubicBezTo>
                <a:cubicBezTo>
                  <a:pt x="2830" y="591"/>
                  <a:pt x="2830" y="593"/>
                  <a:pt x="2829" y="596"/>
                </a:cubicBezTo>
                <a:lnTo>
                  <a:pt x="2829" y="600"/>
                </a:lnTo>
                <a:lnTo>
                  <a:pt x="2829" y="601"/>
                </a:lnTo>
                <a:close/>
                <a:moveTo>
                  <a:pt x="2671" y="865"/>
                </a:moveTo>
                <a:cubicBezTo>
                  <a:pt x="2672" y="865"/>
                  <a:pt x="2673" y="864"/>
                  <a:pt x="2674" y="863"/>
                </a:cubicBezTo>
                <a:cubicBezTo>
                  <a:pt x="2675" y="862"/>
                  <a:pt x="2676" y="861"/>
                  <a:pt x="2677" y="860"/>
                </a:cubicBezTo>
                <a:cubicBezTo>
                  <a:pt x="2678" y="858"/>
                  <a:pt x="2679" y="858"/>
                  <a:pt x="2679" y="857"/>
                </a:cubicBezTo>
                <a:cubicBezTo>
                  <a:pt x="2679" y="857"/>
                  <a:pt x="2678" y="858"/>
                  <a:pt x="2676" y="860"/>
                </a:cubicBezTo>
                <a:cubicBezTo>
                  <a:pt x="2674" y="861"/>
                  <a:pt x="2673" y="862"/>
                  <a:pt x="2672" y="862"/>
                </a:cubicBezTo>
                <a:cubicBezTo>
                  <a:pt x="2671" y="863"/>
                  <a:pt x="2670" y="863"/>
                  <a:pt x="2670" y="863"/>
                </a:cubicBezTo>
                <a:lnTo>
                  <a:pt x="2670" y="864"/>
                </a:lnTo>
                <a:cubicBezTo>
                  <a:pt x="2670" y="864"/>
                  <a:pt x="2670" y="865"/>
                  <a:pt x="2671" y="865"/>
                </a:cubicBezTo>
                <a:close/>
                <a:moveTo>
                  <a:pt x="2644" y="917"/>
                </a:moveTo>
                <a:cubicBezTo>
                  <a:pt x="2645" y="917"/>
                  <a:pt x="2646" y="916"/>
                  <a:pt x="2648" y="913"/>
                </a:cubicBezTo>
                <a:lnTo>
                  <a:pt x="2651" y="911"/>
                </a:lnTo>
                <a:lnTo>
                  <a:pt x="2651" y="910"/>
                </a:lnTo>
                <a:lnTo>
                  <a:pt x="2648" y="912"/>
                </a:lnTo>
                <a:lnTo>
                  <a:pt x="2643" y="916"/>
                </a:lnTo>
                <a:cubicBezTo>
                  <a:pt x="2643" y="917"/>
                  <a:pt x="2644" y="917"/>
                  <a:pt x="2644" y="917"/>
                </a:cubicBezTo>
                <a:close/>
                <a:moveTo>
                  <a:pt x="2586" y="975"/>
                </a:moveTo>
                <a:cubicBezTo>
                  <a:pt x="2586" y="975"/>
                  <a:pt x="2588" y="974"/>
                  <a:pt x="2591" y="971"/>
                </a:cubicBezTo>
                <a:cubicBezTo>
                  <a:pt x="2594" y="968"/>
                  <a:pt x="2597" y="967"/>
                  <a:pt x="2598" y="967"/>
                </a:cubicBezTo>
                <a:lnTo>
                  <a:pt x="2599" y="967"/>
                </a:lnTo>
                <a:cubicBezTo>
                  <a:pt x="2600" y="967"/>
                  <a:pt x="2601" y="966"/>
                  <a:pt x="2602" y="964"/>
                </a:cubicBezTo>
                <a:cubicBezTo>
                  <a:pt x="2604" y="962"/>
                  <a:pt x="2604" y="960"/>
                  <a:pt x="2604" y="958"/>
                </a:cubicBezTo>
                <a:lnTo>
                  <a:pt x="2604" y="958"/>
                </a:lnTo>
                <a:cubicBezTo>
                  <a:pt x="2604" y="957"/>
                  <a:pt x="2604" y="957"/>
                  <a:pt x="2605" y="956"/>
                </a:cubicBezTo>
                <a:cubicBezTo>
                  <a:pt x="2606" y="955"/>
                  <a:pt x="2607" y="955"/>
                  <a:pt x="2608" y="954"/>
                </a:cubicBezTo>
                <a:cubicBezTo>
                  <a:pt x="2609" y="953"/>
                  <a:pt x="2611" y="953"/>
                  <a:pt x="2612" y="953"/>
                </a:cubicBezTo>
                <a:cubicBezTo>
                  <a:pt x="2612" y="953"/>
                  <a:pt x="2612" y="953"/>
                  <a:pt x="2612" y="953"/>
                </a:cubicBezTo>
                <a:cubicBezTo>
                  <a:pt x="2612" y="953"/>
                  <a:pt x="2612" y="953"/>
                  <a:pt x="2613" y="953"/>
                </a:cubicBezTo>
                <a:cubicBezTo>
                  <a:pt x="2614" y="953"/>
                  <a:pt x="2616" y="952"/>
                  <a:pt x="2619" y="948"/>
                </a:cubicBezTo>
                <a:cubicBezTo>
                  <a:pt x="2624" y="943"/>
                  <a:pt x="2626" y="941"/>
                  <a:pt x="2626" y="939"/>
                </a:cubicBezTo>
                <a:cubicBezTo>
                  <a:pt x="2627" y="937"/>
                  <a:pt x="2627" y="936"/>
                  <a:pt x="2629" y="936"/>
                </a:cubicBezTo>
                <a:lnTo>
                  <a:pt x="2631" y="936"/>
                </a:lnTo>
                <a:cubicBezTo>
                  <a:pt x="2633" y="936"/>
                  <a:pt x="2635" y="935"/>
                  <a:pt x="2637" y="933"/>
                </a:cubicBezTo>
                <a:cubicBezTo>
                  <a:pt x="2640" y="930"/>
                  <a:pt x="2642" y="929"/>
                  <a:pt x="2643" y="929"/>
                </a:cubicBezTo>
                <a:lnTo>
                  <a:pt x="2643" y="929"/>
                </a:lnTo>
                <a:cubicBezTo>
                  <a:pt x="2643" y="930"/>
                  <a:pt x="2642" y="932"/>
                  <a:pt x="2640" y="935"/>
                </a:cubicBezTo>
                <a:cubicBezTo>
                  <a:pt x="2638" y="936"/>
                  <a:pt x="2637" y="938"/>
                  <a:pt x="2637" y="938"/>
                </a:cubicBezTo>
                <a:cubicBezTo>
                  <a:pt x="2638" y="938"/>
                  <a:pt x="2639" y="937"/>
                  <a:pt x="2641" y="935"/>
                </a:cubicBezTo>
                <a:cubicBezTo>
                  <a:pt x="2643" y="932"/>
                  <a:pt x="2645" y="931"/>
                  <a:pt x="2646" y="929"/>
                </a:cubicBezTo>
                <a:cubicBezTo>
                  <a:pt x="2648" y="928"/>
                  <a:pt x="2649" y="928"/>
                  <a:pt x="2650" y="928"/>
                </a:cubicBezTo>
                <a:cubicBezTo>
                  <a:pt x="2651" y="928"/>
                  <a:pt x="2653" y="926"/>
                  <a:pt x="2656" y="923"/>
                </a:cubicBezTo>
                <a:cubicBezTo>
                  <a:pt x="2658" y="919"/>
                  <a:pt x="2660" y="918"/>
                  <a:pt x="2661" y="918"/>
                </a:cubicBezTo>
                <a:lnTo>
                  <a:pt x="2661" y="918"/>
                </a:lnTo>
                <a:cubicBezTo>
                  <a:pt x="2661" y="918"/>
                  <a:pt x="2661" y="919"/>
                  <a:pt x="2661" y="919"/>
                </a:cubicBezTo>
                <a:cubicBezTo>
                  <a:pt x="2662" y="919"/>
                  <a:pt x="2663" y="918"/>
                  <a:pt x="2664" y="917"/>
                </a:cubicBezTo>
                <a:cubicBezTo>
                  <a:pt x="2666" y="916"/>
                  <a:pt x="2666" y="914"/>
                  <a:pt x="2666" y="914"/>
                </a:cubicBezTo>
                <a:cubicBezTo>
                  <a:pt x="2666" y="913"/>
                  <a:pt x="2666" y="913"/>
                  <a:pt x="2666" y="912"/>
                </a:cubicBezTo>
                <a:cubicBezTo>
                  <a:pt x="2665" y="911"/>
                  <a:pt x="2665" y="911"/>
                  <a:pt x="2664" y="911"/>
                </a:cubicBezTo>
                <a:cubicBezTo>
                  <a:pt x="2663" y="911"/>
                  <a:pt x="2661" y="912"/>
                  <a:pt x="2659" y="914"/>
                </a:cubicBezTo>
                <a:lnTo>
                  <a:pt x="2655" y="916"/>
                </a:lnTo>
                <a:lnTo>
                  <a:pt x="2656" y="915"/>
                </a:lnTo>
                <a:cubicBezTo>
                  <a:pt x="2658" y="912"/>
                  <a:pt x="2659" y="910"/>
                  <a:pt x="2659" y="909"/>
                </a:cubicBezTo>
                <a:cubicBezTo>
                  <a:pt x="2659" y="909"/>
                  <a:pt x="2659" y="909"/>
                  <a:pt x="2658" y="909"/>
                </a:cubicBezTo>
                <a:lnTo>
                  <a:pt x="2656" y="910"/>
                </a:lnTo>
                <a:cubicBezTo>
                  <a:pt x="2656" y="910"/>
                  <a:pt x="2655" y="910"/>
                  <a:pt x="2655" y="909"/>
                </a:cubicBezTo>
                <a:lnTo>
                  <a:pt x="2656" y="909"/>
                </a:lnTo>
                <a:cubicBezTo>
                  <a:pt x="2657" y="907"/>
                  <a:pt x="2658" y="907"/>
                  <a:pt x="2660" y="907"/>
                </a:cubicBezTo>
                <a:lnTo>
                  <a:pt x="2661" y="907"/>
                </a:lnTo>
                <a:cubicBezTo>
                  <a:pt x="2663" y="907"/>
                  <a:pt x="2667" y="905"/>
                  <a:pt x="2672" y="902"/>
                </a:cubicBezTo>
                <a:lnTo>
                  <a:pt x="2678" y="896"/>
                </a:lnTo>
                <a:cubicBezTo>
                  <a:pt x="2682" y="893"/>
                  <a:pt x="2692" y="886"/>
                  <a:pt x="2710" y="875"/>
                </a:cubicBezTo>
                <a:cubicBezTo>
                  <a:pt x="2722" y="866"/>
                  <a:pt x="2728" y="861"/>
                  <a:pt x="2728" y="861"/>
                </a:cubicBezTo>
                <a:cubicBezTo>
                  <a:pt x="2728" y="861"/>
                  <a:pt x="2726" y="862"/>
                  <a:pt x="2723" y="864"/>
                </a:cubicBezTo>
                <a:cubicBezTo>
                  <a:pt x="2719" y="866"/>
                  <a:pt x="2716" y="868"/>
                  <a:pt x="2711" y="870"/>
                </a:cubicBezTo>
                <a:cubicBezTo>
                  <a:pt x="2707" y="872"/>
                  <a:pt x="2704" y="874"/>
                  <a:pt x="2702" y="876"/>
                </a:cubicBezTo>
                <a:cubicBezTo>
                  <a:pt x="2699" y="877"/>
                  <a:pt x="2695" y="880"/>
                  <a:pt x="2689" y="884"/>
                </a:cubicBezTo>
                <a:lnTo>
                  <a:pt x="2676" y="893"/>
                </a:lnTo>
                <a:cubicBezTo>
                  <a:pt x="2670" y="897"/>
                  <a:pt x="2665" y="900"/>
                  <a:pt x="2661" y="904"/>
                </a:cubicBezTo>
                <a:cubicBezTo>
                  <a:pt x="2656" y="908"/>
                  <a:pt x="2653" y="910"/>
                  <a:pt x="2651" y="912"/>
                </a:cubicBezTo>
                <a:cubicBezTo>
                  <a:pt x="2649" y="914"/>
                  <a:pt x="2648" y="916"/>
                  <a:pt x="2646" y="916"/>
                </a:cubicBezTo>
                <a:cubicBezTo>
                  <a:pt x="2645" y="917"/>
                  <a:pt x="2644" y="918"/>
                  <a:pt x="2643" y="918"/>
                </a:cubicBezTo>
                <a:lnTo>
                  <a:pt x="2642" y="918"/>
                </a:lnTo>
                <a:cubicBezTo>
                  <a:pt x="2640" y="918"/>
                  <a:pt x="2637" y="920"/>
                  <a:pt x="2633" y="925"/>
                </a:cubicBezTo>
                <a:lnTo>
                  <a:pt x="2629" y="930"/>
                </a:lnTo>
                <a:lnTo>
                  <a:pt x="2628" y="929"/>
                </a:lnTo>
                <a:lnTo>
                  <a:pt x="2629" y="928"/>
                </a:lnTo>
                <a:cubicBezTo>
                  <a:pt x="2628" y="928"/>
                  <a:pt x="2620" y="935"/>
                  <a:pt x="2606" y="948"/>
                </a:cubicBezTo>
                <a:cubicBezTo>
                  <a:pt x="2589" y="963"/>
                  <a:pt x="2581" y="971"/>
                  <a:pt x="2581" y="971"/>
                </a:cubicBezTo>
                <a:cubicBezTo>
                  <a:pt x="2581" y="971"/>
                  <a:pt x="2584" y="969"/>
                  <a:pt x="2590" y="964"/>
                </a:cubicBezTo>
                <a:cubicBezTo>
                  <a:pt x="2596" y="960"/>
                  <a:pt x="2600" y="958"/>
                  <a:pt x="2601" y="958"/>
                </a:cubicBezTo>
                <a:lnTo>
                  <a:pt x="2602" y="958"/>
                </a:lnTo>
                <a:cubicBezTo>
                  <a:pt x="2602" y="959"/>
                  <a:pt x="2599" y="962"/>
                  <a:pt x="2595" y="965"/>
                </a:cubicBezTo>
                <a:cubicBezTo>
                  <a:pt x="2592" y="967"/>
                  <a:pt x="2590" y="969"/>
                  <a:pt x="2588" y="971"/>
                </a:cubicBezTo>
                <a:cubicBezTo>
                  <a:pt x="2586" y="973"/>
                  <a:pt x="2586" y="975"/>
                  <a:pt x="2586" y="975"/>
                </a:cubicBezTo>
                <a:close/>
                <a:moveTo>
                  <a:pt x="2570" y="992"/>
                </a:moveTo>
                <a:cubicBezTo>
                  <a:pt x="2571" y="992"/>
                  <a:pt x="2572" y="991"/>
                  <a:pt x="2574" y="989"/>
                </a:cubicBezTo>
                <a:cubicBezTo>
                  <a:pt x="2577" y="986"/>
                  <a:pt x="2578" y="985"/>
                  <a:pt x="2580" y="985"/>
                </a:cubicBezTo>
                <a:lnTo>
                  <a:pt x="2581" y="986"/>
                </a:lnTo>
                <a:lnTo>
                  <a:pt x="2581" y="986"/>
                </a:lnTo>
                <a:cubicBezTo>
                  <a:pt x="2581" y="985"/>
                  <a:pt x="2581" y="985"/>
                  <a:pt x="2580" y="984"/>
                </a:cubicBezTo>
                <a:cubicBezTo>
                  <a:pt x="2580" y="984"/>
                  <a:pt x="2579" y="983"/>
                  <a:pt x="2578" y="983"/>
                </a:cubicBezTo>
                <a:cubicBezTo>
                  <a:pt x="2577" y="983"/>
                  <a:pt x="2575" y="984"/>
                  <a:pt x="2573" y="986"/>
                </a:cubicBezTo>
                <a:cubicBezTo>
                  <a:pt x="2571" y="988"/>
                  <a:pt x="2570" y="990"/>
                  <a:pt x="2570" y="992"/>
                </a:cubicBezTo>
                <a:close/>
                <a:moveTo>
                  <a:pt x="2550" y="1007"/>
                </a:moveTo>
                <a:cubicBezTo>
                  <a:pt x="2551" y="1007"/>
                  <a:pt x="2554" y="1006"/>
                  <a:pt x="2557" y="1003"/>
                </a:cubicBezTo>
                <a:cubicBezTo>
                  <a:pt x="2562" y="999"/>
                  <a:pt x="2564" y="996"/>
                  <a:pt x="2564" y="995"/>
                </a:cubicBezTo>
                <a:cubicBezTo>
                  <a:pt x="2564" y="994"/>
                  <a:pt x="2565" y="992"/>
                  <a:pt x="2566" y="990"/>
                </a:cubicBezTo>
                <a:cubicBezTo>
                  <a:pt x="2567" y="988"/>
                  <a:pt x="2569" y="986"/>
                  <a:pt x="2571" y="984"/>
                </a:cubicBezTo>
                <a:cubicBezTo>
                  <a:pt x="2573" y="981"/>
                  <a:pt x="2574" y="980"/>
                  <a:pt x="2574" y="980"/>
                </a:cubicBezTo>
                <a:lnTo>
                  <a:pt x="2567" y="987"/>
                </a:lnTo>
                <a:cubicBezTo>
                  <a:pt x="2556" y="998"/>
                  <a:pt x="2550" y="1005"/>
                  <a:pt x="2550" y="1007"/>
                </a:cubicBezTo>
                <a:close/>
                <a:moveTo>
                  <a:pt x="2532" y="991"/>
                </a:moveTo>
                <a:cubicBezTo>
                  <a:pt x="2533" y="991"/>
                  <a:pt x="2542" y="982"/>
                  <a:pt x="2560" y="963"/>
                </a:cubicBezTo>
                <a:cubicBezTo>
                  <a:pt x="2567" y="956"/>
                  <a:pt x="2572" y="950"/>
                  <a:pt x="2575" y="946"/>
                </a:cubicBezTo>
                <a:cubicBezTo>
                  <a:pt x="2577" y="943"/>
                  <a:pt x="2579" y="941"/>
                  <a:pt x="2581" y="939"/>
                </a:cubicBezTo>
                <a:lnTo>
                  <a:pt x="2601" y="922"/>
                </a:lnTo>
                <a:cubicBezTo>
                  <a:pt x="2612" y="913"/>
                  <a:pt x="2618" y="908"/>
                  <a:pt x="2620" y="908"/>
                </a:cubicBezTo>
                <a:cubicBezTo>
                  <a:pt x="2622" y="908"/>
                  <a:pt x="2623" y="906"/>
                  <a:pt x="2624" y="903"/>
                </a:cubicBezTo>
                <a:cubicBezTo>
                  <a:pt x="2625" y="900"/>
                  <a:pt x="2627" y="898"/>
                  <a:pt x="2630" y="897"/>
                </a:cubicBezTo>
                <a:cubicBezTo>
                  <a:pt x="2633" y="896"/>
                  <a:pt x="2634" y="895"/>
                  <a:pt x="2634" y="894"/>
                </a:cubicBezTo>
                <a:cubicBezTo>
                  <a:pt x="2635" y="894"/>
                  <a:pt x="2635" y="892"/>
                  <a:pt x="2635" y="890"/>
                </a:cubicBezTo>
                <a:cubicBezTo>
                  <a:pt x="2636" y="889"/>
                  <a:pt x="2636" y="889"/>
                  <a:pt x="2636" y="887"/>
                </a:cubicBezTo>
                <a:cubicBezTo>
                  <a:pt x="2636" y="887"/>
                  <a:pt x="2636" y="886"/>
                  <a:pt x="2635" y="886"/>
                </a:cubicBezTo>
                <a:lnTo>
                  <a:pt x="2635" y="886"/>
                </a:lnTo>
                <a:cubicBezTo>
                  <a:pt x="2634" y="887"/>
                  <a:pt x="2634" y="888"/>
                  <a:pt x="2634" y="890"/>
                </a:cubicBezTo>
                <a:lnTo>
                  <a:pt x="2634" y="890"/>
                </a:lnTo>
                <a:cubicBezTo>
                  <a:pt x="2634" y="891"/>
                  <a:pt x="2634" y="892"/>
                  <a:pt x="2633" y="892"/>
                </a:cubicBezTo>
                <a:cubicBezTo>
                  <a:pt x="2631" y="894"/>
                  <a:pt x="2629" y="895"/>
                  <a:pt x="2626" y="895"/>
                </a:cubicBezTo>
                <a:lnTo>
                  <a:pt x="2624" y="894"/>
                </a:lnTo>
                <a:cubicBezTo>
                  <a:pt x="2624" y="894"/>
                  <a:pt x="2624" y="895"/>
                  <a:pt x="2624" y="897"/>
                </a:cubicBezTo>
                <a:cubicBezTo>
                  <a:pt x="2624" y="899"/>
                  <a:pt x="2623" y="899"/>
                  <a:pt x="2622" y="899"/>
                </a:cubicBezTo>
                <a:lnTo>
                  <a:pt x="2621" y="899"/>
                </a:lnTo>
                <a:cubicBezTo>
                  <a:pt x="2620" y="899"/>
                  <a:pt x="2619" y="900"/>
                  <a:pt x="2619" y="900"/>
                </a:cubicBezTo>
                <a:lnTo>
                  <a:pt x="2619" y="902"/>
                </a:lnTo>
                <a:cubicBezTo>
                  <a:pt x="2619" y="903"/>
                  <a:pt x="2618" y="904"/>
                  <a:pt x="2616" y="905"/>
                </a:cubicBezTo>
                <a:cubicBezTo>
                  <a:pt x="2614" y="906"/>
                  <a:pt x="2613" y="906"/>
                  <a:pt x="2612" y="906"/>
                </a:cubicBezTo>
                <a:cubicBezTo>
                  <a:pt x="2611" y="906"/>
                  <a:pt x="2609" y="907"/>
                  <a:pt x="2607" y="909"/>
                </a:cubicBezTo>
                <a:cubicBezTo>
                  <a:pt x="2607" y="912"/>
                  <a:pt x="2603" y="916"/>
                  <a:pt x="2597" y="921"/>
                </a:cubicBezTo>
                <a:cubicBezTo>
                  <a:pt x="2587" y="930"/>
                  <a:pt x="2578" y="940"/>
                  <a:pt x="2569" y="949"/>
                </a:cubicBezTo>
                <a:cubicBezTo>
                  <a:pt x="2557" y="963"/>
                  <a:pt x="2550" y="969"/>
                  <a:pt x="2549" y="970"/>
                </a:cubicBezTo>
                <a:cubicBezTo>
                  <a:pt x="2547" y="970"/>
                  <a:pt x="2547" y="971"/>
                  <a:pt x="2546" y="972"/>
                </a:cubicBezTo>
                <a:cubicBezTo>
                  <a:pt x="2546" y="973"/>
                  <a:pt x="2545" y="975"/>
                  <a:pt x="2544" y="976"/>
                </a:cubicBezTo>
                <a:cubicBezTo>
                  <a:pt x="2539" y="982"/>
                  <a:pt x="2536" y="984"/>
                  <a:pt x="2535" y="984"/>
                </a:cubicBezTo>
                <a:lnTo>
                  <a:pt x="2534" y="984"/>
                </a:lnTo>
                <a:lnTo>
                  <a:pt x="2534" y="985"/>
                </a:lnTo>
                <a:cubicBezTo>
                  <a:pt x="2534" y="987"/>
                  <a:pt x="2534" y="989"/>
                  <a:pt x="2533" y="990"/>
                </a:cubicBezTo>
                <a:lnTo>
                  <a:pt x="2532" y="991"/>
                </a:lnTo>
                <a:close/>
                <a:moveTo>
                  <a:pt x="2524" y="1002"/>
                </a:moveTo>
                <a:cubicBezTo>
                  <a:pt x="2524" y="1002"/>
                  <a:pt x="2525" y="1002"/>
                  <a:pt x="2526" y="1001"/>
                </a:cubicBezTo>
                <a:cubicBezTo>
                  <a:pt x="2527" y="1000"/>
                  <a:pt x="2527" y="999"/>
                  <a:pt x="2528" y="999"/>
                </a:cubicBezTo>
                <a:cubicBezTo>
                  <a:pt x="2529" y="997"/>
                  <a:pt x="2529" y="997"/>
                  <a:pt x="2529" y="996"/>
                </a:cubicBezTo>
                <a:cubicBezTo>
                  <a:pt x="2529" y="995"/>
                  <a:pt x="2529" y="994"/>
                  <a:pt x="2528" y="994"/>
                </a:cubicBezTo>
                <a:cubicBezTo>
                  <a:pt x="2527" y="993"/>
                  <a:pt x="2527" y="993"/>
                  <a:pt x="2527" y="993"/>
                </a:cubicBezTo>
                <a:lnTo>
                  <a:pt x="2527" y="995"/>
                </a:lnTo>
                <a:cubicBezTo>
                  <a:pt x="2527" y="996"/>
                  <a:pt x="2527" y="997"/>
                  <a:pt x="2526" y="999"/>
                </a:cubicBezTo>
                <a:cubicBezTo>
                  <a:pt x="2524" y="1000"/>
                  <a:pt x="2524" y="1001"/>
                  <a:pt x="2524" y="1002"/>
                </a:cubicBezTo>
                <a:close/>
                <a:moveTo>
                  <a:pt x="2490" y="1049"/>
                </a:moveTo>
                <a:cubicBezTo>
                  <a:pt x="2491" y="1049"/>
                  <a:pt x="2493" y="1046"/>
                  <a:pt x="2496" y="1040"/>
                </a:cubicBezTo>
                <a:cubicBezTo>
                  <a:pt x="2497" y="1038"/>
                  <a:pt x="2498" y="1036"/>
                  <a:pt x="2498" y="1035"/>
                </a:cubicBezTo>
                <a:cubicBezTo>
                  <a:pt x="2498" y="1035"/>
                  <a:pt x="2498" y="1035"/>
                  <a:pt x="2497" y="1035"/>
                </a:cubicBezTo>
                <a:cubicBezTo>
                  <a:pt x="2497" y="1035"/>
                  <a:pt x="2496" y="1036"/>
                  <a:pt x="2495" y="1038"/>
                </a:cubicBezTo>
                <a:cubicBezTo>
                  <a:pt x="2492" y="1043"/>
                  <a:pt x="2490" y="1047"/>
                  <a:pt x="2490" y="1049"/>
                </a:cubicBezTo>
                <a:close/>
                <a:moveTo>
                  <a:pt x="2502" y="1034"/>
                </a:moveTo>
                <a:lnTo>
                  <a:pt x="2511" y="1022"/>
                </a:lnTo>
                <a:cubicBezTo>
                  <a:pt x="2514" y="1017"/>
                  <a:pt x="2516" y="1014"/>
                  <a:pt x="2516" y="1014"/>
                </a:cubicBezTo>
                <a:cubicBezTo>
                  <a:pt x="2516" y="1014"/>
                  <a:pt x="2515" y="1014"/>
                  <a:pt x="2513" y="1016"/>
                </a:cubicBezTo>
                <a:cubicBezTo>
                  <a:pt x="2512" y="1017"/>
                  <a:pt x="2510" y="1019"/>
                  <a:pt x="2509" y="1020"/>
                </a:cubicBezTo>
                <a:cubicBezTo>
                  <a:pt x="2508" y="1021"/>
                  <a:pt x="2507" y="1021"/>
                  <a:pt x="2506" y="1021"/>
                </a:cubicBezTo>
                <a:lnTo>
                  <a:pt x="2505" y="1020"/>
                </a:lnTo>
                <a:lnTo>
                  <a:pt x="2505" y="1021"/>
                </a:lnTo>
                <a:lnTo>
                  <a:pt x="2505" y="1024"/>
                </a:lnTo>
                <a:cubicBezTo>
                  <a:pt x="2505" y="1024"/>
                  <a:pt x="2505" y="1025"/>
                  <a:pt x="2504" y="1025"/>
                </a:cubicBezTo>
                <a:cubicBezTo>
                  <a:pt x="2503" y="1025"/>
                  <a:pt x="2503" y="1025"/>
                  <a:pt x="2503" y="1026"/>
                </a:cubicBezTo>
                <a:lnTo>
                  <a:pt x="2503" y="1028"/>
                </a:lnTo>
                <a:cubicBezTo>
                  <a:pt x="2503" y="1029"/>
                  <a:pt x="2503" y="1029"/>
                  <a:pt x="2502" y="1029"/>
                </a:cubicBezTo>
                <a:cubicBezTo>
                  <a:pt x="2501" y="1029"/>
                  <a:pt x="2500" y="1030"/>
                  <a:pt x="2500" y="1031"/>
                </a:cubicBezTo>
                <a:lnTo>
                  <a:pt x="2500" y="1032"/>
                </a:lnTo>
                <a:cubicBezTo>
                  <a:pt x="2501" y="1033"/>
                  <a:pt x="2502" y="1034"/>
                  <a:pt x="2502" y="1034"/>
                </a:cubicBezTo>
                <a:close/>
                <a:moveTo>
                  <a:pt x="2497" y="1128"/>
                </a:moveTo>
                <a:cubicBezTo>
                  <a:pt x="2498" y="1128"/>
                  <a:pt x="2498" y="1127"/>
                  <a:pt x="2498" y="1127"/>
                </a:cubicBezTo>
                <a:lnTo>
                  <a:pt x="2497" y="1124"/>
                </a:lnTo>
                <a:cubicBezTo>
                  <a:pt x="2497" y="1122"/>
                  <a:pt x="2498" y="1121"/>
                  <a:pt x="2499" y="1119"/>
                </a:cubicBezTo>
                <a:cubicBezTo>
                  <a:pt x="2500" y="1118"/>
                  <a:pt x="2501" y="1117"/>
                  <a:pt x="2501" y="1117"/>
                </a:cubicBezTo>
                <a:cubicBezTo>
                  <a:pt x="2501" y="1117"/>
                  <a:pt x="2500" y="1117"/>
                  <a:pt x="2499" y="1117"/>
                </a:cubicBezTo>
                <a:cubicBezTo>
                  <a:pt x="2499" y="1117"/>
                  <a:pt x="2498" y="1117"/>
                  <a:pt x="2497" y="1118"/>
                </a:cubicBezTo>
                <a:cubicBezTo>
                  <a:pt x="2495" y="1118"/>
                  <a:pt x="2495" y="1120"/>
                  <a:pt x="2495" y="1122"/>
                </a:cubicBezTo>
                <a:cubicBezTo>
                  <a:pt x="2495" y="1126"/>
                  <a:pt x="2495" y="1128"/>
                  <a:pt x="2497" y="1128"/>
                </a:cubicBezTo>
                <a:close/>
                <a:moveTo>
                  <a:pt x="2497" y="1107"/>
                </a:moveTo>
                <a:cubicBezTo>
                  <a:pt x="2498" y="1107"/>
                  <a:pt x="2499" y="1107"/>
                  <a:pt x="2499" y="1106"/>
                </a:cubicBezTo>
                <a:cubicBezTo>
                  <a:pt x="2500" y="1106"/>
                  <a:pt x="2501" y="1105"/>
                  <a:pt x="2502" y="1103"/>
                </a:cubicBezTo>
                <a:cubicBezTo>
                  <a:pt x="2503" y="1102"/>
                  <a:pt x="2504" y="1100"/>
                  <a:pt x="2504" y="1098"/>
                </a:cubicBezTo>
                <a:lnTo>
                  <a:pt x="2503" y="1093"/>
                </a:lnTo>
                <a:cubicBezTo>
                  <a:pt x="2503" y="1092"/>
                  <a:pt x="2503" y="1092"/>
                  <a:pt x="2504" y="1092"/>
                </a:cubicBezTo>
                <a:lnTo>
                  <a:pt x="2507" y="1093"/>
                </a:lnTo>
                <a:cubicBezTo>
                  <a:pt x="2507" y="1093"/>
                  <a:pt x="2507" y="1092"/>
                  <a:pt x="2507" y="1091"/>
                </a:cubicBezTo>
                <a:lnTo>
                  <a:pt x="2507" y="1087"/>
                </a:lnTo>
                <a:cubicBezTo>
                  <a:pt x="2507" y="1086"/>
                  <a:pt x="2507" y="1086"/>
                  <a:pt x="2507" y="1085"/>
                </a:cubicBezTo>
                <a:lnTo>
                  <a:pt x="2509" y="1086"/>
                </a:lnTo>
                <a:cubicBezTo>
                  <a:pt x="2509" y="1086"/>
                  <a:pt x="2509" y="1085"/>
                  <a:pt x="2509" y="1083"/>
                </a:cubicBezTo>
                <a:lnTo>
                  <a:pt x="2509" y="1077"/>
                </a:lnTo>
                <a:cubicBezTo>
                  <a:pt x="2509" y="1077"/>
                  <a:pt x="2509" y="1076"/>
                  <a:pt x="2509" y="1076"/>
                </a:cubicBezTo>
                <a:lnTo>
                  <a:pt x="2510" y="1077"/>
                </a:lnTo>
                <a:lnTo>
                  <a:pt x="2511" y="1077"/>
                </a:lnTo>
                <a:cubicBezTo>
                  <a:pt x="2512" y="1077"/>
                  <a:pt x="2516" y="1073"/>
                  <a:pt x="2520" y="1063"/>
                </a:cubicBezTo>
                <a:cubicBezTo>
                  <a:pt x="2528" y="1050"/>
                  <a:pt x="2533" y="1042"/>
                  <a:pt x="2536" y="1038"/>
                </a:cubicBezTo>
                <a:cubicBezTo>
                  <a:pt x="2541" y="1032"/>
                  <a:pt x="2543" y="1029"/>
                  <a:pt x="2543" y="1028"/>
                </a:cubicBezTo>
                <a:cubicBezTo>
                  <a:pt x="2543" y="1027"/>
                  <a:pt x="2545" y="1024"/>
                  <a:pt x="2548" y="1020"/>
                </a:cubicBezTo>
                <a:cubicBezTo>
                  <a:pt x="2556" y="1011"/>
                  <a:pt x="2560" y="1006"/>
                  <a:pt x="2560" y="1005"/>
                </a:cubicBezTo>
                <a:lnTo>
                  <a:pt x="2560" y="1004"/>
                </a:lnTo>
                <a:cubicBezTo>
                  <a:pt x="2559" y="1004"/>
                  <a:pt x="2557" y="1006"/>
                  <a:pt x="2555" y="1008"/>
                </a:cubicBezTo>
                <a:cubicBezTo>
                  <a:pt x="2551" y="1012"/>
                  <a:pt x="2549" y="1014"/>
                  <a:pt x="2547" y="1014"/>
                </a:cubicBezTo>
                <a:cubicBezTo>
                  <a:pt x="2546" y="1014"/>
                  <a:pt x="2545" y="1015"/>
                  <a:pt x="2545" y="1016"/>
                </a:cubicBezTo>
                <a:cubicBezTo>
                  <a:pt x="2545" y="1017"/>
                  <a:pt x="2544" y="1019"/>
                  <a:pt x="2544" y="1020"/>
                </a:cubicBezTo>
                <a:cubicBezTo>
                  <a:pt x="2543" y="1022"/>
                  <a:pt x="2543" y="1022"/>
                  <a:pt x="2542" y="1022"/>
                </a:cubicBezTo>
                <a:lnTo>
                  <a:pt x="2543" y="1019"/>
                </a:lnTo>
                <a:lnTo>
                  <a:pt x="2542" y="1019"/>
                </a:lnTo>
                <a:lnTo>
                  <a:pt x="2539" y="1023"/>
                </a:lnTo>
                <a:cubicBezTo>
                  <a:pt x="2537" y="1026"/>
                  <a:pt x="2536" y="1027"/>
                  <a:pt x="2536" y="1029"/>
                </a:cubicBezTo>
                <a:cubicBezTo>
                  <a:pt x="2536" y="1029"/>
                  <a:pt x="2536" y="1029"/>
                  <a:pt x="2536" y="1029"/>
                </a:cubicBezTo>
                <a:cubicBezTo>
                  <a:pt x="2537" y="1029"/>
                  <a:pt x="2538" y="1029"/>
                  <a:pt x="2539" y="1027"/>
                </a:cubicBezTo>
                <a:cubicBezTo>
                  <a:pt x="2539" y="1026"/>
                  <a:pt x="2540" y="1025"/>
                  <a:pt x="2540" y="1025"/>
                </a:cubicBezTo>
                <a:cubicBezTo>
                  <a:pt x="2541" y="1025"/>
                  <a:pt x="2541" y="1026"/>
                  <a:pt x="2541" y="1026"/>
                </a:cubicBezTo>
                <a:cubicBezTo>
                  <a:pt x="2541" y="1027"/>
                  <a:pt x="2540" y="1028"/>
                  <a:pt x="2539" y="1029"/>
                </a:cubicBezTo>
                <a:cubicBezTo>
                  <a:pt x="2538" y="1030"/>
                  <a:pt x="2537" y="1031"/>
                  <a:pt x="2537" y="1032"/>
                </a:cubicBezTo>
                <a:cubicBezTo>
                  <a:pt x="2536" y="1033"/>
                  <a:pt x="2535" y="1033"/>
                  <a:pt x="2534" y="1033"/>
                </a:cubicBezTo>
                <a:lnTo>
                  <a:pt x="2533" y="1033"/>
                </a:lnTo>
                <a:cubicBezTo>
                  <a:pt x="2530" y="1033"/>
                  <a:pt x="2525" y="1042"/>
                  <a:pt x="2515" y="1061"/>
                </a:cubicBezTo>
                <a:cubicBezTo>
                  <a:pt x="2505" y="1080"/>
                  <a:pt x="2501" y="1093"/>
                  <a:pt x="2501" y="1098"/>
                </a:cubicBezTo>
                <a:lnTo>
                  <a:pt x="2501" y="1100"/>
                </a:lnTo>
                <a:cubicBezTo>
                  <a:pt x="2501" y="1102"/>
                  <a:pt x="2500" y="1103"/>
                  <a:pt x="2498" y="1104"/>
                </a:cubicBezTo>
                <a:cubicBezTo>
                  <a:pt x="2497" y="1105"/>
                  <a:pt x="2496" y="1106"/>
                  <a:pt x="2496" y="1107"/>
                </a:cubicBezTo>
                <a:cubicBezTo>
                  <a:pt x="2496" y="1107"/>
                  <a:pt x="2496" y="1107"/>
                  <a:pt x="2497" y="1107"/>
                </a:cubicBezTo>
                <a:close/>
                <a:moveTo>
                  <a:pt x="2533" y="1137"/>
                </a:moveTo>
                <a:lnTo>
                  <a:pt x="2534" y="1137"/>
                </a:lnTo>
                <a:lnTo>
                  <a:pt x="2532" y="1133"/>
                </a:lnTo>
                <a:cubicBezTo>
                  <a:pt x="2532" y="1133"/>
                  <a:pt x="2533" y="1133"/>
                  <a:pt x="2534" y="1133"/>
                </a:cubicBezTo>
                <a:lnTo>
                  <a:pt x="2540" y="1134"/>
                </a:lnTo>
                <a:cubicBezTo>
                  <a:pt x="2541" y="1134"/>
                  <a:pt x="2541" y="1134"/>
                  <a:pt x="2541" y="1133"/>
                </a:cubicBezTo>
                <a:lnTo>
                  <a:pt x="2540" y="1129"/>
                </a:lnTo>
                <a:cubicBezTo>
                  <a:pt x="2540" y="1129"/>
                  <a:pt x="2540" y="1129"/>
                  <a:pt x="2540" y="1129"/>
                </a:cubicBezTo>
                <a:lnTo>
                  <a:pt x="2543" y="1130"/>
                </a:lnTo>
                <a:cubicBezTo>
                  <a:pt x="2548" y="1130"/>
                  <a:pt x="2555" y="1126"/>
                  <a:pt x="2566" y="1119"/>
                </a:cubicBezTo>
                <a:cubicBezTo>
                  <a:pt x="2577" y="1111"/>
                  <a:pt x="2587" y="1102"/>
                  <a:pt x="2597" y="1092"/>
                </a:cubicBezTo>
                <a:cubicBezTo>
                  <a:pt x="2606" y="1083"/>
                  <a:pt x="2613" y="1074"/>
                  <a:pt x="2619" y="1066"/>
                </a:cubicBezTo>
                <a:cubicBezTo>
                  <a:pt x="2626" y="1058"/>
                  <a:pt x="2629" y="1053"/>
                  <a:pt x="2629" y="1051"/>
                </a:cubicBezTo>
                <a:lnTo>
                  <a:pt x="2629" y="1050"/>
                </a:lnTo>
                <a:cubicBezTo>
                  <a:pt x="2629" y="1048"/>
                  <a:pt x="2632" y="1044"/>
                  <a:pt x="2637" y="1039"/>
                </a:cubicBezTo>
                <a:lnTo>
                  <a:pt x="2643" y="1033"/>
                </a:lnTo>
                <a:lnTo>
                  <a:pt x="2641" y="1034"/>
                </a:lnTo>
                <a:lnTo>
                  <a:pt x="2641" y="1033"/>
                </a:lnTo>
                <a:cubicBezTo>
                  <a:pt x="2641" y="1033"/>
                  <a:pt x="2641" y="1032"/>
                  <a:pt x="2641" y="1030"/>
                </a:cubicBezTo>
                <a:cubicBezTo>
                  <a:pt x="2642" y="1029"/>
                  <a:pt x="2643" y="1028"/>
                  <a:pt x="2644" y="1028"/>
                </a:cubicBezTo>
                <a:cubicBezTo>
                  <a:pt x="2645" y="1028"/>
                  <a:pt x="2646" y="1028"/>
                  <a:pt x="2648" y="1027"/>
                </a:cubicBezTo>
                <a:cubicBezTo>
                  <a:pt x="2649" y="1027"/>
                  <a:pt x="2650" y="1026"/>
                  <a:pt x="2650" y="1025"/>
                </a:cubicBezTo>
                <a:lnTo>
                  <a:pt x="2649" y="1025"/>
                </a:lnTo>
                <a:lnTo>
                  <a:pt x="2646" y="1027"/>
                </a:lnTo>
                <a:cubicBezTo>
                  <a:pt x="2646" y="1027"/>
                  <a:pt x="2645" y="1027"/>
                  <a:pt x="2645" y="1026"/>
                </a:cubicBezTo>
                <a:cubicBezTo>
                  <a:pt x="2645" y="1026"/>
                  <a:pt x="2646" y="1025"/>
                  <a:pt x="2646" y="1024"/>
                </a:cubicBezTo>
                <a:cubicBezTo>
                  <a:pt x="2647" y="1023"/>
                  <a:pt x="2648" y="1022"/>
                  <a:pt x="2649" y="1022"/>
                </a:cubicBezTo>
                <a:lnTo>
                  <a:pt x="2650" y="1022"/>
                </a:lnTo>
                <a:cubicBezTo>
                  <a:pt x="2651" y="1022"/>
                  <a:pt x="2652" y="1022"/>
                  <a:pt x="2652" y="1021"/>
                </a:cubicBezTo>
                <a:lnTo>
                  <a:pt x="2651" y="1021"/>
                </a:lnTo>
                <a:cubicBezTo>
                  <a:pt x="2651" y="1018"/>
                  <a:pt x="2656" y="1008"/>
                  <a:pt x="2666" y="990"/>
                </a:cubicBezTo>
                <a:cubicBezTo>
                  <a:pt x="2673" y="977"/>
                  <a:pt x="2681" y="963"/>
                  <a:pt x="2689" y="948"/>
                </a:cubicBezTo>
                <a:cubicBezTo>
                  <a:pt x="2708" y="912"/>
                  <a:pt x="2718" y="890"/>
                  <a:pt x="2721" y="881"/>
                </a:cubicBezTo>
                <a:lnTo>
                  <a:pt x="2725" y="871"/>
                </a:lnTo>
                <a:cubicBezTo>
                  <a:pt x="2725" y="871"/>
                  <a:pt x="2725" y="870"/>
                  <a:pt x="2724" y="870"/>
                </a:cubicBezTo>
                <a:cubicBezTo>
                  <a:pt x="2722" y="870"/>
                  <a:pt x="2712" y="877"/>
                  <a:pt x="2694" y="889"/>
                </a:cubicBezTo>
                <a:cubicBezTo>
                  <a:pt x="2685" y="895"/>
                  <a:pt x="2679" y="899"/>
                  <a:pt x="2678" y="899"/>
                </a:cubicBezTo>
                <a:cubicBezTo>
                  <a:pt x="2676" y="899"/>
                  <a:pt x="2674" y="901"/>
                  <a:pt x="2671" y="904"/>
                </a:cubicBezTo>
                <a:cubicBezTo>
                  <a:pt x="2668" y="907"/>
                  <a:pt x="2667" y="909"/>
                  <a:pt x="2667" y="910"/>
                </a:cubicBezTo>
                <a:cubicBezTo>
                  <a:pt x="2667" y="910"/>
                  <a:pt x="2667" y="911"/>
                  <a:pt x="2668" y="911"/>
                </a:cubicBezTo>
                <a:cubicBezTo>
                  <a:pt x="2669" y="911"/>
                  <a:pt x="2670" y="909"/>
                  <a:pt x="2672" y="907"/>
                </a:cubicBezTo>
                <a:cubicBezTo>
                  <a:pt x="2673" y="906"/>
                  <a:pt x="2674" y="906"/>
                  <a:pt x="2674" y="906"/>
                </a:cubicBezTo>
                <a:cubicBezTo>
                  <a:pt x="2675" y="906"/>
                  <a:pt x="2675" y="906"/>
                  <a:pt x="2675" y="906"/>
                </a:cubicBezTo>
                <a:lnTo>
                  <a:pt x="2675" y="906"/>
                </a:lnTo>
                <a:cubicBezTo>
                  <a:pt x="2675" y="906"/>
                  <a:pt x="2678" y="905"/>
                  <a:pt x="2682" y="901"/>
                </a:cubicBezTo>
                <a:cubicBezTo>
                  <a:pt x="2686" y="898"/>
                  <a:pt x="2689" y="896"/>
                  <a:pt x="2691" y="896"/>
                </a:cubicBezTo>
                <a:lnTo>
                  <a:pt x="2692" y="896"/>
                </a:lnTo>
                <a:cubicBezTo>
                  <a:pt x="2693" y="896"/>
                  <a:pt x="2693" y="895"/>
                  <a:pt x="2693" y="894"/>
                </a:cubicBezTo>
                <a:cubicBezTo>
                  <a:pt x="2693" y="893"/>
                  <a:pt x="2693" y="892"/>
                  <a:pt x="2694" y="892"/>
                </a:cubicBezTo>
                <a:lnTo>
                  <a:pt x="2695" y="893"/>
                </a:lnTo>
                <a:cubicBezTo>
                  <a:pt x="2696" y="893"/>
                  <a:pt x="2698" y="892"/>
                  <a:pt x="2700" y="889"/>
                </a:cubicBezTo>
                <a:cubicBezTo>
                  <a:pt x="2701" y="887"/>
                  <a:pt x="2703" y="886"/>
                  <a:pt x="2704" y="886"/>
                </a:cubicBezTo>
                <a:lnTo>
                  <a:pt x="2706" y="887"/>
                </a:lnTo>
                <a:cubicBezTo>
                  <a:pt x="2706" y="887"/>
                  <a:pt x="2707" y="886"/>
                  <a:pt x="2707" y="885"/>
                </a:cubicBezTo>
                <a:cubicBezTo>
                  <a:pt x="2707" y="884"/>
                  <a:pt x="2708" y="884"/>
                  <a:pt x="2709" y="884"/>
                </a:cubicBezTo>
                <a:lnTo>
                  <a:pt x="2710" y="884"/>
                </a:lnTo>
                <a:cubicBezTo>
                  <a:pt x="2711" y="884"/>
                  <a:pt x="2711" y="884"/>
                  <a:pt x="2711" y="883"/>
                </a:cubicBezTo>
                <a:cubicBezTo>
                  <a:pt x="2711" y="882"/>
                  <a:pt x="2712" y="882"/>
                  <a:pt x="2713" y="882"/>
                </a:cubicBezTo>
                <a:cubicBezTo>
                  <a:pt x="2714" y="882"/>
                  <a:pt x="2715" y="881"/>
                  <a:pt x="2716" y="881"/>
                </a:cubicBezTo>
                <a:lnTo>
                  <a:pt x="2716" y="881"/>
                </a:lnTo>
                <a:cubicBezTo>
                  <a:pt x="2716" y="882"/>
                  <a:pt x="2710" y="887"/>
                  <a:pt x="2698" y="895"/>
                </a:cubicBezTo>
                <a:cubicBezTo>
                  <a:pt x="2686" y="903"/>
                  <a:pt x="2674" y="911"/>
                  <a:pt x="2661" y="921"/>
                </a:cubicBezTo>
                <a:cubicBezTo>
                  <a:pt x="2649" y="931"/>
                  <a:pt x="2640" y="938"/>
                  <a:pt x="2636" y="942"/>
                </a:cubicBezTo>
                <a:cubicBezTo>
                  <a:pt x="2634" y="944"/>
                  <a:pt x="2631" y="947"/>
                  <a:pt x="2628" y="949"/>
                </a:cubicBezTo>
                <a:cubicBezTo>
                  <a:pt x="2625" y="952"/>
                  <a:pt x="2622" y="954"/>
                  <a:pt x="2619" y="956"/>
                </a:cubicBezTo>
                <a:cubicBezTo>
                  <a:pt x="2617" y="958"/>
                  <a:pt x="2615" y="959"/>
                  <a:pt x="2615" y="959"/>
                </a:cubicBezTo>
                <a:lnTo>
                  <a:pt x="2616" y="956"/>
                </a:lnTo>
                <a:lnTo>
                  <a:pt x="2614" y="958"/>
                </a:lnTo>
                <a:cubicBezTo>
                  <a:pt x="2613" y="958"/>
                  <a:pt x="2613" y="960"/>
                  <a:pt x="2613" y="960"/>
                </a:cubicBezTo>
                <a:cubicBezTo>
                  <a:pt x="2613" y="962"/>
                  <a:pt x="2612" y="963"/>
                  <a:pt x="2610" y="965"/>
                </a:cubicBezTo>
                <a:cubicBezTo>
                  <a:pt x="2609" y="967"/>
                  <a:pt x="2607" y="969"/>
                  <a:pt x="2605" y="971"/>
                </a:cubicBezTo>
                <a:cubicBezTo>
                  <a:pt x="2604" y="972"/>
                  <a:pt x="2602" y="973"/>
                  <a:pt x="2602" y="973"/>
                </a:cubicBezTo>
                <a:lnTo>
                  <a:pt x="2600" y="973"/>
                </a:lnTo>
                <a:lnTo>
                  <a:pt x="2600" y="974"/>
                </a:lnTo>
                <a:cubicBezTo>
                  <a:pt x="2600" y="975"/>
                  <a:pt x="2600" y="976"/>
                  <a:pt x="2599" y="978"/>
                </a:cubicBezTo>
                <a:cubicBezTo>
                  <a:pt x="2598" y="979"/>
                  <a:pt x="2596" y="981"/>
                  <a:pt x="2594" y="982"/>
                </a:cubicBezTo>
                <a:cubicBezTo>
                  <a:pt x="2592" y="984"/>
                  <a:pt x="2592" y="984"/>
                  <a:pt x="2591" y="984"/>
                </a:cubicBezTo>
                <a:lnTo>
                  <a:pt x="2592" y="983"/>
                </a:lnTo>
                <a:cubicBezTo>
                  <a:pt x="2594" y="981"/>
                  <a:pt x="2595" y="980"/>
                  <a:pt x="2595" y="979"/>
                </a:cubicBezTo>
                <a:lnTo>
                  <a:pt x="2594" y="979"/>
                </a:lnTo>
                <a:cubicBezTo>
                  <a:pt x="2593" y="979"/>
                  <a:pt x="2592" y="981"/>
                  <a:pt x="2589" y="984"/>
                </a:cubicBezTo>
                <a:cubicBezTo>
                  <a:pt x="2587" y="986"/>
                  <a:pt x="2586" y="987"/>
                  <a:pt x="2586" y="987"/>
                </a:cubicBezTo>
                <a:lnTo>
                  <a:pt x="2586" y="988"/>
                </a:lnTo>
                <a:lnTo>
                  <a:pt x="2587" y="987"/>
                </a:lnTo>
                <a:cubicBezTo>
                  <a:pt x="2588" y="987"/>
                  <a:pt x="2589" y="986"/>
                  <a:pt x="2589" y="986"/>
                </a:cubicBezTo>
                <a:lnTo>
                  <a:pt x="2590" y="987"/>
                </a:lnTo>
                <a:cubicBezTo>
                  <a:pt x="2590" y="987"/>
                  <a:pt x="2589" y="988"/>
                  <a:pt x="2588" y="990"/>
                </a:cubicBezTo>
                <a:cubicBezTo>
                  <a:pt x="2587" y="991"/>
                  <a:pt x="2586" y="993"/>
                  <a:pt x="2584" y="995"/>
                </a:cubicBezTo>
                <a:cubicBezTo>
                  <a:pt x="2582" y="996"/>
                  <a:pt x="2581" y="997"/>
                  <a:pt x="2581" y="997"/>
                </a:cubicBezTo>
                <a:lnTo>
                  <a:pt x="2585" y="991"/>
                </a:lnTo>
                <a:lnTo>
                  <a:pt x="2584" y="990"/>
                </a:lnTo>
                <a:cubicBezTo>
                  <a:pt x="2584" y="990"/>
                  <a:pt x="2582" y="992"/>
                  <a:pt x="2579" y="995"/>
                </a:cubicBezTo>
                <a:cubicBezTo>
                  <a:pt x="2577" y="997"/>
                  <a:pt x="2576" y="999"/>
                  <a:pt x="2576" y="999"/>
                </a:cubicBezTo>
                <a:lnTo>
                  <a:pt x="2579" y="998"/>
                </a:lnTo>
                <a:cubicBezTo>
                  <a:pt x="2580" y="998"/>
                  <a:pt x="2580" y="999"/>
                  <a:pt x="2580" y="1000"/>
                </a:cubicBezTo>
                <a:cubicBezTo>
                  <a:pt x="2580" y="1000"/>
                  <a:pt x="2579" y="1001"/>
                  <a:pt x="2579" y="1002"/>
                </a:cubicBezTo>
                <a:cubicBezTo>
                  <a:pt x="2578" y="1003"/>
                  <a:pt x="2577" y="1004"/>
                  <a:pt x="2576" y="1004"/>
                </a:cubicBezTo>
                <a:cubicBezTo>
                  <a:pt x="2575" y="1005"/>
                  <a:pt x="2574" y="1005"/>
                  <a:pt x="2574" y="1005"/>
                </a:cubicBezTo>
                <a:lnTo>
                  <a:pt x="2572" y="1005"/>
                </a:lnTo>
                <a:cubicBezTo>
                  <a:pt x="2571" y="1005"/>
                  <a:pt x="2571" y="1005"/>
                  <a:pt x="2570" y="1006"/>
                </a:cubicBezTo>
                <a:cubicBezTo>
                  <a:pt x="2569" y="1007"/>
                  <a:pt x="2569" y="1008"/>
                  <a:pt x="2569" y="1008"/>
                </a:cubicBezTo>
                <a:lnTo>
                  <a:pt x="2569" y="1009"/>
                </a:lnTo>
                <a:lnTo>
                  <a:pt x="2572" y="1007"/>
                </a:lnTo>
                <a:cubicBezTo>
                  <a:pt x="2572" y="1007"/>
                  <a:pt x="2572" y="1007"/>
                  <a:pt x="2572" y="1007"/>
                </a:cubicBezTo>
                <a:lnTo>
                  <a:pt x="2572" y="1009"/>
                </a:lnTo>
                <a:cubicBezTo>
                  <a:pt x="2571" y="1011"/>
                  <a:pt x="2571" y="1012"/>
                  <a:pt x="2569" y="1012"/>
                </a:cubicBezTo>
                <a:cubicBezTo>
                  <a:pt x="2568" y="1012"/>
                  <a:pt x="2567" y="1012"/>
                  <a:pt x="2566" y="1013"/>
                </a:cubicBezTo>
                <a:cubicBezTo>
                  <a:pt x="2564" y="1014"/>
                  <a:pt x="2564" y="1014"/>
                  <a:pt x="2564" y="1015"/>
                </a:cubicBezTo>
                <a:lnTo>
                  <a:pt x="2567" y="1014"/>
                </a:lnTo>
                <a:cubicBezTo>
                  <a:pt x="2567" y="1014"/>
                  <a:pt x="2568" y="1014"/>
                  <a:pt x="2568" y="1015"/>
                </a:cubicBezTo>
                <a:cubicBezTo>
                  <a:pt x="2568" y="1017"/>
                  <a:pt x="2567" y="1018"/>
                  <a:pt x="2565" y="1019"/>
                </a:cubicBezTo>
                <a:cubicBezTo>
                  <a:pt x="2564" y="1021"/>
                  <a:pt x="2562" y="1021"/>
                  <a:pt x="2561" y="1021"/>
                </a:cubicBezTo>
                <a:cubicBezTo>
                  <a:pt x="2561" y="1021"/>
                  <a:pt x="2560" y="1021"/>
                  <a:pt x="2560" y="1021"/>
                </a:cubicBezTo>
                <a:lnTo>
                  <a:pt x="2559" y="1020"/>
                </a:lnTo>
                <a:lnTo>
                  <a:pt x="2560" y="1022"/>
                </a:lnTo>
                <a:cubicBezTo>
                  <a:pt x="2560" y="1025"/>
                  <a:pt x="2558" y="1029"/>
                  <a:pt x="2555" y="1033"/>
                </a:cubicBezTo>
                <a:cubicBezTo>
                  <a:pt x="2544" y="1049"/>
                  <a:pt x="2536" y="1064"/>
                  <a:pt x="2529" y="1080"/>
                </a:cubicBezTo>
                <a:cubicBezTo>
                  <a:pt x="2523" y="1095"/>
                  <a:pt x="2520" y="1107"/>
                  <a:pt x="2519" y="1118"/>
                </a:cubicBezTo>
                <a:cubicBezTo>
                  <a:pt x="2519" y="1125"/>
                  <a:pt x="2520" y="1129"/>
                  <a:pt x="2520" y="1131"/>
                </a:cubicBezTo>
                <a:cubicBezTo>
                  <a:pt x="2520" y="1133"/>
                  <a:pt x="2522" y="1134"/>
                  <a:pt x="2524" y="1134"/>
                </a:cubicBezTo>
                <a:lnTo>
                  <a:pt x="2529" y="1134"/>
                </a:lnTo>
                <a:cubicBezTo>
                  <a:pt x="2530" y="1134"/>
                  <a:pt x="2531" y="1134"/>
                  <a:pt x="2531" y="1136"/>
                </a:cubicBezTo>
                <a:cubicBezTo>
                  <a:pt x="2532" y="1137"/>
                  <a:pt x="2532" y="1137"/>
                  <a:pt x="2533" y="1137"/>
                </a:cubicBezTo>
                <a:close/>
                <a:moveTo>
                  <a:pt x="2550" y="1152"/>
                </a:moveTo>
                <a:cubicBezTo>
                  <a:pt x="2553" y="1152"/>
                  <a:pt x="2557" y="1152"/>
                  <a:pt x="2561" y="1151"/>
                </a:cubicBezTo>
                <a:cubicBezTo>
                  <a:pt x="2564" y="1150"/>
                  <a:pt x="2567" y="1149"/>
                  <a:pt x="2567" y="1149"/>
                </a:cubicBezTo>
                <a:cubicBezTo>
                  <a:pt x="2567" y="1148"/>
                  <a:pt x="2568" y="1147"/>
                  <a:pt x="2569" y="1147"/>
                </a:cubicBezTo>
                <a:cubicBezTo>
                  <a:pt x="2569" y="1147"/>
                  <a:pt x="2570" y="1148"/>
                  <a:pt x="2570" y="1148"/>
                </a:cubicBezTo>
                <a:cubicBezTo>
                  <a:pt x="2571" y="1148"/>
                  <a:pt x="2571" y="1149"/>
                  <a:pt x="2572" y="1149"/>
                </a:cubicBezTo>
                <a:lnTo>
                  <a:pt x="2572" y="1148"/>
                </a:lnTo>
                <a:cubicBezTo>
                  <a:pt x="2572" y="1148"/>
                  <a:pt x="2571" y="1147"/>
                  <a:pt x="2570" y="1146"/>
                </a:cubicBezTo>
                <a:cubicBezTo>
                  <a:pt x="2569" y="1144"/>
                  <a:pt x="2569" y="1143"/>
                  <a:pt x="2569" y="1142"/>
                </a:cubicBezTo>
                <a:lnTo>
                  <a:pt x="2572" y="1143"/>
                </a:lnTo>
                <a:cubicBezTo>
                  <a:pt x="2574" y="1143"/>
                  <a:pt x="2576" y="1143"/>
                  <a:pt x="2578" y="1142"/>
                </a:cubicBezTo>
                <a:cubicBezTo>
                  <a:pt x="2582" y="1139"/>
                  <a:pt x="2585" y="1137"/>
                  <a:pt x="2585" y="1134"/>
                </a:cubicBezTo>
                <a:cubicBezTo>
                  <a:pt x="2586" y="1132"/>
                  <a:pt x="2588" y="1130"/>
                  <a:pt x="2591" y="1129"/>
                </a:cubicBezTo>
                <a:cubicBezTo>
                  <a:pt x="2594" y="1127"/>
                  <a:pt x="2595" y="1126"/>
                  <a:pt x="2596" y="1126"/>
                </a:cubicBezTo>
                <a:lnTo>
                  <a:pt x="2591" y="1130"/>
                </a:lnTo>
                <a:cubicBezTo>
                  <a:pt x="2588" y="1132"/>
                  <a:pt x="2587" y="1134"/>
                  <a:pt x="2587" y="1134"/>
                </a:cubicBezTo>
                <a:lnTo>
                  <a:pt x="2587" y="1135"/>
                </a:lnTo>
                <a:cubicBezTo>
                  <a:pt x="2590" y="1135"/>
                  <a:pt x="2599" y="1128"/>
                  <a:pt x="2614" y="1113"/>
                </a:cubicBezTo>
                <a:cubicBezTo>
                  <a:pt x="2629" y="1099"/>
                  <a:pt x="2638" y="1090"/>
                  <a:pt x="2638" y="1087"/>
                </a:cubicBezTo>
                <a:cubicBezTo>
                  <a:pt x="2637" y="1087"/>
                  <a:pt x="2632" y="1092"/>
                  <a:pt x="2623" y="1100"/>
                </a:cubicBezTo>
                <a:cubicBezTo>
                  <a:pt x="2617" y="1107"/>
                  <a:pt x="2614" y="1110"/>
                  <a:pt x="2613" y="1110"/>
                </a:cubicBezTo>
                <a:lnTo>
                  <a:pt x="2614" y="1109"/>
                </a:lnTo>
                <a:cubicBezTo>
                  <a:pt x="2616" y="1105"/>
                  <a:pt x="2621" y="1100"/>
                  <a:pt x="2629" y="1093"/>
                </a:cubicBezTo>
                <a:cubicBezTo>
                  <a:pt x="2634" y="1087"/>
                  <a:pt x="2638" y="1081"/>
                  <a:pt x="2643" y="1075"/>
                </a:cubicBezTo>
                <a:cubicBezTo>
                  <a:pt x="2646" y="1071"/>
                  <a:pt x="2647" y="1070"/>
                  <a:pt x="2648" y="1070"/>
                </a:cubicBezTo>
                <a:cubicBezTo>
                  <a:pt x="2648" y="1070"/>
                  <a:pt x="2648" y="1070"/>
                  <a:pt x="2648" y="1070"/>
                </a:cubicBezTo>
                <a:lnTo>
                  <a:pt x="2648" y="1071"/>
                </a:lnTo>
                <a:cubicBezTo>
                  <a:pt x="2648" y="1072"/>
                  <a:pt x="2649" y="1072"/>
                  <a:pt x="2649" y="1072"/>
                </a:cubicBezTo>
                <a:lnTo>
                  <a:pt x="2650" y="1072"/>
                </a:lnTo>
                <a:cubicBezTo>
                  <a:pt x="2651" y="1071"/>
                  <a:pt x="2652" y="1070"/>
                  <a:pt x="2652" y="1069"/>
                </a:cubicBezTo>
                <a:cubicBezTo>
                  <a:pt x="2652" y="1068"/>
                  <a:pt x="2651" y="1067"/>
                  <a:pt x="2651" y="1066"/>
                </a:cubicBezTo>
                <a:cubicBezTo>
                  <a:pt x="2650" y="1064"/>
                  <a:pt x="2649" y="1063"/>
                  <a:pt x="2648" y="1063"/>
                </a:cubicBezTo>
                <a:cubicBezTo>
                  <a:pt x="2647" y="1063"/>
                  <a:pt x="2645" y="1066"/>
                  <a:pt x="2643" y="1071"/>
                </a:cubicBezTo>
                <a:cubicBezTo>
                  <a:pt x="2636" y="1082"/>
                  <a:pt x="2624" y="1095"/>
                  <a:pt x="2607" y="1108"/>
                </a:cubicBezTo>
                <a:cubicBezTo>
                  <a:pt x="2590" y="1122"/>
                  <a:pt x="2572" y="1133"/>
                  <a:pt x="2554" y="1142"/>
                </a:cubicBezTo>
                <a:cubicBezTo>
                  <a:pt x="2544" y="1146"/>
                  <a:pt x="2539" y="1149"/>
                  <a:pt x="2539" y="1151"/>
                </a:cubicBezTo>
                <a:cubicBezTo>
                  <a:pt x="2539" y="1152"/>
                  <a:pt x="2543" y="1152"/>
                  <a:pt x="2550" y="1152"/>
                </a:cubicBezTo>
                <a:close/>
                <a:moveTo>
                  <a:pt x="2654" y="1066"/>
                </a:moveTo>
                <a:cubicBezTo>
                  <a:pt x="2655" y="1066"/>
                  <a:pt x="2655" y="1066"/>
                  <a:pt x="2655" y="1065"/>
                </a:cubicBezTo>
                <a:lnTo>
                  <a:pt x="2654" y="1062"/>
                </a:lnTo>
                <a:cubicBezTo>
                  <a:pt x="2654" y="1060"/>
                  <a:pt x="2655" y="1060"/>
                  <a:pt x="2657" y="1059"/>
                </a:cubicBezTo>
                <a:cubicBezTo>
                  <a:pt x="2659" y="1059"/>
                  <a:pt x="2663" y="1054"/>
                  <a:pt x="2669" y="1044"/>
                </a:cubicBezTo>
                <a:cubicBezTo>
                  <a:pt x="2675" y="1034"/>
                  <a:pt x="2679" y="1029"/>
                  <a:pt x="2680" y="1029"/>
                </a:cubicBezTo>
                <a:lnTo>
                  <a:pt x="2681" y="1029"/>
                </a:lnTo>
                <a:lnTo>
                  <a:pt x="2681" y="1026"/>
                </a:lnTo>
                <a:cubicBezTo>
                  <a:pt x="2681" y="1023"/>
                  <a:pt x="2682" y="1021"/>
                  <a:pt x="2685" y="1019"/>
                </a:cubicBezTo>
                <a:cubicBezTo>
                  <a:pt x="2687" y="1016"/>
                  <a:pt x="2688" y="1014"/>
                  <a:pt x="2688" y="1012"/>
                </a:cubicBezTo>
                <a:lnTo>
                  <a:pt x="2688" y="1009"/>
                </a:lnTo>
                <a:lnTo>
                  <a:pt x="2688" y="1009"/>
                </a:lnTo>
                <a:lnTo>
                  <a:pt x="2692" y="1011"/>
                </a:lnTo>
                <a:lnTo>
                  <a:pt x="2691" y="1009"/>
                </a:lnTo>
                <a:cubicBezTo>
                  <a:pt x="2691" y="1008"/>
                  <a:pt x="2692" y="1007"/>
                  <a:pt x="2693" y="1006"/>
                </a:cubicBezTo>
                <a:cubicBezTo>
                  <a:pt x="2694" y="1004"/>
                  <a:pt x="2695" y="1004"/>
                  <a:pt x="2696" y="1004"/>
                </a:cubicBezTo>
                <a:cubicBezTo>
                  <a:pt x="2696" y="1004"/>
                  <a:pt x="2698" y="1005"/>
                  <a:pt x="2699" y="1006"/>
                </a:cubicBezTo>
                <a:cubicBezTo>
                  <a:pt x="2700" y="1008"/>
                  <a:pt x="2700" y="1009"/>
                  <a:pt x="2700" y="1009"/>
                </a:cubicBezTo>
                <a:lnTo>
                  <a:pt x="2700" y="1003"/>
                </a:lnTo>
                <a:cubicBezTo>
                  <a:pt x="2700" y="1003"/>
                  <a:pt x="2700" y="1002"/>
                  <a:pt x="2700" y="1002"/>
                </a:cubicBezTo>
                <a:lnTo>
                  <a:pt x="2702" y="1003"/>
                </a:lnTo>
                <a:cubicBezTo>
                  <a:pt x="2703" y="1003"/>
                  <a:pt x="2703" y="1003"/>
                  <a:pt x="2703" y="1002"/>
                </a:cubicBezTo>
                <a:lnTo>
                  <a:pt x="2702" y="998"/>
                </a:lnTo>
                <a:cubicBezTo>
                  <a:pt x="2702" y="998"/>
                  <a:pt x="2702" y="998"/>
                  <a:pt x="2702" y="998"/>
                </a:cubicBezTo>
                <a:lnTo>
                  <a:pt x="2705" y="999"/>
                </a:lnTo>
                <a:cubicBezTo>
                  <a:pt x="2705" y="999"/>
                  <a:pt x="2705" y="999"/>
                  <a:pt x="2705" y="998"/>
                </a:cubicBezTo>
                <a:cubicBezTo>
                  <a:pt x="2705" y="998"/>
                  <a:pt x="2705" y="997"/>
                  <a:pt x="2705" y="996"/>
                </a:cubicBezTo>
                <a:cubicBezTo>
                  <a:pt x="2705" y="995"/>
                  <a:pt x="2705" y="994"/>
                  <a:pt x="2704" y="994"/>
                </a:cubicBezTo>
                <a:cubicBezTo>
                  <a:pt x="2703" y="994"/>
                  <a:pt x="2702" y="995"/>
                  <a:pt x="2701" y="997"/>
                </a:cubicBezTo>
                <a:cubicBezTo>
                  <a:pt x="2699" y="999"/>
                  <a:pt x="2698" y="1000"/>
                  <a:pt x="2698" y="1000"/>
                </a:cubicBezTo>
                <a:lnTo>
                  <a:pt x="2699" y="995"/>
                </a:lnTo>
                <a:cubicBezTo>
                  <a:pt x="2700" y="992"/>
                  <a:pt x="2702" y="990"/>
                  <a:pt x="2704" y="990"/>
                </a:cubicBezTo>
                <a:cubicBezTo>
                  <a:pt x="2705" y="990"/>
                  <a:pt x="2707" y="989"/>
                  <a:pt x="2708" y="986"/>
                </a:cubicBezTo>
                <a:cubicBezTo>
                  <a:pt x="2709" y="984"/>
                  <a:pt x="2710" y="982"/>
                  <a:pt x="2711" y="982"/>
                </a:cubicBezTo>
                <a:lnTo>
                  <a:pt x="2712" y="983"/>
                </a:lnTo>
                <a:cubicBezTo>
                  <a:pt x="2713" y="983"/>
                  <a:pt x="2713" y="982"/>
                  <a:pt x="2713" y="981"/>
                </a:cubicBezTo>
                <a:lnTo>
                  <a:pt x="2712" y="978"/>
                </a:lnTo>
                <a:cubicBezTo>
                  <a:pt x="2712" y="978"/>
                  <a:pt x="2713" y="977"/>
                  <a:pt x="2713" y="977"/>
                </a:cubicBezTo>
                <a:lnTo>
                  <a:pt x="2715" y="978"/>
                </a:lnTo>
                <a:cubicBezTo>
                  <a:pt x="2716" y="978"/>
                  <a:pt x="2716" y="978"/>
                  <a:pt x="2716" y="977"/>
                </a:cubicBezTo>
                <a:lnTo>
                  <a:pt x="2715" y="973"/>
                </a:lnTo>
                <a:cubicBezTo>
                  <a:pt x="2715" y="973"/>
                  <a:pt x="2715" y="973"/>
                  <a:pt x="2715" y="973"/>
                </a:cubicBezTo>
                <a:lnTo>
                  <a:pt x="2718" y="974"/>
                </a:lnTo>
                <a:cubicBezTo>
                  <a:pt x="2718" y="974"/>
                  <a:pt x="2719" y="974"/>
                  <a:pt x="2719" y="974"/>
                </a:cubicBezTo>
                <a:lnTo>
                  <a:pt x="2718" y="973"/>
                </a:lnTo>
                <a:cubicBezTo>
                  <a:pt x="2718" y="972"/>
                  <a:pt x="2718" y="971"/>
                  <a:pt x="2718" y="970"/>
                </a:cubicBezTo>
                <a:cubicBezTo>
                  <a:pt x="2718" y="968"/>
                  <a:pt x="2718" y="966"/>
                  <a:pt x="2719" y="965"/>
                </a:cubicBezTo>
                <a:cubicBezTo>
                  <a:pt x="2720" y="963"/>
                  <a:pt x="2721" y="962"/>
                  <a:pt x="2722" y="962"/>
                </a:cubicBezTo>
                <a:lnTo>
                  <a:pt x="2724" y="963"/>
                </a:lnTo>
                <a:lnTo>
                  <a:pt x="2724" y="962"/>
                </a:lnTo>
                <a:lnTo>
                  <a:pt x="2723" y="957"/>
                </a:lnTo>
                <a:cubicBezTo>
                  <a:pt x="2723" y="955"/>
                  <a:pt x="2724" y="954"/>
                  <a:pt x="2725" y="953"/>
                </a:cubicBezTo>
                <a:cubicBezTo>
                  <a:pt x="2726" y="951"/>
                  <a:pt x="2726" y="951"/>
                  <a:pt x="2727" y="951"/>
                </a:cubicBezTo>
                <a:lnTo>
                  <a:pt x="2729" y="951"/>
                </a:lnTo>
                <a:cubicBezTo>
                  <a:pt x="2729" y="951"/>
                  <a:pt x="2729" y="951"/>
                  <a:pt x="2729" y="950"/>
                </a:cubicBezTo>
                <a:lnTo>
                  <a:pt x="2729" y="945"/>
                </a:lnTo>
                <a:cubicBezTo>
                  <a:pt x="2729" y="944"/>
                  <a:pt x="2729" y="943"/>
                  <a:pt x="2729" y="943"/>
                </a:cubicBezTo>
                <a:lnTo>
                  <a:pt x="2730" y="943"/>
                </a:lnTo>
                <a:cubicBezTo>
                  <a:pt x="2731" y="943"/>
                  <a:pt x="2731" y="943"/>
                  <a:pt x="2731" y="942"/>
                </a:cubicBezTo>
                <a:lnTo>
                  <a:pt x="2731" y="938"/>
                </a:lnTo>
                <a:cubicBezTo>
                  <a:pt x="2731" y="936"/>
                  <a:pt x="2731" y="936"/>
                  <a:pt x="2731" y="936"/>
                </a:cubicBezTo>
                <a:lnTo>
                  <a:pt x="2733" y="937"/>
                </a:lnTo>
                <a:cubicBezTo>
                  <a:pt x="2734" y="937"/>
                  <a:pt x="2734" y="936"/>
                  <a:pt x="2734" y="936"/>
                </a:cubicBezTo>
                <a:lnTo>
                  <a:pt x="2734" y="933"/>
                </a:lnTo>
                <a:cubicBezTo>
                  <a:pt x="2734" y="931"/>
                  <a:pt x="2735" y="931"/>
                  <a:pt x="2736" y="931"/>
                </a:cubicBezTo>
                <a:cubicBezTo>
                  <a:pt x="2737" y="931"/>
                  <a:pt x="2737" y="930"/>
                  <a:pt x="2737" y="930"/>
                </a:cubicBezTo>
                <a:lnTo>
                  <a:pt x="2737" y="928"/>
                </a:lnTo>
                <a:cubicBezTo>
                  <a:pt x="2737" y="927"/>
                  <a:pt x="2737" y="926"/>
                  <a:pt x="2738" y="926"/>
                </a:cubicBezTo>
                <a:cubicBezTo>
                  <a:pt x="2739" y="926"/>
                  <a:pt x="2739" y="926"/>
                  <a:pt x="2739" y="924"/>
                </a:cubicBezTo>
                <a:lnTo>
                  <a:pt x="2739" y="921"/>
                </a:lnTo>
                <a:cubicBezTo>
                  <a:pt x="2739" y="921"/>
                  <a:pt x="2740" y="920"/>
                  <a:pt x="2741" y="920"/>
                </a:cubicBezTo>
                <a:cubicBezTo>
                  <a:pt x="2742" y="920"/>
                  <a:pt x="2742" y="919"/>
                  <a:pt x="2742" y="918"/>
                </a:cubicBezTo>
                <a:lnTo>
                  <a:pt x="2742" y="914"/>
                </a:lnTo>
                <a:cubicBezTo>
                  <a:pt x="2742" y="913"/>
                  <a:pt x="2743" y="912"/>
                  <a:pt x="2744" y="912"/>
                </a:cubicBezTo>
                <a:cubicBezTo>
                  <a:pt x="2745" y="912"/>
                  <a:pt x="2745" y="911"/>
                  <a:pt x="2745" y="910"/>
                </a:cubicBezTo>
                <a:lnTo>
                  <a:pt x="2745" y="907"/>
                </a:lnTo>
                <a:cubicBezTo>
                  <a:pt x="2745" y="906"/>
                  <a:pt x="2745" y="905"/>
                  <a:pt x="2746" y="905"/>
                </a:cubicBezTo>
                <a:cubicBezTo>
                  <a:pt x="2747" y="905"/>
                  <a:pt x="2747" y="905"/>
                  <a:pt x="2747" y="903"/>
                </a:cubicBezTo>
                <a:lnTo>
                  <a:pt x="2747" y="902"/>
                </a:lnTo>
                <a:cubicBezTo>
                  <a:pt x="2747" y="900"/>
                  <a:pt x="2748" y="899"/>
                  <a:pt x="2749" y="899"/>
                </a:cubicBezTo>
                <a:cubicBezTo>
                  <a:pt x="2750" y="899"/>
                  <a:pt x="2750" y="898"/>
                  <a:pt x="2751" y="897"/>
                </a:cubicBezTo>
                <a:lnTo>
                  <a:pt x="2750" y="896"/>
                </a:lnTo>
                <a:cubicBezTo>
                  <a:pt x="2750" y="895"/>
                  <a:pt x="2751" y="894"/>
                  <a:pt x="2752" y="894"/>
                </a:cubicBezTo>
                <a:cubicBezTo>
                  <a:pt x="2753" y="894"/>
                  <a:pt x="2754" y="893"/>
                  <a:pt x="2754" y="892"/>
                </a:cubicBezTo>
                <a:lnTo>
                  <a:pt x="2754" y="889"/>
                </a:lnTo>
                <a:cubicBezTo>
                  <a:pt x="2754" y="888"/>
                  <a:pt x="2754" y="887"/>
                  <a:pt x="2755" y="887"/>
                </a:cubicBezTo>
                <a:cubicBezTo>
                  <a:pt x="2756" y="887"/>
                  <a:pt x="2756" y="887"/>
                  <a:pt x="2756" y="885"/>
                </a:cubicBezTo>
                <a:lnTo>
                  <a:pt x="2756" y="883"/>
                </a:lnTo>
                <a:cubicBezTo>
                  <a:pt x="2756" y="881"/>
                  <a:pt x="2757" y="880"/>
                  <a:pt x="2758" y="880"/>
                </a:cubicBezTo>
                <a:cubicBezTo>
                  <a:pt x="2759" y="879"/>
                  <a:pt x="2762" y="873"/>
                  <a:pt x="2766" y="860"/>
                </a:cubicBezTo>
                <a:cubicBezTo>
                  <a:pt x="2770" y="851"/>
                  <a:pt x="2771" y="846"/>
                  <a:pt x="2771" y="844"/>
                </a:cubicBezTo>
                <a:lnTo>
                  <a:pt x="2771" y="844"/>
                </a:lnTo>
                <a:cubicBezTo>
                  <a:pt x="2771" y="844"/>
                  <a:pt x="2770" y="844"/>
                  <a:pt x="2770" y="845"/>
                </a:cubicBezTo>
                <a:cubicBezTo>
                  <a:pt x="2769" y="846"/>
                  <a:pt x="2768" y="847"/>
                  <a:pt x="2767" y="848"/>
                </a:cubicBezTo>
                <a:cubicBezTo>
                  <a:pt x="2767" y="848"/>
                  <a:pt x="2766" y="849"/>
                  <a:pt x="2765" y="849"/>
                </a:cubicBezTo>
                <a:lnTo>
                  <a:pt x="2763" y="848"/>
                </a:lnTo>
                <a:cubicBezTo>
                  <a:pt x="2762" y="848"/>
                  <a:pt x="2761" y="849"/>
                  <a:pt x="2761" y="850"/>
                </a:cubicBezTo>
                <a:lnTo>
                  <a:pt x="2761" y="852"/>
                </a:lnTo>
                <a:cubicBezTo>
                  <a:pt x="2761" y="853"/>
                  <a:pt x="2760" y="853"/>
                  <a:pt x="2759" y="853"/>
                </a:cubicBezTo>
                <a:cubicBezTo>
                  <a:pt x="2758" y="853"/>
                  <a:pt x="2758" y="854"/>
                  <a:pt x="2757" y="855"/>
                </a:cubicBezTo>
                <a:cubicBezTo>
                  <a:pt x="2757" y="856"/>
                  <a:pt x="2758" y="857"/>
                  <a:pt x="2758" y="857"/>
                </a:cubicBezTo>
                <a:lnTo>
                  <a:pt x="2761" y="856"/>
                </a:lnTo>
                <a:lnTo>
                  <a:pt x="2759" y="858"/>
                </a:lnTo>
                <a:cubicBezTo>
                  <a:pt x="2756" y="860"/>
                  <a:pt x="2752" y="868"/>
                  <a:pt x="2747" y="881"/>
                </a:cubicBezTo>
                <a:cubicBezTo>
                  <a:pt x="2729" y="923"/>
                  <a:pt x="2718" y="948"/>
                  <a:pt x="2715" y="955"/>
                </a:cubicBezTo>
                <a:cubicBezTo>
                  <a:pt x="2711" y="962"/>
                  <a:pt x="2709" y="965"/>
                  <a:pt x="2709" y="966"/>
                </a:cubicBezTo>
                <a:cubicBezTo>
                  <a:pt x="2709" y="966"/>
                  <a:pt x="2708" y="968"/>
                  <a:pt x="2707" y="971"/>
                </a:cubicBezTo>
                <a:cubicBezTo>
                  <a:pt x="2705" y="973"/>
                  <a:pt x="2704" y="976"/>
                  <a:pt x="2702" y="980"/>
                </a:cubicBezTo>
                <a:cubicBezTo>
                  <a:pt x="2698" y="988"/>
                  <a:pt x="2696" y="993"/>
                  <a:pt x="2696" y="995"/>
                </a:cubicBezTo>
                <a:cubicBezTo>
                  <a:pt x="2696" y="997"/>
                  <a:pt x="2695" y="997"/>
                  <a:pt x="2694" y="997"/>
                </a:cubicBezTo>
                <a:cubicBezTo>
                  <a:pt x="2692" y="997"/>
                  <a:pt x="2688" y="1004"/>
                  <a:pt x="2682" y="1017"/>
                </a:cubicBezTo>
                <a:cubicBezTo>
                  <a:pt x="2676" y="1029"/>
                  <a:pt x="2671" y="1035"/>
                  <a:pt x="2669" y="1035"/>
                </a:cubicBezTo>
                <a:lnTo>
                  <a:pt x="2668" y="1035"/>
                </a:lnTo>
                <a:cubicBezTo>
                  <a:pt x="2667" y="1035"/>
                  <a:pt x="2666" y="1036"/>
                  <a:pt x="2666" y="1036"/>
                </a:cubicBezTo>
                <a:cubicBezTo>
                  <a:pt x="2666" y="1038"/>
                  <a:pt x="2666" y="1038"/>
                  <a:pt x="2668" y="1039"/>
                </a:cubicBezTo>
                <a:cubicBezTo>
                  <a:pt x="2669" y="1039"/>
                  <a:pt x="2669" y="1039"/>
                  <a:pt x="2669" y="1039"/>
                </a:cubicBezTo>
                <a:cubicBezTo>
                  <a:pt x="2669" y="1040"/>
                  <a:pt x="2669" y="1041"/>
                  <a:pt x="2667" y="1042"/>
                </a:cubicBezTo>
                <a:cubicBezTo>
                  <a:pt x="2665" y="1046"/>
                  <a:pt x="2663" y="1049"/>
                  <a:pt x="2662" y="1052"/>
                </a:cubicBezTo>
                <a:cubicBezTo>
                  <a:pt x="2660" y="1055"/>
                  <a:pt x="2659" y="1056"/>
                  <a:pt x="2658" y="1056"/>
                </a:cubicBezTo>
                <a:lnTo>
                  <a:pt x="2655" y="1056"/>
                </a:lnTo>
                <a:cubicBezTo>
                  <a:pt x="2653" y="1056"/>
                  <a:pt x="2652" y="1057"/>
                  <a:pt x="2652" y="1060"/>
                </a:cubicBezTo>
                <a:cubicBezTo>
                  <a:pt x="2652" y="1061"/>
                  <a:pt x="2652" y="1063"/>
                  <a:pt x="2653" y="1064"/>
                </a:cubicBezTo>
                <a:cubicBezTo>
                  <a:pt x="2653" y="1066"/>
                  <a:pt x="2654" y="1066"/>
                  <a:pt x="2654" y="1066"/>
                </a:cubicBezTo>
                <a:close/>
                <a:moveTo>
                  <a:pt x="2765" y="841"/>
                </a:moveTo>
                <a:lnTo>
                  <a:pt x="2770" y="839"/>
                </a:lnTo>
                <a:cubicBezTo>
                  <a:pt x="2774" y="837"/>
                  <a:pt x="2776" y="836"/>
                  <a:pt x="2776" y="835"/>
                </a:cubicBezTo>
                <a:lnTo>
                  <a:pt x="2776" y="834"/>
                </a:lnTo>
                <a:cubicBezTo>
                  <a:pt x="2776" y="834"/>
                  <a:pt x="2776" y="834"/>
                  <a:pt x="2776" y="834"/>
                </a:cubicBezTo>
                <a:cubicBezTo>
                  <a:pt x="2775" y="834"/>
                  <a:pt x="2773" y="835"/>
                  <a:pt x="2771" y="836"/>
                </a:cubicBezTo>
                <a:cubicBezTo>
                  <a:pt x="2767" y="838"/>
                  <a:pt x="2765" y="840"/>
                  <a:pt x="2765" y="841"/>
                </a:cubicBezTo>
                <a:close/>
                <a:moveTo>
                  <a:pt x="2780" y="811"/>
                </a:moveTo>
                <a:cubicBezTo>
                  <a:pt x="2781" y="811"/>
                  <a:pt x="2782" y="811"/>
                  <a:pt x="2783" y="810"/>
                </a:cubicBezTo>
                <a:cubicBezTo>
                  <a:pt x="2785" y="809"/>
                  <a:pt x="2787" y="804"/>
                  <a:pt x="2790" y="796"/>
                </a:cubicBezTo>
                <a:cubicBezTo>
                  <a:pt x="2804" y="755"/>
                  <a:pt x="2813" y="729"/>
                  <a:pt x="2815" y="718"/>
                </a:cubicBezTo>
                <a:cubicBezTo>
                  <a:pt x="2817" y="710"/>
                  <a:pt x="2818" y="705"/>
                  <a:pt x="2819" y="705"/>
                </a:cubicBezTo>
                <a:cubicBezTo>
                  <a:pt x="2820" y="705"/>
                  <a:pt x="2821" y="704"/>
                  <a:pt x="2821" y="703"/>
                </a:cubicBezTo>
                <a:lnTo>
                  <a:pt x="2821" y="701"/>
                </a:lnTo>
                <a:cubicBezTo>
                  <a:pt x="2821" y="699"/>
                  <a:pt x="2823" y="691"/>
                  <a:pt x="2826" y="677"/>
                </a:cubicBezTo>
                <a:cubicBezTo>
                  <a:pt x="2832" y="653"/>
                  <a:pt x="2838" y="628"/>
                  <a:pt x="2842" y="601"/>
                </a:cubicBezTo>
                <a:cubicBezTo>
                  <a:pt x="2846" y="575"/>
                  <a:pt x="2849" y="555"/>
                  <a:pt x="2849" y="542"/>
                </a:cubicBezTo>
                <a:cubicBezTo>
                  <a:pt x="2849" y="536"/>
                  <a:pt x="2848" y="534"/>
                  <a:pt x="2848" y="534"/>
                </a:cubicBezTo>
                <a:cubicBezTo>
                  <a:pt x="2848" y="534"/>
                  <a:pt x="2847" y="538"/>
                  <a:pt x="2846" y="547"/>
                </a:cubicBezTo>
                <a:cubicBezTo>
                  <a:pt x="2843" y="573"/>
                  <a:pt x="2840" y="592"/>
                  <a:pt x="2838" y="603"/>
                </a:cubicBezTo>
                <a:lnTo>
                  <a:pt x="2837" y="611"/>
                </a:lnTo>
                <a:cubicBezTo>
                  <a:pt x="2834" y="621"/>
                  <a:pt x="2832" y="628"/>
                  <a:pt x="2831" y="632"/>
                </a:cubicBezTo>
                <a:cubicBezTo>
                  <a:pt x="2827" y="654"/>
                  <a:pt x="2823" y="668"/>
                  <a:pt x="2820" y="671"/>
                </a:cubicBezTo>
                <a:lnTo>
                  <a:pt x="2817" y="680"/>
                </a:lnTo>
                <a:cubicBezTo>
                  <a:pt x="2814" y="691"/>
                  <a:pt x="2812" y="698"/>
                  <a:pt x="2812" y="701"/>
                </a:cubicBezTo>
                <a:cubicBezTo>
                  <a:pt x="2812" y="703"/>
                  <a:pt x="2812" y="703"/>
                  <a:pt x="2811" y="703"/>
                </a:cubicBezTo>
                <a:cubicBezTo>
                  <a:pt x="2810" y="704"/>
                  <a:pt x="2809" y="706"/>
                  <a:pt x="2809" y="710"/>
                </a:cubicBezTo>
                <a:cubicBezTo>
                  <a:pt x="2809" y="713"/>
                  <a:pt x="2808" y="716"/>
                  <a:pt x="2807" y="716"/>
                </a:cubicBezTo>
                <a:cubicBezTo>
                  <a:pt x="2805" y="717"/>
                  <a:pt x="2804" y="719"/>
                  <a:pt x="2804" y="722"/>
                </a:cubicBezTo>
                <a:lnTo>
                  <a:pt x="2804" y="723"/>
                </a:lnTo>
                <a:cubicBezTo>
                  <a:pt x="2804" y="727"/>
                  <a:pt x="2803" y="729"/>
                  <a:pt x="2802" y="729"/>
                </a:cubicBezTo>
                <a:cubicBezTo>
                  <a:pt x="2802" y="729"/>
                  <a:pt x="2801" y="731"/>
                  <a:pt x="2801" y="735"/>
                </a:cubicBezTo>
                <a:cubicBezTo>
                  <a:pt x="2800" y="739"/>
                  <a:pt x="2799" y="741"/>
                  <a:pt x="2798" y="742"/>
                </a:cubicBezTo>
                <a:cubicBezTo>
                  <a:pt x="2796" y="744"/>
                  <a:pt x="2795" y="745"/>
                  <a:pt x="2795" y="746"/>
                </a:cubicBezTo>
                <a:lnTo>
                  <a:pt x="2795" y="747"/>
                </a:lnTo>
                <a:cubicBezTo>
                  <a:pt x="2795" y="749"/>
                  <a:pt x="2795" y="751"/>
                  <a:pt x="2794" y="754"/>
                </a:cubicBezTo>
                <a:cubicBezTo>
                  <a:pt x="2793" y="758"/>
                  <a:pt x="2792" y="761"/>
                  <a:pt x="2791" y="764"/>
                </a:cubicBezTo>
                <a:cubicBezTo>
                  <a:pt x="2790" y="767"/>
                  <a:pt x="2788" y="769"/>
                  <a:pt x="2788" y="770"/>
                </a:cubicBezTo>
                <a:cubicBezTo>
                  <a:pt x="2787" y="772"/>
                  <a:pt x="2786" y="772"/>
                  <a:pt x="2786" y="772"/>
                </a:cubicBezTo>
                <a:lnTo>
                  <a:pt x="2786" y="773"/>
                </a:lnTo>
                <a:cubicBezTo>
                  <a:pt x="2786" y="776"/>
                  <a:pt x="2785" y="782"/>
                  <a:pt x="2781" y="791"/>
                </a:cubicBezTo>
                <a:cubicBezTo>
                  <a:pt x="2778" y="801"/>
                  <a:pt x="2776" y="807"/>
                  <a:pt x="2776" y="809"/>
                </a:cubicBezTo>
                <a:cubicBezTo>
                  <a:pt x="2776" y="811"/>
                  <a:pt x="2777" y="811"/>
                  <a:pt x="2780" y="811"/>
                </a:cubicBezTo>
                <a:close/>
                <a:moveTo>
                  <a:pt x="3135" y="633"/>
                </a:moveTo>
                <a:lnTo>
                  <a:pt x="3135" y="609"/>
                </a:lnTo>
                <a:cubicBezTo>
                  <a:pt x="3135" y="609"/>
                  <a:pt x="3136" y="613"/>
                  <a:pt x="3136" y="621"/>
                </a:cubicBezTo>
                <a:lnTo>
                  <a:pt x="3135" y="631"/>
                </a:lnTo>
                <a:cubicBezTo>
                  <a:pt x="3135" y="632"/>
                  <a:pt x="3135" y="633"/>
                  <a:pt x="3135" y="633"/>
                </a:cubicBezTo>
                <a:close/>
                <a:moveTo>
                  <a:pt x="3144" y="676"/>
                </a:moveTo>
                <a:cubicBezTo>
                  <a:pt x="3143" y="676"/>
                  <a:pt x="3142" y="675"/>
                  <a:pt x="3142" y="674"/>
                </a:cubicBezTo>
                <a:lnTo>
                  <a:pt x="3141" y="671"/>
                </a:lnTo>
                <a:cubicBezTo>
                  <a:pt x="3141" y="671"/>
                  <a:pt x="3141" y="670"/>
                  <a:pt x="3142" y="670"/>
                </a:cubicBezTo>
                <a:cubicBezTo>
                  <a:pt x="3142" y="670"/>
                  <a:pt x="3142" y="671"/>
                  <a:pt x="3143" y="671"/>
                </a:cubicBezTo>
                <a:cubicBezTo>
                  <a:pt x="3144" y="672"/>
                  <a:pt x="3144" y="674"/>
                  <a:pt x="3144" y="675"/>
                </a:cubicBezTo>
                <a:cubicBezTo>
                  <a:pt x="3144" y="676"/>
                  <a:pt x="3144" y="676"/>
                  <a:pt x="3144" y="676"/>
                </a:cubicBezTo>
                <a:close/>
                <a:moveTo>
                  <a:pt x="3137" y="654"/>
                </a:moveTo>
                <a:cubicBezTo>
                  <a:pt x="3137" y="654"/>
                  <a:pt x="3136" y="653"/>
                  <a:pt x="3136" y="651"/>
                </a:cubicBezTo>
                <a:cubicBezTo>
                  <a:pt x="3136" y="649"/>
                  <a:pt x="3137" y="648"/>
                  <a:pt x="3137" y="648"/>
                </a:cubicBezTo>
                <a:cubicBezTo>
                  <a:pt x="3138" y="648"/>
                  <a:pt x="3138" y="649"/>
                  <a:pt x="3138" y="651"/>
                </a:cubicBezTo>
                <a:lnTo>
                  <a:pt x="3138" y="654"/>
                </a:lnTo>
                <a:lnTo>
                  <a:pt x="3137" y="654"/>
                </a:lnTo>
                <a:close/>
                <a:moveTo>
                  <a:pt x="3252" y="485"/>
                </a:moveTo>
                <a:lnTo>
                  <a:pt x="3251" y="485"/>
                </a:lnTo>
                <a:cubicBezTo>
                  <a:pt x="3251" y="484"/>
                  <a:pt x="3253" y="483"/>
                  <a:pt x="3255" y="482"/>
                </a:cubicBezTo>
                <a:cubicBezTo>
                  <a:pt x="3257" y="480"/>
                  <a:pt x="3259" y="480"/>
                  <a:pt x="3259" y="480"/>
                </a:cubicBezTo>
                <a:lnTo>
                  <a:pt x="3260" y="480"/>
                </a:lnTo>
                <a:cubicBezTo>
                  <a:pt x="3260" y="481"/>
                  <a:pt x="3259" y="482"/>
                  <a:pt x="3256" y="483"/>
                </a:cubicBezTo>
                <a:cubicBezTo>
                  <a:pt x="3254" y="484"/>
                  <a:pt x="3253" y="485"/>
                  <a:pt x="3252" y="485"/>
                </a:cubicBezTo>
                <a:close/>
                <a:moveTo>
                  <a:pt x="3230" y="497"/>
                </a:moveTo>
                <a:lnTo>
                  <a:pt x="3230" y="497"/>
                </a:lnTo>
                <a:lnTo>
                  <a:pt x="3230" y="497"/>
                </a:lnTo>
                <a:cubicBezTo>
                  <a:pt x="3231" y="496"/>
                  <a:pt x="3233" y="495"/>
                  <a:pt x="3235" y="493"/>
                </a:cubicBezTo>
                <a:cubicBezTo>
                  <a:pt x="3238" y="492"/>
                  <a:pt x="3241" y="490"/>
                  <a:pt x="3244" y="489"/>
                </a:cubicBezTo>
                <a:cubicBezTo>
                  <a:pt x="3247" y="487"/>
                  <a:pt x="3248" y="487"/>
                  <a:pt x="3249" y="487"/>
                </a:cubicBezTo>
                <a:cubicBezTo>
                  <a:pt x="3249" y="487"/>
                  <a:pt x="3246" y="489"/>
                  <a:pt x="3241" y="492"/>
                </a:cubicBezTo>
                <a:cubicBezTo>
                  <a:pt x="3235" y="495"/>
                  <a:pt x="3232" y="497"/>
                  <a:pt x="3230" y="497"/>
                </a:cubicBezTo>
                <a:close/>
                <a:moveTo>
                  <a:pt x="3291" y="456"/>
                </a:moveTo>
                <a:cubicBezTo>
                  <a:pt x="3291" y="456"/>
                  <a:pt x="3292" y="454"/>
                  <a:pt x="3294" y="451"/>
                </a:cubicBezTo>
                <a:cubicBezTo>
                  <a:pt x="3297" y="448"/>
                  <a:pt x="3298" y="447"/>
                  <a:pt x="3299" y="447"/>
                </a:cubicBezTo>
                <a:cubicBezTo>
                  <a:pt x="3299" y="447"/>
                  <a:pt x="3298" y="449"/>
                  <a:pt x="3296" y="451"/>
                </a:cubicBezTo>
                <a:cubicBezTo>
                  <a:pt x="3293" y="455"/>
                  <a:pt x="3291" y="456"/>
                  <a:pt x="3291" y="456"/>
                </a:cubicBezTo>
                <a:close/>
                <a:moveTo>
                  <a:pt x="3306" y="442"/>
                </a:moveTo>
                <a:cubicBezTo>
                  <a:pt x="3306" y="441"/>
                  <a:pt x="3308" y="438"/>
                  <a:pt x="3312" y="433"/>
                </a:cubicBezTo>
                <a:cubicBezTo>
                  <a:pt x="3316" y="429"/>
                  <a:pt x="3319" y="426"/>
                  <a:pt x="3321" y="426"/>
                </a:cubicBezTo>
                <a:cubicBezTo>
                  <a:pt x="3321" y="426"/>
                  <a:pt x="3319" y="429"/>
                  <a:pt x="3315" y="434"/>
                </a:cubicBezTo>
                <a:lnTo>
                  <a:pt x="3306" y="442"/>
                </a:lnTo>
                <a:close/>
                <a:moveTo>
                  <a:pt x="3246" y="397"/>
                </a:moveTo>
                <a:lnTo>
                  <a:pt x="3246" y="393"/>
                </a:lnTo>
                <a:cubicBezTo>
                  <a:pt x="3248" y="391"/>
                  <a:pt x="3249" y="389"/>
                  <a:pt x="3249" y="389"/>
                </a:cubicBezTo>
                <a:cubicBezTo>
                  <a:pt x="3250" y="389"/>
                  <a:pt x="3250" y="390"/>
                  <a:pt x="3250" y="390"/>
                </a:cubicBezTo>
                <a:cubicBezTo>
                  <a:pt x="3250" y="391"/>
                  <a:pt x="3250" y="392"/>
                  <a:pt x="3249" y="393"/>
                </a:cubicBezTo>
                <a:cubicBezTo>
                  <a:pt x="3247" y="395"/>
                  <a:pt x="3246" y="397"/>
                  <a:pt x="3246" y="397"/>
                </a:cubicBezTo>
                <a:close/>
                <a:moveTo>
                  <a:pt x="3324" y="424"/>
                </a:moveTo>
                <a:lnTo>
                  <a:pt x="3323" y="423"/>
                </a:lnTo>
                <a:cubicBezTo>
                  <a:pt x="3323" y="423"/>
                  <a:pt x="3324" y="421"/>
                  <a:pt x="3327" y="419"/>
                </a:cubicBezTo>
                <a:cubicBezTo>
                  <a:pt x="3329" y="416"/>
                  <a:pt x="3331" y="415"/>
                  <a:pt x="3331" y="415"/>
                </a:cubicBezTo>
                <a:cubicBezTo>
                  <a:pt x="3331" y="415"/>
                  <a:pt x="3330" y="417"/>
                  <a:pt x="3328" y="419"/>
                </a:cubicBezTo>
                <a:cubicBezTo>
                  <a:pt x="3325" y="422"/>
                  <a:pt x="3324" y="424"/>
                  <a:pt x="3324" y="424"/>
                </a:cubicBezTo>
                <a:close/>
                <a:moveTo>
                  <a:pt x="3461" y="128"/>
                </a:moveTo>
                <a:cubicBezTo>
                  <a:pt x="3460" y="128"/>
                  <a:pt x="3459" y="127"/>
                  <a:pt x="3456" y="124"/>
                </a:cubicBezTo>
                <a:cubicBezTo>
                  <a:pt x="3452" y="120"/>
                  <a:pt x="3446" y="118"/>
                  <a:pt x="3438" y="118"/>
                </a:cubicBezTo>
                <a:cubicBezTo>
                  <a:pt x="3433" y="118"/>
                  <a:pt x="3428" y="119"/>
                  <a:pt x="3423" y="120"/>
                </a:cubicBezTo>
                <a:cubicBezTo>
                  <a:pt x="3417" y="122"/>
                  <a:pt x="3413" y="122"/>
                  <a:pt x="3411" y="122"/>
                </a:cubicBezTo>
                <a:lnTo>
                  <a:pt x="3410" y="122"/>
                </a:lnTo>
                <a:cubicBezTo>
                  <a:pt x="3410" y="122"/>
                  <a:pt x="3414" y="120"/>
                  <a:pt x="3420" y="118"/>
                </a:cubicBezTo>
                <a:cubicBezTo>
                  <a:pt x="3427" y="116"/>
                  <a:pt x="3433" y="115"/>
                  <a:pt x="3439" y="115"/>
                </a:cubicBezTo>
                <a:cubicBezTo>
                  <a:pt x="3450" y="115"/>
                  <a:pt x="3457" y="119"/>
                  <a:pt x="3460" y="125"/>
                </a:cubicBezTo>
                <a:lnTo>
                  <a:pt x="3462" y="127"/>
                </a:lnTo>
                <a:cubicBezTo>
                  <a:pt x="3462" y="128"/>
                  <a:pt x="3461" y="128"/>
                  <a:pt x="3461" y="128"/>
                </a:cubicBezTo>
                <a:close/>
                <a:moveTo>
                  <a:pt x="3416" y="360"/>
                </a:moveTo>
                <a:cubicBezTo>
                  <a:pt x="3415" y="360"/>
                  <a:pt x="3415" y="359"/>
                  <a:pt x="3415" y="359"/>
                </a:cubicBezTo>
                <a:lnTo>
                  <a:pt x="3415" y="357"/>
                </a:lnTo>
                <a:cubicBezTo>
                  <a:pt x="3417" y="356"/>
                  <a:pt x="3418" y="355"/>
                  <a:pt x="3419" y="355"/>
                </a:cubicBezTo>
                <a:cubicBezTo>
                  <a:pt x="3420" y="355"/>
                  <a:pt x="3420" y="355"/>
                  <a:pt x="3420" y="357"/>
                </a:cubicBezTo>
                <a:cubicBezTo>
                  <a:pt x="3420" y="357"/>
                  <a:pt x="3420" y="357"/>
                  <a:pt x="3419" y="358"/>
                </a:cubicBezTo>
                <a:cubicBezTo>
                  <a:pt x="3419" y="359"/>
                  <a:pt x="3418" y="360"/>
                  <a:pt x="3416" y="360"/>
                </a:cubicBezTo>
                <a:close/>
                <a:moveTo>
                  <a:pt x="3420" y="353"/>
                </a:moveTo>
                <a:cubicBezTo>
                  <a:pt x="3420" y="353"/>
                  <a:pt x="3419" y="353"/>
                  <a:pt x="3419" y="352"/>
                </a:cubicBezTo>
                <a:cubicBezTo>
                  <a:pt x="3419" y="352"/>
                  <a:pt x="3420" y="351"/>
                  <a:pt x="3420" y="350"/>
                </a:cubicBezTo>
                <a:cubicBezTo>
                  <a:pt x="3420" y="349"/>
                  <a:pt x="3422" y="348"/>
                  <a:pt x="3423" y="348"/>
                </a:cubicBezTo>
                <a:cubicBezTo>
                  <a:pt x="3424" y="348"/>
                  <a:pt x="3424" y="349"/>
                  <a:pt x="3424" y="350"/>
                </a:cubicBezTo>
                <a:lnTo>
                  <a:pt x="3424" y="350"/>
                </a:lnTo>
                <a:cubicBezTo>
                  <a:pt x="3423" y="352"/>
                  <a:pt x="3422" y="353"/>
                  <a:pt x="3420" y="353"/>
                </a:cubicBezTo>
                <a:close/>
                <a:moveTo>
                  <a:pt x="3279" y="772"/>
                </a:moveTo>
                <a:cubicBezTo>
                  <a:pt x="3265" y="772"/>
                  <a:pt x="3253" y="771"/>
                  <a:pt x="3243" y="767"/>
                </a:cubicBezTo>
                <a:cubicBezTo>
                  <a:pt x="3230" y="764"/>
                  <a:pt x="3223" y="762"/>
                  <a:pt x="3223" y="762"/>
                </a:cubicBezTo>
                <a:cubicBezTo>
                  <a:pt x="3223" y="762"/>
                  <a:pt x="3222" y="762"/>
                  <a:pt x="3222" y="762"/>
                </a:cubicBezTo>
                <a:cubicBezTo>
                  <a:pt x="3221" y="761"/>
                  <a:pt x="3221" y="761"/>
                  <a:pt x="3221" y="760"/>
                </a:cubicBezTo>
                <a:cubicBezTo>
                  <a:pt x="3221" y="759"/>
                  <a:pt x="3220" y="759"/>
                  <a:pt x="3218" y="759"/>
                </a:cubicBezTo>
                <a:cubicBezTo>
                  <a:pt x="3214" y="759"/>
                  <a:pt x="3209" y="756"/>
                  <a:pt x="3201" y="751"/>
                </a:cubicBezTo>
                <a:cubicBezTo>
                  <a:pt x="3193" y="746"/>
                  <a:pt x="3187" y="740"/>
                  <a:pt x="3181" y="734"/>
                </a:cubicBezTo>
                <a:cubicBezTo>
                  <a:pt x="3159" y="706"/>
                  <a:pt x="3149" y="677"/>
                  <a:pt x="3149" y="649"/>
                </a:cubicBezTo>
                <a:cubicBezTo>
                  <a:pt x="3149" y="637"/>
                  <a:pt x="3148" y="632"/>
                  <a:pt x="3147" y="631"/>
                </a:cubicBezTo>
                <a:lnTo>
                  <a:pt x="3147" y="631"/>
                </a:lnTo>
                <a:cubicBezTo>
                  <a:pt x="3147" y="631"/>
                  <a:pt x="3146" y="630"/>
                  <a:pt x="3146" y="627"/>
                </a:cubicBezTo>
                <a:cubicBezTo>
                  <a:pt x="3146" y="623"/>
                  <a:pt x="3147" y="615"/>
                  <a:pt x="3149" y="604"/>
                </a:cubicBezTo>
                <a:cubicBezTo>
                  <a:pt x="3150" y="593"/>
                  <a:pt x="3152" y="583"/>
                  <a:pt x="3154" y="573"/>
                </a:cubicBezTo>
                <a:cubicBezTo>
                  <a:pt x="3156" y="563"/>
                  <a:pt x="3158" y="556"/>
                  <a:pt x="3160" y="553"/>
                </a:cubicBezTo>
                <a:lnTo>
                  <a:pt x="3161" y="551"/>
                </a:lnTo>
                <a:cubicBezTo>
                  <a:pt x="3162" y="551"/>
                  <a:pt x="3162" y="551"/>
                  <a:pt x="3162" y="552"/>
                </a:cubicBezTo>
                <a:lnTo>
                  <a:pt x="3161" y="557"/>
                </a:lnTo>
                <a:cubicBezTo>
                  <a:pt x="3162" y="557"/>
                  <a:pt x="3162" y="555"/>
                  <a:pt x="3164" y="552"/>
                </a:cubicBezTo>
                <a:cubicBezTo>
                  <a:pt x="3170" y="532"/>
                  <a:pt x="3173" y="519"/>
                  <a:pt x="3173" y="513"/>
                </a:cubicBezTo>
                <a:cubicBezTo>
                  <a:pt x="3173" y="511"/>
                  <a:pt x="3173" y="509"/>
                  <a:pt x="3171" y="509"/>
                </a:cubicBezTo>
                <a:cubicBezTo>
                  <a:pt x="3171" y="509"/>
                  <a:pt x="3170" y="509"/>
                  <a:pt x="3169" y="510"/>
                </a:cubicBezTo>
                <a:cubicBezTo>
                  <a:pt x="3168" y="510"/>
                  <a:pt x="3167" y="508"/>
                  <a:pt x="3167" y="505"/>
                </a:cubicBezTo>
                <a:cubicBezTo>
                  <a:pt x="3167" y="504"/>
                  <a:pt x="3167" y="503"/>
                  <a:pt x="3168" y="503"/>
                </a:cubicBezTo>
                <a:cubicBezTo>
                  <a:pt x="3168" y="502"/>
                  <a:pt x="3169" y="502"/>
                  <a:pt x="3169" y="501"/>
                </a:cubicBezTo>
                <a:lnTo>
                  <a:pt x="3170" y="501"/>
                </a:lnTo>
                <a:cubicBezTo>
                  <a:pt x="3171" y="501"/>
                  <a:pt x="3171" y="500"/>
                  <a:pt x="3171" y="499"/>
                </a:cubicBezTo>
                <a:cubicBezTo>
                  <a:pt x="3171" y="498"/>
                  <a:pt x="3171" y="497"/>
                  <a:pt x="3171" y="497"/>
                </a:cubicBezTo>
                <a:cubicBezTo>
                  <a:pt x="3172" y="496"/>
                  <a:pt x="3172" y="495"/>
                  <a:pt x="3174" y="493"/>
                </a:cubicBezTo>
                <a:cubicBezTo>
                  <a:pt x="3174" y="493"/>
                  <a:pt x="3175" y="495"/>
                  <a:pt x="3175" y="498"/>
                </a:cubicBezTo>
                <a:cubicBezTo>
                  <a:pt x="3175" y="501"/>
                  <a:pt x="3176" y="503"/>
                  <a:pt x="3177" y="503"/>
                </a:cubicBezTo>
                <a:cubicBezTo>
                  <a:pt x="3178" y="503"/>
                  <a:pt x="3179" y="502"/>
                  <a:pt x="3181" y="500"/>
                </a:cubicBezTo>
                <a:lnTo>
                  <a:pt x="3181" y="498"/>
                </a:lnTo>
                <a:cubicBezTo>
                  <a:pt x="3181" y="496"/>
                  <a:pt x="3180" y="495"/>
                  <a:pt x="3178" y="493"/>
                </a:cubicBezTo>
                <a:cubicBezTo>
                  <a:pt x="3176" y="491"/>
                  <a:pt x="3175" y="490"/>
                  <a:pt x="3175" y="487"/>
                </a:cubicBezTo>
                <a:cubicBezTo>
                  <a:pt x="3175" y="487"/>
                  <a:pt x="3175" y="485"/>
                  <a:pt x="3176" y="485"/>
                </a:cubicBezTo>
                <a:cubicBezTo>
                  <a:pt x="3176" y="484"/>
                  <a:pt x="3177" y="483"/>
                  <a:pt x="3178" y="483"/>
                </a:cubicBezTo>
                <a:cubicBezTo>
                  <a:pt x="3179" y="483"/>
                  <a:pt x="3180" y="483"/>
                  <a:pt x="3181" y="482"/>
                </a:cubicBezTo>
                <a:cubicBezTo>
                  <a:pt x="3182" y="482"/>
                  <a:pt x="3182" y="482"/>
                  <a:pt x="3182" y="481"/>
                </a:cubicBezTo>
                <a:cubicBezTo>
                  <a:pt x="3182" y="480"/>
                  <a:pt x="3181" y="479"/>
                  <a:pt x="3180" y="479"/>
                </a:cubicBezTo>
                <a:cubicBezTo>
                  <a:pt x="3179" y="479"/>
                  <a:pt x="3178" y="478"/>
                  <a:pt x="3178" y="477"/>
                </a:cubicBezTo>
                <a:cubicBezTo>
                  <a:pt x="3178" y="475"/>
                  <a:pt x="3179" y="472"/>
                  <a:pt x="3181" y="468"/>
                </a:cubicBezTo>
                <a:lnTo>
                  <a:pt x="3183" y="463"/>
                </a:lnTo>
                <a:cubicBezTo>
                  <a:pt x="3182" y="463"/>
                  <a:pt x="3182" y="463"/>
                  <a:pt x="3182" y="462"/>
                </a:cubicBezTo>
                <a:cubicBezTo>
                  <a:pt x="3182" y="462"/>
                  <a:pt x="3183" y="461"/>
                  <a:pt x="3185" y="459"/>
                </a:cubicBezTo>
                <a:cubicBezTo>
                  <a:pt x="3186" y="457"/>
                  <a:pt x="3187" y="455"/>
                  <a:pt x="3187" y="452"/>
                </a:cubicBezTo>
                <a:lnTo>
                  <a:pt x="3187" y="450"/>
                </a:lnTo>
                <a:cubicBezTo>
                  <a:pt x="3187" y="448"/>
                  <a:pt x="3188" y="447"/>
                  <a:pt x="3190" y="446"/>
                </a:cubicBezTo>
                <a:cubicBezTo>
                  <a:pt x="3192" y="445"/>
                  <a:pt x="3192" y="445"/>
                  <a:pt x="3192" y="444"/>
                </a:cubicBezTo>
                <a:cubicBezTo>
                  <a:pt x="3192" y="444"/>
                  <a:pt x="3192" y="443"/>
                  <a:pt x="3191" y="442"/>
                </a:cubicBezTo>
                <a:cubicBezTo>
                  <a:pt x="3189" y="441"/>
                  <a:pt x="3189" y="441"/>
                  <a:pt x="3189" y="441"/>
                </a:cubicBezTo>
                <a:cubicBezTo>
                  <a:pt x="3189" y="440"/>
                  <a:pt x="3189" y="440"/>
                  <a:pt x="3190" y="440"/>
                </a:cubicBezTo>
                <a:cubicBezTo>
                  <a:pt x="3191" y="440"/>
                  <a:pt x="3192" y="439"/>
                  <a:pt x="3192" y="438"/>
                </a:cubicBezTo>
                <a:lnTo>
                  <a:pt x="3191" y="436"/>
                </a:lnTo>
                <a:cubicBezTo>
                  <a:pt x="3191" y="436"/>
                  <a:pt x="3191" y="436"/>
                  <a:pt x="3191" y="436"/>
                </a:cubicBezTo>
                <a:lnTo>
                  <a:pt x="3193" y="437"/>
                </a:lnTo>
                <a:cubicBezTo>
                  <a:pt x="3194" y="438"/>
                  <a:pt x="3195" y="439"/>
                  <a:pt x="3195" y="441"/>
                </a:cubicBezTo>
                <a:cubicBezTo>
                  <a:pt x="3195" y="445"/>
                  <a:pt x="3193" y="451"/>
                  <a:pt x="3189" y="459"/>
                </a:cubicBezTo>
                <a:cubicBezTo>
                  <a:pt x="3186" y="465"/>
                  <a:pt x="3184" y="470"/>
                  <a:pt x="3184" y="471"/>
                </a:cubicBezTo>
                <a:cubicBezTo>
                  <a:pt x="3184" y="472"/>
                  <a:pt x="3184" y="472"/>
                  <a:pt x="3184" y="472"/>
                </a:cubicBezTo>
                <a:cubicBezTo>
                  <a:pt x="3186" y="471"/>
                  <a:pt x="3188" y="469"/>
                  <a:pt x="3190" y="464"/>
                </a:cubicBezTo>
                <a:cubicBezTo>
                  <a:pt x="3192" y="460"/>
                  <a:pt x="3193" y="456"/>
                  <a:pt x="3194" y="451"/>
                </a:cubicBezTo>
                <a:cubicBezTo>
                  <a:pt x="3196" y="446"/>
                  <a:pt x="3196" y="442"/>
                  <a:pt x="3196" y="439"/>
                </a:cubicBezTo>
                <a:cubicBezTo>
                  <a:pt x="3196" y="438"/>
                  <a:pt x="3196" y="437"/>
                  <a:pt x="3196" y="436"/>
                </a:cubicBezTo>
                <a:cubicBezTo>
                  <a:pt x="3194" y="433"/>
                  <a:pt x="3193" y="432"/>
                  <a:pt x="3193" y="431"/>
                </a:cubicBezTo>
                <a:lnTo>
                  <a:pt x="3195" y="432"/>
                </a:lnTo>
                <a:cubicBezTo>
                  <a:pt x="3197" y="432"/>
                  <a:pt x="3198" y="430"/>
                  <a:pt x="3198" y="426"/>
                </a:cubicBezTo>
                <a:cubicBezTo>
                  <a:pt x="3198" y="425"/>
                  <a:pt x="3198" y="424"/>
                  <a:pt x="3198" y="424"/>
                </a:cubicBezTo>
                <a:cubicBezTo>
                  <a:pt x="3197" y="423"/>
                  <a:pt x="3197" y="423"/>
                  <a:pt x="3197" y="422"/>
                </a:cubicBezTo>
                <a:lnTo>
                  <a:pt x="3201" y="423"/>
                </a:lnTo>
                <a:cubicBezTo>
                  <a:pt x="3201" y="423"/>
                  <a:pt x="3201" y="423"/>
                  <a:pt x="3201" y="422"/>
                </a:cubicBezTo>
                <a:lnTo>
                  <a:pt x="3200" y="416"/>
                </a:lnTo>
                <a:cubicBezTo>
                  <a:pt x="3200" y="415"/>
                  <a:pt x="3200" y="415"/>
                  <a:pt x="3200" y="415"/>
                </a:cubicBezTo>
                <a:lnTo>
                  <a:pt x="3203" y="419"/>
                </a:lnTo>
                <a:cubicBezTo>
                  <a:pt x="3203" y="419"/>
                  <a:pt x="3203" y="419"/>
                  <a:pt x="3203" y="418"/>
                </a:cubicBezTo>
                <a:lnTo>
                  <a:pt x="3202" y="413"/>
                </a:lnTo>
                <a:cubicBezTo>
                  <a:pt x="3202" y="412"/>
                  <a:pt x="3203" y="411"/>
                  <a:pt x="3203" y="411"/>
                </a:cubicBezTo>
                <a:lnTo>
                  <a:pt x="3204" y="411"/>
                </a:lnTo>
                <a:cubicBezTo>
                  <a:pt x="3205" y="411"/>
                  <a:pt x="3206" y="410"/>
                  <a:pt x="3207" y="408"/>
                </a:cubicBezTo>
                <a:cubicBezTo>
                  <a:pt x="3209" y="406"/>
                  <a:pt x="3209" y="404"/>
                  <a:pt x="3209" y="402"/>
                </a:cubicBezTo>
                <a:cubicBezTo>
                  <a:pt x="3209" y="401"/>
                  <a:pt x="3209" y="400"/>
                  <a:pt x="3209" y="399"/>
                </a:cubicBezTo>
                <a:cubicBezTo>
                  <a:pt x="3209" y="398"/>
                  <a:pt x="3208" y="398"/>
                  <a:pt x="3208" y="397"/>
                </a:cubicBezTo>
                <a:lnTo>
                  <a:pt x="3210" y="397"/>
                </a:lnTo>
                <a:cubicBezTo>
                  <a:pt x="3212" y="397"/>
                  <a:pt x="3213" y="396"/>
                  <a:pt x="3214" y="394"/>
                </a:cubicBezTo>
                <a:cubicBezTo>
                  <a:pt x="3216" y="392"/>
                  <a:pt x="3216" y="390"/>
                  <a:pt x="3216" y="389"/>
                </a:cubicBezTo>
                <a:cubicBezTo>
                  <a:pt x="3216" y="388"/>
                  <a:pt x="3216" y="388"/>
                  <a:pt x="3216" y="388"/>
                </a:cubicBezTo>
                <a:cubicBezTo>
                  <a:pt x="3216" y="388"/>
                  <a:pt x="3215" y="389"/>
                  <a:pt x="3214" y="390"/>
                </a:cubicBezTo>
                <a:cubicBezTo>
                  <a:pt x="3212" y="392"/>
                  <a:pt x="3211" y="393"/>
                  <a:pt x="3211" y="393"/>
                </a:cubicBezTo>
                <a:lnTo>
                  <a:pt x="3213" y="387"/>
                </a:lnTo>
                <a:cubicBezTo>
                  <a:pt x="3216" y="381"/>
                  <a:pt x="3218" y="378"/>
                  <a:pt x="3219" y="378"/>
                </a:cubicBezTo>
                <a:lnTo>
                  <a:pt x="3217" y="384"/>
                </a:lnTo>
                <a:cubicBezTo>
                  <a:pt x="3217" y="384"/>
                  <a:pt x="3217" y="385"/>
                  <a:pt x="3218" y="385"/>
                </a:cubicBezTo>
                <a:cubicBezTo>
                  <a:pt x="3218" y="385"/>
                  <a:pt x="3219" y="383"/>
                  <a:pt x="3221" y="380"/>
                </a:cubicBezTo>
                <a:lnTo>
                  <a:pt x="3222" y="376"/>
                </a:lnTo>
                <a:cubicBezTo>
                  <a:pt x="3222" y="376"/>
                  <a:pt x="3221" y="377"/>
                  <a:pt x="3221" y="377"/>
                </a:cubicBezTo>
                <a:cubicBezTo>
                  <a:pt x="3221" y="377"/>
                  <a:pt x="3220" y="378"/>
                  <a:pt x="3219" y="378"/>
                </a:cubicBezTo>
                <a:lnTo>
                  <a:pt x="3219" y="377"/>
                </a:lnTo>
                <a:cubicBezTo>
                  <a:pt x="3219" y="376"/>
                  <a:pt x="3220" y="374"/>
                  <a:pt x="3221" y="370"/>
                </a:cubicBezTo>
                <a:cubicBezTo>
                  <a:pt x="3223" y="367"/>
                  <a:pt x="3224" y="366"/>
                  <a:pt x="3224" y="366"/>
                </a:cubicBezTo>
                <a:cubicBezTo>
                  <a:pt x="3225" y="366"/>
                  <a:pt x="3225" y="366"/>
                  <a:pt x="3226" y="367"/>
                </a:cubicBezTo>
                <a:cubicBezTo>
                  <a:pt x="3226" y="367"/>
                  <a:pt x="3226" y="368"/>
                  <a:pt x="3227" y="368"/>
                </a:cubicBezTo>
                <a:cubicBezTo>
                  <a:pt x="3227" y="368"/>
                  <a:pt x="3228" y="367"/>
                  <a:pt x="3228" y="366"/>
                </a:cubicBezTo>
                <a:cubicBezTo>
                  <a:pt x="3229" y="365"/>
                  <a:pt x="3229" y="364"/>
                  <a:pt x="3229" y="364"/>
                </a:cubicBezTo>
                <a:cubicBezTo>
                  <a:pt x="3229" y="363"/>
                  <a:pt x="3229" y="363"/>
                  <a:pt x="3228" y="363"/>
                </a:cubicBezTo>
                <a:lnTo>
                  <a:pt x="3227" y="364"/>
                </a:lnTo>
                <a:cubicBezTo>
                  <a:pt x="3226" y="364"/>
                  <a:pt x="3226" y="363"/>
                  <a:pt x="3226" y="363"/>
                </a:cubicBezTo>
                <a:cubicBezTo>
                  <a:pt x="3226" y="362"/>
                  <a:pt x="3226" y="361"/>
                  <a:pt x="3227" y="360"/>
                </a:cubicBezTo>
                <a:cubicBezTo>
                  <a:pt x="3228" y="359"/>
                  <a:pt x="3229" y="359"/>
                  <a:pt x="3230" y="359"/>
                </a:cubicBezTo>
                <a:cubicBezTo>
                  <a:pt x="3231" y="359"/>
                  <a:pt x="3231" y="358"/>
                  <a:pt x="3232" y="357"/>
                </a:cubicBezTo>
                <a:cubicBezTo>
                  <a:pt x="3234" y="355"/>
                  <a:pt x="3236" y="353"/>
                  <a:pt x="3236" y="351"/>
                </a:cubicBezTo>
                <a:cubicBezTo>
                  <a:pt x="3236" y="351"/>
                  <a:pt x="3235" y="351"/>
                  <a:pt x="3235" y="351"/>
                </a:cubicBezTo>
                <a:cubicBezTo>
                  <a:pt x="3235" y="351"/>
                  <a:pt x="3234" y="351"/>
                  <a:pt x="3234" y="351"/>
                </a:cubicBezTo>
                <a:cubicBezTo>
                  <a:pt x="3233" y="352"/>
                  <a:pt x="3233" y="352"/>
                  <a:pt x="3232" y="352"/>
                </a:cubicBezTo>
                <a:cubicBezTo>
                  <a:pt x="3232" y="352"/>
                  <a:pt x="3232" y="352"/>
                  <a:pt x="3232" y="351"/>
                </a:cubicBezTo>
                <a:cubicBezTo>
                  <a:pt x="3232" y="351"/>
                  <a:pt x="3233" y="349"/>
                  <a:pt x="3234" y="345"/>
                </a:cubicBezTo>
                <a:cubicBezTo>
                  <a:pt x="3239" y="336"/>
                  <a:pt x="3242" y="330"/>
                  <a:pt x="3245" y="325"/>
                </a:cubicBezTo>
                <a:cubicBezTo>
                  <a:pt x="3248" y="321"/>
                  <a:pt x="3250" y="319"/>
                  <a:pt x="3250" y="319"/>
                </a:cubicBezTo>
                <a:cubicBezTo>
                  <a:pt x="3251" y="319"/>
                  <a:pt x="3251" y="319"/>
                  <a:pt x="3251" y="320"/>
                </a:cubicBezTo>
                <a:cubicBezTo>
                  <a:pt x="3251" y="321"/>
                  <a:pt x="3251" y="323"/>
                  <a:pt x="3249" y="324"/>
                </a:cubicBezTo>
                <a:cubicBezTo>
                  <a:pt x="3248" y="326"/>
                  <a:pt x="3247" y="328"/>
                  <a:pt x="3246" y="330"/>
                </a:cubicBezTo>
                <a:cubicBezTo>
                  <a:pt x="3244" y="333"/>
                  <a:pt x="3243" y="335"/>
                  <a:pt x="3242" y="337"/>
                </a:cubicBezTo>
                <a:cubicBezTo>
                  <a:pt x="3241" y="339"/>
                  <a:pt x="3240" y="340"/>
                  <a:pt x="3240" y="341"/>
                </a:cubicBezTo>
                <a:lnTo>
                  <a:pt x="3242" y="340"/>
                </a:lnTo>
                <a:cubicBezTo>
                  <a:pt x="3245" y="336"/>
                  <a:pt x="3249" y="331"/>
                  <a:pt x="3252" y="324"/>
                </a:cubicBezTo>
                <a:cubicBezTo>
                  <a:pt x="3255" y="318"/>
                  <a:pt x="3256" y="313"/>
                  <a:pt x="3256" y="310"/>
                </a:cubicBezTo>
                <a:lnTo>
                  <a:pt x="3256" y="309"/>
                </a:lnTo>
                <a:cubicBezTo>
                  <a:pt x="3256" y="306"/>
                  <a:pt x="3257" y="305"/>
                  <a:pt x="3258" y="305"/>
                </a:cubicBezTo>
                <a:lnTo>
                  <a:pt x="3260" y="306"/>
                </a:lnTo>
                <a:cubicBezTo>
                  <a:pt x="3261" y="306"/>
                  <a:pt x="3263" y="305"/>
                  <a:pt x="3264" y="302"/>
                </a:cubicBezTo>
                <a:cubicBezTo>
                  <a:pt x="3266" y="300"/>
                  <a:pt x="3266" y="298"/>
                  <a:pt x="3266" y="298"/>
                </a:cubicBezTo>
                <a:cubicBezTo>
                  <a:pt x="3266" y="298"/>
                  <a:pt x="3265" y="299"/>
                  <a:pt x="3264" y="300"/>
                </a:cubicBezTo>
                <a:cubicBezTo>
                  <a:pt x="3262" y="302"/>
                  <a:pt x="3261" y="303"/>
                  <a:pt x="3260" y="303"/>
                </a:cubicBezTo>
                <a:cubicBezTo>
                  <a:pt x="3260" y="303"/>
                  <a:pt x="3260" y="303"/>
                  <a:pt x="3260" y="302"/>
                </a:cubicBezTo>
                <a:cubicBezTo>
                  <a:pt x="3259" y="302"/>
                  <a:pt x="3259" y="301"/>
                  <a:pt x="3259" y="301"/>
                </a:cubicBezTo>
                <a:cubicBezTo>
                  <a:pt x="3258" y="301"/>
                  <a:pt x="3256" y="303"/>
                  <a:pt x="3254" y="306"/>
                </a:cubicBezTo>
                <a:cubicBezTo>
                  <a:pt x="3252" y="309"/>
                  <a:pt x="3251" y="312"/>
                  <a:pt x="3251" y="313"/>
                </a:cubicBezTo>
                <a:cubicBezTo>
                  <a:pt x="3251" y="313"/>
                  <a:pt x="3251" y="313"/>
                  <a:pt x="3251" y="313"/>
                </a:cubicBezTo>
                <a:cubicBezTo>
                  <a:pt x="3252" y="313"/>
                  <a:pt x="3252" y="313"/>
                  <a:pt x="3253" y="312"/>
                </a:cubicBezTo>
                <a:cubicBezTo>
                  <a:pt x="3253" y="312"/>
                  <a:pt x="3253" y="312"/>
                  <a:pt x="3254" y="312"/>
                </a:cubicBezTo>
                <a:cubicBezTo>
                  <a:pt x="3254" y="312"/>
                  <a:pt x="3255" y="312"/>
                  <a:pt x="3255" y="313"/>
                </a:cubicBezTo>
                <a:cubicBezTo>
                  <a:pt x="3255" y="316"/>
                  <a:pt x="3253" y="317"/>
                  <a:pt x="3250" y="317"/>
                </a:cubicBezTo>
                <a:lnTo>
                  <a:pt x="3250" y="317"/>
                </a:lnTo>
                <a:cubicBezTo>
                  <a:pt x="3248" y="317"/>
                  <a:pt x="3244" y="322"/>
                  <a:pt x="3238" y="333"/>
                </a:cubicBezTo>
                <a:cubicBezTo>
                  <a:pt x="3233" y="344"/>
                  <a:pt x="3229" y="349"/>
                  <a:pt x="3227" y="349"/>
                </a:cubicBezTo>
                <a:lnTo>
                  <a:pt x="3226" y="349"/>
                </a:lnTo>
                <a:cubicBezTo>
                  <a:pt x="3226" y="349"/>
                  <a:pt x="3225" y="350"/>
                  <a:pt x="3225" y="351"/>
                </a:cubicBezTo>
                <a:cubicBezTo>
                  <a:pt x="3224" y="355"/>
                  <a:pt x="3223" y="358"/>
                  <a:pt x="3223" y="358"/>
                </a:cubicBezTo>
                <a:cubicBezTo>
                  <a:pt x="3223" y="359"/>
                  <a:pt x="3223" y="359"/>
                  <a:pt x="3223" y="360"/>
                </a:cubicBezTo>
                <a:cubicBezTo>
                  <a:pt x="3223" y="361"/>
                  <a:pt x="3223" y="361"/>
                  <a:pt x="3223" y="362"/>
                </a:cubicBezTo>
                <a:cubicBezTo>
                  <a:pt x="3222" y="362"/>
                  <a:pt x="3221" y="363"/>
                  <a:pt x="3220" y="366"/>
                </a:cubicBezTo>
                <a:cubicBezTo>
                  <a:pt x="3219" y="369"/>
                  <a:pt x="3217" y="372"/>
                  <a:pt x="3215" y="375"/>
                </a:cubicBezTo>
                <a:cubicBezTo>
                  <a:pt x="3211" y="383"/>
                  <a:pt x="3208" y="388"/>
                  <a:pt x="3207" y="391"/>
                </a:cubicBezTo>
                <a:cubicBezTo>
                  <a:pt x="3204" y="400"/>
                  <a:pt x="3200" y="409"/>
                  <a:pt x="3196" y="418"/>
                </a:cubicBezTo>
                <a:cubicBezTo>
                  <a:pt x="3193" y="424"/>
                  <a:pt x="3191" y="430"/>
                  <a:pt x="3188" y="436"/>
                </a:cubicBezTo>
                <a:cubicBezTo>
                  <a:pt x="3186" y="443"/>
                  <a:pt x="3183" y="448"/>
                  <a:pt x="3182" y="453"/>
                </a:cubicBezTo>
                <a:cubicBezTo>
                  <a:pt x="3180" y="457"/>
                  <a:pt x="3179" y="460"/>
                  <a:pt x="3178" y="463"/>
                </a:cubicBezTo>
                <a:cubicBezTo>
                  <a:pt x="3177" y="466"/>
                  <a:pt x="3176" y="468"/>
                  <a:pt x="3175" y="469"/>
                </a:cubicBezTo>
                <a:cubicBezTo>
                  <a:pt x="3174" y="470"/>
                  <a:pt x="3173" y="471"/>
                  <a:pt x="3173" y="473"/>
                </a:cubicBezTo>
                <a:cubicBezTo>
                  <a:pt x="3173" y="474"/>
                  <a:pt x="3173" y="475"/>
                  <a:pt x="3172" y="477"/>
                </a:cubicBezTo>
                <a:lnTo>
                  <a:pt x="3169" y="487"/>
                </a:lnTo>
                <a:cubicBezTo>
                  <a:pt x="3165" y="494"/>
                  <a:pt x="3163" y="499"/>
                  <a:pt x="3163" y="502"/>
                </a:cubicBezTo>
                <a:cubicBezTo>
                  <a:pt x="3162" y="505"/>
                  <a:pt x="3161" y="507"/>
                  <a:pt x="3160" y="507"/>
                </a:cubicBezTo>
                <a:lnTo>
                  <a:pt x="3159" y="506"/>
                </a:lnTo>
                <a:lnTo>
                  <a:pt x="3159" y="506"/>
                </a:lnTo>
                <a:cubicBezTo>
                  <a:pt x="3159" y="504"/>
                  <a:pt x="3161" y="497"/>
                  <a:pt x="3164" y="486"/>
                </a:cubicBezTo>
                <a:cubicBezTo>
                  <a:pt x="3167" y="475"/>
                  <a:pt x="3171" y="463"/>
                  <a:pt x="3177" y="448"/>
                </a:cubicBezTo>
                <a:cubicBezTo>
                  <a:pt x="3182" y="434"/>
                  <a:pt x="3189" y="416"/>
                  <a:pt x="3200" y="394"/>
                </a:cubicBezTo>
                <a:cubicBezTo>
                  <a:pt x="3210" y="372"/>
                  <a:pt x="3220" y="352"/>
                  <a:pt x="3230" y="334"/>
                </a:cubicBezTo>
                <a:cubicBezTo>
                  <a:pt x="3240" y="316"/>
                  <a:pt x="3246" y="307"/>
                  <a:pt x="3248" y="307"/>
                </a:cubicBezTo>
                <a:cubicBezTo>
                  <a:pt x="3248" y="307"/>
                  <a:pt x="3248" y="307"/>
                  <a:pt x="3248" y="306"/>
                </a:cubicBezTo>
                <a:lnTo>
                  <a:pt x="3248" y="304"/>
                </a:lnTo>
                <a:cubicBezTo>
                  <a:pt x="3248" y="304"/>
                  <a:pt x="3249" y="302"/>
                  <a:pt x="3251" y="301"/>
                </a:cubicBezTo>
                <a:cubicBezTo>
                  <a:pt x="3252" y="301"/>
                  <a:pt x="3253" y="300"/>
                  <a:pt x="3253" y="299"/>
                </a:cubicBezTo>
                <a:cubicBezTo>
                  <a:pt x="3253" y="298"/>
                  <a:pt x="3253" y="298"/>
                  <a:pt x="3252" y="297"/>
                </a:cubicBezTo>
                <a:cubicBezTo>
                  <a:pt x="3252" y="297"/>
                  <a:pt x="3252" y="296"/>
                  <a:pt x="3252" y="296"/>
                </a:cubicBezTo>
                <a:lnTo>
                  <a:pt x="3253" y="296"/>
                </a:lnTo>
                <a:cubicBezTo>
                  <a:pt x="3255" y="296"/>
                  <a:pt x="3256" y="294"/>
                  <a:pt x="3258" y="290"/>
                </a:cubicBezTo>
                <a:cubicBezTo>
                  <a:pt x="3259" y="286"/>
                  <a:pt x="3261" y="284"/>
                  <a:pt x="3262" y="284"/>
                </a:cubicBezTo>
                <a:cubicBezTo>
                  <a:pt x="3263" y="284"/>
                  <a:pt x="3264" y="284"/>
                  <a:pt x="3264" y="283"/>
                </a:cubicBezTo>
                <a:lnTo>
                  <a:pt x="3263" y="282"/>
                </a:lnTo>
                <a:cubicBezTo>
                  <a:pt x="3263" y="281"/>
                  <a:pt x="3264" y="279"/>
                  <a:pt x="3265" y="279"/>
                </a:cubicBezTo>
                <a:cubicBezTo>
                  <a:pt x="3266" y="279"/>
                  <a:pt x="3267" y="278"/>
                  <a:pt x="3267" y="278"/>
                </a:cubicBezTo>
                <a:cubicBezTo>
                  <a:pt x="3268" y="277"/>
                  <a:pt x="3268" y="276"/>
                  <a:pt x="3268" y="274"/>
                </a:cubicBezTo>
                <a:cubicBezTo>
                  <a:pt x="3268" y="273"/>
                  <a:pt x="3269" y="271"/>
                  <a:pt x="3271" y="269"/>
                </a:cubicBezTo>
                <a:cubicBezTo>
                  <a:pt x="3273" y="268"/>
                  <a:pt x="3274" y="267"/>
                  <a:pt x="3274" y="267"/>
                </a:cubicBezTo>
                <a:lnTo>
                  <a:pt x="3272" y="267"/>
                </a:lnTo>
                <a:cubicBezTo>
                  <a:pt x="3272" y="266"/>
                  <a:pt x="3273" y="264"/>
                  <a:pt x="3275" y="262"/>
                </a:cubicBezTo>
                <a:cubicBezTo>
                  <a:pt x="3277" y="259"/>
                  <a:pt x="3278" y="257"/>
                  <a:pt x="3279" y="256"/>
                </a:cubicBezTo>
                <a:lnTo>
                  <a:pt x="3282" y="254"/>
                </a:lnTo>
                <a:cubicBezTo>
                  <a:pt x="3282" y="254"/>
                  <a:pt x="3281" y="255"/>
                  <a:pt x="3281" y="257"/>
                </a:cubicBezTo>
                <a:cubicBezTo>
                  <a:pt x="3281" y="259"/>
                  <a:pt x="3281" y="260"/>
                  <a:pt x="3283" y="260"/>
                </a:cubicBezTo>
                <a:cubicBezTo>
                  <a:pt x="3283" y="260"/>
                  <a:pt x="3283" y="259"/>
                  <a:pt x="3283" y="256"/>
                </a:cubicBezTo>
                <a:cubicBezTo>
                  <a:pt x="3283" y="254"/>
                  <a:pt x="3285" y="250"/>
                  <a:pt x="3289" y="244"/>
                </a:cubicBezTo>
                <a:cubicBezTo>
                  <a:pt x="3292" y="238"/>
                  <a:pt x="3296" y="232"/>
                  <a:pt x="3300" y="228"/>
                </a:cubicBezTo>
                <a:cubicBezTo>
                  <a:pt x="3304" y="223"/>
                  <a:pt x="3307" y="220"/>
                  <a:pt x="3308" y="220"/>
                </a:cubicBezTo>
                <a:cubicBezTo>
                  <a:pt x="3309" y="220"/>
                  <a:pt x="3309" y="220"/>
                  <a:pt x="3309" y="220"/>
                </a:cubicBezTo>
                <a:cubicBezTo>
                  <a:pt x="3309" y="221"/>
                  <a:pt x="3308" y="223"/>
                  <a:pt x="3306" y="224"/>
                </a:cubicBezTo>
                <a:cubicBezTo>
                  <a:pt x="3300" y="231"/>
                  <a:pt x="3297" y="235"/>
                  <a:pt x="3297" y="237"/>
                </a:cubicBezTo>
                <a:lnTo>
                  <a:pt x="3297" y="237"/>
                </a:lnTo>
                <a:lnTo>
                  <a:pt x="3298" y="237"/>
                </a:lnTo>
                <a:cubicBezTo>
                  <a:pt x="3298" y="237"/>
                  <a:pt x="3300" y="236"/>
                  <a:pt x="3303" y="232"/>
                </a:cubicBezTo>
                <a:cubicBezTo>
                  <a:pt x="3305" y="230"/>
                  <a:pt x="3308" y="226"/>
                  <a:pt x="3310" y="223"/>
                </a:cubicBezTo>
                <a:cubicBezTo>
                  <a:pt x="3311" y="219"/>
                  <a:pt x="3313" y="217"/>
                  <a:pt x="3313" y="215"/>
                </a:cubicBezTo>
                <a:cubicBezTo>
                  <a:pt x="3313" y="212"/>
                  <a:pt x="3315" y="211"/>
                  <a:pt x="3316" y="211"/>
                </a:cubicBezTo>
                <a:cubicBezTo>
                  <a:pt x="3317" y="211"/>
                  <a:pt x="3318" y="210"/>
                  <a:pt x="3318" y="209"/>
                </a:cubicBezTo>
                <a:lnTo>
                  <a:pt x="3317" y="207"/>
                </a:lnTo>
                <a:lnTo>
                  <a:pt x="3319" y="206"/>
                </a:lnTo>
                <a:cubicBezTo>
                  <a:pt x="3320" y="206"/>
                  <a:pt x="3324" y="203"/>
                  <a:pt x="3331" y="195"/>
                </a:cubicBezTo>
                <a:cubicBezTo>
                  <a:pt x="3338" y="188"/>
                  <a:pt x="3342" y="184"/>
                  <a:pt x="3344" y="184"/>
                </a:cubicBezTo>
                <a:cubicBezTo>
                  <a:pt x="3344" y="184"/>
                  <a:pt x="3344" y="184"/>
                  <a:pt x="3344" y="184"/>
                </a:cubicBezTo>
                <a:lnTo>
                  <a:pt x="3343" y="188"/>
                </a:lnTo>
                <a:cubicBezTo>
                  <a:pt x="3343" y="189"/>
                  <a:pt x="3343" y="189"/>
                  <a:pt x="3344" y="189"/>
                </a:cubicBezTo>
                <a:cubicBezTo>
                  <a:pt x="3345" y="189"/>
                  <a:pt x="3350" y="186"/>
                  <a:pt x="3357" y="178"/>
                </a:cubicBezTo>
                <a:cubicBezTo>
                  <a:pt x="3371" y="164"/>
                  <a:pt x="3386" y="152"/>
                  <a:pt x="3403" y="143"/>
                </a:cubicBezTo>
                <a:cubicBezTo>
                  <a:pt x="3419" y="135"/>
                  <a:pt x="3433" y="131"/>
                  <a:pt x="3444" y="131"/>
                </a:cubicBezTo>
                <a:cubicBezTo>
                  <a:pt x="3449" y="131"/>
                  <a:pt x="3454" y="132"/>
                  <a:pt x="3457" y="134"/>
                </a:cubicBezTo>
                <a:cubicBezTo>
                  <a:pt x="3458" y="135"/>
                  <a:pt x="3459" y="136"/>
                  <a:pt x="3460" y="136"/>
                </a:cubicBezTo>
                <a:cubicBezTo>
                  <a:pt x="3460" y="136"/>
                  <a:pt x="3462" y="136"/>
                  <a:pt x="3464" y="136"/>
                </a:cubicBezTo>
                <a:cubicBezTo>
                  <a:pt x="3465" y="137"/>
                  <a:pt x="3468" y="137"/>
                  <a:pt x="3471" y="139"/>
                </a:cubicBezTo>
                <a:cubicBezTo>
                  <a:pt x="3478" y="143"/>
                  <a:pt x="3483" y="147"/>
                  <a:pt x="3486" y="151"/>
                </a:cubicBezTo>
                <a:cubicBezTo>
                  <a:pt x="3488" y="153"/>
                  <a:pt x="3489" y="156"/>
                  <a:pt x="3490" y="160"/>
                </a:cubicBezTo>
                <a:cubicBezTo>
                  <a:pt x="3493" y="169"/>
                  <a:pt x="3494" y="179"/>
                  <a:pt x="3494" y="191"/>
                </a:cubicBezTo>
                <a:cubicBezTo>
                  <a:pt x="3494" y="236"/>
                  <a:pt x="3476" y="289"/>
                  <a:pt x="3440" y="350"/>
                </a:cubicBezTo>
                <a:cubicBezTo>
                  <a:pt x="3403" y="411"/>
                  <a:pt x="3360" y="459"/>
                  <a:pt x="3312" y="495"/>
                </a:cubicBezTo>
                <a:cubicBezTo>
                  <a:pt x="3299" y="502"/>
                  <a:pt x="3291" y="506"/>
                  <a:pt x="3288" y="506"/>
                </a:cubicBezTo>
                <a:cubicBezTo>
                  <a:pt x="3288" y="506"/>
                  <a:pt x="3287" y="506"/>
                  <a:pt x="3287" y="505"/>
                </a:cubicBezTo>
                <a:cubicBezTo>
                  <a:pt x="3287" y="505"/>
                  <a:pt x="3288" y="504"/>
                  <a:pt x="3288" y="502"/>
                </a:cubicBezTo>
                <a:cubicBezTo>
                  <a:pt x="3290" y="500"/>
                  <a:pt x="3292" y="500"/>
                  <a:pt x="3293" y="500"/>
                </a:cubicBezTo>
                <a:cubicBezTo>
                  <a:pt x="3294" y="500"/>
                  <a:pt x="3294" y="500"/>
                  <a:pt x="3294" y="501"/>
                </a:cubicBezTo>
                <a:cubicBezTo>
                  <a:pt x="3294" y="501"/>
                  <a:pt x="3294" y="502"/>
                  <a:pt x="3293" y="502"/>
                </a:cubicBezTo>
                <a:cubicBezTo>
                  <a:pt x="3293" y="503"/>
                  <a:pt x="3293" y="504"/>
                  <a:pt x="3293" y="504"/>
                </a:cubicBezTo>
                <a:lnTo>
                  <a:pt x="3295" y="503"/>
                </a:lnTo>
                <a:cubicBezTo>
                  <a:pt x="3295" y="503"/>
                  <a:pt x="3296" y="502"/>
                  <a:pt x="3296" y="501"/>
                </a:cubicBezTo>
                <a:cubicBezTo>
                  <a:pt x="3296" y="496"/>
                  <a:pt x="3297" y="493"/>
                  <a:pt x="3298" y="493"/>
                </a:cubicBezTo>
                <a:cubicBezTo>
                  <a:pt x="3298" y="493"/>
                  <a:pt x="3299" y="494"/>
                  <a:pt x="3301" y="495"/>
                </a:cubicBezTo>
                <a:lnTo>
                  <a:pt x="3303" y="497"/>
                </a:lnTo>
                <a:cubicBezTo>
                  <a:pt x="3303" y="497"/>
                  <a:pt x="3303" y="496"/>
                  <a:pt x="3303" y="495"/>
                </a:cubicBezTo>
                <a:cubicBezTo>
                  <a:pt x="3302" y="495"/>
                  <a:pt x="3302" y="494"/>
                  <a:pt x="3302" y="493"/>
                </a:cubicBezTo>
                <a:cubicBezTo>
                  <a:pt x="3302" y="492"/>
                  <a:pt x="3303" y="490"/>
                  <a:pt x="3304" y="489"/>
                </a:cubicBezTo>
                <a:cubicBezTo>
                  <a:pt x="3305" y="487"/>
                  <a:pt x="3306" y="487"/>
                  <a:pt x="3308" y="487"/>
                </a:cubicBezTo>
                <a:cubicBezTo>
                  <a:pt x="3309" y="487"/>
                  <a:pt x="3309" y="488"/>
                  <a:pt x="3309" y="489"/>
                </a:cubicBezTo>
                <a:cubicBezTo>
                  <a:pt x="3309" y="490"/>
                  <a:pt x="3309" y="490"/>
                  <a:pt x="3309" y="491"/>
                </a:cubicBezTo>
                <a:cubicBezTo>
                  <a:pt x="3309" y="492"/>
                  <a:pt x="3308" y="492"/>
                  <a:pt x="3308" y="492"/>
                </a:cubicBezTo>
                <a:lnTo>
                  <a:pt x="3310" y="491"/>
                </a:lnTo>
                <a:cubicBezTo>
                  <a:pt x="3311" y="490"/>
                  <a:pt x="3311" y="489"/>
                  <a:pt x="3311" y="488"/>
                </a:cubicBezTo>
                <a:cubicBezTo>
                  <a:pt x="3311" y="486"/>
                  <a:pt x="3312" y="484"/>
                  <a:pt x="3314" y="481"/>
                </a:cubicBezTo>
                <a:cubicBezTo>
                  <a:pt x="3316" y="479"/>
                  <a:pt x="3318" y="478"/>
                  <a:pt x="3320" y="478"/>
                </a:cubicBezTo>
                <a:lnTo>
                  <a:pt x="3323" y="478"/>
                </a:lnTo>
                <a:lnTo>
                  <a:pt x="3325" y="477"/>
                </a:lnTo>
                <a:lnTo>
                  <a:pt x="3325" y="476"/>
                </a:lnTo>
                <a:cubicBezTo>
                  <a:pt x="3325" y="474"/>
                  <a:pt x="3327" y="471"/>
                  <a:pt x="3331" y="467"/>
                </a:cubicBezTo>
                <a:lnTo>
                  <a:pt x="3335" y="464"/>
                </a:lnTo>
                <a:cubicBezTo>
                  <a:pt x="3335" y="465"/>
                  <a:pt x="3335" y="465"/>
                  <a:pt x="3335" y="465"/>
                </a:cubicBezTo>
                <a:cubicBezTo>
                  <a:pt x="3336" y="465"/>
                  <a:pt x="3337" y="463"/>
                  <a:pt x="3340" y="459"/>
                </a:cubicBezTo>
                <a:cubicBezTo>
                  <a:pt x="3342" y="455"/>
                  <a:pt x="3344" y="453"/>
                  <a:pt x="3346" y="453"/>
                </a:cubicBezTo>
                <a:cubicBezTo>
                  <a:pt x="3346" y="453"/>
                  <a:pt x="3347" y="454"/>
                  <a:pt x="3347" y="454"/>
                </a:cubicBezTo>
                <a:cubicBezTo>
                  <a:pt x="3347" y="455"/>
                  <a:pt x="3346" y="456"/>
                  <a:pt x="3346" y="456"/>
                </a:cubicBezTo>
                <a:cubicBezTo>
                  <a:pt x="3345" y="457"/>
                  <a:pt x="3345" y="458"/>
                  <a:pt x="3345" y="458"/>
                </a:cubicBezTo>
                <a:cubicBezTo>
                  <a:pt x="3345" y="458"/>
                  <a:pt x="3347" y="458"/>
                  <a:pt x="3348" y="456"/>
                </a:cubicBezTo>
                <a:cubicBezTo>
                  <a:pt x="3349" y="455"/>
                  <a:pt x="3350" y="454"/>
                  <a:pt x="3350" y="453"/>
                </a:cubicBezTo>
                <a:cubicBezTo>
                  <a:pt x="3350" y="452"/>
                  <a:pt x="3350" y="451"/>
                  <a:pt x="3349" y="451"/>
                </a:cubicBezTo>
                <a:cubicBezTo>
                  <a:pt x="3349" y="450"/>
                  <a:pt x="3348" y="449"/>
                  <a:pt x="3348" y="448"/>
                </a:cubicBezTo>
                <a:cubicBezTo>
                  <a:pt x="3348" y="447"/>
                  <a:pt x="3352" y="444"/>
                  <a:pt x="3358" y="439"/>
                </a:cubicBezTo>
                <a:cubicBezTo>
                  <a:pt x="3365" y="433"/>
                  <a:pt x="3369" y="430"/>
                  <a:pt x="3369" y="429"/>
                </a:cubicBezTo>
                <a:cubicBezTo>
                  <a:pt x="3369" y="427"/>
                  <a:pt x="3370" y="427"/>
                  <a:pt x="3371" y="427"/>
                </a:cubicBezTo>
                <a:cubicBezTo>
                  <a:pt x="3372" y="427"/>
                  <a:pt x="3376" y="423"/>
                  <a:pt x="3382" y="416"/>
                </a:cubicBezTo>
                <a:cubicBezTo>
                  <a:pt x="3387" y="411"/>
                  <a:pt x="3389" y="407"/>
                  <a:pt x="3389" y="406"/>
                </a:cubicBezTo>
                <a:lnTo>
                  <a:pt x="3388" y="406"/>
                </a:lnTo>
                <a:cubicBezTo>
                  <a:pt x="3388" y="406"/>
                  <a:pt x="3391" y="402"/>
                  <a:pt x="3397" y="395"/>
                </a:cubicBezTo>
                <a:cubicBezTo>
                  <a:pt x="3406" y="386"/>
                  <a:pt x="3410" y="380"/>
                  <a:pt x="3410" y="379"/>
                </a:cubicBezTo>
                <a:cubicBezTo>
                  <a:pt x="3410" y="377"/>
                  <a:pt x="3412" y="375"/>
                  <a:pt x="3415" y="371"/>
                </a:cubicBezTo>
                <a:cubicBezTo>
                  <a:pt x="3419" y="367"/>
                  <a:pt x="3421" y="365"/>
                  <a:pt x="3421" y="363"/>
                </a:cubicBezTo>
                <a:cubicBezTo>
                  <a:pt x="3421" y="362"/>
                  <a:pt x="3422" y="360"/>
                  <a:pt x="3425" y="356"/>
                </a:cubicBezTo>
                <a:cubicBezTo>
                  <a:pt x="3428" y="353"/>
                  <a:pt x="3429" y="350"/>
                  <a:pt x="3429" y="349"/>
                </a:cubicBezTo>
                <a:cubicBezTo>
                  <a:pt x="3429" y="347"/>
                  <a:pt x="3429" y="346"/>
                  <a:pt x="3430" y="346"/>
                </a:cubicBezTo>
                <a:cubicBezTo>
                  <a:pt x="3430" y="345"/>
                  <a:pt x="3430" y="345"/>
                  <a:pt x="3431" y="344"/>
                </a:cubicBezTo>
                <a:lnTo>
                  <a:pt x="3432" y="344"/>
                </a:lnTo>
                <a:cubicBezTo>
                  <a:pt x="3433" y="344"/>
                  <a:pt x="3434" y="343"/>
                  <a:pt x="3437" y="339"/>
                </a:cubicBezTo>
                <a:cubicBezTo>
                  <a:pt x="3439" y="336"/>
                  <a:pt x="3440" y="334"/>
                  <a:pt x="3440" y="333"/>
                </a:cubicBezTo>
                <a:cubicBezTo>
                  <a:pt x="3440" y="333"/>
                  <a:pt x="3439" y="332"/>
                  <a:pt x="3439" y="332"/>
                </a:cubicBezTo>
                <a:cubicBezTo>
                  <a:pt x="3439" y="332"/>
                  <a:pt x="3439" y="332"/>
                  <a:pt x="3439" y="332"/>
                </a:cubicBezTo>
                <a:cubicBezTo>
                  <a:pt x="3439" y="331"/>
                  <a:pt x="3439" y="331"/>
                  <a:pt x="3441" y="329"/>
                </a:cubicBezTo>
                <a:cubicBezTo>
                  <a:pt x="3443" y="328"/>
                  <a:pt x="3444" y="326"/>
                  <a:pt x="3445" y="323"/>
                </a:cubicBezTo>
                <a:cubicBezTo>
                  <a:pt x="3445" y="322"/>
                  <a:pt x="3446" y="321"/>
                  <a:pt x="3447" y="320"/>
                </a:cubicBezTo>
                <a:cubicBezTo>
                  <a:pt x="3447" y="318"/>
                  <a:pt x="3448" y="317"/>
                  <a:pt x="3450" y="316"/>
                </a:cubicBezTo>
                <a:cubicBezTo>
                  <a:pt x="3451" y="313"/>
                  <a:pt x="3452" y="311"/>
                  <a:pt x="3452" y="308"/>
                </a:cubicBezTo>
                <a:lnTo>
                  <a:pt x="3452" y="306"/>
                </a:lnTo>
                <a:cubicBezTo>
                  <a:pt x="3452" y="305"/>
                  <a:pt x="3452" y="304"/>
                  <a:pt x="3454" y="303"/>
                </a:cubicBezTo>
                <a:cubicBezTo>
                  <a:pt x="3456" y="302"/>
                  <a:pt x="3457" y="301"/>
                  <a:pt x="3457" y="300"/>
                </a:cubicBezTo>
                <a:lnTo>
                  <a:pt x="3456" y="298"/>
                </a:lnTo>
                <a:cubicBezTo>
                  <a:pt x="3456" y="296"/>
                  <a:pt x="3457" y="295"/>
                  <a:pt x="3457" y="294"/>
                </a:cubicBezTo>
                <a:cubicBezTo>
                  <a:pt x="3458" y="293"/>
                  <a:pt x="3459" y="292"/>
                  <a:pt x="3459" y="292"/>
                </a:cubicBezTo>
                <a:lnTo>
                  <a:pt x="3460" y="292"/>
                </a:lnTo>
                <a:cubicBezTo>
                  <a:pt x="3461" y="292"/>
                  <a:pt x="3461" y="292"/>
                  <a:pt x="3461" y="291"/>
                </a:cubicBezTo>
                <a:lnTo>
                  <a:pt x="3460" y="287"/>
                </a:lnTo>
                <a:cubicBezTo>
                  <a:pt x="3460" y="287"/>
                  <a:pt x="3460" y="287"/>
                  <a:pt x="3460" y="287"/>
                </a:cubicBezTo>
                <a:lnTo>
                  <a:pt x="3464" y="288"/>
                </a:lnTo>
                <a:cubicBezTo>
                  <a:pt x="3464" y="288"/>
                  <a:pt x="3464" y="288"/>
                  <a:pt x="3464" y="288"/>
                </a:cubicBezTo>
                <a:lnTo>
                  <a:pt x="3464" y="287"/>
                </a:lnTo>
                <a:cubicBezTo>
                  <a:pt x="3464" y="282"/>
                  <a:pt x="3465" y="275"/>
                  <a:pt x="3469" y="267"/>
                </a:cubicBezTo>
                <a:cubicBezTo>
                  <a:pt x="3481" y="232"/>
                  <a:pt x="3487" y="205"/>
                  <a:pt x="3487" y="186"/>
                </a:cubicBezTo>
                <a:cubicBezTo>
                  <a:pt x="3487" y="179"/>
                  <a:pt x="3486" y="174"/>
                  <a:pt x="3484" y="169"/>
                </a:cubicBezTo>
                <a:cubicBezTo>
                  <a:pt x="3482" y="165"/>
                  <a:pt x="3481" y="163"/>
                  <a:pt x="3481" y="163"/>
                </a:cubicBezTo>
                <a:cubicBezTo>
                  <a:pt x="3481" y="163"/>
                  <a:pt x="3480" y="163"/>
                  <a:pt x="3480" y="164"/>
                </a:cubicBezTo>
                <a:cubicBezTo>
                  <a:pt x="3480" y="164"/>
                  <a:pt x="3481" y="166"/>
                  <a:pt x="3482" y="169"/>
                </a:cubicBezTo>
                <a:cubicBezTo>
                  <a:pt x="3482" y="173"/>
                  <a:pt x="3483" y="177"/>
                  <a:pt x="3483" y="183"/>
                </a:cubicBezTo>
                <a:cubicBezTo>
                  <a:pt x="3483" y="192"/>
                  <a:pt x="3482" y="203"/>
                  <a:pt x="3479" y="213"/>
                </a:cubicBezTo>
                <a:lnTo>
                  <a:pt x="3477" y="224"/>
                </a:lnTo>
                <a:cubicBezTo>
                  <a:pt x="3477" y="226"/>
                  <a:pt x="3476" y="230"/>
                  <a:pt x="3474" y="235"/>
                </a:cubicBezTo>
                <a:cubicBezTo>
                  <a:pt x="3472" y="242"/>
                  <a:pt x="3470" y="246"/>
                  <a:pt x="3469" y="246"/>
                </a:cubicBezTo>
                <a:cubicBezTo>
                  <a:pt x="3468" y="246"/>
                  <a:pt x="3468" y="248"/>
                  <a:pt x="3468" y="252"/>
                </a:cubicBezTo>
                <a:cubicBezTo>
                  <a:pt x="3468" y="256"/>
                  <a:pt x="3467" y="259"/>
                  <a:pt x="3464" y="264"/>
                </a:cubicBezTo>
                <a:cubicBezTo>
                  <a:pt x="3462" y="268"/>
                  <a:pt x="3461" y="271"/>
                  <a:pt x="3461" y="274"/>
                </a:cubicBezTo>
                <a:cubicBezTo>
                  <a:pt x="3461" y="274"/>
                  <a:pt x="3461" y="275"/>
                  <a:pt x="3462" y="275"/>
                </a:cubicBezTo>
                <a:lnTo>
                  <a:pt x="3462" y="276"/>
                </a:lnTo>
                <a:cubicBezTo>
                  <a:pt x="3461" y="276"/>
                  <a:pt x="3460" y="275"/>
                  <a:pt x="3459" y="273"/>
                </a:cubicBezTo>
                <a:cubicBezTo>
                  <a:pt x="3457" y="272"/>
                  <a:pt x="3456" y="271"/>
                  <a:pt x="3456" y="271"/>
                </a:cubicBezTo>
                <a:lnTo>
                  <a:pt x="3456" y="271"/>
                </a:lnTo>
                <a:cubicBezTo>
                  <a:pt x="3456" y="272"/>
                  <a:pt x="3456" y="274"/>
                  <a:pt x="3458" y="278"/>
                </a:cubicBezTo>
                <a:cubicBezTo>
                  <a:pt x="3458" y="280"/>
                  <a:pt x="3459" y="281"/>
                  <a:pt x="3459" y="283"/>
                </a:cubicBezTo>
                <a:cubicBezTo>
                  <a:pt x="3459" y="285"/>
                  <a:pt x="3457" y="287"/>
                  <a:pt x="3454" y="290"/>
                </a:cubicBezTo>
                <a:cubicBezTo>
                  <a:pt x="3451" y="293"/>
                  <a:pt x="3450" y="294"/>
                  <a:pt x="3450" y="294"/>
                </a:cubicBezTo>
                <a:cubicBezTo>
                  <a:pt x="3450" y="295"/>
                  <a:pt x="3450" y="295"/>
                  <a:pt x="3450" y="295"/>
                </a:cubicBezTo>
                <a:lnTo>
                  <a:pt x="3452" y="294"/>
                </a:lnTo>
                <a:cubicBezTo>
                  <a:pt x="3453" y="294"/>
                  <a:pt x="3453" y="294"/>
                  <a:pt x="3453" y="296"/>
                </a:cubicBezTo>
                <a:cubicBezTo>
                  <a:pt x="3452" y="298"/>
                  <a:pt x="3451" y="299"/>
                  <a:pt x="3450" y="299"/>
                </a:cubicBezTo>
                <a:cubicBezTo>
                  <a:pt x="3449" y="299"/>
                  <a:pt x="3447" y="299"/>
                  <a:pt x="3446" y="301"/>
                </a:cubicBezTo>
                <a:cubicBezTo>
                  <a:pt x="3446" y="303"/>
                  <a:pt x="3446" y="304"/>
                  <a:pt x="3446" y="304"/>
                </a:cubicBezTo>
                <a:lnTo>
                  <a:pt x="3448" y="303"/>
                </a:lnTo>
                <a:cubicBezTo>
                  <a:pt x="3449" y="303"/>
                  <a:pt x="3449" y="303"/>
                  <a:pt x="3449" y="304"/>
                </a:cubicBezTo>
                <a:cubicBezTo>
                  <a:pt x="3449" y="305"/>
                  <a:pt x="3448" y="308"/>
                  <a:pt x="3445" y="314"/>
                </a:cubicBezTo>
                <a:cubicBezTo>
                  <a:pt x="3442" y="320"/>
                  <a:pt x="3440" y="323"/>
                  <a:pt x="3438" y="323"/>
                </a:cubicBezTo>
                <a:cubicBezTo>
                  <a:pt x="3437" y="323"/>
                  <a:pt x="3437" y="323"/>
                  <a:pt x="3437" y="322"/>
                </a:cubicBezTo>
                <a:lnTo>
                  <a:pt x="3438" y="318"/>
                </a:lnTo>
                <a:cubicBezTo>
                  <a:pt x="3437" y="318"/>
                  <a:pt x="3436" y="320"/>
                  <a:pt x="3433" y="323"/>
                </a:cubicBezTo>
                <a:cubicBezTo>
                  <a:pt x="3431" y="325"/>
                  <a:pt x="3430" y="326"/>
                  <a:pt x="3430" y="327"/>
                </a:cubicBezTo>
                <a:lnTo>
                  <a:pt x="3437" y="326"/>
                </a:lnTo>
                <a:cubicBezTo>
                  <a:pt x="3437" y="326"/>
                  <a:pt x="3437" y="326"/>
                  <a:pt x="3437" y="326"/>
                </a:cubicBezTo>
                <a:cubicBezTo>
                  <a:pt x="3437" y="327"/>
                  <a:pt x="3436" y="330"/>
                  <a:pt x="3433" y="335"/>
                </a:cubicBezTo>
                <a:cubicBezTo>
                  <a:pt x="3431" y="338"/>
                  <a:pt x="3429" y="341"/>
                  <a:pt x="3427" y="343"/>
                </a:cubicBezTo>
                <a:cubicBezTo>
                  <a:pt x="3425" y="346"/>
                  <a:pt x="3424" y="347"/>
                  <a:pt x="3423" y="347"/>
                </a:cubicBezTo>
                <a:cubicBezTo>
                  <a:pt x="3423" y="347"/>
                  <a:pt x="3423" y="347"/>
                  <a:pt x="3423" y="346"/>
                </a:cubicBezTo>
                <a:lnTo>
                  <a:pt x="3424" y="343"/>
                </a:lnTo>
                <a:cubicBezTo>
                  <a:pt x="3424" y="343"/>
                  <a:pt x="3422" y="344"/>
                  <a:pt x="3420" y="346"/>
                </a:cubicBezTo>
                <a:cubicBezTo>
                  <a:pt x="3417" y="348"/>
                  <a:pt x="3415" y="351"/>
                  <a:pt x="3415" y="353"/>
                </a:cubicBezTo>
                <a:cubicBezTo>
                  <a:pt x="3415" y="354"/>
                  <a:pt x="3408" y="364"/>
                  <a:pt x="3393" y="384"/>
                </a:cubicBezTo>
                <a:cubicBezTo>
                  <a:pt x="3388" y="390"/>
                  <a:pt x="3386" y="394"/>
                  <a:pt x="3386" y="395"/>
                </a:cubicBezTo>
                <a:cubicBezTo>
                  <a:pt x="3386" y="396"/>
                  <a:pt x="3383" y="399"/>
                  <a:pt x="3379" y="404"/>
                </a:cubicBezTo>
                <a:cubicBezTo>
                  <a:pt x="3376" y="406"/>
                  <a:pt x="3374" y="408"/>
                  <a:pt x="3374" y="409"/>
                </a:cubicBezTo>
                <a:lnTo>
                  <a:pt x="3376" y="409"/>
                </a:lnTo>
                <a:cubicBezTo>
                  <a:pt x="3375" y="410"/>
                  <a:pt x="3373" y="413"/>
                  <a:pt x="3367" y="418"/>
                </a:cubicBezTo>
                <a:cubicBezTo>
                  <a:pt x="3360" y="424"/>
                  <a:pt x="3357" y="429"/>
                  <a:pt x="3357" y="430"/>
                </a:cubicBezTo>
                <a:lnTo>
                  <a:pt x="3357" y="431"/>
                </a:lnTo>
                <a:cubicBezTo>
                  <a:pt x="3357" y="431"/>
                  <a:pt x="3356" y="433"/>
                  <a:pt x="3353" y="436"/>
                </a:cubicBezTo>
                <a:cubicBezTo>
                  <a:pt x="3350" y="441"/>
                  <a:pt x="3344" y="446"/>
                  <a:pt x="3336" y="453"/>
                </a:cubicBezTo>
                <a:lnTo>
                  <a:pt x="3331" y="457"/>
                </a:lnTo>
                <a:lnTo>
                  <a:pt x="3330" y="457"/>
                </a:lnTo>
                <a:lnTo>
                  <a:pt x="3330" y="458"/>
                </a:lnTo>
                <a:cubicBezTo>
                  <a:pt x="3330" y="460"/>
                  <a:pt x="3326" y="466"/>
                  <a:pt x="3317" y="475"/>
                </a:cubicBezTo>
                <a:cubicBezTo>
                  <a:pt x="3308" y="483"/>
                  <a:pt x="3297" y="492"/>
                  <a:pt x="3284" y="501"/>
                </a:cubicBezTo>
                <a:cubicBezTo>
                  <a:pt x="3270" y="511"/>
                  <a:pt x="3263" y="517"/>
                  <a:pt x="3263" y="518"/>
                </a:cubicBezTo>
                <a:cubicBezTo>
                  <a:pt x="3263" y="519"/>
                  <a:pt x="3263" y="519"/>
                  <a:pt x="3262" y="519"/>
                </a:cubicBezTo>
                <a:lnTo>
                  <a:pt x="3258" y="518"/>
                </a:lnTo>
                <a:lnTo>
                  <a:pt x="3256" y="519"/>
                </a:lnTo>
                <a:lnTo>
                  <a:pt x="3257" y="520"/>
                </a:lnTo>
                <a:cubicBezTo>
                  <a:pt x="3257" y="522"/>
                  <a:pt x="3250" y="523"/>
                  <a:pt x="3237" y="523"/>
                </a:cubicBezTo>
                <a:lnTo>
                  <a:pt x="3231" y="523"/>
                </a:lnTo>
                <a:cubicBezTo>
                  <a:pt x="3223" y="523"/>
                  <a:pt x="3217" y="522"/>
                  <a:pt x="3213" y="520"/>
                </a:cubicBezTo>
                <a:cubicBezTo>
                  <a:pt x="3210" y="518"/>
                  <a:pt x="3207" y="514"/>
                  <a:pt x="3205" y="509"/>
                </a:cubicBezTo>
                <a:cubicBezTo>
                  <a:pt x="3204" y="506"/>
                  <a:pt x="3204" y="504"/>
                  <a:pt x="3203" y="504"/>
                </a:cubicBezTo>
                <a:cubicBezTo>
                  <a:pt x="3202" y="504"/>
                  <a:pt x="3202" y="505"/>
                  <a:pt x="3201" y="507"/>
                </a:cubicBezTo>
                <a:cubicBezTo>
                  <a:pt x="3200" y="509"/>
                  <a:pt x="3200" y="511"/>
                  <a:pt x="3200" y="511"/>
                </a:cubicBezTo>
                <a:lnTo>
                  <a:pt x="3199" y="509"/>
                </a:lnTo>
                <a:cubicBezTo>
                  <a:pt x="3199" y="507"/>
                  <a:pt x="3200" y="505"/>
                  <a:pt x="3201" y="503"/>
                </a:cubicBezTo>
                <a:cubicBezTo>
                  <a:pt x="3202" y="502"/>
                  <a:pt x="3202" y="500"/>
                  <a:pt x="3202" y="498"/>
                </a:cubicBezTo>
                <a:cubicBezTo>
                  <a:pt x="3202" y="497"/>
                  <a:pt x="3202" y="496"/>
                  <a:pt x="3201" y="496"/>
                </a:cubicBezTo>
                <a:lnTo>
                  <a:pt x="3200" y="497"/>
                </a:lnTo>
                <a:cubicBezTo>
                  <a:pt x="3199" y="497"/>
                  <a:pt x="3199" y="496"/>
                  <a:pt x="3199" y="495"/>
                </a:cubicBezTo>
                <a:cubicBezTo>
                  <a:pt x="3199" y="494"/>
                  <a:pt x="3199" y="493"/>
                  <a:pt x="3199" y="493"/>
                </a:cubicBezTo>
                <a:lnTo>
                  <a:pt x="3199" y="493"/>
                </a:lnTo>
                <a:cubicBezTo>
                  <a:pt x="3198" y="493"/>
                  <a:pt x="3198" y="494"/>
                  <a:pt x="3197" y="496"/>
                </a:cubicBezTo>
                <a:cubicBezTo>
                  <a:pt x="3196" y="497"/>
                  <a:pt x="3196" y="499"/>
                  <a:pt x="3196" y="501"/>
                </a:cubicBezTo>
                <a:cubicBezTo>
                  <a:pt x="3196" y="502"/>
                  <a:pt x="3196" y="504"/>
                  <a:pt x="3196" y="505"/>
                </a:cubicBezTo>
                <a:cubicBezTo>
                  <a:pt x="3197" y="505"/>
                  <a:pt x="3197" y="506"/>
                  <a:pt x="3197" y="507"/>
                </a:cubicBezTo>
                <a:cubicBezTo>
                  <a:pt x="3197" y="508"/>
                  <a:pt x="3196" y="508"/>
                  <a:pt x="3196" y="508"/>
                </a:cubicBezTo>
                <a:lnTo>
                  <a:pt x="3195" y="508"/>
                </a:lnTo>
                <a:cubicBezTo>
                  <a:pt x="3194" y="508"/>
                  <a:pt x="3193" y="508"/>
                  <a:pt x="3192" y="510"/>
                </a:cubicBezTo>
                <a:cubicBezTo>
                  <a:pt x="3191" y="511"/>
                  <a:pt x="3191" y="513"/>
                  <a:pt x="3191" y="515"/>
                </a:cubicBezTo>
                <a:cubicBezTo>
                  <a:pt x="3191" y="516"/>
                  <a:pt x="3191" y="517"/>
                  <a:pt x="3192" y="518"/>
                </a:cubicBezTo>
                <a:lnTo>
                  <a:pt x="3192" y="519"/>
                </a:lnTo>
                <a:cubicBezTo>
                  <a:pt x="3192" y="519"/>
                  <a:pt x="3192" y="520"/>
                  <a:pt x="3192" y="520"/>
                </a:cubicBezTo>
                <a:lnTo>
                  <a:pt x="3189" y="519"/>
                </a:lnTo>
                <a:cubicBezTo>
                  <a:pt x="3189" y="519"/>
                  <a:pt x="3189" y="519"/>
                  <a:pt x="3189" y="519"/>
                </a:cubicBezTo>
                <a:lnTo>
                  <a:pt x="3190" y="525"/>
                </a:lnTo>
                <a:cubicBezTo>
                  <a:pt x="3190" y="526"/>
                  <a:pt x="3190" y="526"/>
                  <a:pt x="3189" y="526"/>
                </a:cubicBezTo>
                <a:lnTo>
                  <a:pt x="3187" y="525"/>
                </a:lnTo>
                <a:cubicBezTo>
                  <a:pt x="3186" y="525"/>
                  <a:pt x="3186" y="526"/>
                  <a:pt x="3186" y="526"/>
                </a:cubicBezTo>
                <a:lnTo>
                  <a:pt x="3187" y="530"/>
                </a:lnTo>
                <a:cubicBezTo>
                  <a:pt x="3187" y="531"/>
                  <a:pt x="3187" y="532"/>
                  <a:pt x="3186" y="532"/>
                </a:cubicBezTo>
                <a:cubicBezTo>
                  <a:pt x="3186" y="532"/>
                  <a:pt x="3185" y="532"/>
                  <a:pt x="3185" y="534"/>
                </a:cubicBezTo>
                <a:lnTo>
                  <a:pt x="3186" y="539"/>
                </a:lnTo>
                <a:cubicBezTo>
                  <a:pt x="3186" y="540"/>
                  <a:pt x="3186" y="541"/>
                  <a:pt x="3186" y="541"/>
                </a:cubicBezTo>
                <a:cubicBezTo>
                  <a:pt x="3185" y="541"/>
                  <a:pt x="3184" y="540"/>
                  <a:pt x="3184" y="539"/>
                </a:cubicBezTo>
                <a:cubicBezTo>
                  <a:pt x="3183" y="539"/>
                  <a:pt x="3182" y="539"/>
                  <a:pt x="3182" y="539"/>
                </a:cubicBezTo>
                <a:lnTo>
                  <a:pt x="3182" y="539"/>
                </a:lnTo>
                <a:cubicBezTo>
                  <a:pt x="3182" y="539"/>
                  <a:pt x="3182" y="540"/>
                  <a:pt x="3184" y="541"/>
                </a:cubicBezTo>
                <a:cubicBezTo>
                  <a:pt x="3185" y="543"/>
                  <a:pt x="3185" y="544"/>
                  <a:pt x="3185" y="544"/>
                </a:cubicBezTo>
                <a:cubicBezTo>
                  <a:pt x="3185" y="546"/>
                  <a:pt x="3185" y="546"/>
                  <a:pt x="3183" y="546"/>
                </a:cubicBezTo>
                <a:lnTo>
                  <a:pt x="3181" y="546"/>
                </a:lnTo>
                <a:cubicBezTo>
                  <a:pt x="3181" y="546"/>
                  <a:pt x="3181" y="546"/>
                  <a:pt x="3181" y="546"/>
                </a:cubicBezTo>
                <a:cubicBezTo>
                  <a:pt x="3181" y="547"/>
                  <a:pt x="3181" y="548"/>
                  <a:pt x="3182" y="549"/>
                </a:cubicBezTo>
                <a:cubicBezTo>
                  <a:pt x="3182" y="551"/>
                  <a:pt x="3182" y="553"/>
                  <a:pt x="3182" y="554"/>
                </a:cubicBezTo>
                <a:cubicBezTo>
                  <a:pt x="3182" y="556"/>
                  <a:pt x="3182" y="558"/>
                  <a:pt x="3181" y="560"/>
                </a:cubicBezTo>
                <a:cubicBezTo>
                  <a:pt x="3181" y="562"/>
                  <a:pt x="3179" y="563"/>
                  <a:pt x="3178" y="563"/>
                </a:cubicBezTo>
                <a:lnTo>
                  <a:pt x="3176" y="562"/>
                </a:lnTo>
                <a:cubicBezTo>
                  <a:pt x="3176" y="562"/>
                  <a:pt x="3176" y="563"/>
                  <a:pt x="3177" y="565"/>
                </a:cubicBezTo>
                <a:cubicBezTo>
                  <a:pt x="3178" y="566"/>
                  <a:pt x="3179" y="567"/>
                  <a:pt x="3179" y="569"/>
                </a:cubicBezTo>
                <a:cubicBezTo>
                  <a:pt x="3179" y="570"/>
                  <a:pt x="3178" y="571"/>
                  <a:pt x="3177" y="571"/>
                </a:cubicBezTo>
                <a:cubicBezTo>
                  <a:pt x="3177" y="572"/>
                  <a:pt x="3176" y="573"/>
                  <a:pt x="3176" y="573"/>
                </a:cubicBezTo>
                <a:cubicBezTo>
                  <a:pt x="3175" y="573"/>
                  <a:pt x="3175" y="572"/>
                  <a:pt x="3175" y="571"/>
                </a:cubicBezTo>
                <a:cubicBezTo>
                  <a:pt x="3175" y="569"/>
                  <a:pt x="3175" y="569"/>
                  <a:pt x="3175" y="569"/>
                </a:cubicBezTo>
                <a:lnTo>
                  <a:pt x="3174" y="569"/>
                </a:lnTo>
                <a:lnTo>
                  <a:pt x="3174" y="570"/>
                </a:lnTo>
                <a:cubicBezTo>
                  <a:pt x="3174" y="571"/>
                  <a:pt x="3174" y="572"/>
                  <a:pt x="3175" y="573"/>
                </a:cubicBezTo>
                <a:cubicBezTo>
                  <a:pt x="3176" y="574"/>
                  <a:pt x="3176" y="576"/>
                  <a:pt x="3176" y="577"/>
                </a:cubicBezTo>
                <a:cubicBezTo>
                  <a:pt x="3176" y="580"/>
                  <a:pt x="3176" y="583"/>
                  <a:pt x="3174" y="587"/>
                </a:cubicBezTo>
                <a:cubicBezTo>
                  <a:pt x="3169" y="604"/>
                  <a:pt x="3167" y="625"/>
                  <a:pt x="3167" y="651"/>
                </a:cubicBezTo>
                <a:cubicBezTo>
                  <a:pt x="3167" y="667"/>
                  <a:pt x="3169" y="682"/>
                  <a:pt x="3173" y="695"/>
                </a:cubicBezTo>
                <a:cubicBezTo>
                  <a:pt x="3177" y="708"/>
                  <a:pt x="3180" y="715"/>
                  <a:pt x="3183" y="715"/>
                </a:cubicBezTo>
                <a:cubicBezTo>
                  <a:pt x="3187" y="715"/>
                  <a:pt x="3190" y="717"/>
                  <a:pt x="3193" y="719"/>
                </a:cubicBezTo>
                <a:cubicBezTo>
                  <a:pt x="3199" y="726"/>
                  <a:pt x="3201" y="730"/>
                  <a:pt x="3201" y="732"/>
                </a:cubicBezTo>
                <a:cubicBezTo>
                  <a:pt x="3201" y="732"/>
                  <a:pt x="3201" y="733"/>
                  <a:pt x="3201" y="734"/>
                </a:cubicBezTo>
                <a:cubicBezTo>
                  <a:pt x="3200" y="734"/>
                  <a:pt x="3197" y="731"/>
                  <a:pt x="3194" y="725"/>
                </a:cubicBezTo>
                <a:cubicBezTo>
                  <a:pt x="3191" y="721"/>
                  <a:pt x="3189" y="719"/>
                  <a:pt x="3189" y="719"/>
                </a:cubicBezTo>
                <a:cubicBezTo>
                  <a:pt x="3188" y="719"/>
                  <a:pt x="3188" y="719"/>
                  <a:pt x="3188" y="720"/>
                </a:cubicBezTo>
                <a:cubicBezTo>
                  <a:pt x="3188" y="721"/>
                  <a:pt x="3188" y="721"/>
                  <a:pt x="3187" y="721"/>
                </a:cubicBezTo>
                <a:lnTo>
                  <a:pt x="3185" y="720"/>
                </a:lnTo>
                <a:cubicBezTo>
                  <a:pt x="3185" y="721"/>
                  <a:pt x="3187" y="723"/>
                  <a:pt x="3191" y="727"/>
                </a:cubicBezTo>
                <a:cubicBezTo>
                  <a:pt x="3198" y="732"/>
                  <a:pt x="3202" y="735"/>
                  <a:pt x="3204" y="735"/>
                </a:cubicBezTo>
                <a:cubicBezTo>
                  <a:pt x="3206" y="735"/>
                  <a:pt x="3206" y="735"/>
                  <a:pt x="3206" y="737"/>
                </a:cubicBezTo>
                <a:lnTo>
                  <a:pt x="3206" y="737"/>
                </a:lnTo>
                <a:cubicBezTo>
                  <a:pt x="3206" y="739"/>
                  <a:pt x="3207" y="739"/>
                  <a:pt x="3209" y="739"/>
                </a:cubicBezTo>
                <a:lnTo>
                  <a:pt x="3211" y="739"/>
                </a:lnTo>
                <a:cubicBezTo>
                  <a:pt x="3212" y="739"/>
                  <a:pt x="3213" y="739"/>
                  <a:pt x="3214" y="741"/>
                </a:cubicBezTo>
                <a:cubicBezTo>
                  <a:pt x="3215" y="742"/>
                  <a:pt x="3216" y="743"/>
                  <a:pt x="3217" y="743"/>
                </a:cubicBezTo>
                <a:cubicBezTo>
                  <a:pt x="3217" y="743"/>
                  <a:pt x="3218" y="742"/>
                  <a:pt x="3218" y="742"/>
                </a:cubicBezTo>
                <a:cubicBezTo>
                  <a:pt x="3218" y="741"/>
                  <a:pt x="3218" y="740"/>
                  <a:pt x="3217" y="740"/>
                </a:cubicBezTo>
                <a:cubicBezTo>
                  <a:pt x="3217" y="740"/>
                  <a:pt x="3217" y="739"/>
                  <a:pt x="3217" y="739"/>
                </a:cubicBezTo>
                <a:cubicBezTo>
                  <a:pt x="3217" y="739"/>
                  <a:pt x="3218" y="739"/>
                  <a:pt x="3219" y="739"/>
                </a:cubicBezTo>
                <a:cubicBezTo>
                  <a:pt x="3220" y="740"/>
                  <a:pt x="3220" y="741"/>
                  <a:pt x="3220" y="742"/>
                </a:cubicBezTo>
                <a:lnTo>
                  <a:pt x="3220" y="743"/>
                </a:lnTo>
                <a:cubicBezTo>
                  <a:pt x="3220" y="744"/>
                  <a:pt x="3220" y="745"/>
                  <a:pt x="3222" y="745"/>
                </a:cubicBezTo>
                <a:cubicBezTo>
                  <a:pt x="3223" y="746"/>
                  <a:pt x="3224" y="747"/>
                  <a:pt x="3226" y="747"/>
                </a:cubicBezTo>
                <a:cubicBezTo>
                  <a:pt x="3226" y="747"/>
                  <a:pt x="3227" y="746"/>
                  <a:pt x="3228" y="746"/>
                </a:cubicBezTo>
                <a:cubicBezTo>
                  <a:pt x="3228" y="746"/>
                  <a:pt x="3228" y="746"/>
                  <a:pt x="3228" y="746"/>
                </a:cubicBezTo>
                <a:cubicBezTo>
                  <a:pt x="3230" y="746"/>
                  <a:pt x="3233" y="747"/>
                  <a:pt x="3237" y="748"/>
                </a:cubicBezTo>
                <a:cubicBezTo>
                  <a:pt x="3242" y="751"/>
                  <a:pt x="3250" y="752"/>
                  <a:pt x="3259" y="752"/>
                </a:cubicBezTo>
                <a:cubicBezTo>
                  <a:pt x="3285" y="752"/>
                  <a:pt x="3319" y="745"/>
                  <a:pt x="3362" y="730"/>
                </a:cubicBezTo>
                <a:cubicBezTo>
                  <a:pt x="3382" y="724"/>
                  <a:pt x="3399" y="718"/>
                  <a:pt x="3413" y="711"/>
                </a:cubicBezTo>
                <a:cubicBezTo>
                  <a:pt x="3419" y="709"/>
                  <a:pt x="3424" y="707"/>
                  <a:pt x="3427" y="705"/>
                </a:cubicBezTo>
                <a:cubicBezTo>
                  <a:pt x="3430" y="704"/>
                  <a:pt x="3437" y="701"/>
                  <a:pt x="3446" y="696"/>
                </a:cubicBezTo>
                <a:cubicBezTo>
                  <a:pt x="3471" y="683"/>
                  <a:pt x="3486" y="675"/>
                  <a:pt x="3492" y="671"/>
                </a:cubicBezTo>
                <a:cubicBezTo>
                  <a:pt x="3498" y="667"/>
                  <a:pt x="3502" y="665"/>
                  <a:pt x="3506" y="665"/>
                </a:cubicBezTo>
                <a:cubicBezTo>
                  <a:pt x="3506" y="665"/>
                  <a:pt x="3507" y="666"/>
                  <a:pt x="3507" y="666"/>
                </a:cubicBezTo>
                <a:cubicBezTo>
                  <a:pt x="3507" y="667"/>
                  <a:pt x="3504" y="670"/>
                  <a:pt x="3498" y="672"/>
                </a:cubicBezTo>
                <a:cubicBezTo>
                  <a:pt x="3494" y="675"/>
                  <a:pt x="3492" y="677"/>
                  <a:pt x="3492" y="679"/>
                </a:cubicBezTo>
                <a:lnTo>
                  <a:pt x="3492" y="680"/>
                </a:lnTo>
                <a:cubicBezTo>
                  <a:pt x="3492" y="680"/>
                  <a:pt x="3492" y="681"/>
                  <a:pt x="3492" y="681"/>
                </a:cubicBezTo>
                <a:lnTo>
                  <a:pt x="3491" y="680"/>
                </a:lnTo>
                <a:cubicBezTo>
                  <a:pt x="3486" y="680"/>
                  <a:pt x="3481" y="682"/>
                  <a:pt x="3474" y="686"/>
                </a:cubicBezTo>
                <a:cubicBezTo>
                  <a:pt x="3451" y="698"/>
                  <a:pt x="3426" y="710"/>
                  <a:pt x="3399" y="720"/>
                </a:cubicBezTo>
                <a:cubicBezTo>
                  <a:pt x="3371" y="731"/>
                  <a:pt x="3346" y="740"/>
                  <a:pt x="3324" y="745"/>
                </a:cubicBezTo>
                <a:cubicBezTo>
                  <a:pt x="3309" y="749"/>
                  <a:pt x="3301" y="752"/>
                  <a:pt x="3301" y="752"/>
                </a:cubicBezTo>
                <a:cubicBezTo>
                  <a:pt x="3301" y="753"/>
                  <a:pt x="3302" y="754"/>
                  <a:pt x="3303" y="754"/>
                </a:cubicBezTo>
                <a:cubicBezTo>
                  <a:pt x="3307" y="754"/>
                  <a:pt x="3316" y="752"/>
                  <a:pt x="3329" y="748"/>
                </a:cubicBezTo>
                <a:cubicBezTo>
                  <a:pt x="3341" y="745"/>
                  <a:pt x="3348" y="744"/>
                  <a:pt x="3352" y="744"/>
                </a:cubicBezTo>
                <a:cubicBezTo>
                  <a:pt x="3353" y="744"/>
                  <a:pt x="3353" y="744"/>
                  <a:pt x="3354" y="744"/>
                </a:cubicBezTo>
                <a:cubicBezTo>
                  <a:pt x="3355" y="745"/>
                  <a:pt x="3355" y="745"/>
                  <a:pt x="3355" y="745"/>
                </a:cubicBezTo>
                <a:lnTo>
                  <a:pt x="3355" y="744"/>
                </a:lnTo>
                <a:cubicBezTo>
                  <a:pt x="3355" y="742"/>
                  <a:pt x="3363" y="738"/>
                  <a:pt x="3378" y="732"/>
                </a:cubicBezTo>
                <a:cubicBezTo>
                  <a:pt x="3392" y="728"/>
                  <a:pt x="3401" y="724"/>
                  <a:pt x="3406" y="723"/>
                </a:cubicBezTo>
                <a:cubicBezTo>
                  <a:pt x="3409" y="723"/>
                  <a:pt x="3410" y="723"/>
                  <a:pt x="3410" y="722"/>
                </a:cubicBezTo>
                <a:cubicBezTo>
                  <a:pt x="3410" y="721"/>
                  <a:pt x="3412" y="720"/>
                  <a:pt x="3415" y="720"/>
                </a:cubicBezTo>
                <a:cubicBezTo>
                  <a:pt x="3418" y="720"/>
                  <a:pt x="3420" y="719"/>
                  <a:pt x="3420" y="718"/>
                </a:cubicBezTo>
                <a:cubicBezTo>
                  <a:pt x="3420" y="717"/>
                  <a:pt x="3421" y="716"/>
                  <a:pt x="3422" y="716"/>
                </a:cubicBezTo>
                <a:lnTo>
                  <a:pt x="3424" y="716"/>
                </a:lnTo>
                <a:cubicBezTo>
                  <a:pt x="3425" y="716"/>
                  <a:pt x="3427" y="715"/>
                  <a:pt x="3429" y="714"/>
                </a:cubicBezTo>
                <a:cubicBezTo>
                  <a:pt x="3430" y="712"/>
                  <a:pt x="3432" y="711"/>
                  <a:pt x="3433" y="711"/>
                </a:cubicBezTo>
                <a:lnTo>
                  <a:pt x="3434" y="712"/>
                </a:lnTo>
                <a:cubicBezTo>
                  <a:pt x="3435" y="712"/>
                  <a:pt x="3436" y="711"/>
                  <a:pt x="3436" y="710"/>
                </a:cubicBezTo>
                <a:cubicBezTo>
                  <a:pt x="3436" y="709"/>
                  <a:pt x="3437" y="709"/>
                  <a:pt x="3439" y="709"/>
                </a:cubicBezTo>
                <a:lnTo>
                  <a:pt x="3441" y="709"/>
                </a:lnTo>
                <a:cubicBezTo>
                  <a:pt x="3442" y="709"/>
                  <a:pt x="3442" y="709"/>
                  <a:pt x="3442" y="708"/>
                </a:cubicBezTo>
                <a:cubicBezTo>
                  <a:pt x="3442" y="707"/>
                  <a:pt x="3443" y="707"/>
                  <a:pt x="3444" y="707"/>
                </a:cubicBezTo>
                <a:cubicBezTo>
                  <a:pt x="3444" y="707"/>
                  <a:pt x="3445" y="707"/>
                  <a:pt x="3446" y="707"/>
                </a:cubicBezTo>
                <a:cubicBezTo>
                  <a:pt x="3446" y="708"/>
                  <a:pt x="3447" y="708"/>
                  <a:pt x="3447" y="708"/>
                </a:cubicBezTo>
                <a:cubicBezTo>
                  <a:pt x="3449" y="708"/>
                  <a:pt x="3450" y="707"/>
                  <a:pt x="3450" y="705"/>
                </a:cubicBezTo>
                <a:cubicBezTo>
                  <a:pt x="3451" y="704"/>
                  <a:pt x="3452" y="703"/>
                  <a:pt x="3453" y="703"/>
                </a:cubicBezTo>
                <a:lnTo>
                  <a:pt x="3455" y="703"/>
                </a:lnTo>
                <a:cubicBezTo>
                  <a:pt x="3457" y="703"/>
                  <a:pt x="3459" y="702"/>
                  <a:pt x="3460" y="700"/>
                </a:cubicBezTo>
                <a:cubicBezTo>
                  <a:pt x="3461" y="700"/>
                  <a:pt x="3462" y="699"/>
                  <a:pt x="3462" y="699"/>
                </a:cubicBezTo>
                <a:cubicBezTo>
                  <a:pt x="3463" y="699"/>
                  <a:pt x="3464" y="698"/>
                  <a:pt x="3465" y="698"/>
                </a:cubicBezTo>
                <a:lnTo>
                  <a:pt x="3465" y="699"/>
                </a:lnTo>
                <a:cubicBezTo>
                  <a:pt x="3466" y="699"/>
                  <a:pt x="3466" y="698"/>
                  <a:pt x="3466" y="696"/>
                </a:cubicBezTo>
                <a:cubicBezTo>
                  <a:pt x="3466" y="693"/>
                  <a:pt x="3467" y="693"/>
                  <a:pt x="3467" y="693"/>
                </a:cubicBezTo>
                <a:cubicBezTo>
                  <a:pt x="3467" y="693"/>
                  <a:pt x="3468" y="693"/>
                  <a:pt x="3469" y="695"/>
                </a:cubicBezTo>
                <a:cubicBezTo>
                  <a:pt x="3469" y="696"/>
                  <a:pt x="3470" y="697"/>
                  <a:pt x="3470" y="697"/>
                </a:cubicBezTo>
                <a:cubicBezTo>
                  <a:pt x="3471" y="697"/>
                  <a:pt x="3471" y="696"/>
                  <a:pt x="3471" y="695"/>
                </a:cubicBezTo>
                <a:cubicBezTo>
                  <a:pt x="3471" y="694"/>
                  <a:pt x="3472" y="693"/>
                  <a:pt x="3473" y="693"/>
                </a:cubicBezTo>
                <a:lnTo>
                  <a:pt x="3474" y="694"/>
                </a:lnTo>
                <a:cubicBezTo>
                  <a:pt x="3474" y="694"/>
                  <a:pt x="3475" y="693"/>
                  <a:pt x="3475" y="691"/>
                </a:cubicBezTo>
                <a:cubicBezTo>
                  <a:pt x="3475" y="689"/>
                  <a:pt x="3475" y="688"/>
                  <a:pt x="3476" y="688"/>
                </a:cubicBezTo>
                <a:cubicBezTo>
                  <a:pt x="3476" y="688"/>
                  <a:pt x="3476" y="689"/>
                  <a:pt x="3477" y="690"/>
                </a:cubicBezTo>
                <a:cubicBezTo>
                  <a:pt x="3477" y="691"/>
                  <a:pt x="3478" y="691"/>
                  <a:pt x="3479" y="691"/>
                </a:cubicBezTo>
                <a:cubicBezTo>
                  <a:pt x="3479" y="691"/>
                  <a:pt x="3481" y="690"/>
                  <a:pt x="3482" y="689"/>
                </a:cubicBezTo>
                <a:cubicBezTo>
                  <a:pt x="3484" y="687"/>
                  <a:pt x="3485" y="686"/>
                  <a:pt x="3486" y="686"/>
                </a:cubicBezTo>
                <a:lnTo>
                  <a:pt x="3487" y="687"/>
                </a:lnTo>
                <a:cubicBezTo>
                  <a:pt x="3488" y="687"/>
                  <a:pt x="3488" y="686"/>
                  <a:pt x="3488" y="685"/>
                </a:cubicBezTo>
                <a:cubicBezTo>
                  <a:pt x="3488" y="684"/>
                  <a:pt x="3488" y="683"/>
                  <a:pt x="3489" y="683"/>
                </a:cubicBezTo>
                <a:lnTo>
                  <a:pt x="3490" y="684"/>
                </a:lnTo>
                <a:cubicBezTo>
                  <a:pt x="3492" y="684"/>
                  <a:pt x="3496" y="682"/>
                  <a:pt x="3504" y="677"/>
                </a:cubicBezTo>
                <a:cubicBezTo>
                  <a:pt x="3512" y="673"/>
                  <a:pt x="3516" y="670"/>
                  <a:pt x="3516" y="669"/>
                </a:cubicBezTo>
                <a:lnTo>
                  <a:pt x="3515" y="669"/>
                </a:lnTo>
                <a:cubicBezTo>
                  <a:pt x="3515" y="669"/>
                  <a:pt x="3515" y="669"/>
                  <a:pt x="3515" y="669"/>
                </a:cubicBezTo>
                <a:cubicBezTo>
                  <a:pt x="3515" y="669"/>
                  <a:pt x="3516" y="667"/>
                  <a:pt x="3518" y="666"/>
                </a:cubicBezTo>
                <a:cubicBezTo>
                  <a:pt x="3520" y="664"/>
                  <a:pt x="3522" y="664"/>
                  <a:pt x="3525" y="664"/>
                </a:cubicBezTo>
                <a:cubicBezTo>
                  <a:pt x="3526" y="664"/>
                  <a:pt x="3528" y="663"/>
                  <a:pt x="3530" y="660"/>
                </a:cubicBezTo>
                <a:cubicBezTo>
                  <a:pt x="3532" y="657"/>
                  <a:pt x="3533" y="656"/>
                  <a:pt x="3533" y="656"/>
                </a:cubicBezTo>
                <a:cubicBezTo>
                  <a:pt x="3534" y="656"/>
                  <a:pt x="3534" y="656"/>
                  <a:pt x="3534" y="657"/>
                </a:cubicBezTo>
                <a:cubicBezTo>
                  <a:pt x="3534" y="657"/>
                  <a:pt x="3534" y="657"/>
                  <a:pt x="3534" y="657"/>
                </a:cubicBezTo>
                <a:cubicBezTo>
                  <a:pt x="3535" y="657"/>
                  <a:pt x="3536" y="656"/>
                  <a:pt x="3537" y="654"/>
                </a:cubicBezTo>
                <a:lnTo>
                  <a:pt x="3540" y="652"/>
                </a:lnTo>
                <a:lnTo>
                  <a:pt x="3539" y="654"/>
                </a:lnTo>
                <a:cubicBezTo>
                  <a:pt x="3539" y="654"/>
                  <a:pt x="3539" y="654"/>
                  <a:pt x="3539" y="654"/>
                </a:cubicBezTo>
                <a:cubicBezTo>
                  <a:pt x="3539" y="654"/>
                  <a:pt x="3541" y="653"/>
                  <a:pt x="3543" y="650"/>
                </a:cubicBezTo>
                <a:cubicBezTo>
                  <a:pt x="3545" y="649"/>
                  <a:pt x="3546" y="647"/>
                  <a:pt x="3548" y="646"/>
                </a:cubicBezTo>
                <a:cubicBezTo>
                  <a:pt x="3550" y="645"/>
                  <a:pt x="3552" y="645"/>
                  <a:pt x="3553" y="645"/>
                </a:cubicBezTo>
                <a:cubicBezTo>
                  <a:pt x="3553" y="645"/>
                  <a:pt x="3554" y="643"/>
                  <a:pt x="3557" y="640"/>
                </a:cubicBezTo>
                <a:cubicBezTo>
                  <a:pt x="3559" y="637"/>
                  <a:pt x="3562" y="635"/>
                  <a:pt x="3564" y="634"/>
                </a:cubicBezTo>
                <a:cubicBezTo>
                  <a:pt x="3569" y="631"/>
                  <a:pt x="3573" y="628"/>
                  <a:pt x="3576" y="625"/>
                </a:cubicBezTo>
                <a:cubicBezTo>
                  <a:pt x="3582" y="620"/>
                  <a:pt x="3585" y="617"/>
                  <a:pt x="3585" y="617"/>
                </a:cubicBezTo>
                <a:cubicBezTo>
                  <a:pt x="3585" y="616"/>
                  <a:pt x="3586" y="616"/>
                  <a:pt x="3586" y="616"/>
                </a:cubicBezTo>
                <a:cubicBezTo>
                  <a:pt x="3589" y="616"/>
                  <a:pt x="3590" y="615"/>
                  <a:pt x="3590" y="613"/>
                </a:cubicBezTo>
                <a:cubicBezTo>
                  <a:pt x="3590" y="611"/>
                  <a:pt x="3591" y="610"/>
                  <a:pt x="3593" y="610"/>
                </a:cubicBezTo>
                <a:cubicBezTo>
                  <a:pt x="3595" y="610"/>
                  <a:pt x="3599" y="607"/>
                  <a:pt x="3605" y="601"/>
                </a:cubicBezTo>
                <a:lnTo>
                  <a:pt x="3627" y="580"/>
                </a:lnTo>
                <a:cubicBezTo>
                  <a:pt x="3645" y="562"/>
                  <a:pt x="3660" y="547"/>
                  <a:pt x="3671" y="535"/>
                </a:cubicBezTo>
                <a:lnTo>
                  <a:pt x="3683" y="521"/>
                </a:lnTo>
                <a:cubicBezTo>
                  <a:pt x="3683" y="521"/>
                  <a:pt x="3683" y="521"/>
                  <a:pt x="3683" y="523"/>
                </a:cubicBezTo>
                <a:cubicBezTo>
                  <a:pt x="3683" y="525"/>
                  <a:pt x="3683" y="527"/>
                  <a:pt x="3682" y="528"/>
                </a:cubicBezTo>
                <a:cubicBezTo>
                  <a:pt x="3680" y="529"/>
                  <a:pt x="3680" y="531"/>
                  <a:pt x="3680" y="533"/>
                </a:cubicBezTo>
                <a:lnTo>
                  <a:pt x="3680" y="535"/>
                </a:lnTo>
                <a:cubicBezTo>
                  <a:pt x="3680" y="535"/>
                  <a:pt x="3680" y="535"/>
                  <a:pt x="3680" y="535"/>
                </a:cubicBezTo>
                <a:lnTo>
                  <a:pt x="3680" y="535"/>
                </a:lnTo>
                <a:cubicBezTo>
                  <a:pt x="3678" y="535"/>
                  <a:pt x="3677" y="536"/>
                  <a:pt x="3676" y="538"/>
                </a:cubicBezTo>
                <a:cubicBezTo>
                  <a:pt x="3675" y="540"/>
                  <a:pt x="3674" y="543"/>
                  <a:pt x="3674" y="546"/>
                </a:cubicBezTo>
                <a:cubicBezTo>
                  <a:pt x="3673" y="551"/>
                  <a:pt x="3668" y="558"/>
                  <a:pt x="3660" y="568"/>
                </a:cubicBezTo>
                <a:cubicBezTo>
                  <a:pt x="3652" y="579"/>
                  <a:pt x="3642" y="590"/>
                  <a:pt x="3630" y="601"/>
                </a:cubicBezTo>
                <a:cubicBezTo>
                  <a:pt x="3618" y="613"/>
                  <a:pt x="3607" y="623"/>
                  <a:pt x="3596" y="632"/>
                </a:cubicBezTo>
                <a:cubicBezTo>
                  <a:pt x="3593" y="634"/>
                  <a:pt x="3589" y="637"/>
                  <a:pt x="3584" y="641"/>
                </a:cubicBezTo>
                <a:cubicBezTo>
                  <a:pt x="3544" y="674"/>
                  <a:pt x="3493" y="705"/>
                  <a:pt x="3430" y="732"/>
                </a:cubicBezTo>
                <a:cubicBezTo>
                  <a:pt x="3370" y="759"/>
                  <a:pt x="3320" y="772"/>
                  <a:pt x="3279" y="772"/>
                </a:cubicBezTo>
                <a:close/>
                <a:moveTo>
                  <a:pt x="3287" y="769"/>
                </a:moveTo>
                <a:cubicBezTo>
                  <a:pt x="3289" y="769"/>
                  <a:pt x="3289" y="769"/>
                  <a:pt x="3289" y="769"/>
                </a:cubicBezTo>
                <a:lnTo>
                  <a:pt x="3289" y="768"/>
                </a:lnTo>
                <a:lnTo>
                  <a:pt x="3286" y="768"/>
                </a:lnTo>
                <a:cubicBezTo>
                  <a:pt x="3283" y="768"/>
                  <a:pt x="3281" y="768"/>
                  <a:pt x="3281" y="769"/>
                </a:cubicBezTo>
                <a:lnTo>
                  <a:pt x="3287" y="769"/>
                </a:lnTo>
                <a:close/>
                <a:moveTo>
                  <a:pt x="3269" y="757"/>
                </a:moveTo>
                <a:cubicBezTo>
                  <a:pt x="3286" y="757"/>
                  <a:pt x="3295" y="757"/>
                  <a:pt x="3297" y="756"/>
                </a:cubicBezTo>
                <a:cubicBezTo>
                  <a:pt x="3298" y="755"/>
                  <a:pt x="3299" y="754"/>
                  <a:pt x="3299" y="754"/>
                </a:cubicBezTo>
                <a:cubicBezTo>
                  <a:pt x="3299" y="753"/>
                  <a:pt x="3299" y="752"/>
                  <a:pt x="3297" y="752"/>
                </a:cubicBezTo>
                <a:lnTo>
                  <a:pt x="3291" y="753"/>
                </a:lnTo>
                <a:cubicBezTo>
                  <a:pt x="3283" y="754"/>
                  <a:pt x="3278" y="754"/>
                  <a:pt x="3274" y="754"/>
                </a:cubicBezTo>
                <a:cubicBezTo>
                  <a:pt x="3268" y="754"/>
                  <a:pt x="3264" y="755"/>
                  <a:pt x="3263" y="756"/>
                </a:cubicBezTo>
                <a:lnTo>
                  <a:pt x="3262" y="756"/>
                </a:lnTo>
                <a:cubicBezTo>
                  <a:pt x="3262" y="757"/>
                  <a:pt x="3264" y="757"/>
                  <a:pt x="3269" y="757"/>
                </a:cubicBezTo>
                <a:close/>
                <a:moveTo>
                  <a:pt x="3256" y="759"/>
                </a:moveTo>
                <a:cubicBezTo>
                  <a:pt x="3257" y="759"/>
                  <a:pt x="3258" y="759"/>
                  <a:pt x="3258" y="758"/>
                </a:cubicBezTo>
                <a:lnTo>
                  <a:pt x="3258" y="758"/>
                </a:lnTo>
                <a:cubicBezTo>
                  <a:pt x="3257" y="757"/>
                  <a:pt x="3254" y="756"/>
                  <a:pt x="3249" y="755"/>
                </a:cubicBezTo>
                <a:lnTo>
                  <a:pt x="3244" y="755"/>
                </a:lnTo>
                <a:cubicBezTo>
                  <a:pt x="3244" y="755"/>
                  <a:pt x="3244" y="755"/>
                  <a:pt x="3244" y="755"/>
                </a:cubicBezTo>
                <a:cubicBezTo>
                  <a:pt x="3244" y="756"/>
                  <a:pt x="3244" y="756"/>
                  <a:pt x="3245" y="757"/>
                </a:cubicBezTo>
                <a:cubicBezTo>
                  <a:pt x="3246" y="757"/>
                  <a:pt x="3248" y="758"/>
                  <a:pt x="3250" y="758"/>
                </a:cubicBezTo>
                <a:cubicBezTo>
                  <a:pt x="3253" y="759"/>
                  <a:pt x="3254" y="759"/>
                  <a:pt x="3256" y="759"/>
                </a:cubicBezTo>
                <a:close/>
                <a:moveTo>
                  <a:pt x="3349" y="448"/>
                </a:moveTo>
                <a:lnTo>
                  <a:pt x="3352" y="448"/>
                </a:lnTo>
                <a:cubicBezTo>
                  <a:pt x="3354" y="447"/>
                  <a:pt x="3355" y="446"/>
                  <a:pt x="3355" y="445"/>
                </a:cubicBezTo>
                <a:lnTo>
                  <a:pt x="3354" y="445"/>
                </a:lnTo>
                <a:cubicBezTo>
                  <a:pt x="3353" y="445"/>
                  <a:pt x="3352" y="446"/>
                  <a:pt x="3351" y="446"/>
                </a:cubicBezTo>
                <a:cubicBezTo>
                  <a:pt x="3350" y="447"/>
                  <a:pt x="3349" y="448"/>
                  <a:pt x="3349" y="448"/>
                </a:cubicBezTo>
                <a:close/>
                <a:moveTo>
                  <a:pt x="3283" y="483"/>
                </a:moveTo>
                <a:cubicBezTo>
                  <a:pt x="3285" y="483"/>
                  <a:pt x="3287" y="482"/>
                  <a:pt x="3289" y="479"/>
                </a:cubicBezTo>
                <a:cubicBezTo>
                  <a:pt x="3291" y="476"/>
                  <a:pt x="3293" y="475"/>
                  <a:pt x="3293" y="475"/>
                </a:cubicBezTo>
                <a:lnTo>
                  <a:pt x="3292" y="474"/>
                </a:lnTo>
                <a:cubicBezTo>
                  <a:pt x="3292" y="474"/>
                  <a:pt x="3291" y="475"/>
                  <a:pt x="3290" y="475"/>
                </a:cubicBezTo>
                <a:cubicBezTo>
                  <a:pt x="3289" y="476"/>
                  <a:pt x="3287" y="478"/>
                  <a:pt x="3286" y="479"/>
                </a:cubicBezTo>
                <a:cubicBezTo>
                  <a:pt x="3284" y="481"/>
                  <a:pt x="3283" y="482"/>
                  <a:pt x="3283" y="483"/>
                </a:cubicBezTo>
                <a:cubicBezTo>
                  <a:pt x="3283" y="483"/>
                  <a:pt x="3283" y="483"/>
                  <a:pt x="3283" y="483"/>
                </a:cubicBezTo>
                <a:close/>
                <a:moveTo>
                  <a:pt x="3315" y="456"/>
                </a:moveTo>
                <a:cubicBezTo>
                  <a:pt x="3315" y="456"/>
                  <a:pt x="3317" y="455"/>
                  <a:pt x="3320" y="451"/>
                </a:cubicBezTo>
                <a:cubicBezTo>
                  <a:pt x="3322" y="449"/>
                  <a:pt x="3323" y="447"/>
                  <a:pt x="3323" y="447"/>
                </a:cubicBezTo>
                <a:cubicBezTo>
                  <a:pt x="3322" y="447"/>
                  <a:pt x="3321" y="448"/>
                  <a:pt x="3318" y="451"/>
                </a:cubicBezTo>
                <a:cubicBezTo>
                  <a:pt x="3316" y="454"/>
                  <a:pt x="3315" y="456"/>
                  <a:pt x="3315" y="456"/>
                </a:cubicBezTo>
                <a:close/>
                <a:moveTo>
                  <a:pt x="3425" y="339"/>
                </a:moveTo>
                <a:cubicBezTo>
                  <a:pt x="3426" y="339"/>
                  <a:pt x="3427" y="338"/>
                  <a:pt x="3429" y="334"/>
                </a:cubicBezTo>
                <a:cubicBezTo>
                  <a:pt x="3430" y="332"/>
                  <a:pt x="3431" y="331"/>
                  <a:pt x="3431" y="330"/>
                </a:cubicBezTo>
                <a:lnTo>
                  <a:pt x="3431" y="330"/>
                </a:lnTo>
                <a:lnTo>
                  <a:pt x="3429" y="332"/>
                </a:lnTo>
                <a:cubicBezTo>
                  <a:pt x="3426" y="335"/>
                  <a:pt x="3425" y="337"/>
                  <a:pt x="3425" y="339"/>
                </a:cubicBezTo>
                <a:cubicBezTo>
                  <a:pt x="3425" y="339"/>
                  <a:pt x="3425" y="339"/>
                  <a:pt x="3425" y="339"/>
                </a:cubicBezTo>
                <a:close/>
                <a:moveTo>
                  <a:pt x="3438" y="316"/>
                </a:moveTo>
                <a:cubicBezTo>
                  <a:pt x="3439" y="316"/>
                  <a:pt x="3440" y="316"/>
                  <a:pt x="3441" y="314"/>
                </a:cubicBezTo>
                <a:lnTo>
                  <a:pt x="3441" y="313"/>
                </a:lnTo>
                <a:cubicBezTo>
                  <a:pt x="3441" y="313"/>
                  <a:pt x="3441" y="313"/>
                  <a:pt x="3441" y="313"/>
                </a:cubicBezTo>
                <a:lnTo>
                  <a:pt x="3440" y="313"/>
                </a:lnTo>
                <a:cubicBezTo>
                  <a:pt x="3437" y="314"/>
                  <a:pt x="3436" y="315"/>
                  <a:pt x="3436" y="316"/>
                </a:cubicBezTo>
                <a:cubicBezTo>
                  <a:pt x="3436" y="316"/>
                  <a:pt x="3437" y="316"/>
                  <a:pt x="3438" y="316"/>
                </a:cubicBezTo>
                <a:close/>
                <a:moveTo>
                  <a:pt x="3332" y="204"/>
                </a:moveTo>
                <a:cubicBezTo>
                  <a:pt x="3333" y="204"/>
                  <a:pt x="3335" y="202"/>
                  <a:pt x="3337" y="199"/>
                </a:cubicBezTo>
                <a:cubicBezTo>
                  <a:pt x="3339" y="197"/>
                  <a:pt x="3340" y="195"/>
                  <a:pt x="3340" y="195"/>
                </a:cubicBezTo>
                <a:cubicBezTo>
                  <a:pt x="3340" y="195"/>
                  <a:pt x="3338" y="195"/>
                  <a:pt x="3336" y="197"/>
                </a:cubicBezTo>
                <a:cubicBezTo>
                  <a:pt x="3333" y="198"/>
                  <a:pt x="3332" y="200"/>
                  <a:pt x="3332" y="202"/>
                </a:cubicBezTo>
                <a:cubicBezTo>
                  <a:pt x="3332" y="203"/>
                  <a:pt x="3332" y="204"/>
                  <a:pt x="3332" y="204"/>
                </a:cubicBezTo>
                <a:close/>
                <a:moveTo>
                  <a:pt x="3293" y="249"/>
                </a:moveTo>
                <a:cubicBezTo>
                  <a:pt x="3294" y="249"/>
                  <a:pt x="3294" y="248"/>
                  <a:pt x="3294" y="246"/>
                </a:cubicBezTo>
                <a:cubicBezTo>
                  <a:pt x="3294" y="245"/>
                  <a:pt x="3294" y="244"/>
                  <a:pt x="3293" y="244"/>
                </a:cubicBezTo>
                <a:lnTo>
                  <a:pt x="3292" y="244"/>
                </a:lnTo>
                <a:cubicBezTo>
                  <a:pt x="3291" y="245"/>
                  <a:pt x="3291" y="245"/>
                  <a:pt x="3291" y="246"/>
                </a:cubicBezTo>
                <a:cubicBezTo>
                  <a:pt x="3291" y="247"/>
                  <a:pt x="3291" y="247"/>
                  <a:pt x="3292" y="248"/>
                </a:cubicBezTo>
                <a:cubicBezTo>
                  <a:pt x="3293" y="249"/>
                  <a:pt x="3293" y="249"/>
                  <a:pt x="3293" y="249"/>
                </a:cubicBezTo>
                <a:close/>
                <a:moveTo>
                  <a:pt x="3228" y="509"/>
                </a:moveTo>
                <a:cubicBezTo>
                  <a:pt x="3231" y="509"/>
                  <a:pt x="3236" y="507"/>
                  <a:pt x="3242" y="504"/>
                </a:cubicBezTo>
                <a:cubicBezTo>
                  <a:pt x="3245" y="502"/>
                  <a:pt x="3248" y="501"/>
                  <a:pt x="3251" y="499"/>
                </a:cubicBezTo>
                <a:cubicBezTo>
                  <a:pt x="3253" y="498"/>
                  <a:pt x="3255" y="496"/>
                  <a:pt x="3256" y="495"/>
                </a:cubicBezTo>
                <a:cubicBezTo>
                  <a:pt x="3258" y="494"/>
                  <a:pt x="3259" y="493"/>
                  <a:pt x="3259" y="493"/>
                </a:cubicBezTo>
                <a:cubicBezTo>
                  <a:pt x="3260" y="493"/>
                  <a:pt x="3261" y="494"/>
                  <a:pt x="3261" y="495"/>
                </a:cubicBezTo>
                <a:cubicBezTo>
                  <a:pt x="3261" y="496"/>
                  <a:pt x="3259" y="498"/>
                  <a:pt x="3254" y="500"/>
                </a:cubicBezTo>
                <a:cubicBezTo>
                  <a:pt x="3250" y="502"/>
                  <a:pt x="3248" y="504"/>
                  <a:pt x="3248" y="506"/>
                </a:cubicBezTo>
                <a:lnTo>
                  <a:pt x="3248" y="506"/>
                </a:lnTo>
                <a:cubicBezTo>
                  <a:pt x="3250" y="506"/>
                  <a:pt x="3254" y="504"/>
                  <a:pt x="3259" y="501"/>
                </a:cubicBezTo>
                <a:cubicBezTo>
                  <a:pt x="3272" y="493"/>
                  <a:pt x="3279" y="488"/>
                  <a:pt x="3279" y="486"/>
                </a:cubicBezTo>
                <a:cubicBezTo>
                  <a:pt x="3279" y="486"/>
                  <a:pt x="3278" y="486"/>
                  <a:pt x="3278" y="486"/>
                </a:cubicBezTo>
                <a:cubicBezTo>
                  <a:pt x="3277" y="486"/>
                  <a:pt x="3275" y="487"/>
                  <a:pt x="3274" y="488"/>
                </a:cubicBezTo>
                <a:cubicBezTo>
                  <a:pt x="3272" y="490"/>
                  <a:pt x="3271" y="492"/>
                  <a:pt x="3269" y="492"/>
                </a:cubicBezTo>
                <a:cubicBezTo>
                  <a:pt x="3267" y="493"/>
                  <a:pt x="3265" y="494"/>
                  <a:pt x="3264" y="494"/>
                </a:cubicBezTo>
                <a:cubicBezTo>
                  <a:pt x="3263" y="494"/>
                  <a:pt x="3262" y="494"/>
                  <a:pt x="3262" y="493"/>
                </a:cubicBezTo>
                <a:cubicBezTo>
                  <a:pt x="3262" y="492"/>
                  <a:pt x="3268" y="487"/>
                  <a:pt x="3278" y="478"/>
                </a:cubicBezTo>
                <a:cubicBezTo>
                  <a:pt x="3289" y="470"/>
                  <a:pt x="3295" y="465"/>
                  <a:pt x="3297" y="465"/>
                </a:cubicBezTo>
                <a:cubicBezTo>
                  <a:pt x="3298" y="465"/>
                  <a:pt x="3306" y="458"/>
                  <a:pt x="3321" y="442"/>
                </a:cubicBezTo>
                <a:cubicBezTo>
                  <a:pt x="3328" y="433"/>
                  <a:pt x="3335" y="426"/>
                  <a:pt x="3341" y="419"/>
                </a:cubicBezTo>
                <a:cubicBezTo>
                  <a:pt x="3346" y="412"/>
                  <a:pt x="3350" y="408"/>
                  <a:pt x="3350" y="407"/>
                </a:cubicBezTo>
                <a:cubicBezTo>
                  <a:pt x="3352" y="404"/>
                  <a:pt x="3353" y="402"/>
                  <a:pt x="3354" y="400"/>
                </a:cubicBezTo>
                <a:cubicBezTo>
                  <a:pt x="3355" y="398"/>
                  <a:pt x="3356" y="397"/>
                  <a:pt x="3357" y="397"/>
                </a:cubicBezTo>
                <a:lnTo>
                  <a:pt x="3359" y="399"/>
                </a:lnTo>
                <a:cubicBezTo>
                  <a:pt x="3359" y="399"/>
                  <a:pt x="3360" y="398"/>
                  <a:pt x="3360" y="398"/>
                </a:cubicBezTo>
                <a:lnTo>
                  <a:pt x="3358" y="396"/>
                </a:lnTo>
                <a:cubicBezTo>
                  <a:pt x="3358" y="394"/>
                  <a:pt x="3360" y="392"/>
                  <a:pt x="3364" y="389"/>
                </a:cubicBezTo>
                <a:cubicBezTo>
                  <a:pt x="3367" y="385"/>
                  <a:pt x="3369" y="383"/>
                  <a:pt x="3369" y="381"/>
                </a:cubicBezTo>
                <a:cubicBezTo>
                  <a:pt x="3369" y="380"/>
                  <a:pt x="3370" y="377"/>
                  <a:pt x="3373" y="374"/>
                </a:cubicBezTo>
                <a:cubicBezTo>
                  <a:pt x="3376" y="372"/>
                  <a:pt x="3378" y="369"/>
                  <a:pt x="3381" y="364"/>
                </a:cubicBezTo>
                <a:cubicBezTo>
                  <a:pt x="3383" y="360"/>
                  <a:pt x="3384" y="359"/>
                  <a:pt x="3385" y="359"/>
                </a:cubicBezTo>
                <a:lnTo>
                  <a:pt x="3388" y="360"/>
                </a:lnTo>
                <a:lnTo>
                  <a:pt x="3388" y="357"/>
                </a:lnTo>
                <a:cubicBezTo>
                  <a:pt x="3388" y="355"/>
                  <a:pt x="3390" y="352"/>
                  <a:pt x="3393" y="347"/>
                </a:cubicBezTo>
                <a:cubicBezTo>
                  <a:pt x="3397" y="340"/>
                  <a:pt x="3400" y="335"/>
                  <a:pt x="3401" y="332"/>
                </a:cubicBezTo>
                <a:cubicBezTo>
                  <a:pt x="3403" y="327"/>
                  <a:pt x="3405" y="325"/>
                  <a:pt x="3405" y="325"/>
                </a:cubicBezTo>
                <a:cubicBezTo>
                  <a:pt x="3406" y="325"/>
                  <a:pt x="3407" y="325"/>
                  <a:pt x="3407" y="324"/>
                </a:cubicBezTo>
                <a:lnTo>
                  <a:pt x="3407" y="323"/>
                </a:lnTo>
                <a:cubicBezTo>
                  <a:pt x="3407" y="321"/>
                  <a:pt x="3408" y="318"/>
                  <a:pt x="3411" y="316"/>
                </a:cubicBezTo>
                <a:cubicBezTo>
                  <a:pt x="3414" y="313"/>
                  <a:pt x="3415" y="311"/>
                  <a:pt x="3415" y="308"/>
                </a:cubicBezTo>
                <a:lnTo>
                  <a:pt x="3415" y="306"/>
                </a:lnTo>
                <a:cubicBezTo>
                  <a:pt x="3415" y="306"/>
                  <a:pt x="3415" y="305"/>
                  <a:pt x="3417" y="305"/>
                </a:cubicBezTo>
                <a:cubicBezTo>
                  <a:pt x="3418" y="304"/>
                  <a:pt x="3419" y="303"/>
                  <a:pt x="3420" y="301"/>
                </a:cubicBezTo>
                <a:cubicBezTo>
                  <a:pt x="3421" y="299"/>
                  <a:pt x="3422" y="296"/>
                  <a:pt x="3424" y="294"/>
                </a:cubicBezTo>
                <a:cubicBezTo>
                  <a:pt x="3426" y="291"/>
                  <a:pt x="3427" y="288"/>
                  <a:pt x="3428" y="285"/>
                </a:cubicBezTo>
                <a:cubicBezTo>
                  <a:pt x="3428" y="282"/>
                  <a:pt x="3430" y="279"/>
                  <a:pt x="3432" y="277"/>
                </a:cubicBezTo>
                <a:cubicBezTo>
                  <a:pt x="3434" y="275"/>
                  <a:pt x="3435" y="272"/>
                  <a:pt x="3435" y="270"/>
                </a:cubicBezTo>
                <a:lnTo>
                  <a:pt x="3435" y="267"/>
                </a:lnTo>
                <a:cubicBezTo>
                  <a:pt x="3435" y="267"/>
                  <a:pt x="3435" y="267"/>
                  <a:pt x="3435" y="267"/>
                </a:cubicBezTo>
                <a:lnTo>
                  <a:pt x="3437" y="267"/>
                </a:lnTo>
                <a:cubicBezTo>
                  <a:pt x="3437" y="267"/>
                  <a:pt x="3438" y="267"/>
                  <a:pt x="3438" y="265"/>
                </a:cubicBezTo>
                <a:cubicBezTo>
                  <a:pt x="3439" y="264"/>
                  <a:pt x="3439" y="263"/>
                  <a:pt x="3439" y="262"/>
                </a:cubicBezTo>
                <a:cubicBezTo>
                  <a:pt x="3439" y="261"/>
                  <a:pt x="3439" y="260"/>
                  <a:pt x="3439" y="259"/>
                </a:cubicBezTo>
                <a:cubicBezTo>
                  <a:pt x="3439" y="259"/>
                  <a:pt x="3439" y="258"/>
                  <a:pt x="3440" y="257"/>
                </a:cubicBezTo>
                <a:cubicBezTo>
                  <a:pt x="3441" y="255"/>
                  <a:pt x="3442" y="254"/>
                  <a:pt x="3442" y="253"/>
                </a:cubicBezTo>
                <a:cubicBezTo>
                  <a:pt x="3443" y="252"/>
                  <a:pt x="3444" y="251"/>
                  <a:pt x="3444" y="249"/>
                </a:cubicBezTo>
                <a:cubicBezTo>
                  <a:pt x="3444" y="249"/>
                  <a:pt x="3444" y="248"/>
                  <a:pt x="3444" y="247"/>
                </a:cubicBezTo>
                <a:cubicBezTo>
                  <a:pt x="3443" y="247"/>
                  <a:pt x="3443" y="246"/>
                  <a:pt x="3443" y="246"/>
                </a:cubicBezTo>
                <a:cubicBezTo>
                  <a:pt x="3443" y="245"/>
                  <a:pt x="3443" y="245"/>
                  <a:pt x="3443" y="245"/>
                </a:cubicBezTo>
                <a:lnTo>
                  <a:pt x="3446" y="246"/>
                </a:lnTo>
                <a:cubicBezTo>
                  <a:pt x="3446" y="246"/>
                  <a:pt x="3447" y="245"/>
                  <a:pt x="3447" y="243"/>
                </a:cubicBezTo>
                <a:cubicBezTo>
                  <a:pt x="3447" y="242"/>
                  <a:pt x="3447" y="240"/>
                  <a:pt x="3448" y="239"/>
                </a:cubicBezTo>
                <a:cubicBezTo>
                  <a:pt x="3448" y="237"/>
                  <a:pt x="3449" y="236"/>
                  <a:pt x="3450" y="234"/>
                </a:cubicBezTo>
                <a:cubicBezTo>
                  <a:pt x="3453" y="223"/>
                  <a:pt x="3456" y="212"/>
                  <a:pt x="3459" y="200"/>
                </a:cubicBezTo>
                <a:cubicBezTo>
                  <a:pt x="3461" y="188"/>
                  <a:pt x="3462" y="177"/>
                  <a:pt x="3462" y="168"/>
                </a:cubicBezTo>
                <a:cubicBezTo>
                  <a:pt x="3462" y="164"/>
                  <a:pt x="3462" y="160"/>
                  <a:pt x="3461" y="157"/>
                </a:cubicBezTo>
                <a:cubicBezTo>
                  <a:pt x="3460" y="154"/>
                  <a:pt x="3460" y="152"/>
                  <a:pt x="3459" y="151"/>
                </a:cubicBezTo>
                <a:cubicBezTo>
                  <a:pt x="3459" y="149"/>
                  <a:pt x="3458" y="149"/>
                  <a:pt x="3456" y="149"/>
                </a:cubicBezTo>
                <a:cubicBezTo>
                  <a:pt x="3452" y="149"/>
                  <a:pt x="3447" y="151"/>
                  <a:pt x="3440" y="154"/>
                </a:cubicBezTo>
                <a:cubicBezTo>
                  <a:pt x="3427" y="160"/>
                  <a:pt x="3420" y="164"/>
                  <a:pt x="3420" y="167"/>
                </a:cubicBezTo>
                <a:cubicBezTo>
                  <a:pt x="3420" y="168"/>
                  <a:pt x="3420" y="169"/>
                  <a:pt x="3419" y="169"/>
                </a:cubicBezTo>
                <a:lnTo>
                  <a:pt x="3417" y="167"/>
                </a:lnTo>
                <a:cubicBezTo>
                  <a:pt x="3416" y="167"/>
                  <a:pt x="3414" y="168"/>
                  <a:pt x="3413" y="169"/>
                </a:cubicBezTo>
                <a:cubicBezTo>
                  <a:pt x="3412" y="171"/>
                  <a:pt x="3411" y="172"/>
                  <a:pt x="3411" y="173"/>
                </a:cubicBezTo>
                <a:lnTo>
                  <a:pt x="3411" y="175"/>
                </a:lnTo>
                <a:cubicBezTo>
                  <a:pt x="3411" y="175"/>
                  <a:pt x="3411" y="176"/>
                  <a:pt x="3411" y="176"/>
                </a:cubicBezTo>
                <a:lnTo>
                  <a:pt x="3409" y="175"/>
                </a:lnTo>
                <a:cubicBezTo>
                  <a:pt x="3407" y="175"/>
                  <a:pt x="3400" y="180"/>
                  <a:pt x="3388" y="190"/>
                </a:cubicBezTo>
                <a:cubicBezTo>
                  <a:pt x="3377" y="201"/>
                  <a:pt x="3370" y="207"/>
                  <a:pt x="3368" y="210"/>
                </a:cubicBezTo>
                <a:cubicBezTo>
                  <a:pt x="3366" y="214"/>
                  <a:pt x="3363" y="218"/>
                  <a:pt x="3358" y="223"/>
                </a:cubicBezTo>
                <a:cubicBezTo>
                  <a:pt x="3347" y="236"/>
                  <a:pt x="3340" y="243"/>
                  <a:pt x="3338" y="243"/>
                </a:cubicBezTo>
                <a:cubicBezTo>
                  <a:pt x="3337" y="243"/>
                  <a:pt x="3337" y="242"/>
                  <a:pt x="3337" y="242"/>
                </a:cubicBezTo>
                <a:cubicBezTo>
                  <a:pt x="3337" y="241"/>
                  <a:pt x="3339" y="239"/>
                  <a:pt x="3342" y="236"/>
                </a:cubicBezTo>
                <a:cubicBezTo>
                  <a:pt x="3345" y="234"/>
                  <a:pt x="3347" y="232"/>
                  <a:pt x="3347" y="230"/>
                </a:cubicBezTo>
                <a:cubicBezTo>
                  <a:pt x="3347" y="228"/>
                  <a:pt x="3348" y="226"/>
                  <a:pt x="3352" y="223"/>
                </a:cubicBezTo>
                <a:cubicBezTo>
                  <a:pt x="3353" y="221"/>
                  <a:pt x="3355" y="219"/>
                  <a:pt x="3357" y="216"/>
                </a:cubicBezTo>
                <a:cubicBezTo>
                  <a:pt x="3359" y="214"/>
                  <a:pt x="3360" y="212"/>
                  <a:pt x="3360" y="211"/>
                </a:cubicBezTo>
                <a:cubicBezTo>
                  <a:pt x="3360" y="211"/>
                  <a:pt x="3359" y="210"/>
                  <a:pt x="3359" y="210"/>
                </a:cubicBezTo>
                <a:cubicBezTo>
                  <a:pt x="3359" y="210"/>
                  <a:pt x="3357" y="213"/>
                  <a:pt x="3353" y="218"/>
                </a:cubicBezTo>
                <a:cubicBezTo>
                  <a:pt x="3348" y="223"/>
                  <a:pt x="3344" y="228"/>
                  <a:pt x="3339" y="235"/>
                </a:cubicBezTo>
                <a:cubicBezTo>
                  <a:pt x="3334" y="241"/>
                  <a:pt x="3329" y="247"/>
                  <a:pt x="3325" y="252"/>
                </a:cubicBezTo>
                <a:cubicBezTo>
                  <a:pt x="3321" y="257"/>
                  <a:pt x="3319" y="260"/>
                  <a:pt x="3319" y="261"/>
                </a:cubicBezTo>
                <a:cubicBezTo>
                  <a:pt x="3319" y="261"/>
                  <a:pt x="3319" y="262"/>
                  <a:pt x="3319" y="262"/>
                </a:cubicBezTo>
                <a:cubicBezTo>
                  <a:pt x="3319" y="262"/>
                  <a:pt x="3319" y="262"/>
                  <a:pt x="3319" y="262"/>
                </a:cubicBezTo>
                <a:cubicBezTo>
                  <a:pt x="3320" y="262"/>
                  <a:pt x="3321" y="262"/>
                  <a:pt x="3323" y="261"/>
                </a:cubicBezTo>
                <a:cubicBezTo>
                  <a:pt x="3325" y="259"/>
                  <a:pt x="3327" y="259"/>
                  <a:pt x="3327" y="259"/>
                </a:cubicBezTo>
                <a:lnTo>
                  <a:pt x="3327" y="259"/>
                </a:lnTo>
                <a:cubicBezTo>
                  <a:pt x="3327" y="260"/>
                  <a:pt x="3326" y="261"/>
                  <a:pt x="3325" y="262"/>
                </a:cubicBezTo>
                <a:cubicBezTo>
                  <a:pt x="3323" y="264"/>
                  <a:pt x="3322" y="265"/>
                  <a:pt x="3320" y="265"/>
                </a:cubicBezTo>
                <a:lnTo>
                  <a:pt x="3318" y="264"/>
                </a:lnTo>
                <a:cubicBezTo>
                  <a:pt x="3316" y="264"/>
                  <a:pt x="3315" y="265"/>
                  <a:pt x="3314" y="267"/>
                </a:cubicBezTo>
                <a:cubicBezTo>
                  <a:pt x="3313" y="268"/>
                  <a:pt x="3313" y="269"/>
                  <a:pt x="3313" y="271"/>
                </a:cubicBezTo>
                <a:cubicBezTo>
                  <a:pt x="3313" y="271"/>
                  <a:pt x="3313" y="272"/>
                  <a:pt x="3313" y="273"/>
                </a:cubicBezTo>
                <a:lnTo>
                  <a:pt x="3314" y="274"/>
                </a:lnTo>
                <a:cubicBezTo>
                  <a:pt x="3314" y="274"/>
                  <a:pt x="3313" y="274"/>
                  <a:pt x="3313" y="274"/>
                </a:cubicBezTo>
                <a:lnTo>
                  <a:pt x="3312" y="274"/>
                </a:lnTo>
                <a:cubicBezTo>
                  <a:pt x="3311" y="274"/>
                  <a:pt x="3307" y="278"/>
                  <a:pt x="3301" y="287"/>
                </a:cubicBezTo>
                <a:cubicBezTo>
                  <a:pt x="3295" y="295"/>
                  <a:pt x="3291" y="300"/>
                  <a:pt x="3291" y="302"/>
                </a:cubicBezTo>
                <a:lnTo>
                  <a:pt x="3291" y="302"/>
                </a:lnTo>
                <a:cubicBezTo>
                  <a:pt x="3291" y="303"/>
                  <a:pt x="3290" y="305"/>
                  <a:pt x="3288" y="308"/>
                </a:cubicBezTo>
                <a:cubicBezTo>
                  <a:pt x="3285" y="310"/>
                  <a:pt x="3284" y="313"/>
                  <a:pt x="3284" y="315"/>
                </a:cubicBezTo>
                <a:cubicBezTo>
                  <a:pt x="3284" y="317"/>
                  <a:pt x="3283" y="318"/>
                  <a:pt x="3281" y="319"/>
                </a:cubicBezTo>
                <a:cubicBezTo>
                  <a:pt x="3279" y="320"/>
                  <a:pt x="3278" y="321"/>
                  <a:pt x="3278" y="322"/>
                </a:cubicBezTo>
                <a:lnTo>
                  <a:pt x="3279" y="324"/>
                </a:lnTo>
                <a:cubicBezTo>
                  <a:pt x="3279" y="325"/>
                  <a:pt x="3278" y="327"/>
                  <a:pt x="3275" y="329"/>
                </a:cubicBezTo>
                <a:cubicBezTo>
                  <a:pt x="3272" y="333"/>
                  <a:pt x="3271" y="335"/>
                  <a:pt x="3271" y="336"/>
                </a:cubicBezTo>
                <a:cubicBezTo>
                  <a:pt x="3271" y="337"/>
                  <a:pt x="3266" y="346"/>
                  <a:pt x="3258" y="362"/>
                </a:cubicBezTo>
                <a:cubicBezTo>
                  <a:pt x="3249" y="378"/>
                  <a:pt x="3244" y="386"/>
                  <a:pt x="3243" y="387"/>
                </a:cubicBezTo>
                <a:cubicBezTo>
                  <a:pt x="3242" y="387"/>
                  <a:pt x="3241" y="388"/>
                  <a:pt x="3241" y="388"/>
                </a:cubicBezTo>
                <a:lnTo>
                  <a:pt x="3242" y="390"/>
                </a:lnTo>
                <a:cubicBezTo>
                  <a:pt x="3242" y="391"/>
                  <a:pt x="3241" y="392"/>
                  <a:pt x="3241" y="392"/>
                </a:cubicBezTo>
                <a:cubicBezTo>
                  <a:pt x="3240" y="392"/>
                  <a:pt x="3239" y="392"/>
                  <a:pt x="3239" y="393"/>
                </a:cubicBezTo>
                <a:lnTo>
                  <a:pt x="3240" y="395"/>
                </a:lnTo>
                <a:cubicBezTo>
                  <a:pt x="3240" y="396"/>
                  <a:pt x="3239" y="397"/>
                  <a:pt x="3238" y="397"/>
                </a:cubicBezTo>
                <a:cubicBezTo>
                  <a:pt x="3238" y="397"/>
                  <a:pt x="3237" y="397"/>
                  <a:pt x="3237" y="397"/>
                </a:cubicBezTo>
                <a:lnTo>
                  <a:pt x="3238" y="399"/>
                </a:lnTo>
                <a:cubicBezTo>
                  <a:pt x="3238" y="400"/>
                  <a:pt x="3237" y="401"/>
                  <a:pt x="3236" y="401"/>
                </a:cubicBezTo>
                <a:cubicBezTo>
                  <a:pt x="3235" y="401"/>
                  <a:pt x="3234" y="401"/>
                  <a:pt x="3234" y="402"/>
                </a:cubicBezTo>
                <a:lnTo>
                  <a:pt x="3235" y="403"/>
                </a:lnTo>
                <a:cubicBezTo>
                  <a:pt x="3235" y="405"/>
                  <a:pt x="3234" y="409"/>
                  <a:pt x="3231" y="414"/>
                </a:cubicBezTo>
                <a:cubicBezTo>
                  <a:pt x="3228" y="420"/>
                  <a:pt x="3226" y="424"/>
                  <a:pt x="3226" y="427"/>
                </a:cubicBezTo>
                <a:cubicBezTo>
                  <a:pt x="3226" y="429"/>
                  <a:pt x="3227" y="430"/>
                  <a:pt x="3229" y="430"/>
                </a:cubicBezTo>
                <a:cubicBezTo>
                  <a:pt x="3230" y="430"/>
                  <a:pt x="3230" y="429"/>
                  <a:pt x="3230" y="427"/>
                </a:cubicBezTo>
                <a:lnTo>
                  <a:pt x="3230" y="422"/>
                </a:lnTo>
                <a:lnTo>
                  <a:pt x="3231" y="422"/>
                </a:lnTo>
                <a:cubicBezTo>
                  <a:pt x="3232" y="422"/>
                  <a:pt x="3233" y="422"/>
                  <a:pt x="3234" y="420"/>
                </a:cubicBezTo>
                <a:cubicBezTo>
                  <a:pt x="3235" y="419"/>
                  <a:pt x="3236" y="418"/>
                  <a:pt x="3236" y="416"/>
                </a:cubicBezTo>
                <a:cubicBezTo>
                  <a:pt x="3237" y="414"/>
                  <a:pt x="3238" y="413"/>
                  <a:pt x="3238" y="411"/>
                </a:cubicBezTo>
                <a:lnTo>
                  <a:pt x="3236" y="409"/>
                </a:lnTo>
                <a:lnTo>
                  <a:pt x="3237" y="408"/>
                </a:lnTo>
                <a:lnTo>
                  <a:pt x="3239" y="409"/>
                </a:lnTo>
                <a:cubicBezTo>
                  <a:pt x="3240" y="409"/>
                  <a:pt x="3240" y="408"/>
                  <a:pt x="3241" y="406"/>
                </a:cubicBezTo>
                <a:cubicBezTo>
                  <a:pt x="3241" y="405"/>
                  <a:pt x="3241" y="404"/>
                  <a:pt x="3241" y="404"/>
                </a:cubicBezTo>
                <a:cubicBezTo>
                  <a:pt x="3241" y="404"/>
                  <a:pt x="3242" y="404"/>
                  <a:pt x="3242" y="405"/>
                </a:cubicBezTo>
                <a:cubicBezTo>
                  <a:pt x="3242" y="407"/>
                  <a:pt x="3240" y="412"/>
                  <a:pt x="3238" y="418"/>
                </a:cubicBezTo>
                <a:cubicBezTo>
                  <a:pt x="3234" y="425"/>
                  <a:pt x="3233" y="430"/>
                  <a:pt x="3233" y="434"/>
                </a:cubicBezTo>
                <a:lnTo>
                  <a:pt x="3234" y="439"/>
                </a:lnTo>
                <a:cubicBezTo>
                  <a:pt x="3234" y="439"/>
                  <a:pt x="3233" y="439"/>
                  <a:pt x="3233" y="439"/>
                </a:cubicBezTo>
                <a:lnTo>
                  <a:pt x="3230" y="438"/>
                </a:lnTo>
                <a:cubicBezTo>
                  <a:pt x="3230" y="438"/>
                  <a:pt x="3230" y="438"/>
                  <a:pt x="3230" y="439"/>
                </a:cubicBezTo>
                <a:lnTo>
                  <a:pt x="3231" y="443"/>
                </a:lnTo>
                <a:cubicBezTo>
                  <a:pt x="3231" y="444"/>
                  <a:pt x="3230" y="445"/>
                  <a:pt x="3229" y="446"/>
                </a:cubicBezTo>
                <a:cubicBezTo>
                  <a:pt x="3227" y="447"/>
                  <a:pt x="3226" y="448"/>
                  <a:pt x="3226" y="448"/>
                </a:cubicBezTo>
                <a:lnTo>
                  <a:pt x="3226" y="451"/>
                </a:lnTo>
                <a:cubicBezTo>
                  <a:pt x="3226" y="451"/>
                  <a:pt x="3226" y="451"/>
                  <a:pt x="3225" y="451"/>
                </a:cubicBezTo>
                <a:cubicBezTo>
                  <a:pt x="3224" y="451"/>
                  <a:pt x="3224" y="452"/>
                  <a:pt x="3224" y="453"/>
                </a:cubicBezTo>
                <a:lnTo>
                  <a:pt x="3224" y="453"/>
                </a:lnTo>
                <a:cubicBezTo>
                  <a:pt x="3224" y="455"/>
                  <a:pt x="3224" y="456"/>
                  <a:pt x="3223" y="456"/>
                </a:cubicBezTo>
                <a:cubicBezTo>
                  <a:pt x="3223" y="456"/>
                  <a:pt x="3223" y="457"/>
                  <a:pt x="3223" y="458"/>
                </a:cubicBezTo>
                <a:cubicBezTo>
                  <a:pt x="3223" y="460"/>
                  <a:pt x="3222" y="462"/>
                  <a:pt x="3222" y="464"/>
                </a:cubicBezTo>
                <a:cubicBezTo>
                  <a:pt x="3221" y="469"/>
                  <a:pt x="3220" y="473"/>
                  <a:pt x="3218" y="477"/>
                </a:cubicBezTo>
                <a:cubicBezTo>
                  <a:pt x="3216" y="480"/>
                  <a:pt x="3216" y="484"/>
                  <a:pt x="3216" y="487"/>
                </a:cubicBezTo>
                <a:cubicBezTo>
                  <a:pt x="3216" y="494"/>
                  <a:pt x="3217" y="497"/>
                  <a:pt x="3219" y="497"/>
                </a:cubicBezTo>
                <a:cubicBezTo>
                  <a:pt x="3219" y="497"/>
                  <a:pt x="3220" y="497"/>
                  <a:pt x="3221" y="496"/>
                </a:cubicBezTo>
                <a:cubicBezTo>
                  <a:pt x="3221" y="495"/>
                  <a:pt x="3221" y="495"/>
                  <a:pt x="3222" y="495"/>
                </a:cubicBezTo>
                <a:cubicBezTo>
                  <a:pt x="3223" y="495"/>
                  <a:pt x="3224" y="495"/>
                  <a:pt x="3225" y="496"/>
                </a:cubicBezTo>
                <a:cubicBezTo>
                  <a:pt x="3226" y="497"/>
                  <a:pt x="3226" y="498"/>
                  <a:pt x="3226" y="499"/>
                </a:cubicBezTo>
                <a:cubicBezTo>
                  <a:pt x="3226" y="500"/>
                  <a:pt x="3225" y="500"/>
                  <a:pt x="3223" y="500"/>
                </a:cubicBezTo>
                <a:lnTo>
                  <a:pt x="3217" y="500"/>
                </a:lnTo>
                <a:cubicBezTo>
                  <a:pt x="3217" y="500"/>
                  <a:pt x="3217" y="501"/>
                  <a:pt x="3219" y="503"/>
                </a:cubicBezTo>
                <a:cubicBezTo>
                  <a:pt x="3220" y="504"/>
                  <a:pt x="3221" y="505"/>
                  <a:pt x="3223" y="505"/>
                </a:cubicBezTo>
                <a:lnTo>
                  <a:pt x="3224" y="505"/>
                </a:lnTo>
                <a:cubicBezTo>
                  <a:pt x="3225" y="505"/>
                  <a:pt x="3226" y="506"/>
                  <a:pt x="3226" y="507"/>
                </a:cubicBezTo>
                <a:cubicBezTo>
                  <a:pt x="3226" y="508"/>
                  <a:pt x="3226" y="509"/>
                  <a:pt x="3228" y="509"/>
                </a:cubicBezTo>
                <a:close/>
                <a:moveTo>
                  <a:pt x="3203" y="490"/>
                </a:moveTo>
                <a:cubicBezTo>
                  <a:pt x="3204" y="490"/>
                  <a:pt x="3204" y="490"/>
                  <a:pt x="3204" y="488"/>
                </a:cubicBezTo>
                <a:lnTo>
                  <a:pt x="3204" y="486"/>
                </a:lnTo>
                <a:cubicBezTo>
                  <a:pt x="3204" y="484"/>
                  <a:pt x="3204" y="482"/>
                  <a:pt x="3204" y="482"/>
                </a:cubicBezTo>
                <a:lnTo>
                  <a:pt x="3203" y="481"/>
                </a:lnTo>
                <a:cubicBezTo>
                  <a:pt x="3203" y="481"/>
                  <a:pt x="3202" y="482"/>
                  <a:pt x="3202" y="483"/>
                </a:cubicBezTo>
                <a:cubicBezTo>
                  <a:pt x="3201" y="485"/>
                  <a:pt x="3200" y="486"/>
                  <a:pt x="3200" y="487"/>
                </a:cubicBezTo>
                <a:cubicBezTo>
                  <a:pt x="3200" y="489"/>
                  <a:pt x="3201" y="490"/>
                  <a:pt x="3203" y="490"/>
                </a:cubicBezTo>
                <a:close/>
                <a:moveTo>
                  <a:pt x="3206" y="419"/>
                </a:moveTo>
                <a:cubicBezTo>
                  <a:pt x="3207" y="419"/>
                  <a:pt x="3208" y="418"/>
                  <a:pt x="3209" y="416"/>
                </a:cubicBezTo>
                <a:lnTo>
                  <a:pt x="3209" y="414"/>
                </a:lnTo>
                <a:cubicBezTo>
                  <a:pt x="3209" y="414"/>
                  <a:pt x="3209" y="413"/>
                  <a:pt x="3209" y="413"/>
                </a:cubicBezTo>
                <a:lnTo>
                  <a:pt x="3208" y="414"/>
                </a:lnTo>
                <a:cubicBezTo>
                  <a:pt x="3206" y="414"/>
                  <a:pt x="3206" y="416"/>
                  <a:pt x="3206" y="417"/>
                </a:cubicBezTo>
                <a:cubicBezTo>
                  <a:pt x="3206" y="419"/>
                  <a:pt x="3206" y="419"/>
                  <a:pt x="3206" y="419"/>
                </a:cubicBezTo>
                <a:close/>
                <a:moveTo>
                  <a:pt x="3199" y="435"/>
                </a:moveTo>
                <a:cubicBezTo>
                  <a:pt x="3200" y="435"/>
                  <a:pt x="3201" y="433"/>
                  <a:pt x="3202" y="431"/>
                </a:cubicBezTo>
                <a:cubicBezTo>
                  <a:pt x="3204" y="427"/>
                  <a:pt x="3205" y="424"/>
                  <a:pt x="3205" y="423"/>
                </a:cubicBezTo>
                <a:lnTo>
                  <a:pt x="3205" y="422"/>
                </a:lnTo>
                <a:cubicBezTo>
                  <a:pt x="3205" y="422"/>
                  <a:pt x="3204" y="424"/>
                  <a:pt x="3202" y="426"/>
                </a:cubicBezTo>
                <a:cubicBezTo>
                  <a:pt x="3200" y="430"/>
                  <a:pt x="3199" y="433"/>
                  <a:pt x="3199" y="434"/>
                </a:cubicBezTo>
                <a:lnTo>
                  <a:pt x="3199" y="435"/>
                </a:lnTo>
                <a:close/>
                <a:moveTo>
                  <a:pt x="3175" y="511"/>
                </a:moveTo>
                <a:cubicBezTo>
                  <a:pt x="3177" y="511"/>
                  <a:pt x="3177" y="510"/>
                  <a:pt x="3177" y="509"/>
                </a:cubicBezTo>
                <a:cubicBezTo>
                  <a:pt x="3177" y="508"/>
                  <a:pt x="3177" y="507"/>
                  <a:pt x="3177" y="507"/>
                </a:cubicBezTo>
                <a:cubicBezTo>
                  <a:pt x="3175" y="504"/>
                  <a:pt x="3174" y="503"/>
                  <a:pt x="3172" y="503"/>
                </a:cubicBezTo>
                <a:cubicBezTo>
                  <a:pt x="3171" y="503"/>
                  <a:pt x="3170" y="504"/>
                  <a:pt x="3170" y="506"/>
                </a:cubicBezTo>
                <a:cubicBezTo>
                  <a:pt x="3170" y="507"/>
                  <a:pt x="3171" y="508"/>
                  <a:pt x="3172" y="510"/>
                </a:cubicBezTo>
                <a:cubicBezTo>
                  <a:pt x="3173" y="511"/>
                  <a:pt x="3174" y="511"/>
                  <a:pt x="3175" y="511"/>
                </a:cubicBezTo>
                <a:close/>
                <a:moveTo>
                  <a:pt x="3155" y="591"/>
                </a:moveTo>
                <a:cubicBezTo>
                  <a:pt x="3155" y="591"/>
                  <a:pt x="3155" y="590"/>
                  <a:pt x="3155" y="589"/>
                </a:cubicBezTo>
                <a:lnTo>
                  <a:pt x="3155" y="586"/>
                </a:lnTo>
                <a:cubicBezTo>
                  <a:pt x="3155" y="586"/>
                  <a:pt x="3154" y="585"/>
                  <a:pt x="3154" y="585"/>
                </a:cubicBezTo>
                <a:cubicBezTo>
                  <a:pt x="3154" y="585"/>
                  <a:pt x="3154" y="586"/>
                  <a:pt x="3154" y="588"/>
                </a:cubicBezTo>
                <a:cubicBezTo>
                  <a:pt x="3154" y="590"/>
                  <a:pt x="3154" y="591"/>
                  <a:pt x="3155" y="591"/>
                </a:cubicBezTo>
                <a:close/>
                <a:moveTo>
                  <a:pt x="3153" y="602"/>
                </a:moveTo>
                <a:cubicBezTo>
                  <a:pt x="3153" y="601"/>
                  <a:pt x="3154" y="601"/>
                  <a:pt x="3154" y="600"/>
                </a:cubicBezTo>
                <a:lnTo>
                  <a:pt x="3152" y="597"/>
                </a:lnTo>
                <a:cubicBezTo>
                  <a:pt x="3152" y="597"/>
                  <a:pt x="3152" y="598"/>
                  <a:pt x="3152" y="601"/>
                </a:cubicBezTo>
                <a:cubicBezTo>
                  <a:pt x="3152" y="602"/>
                  <a:pt x="3152" y="602"/>
                  <a:pt x="3152" y="602"/>
                </a:cubicBezTo>
                <a:lnTo>
                  <a:pt x="3153" y="602"/>
                </a:lnTo>
                <a:close/>
                <a:moveTo>
                  <a:pt x="3150" y="621"/>
                </a:moveTo>
                <a:cubicBezTo>
                  <a:pt x="3150" y="621"/>
                  <a:pt x="3151" y="620"/>
                  <a:pt x="3151" y="619"/>
                </a:cubicBezTo>
                <a:lnTo>
                  <a:pt x="3151" y="616"/>
                </a:lnTo>
                <a:cubicBezTo>
                  <a:pt x="3150" y="616"/>
                  <a:pt x="3150" y="615"/>
                  <a:pt x="3150" y="615"/>
                </a:cubicBezTo>
                <a:cubicBezTo>
                  <a:pt x="3149" y="615"/>
                  <a:pt x="3149" y="616"/>
                  <a:pt x="3149" y="617"/>
                </a:cubicBezTo>
                <a:cubicBezTo>
                  <a:pt x="3149" y="619"/>
                  <a:pt x="3150" y="621"/>
                  <a:pt x="3150" y="621"/>
                </a:cubicBezTo>
                <a:close/>
                <a:moveTo>
                  <a:pt x="3649" y="540"/>
                </a:moveTo>
                <a:close/>
                <a:moveTo>
                  <a:pt x="3176" y="501"/>
                </a:moveTo>
                <a:cubicBezTo>
                  <a:pt x="3176" y="501"/>
                  <a:pt x="3175" y="501"/>
                  <a:pt x="3175" y="500"/>
                </a:cubicBezTo>
                <a:cubicBezTo>
                  <a:pt x="3175" y="498"/>
                  <a:pt x="3176" y="497"/>
                  <a:pt x="3177" y="496"/>
                </a:cubicBezTo>
                <a:lnTo>
                  <a:pt x="3179" y="495"/>
                </a:lnTo>
                <a:cubicBezTo>
                  <a:pt x="3179" y="495"/>
                  <a:pt x="3179" y="496"/>
                  <a:pt x="3179" y="497"/>
                </a:cubicBezTo>
                <a:cubicBezTo>
                  <a:pt x="3179" y="499"/>
                  <a:pt x="3179" y="500"/>
                  <a:pt x="3177" y="501"/>
                </a:cubicBezTo>
                <a:lnTo>
                  <a:pt x="3176" y="501"/>
                </a:lnTo>
                <a:close/>
                <a:moveTo>
                  <a:pt x="3204" y="408"/>
                </a:moveTo>
                <a:lnTo>
                  <a:pt x="3204" y="408"/>
                </a:lnTo>
                <a:cubicBezTo>
                  <a:pt x="3204" y="407"/>
                  <a:pt x="3204" y="406"/>
                  <a:pt x="3205" y="404"/>
                </a:cubicBezTo>
                <a:cubicBezTo>
                  <a:pt x="3205" y="403"/>
                  <a:pt x="3206" y="402"/>
                  <a:pt x="3207" y="402"/>
                </a:cubicBezTo>
                <a:lnTo>
                  <a:pt x="3207" y="402"/>
                </a:lnTo>
                <a:lnTo>
                  <a:pt x="3208" y="403"/>
                </a:lnTo>
                <a:cubicBezTo>
                  <a:pt x="3208" y="404"/>
                  <a:pt x="3207" y="405"/>
                  <a:pt x="3206" y="406"/>
                </a:cubicBezTo>
                <a:lnTo>
                  <a:pt x="3204" y="408"/>
                </a:lnTo>
                <a:close/>
                <a:moveTo>
                  <a:pt x="3515" y="662"/>
                </a:moveTo>
                <a:cubicBezTo>
                  <a:pt x="3514" y="662"/>
                  <a:pt x="3514" y="662"/>
                  <a:pt x="3514" y="660"/>
                </a:cubicBezTo>
                <a:cubicBezTo>
                  <a:pt x="3514" y="659"/>
                  <a:pt x="3515" y="658"/>
                  <a:pt x="3517" y="658"/>
                </a:cubicBezTo>
                <a:cubicBezTo>
                  <a:pt x="3517" y="658"/>
                  <a:pt x="3517" y="658"/>
                  <a:pt x="3517" y="659"/>
                </a:cubicBezTo>
                <a:cubicBezTo>
                  <a:pt x="3517" y="659"/>
                  <a:pt x="3517" y="660"/>
                  <a:pt x="3517" y="661"/>
                </a:cubicBezTo>
                <a:cubicBezTo>
                  <a:pt x="3516" y="662"/>
                  <a:pt x="3516" y="662"/>
                  <a:pt x="3515" y="662"/>
                </a:cubicBezTo>
                <a:close/>
                <a:moveTo>
                  <a:pt x="3162" y="548"/>
                </a:moveTo>
                <a:cubicBezTo>
                  <a:pt x="3161" y="548"/>
                  <a:pt x="3161" y="547"/>
                  <a:pt x="3160" y="546"/>
                </a:cubicBezTo>
                <a:cubicBezTo>
                  <a:pt x="3159" y="545"/>
                  <a:pt x="3158" y="544"/>
                  <a:pt x="3158" y="544"/>
                </a:cubicBezTo>
                <a:lnTo>
                  <a:pt x="3160" y="544"/>
                </a:lnTo>
                <a:cubicBezTo>
                  <a:pt x="3162" y="544"/>
                  <a:pt x="3162" y="544"/>
                  <a:pt x="3163" y="543"/>
                </a:cubicBezTo>
                <a:cubicBezTo>
                  <a:pt x="3163" y="542"/>
                  <a:pt x="3163" y="541"/>
                  <a:pt x="3164" y="541"/>
                </a:cubicBezTo>
                <a:cubicBezTo>
                  <a:pt x="3164" y="541"/>
                  <a:pt x="3164" y="542"/>
                  <a:pt x="3164" y="544"/>
                </a:cubicBezTo>
                <a:lnTo>
                  <a:pt x="3164" y="544"/>
                </a:lnTo>
                <a:cubicBezTo>
                  <a:pt x="3164" y="546"/>
                  <a:pt x="3164" y="548"/>
                  <a:pt x="3162" y="548"/>
                </a:cubicBezTo>
                <a:close/>
                <a:moveTo>
                  <a:pt x="3160" y="535"/>
                </a:moveTo>
                <a:lnTo>
                  <a:pt x="3159" y="535"/>
                </a:lnTo>
                <a:cubicBezTo>
                  <a:pt x="3159" y="535"/>
                  <a:pt x="3159" y="534"/>
                  <a:pt x="3159" y="534"/>
                </a:cubicBezTo>
                <a:cubicBezTo>
                  <a:pt x="3159" y="532"/>
                  <a:pt x="3159" y="531"/>
                  <a:pt x="3160" y="530"/>
                </a:cubicBezTo>
                <a:cubicBezTo>
                  <a:pt x="3161" y="529"/>
                  <a:pt x="3162" y="527"/>
                  <a:pt x="3162" y="526"/>
                </a:cubicBezTo>
                <a:lnTo>
                  <a:pt x="3161" y="522"/>
                </a:lnTo>
                <a:cubicBezTo>
                  <a:pt x="3161" y="522"/>
                  <a:pt x="3161" y="521"/>
                  <a:pt x="3161" y="521"/>
                </a:cubicBezTo>
                <a:cubicBezTo>
                  <a:pt x="3162" y="521"/>
                  <a:pt x="3162" y="522"/>
                  <a:pt x="3162" y="522"/>
                </a:cubicBezTo>
                <a:cubicBezTo>
                  <a:pt x="3163" y="522"/>
                  <a:pt x="3164" y="523"/>
                  <a:pt x="3164" y="524"/>
                </a:cubicBezTo>
                <a:cubicBezTo>
                  <a:pt x="3164" y="524"/>
                  <a:pt x="3165" y="525"/>
                  <a:pt x="3165" y="527"/>
                </a:cubicBezTo>
                <a:cubicBezTo>
                  <a:pt x="3165" y="528"/>
                  <a:pt x="3165" y="529"/>
                  <a:pt x="3166" y="529"/>
                </a:cubicBezTo>
                <a:lnTo>
                  <a:pt x="3167" y="530"/>
                </a:lnTo>
                <a:lnTo>
                  <a:pt x="3165" y="530"/>
                </a:lnTo>
                <a:cubicBezTo>
                  <a:pt x="3163" y="530"/>
                  <a:pt x="3162" y="531"/>
                  <a:pt x="3162" y="533"/>
                </a:cubicBezTo>
                <a:cubicBezTo>
                  <a:pt x="3162" y="534"/>
                  <a:pt x="3161" y="535"/>
                  <a:pt x="3160" y="535"/>
                </a:cubicBezTo>
                <a:close/>
                <a:moveTo>
                  <a:pt x="3330" y="255"/>
                </a:moveTo>
                <a:cubicBezTo>
                  <a:pt x="3329" y="255"/>
                  <a:pt x="3328" y="254"/>
                  <a:pt x="3328" y="253"/>
                </a:cubicBezTo>
                <a:cubicBezTo>
                  <a:pt x="3328" y="253"/>
                  <a:pt x="3329" y="252"/>
                  <a:pt x="3330" y="251"/>
                </a:cubicBezTo>
                <a:cubicBezTo>
                  <a:pt x="3330" y="250"/>
                  <a:pt x="3331" y="249"/>
                  <a:pt x="3332" y="248"/>
                </a:cubicBezTo>
                <a:cubicBezTo>
                  <a:pt x="3333" y="248"/>
                  <a:pt x="3333" y="247"/>
                  <a:pt x="3334" y="247"/>
                </a:cubicBezTo>
                <a:cubicBezTo>
                  <a:pt x="3335" y="248"/>
                  <a:pt x="3336" y="248"/>
                  <a:pt x="3336" y="249"/>
                </a:cubicBezTo>
                <a:cubicBezTo>
                  <a:pt x="3336" y="250"/>
                  <a:pt x="3335" y="251"/>
                  <a:pt x="3333" y="253"/>
                </a:cubicBezTo>
                <a:cubicBezTo>
                  <a:pt x="3332" y="254"/>
                  <a:pt x="3331" y="255"/>
                  <a:pt x="3330" y="255"/>
                </a:cubicBezTo>
                <a:close/>
                <a:moveTo>
                  <a:pt x="3649" y="541"/>
                </a:moveTo>
                <a:cubicBezTo>
                  <a:pt x="3649" y="541"/>
                  <a:pt x="3649" y="541"/>
                  <a:pt x="3649" y="540"/>
                </a:cubicBezTo>
                <a:cubicBezTo>
                  <a:pt x="3649" y="540"/>
                  <a:pt x="3649" y="539"/>
                  <a:pt x="3650" y="538"/>
                </a:cubicBezTo>
                <a:cubicBezTo>
                  <a:pt x="3651" y="537"/>
                  <a:pt x="3652" y="536"/>
                  <a:pt x="3654" y="535"/>
                </a:cubicBezTo>
                <a:lnTo>
                  <a:pt x="3655" y="534"/>
                </a:lnTo>
                <a:lnTo>
                  <a:pt x="3655" y="534"/>
                </a:lnTo>
                <a:lnTo>
                  <a:pt x="3654" y="537"/>
                </a:lnTo>
                <a:cubicBezTo>
                  <a:pt x="3651" y="540"/>
                  <a:pt x="3650" y="541"/>
                  <a:pt x="3649" y="541"/>
                </a:cubicBezTo>
                <a:close/>
                <a:moveTo>
                  <a:pt x="3342" y="400"/>
                </a:moveTo>
                <a:close/>
                <a:moveTo>
                  <a:pt x="3343" y="401"/>
                </a:moveTo>
                <a:cubicBezTo>
                  <a:pt x="3343" y="401"/>
                  <a:pt x="3342" y="401"/>
                  <a:pt x="3342" y="400"/>
                </a:cubicBezTo>
                <a:cubicBezTo>
                  <a:pt x="3342" y="400"/>
                  <a:pt x="3343" y="399"/>
                  <a:pt x="3344" y="398"/>
                </a:cubicBezTo>
                <a:cubicBezTo>
                  <a:pt x="3345" y="397"/>
                  <a:pt x="3346" y="396"/>
                  <a:pt x="3347" y="395"/>
                </a:cubicBezTo>
                <a:cubicBezTo>
                  <a:pt x="3348" y="394"/>
                  <a:pt x="3349" y="394"/>
                  <a:pt x="3349" y="394"/>
                </a:cubicBezTo>
                <a:lnTo>
                  <a:pt x="3349" y="394"/>
                </a:lnTo>
                <a:lnTo>
                  <a:pt x="3347" y="397"/>
                </a:lnTo>
                <a:cubicBezTo>
                  <a:pt x="3345" y="399"/>
                  <a:pt x="3344" y="401"/>
                  <a:pt x="3343" y="401"/>
                </a:cubicBezTo>
                <a:close/>
                <a:moveTo>
                  <a:pt x="3634" y="552"/>
                </a:moveTo>
                <a:cubicBezTo>
                  <a:pt x="3634" y="551"/>
                  <a:pt x="3635" y="551"/>
                  <a:pt x="3635" y="550"/>
                </a:cubicBezTo>
                <a:cubicBezTo>
                  <a:pt x="3637" y="549"/>
                  <a:pt x="3638" y="548"/>
                  <a:pt x="3638" y="548"/>
                </a:cubicBezTo>
                <a:lnTo>
                  <a:pt x="3639" y="548"/>
                </a:lnTo>
                <a:lnTo>
                  <a:pt x="3639" y="549"/>
                </a:lnTo>
                <a:cubicBezTo>
                  <a:pt x="3639" y="549"/>
                  <a:pt x="3638" y="550"/>
                  <a:pt x="3637" y="551"/>
                </a:cubicBezTo>
                <a:cubicBezTo>
                  <a:pt x="3635" y="551"/>
                  <a:pt x="3634" y="552"/>
                  <a:pt x="3634" y="552"/>
                </a:cubicBezTo>
                <a:close/>
                <a:moveTo>
                  <a:pt x="3574" y="605"/>
                </a:moveTo>
                <a:cubicBezTo>
                  <a:pt x="3573" y="605"/>
                  <a:pt x="3573" y="604"/>
                  <a:pt x="3573" y="603"/>
                </a:cubicBezTo>
                <a:cubicBezTo>
                  <a:pt x="3573" y="601"/>
                  <a:pt x="3573" y="601"/>
                  <a:pt x="3575" y="601"/>
                </a:cubicBezTo>
                <a:cubicBezTo>
                  <a:pt x="3576" y="601"/>
                  <a:pt x="3576" y="601"/>
                  <a:pt x="3576" y="602"/>
                </a:cubicBezTo>
                <a:cubicBezTo>
                  <a:pt x="3576" y="602"/>
                  <a:pt x="3576" y="603"/>
                  <a:pt x="3576" y="604"/>
                </a:cubicBezTo>
                <a:cubicBezTo>
                  <a:pt x="3575" y="605"/>
                  <a:pt x="3574" y="605"/>
                  <a:pt x="3574" y="605"/>
                </a:cubicBezTo>
                <a:close/>
                <a:moveTo>
                  <a:pt x="3522" y="658"/>
                </a:moveTo>
                <a:cubicBezTo>
                  <a:pt x="3522" y="658"/>
                  <a:pt x="3521" y="657"/>
                  <a:pt x="3521" y="656"/>
                </a:cubicBezTo>
                <a:cubicBezTo>
                  <a:pt x="3520" y="656"/>
                  <a:pt x="3519" y="656"/>
                  <a:pt x="3519" y="655"/>
                </a:cubicBezTo>
                <a:cubicBezTo>
                  <a:pt x="3519" y="654"/>
                  <a:pt x="3520" y="654"/>
                  <a:pt x="3522" y="654"/>
                </a:cubicBezTo>
                <a:cubicBezTo>
                  <a:pt x="3523" y="654"/>
                  <a:pt x="3524" y="654"/>
                  <a:pt x="3524" y="655"/>
                </a:cubicBezTo>
                <a:lnTo>
                  <a:pt x="3524" y="656"/>
                </a:lnTo>
                <a:cubicBezTo>
                  <a:pt x="3524" y="656"/>
                  <a:pt x="3523" y="656"/>
                  <a:pt x="3523" y="657"/>
                </a:cubicBezTo>
                <a:cubicBezTo>
                  <a:pt x="3523" y="657"/>
                  <a:pt x="3522" y="658"/>
                  <a:pt x="3522" y="658"/>
                </a:cubicBezTo>
                <a:close/>
                <a:moveTo>
                  <a:pt x="3549" y="623"/>
                </a:moveTo>
                <a:cubicBezTo>
                  <a:pt x="3549" y="622"/>
                  <a:pt x="3550" y="621"/>
                  <a:pt x="3553" y="619"/>
                </a:cubicBezTo>
                <a:cubicBezTo>
                  <a:pt x="3555" y="616"/>
                  <a:pt x="3557" y="614"/>
                  <a:pt x="3558" y="614"/>
                </a:cubicBezTo>
                <a:lnTo>
                  <a:pt x="3559" y="615"/>
                </a:lnTo>
                <a:cubicBezTo>
                  <a:pt x="3559" y="616"/>
                  <a:pt x="3557" y="618"/>
                  <a:pt x="3554" y="620"/>
                </a:cubicBezTo>
                <a:cubicBezTo>
                  <a:pt x="3551" y="622"/>
                  <a:pt x="3549" y="623"/>
                  <a:pt x="3549" y="623"/>
                </a:cubicBezTo>
                <a:close/>
                <a:moveTo>
                  <a:pt x="3581" y="598"/>
                </a:moveTo>
                <a:cubicBezTo>
                  <a:pt x="3581" y="598"/>
                  <a:pt x="3580" y="598"/>
                  <a:pt x="3580" y="598"/>
                </a:cubicBezTo>
                <a:cubicBezTo>
                  <a:pt x="3580" y="597"/>
                  <a:pt x="3582" y="595"/>
                  <a:pt x="3586" y="592"/>
                </a:cubicBezTo>
                <a:cubicBezTo>
                  <a:pt x="3590" y="588"/>
                  <a:pt x="3593" y="586"/>
                  <a:pt x="3595" y="586"/>
                </a:cubicBezTo>
                <a:lnTo>
                  <a:pt x="3595" y="586"/>
                </a:lnTo>
                <a:cubicBezTo>
                  <a:pt x="3596" y="586"/>
                  <a:pt x="3597" y="586"/>
                  <a:pt x="3597" y="585"/>
                </a:cubicBezTo>
                <a:lnTo>
                  <a:pt x="3598" y="583"/>
                </a:lnTo>
                <a:lnTo>
                  <a:pt x="3598" y="585"/>
                </a:lnTo>
                <a:cubicBezTo>
                  <a:pt x="3597" y="587"/>
                  <a:pt x="3596" y="588"/>
                  <a:pt x="3595" y="588"/>
                </a:cubicBezTo>
                <a:lnTo>
                  <a:pt x="3595" y="588"/>
                </a:lnTo>
                <a:cubicBezTo>
                  <a:pt x="3593" y="588"/>
                  <a:pt x="3591" y="589"/>
                  <a:pt x="3588" y="593"/>
                </a:cubicBezTo>
                <a:cubicBezTo>
                  <a:pt x="3585" y="596"/>
                  <a:pt x="3582" y="598"/>
                  <a:pt x="3581" y="598"/>
                </a:cubicBezTo>
                <a:close/>
                <a:moveTo>
                  <a:pt x="3182" y="568"/>
                </a:moveTo>
                <a:cubicBezTo>
                  <a:pt x="3182" y="568"/>
                  <a:pt x="3182" y="568"/>
                  <a:pt x="3182" y="566"/>
                </a:cubicBezTo>
                <a:cubicBezTo>
                  <a:pt x="3182" y="565"/>
                  <a:pt x="3182" y="563"/>
                  <a:pt x="3184" y="563"/>
                </a:cubicBezTo>
                <a:lnTo>
                  <a:pt x="3185" y="562"/>
                </a:lnTo>
                <a:cubicBezTo>
                  <a:pt x="3185" y="562"/>
                  <a:pt x="3185" y="563"/>
                  <a:pt x="3185" y="563"/>
                </a:cubicBezTo>
                <a:lnTo>
                  <a:pt x="3185" y="565"/>
                </a:lnTo>
                <a:cubicBezTo>
                  <a:pt x="3184" y="567"/>
                  <a:pt x="3183" y="568"/>
                  <a:pt x="3182" y="568"/>
                </a:cubicBezTo>
                <a:close/>
                <a:moveTo>
                  <a:pt x="3181" y="577"/>
                </a:moveTo>
                <a:cubicBezTo>
                  <a:pt x="3180" y="577"/>
                  <a:pt x="3179" y="577"/>
                  <a:pt x="3179" y="575"/>
                </a:cubicBezTo>
                <a:cubicBezTo>
                  <a:pt x="3179" y="575"/>
                  <a:pt x="3180" y="574"/>
                  <a:pt x="3181" y="573"/>
                </a:cubicBezTo>
                <a:cubicBezTo>
                  <a:pt x="3181" y="572"/>
                  <a:pt x="3182" y="571"/>
                  <a:pt x="3182" y="571"/>
                </a:cubicBezTo>
                <a:cubicBezTo>
                  <a:pt x="3183" y="571"/>
                  <a:pt x="3183" y="572"/>
                  <a:pt x="3183" y="572"/>
                </a:cubicBezTo>
                <a:lnTo>
                  <a:pt x="3183" y="574"/>
                </a:lnTo>
                <a:cubicBezTo>
                  <a:pt x="3182" y="576"/>
                  <a:pt x="3181" y="577"/>
                  <a:pt x="3181" y="577"/>
                </a:cubicBezTo>
                <a:close/>
                <a:moveTo>
                  <a:pt x="3281" y="511"/>
                </a:moveTo>
                <a:cubicBezTo>
                  <a:pt x="3280" y="511"/>
                  <a:pt x="3279" y="510"/>
                  <a:pt x="3279" y="509"/>
                </a:cubicBezTo>
                <a:cubicBezTo>
                  <a:pt x="3279" y="507"/>
                  <a:pt x="3280" y="507"/>
                  <a:pt x="3282" y="507"/>
                </a:cubicBezTo>
                <a:cubicBezTo>
                  <a:pt x="3283" y="507"/>
                  <a:pt x="3283" y="507"/>
                  <a:pt x="3283" y="508"/>
                </a:cubicBezTo>
                <a:lnTo>
                  <a:pt x="3283" y="509"/>
                </a:lnTo>
                <a:cubicBezTo>
                  <a:pt x="3282" y="510"/>
                  <a:pt x="3281" y="511"/>
                  <a:pt x="3281" y="511"/>
                </a:cubicBezTo>
                <a:close/>
                <a:moveTo>
                  <a:pt x="3178" y="690"/>
                </a:moveTo>
                <a:cubicBezTo>
                  <a:pt x="3178" y="689"/>
                  <a:pt x="3177" y="688"/>
                  <a:pt x="3177" y="686"/>
                </a:cubicBezTo>
                <a:cubicBezTo>
                  <a:pt x="3177" y="685"/>
                  <a:pt x="3178" y="684"/>
                  <a:pt x="3178" y="684"/>
                </a:cubicBezTo>
                <a:cubicBezTo>
                  <a:pt x="3179" y="684"/>
                  <a:pt x="3179" y="685"/>
                  <a:pt x="3179" y="687"/>
                </a:cubicBezTo>
                <a:cubicBezTo>
                  <a:pt x="3179" y="688"/>
                  <a:pt x="3179" y="689"/>
                  <a:pt x="3179" y="689"/>
                </a:cubicBezTo>
                <a:lnTo>
                  <a:pt x="3178" y="690"/>
                </a:lnTo>
                <a:close/>
                <a:moveTo>
                  <a:pt x="3176" y="598"/>
                </a:moveTo>
                <a:cubicBezTo>
                  <a:pt x="3176" y="598"/>
                  <a:pt x="3175" y="597"/>
                  <a:pt x="3175" y="595"/>
                </a:cubicBezTo>
                <a:cubicBezTo>
                  <a:pt x="3175" y="593"/>
                  <a:pt x="3176" y="592"/>
                  <a:pt x="3177" y="592"/>
                </a:cubicBezTo>
                <a:cubicBezTo>
                  <a:pt x="3178" y="592"/>
                  <a:pt x="3179" y="592"/>
                  <a:pt x="3179" y="593"/>
                </a:cubicBezTo>
                <a:lnTo>
                  <a:pt x="3178" y="595"/>
                </a:lnTo>
                <a:cubicBezTo>
                  <a:pt x="3177" y="597"/>
                  <a:pt x="3177" y="598"/>
                  <a:pt x="3176" y="598"/>
                </a:cubicBezTo>
                <a:close/>
                <a:moveTo>
                  <a:pt x="3179" y="589"/>
                </a:moveTo>
                <a:cubicBezTo>
                  <a:pt x="3178" y="589"/>
                  <a:pt x="3177" y="588"/>
                  <a:pt x="3177" y="585"/>
                </a:cubicBezTo>
                <a:cubicBezTo>
                  <a:pt x="3177" y="584"/>
                  <a:pt x="3178" y="582"/>
                  <a:pt x="3179" y="581"/>
                </a:cubicBezTo>
                <a:lnTo>
                  <a:pt x="3180" y="581"/>
                </a:lnTo>
                <a:cubicBezTo>
                  <a:pt x="3180" y="581"/>
                  <a:pt x="3181" y="581"/>
                  <a:pt x="3181" y="583"/>
                </a:cubicBezTo>
                <a:lnTo>
                  <a:pt x="3181" y="584"/>
                </a:lnTo>
                <a:cubicBezTo>
                  <a:pt x="3179" y="588"/>
                  <a:pt x="3179" y="589"/>
                  <a:pt x="3179" y="589"/>
                </a:cubicBezTo>
                <a:close/>
                <a:moveTo>
                  <a:pt x="3172" y="649"/>
                </a:moveTo>
                <a:cubicBezTo>
                  <a:pt x="3170" y="648"/>
                  <a:pt x="3169" y="648"/>
                  <a:pt x="3169" y="648"/>
                </a:cubicBezTo>
                <a:lnTo>
                  <a:pt x="3173" y="647"/>
                </a:lnTo>
                <a:cubicBezTo>
                  <a:pt x="3174" y="647"/>
                  <a:pt x="3174" y="647"/>
                  <a:pt x="3174" y="647"/>
                </a:cubicBezTo>
                <a:cubicBezTo>
                  <a:pt x="3175" y="647"/>
                  <a:pt x="3175" y="647"/>
                  <a:pt x="3175" y="648"/>
                </a:cubicBezTo>
                <a:cubicBezTo>
                  <a:pt x="3175" y="648"/>
                  <a:pt x="3174" y="649"/>
                  <a:pt x="3172" y="649"/>
                </a:cubicBezTo>
                <a:close/>
                <a:moveTo>
                  <a:pt x="3173" y="630"/>
                </a:moveTo>
                <a:lnTo>
                  <a:pt x="3173" y="630"/>
                </a:lnTo>
                <a:cubicBezTo>
                  <a:pt x="3172" y="629"/>
                  <a:pt x="3172" y="627"/>
                  <a:pt x="3172" y="625"/>
                </a:cubicBezTo>
                <a:cubicBezTo>
                  <a:pt x="3172" y="623"/>
                  <a:pt x="3172" y="621"/>
                  <a:pt x="3172" y="619"/>
                </a:cubicBezTo>
                <a:cubicBezTo>
                  <a:pt x="3172" y="616"/>
                  <a:pt x="3172" y="614"/>
                  <a:pt x="3172" y="614"/>
                </a:cubicBezTo>
                <a:cubicBezTo>
                  <a:pt x="3174" y="614"/>
                  <a:pt x="3174" y="617"/>
                  <a:pt x="3174" y="622"/>
                </a:cubicBezTo>
                <a:cubicBezTo>
                  <a:pt x="3174" y="627"/>
                  <a:pt x="3174" y="630"/>
                  <a:pt x="3173" y="630"/>
                </a:cubicBezTo>
                <a:close/>
                <a:moveTo>
                  <a:pt x="3174" y="612"/>
                </a:moveTo>
                <a:cubicBezTo>
                  <a:pt x="3174" y="612"/>
                  <a:pt x="3173" y="611"/>
                  <a:pt x="3173" y="609"/>
                </a:cubicBezTo>
                <a:cubicBezTo>
                  <a:pt x="3173" y="608"/>
                  <a:pt x="3173" y="607"/>
                  <a:pt x="3174" y="607"/>
                </a:cubicBezTo>
                <a:cubicBezTo>
                  <a:pt x="3174" y="606"/>
                  <a:pt x="3174" y="606"/>
                  <a:pt x="3175" y="605"/>
                </a:cubicBezTo>
                <a:cubicBezTo>
                  <a:pt x="3176" y="605"/>
                  <a:pt x="3176" y="606"/>
                  <a:pt x="3176" y="607"/>
                </a:cubicBezTo>
                <a:cubicBezTo>
                  <a:pt x="3176" y="607"/>
                  <a:pt x="3176" y="608"/>
                  <a:pt x="3176" y="609"/>
                </a:cubicBezTo>
                <a:cubicBezTo>
                  <a:pt x="3176" y="610"/>
                  <a:pt x="3175" y="610"/>
                  <a:pt x="3175" y="611"/>
                </a:cubicBezTo>
                <a:cubicBezTo>
                  <a:pt x="3174" y="612"/>
                  <a:pt x="3174" y="612"/>
                  <a:pt x="3174" y="612"/>
                </a:cubicBezTo>
                <a:close/>
                <a:moveTo>
                  <a:pt x="3989" y="589"/>
                </a:moveTo>
                <a:cubicBezTo>
                  <a:pt x="3989" y="589"/>
                  <a:pt x="3988" y="589"/>
                  <a:pt x="3988" y="588"/>
                </a:cubicBezTo>
                <a:cubicBezTo>
                  <a:pt x="3988" y="587"/>
                  <a:pt x="3987" y="586"/>
                  <a:pt x="3987" y="585"/>
                </a:cubicBezTo>
                <a:cubicBezTo>
                  <a:pt x="3986" y="585"/>
                  <a:pt x="3986" y="584"/>
                  <a:pt x="3986" y="583"/>
                </a:cubicBezTo>
                <a:lnTo>
                  <a:pt x="3987" y="583"/>
                </a:lnTo>
                <a:lnTo>
                  <a:pt x="3988" y="585"/>
                </a:lnTo>
                <a:cubicBezTo>
                  <a:pt x="3989" y="586"/>
                  <a:pt x="3990" y="587"/>
                  <a:pt x="3990" y="588"/>
                </a:cubicBezTo>
                <a:lnTo>
                  <a:pt x="3989" y="589"/>
                </a:lnTo>
                <a:close/>
                <a:moveTo>
                  <a:pt x="3676" y="595"/>
                </a:moveTo>
                <a:cubicBezTo>
                  <a:pt x="3675" y="595"/>
                  <a:pt x="3674" y="595"/>
                  <a:pt x="3674" y="594"/>
                </a:cubicBezTo>
                <a:cubicBezTo>
                  <a:pt x="3673" y="593"/>
                  <a:pt x="3672" y="592"/>
                  <a:pt x="3672" y="591"/>
                </a:cubicBezTo>
                <a:cubicBezTo>
                  <a:pt x="3672" y="589"/>
                  <a:pt x="3673" y="587"/>
                  <a:pt x="3675" y="584"/>
                </a:cubicBezTo>
                <a:cubicBezTo>
                  <a:pt x="3676" y="582"/>
                  <a:pt x="3677" y="580"/>
                  <a:pt x="3677" y="580"/>
                </a:cubicBezTo>
                <a:lnTo>
                  <a:pt x="3678" y="586"/>
                </a:lnTo>
                <a:lnTo>
                  <a:pt x="3678" y="588"/>
                </a:lnTo>
                <a:cubicBezTo>
                  <a:pt x="3678" y="593"/>
                  <a:pt x="3678" y="595"/>
                  <a:pt x="3676" y="595"/>
                </a:cubicBezTo>
                <a:close/>
                <a:moveTo>
                  <a:pt x="3692" y="565"/>
                </a:moveTo>
                <a:cubicBezTo>
                  <a:pt x="3691" y="565"/>
                  <a:pt x="3691" y="564"/>
                  <a:pt x="3690" y="563"/>
                </a:cubicBezTo>
                <a:cubicBezTo>
                  <a:pt x="3690" y="563"/>
                  <a:pt x="3689" y="563"/>
                  <a:pt x="3689" y="562"/>
                </a:cubicBezTo>
                <a:lnTo>
                  <a:pt x="3688" y="561"/>
                </a:lnTo>
                <a:cubicBezTo>
                  <a:pt x="3688" y="560"/>
                  <a:pt x="3689" y="560"/>
                  <a:pt x="3690" y="560"/>
                </a:cubicBezTo>
                <a:cubicBezTo>
                  <a:pt x="3692" y="560"/>
                  <a:pt x="3692" y="561"/>
                  <a:pt x="3692" y="562"/>
                </a:cubicBezTo>
                <a:cubicBezTo>
                  <a:pt x="3692" y="564"/>
                  <a:pt x="3692" y="565"/>
                  <a:pt x="3692" y="565"/>
                </a:cubicBezTo>
                <a:close/>
                <a:moveTo>
                  <a:pt x="3697" y="747"/>
                </a:moveTo>
                <a:cubicBezTo>
                  <a:pt x="3693" y="747"/>
                  <a:pt x="3688" y="747"/>
                  <a:pt x="3684" y="746"/>
                </a:cubicBezTo>
                <a:cubicBezTo>
                  <a:pt x="3672" y="743"/>
                  <a:pt x="3664" y="738"/>
                  <a:pt x="3660" y="732"/>
                </a:cubicBezTo>
                <a:cubicBezTo>
                  <a:pt x="3658" y="729"/>
                  <a:pt x="3656" y="728"/>
                  <a:pt x="3654" y="728"/>
                </a:cubicBezTo>
                <a:cubicBezTo>
                  <a:pt x="3652" y="728"/>
                  <a:pt x="3650" y="726"/>
                  <a:pt x="3647" y="722"/>
                </a:cubicBezTo>
                <a:cubicBezTo>
                  <a:pt x="3644" y="718"/>
                  <a:pt x="3641" y="714"/>
                  <a:pt x="3638" y="710"/>
                </a:cubicBezTo>
                <a:cubicBezTo>
                  <a:pt x="3636" y="705"/>
                  <a:pt x="3635" y="702"/>
                  <a:pt x="3635" y="699"/>
                </a:cubicBezTo>
                <a:lnTo>
                  <a:pt x="3635" y="696"/>
                </a:lnTo>
                <a:cubicBezTo>
                  <a:pt x="3635" y="696"/>
                  <a:pt x="3635" y="695"/>
                  <a:pt x="3634" y="695"/>
                </a:cubicBezTo>
                <a:cubicBezTo>
                  <a:pt x="3633" y="695"/>
                  <a:pt x="3632" y="689"/>
                  <a:pt x="3632" y="678"/>
                </a:cubicBezTo>
                <a:cubicBezTo>
                  <a:pt x="3632" y="667"/>
                  <a:pt x="3633" y="654"/>
                  <a:pt x="3634" y="638"/>
                </a:cubicBezTo>
                <a:cubicBezTo>
                  <a:pt x="3635" y="623"/>
                  <a:pt x="3637" y="612"/>
                  <a:pt x="3639" y="604"/>
                </a:cubicBezTo>
                <a:cubicBezTo>
                  <a:pt x="3641" y="599"/>
                  <a:pt x="3641" y="595"/>
                  <a:pt x="3641" y="592"/>
                </a:cubicBezTo>
                <a:lnTo>
                  <a:pt x="3641" y="589"/>
                </a:lnTo>
                <a:cubicBezTo>
                  <a:pt x="3641" y="588"/>
                  <a:pt x="3642" y="586"/>
                  <a:pt x="3643" y="585"/>
                </a:cubicBezTo>
                <a:cubicBezTo>
                  <a:pt x="3644" y="583"/>
                  <a:pt x="3645" y="581"/>
                  <a:pt x="3645" y="579"/>
                </a:cubicBezTo>
                <a:lnTo>
                  <a:pt x="3645" y="577"/>
                </a:lnTo>
                <a:cubicBezTo>
                  <a:pt x="3645" y="577"/>
                  <a:pt x="3645" y="576"/>
                  <a:pt x="3645" y="576"/>
                </a:cubicBezTo>
                <a:lnTo>
                  <a:pt x="3647" y="577"/>
                </a:lnTo>
                <a:cubicBezTo>
                  <a:pt x="3648" y="577"/>
                  <a:pt x="3648" y="577"/>
                  <a:pt x="3648" y="576"/>
                </a:cubicBezTo>
                <a:lnTo>
                  <a:pt x="3648" y="574"/>
                </a:lnTo>
                <a:cubicBezTo>
                  <a:pt x="3648" y="572"/>
                  <a:pt x="3650" y="566"/>
                  <a:pt x="3654" y="557"/>
                </a:cubicBezTo>
                <a:cubicBezTo>
                  <a:pt x="3658" y="549"/>
                  <a:pt x="3663" y="541"/>
                  <a:pt x="3669" y="533"/>
                </a:cubicBezTo>
                <a:cubicBezTo>
                  <a:pt x="3678" y="521"/>
                  <a:pt x="3685" y="515"/>
                  <a:pt x="3691" y="515"/>
                </a:cubicBezTo>
                <a:cubicBezTo>
                  <a:pt x="3692" y="515"/>
                  <a:pt x="3694" y="516"/>
                  <a:pt x="3695" y="516"/>
                </a:cubicBezTo>
                <a:cubicBezTo>
                  <a:pt x="3698" y="517"/>
                  <a:pt x="3702" y="518"/>
                  <a:pt x="3706" y="519"/>
                </a:cubicBezTo>
                <a:cubicBezTo>
                  <a:pt x="3710" y="520"/>
                  <a:pt x="3712" y="522"/>
                  <a:pt x="3712" y="523"/>
                </a:cubicBezTo>
                <a:lnTo>
                  <a:pt x="3710" y="529"/>
                </a:lnTo>
                <a:cubicBezTo>
                  <a:pt x="3710" y="531"/>
                  <a:pt x="3711" y="533"/>
                  <a:pt x="3713" y="533"/>
                </a:cubicBezTo>
                <a:cubicBezTo>
                  <a:pt x="3715" y="534"/>
                  <a:pt x="3716" y="535"/>
                  <a:pt x="3716" y="537"/>
                </a:cubicBezTo>
                <a:lnTo>
                  <a:pt x="3716" y="541"/>
                </a:lnTo>
                <a:cubicBezTo>
                  <a:pt x="3715" y="541"/>
                  <a:pt x="3715" y="540"/>
                  <a:pt x="3715" y="538"/>
                </a:cubicBezTo>
                <a:cubicBezTo>
                  <a:pt x="3714" y="536"/>
                  <a:pt x="3713" y="535"/>
                  <a:pt x="3712" y="535"/>
                </a:cubicBezTo>
                <a:cubicBezTo>
                  <a:pt x="3711" y="535"/>
                  <a:pt x="3710" y="537"/>
                  <a:pt x="3709" y="541"/>
                </a:cubicBezTo>
                <a:cubicBezTo>
                  <a:pt x="3708" y="546"/>
                  <a:pt x="3707" y="548"/>
                  <a:pt x="3706" y="548"/>
                </a:cubicBezTo>
                <a:lnTo>
                  <a:pt x="3704" y="547"/>
                </a:lnTo>
                <a:cubicBezTo>
                  <a:pt x="3704" y="547"/>
                  <a:pt x="3703" y="547"/>
                  <a:pt x="3703" y="548"/>
                </a:cubicBezTo>
                <a:cubicBezTo>
                  <a:pt x="3702" y="548"/>
                  <a:pt x="3702" y="549"/>
                  <a:pt x="3702" y="550"/>
                </a:cubicBezTo>
                <a:cubicBezTo>
                  <a:pt x="3702" y="550"/>
                  <a:pt x="3702" y="551"/>
                  <a:pt x="3702" y="551"/>
                </a:cubicBezTo>
                <a:lnTo>
                  <a:pt x="3704" y="550"/>
                </a:lnTo>
                <a:cubicBezTo>
                  <a:pt x="3705" y="550"/>
                  <a:pt x="3705" y="550"/>
                  <a:pt x="3705" y="551"/>
                </a:cubicBezTo>
                <a:cubicBezTo>
                  <a:pt x="3705" y="553"/>
                  <a:pt x="3704" y="555"/>
                  <a:pt x="3703" y="558"/>
                </a:cubicBezTo>
                <a:lnTo>
                  <a:pt x="3702" y="560"/>
                </a:lnTo>
                <a:lnTo>
                  <a:pt x="3703" y="554"/>
                </a:lnTo>
                <a:lnTo>
                  <a:pt x="3702" y="553"/>
                </a:lnTo>
                <a:cubicBezTo>
                  <a:pt x="3702" y="553"/>
                  <a:pt x="3701" y="554"/>
                  <a:pt x="3700" y="556"/>
                </a:cubicBezTo>
                <a:cubicBezTo>
                  <a:pt x="3698" y="558"/>
                  <a:pt x="3696" y="560"/>
                  <a:pt x="3695" y="560"/>
                </a:cubicBezTo>
                <a:cubicBezTo>
                  <a:pt x="3692" y="560"/>
                  <a:pt x="3690" y="556"/>
                  <a:pt x="3690" y="550"/>
                </a:cubicBezTo>
                <a:lnTo>
                  <a:pt x="3690" y="544"/>
                </a:lnTo>
                <a:cubicBezTo>
                  <a:pt x="3690" y="542"/>
                  <a:pt x="3689" y="541"/>
                  <a:pt x="3688" y="541"/>
                </a:cubicBezTo>
                <a:cubicBezTo>
                  <a:pt x="3688" y="541"/>
                  <a:pt x="3688" y="541"/>
                  <a:pt x="3687" y="541"/>
                </a:cubicBezTo>
                <a:cubicBezTo>
                  <a:pt x="3687" y="542"/>
                  <a:pt x="3687" y="543"/>
                  <a:pt x="3687" y="544"/>
                </a:cubicBezTo>
                <a:lnTo>
                  <a:pt x="3687" y="548"/>
                </a:lnTo>
                <a:cubicBezTo>
                  <a:pt x="3687" y="549"/>
                  <a:pt x="3686" y="551"/>
                  <a:pt x="3685" y="553"/>
                </a:cubicBezTo>
                <a:cubicBezTo>
                  <a:pt x="3685" y="556"/>
                  <a:pt x="3684" y="557"/>
                  <a:pt x="3683" y="559"/>
                </a:cubicBezTo>
                <a:cubicBezTo>
                  <a:pt x="3682" y="560"/>
                  <a:pt x="3681" y="561"/>
                  <a:pt x="3680" y="561"/>
                </a:cubicBezTo>
                <a:cubicBezTo>
                  <a:pt x="3680" y="561"/>
                  <a:pt x="3679" y="561"/>
                  <a:pt x="3679" y="561"/>
                </a:cubicBezTo>
                <a:lnTo>
                  <a:pt x="3678" y="560"/>
                </a:lnTo>
                <a:lnTo>
                  <a:pt x="3678" y="562"/>
                </a:lnTo>
                <a:cubicBezTo>
                  <a:pt x="3678" y="564"/>
                  <a:pt x="3676" y="571"/>
                  <a:pt x="3671" y="583"/>
                </a:cubicBezTo>
                <a:cubicBezTo>
                  <a:pt x="3664" y="598"/>
                  <a:pt x="3661" y="607"/>
                  <a:pt x="3661" y="611"/>
                </a:cubicBezTo>
                <a:lnTo>
                  <a:pt x="3661" y="612"/>
                </a:lnTo>
                <a:cubicBezTo>
                  <a:pt x="3661" y="612"/>
                  <a:pt x="3661" y="611"/>
                  <a:pt x="3662" y="610"/>
                </a:cubicBezTo>
                <a:cubicBezTo>
                  <a:pt x="3662" y="610"/>
                  <a:pt x="3662" y="609"/>
                  <a:pt x="3663" y="609"/>
                </a:cubicBezTo>
                <a:lnTo>
                  <a:pt x="3665" y="610"/>
                </a:lnTo>
                <a:lnTo>
                  <a:pt x="3666" y="609"/>
                </a:lnTo>
                <a:cubicBezTo>
                  <a:pt x="3666" y="608"/>
                  <a:pt x="3665" y="608"/>
                  <a:pt x="3665" y="607"/>
                </a:cubicBezTo>
                <a:cubicBezTo>
                  <a:pt x="3665" y="606"/>
                  <a:pt x="3665" y="605"/>
                  <a:pt x="3665" y="604"/>
                </a:cubicBezTo>
                <a:cubicBezTo>
                  <a:pt x="3665" y="602"/>
                  <a:pt x="3665" y="600"/>
                  <a:pt x="3666" y="598"/>
                </a:cubicBezTo>
                <a:cubicBezTo>
                  <a:pt x="3667" y="597"/>
                  <a:pt x="3668" y="596"/>
                  <a:pt x="3670" y="596"/>
                </a:cubicBezTo>
                <a:cubicBezTo>
                  <a:pt x="3670" y="596"/>
                  <a:pt x="3671" y="596"/>
                  <a:pt x="3672" y="597"/>
                </a:cubicBezTo>
                <a:cubicBezTo>
                  <a:pt x="3673" y="597"/>
                  <a:pt x="3673" y="598"/>
                  <a:pt x="3674" y="599"/>
                </a:cubicBezTo>
                <a:cubicBezTo>
                  <a:pt x="3675" y="600"/>
                  <a:pt x="3675" y="601"/>
                  <a:pt x="3675" y="602"/>
                </a:cubicBezTo>
                <a:cubicBezTo>
                  <a:pt x="3675" y="603"/>
                  <a:pt x="3675" y="603"/>
                  <a:pt x="3675" y="603"/>
                </a:cubicBezTo>
                <a:cubicBezTo>
                  <a:pt x="3674" y="603"/>
                  <a:pt x="3673" y="602"/>
                  <a:pt x="3672" y="600"/>
                </a:cubicBezTo>
                <a:lnTo>
                  <a:pt x="3669" y="597"/>
                </a:lnTo>
                <a:lnTo>
                  <a:pt x="3669" y="597"/>
                </a:lnTo>
                <a:cubicBezTo>
                  <a:pt x="3669" y="598"/>
                  <a:pt x="3670" y="599"/>
                  <a:pt x="3670" y="602"/>
                </a:cubicBezTo>
                <a:cubicBezTo>
                  <a:pt x="3671" y="604"/>
                  <a:pt x="3672" y="605"/>
                  <a:pt x="3672" y="606"/>
                </a:cubicBezTo>
                <a:cubicBezTo>
                  <a:pt x="3672" y="607"/>
                  <a:pt x="3672" y="607"/>
                  <a:pt x="3671" y="607"/>
                </a:cubicBezTo>
                <a:lnTo>
                  <a:pt x="3669" y="606"/>
                </a:lnTo>
                <a:cubicBezTo>
                  <a:pt x="3669" y="606"/>
                  <a:pt x="3669" y="607"/>
                  <a:pt x="3669" y="607"/>
                </a:cubicBezTo>
                <a:lnTo>
                  <a:pt x="3670" y="614"/>
                </a:lnTo>
                <a:cubicBezTo>
                  <a:pt x="3670" y="614"/>
                  <a:pt x="3670" y="614"/>
                  <a:pt x="3670" y="614"/>
                </a:cubicBezTo>
                <a:lnTo>
                  <a:pt x="3667" y="613"/>
                </a:lnTo>
                <a:cubicBezTo>
                  <a:pt x="3667" y="613"/>
                  <a:pt x="3667" y="614"/>
                  <a:pt x="3667" y="614"/>
                </a:cubicBezTo>
                <a:cubicBezTo>
                  <a:pt x="3667" y="615"/>
                  <a:pt x="3667" y="616"/>
                  <a:pt x="3667" y="617"/>
                </a:cubicBezTo>
                <a:cubicBezTo>
                  <a:pt x="3667" y="618"/>
                  <a:pt x="3667" y="619"/>
                  <a:pt x="3667" y="620"/>
                </a:cubicBezTo>
                <a:cubicBezTo>
                  <a:pt x="3667" y="622"/>
                  <a:pt x="3667" y="623"/>
                  <a:pt x="3666" y="623"/>
                </a:cubicBezTo>
                <a:cubicBezTo>
                  <a:pt x="3665" y="624"/>
                  <a:pt x="3665" y="625"/>
                  <a:pt x="3665" y="625"/>
                </a:cubicBezTo>
                <a:lnTo>
                  <a:pt x="3666" y="628"/>
                </a:lnTo>
                <a:cubicBezTo>
                  <a:pt x="3666" y="628"/>
                  <a:pt x="3666" y="628"/>
                  <a:pt x="3666" y="628"/>
                </a:cubicBezTo>
                <a:lnTo>
                  <a:pt x="3663" y="627"/>
                </a:lnTo>
                <a:cubicBezTo>
                  <a:pt x="3662" y="627"/>
                  <a:pt x="3662" y="628"/>
                  <a:pt x="3662" y="629"/>
                </a:cubicBezTo>
                <a:lnTo>
                  <a:pt x="3662" y="634"/>
                </a:lnTo>
                <a:cubicBezTo>
                  <a:pt x="3662" y="636"/>
                  <a:pt x="3662" y="638"/>
                  <a:pt x="3661" y="639"/>
                </a:cubicBezTo>
                <a:cubicBezTo>
                  <a:pt x="3660" y="642"/>
                  <a:pt x="3659" y="648"/>
                  <a:pt x="3658" y="657"/>
                </a:cubicBezTo>
                <a:cubicBezTo>
                  <a:pt x="3657" y="666"/>
                  <a:pt x="3657" y="674"/>
                  <a:pt x="3657" y="683"/>
                </a:cubicBezTo>
                <a:cubicBezTo>
                  <a:pt x="3657" y="690"/>
                  <a:pt x="3657" y="696"/>
                  <a:pt x="3658" y="701"/>
                </a:cubicBezTo>
                <a:cubicBezTo>
                  <a:pt x="3660" y="711"/>
                  <a:pt x="3667" y="716"/>
                  <a:pt x="3679" y="716"/>
                </a:cubicBezTo>
                <a:cubicBezTo>
                  <a:pt x="3708" y="716"/>
                  <a:pt x="3768" y="689"/>
                  <a:pt x="3859" y="637"/>
                </a:cubicBezTo>
                <a:lnTo>
                  <a:pt x="3959" y="578"/>
                </a:lnTo>
                <a:cubicBezTo>
                  <a:pt x="3984" y="563"/>
                  <a:pt x="3998" y="555"/>
                  <a:pt x="4001" y="555"/>
                </a:cubicBezTo>
                <a:lnTo>
                  <a:pt x="4002" y="555"/>
                </a:lnTo>
                <a:cubicBezTo>
                  <a:pt x="4003" y="555"/>
                  <a:pt x="4003" y="555"/>
                  <a:pt x="4003" y="554"/>
                </a:cubicBezTo>
                <a:cubicBezTo>
                  <a:pt x="4003" y="553"/>
                  <a:pt x="4003" y="552"/>
                  <a:pt x="4004" y="551"/>
                </a:cubicBezTo>
                <a:cubicBezTo>
                  <a:pt x="4005" y="551"/>
                  <a:pt x="4005" y="551"/>
                  <a:pt x="4006" y="551"/>
                </a:cubicBezTo>
                <a:cubicBezTo>
                  <a:pt x="4008" y="551"/>
                  <a:pt x="4009" y="550"/>
                  <a:pt x="4009" y="549"/>
                </a:cubicBezTo>
                <a:cubicBezTo>
                  <a:pt x="4009" y="548"/>
                  <a:pt x="4010" y="547"/>
                  <a:pt x="4010" y="547"/>
                </a:cubicBezTo>
                <a:lnTo>
                  <a:pt x="4013" y="548"/>
                </a:lnTo>
                <a:cubicBezTo>
                  <a:pt x="4013" y="548"/>
                  <a:pt x="4014" y="547"/>
                  <a:pt x="4014" y="546"/>
                </a:cubicBezTo>
                <a:cubicBezTo>
                  <a:pt x="4014" y="545"/>
                  <a:pt x="4015" y="545"/>
                  <a:pt x="4017" y="545"/>
                </a:cubicBezTo>
                <a:lnTo>
                  <a:pt x="4018" y="545"/>
                </a:lnTo>
                <a:cubicBezTo>
                  <a:pt x="4020" y="545"/>
                  <a:pt x="4023" y="543"/>
                  <a:pt x="4026" y="540"/>
                </a:cubicBezTo>
                <a:lnTo>
                  <a:pt x="4027" y="539"/>
                </a:lnTo>
                <a:cubicBezTo>
                  <a:pt x="4029" y="539"/>
                  <a:pt x="4030" y="540"/>
                  <a:pt x="4032" y="542"/>
                </a:cubicBezTo>
                <a:cubicBezTo>
                  <a:pt x="4034" y="544"/>
                  <a:pt x="4036" y="546"/>
                  <a:pt x="4038" y="548"/>
                </a:cubicBezTo>
                <a:cubicBezTo>
                  <a:pt x="4039" y="550"/>
                  <a:pt x="4040" y="551"/>
                  <a:pt x="4040" y="552"/>
                </a:cubicBezTo>
                <a:cubicBezTo>
                  <a:pt x="4040" y="555"/>
                  <a:pt x="4034" y="560"/>
                  <a:pt x="4022" y="568"/>
                </a:cubicBezTo>
                <a:cubicBezTo>
                  <a:pt x="4019" y="570"/>
                  <a:pt x="4017" y="571"/>
                  <a:pt x="4016" y="571"/>
                </a:cubicBezTo>
                <a:cubicBezTo>
                  <a:pt x="4015" y="571"/>
                  <a:pt x="4015" y="571"/>
                  <a:pt x="4015" y="570"/>
                </a:cubicBezTo>
                <a:cubicBezTo>
                  <a:pt x="4015" y="569"/>
                  <a:pt x="4015" y="568"/>
                  <a:pt x="4016" y="568"/>
                </a:cubicBezTo>
                <a:lnTo>
                  <a:pt x="4017" y="568"/>
                </a:lnTo>
                <a:cubicBezTo>
                  <a:pt x="4018" y="568"/>
                  <a:pt x="4018" y="568"/>
                  <a:pt x="4018" y="567"/>
                </a:cubicBezTo>
                <a:cubicBezTo>
                  <a:pt x="4018" y="566"/>
                  <a:pt x="4019" y="566"/>
                  <a:pt x="4020" y="565"/>
                </a:cubicBezTo>
                <a:cubicBezTo>
                  <a:pt x="4022" y="564"/>
                  <a:pt x="4024" y="563"/>
                  <a:pt x="4025" y="562"/>
                </a:cubicBezTo>
                <a:cubicBezTo>
                  <a:pt x="4027" y="561"/>
                  <a:pt x="4029" y="561"/>
                  <a:pt x="4031" y="559"/>
                </a:cubicBezTo>
                <a:cubicBezTo>
                  <a:pt x="4032" y="558"/>
                  <a:pt x="4033" y="557"/>
                  <a:pt x="4033" y="556"/>
                </a:cubicBezTo>
                <a:cubicBezTo>
                  <a:pt x="4033" y="554"/>
                  <a:pt x="4033" y="553"/>
                  <a:pt x="4032" y="553"/>
                </a:cubicBezTo>
                <a:cubicBezTo>
                  <a:pt x="4031" y="553"/>
                  <a:pt x="4029" y="554"/>
                  <a:pt x="4027" y="557"/>
                </a:cubicBezTo>
                <a:cubicBezTo>
                  <a:pt x="4024" y="560"/>
                  <a:pt x="4022" y="561"/>
                  <a:pt x="4021" y="561"/>
                </a:cubicBezTo>
                <a:lnTo>
                  <a:pt x="4020" y="561"/>
                </a:lnTo>
                <a:cubicBezTo>
                  <a:pt x="4019" y="561"/>
                  <a:pt x="4017" y="562"/>
                  <a:pt x="4015" y="564"/>
                </a:cubicBezTo>
                <a:cubicBezTo>
                  <a:pt x="4013" y="566"/>
                  <a:pt x="4011" y="568"/>
                  <a:pt x="4008" y="569"/>
                </a:cubicBezTo>
                <a:cubicBezTo>
                  <a:pt x="4005" y="571"/>
                  <a:pt x="4002" y="571"/>
                  <a:pt x="4001" y="571"/>
                </a:cubicBezTo>
                <a:lnTo>
                  <a:pt x="3999" y="571"/>
                </a:lnTo>
                <a:cubicBezTo>
                  <a:pt x="3998" y="571"/>
                  <a:pt x="3998" y="571"/>
                  <a:pt x="3997" y="573"/>
                </a:cubicBezTo>
                <a:cubicBezTo>
                  <a:pt x="3996" y="574"/>
                  <a:pt x="3995" y="576"/>
                  <a:pt x="3995" y="578"/>
                </a:cubicBezTo>
                <a:cubicBezTo>
                  <a:pt x="3994" y="580"/>
                  <a:pt x="3993" y="581"/>
                  <a:pt x="3993" y="583"/>
                </a:cubicBezTo>
                <a:lnTo>
                  <a:pt x="3993" y="586"/>
                </a:lnTo>
                <a:lnTo>
                  <a:pt x="3993" y="585"/>
                </a:lnTo>
                <a:cubicBezTo>
                  <a:pt x="3992" y="582"/>
                  <a:pt x="3990" y="580"/>
                  <a:pt x="3988" y="580"/>
                </a:cubicBezTo>
                <a:cubicBezTo>
                  <a:pt x="3987" y="580"/>
                  <a:pt x="3985" y="581"/>
                  <a:pt x="3984" y="583"/>
                </a:cubicBezTo>
                <a:cubicBezTo>
                  <a:pt x="3983" y="585"/>
                  <a:pt x="3983" y="586"/>
                  <a:pt x="3983" y="588"/>
                </a:cubicBezTo>
                <a:lnTo>
                  <a:pt x="3983" y="588"/>
                </a:lnTo>
                <a:cubicBezTo>
                  <a:pt x="3983" y="589"/>
                  <a:pt x="3982" y="589"/>
                  <a:pt x="3982" y="589"/>
                </a:cubicBezTo>
                <a:lnTo>
                  <a:pt x="3979" y="588"/>
                </a:lnTo>
                <a:cubicBezTo>
                  <a:pt x="3977" y="588"/>
                  <a:pt x="3977" y="590"/>
                  <a:pt x="3977" y="593"/>
                </a:cubicBezTo>
                <a:cubicBezTo>
                  <a:pt x="3977" y="596"/>
                  <a:pt x="3976" y="598"/>
                  <a:pt x="3974" y="598"/>
                </a:cubicBezTo>
                <a:cubicBezTo>
                  <a:pt x="3972" y="599"/>
                  <a:pt x="3972" y="600"/>
                  <a:pt x="3972" y="601"/>
                </a:cubicBezTo>
                <a:lnTo>
                  <a:pt x="3973" y="603"/>
                </a:lnTo>
                <a:lnTo>
                  <a:pt x="3972" y="604"/>
                </a:lnTo>
                <a:lnTo>
                  <a:pt x="3972" y="603"/>
                </a:lnTo>
                <a:cubicBezTo>
                  <a:pt x="3971" y="603"/>
                  <a:pt x="3971" y="603"/>
                  <a:pt x="3970" y="603"/>
                </a:cubicBezTo>
                <a:cubicBezTo>
                  <a:pt x="3969" y="603"/>
                  <a:pt x="3968" y="603"/>
                  <a:pt x="3967" y="604"/>
                </a:cubicBezTo>
                <a:cubicBezTo>
                  <a:pt x="3966" y="605"/>
                  <a:pt x="3965" y="605"/>
                  <a:pt x="3964" y="605"/>
                </a:cubicBezTo>
                <a:cubicBezTo>
                  <a:pt x="3964" y="605"/>
                  <a:pt x="3964" y="605"/>
                  <a:pt x="3964" y="604"/>
                </a:cubicBezTo>
                <a:cubicBezTo>
                  <a:pt x="3964" y="603"/>
                  <a:pt x="3965" y="601"/>
                  <a:pt x="3966" y="601"/>
                </a:cubicBezTo>
                <a:cubicBezTo>
                  <a:pt x="3967" y="600"/>
                  <a:pt x="3968" y="600"/>
                  <a:pt x="3968" y="599"/>
                </a:cubicBezTo>
                <a:cubicBezTo>
                  <a:pt x="3968" y="598"/>
                  <a:pt x="3967" y="596"/>
                  <a:pt x="3967" y="595"/>
                </a:cubicBezTo>
                <a:cubicBezTo>
                  <a:pt x="3967" y="593"/>
                  <a:pt x="3966" y="593"/>
                  <a:pt x="3965" y="593"/>
                </a:cubicBezTo>
                <a:cubicBezTo>
                  <a:pt x="3965" y="593"/>
                  <a:pt x="3964" y="593"/>
                  <a:pt x="3963" y="595"/>
                </a:cubicBezTo>
                <a:cubicBezTo>
                  <a:pt x="3960" y="598"/>
                  <a:pt x="3951" y="603"/>
                  <a:pt x="3935" y="612"/>
                </a:cubicBezTo>
                <a:cubicBezTo>
                  <a:pt x="3919" y="620"/>
                  <a:pt x="3911" y="625"/>
                  <a:pt x="3911" y="627"/>
                </a:cubicBezTo>
                <a:cubicBezTo>
                  <a:pt x="3911" y="628"/>
                  <a:pt x="3910" y="628"/>
                  <a:pt x="3908" y="628"/>
                </a:cubicBezTo>
                <a:cubicBezTo>
                  <a:pt x="3906" y="628"/>
                  <a:pt x="3905" y="629"/>
                  <a:pt x="3905" y="630"/>
                </a:cubicBezTo>
                <a:lnTo>
                  <a:pt x="3905" y="635"/>
                </a:lnTo>
                <a:cubicBezTo>
                  <a:pt x="3905" y="635"/>
                  <a:pt x="3904" y="634"/>
                  <a:pt x="3903" y="634"/>
                </a:cubicBezTo>
                <a:cubicBezTo>
                  <a:pt x="3903" y="633"/>
                  <a:pt x="3901" y="632"/>
                  <a:pt x="3901" y="632"/>
                </a:cubicBezTo>
                <a:cubicBezTo>
                  <a:pt x="3899" y="632"/>
                  <a:pt x="3897" y="633"/>
                  <a:pt x="3894" y="634"/>
                </a:cubicBezTo>
                <a:cubicBezTo>
                  <a:pt x="3892" y="635"/>
                  <a:pt x="3890" y="636"/>
                  <a:pt x="3888" y="638"/>
                </a:cubicBezTo>
                <a:cubicBezTo>
                  <a:pt x="3886" y="639"/>
                  <a:pt x="3885" y="641"/>
                  <a:pt x="3885" y="642"/>
                </a:cubicBezTo>
                <a:lnTo>
                  <a:pt x="3885" y="643"/>
                </a:lnTo>
                <a:lnTo>
                  <a:pt x="3885" y="646"/>
                </a:lnTo>
                <a:cubicBezTo>
                  <a:pt x="3883" y="648"/>
                  <a:pt x="3881" y="650"/>
                  <a:pt x="3879" y="650"/>
                </a:cubicBezTo>
                <a:cubicBezTo>
                  <a:pt x="3878" y="650"/>
                  <a:pt x="3878" y="649"/>
                  <a:pt x="3878" y="649"/>
                </a:cubicBezTo>
                <a:cubicBezTo>
                  <a:pt x="3878" y="648"/>
                  <a:pt x="3878" y="647"/>
                  <a:pt x="3879" y="646"/>
                </a:cubicBezTo>
                <a:cubicBezTo>
                  <a:pt x="3881" y="644"/>
                  <a:pt x="3881" y="643"/>
                  <a:pt x="3881" y="643"/>
                </a:cubicBezTo>
                <a:lnTo>
                  <a:pt x="3881" y="643"/>
                </a:lnTo>
                <a:cubicBezTo>
                  <a:pt x="3880" y="643"/>
                  <a:pt x="3876" y="644"/>
                  <a:pt x="3871" y="648"/>
                </a:cubicBezTo>
                <a:cubicBezTo>
                  <a:pt x="3866" y="652"/>
                  <a:pt x="3863" y="654"/>
                  <a:pt x="3863" y="655"/>
                </a:cubicBezTo>
                <a:cubicBezTo>
                  <a:pt x="3863" y="657"/>
                  <a:pt x="3863" y="658"/>
                  <a:pt x="3862" y="659"/>
                </a:cubicBezTo>
                <a:cubicBezTo>
                  <a:pt x="3861" y="660"/>
                  <a:pt x="3859" y="661"/>
                  <a:pt x="3858" y="661"/>
                </a:cubicBezTo>
                <a:cubicBezTo>
                  <a:pt x="3858" y="661"/>
                  <a:pt x="3858" y="660"/>
                  <a:pt x="3859" y="659"/>
                </a:cubicBezTo>
                <a:cubicBezTo>
                  <a:pt x="3861" y="658"/>
                  <a:pt x="3861" y="657"/>
                  <a:pt x="3861" y="656"/>
                </a:cubicBezTo>
                <a:cubicBezTo>
                  <a:pt x="3861" y="655"/>
                  <a:pt x="3861" y="655"/>
                  <a:pt x="3861" y="655"/>
                </a:cubicBezTo>
                <a:cubicBezTo>
                  <a:pt x="3859" y="655"/>
                  <a:pt x="3857" y="655"/>
                  <a:pt x="3855" y="657"/>
                </a:cubicBezTo>
                <a:cubicBezTo>
                  <a:pt x="3853" y="658"/>
                  <a:pt x="3852" y="659"/>
                  <a:pt x="3852" y="660"/>
                </a:cubicBezTo>
                <a:cubicBezTo>
                  <a:pt x="3852" y="661"/>
                  <a:pt x="3853" y="661"/>
                  <a:pt x="3853" y="661"/>
                </a:cubicBezTo>
                <a:cubicBezTo>
                  <a:pt x="3854" y="661"/>
                  <a:pt x="3854" y="661"/>
                  <a:pt x="3854" y="662"/>
                </a:cubicBezTo>
                <a:lnTo>
                  <a:pt x="3854" y="665"/>
                </a:lnTo>
                <a:cubicBezTo>
                  <a:pt x="3854" y="666"/>
                  <a:pt x="3854" y="668"/>
                  <a:pt x="3856" y="669"/>
                </a:cubicBezTo>
                <a:cubicBezTo>
                  <a:pt x="3857" y="671"/>
                  <a:pt x="3858" y="672"/>
                  <a:pt x="3858" y="673"/>
                </a:cubicBezTo>
                <a:cubicBezTo>
                  <a:pt x="3858" y="674"/>
                  <a:pt x="3857" y="674"/>
                  <a:pt x="3855" y="674"/>
                </a:cubicBezTo>
                <a:cubicBezTo>
                  <a:pt x="3853" y="674"/>
                  <a:pt x="3847" y="677"/>
                  <a:pt x="3839" y="681"/>
                </a:cubicBezTo>
                <a:cubicBezTo>
                  <a:pt x="3831" y="686"/>
                  <a:pt x="3827" y="689"/>
                  <a:pt x="3827" y="690"/>
                </a:cubicBezTo>
                <a:cubicBezTo>
                  <a:pt x="3827" y="691"/>
                  <a:pt x="3826" y="692"/>
                  <a:pt x="3824" y="692"/>
                </a:cubicBezTo>
                <a:lnTo>
                  <a:pt x="3820" y="692"/>
                </a:lnTo>
                <a:cubicBezTo>
                  <a:pt x="3817" y="692"/>
                  <a:pt x="3816" y="692"/>
                  <a:pt x="3816" y="693"/>
                </a:cubicBezTo>
                <a:cubicBezTo>
                  <a:pt x="3816" y="694"/>
                  <a:pt x="3816" y="694"/>
                  <a:pt x="3815" y="694"/>
                </a:cubicBezTo>
                <a:lnTo>
                  <a:pt x="3812" y="693"/>
                </a:lnTo>
                <a:cubicBezTo>
                  <a:pt x="3812" y="693"/>
                  <a:pt x="3812" y="693"/>
                  <a:pt x="3812" y="694"/>
                </a:cubicBezTo>
                <a:cubicBezTo>
                  <a:pt x="3812" y="695"/>
                  <a:pt x="3812" y="696"/>
                  <a:pt x="3813" y="697"/>
                </a:cubicBezTo>
                <a:cubicBezTo>
                  <a:pt x="3813" y="699"/>
                  <a:pt x="3814" y="699"/>
                  <a:pt x="3814" y="700"/>
                </a:cubicBezTo>
                <a:cubicBezTo>
                  <a:pt x="3813" y="700"/>
                  <a:pt x="3812" y="698"/>
                  <a:pt x="3811" y="696"/>
                </a:cubicBezTo>
                <a:cubicBezTo>
                  <a:pt x="3809" y="694"/>
                  <a:pt x="3807" y="693"/>
                  <a:pt x="3807" y="693"/>
                </a:cubicBezTo>
                <a:cubicBezTo>
                  <a:pt x="3807" y="693"/>
                  <a:pt x="3806" y="693"/>
                  <a:pt x="3806" y="694"/>
                </a:cubicBezTo>
                <a:cubicBezTo>
                  <a:pt x="3806" y="694"/>
                  <a:pt x="3807" y="696"/>
                  <a:pt x="3807" y="697"/>
                </a:cubicBezTo>
                <a:cubicBezTo>
                  <a:pt x="3808" y="698"/>
                  <a:pt x="3808" y="700"/>
                  <a:pt x="3808" y="701"/>
                </a:cubicBezTo>
                <a:cubicBezTo>
                  <a:pt x="3808" y="703"/>
                  <a:pt x="3807" y="704"/>
                  <a:pt x="3805" y="704"/>
                </a:cubicBezTo>
                <a:cubicBezTo>
                  <a:pt x="3804" y="704"/>
                  <a:pt x="3804" y="704"/>
                  <a:pt x="3804" y="703"/>
                </a:cubicBezTo>
                <a:lnTo>
                  <a:pt x="3804" y="700"/>
                </a:lnTo>
                <a:cubicBezTo>
                  <a:pt x="3804" y="699"/>
                  <a:pt x="3804" y="698"/>
                  <a:pt x="3802" y="698"/>
                </a:cubicBezTo>
                <a:cubicBezTo>
                  <a:pt x="3800" y="698"/>
                  <a:pt x="3799" y="700"/>
                  <a:pt x="3799" y="703"/>
                </a:cubicBezTo>
                <a:cubicBezTo>
                  <a:pt x="3799" y="706"/>
                  <a:pt x="3797" y="709"/>
                  <a:pt x="3793" y="711"/>
                </a:cubicBezTo>
                <a:cubicBezTo>
                  <a:pt x="3790" y="714"/>
                  <a:pt x="3787" y="715"/>
                  <a:pt x="3784" y="715"/>
                </a:cubicBezTo>
                <a:cubicBezTo>
                  <a:pt x="3783" y="715"/>
                  <a:pt x="3782" y="714"/>
                  <a:pt x="3781" y="713"/>
                </a:cubicBezTo>
                <a:cubicBezTo>
                  <a:pt x="3780" y="713"/>
                  <a:pt x="3779" y="712"/>
                  <a:pt x="3779" y="712"/>
                </a:cubicBezTo>
                <a:cubicBezTo>
                  <a:pt x="3779" y="713"/>
                  <a:pt x="3779" y="714"/>
                  <a:pt x="3779" y="716"/>
                </a:cubicBezTo>
                <a:lnTo>
                  <a:pt x="3779" y="716"/>
                </a:lnTo>
                <a:cubicBezTo>
                  <a:pt x="3779" y="719"/>
                  <a:pt x="3772" y="723"/>
                  <a:pt x="3759" y="729"/>
                </a:cubicBezTo>
                <a:cubicBezTo>
                  <a:pt x="3734" y="741"/>
                  <a:pt x="3714" y="747"/>
                  <a:pt x="3697" y="747"/>
                </a:cubicBezTo>
                <a:close/>
                <a:moveTo>
                  <a:pt x="3656" y="627"/>
                </a:moveTo>
                <a:cubicBezTo>
                  <a:pt x="3656" y="627"/>
                  <a:pt x="3657" y="627"/>
                  <a:pt x="3657" y="626"/>
                </a:cubicBezTo>
                <a:cubicBezTo>
                  <a:pt x="3658" y="625"/>
                  <a:pt x="3658" y="624"/>
                  <a:pt x="3659" y="622"/>
                </a:cubicBezTo>
                <a:cubicBezTo>
                  <a:pt x="3660" y="621"/>
                  <a:pt x="3660" y="620"/>
                  <a:pt x="3660" y="618"/>
                </a:cubicBezTo>
                <a:cubicBezTo>
                  <a:pt x="3660" y="618"/>
                  <a:pt x="3660" y="618"/>
                  <a:pt x="3659" y="618"/>
                </a:cubicBezTo>
                <a:cubicBezTo>
                  <a:pt x="3659" y="618"/>
                  <a:pt x="3658" y="618"/>
                  <a:pt x="3658" y="619"/>
                </a:cubicBezTo>
                <a:cubicBezTo>
                  <a:pt x="3657" y="620"/>
                  <a:pt x="3656" y="622"/>
                  <a:pt x="3656" y="623"/>
                </a:cubicBezTo>
                <a:cubicBezTo>
                  <a:pt x="3656" y="624"/>
                  <a:pt x="3655" y="625"/>
                  <a:pt x="3655" y="626"/>
                </a:cubicBezTo>
                <a:cubicBezTo>
                  <a:pt x="3655" y="627"/>
                  <a:pt x="3656" y="627"/>
                  <a:pt x="3656" y="627"/>
                </a:cubicBezTo>
                <a:close/>
                <a:moveTo>
                  <a:pt x="3680" y="734"/>
                </a:moveTo>
                <a:cubicBezTo>
                  <a:pt x="3682" y="734"/>
                  <a:pt x="3683" y="734"/>
                  <a:pt x="3683" y="733"/>
                </a:cubicBezTo>
                <a:lnTo>
                  <a:pt x="3683" y="732"/>
                </a:lnTo>
                <a:lnTo>
                  <a:pt x="3681" y="732"/>
                </a:lnTo>
                <a:cubicBezTo>
                  <a:pt x="3679" y="732"/>
                  <a:pt x="3678" y="732"/>
                  <a:pt x="3678" y="734"/>
                </a:cubicBezTo>
                <a:cubicBezTo>
                  <a:pt x="3678" y="734"/>
                  <a:pt x="3679" y="734"/>
                  <a:pt x="3680" y="734"/>
                </a:cubicBezTo>
                <a:close/>
                <a:moveTo>
                  <a:pt x="3785" y="712"/>
                </a:moveTo>
                <a:cubicBezTo>
                  <a:pt x="3787" y="712"/>
                  <a:pt x="3789" y="711"/>
                  <a:pt x="3789" y="710"/>
                </a:cubicBezTo>
                <a:cubicBezTo>
                  <a:pt x="3789" y="710"/>
                  <a:pt x="3789" y="709"/>
                  <a:pt x="3788" y="708"/>
                </a:cubicBezTo>
                <a:cubicBezTo>
                  <a:pt x="3787" y="707"/>
                  <a:pt x="3786" y="707"/>
                  <a:pt x="3786" y="707"/>
                </a:cubicBezTo>
                <a:cubicBezTo>
                  <a:pt x="3786" y="707"/>
                  <a:pt x="3785" y="708"/>
                  <a:pt x="3784" y="709"/>
                </a:cubicBezTo>
                <a:cubicBezTo>
                  <a:pt x="3782" y="710"/>
                  <a:pt x="3782" y="711"/>
                  <a:pt x="3781" y="711"/>
                </a:cubicBezTo>
                <a:lnTo>
                  <a:pt x="3785" y="712"/>
                </a:lnTo>
                <a:close/>
                <a:moveTo>
                  <a:pt x="3701" y="735"/>
                </a:moveTo>
                <a:cubicBezTo>
                  <a:pt x="3702" y="735"/>
                  <a:pt x="3708" y="733"/>
                  <a:pt x="3718" y="730"/>
                </a:cubicBezTo>
                <a:cubicBezTo>
                  <a:pt x="3721" y="730"/>
                  <a:pt x="3729" y="727"/>
                  <a:pt x="3742" y="722"/>
                </a:cubicBezTo>
                <a:cubicBezTo>
                  <a:pt x="3754" y="717"/>
                  <a:pt x="3761" y="714"/>
                  <a:pt x="3762" y="713"/>
                </a:cubicBezTo>
                <a:cubicBezTo>
                  <a:pt x="3762" y="713"/>
                  <a:pt x="3764" y="712"/>
                  <a:pt x="3768" y="712"/>
                </a:cubicBezTo>
                <a:cubicBezTo>
                  <a:pt x="3772" y="711"/>
                  <a:pt x="3776" y="709"/>
                  <a:pt x="3781" y="706"/>
                </a:cubicBezTo>
                <a:cubicBezTo>
                  <a:pt x="3785" y="704"/>
                  <a:pt x="3788" y="702"/>
                  <a:pt x="3789" y="702"/>
                </a:cubicBezTo>
                <a:cubicBezTo>
                  <a:pt x="3789" y="702"/>
                  <a:pt x="3790" y="703"/>
                  <a:pt x="3790" y="703"/>
                </a:cubicBezTo>
                <a:lnTo>
                  <a:pt x="3789" y="706"/>
                </a:lnTo>
                <a:cubicBezTo>
                  <a:pt x="3789" y="707"/>
                  <a:pt x="3789" y="708"/>
                  <a:pt x="3791" y="708"/>
                </a:cubicBezTo>
                <a:cubicBezTo>
                  <a:pt x="3792" y="708"/>
                  <a:pt x="3793" y="707"/>
                  <a:pt x="3795" y="706"/>
                </a:cubicBezTo>
                <a:cubicBezTo>
                  <a:pt x="3796" y="705"/>
                  <a:pt x="3797" y="705"/>
                  <a:pt x="3797" y="704"/>
                </a:cubicBezTo>
                <a:cubicBezTo>
                  <a:pt x="3797" y="704"/>
                  <a:pt x="3796" y="703"/>
                  <a:pt x="3795" y="702"/>
                </a:cubicBezTo>
                <a:cubicBezTo>
                  <a:pt x="3793" y="701"/>
                  <a:pt x="3792" y="701"/>
                  <a:pt x="3792" y="700"/>
                </a:cubicBezTo>
                <a:lnTo>
                  <a:pt x="3792" y="699"/>
                </a:lnTo>
                <a:cubicBezTo>
                  <a:pt x="3796" y="697"/>
                  <a:pt x="3801" y="694"/>
                  <a:pt x="3806" y="692"/>
                </a:cubicBezTo>
                <a:lnTo>
                  <a:pt x="3811" y="691"/>
                </a:lnTo>
                <a:cubicBezTo>
                  <a:pt x="3813" y="691"/>
                  <a:pt x="3814" y="690"/>
                  <a:pt x="3814" y="688"/>
                </a:cubicBezTo>
                <a:cubicBezTo>
                  <a:pt x="3814" y="687"/>
                  <a:pt x="3814" y="686"/>
                  <a:pt x="3812" y="686"/>
                </a:cubicBezTo>
                <a:cubicBezTo>
                  <a:pt x="3811" y="686"/>
                  <a:pt x="3808" y="688"/>
                  <a:pt x="3804" y="690"/>
                </a:cubicBezTo>
                <a:lnTo>
                  <a:pt x="3802" y="691"/>
                </a:lnTo>
                <a:cubicBezTo>
                  <a:pt x="3801" y="691"/>
                  <a:pt x="3801" y="690"/>
                  <a:pt x="3801" y="690"/>
                </a:cubicBezTo>
                <a:lnTo>
                  <a:pt x="3802" y="688"/>
                </a:lnTo>
                <a:cubicBezTo>
                  <a:pt x="3802" y="687"/>
                  <a:pt x="3802" y="687"/>
                  <a:pt x="3802" y="687"/>
                </a:cubicBezTo>
                <a:cubicBezTo>
                  <a:pt x="3801" y="687"/>
                  <a:pt x="3801" y="687"/>
                  <a:pt x="3800" y="688"/>
                </a:cubicBezTo>
                <a:cubicBezTo>
                  <a:pt x="3799" y="688"/>
                  <a:pt x="3798" y="688"/>
                  <a:pt x="3798" y="689"/>
                </a:cubicBezTo>
                <a:cubicBezTo>
                  <a:pt x="3797" y="690"/>
                  <a:pt x="3797" y="690"/>
                  <a:pt x="3797" y="691"/>
                </a:cubicBezTo>
                <a:lnTo>
                  <a:pt x="3797" y="691"/>
                </a:lnTo>
                <a:cubicBezTo>
                  <a:pt x="3797" y="693"/>
                  <a:pt x="3796" y="694"/>
                  <a:pt x="3792" y="694"/>
                </a:cubicBezTo>
                <a:cubicBezTo>
                  <a:pt x="3787" y="695"/>
                  <a:pt x="3777" y="699"/>
                  <a:pt x="3761" y="707"/>
                </a:cubicBezTo>
                <a:cubicBezTo>
                  <a:pt x="3749" y="713"/>
                  <a:pt x="3741" y="718"/>
                  <a:pt x="3735" y="720"/>
                </a:cubicBezTo>
                <a:cubicBezTo>
                  <a:pt x="3730" y="722"/>
                  <a:pt x="3726" y="723"/>
                  <a:pt x="3722" y="724"/>
                </a:cubicBezTo>
                <a:cubicBezTo>
                  <a:pt x="3719" y="725"/>
                  <a:pt x="3717" y="725"/>
                  <a:pt x="3717" y="727"/>
                </a:cubicBezTo>
                <a:cubicBezTo>
                  <a:pt x="3716" y="728"/>
                  <a:pt x="3715" y="728"/>
                  <a:pt x="3714" y="728"/>
                </a:cubicBezTo>
                <a:cubicBezTo>
                  <a:pt x="3713" y="728"/>
                  <a:pt x="3712" y="728"/>
                  <a:pt x="3711" y="728"/>
                </a:cubicBezTo>
                <a:cubicBezTo>
                  <a:pt x="3710" y="728"/>
                  <a:pt x="3709" y="728"/>
                  <a:pt x="3709" y="728"/>
                </a:cubicBezTo>
                <a:cubicBezTo>
                  <a:pt x="3708" y="728"/>
                  <a:pt x="3708" y="728"/>
                  <a:pt x="3708" y="728"/>
                </a:cubicBezTo>
                <a:lnTo>
                  <a:pt x="3709" y="730"/>
                </a:lnTo>
                <a:cubicBezTo>
                  <a:pt x="3709" y="731"/>
                  <a:pt x="3708" y="732"/>
                  <a:pt x="3707" y="732"/>
                </a:cubicBezTo>
                <a:lnTo>
                  <a:pt x="3698" y="730"/>
                </a:lnTo>
                <a:lnTo>
                  <a:pt x="3698" y="730"/>
                </a:lnTo>
                <a:lnTo>
                  <a:pt x="3699" y="731"/>
                </a:lnTo>
                <a:cubicBezTo>
                  <a:pt x="3700" y="732"/>
                  <a:pt x="3700" y="732"/>
                  <a:pt x="3700" y="733"/>
                </a:cubicBezTo>
                <a:lnTo>
                  <a:pt x="3700" y="735"/>
                </a:lnTo>
                <a:lnTo>
                  <a:pt x="3701" y="735"/>
                </a:lnTo>
                <a:close/>
                <a:moveTo>
                  <a:pt x="3807" y="686"/>
                </a:moveTo>
                <a:cubicBezTo>
                  <a:pt x="3809" y="686"/>
                  <a:pt x="3810" y="685"/>
                  <a:pt x="3811" y="683"/>
                </a:cubicBezTo>
                <a:lnTo>
                  <a:pt x="3811" y="683"/>
                </a:lnTo>
                <a:cubicBezTo>
                  <a:pt x="3811" y="683"/>
                  <a:pt x="3811" y="683"/>
                  <a:pt x="3811" y="683"/>
                </a:cubicBezTo>
                <a:lnTo>
                  <a:pt x="3809" y="683"/>
                </a:lnTo>
                <a:cubicBezTo>
                  <a:pt x="3806" y="684"/>
                  <a:pt x="3805" y="685"/>
                  <a:pt x="3805" y="686"/>
                </a:cubicBezTo>
                <a:cubicBezTo>
                  <a:pt x="3805" y="686"/>
                  <a:pt x="3806" y="686"/>
                  <a:pt x="3807" y="686"/>
                </a:cubicBezTo>
                <a:close/>
                <a:moveTo>
                  <a:pt x="3687" y="727"/>
                </a:moveTo>
                <a:cubicBezTo>
                  <a:pt x="3691" y="727"/>
                  <a:pt x="3696" y="726"/>
                  <a:pt x="3701" y="725"/>
                </a:cubicBezTo>
                <a:cubicBezTo>
                  <a:pt x="3704" y="724"/>
                  <a:pt x="3706" y="724"/>
                  <a:pt x="3709" y="723"/>
                </a:cubicBezTo>
                <a:cubicBezTo>
                  <a:pt x="3711" y="722"/>
                  <a:pt x="3713" y="722"/>
                  <a:pt x="3714" y="722"/>
                </a:cubicBezTo>
                <a:cubicBezTo>
                  <a:pt x="3714" y="721"/>
                  <a:pt x="3715" y="721"/>
                  <a:pt x="3716" y="721"/>
                </a:cubicBezTo>
                <a:cubicBezTo>
                  <a:pt x="3717" y="720"/>
                  <a:pt x="3717" y="720"/>
                  <a:pt x="3718" y="719"/>
                </a:cubicBezTo>
                <a:cubicBezTo>
                  <a:pt x="3719" y="718"/>
                  <a:pt x="3720" y="718"/>
                  <a:pt x="3722" y="718"/>
                </a:cubicBezTo>
                <a:cubicBezTo>
                  <a:pt x="3724" y="718"/>
                  <a:pt x="3730" y="716"/>
                  <a:pt x="3739" y="712"/>
                </a:cubicBezTo>
                <a:cubicBezTo>
                  <a:pt x="3748" y="708"/>
                  <a:pt x="3757" y="705"/>
                  <a:pt x="3766" y="700"/>
                </a:cubicBezTo>
                <a:cubicBezTo>
                  <a:pt x="3772" y="697"/>
                  <a:pt x="3777" y="695"/>
                  <a:pt x="3781" y="694"/>
                </a:cubicBezTo>
                <a:cubicBezTo>
                  <a:pt x="3783" y="694"/>
                  <a:pt x="3784" y="693"/>
                  <a:pt x="3785" y="691"/>
                </a:cubicBezTo>
                <a:cubicBezTo>
                  <a:pt x="3786" y="690"/>
                  <a:pt x="3787" y="690"/>
                  <a:pt x="3787" y="690"/>
                </a:cubicBezTo>
                <a:lnTo>
                  <a:pt x="3789" y="690"/>
                </a:lnTo>
                <a:cubicBezTo>
                  <a:pt x="3789" y="690"/>
                  <a:pt x="3790" y="689"/>
                  <a:pt x="3790" y="688"/>
                </a:cubicBezTo>
                <a:cubicBezTo>
                  <a:pt x="3790" y="687"/>
                  <a:pt x="3791" y="687"/>
                  <a:pt x="3792" y="687"/>
                </a:cubicBezTo>
                <a:cubicBezTo>
                  <a:pt x="3794" y="687"/>
                  <a:pt x="3796" y="686"/>
                  <a:pt x="3797" y="686"/>
                </a:cubicBezTo>
                <a:cubicBezTo>
                  <a:pt x="3799" y="683"/>
                  <a:pt x="3802" y="682"/>
                  <a:pt x="3804" y="681"/>
                </a:cubicBezTo>
                <a:cubicBezTo>
                  <a:pt x="3806" y="681"/>
                  <a:pt x="3807" y="680"/>
                  <a:pt x="3808" y="679"/>
                </a:cubicBezTo>
                <a:cubicBezTo>
                  <a:pt x="3809" y="678"/>
                  <a:pt x="3810" y="678"/>
                  <a:pt x="3811" y="678"/>
                </a:cubicBezTo>
                <a:cubicBezTo>
                  <a:pt x="3816" y="677"/>
                  <a:pt x="3818" y="677"/>
                  <a:pt x="3818" y="676"/>
                </a:cubicBezTo>
                <a:lnTo>
                  <a:pt x="3817" y="674"/>
                </a:lnTo>
                <a:cubicBezTo>
                  <a:pt x="3817" y="674"/>
                  <a:pt x="3819" y="674"/>
                  <a:pt x="3821" y="674"/>
                </a:cubicBezTo>
                <a:cubicBezTo>
                  <a:pt x="3823" y="674"/>
                  <a:pt x="3824" y="674"/>
                  <a:pt x="3824" y="674"/>
                </a:cubicBezTo>
                <a:cubicBezTo>
                  <a:pt x="3824" y="674"/>
                  <a:pt x="3823" y="675"/>
                  <a:pt x="3821" y="676"/>
                </a:cubicBezTo>
                <a:cubicBezTo>
                  <a:pt x="3820" y="677"/>
                  <a:pt x="3819" y="678"/>
                  <a:pt x="3819" y="679"/>
                </a:cubicBezTo>
                <a:cubicBezTo>
                  <a:pt x="3819" y="679"/>
                  <a:pt x="3820" y="680"/>
                  <a:pt x="3821" y="680"/>
                </a:cubicBezTo>
                <a:lnTo>
                  <a:pt x="3822" y="681"/>
                </a:lnTo>
                <a:cubicBezTo>
                  <a:pt x="3822" y="681"/>
                  <a:pt x="3821" y="681"/>
                  <a:pt x="3821" y="681"/>
                </a:cubicBezTo>
                <a:lnTo>
                  <a:pt x="3815" y="680"/>
                </a:lnTo>
                <a:cubicBezTo>
                  <a:pt x="3815" y="680"/>
                  <a:pt x="3816" y="681"/>
                  <a:pt x="3816" y="681"/>
                </a:cubicBezTo>
                <a:cubicBezTo>
                  <a:pt x="3817" y="681"/>
                  <a:pt x="3817" y="682"/>
                  <a:pt x="3817" y="683"/>
                </a:cubicBezTo>
                <a:lnTo>
                  <a:pt x="3817" y="685"/>
                </a:lnTo>
                <a:cubicBezTo>
                  <a:pt x="3817" y="686"/>
                  <a:pt x="3817" y="687"/>
                  <a:pt x="3819" y="687"/>
                </a:cubicBezTo>
                <a:cubicBezTo>
                  <a:pt x="3820" y="687"/>
                  <a:pt x="3821" y="685"/>
                  <a:pt x="3824" y="681"/>
                </a:cubicBezTo>
                <a:cubicBezTo>
                  <a:pt x="3824" y="679"/>
                  <a:pt x="3826" y="678"/>
                  <a:pt x="3827" y="676"/>
                </a:cubicBezTo>
                <a:cubicBezTo>
                  <a:pt x="3828" y="675"/>
                  <a:pt x="3829" y="674"/>
                  <a:pt x="3830" y="674"/>
                </a:cubicBezTo>
                <a:cubicBezTo>
                  <a:pt x="3831" y="674"/>
                  <a:pt x="3831" y="675"/>
                  <a:pt x="3831" y="675"/>
                </a:cubicBezTo>
                <a:cubicBezTo>
                  <a:pt x="3831" y="675"/>
                  <a:pt x="3831" y="676"/>
                  <a:pt x="3830" y="676"/>
                </a:cubicBezTo>
                <a:cubicBezTo>
                  <a:pt x="3828" y="677"/>
                  <a:pt x="3828" y="678"/>
                  <a:pt x="3828" y="679"/>
                </a:cubicBezTo>
                <a:cubicBezTo>
                  <a:pt x="3828" y="680"/>
                  <a:pt x="3829" y="681"/>
                  <a:pt x="3830" y="681"/>
                </a:cubicBezTo>
                <a:cubicBezTo>
                  <a:pt x="3831" y="681"/>
                  <a:pt x="3832" y="680"/>
                  <a:pt x="3832" y="679"/>
                </a:cubicBezTo>
                <a:cubicBezTo>
                  <a:pt x="3832" y="679"/>
                  <a:pt x="3832" y="678"/>
                  <a:pt x="3832" y="676"/>
                </a:cubicBezTo>
                <a:lnTo>
                  <a:pt x="3832" y="673"/>
                </a:lnTo>
                <a:cubicBezTo>
                  <a:pt x="3832" y="672"/>
                  <a:pt x="3832" y="671"/>
                  <a:pt x="3831" y="669"/>
                </a:cubicBezTo>
                <a:cubicBezTo>
                  <a:pt x="3830" y="668"/>
                  <a:pt x="3830" y="666"/>
                  <a:pt x="3830" y="666"/>
                </a:cubicBezTo>
                <a:cubicBezTo>
                  <a:pt x="3830" y="666"/>
                  <a:pt x="3830" y="665"/>
                  <a:pt x="3830" y="665"/>
                </a:cubicBezTo>
                <a:lnTo>
                  <a:pt x="3834" y="666"/>
                </a:lnTo>
                <a:cubicBezTo>
                  <a:pt x="3836" y="666"/>
                  <a:pt x="3837" y="665"/>
                  <a:pt x="3837" y="664"/>
                </a:cubicBezTo>
                <a:lnTo>
                  <a:pt x="3837" y="663"/>
                </a:lnTo>
                <a:cubicBezTo>
                  <a:pt x="3837" y="662"/>
                  <a:pt x="3840" y="661"/>
                  <a:pt x="3846" y="661"/>
                </a:cubicBezTo>
                <a:cubicBezTo>
                  <a:pt x="3846" y="662"/>
                  <a:pt x="3844" y="664"/>
                  <a:pt x="3841" y="666"/>
                </a:cubicBezTo>
                <a:cubicBezTo>
                  <a:pt x="3837" y="668"/>
                  <a:pt x="3835" y="669"/>
                  <a:pt x="3835" y="670"/>
                </a:cubicBezTo>
                <a:lnTo>
                  <a:pt x="3835" y="670"/>
                </a:lnTo>
                <a:cubicBezTo>
                  <a:pt x="3837" y="670"/>
                  <a:pt x="3838" y="671"/>
                  <a:pt x="3838" y="672"/>
                </a:cubicBezTo>
                <a:lnTo>
                  <a:pt x="3838" y="673"/>
                </a:lnTo>
                <a:cubicBezTo>
                  <a:pt x="3838" y="674"/>
                  <a:pt x="3838" y="675"/>
                  <a:pt x="3840" y="676"/>
                </a:cubicBezTo>
                <a:lnTo>
                  <a:pt x="3842" y="676"/>
                </a:lnTo>
                <a:lnTo>
                  <a:pt x="3842" y="676"/>
                </a:lnTo>
                <a:lnTo>
                  <a:pt x="3840" y="675"/>
                </a:lnTo>
                <a:cubicBezTo>
                  <a:pt x="3839" y="674"/>
                  <a:pt x="3838" y="673"/>
                  <a:pt x="3838" y="673"/>
                </a:cubicBezTo>
                <a:cubicBezTo>
                  <a:pt x="3838" y="673"/>
                  <a:pt x="3838" y="672"/>
                  <a:pt x="3839" y="672"/>
                </a:cubicBezTo>
                <a:cubicBezTo>
                  <a:pt x="3840" y="672"/>
                  <a:pt x="3841" y="672"/>
                  <a:pt x="3841" y="671"/>
                </a:cubicBezTo>
                <a:cubicBezTo>
                  <a:pt x="3841" y="671"/>
                  <a:pt x="3842" y="670"/>
                  <a:pt x="3842" y="670"/>
                </a:cubicBezTo>
                <a:cubicBezTo>
                  <a:pt x="3842" y="668"/>
                  <a:pt x="3842" y="667"/>
                  <a:pt x="3844" y="666"/>
                </a:cubicBezTo>
                <a:cubicBezTo>
                  <a:pt x="3845" y="666"/>
                  <a:pt x="3846" y="666"/>
                  <a:pt x="3846" y="667"/>
                </a:cubicBezTo>
                <a:lnTo>
                  <a:pt x="3846" y="668"/>
                </a:lnTo>
                <a:cubicBezTo>
                  <a:pt x="3846" y="668"/>
                  <a:pt x="3846" y="668"/>
                  <a:pt x="3846" y="669"/>
                </a:cubicBezTo>
                <a:cubicBezTo>
                  <a:pt x="3847" y="669"/>
                  <a:pt x="3847" y="669"/>
                  <a:pt x="3848" y="669"/>
                </a:cubicBezTo>
                <a:cubicBezTo>
                  <a:pt x="3849" y="669"/>
                  <a:pt x="3849" y="665"/>
                  <a:pt x="3849" y="660"/>
                </a:cubicBezTo>
                <a:cubicBezTo>
                  <a:pt x="3849" y="656"/>
                  <a:pt x="3849" y="654"/>
                  <a:pt x="3848" y="653"/>
                </a:cubicBezTo>
                <a:cubicBezTo>
                  <a:pt x="3846" y="653"/>
                  <a:pt x="3833" y="659"/>
                  <a:pt x="3810" y="671"/>
                </a:cubicBezTo>
                <a:cubicBezTo>
                  <a:pt x="3765" y="694"/>
                  <a:pt x="3737" y="707"/>
                  <a:pt x="3725" y="710"/>
                </a:cubicBezTo>
                <a:lnTo>
                  <a:pt x="3709" y="714"/>
                </a:lnTo>
                <a:cubicBezTo>
                  <a:pt x="3701" y="717"/>
                  <a:pt x="3692" y="718"/>
                  <a:pt x="3680" y="718"/>
                </a:cubicBezTo>
                <a:cubicBezTo>
                  <a:pt x="3671" y="718"/>
                  <a:pt x="3666" y="718"/>
                  <a:pt x="3666" y="720"/>
                </a:cubicBezTo>
                <a:cubicBezTo>
                  <a:pt x="3666" y="721"/>
                  <a:pt x="3668" y="722"/>
                  <a:pt x="3673" y="724"/>
                </a:cubicBezTo>
                <a:cubicBezTo>
                  <a:pt x="3678" y="726"/>
                  <a:pt x="3682" y="727"/>
                  <a:pt x="3687" y="727"/>
                </a:cubicBezTo>
                <a:close/>
                <a:moveTo>
                  <a:pt x="3855" y="652"/>
                </a:moveTo>
                <a:cubicBezTo>
                  <a:pt x="3857" y="652"/>
                  <a:pt x="3858" y="651"/>
                  <a:pt x="3858" y="650"/>
                </a:cubicBezTo>
                <a:cubicBezTo>
                  <a:pt x="3858" y="649"/>
                  <a:pt x="3857" y="648"/>
                  <a:pt x="3857" y="648"/>
                </a:cubicBezTo>
                <a:lnTo>
                  <a:pt x="3855" y="647"/>
                </a:lnTo>
                <a:cubicBezTo>
                  <a:pt x="3854" y="647"/>
                  <a:pt x="3854" y="647"/>
                  <a:pt x="3853" y="648"/>
                </a:cubicBezTo>
                <a:cubicBezTo>
                  <a:pt x="3852" y="649"/>
                  <a:pt x="3851" y="649"/>
                  <a:pt x="3851" y="650"/>
                </a:cubicBezTo>
                <a:cubicBezTo>
                  <a:pt x="3851" y="650"/>
                  <a:pt x="3852" y="651"/>
                  <a:pt x="3853" y="652"/>
                </a:cubicBezTo>
                <a:lnTo>
                  <a:pt x="3855" y="652"/>
                </a:lnTo>
                <a:close/>
                <a:moveTo>
                  <a:pt x="3861" y="650"/>
                </a:moveTo>
                <a:cubicBezTo>
                  <a:pt x="3862" y="650"/>
                  <a:pt x="3863" y="650"/>
                  <a:pt x="3864" y="649"/>
                </a:cubicBezTo>
                <a:cubicBezTo>
                  <a:pt x="3866" y="648"/>
                  <a:pt x="3867" y="647"/>
                  <a:pt x="3867" y="645"/>
                </a:cubicBezTo>
                <a:lnTo>
                  <a:pt x="3867" y="644"/>
                </a:lnTo>
                <a:cubicBezTo>
                  <a:pt x="3866" y="643"/>
                  <a:pt x="3866" y="643"/>
                  <a:pt x="3864" y="643"/>
                </a:cubicBezTo>
                <a:cubicBezTo>
                  <a:pt x="3864" y="643"/>
                  <a:pt x="3863" y="643"/>
                  <a:pt x="3862" y="644"/>
                </a:cubicBezTo>
                <a:cubicBezTo>
                  <a:pt x="3861" y="645"/>
                  <a:pt x="3861" y="647"/>
                  <a:pt x="3861" y="649"/>
                </a:cubicBezTo>
                <a:cubicBezTo>
                  <a:pt x="3861" y="649"/>
                  <a:pt x="3861" y="650"/>
                  <a:pt x="3861" y="650"/>
                </a:cubicBezTo>
                <a:close/>
                <a:moveTo>
                  <a:pt x="3972" y="597"/>
                </a:moveTo>
                <a:cubicBezTo>
                  <a:pt x="3973" y="597"/>
                  <a:pt x="3974" y="595"/>
                  <a:pt x="3974" y="593"/>
                </a:cubicBezTo>
                <a:cubicBezTo>
                  <a:pt x="3974" y="592"/>
                  <a:pt x="3973" y="591"/>
                  <a:pt x="3973" y="591"/>
                </a:cubicBezTo>
                <a:lnTo>
                  <a:pt x="3972" y="592"/>
                </a:lnTo>
                <a:cubicBezTo>
                  <a:pt x="3971" y="592"/>
                  <a:pt x="3971" y="593"/>
                  <a:pt x="3971" y="595"/>
                </a:cubicBezTo>
                <a:cubicBezTo>
                  <a:pt x="3971" y="595"/>
                  <a:pt x="3971" y="595"/>
                  <a:pt x="3971" y="595"/>
                </a:cubicBezTo>
                <a:cubicBezTo>
                  <a:pt x="3971" y="596"/>
                  <a:pt x="3972" y="596"/>
                  <a:pt x="3972" y="597"/>
                </a:cubicBezTo>
                <a:close/>
                <a:moveTo>
                  <a:pt x="3681" y="576"/>
                </a:moveTo>
                <a:cubicBezTo>
                  <a:pt x="3681" y="576"/>
                  <a:pt x="3680" y="576"/>
                  <a:pt x="3680" y="575"/>
                </a:cubicBezTo>
                <a:cubicBezTo>
                  <a:pt x="3680" y="575"/>
                  <a:pt x="3681" y="574"/>
                  <a:pt x="3682" y="573"/>
                </a:cubicBezTo>
                <a:cubicBezTo>
                  <a:pt x="3683" y="572"/>
                  <a:pt x="3684" y="571"/>
                  <a:pt x="3685" y="570"/>
                </a:cubicBezTo>
                <a:cubicBezTo>
                  <a:pt x="3686" y="570"/>
                  <a:pt x="3687" y="569"/>
                  <a:pt x="3687" y="569"/>
                </a:cubicBezTo>
                <a:cubicBezTo>
                  <a:pt x="3687" y="569"/>
                  <a:pt x="3688" y="570"/>
                  <a:pt x="3688" y="570"/>
                </a:cubicBezTo>
                <a:cubicBezTo>
                  <a:pt x="3688" y="570"/>
                  <a:pt x="3687" y="571"/>
                  <a:pt x="3685" y="573"/>
                </a:cubicBezTo>
                <a:cubicBezTo>
                  <a:pt x="3684" y="575"/>
                  <a:pt x="3682" y="576"/>
                  <a:pt x="3681" y="576"/>
                </a:cubicBezTo>
                <a:close/>
                <a:moveTo>
                  <a:pt x="4004" y="578"/>
                </a:moveTo>
                <a:cubicBezTo>
                  <a:pt x="4004" y="578"/>
                  <a:pt x="4004" y="578"/>
                  <a:pt x="4004" y="578"/>
                </a:cubicBezTo>
                <a:cubicBezTo>
                  <a:pt x="4004" y="577"/>
                  <a:pt x="4005" y="576"/>
                  <a:pt x="4007" y="575"/>
                </a:cubicBezTo>
                <a:cubicBezTo>
                  <a:pt x="4008" y="573"/>
                  <a:pt x="4010" y="572"/>
                  <a:pt x="4010" y="572"/>
                </a:cubicBezTo>
                <a:cubicBezTo>
                  <a:pt x="4011" y="572"/>
                  <a:pt x="4011" y="573"/>
                  <a:pt x="4011" y="573"/>
                </a:cubicBezTo>
                <a:lnTo>
                  <a:pt x="4012" y="573"/>
                </a:lnTo>
                <a:cubicBezTo>
                  <a:pt x="4012" y="574"/>
                  <a:pt x="4011" y="575"/>
                  <a:pt x="4010" y="576"/>
                </a:cubicBezTo>
                <a:cubicBezTo>
                  <a:pt x="4010" y="576"/>
                  <a:pt x="4008" y="577"/>
                  <a:pt x="4007" y="578"/>
                </a:cubicBezTo>
                <a:cubicBezTo>
                  <a:pt x="4006" y="578"/>
                  <a:pt x="4005" y="578"/>
                  <a:pt x="4004" y="578"/>
                </a:cubicBezTo>
                <a:close/>
                <a:moveTo>
                  <a:pt x="3661" y="679"/>
                </a:moveTo>
                <a:cubicBezTo>
                  <a:pt x="3661" y="679"/>
                  <a:pt x="3660" y="678"/>
                  <a:pt x="3660" y="676"/>
                </a:cubicBezTo>
                <a:cubicBezTo>
                  <a:pt x="3660" y="674"/>
                  <a:pt x="3661" y="674"/>
                  <a:pt x="3661" y="674"/>
                </a:cubicBezTo>
                <a:cubicBezTo>
                  <a:pt x="3662" y="674"/>
                  <a:pt x="3662" y="674"/>
                  <a:pt x="3663" y="674"/>
                </a:cubicBezTo>
                <a:cubicBezTo>
                  <a:pt x="3663" y="674"/>
                  <a:pt x="3663" y="675"/>
                  <a:pt x="3663" y="676"/>
                </a:cubicBezTo>
                <a:cubicBezTo>
                  <a:pt x="3663" y="676"/>
                  <a:pt x="3663" y="677"/>
                  <a:pt x="3663" y="678"/>
                </a:cubicBezTo>
                <a:cubicBezTo>
                  <a:pt x="3662" y="679"/>
                  <a:pt x="3662" y="679"/>
                  <a:pt x="3661" y="679"/>
                </a:cubicBezTo>
                <a:close/>
                <a:moveTo>
                  <a:pt x="3869" y="656"/>
                </a:moveTo>
                <a:cubicBezTo>
                  <a:pt x="3868" y="656"/>
                  <a:pt x="3868" y="656"/>
                  <a:pt x="3868" y="654"/>
                </a:cubicBezTo>
                <a:cubicBezTo>
                  <a:pt x="3868" y="654"/>
                  <a:pt x="3869" y="653"/>
                  <a:pt x="3869" y="652"/>
                </a:cubicBezTo>
                <a:cubicBezTo>
                  <a:pt x="3870" y="652"/>
                  <a:pt x="3871" y="652"/>
                  <a:pt x="3872" y="651"/>
                </a:cubicBezTo>
                <a:cubicBezTo>
                  <a:pt x="3873" y="650"/>
                  <a:pt x="3874" y="650"/>
                  <a:pt x="3874" y="650"/>
                </a:cubicBezTo>
                <a:lnTo>
                  <a:pt x="3874" y="650"/>
                </a:lnTo>
                <a:lnTo>
                  <a:pt x="3873" y="653"/>
                </a:lnTo>
                <a:cubicBezTo>
                  <a:pt x="3871" y="655"/>
                  <a:pt x="3870" y="656"/>
                  <a:pt x="3869" y="656"/>
                </a:cubicBezTo>
                <a:close/>
                <a:moveTo>
                  <a:pt x="3919" y="633"/>
                </a:moveTo>
                <a:lnTo>
                  <a:pt x="3916" y="633"/>
                </a:lnTo>
                <a:cubicBezTo>
                  <a:pt x="3916" y="633"/>
                  <a:pt x="3917" y="632"/>
                  <a:pt x="3918" y="632"/>
                </a:cubicBezTo>
                <a:cubicBezTo>
                  <a:pt x="3921" y="631"/>
                  <a:pt x="3923" y="630"/>
                  <a:pt x="3925" y="627"/>
                </a:cubicBezTo>
                <a:cubicBezTo>
                  <a:pt x="3927" y="626"/>
                  <a:pt x="3929" y="625"/>
                  <a:pt x="3931" y="625"/>
                </a:cubicBezTo>
                <a:cubicBezTo>
                  <a:pt x="3932" y="625"/>
                  <a:pt x="3933" y="625"/>
                  <a:pt x="3933" y="626"/>
                </a:cubicBezTo>
                <a:lnTo>
                  <a:pt x="3930" y="626"/>
                </a:lnTo>
                <a:cubicBezTo>
                  <a:pt x="3928" y="626"/>
                  <a:pt x="3926" y="627"/>
                  <a:pt x="3925" y="630"/>
                </a:cubicBezTo>
                <a:cubicBezTo>
                  <a:pt x="3923" y="632"/>
                  <a:pt x="3921" y="633"/>
                  <a:pt x="3919" y="633"/>
                </a:cubicBezTo>
                <a:close/>
                <a:moveTo>
                  <a:pt x="3902" y="644"/>
                </a:moveTo>
                <a:cubicBezTo>
                  <a:pt x="3901" y="644"/>
                  <a:pt x="3901" y="643"/>
                  <a:pt x="3901" y="643"/>
                </a:cubicBezTo>
                <a:cubicBezTo>
                  <a:pt x="3901" y="642"/>
                  <a:pt x="3903" y="640"/>
                  <a:pt x="3908" y="638"/>
                </a:cubicBezTo>
                <a:cubicBezTo>
                  <a:pt x="3910" y="637"/>
                  <a:pt x="3912" y="637"/>
                  <a:pt x="3913" y="637"/>
                </a:cubicBezTo>
                <a:lnTo>
                  <a:pt x="3913" y="637"/>
                </a:lnTo>
                <a:cubicBezTo>
                  <a:pt x="3913" y="637"/>
                  <a:pt x="3913" y="638"/>
                  <a:pt x="3911" y="639"/>
                </a:cubicBezTo>
                <a:cubicBezTo>
                  <a:pt x="3910" y="640"/>
                  <a:pt x="3909" y="641"/>
                  <a:pt x="3907" y="642"/>
                </a:cubicBezTo>
                <a:cubicBezTo>
                  <a:pt x="3905" y="643"/>
                  <a:pt x="3903" y="644"/>
                  <a:pt x="3902" y="644"/>
                </a:cubicBezTo>
                <a:close/>
                <a:moveTo>
                  <a:pt x="3862" y="669"/>
                </a:moveTo>
                <a:cubicBezTo>
                  <a:pt x="3861" y="669"/>
                  <a:pt x="3860" y="669"/>
                  <a:pt x="3858" y="669"/>
                </a:cubicBezTo>
                <a:cubicBezTo>
                  <a:pt x="3857" y="669"/>
                  <a:pt x="3856" y="668"/>
                  <a:pt x="3856" y="667"/>
                </a:cubicBezTo>
                <a:cubicBezTo>
                  <a:pt x="3856" y="666"/>
                  <a:pt x="3858" y="665"/>
                  <a:pt x="3861" y="665"/>
                </a:cubicBezTo>
                <a:cubicBezTo>
                  <a:pt x="3863" y="665"/>
                  <a:pt x="3865" y="665"/>
                  <a:pt x="3865" y="664"/>
                </a:cubicBezTo>
                <a:lnTo>
                  <a:pt x="3864" y="662"/>
                </a:lnTo>
                <a:cubicBezTo>
                  <a:pt x="3864" y="661"/>
                  <a:pt x="3864" y="661"/>
                  <a:pt x="3865" y="661"/>
                </a:cubicBezTo>
                <a:lnTo>
                  <a:pt x="3865" y="661"/>
                </a:lnTo>
                <a:cubicBezTo>
                  <a:pt x="3867" y="661"/>
                  <a:pt x="3869" y="660"/>
                  <a:pt x="3873" y="659"/>
                </a:cubicBezTo>
                <a:cubicBezTo>
                  <a:pt x="3876" y="657"/>
                  <a:pt x="3880" y="655"/>
                  <a:pt x="3884" y="653"/>
                </a:cubicBezTo>
                <a:cubicBezTo>
                  <a:pt x="3887" y="651"/>
                  <a:pt x="3890" y="649"/>
                  <a:pt x="3892" y="647"/>
                </a:cubicBezTo>
                <a:cubicBezTo>
                  <a:pt x="3894" y="646"/>
                  <a:pt x="3896" y="645"/>
                  <a:pt x="3897" y="645"/>
                </a:cubicBezTo>
                <a:cubicBezTo>
                  <a:pt x="3898" y="645"/>
                  <a:pt x="3899" y="646"/>
                  <a:pt x="3899" y="647"/>
                </a:cubicBezTo>
                <a:cubicBezTo>
                  <a:pt x="3899" y="649"/>
                  <a:pt x="3898" y="649"/>
                  <a:pt x="3896" y="649"/>
                </a:cubicBezTo>
                <a:cubicBezTo>
                  <a:pt x="3894" y="649"/>
                  <a:pt x="3893" y="650"/>
                  <a:pt x="3893" y="651"/>
                </a:cubicBezTo>
                <a:lnTo>
                  <a:pt x="3894" y="653"/>
                </a:lnTo>
                <a:cubicBezTo>
                  <a:pt x="3894" y="654"/>
                  <a:pt x="3894" y="654"/>
                  <a:pt x="3893" y="654"/>
                </a:cubicBezTo>
                <a:lnTo>
                  <a:pt x="3892" y="653"/>
                </a:lnTo>
                <a:cubicBezTo>
                  <a:pt x="3890" y="653"/>
                  <a:pt x="3888" y="654"/>
                  <a:pt x="3887" y="656"/>
                </a:cubicBezTo>
                <a:cubicBezTo>
                  <a:pt x="3885" y="658"/>
                  <a:pt x="3884" y="659"/>
                  <a:pt x="3882" y="659"/>
                </a:cubicBezTo>
                <a:cubicBezTo>
                  <a:pt x="3881" y="659"/>
                  <a:pt x="3879" y="660"/>
                  <a:pt x="3876" y="661"/>
                </a:cubicBezTo>
                <a:cubicBezTo>
                  <a:pt x="3869" y="665"/>
                  <a:pt x="3866" y="667"/>
                  <a:pt x="3866" y="668"/>
                </a:cubicBezTo>
                <a:cubicBezTo>
                  <a:pt x="3866" y="669"/>
                  <a:pt x="3865" y="669"/>
                  <a:pt x="3862" y="669"/>
                </a:cubicBezTo>
                <a:close/>
                <a:moveTo>
                  <a:pt x="3856" y="667"/>
                </a:moveTo>
                <a:close/>
                <a:moveTo>
                  <a:pt x="3938" y="623"/>
                </a:moveTo>
                <a:cubicBezTo>
                  <a:pt x="3938" y="623"/>
                  <a:pt x="3938" y="623"/>
                  <a:pt x="3938" y="623"/>
                </a:cubicBezTo>
                <a:cubicBezTo>
                  <a:pt x="3938" y="622"/>
                  <a:pt x="3939" y="620"/>
                  <a:pt x="3940" y="618"/>
                </a:cubicBezTo>
                <a:cubicBezTo>
                  <a:pt x="3944" y="614"/>
                  <a:pt x="3946" y="611"/>
                  <a:pt x="3948" y="611"/>
                </a:cubicBezTo>
                <a:cubicBezTo>
                  <a:pt x="3949" y="611"/>
                  <a:pt x="3952" y="610"/>
                  <a:pt x="3955" y="608"/>
                </a:cubicBezTo>
                <a:cubicBezTo>
                  <a:pt x="3958" y="606"/>
                  <a:pt x="3960" y="605"/>
                  <a:pt x="3961" y="605"/>
                </a:cubicBezTo>
                <a:cubicBezTo>
                  <a:pt x="3961" y="605"/>
                  <a:pt x="3962" y="605"/>
                  <a:pt x="3962" y="606"/>
                </a:cubicBezTo>
                <a:cubicBezTo>
                  <a:pt x="3962" y="608"/>
                  <a:pt x="3961" y="610"/>
                  <a:pt x="3961" y="610"/>
                </a:cubicBezTo>
                <a:lnTo>
                  <a:pt x="3959" y="609"/>
                </a:lnTo>
                <a:cubicBezTo>
                  <a:pt x="3958" y="609"/>
                  <a:pt x="3955" y="610"/>
                  <a:pt x="3952" y="613"/>
                </a:cubicBezTo>
                <a:cubicBezTo>
                  <a:pt x="3949" y="616"/>
                  <a:pt x="3946" y="617"/>
                  <a:pt x="3945" y="617"/>
                </a:cubicBezTo>
                <a:cubicBezTo>
                  <a:pt x="3943" y="617"/>
                  <a:pt x="3941" y="619"/>
                  <a:pt x="3940" y="621"/>
                </a:cubicBezTo>
                <a:cubicBezTo>
                  <a:pt x="3939" y="623"/>
                  <a:pt x="3939" y="623"/>
                  <a:pt x="3938" y="623"/>
                </a:cubicBezTo>
                <a:close/>
                <a:moveTo>
                  <a:pt x="3773" y="362"/>
                </a:moveTo>
                <a:close/>
                <a:moveTo>
                  <a:pt x="3758" y="383"/>
                </a:moveTo>
                <a:cubicBezTo>
                  <a:pt x="3758" y="383"/>
                  <a:pt x="3757" y="383"/>
                  <a:pt x="3757" y="382"/>
                </a:cubicBezTo>
                <a:lnTo>
                  <a:pt x="3764" y="377"/>
                </a:lnTo>
                <a:cubicBezTo>
                  <a:pt x="3764" y="377"/>
                  <a:pt x="3763" y="378"/>
                  <a:pt x="3762" y="379"/>
                </a:cubicBezTo>
                <a:cubicBezTo>
                  <a:pt x="3760" y="382"/>
                  <a:pt x="3759" y="383"/>
                  <a:pt x="3758" y="383"/>
                </a:cubicBezTo>
                <a:close/>
                <a:moveTo>
                  <a:pt x="3747" y="394"/>
                </a:moveTo>
                <a:close/>
                <a:moveTo>
                  <a:pt x="3773" y="362"/>
                </a:moveTo>
                <a:cubicBezTo>
                  <a:pt x="3773" y="362"/>
                  <a:pt x="3773" y="362"/>
                  <a:pt x="3773" y="362"/>
                </a:cubicBezTo>
                <a:cubicBezTo>
                  <a:pt x="3773" y="361"/>
                  <a:pt x="3774" y="360"/>
                  <a:pt x="3776" y="358"/>
                </a:cubicBezTo>
                <a:lnTo>
                  <a:pt x="3779" y="356"/>
                </a:lnTo>
                <a:lnTo>
                  <a:pt x="3777" y="359"/>
                </a:lnTo>
                <a:cubicBezTo>
                  <a:pt x="3775" y="361"/>
                  <a:pt x="3774" y="362"/>
                  <a:pt x="3773" y="362"/>
                </a:cubicBezTo>
                <a:close/>
                <a:moveTo>
                  <a:pt x="3757" y="382"/>
                </a:moveTo>
                <a:close/>
                <a:moveTo>
                  <a:pt x="3722" y="458"/>
                </a:moveTo>
                <a:cubicBezTo>
                  <a:pt x="3720" y="458"/>
                  <a:pt x="3719" y="457"/>
                  <a:pt x="3719" y="455"/>
                </a:cubicBezTo>
                <a:lnTo>
                  <a:pt x="3719" y="455"/>
                </a:lnTo>
                <a:cubicBezTo>
                  <a:pt x="3719" y="453"/>
                  <a:pt x="3720" y="451"/>
                  <a:pt x="3721" y="451"/>
                </a:cubicBezTo>
                <a:cubicBezTo>
                  <a:pt x="3721" y="451"/>
                  <a:pt x="3721" y="452"/>
                  <a:pt x="3722" y="452"/>
                </a:cubicBezTo>
                <a:cubicBezTo>
                  <a:pt x="3723" y="453"/>
                  <a:pt x="3723" y="453"/>
                  <a:pt x="3724" y="453"/>
                </a:cubicBezTo>
                <a:cubicBezTo>
                  <a:pt x="3725" y="453"/>
                  <a:pt x="3726" y="453"/>
                  <a:pt x="3727" y="451"/>
                </a:cubicBezTo>
                <a:cubicBezTo>
                  <a:pt x="3728" y="451"/>
                  <a:pt x="3729" y="450"/>
                  <a:pt x="3729" y="450"/>
                </a:cubicBezTo>
                <a:lnTo>
                  <a:pt x="3728" y="453"/>
                </a:lnTo>
                <a:cubicBezTo>
                  <a:pt x="3727" y="456"/>
                  <a:pt x="3725" y="458"/>
                  <a:pt x="3722" y="458"/>
                </a:cubicBezTo>
                <a:close/>
                <a:moveTo>
                  <a:pt x="3747" y="394"/>
                </a:moveTo>
                <a:cubicBezTo>
                  <a:pt x="3747" y="394"/>
                  <a:pt x="3747" y="394"/>
                  <a:pt x="3747" y="394"/>
                </a:cubicBezTo>
                <a:cubicBezTo>
                  <a:pt x="3747" y="394"/>
                  <a:pt x="3747" y="393"/>
                  <a:pt x="3748" y="392"/>
                </a:cubicBezTo>
                <a:cubicBezTo>
                  <a:pt x="3749" y="391"/>
                  <a:pt x="3751" y="390"/>
                  <a:pt x="3753" y="389"/>
                </a:cubicBezTo>
                <a:cubicBezTo>
                  <a:pt x="3755" y="387"/>
                  <a:pt x="3756" y="387"/>
                  <a:pt x="3757" y="387"/>
                </a:cubicBezTo>
                <a:lnTo>
                  <a:pt x="3757" y="387"/>
                </a:lnTo>
                <a:cubicBezTo>
                  <a:pt x="3757" y="388"/>
                  <a:pt x="3756" y="389"/>
                  <a:pt x="3754" y="390"/>
                </a:cubicBezTo>
                <a:cubicBezTo>
                  <a:pt x="3750" y="393"/>
                  <a:pt x="3748" y="394"/>
                  <a:pt x="3747" y="394"/>
                </a:cubicBezTo>
                <a:close/>
                <a:moveTo>
                  <a:pt x="3707" y="482"/>
                </a:moveTo>
                <a:cubicBezTo>
                  <a:pt x="3707" y="482"/>
                  <a:pt x="3705" y="481"/>
                  <a:pt x="3703" y="479"/>
                </a:cubicBezTo>
                <a:cubicBezTo>
                  <a:pt x="3703" y="478"/>
                  <a:pt x="3702" y="474"/>
                  <a:pt x="3700" y="468"/>
                </a:cubicBezTo>
                <a:cubicBezTo>
                  <a:pt x="3699" y="463"/>
                  <a:pt x="3698" y="459"/>
                  <a:pt x="3696" y="457"/>
                </a:cubicBezTo>
                <a:lnTo>
                  <a:pt x="3695" y="455"/>
                </a:lnTo>
                <a:lnTo>
                  <a:pt x="3698" y="457"/>
                </a:lnTo>
                <a:cubicBezTo>
                  <a:pt x="3698" y="457"/>
                  <a:pt x="3698" y="456"/>
                  <a:pt x="3698" y="456"/>
                </a:cubicBezTo>
                <a:lnTo>
                  <a:pt x="3698" y="453"/>
                </a:lnTo>
                <a:cubicBezTo>
                  <a:pt x="3698" y="453"/>
                  <a:pt x="3698" y="452"/>
                  <a:pt x="3699" y="452"/>
                </a:cubicBezTo>
                <a:cubicBezTo>
                  <a:pt x="3700" y="452"/>
                  <a:pt x="3701" y="451"/>
                  <a:pt x="3701" y="449"/>
                </a:cubicBezTo>
                <a:cubicBezTo>
                  <a:pt x="3701" y="447"/>
                  <a:pt x="3703" y="442"/>
                  <a:pt x="3706" y="434"/>
                </a:cubicBezTo>
                <a:cubicBezTo>
                  <a:pt x="3709" y="428"/>
                  <a:pt x="3710" y="424"/>
                  <a:pt x="3710" y="423"/>
                </a:cubicBezTo>
                <a:cubicBezTo>
                  <a:pt x="3710" y="422"/>
                  <a:pt x="3710" y="422"/>
                  <a:pt x="3710" y="422"/>
                </a:cubicBezTo>
                <a:cubicBezTo>
                  <a:pt x="3709" y="422"/>
                  <a:pt x="3708" y="424"/>
                  <a:pt x="3706" y="427"/>
                </a:cubicBezTo>
                <a:cubicBezTo>
                  <a:pt x="3704" y="431"/>
                  <a:pt x="3703" y="434"/>
                  <a:pt x="3701" y="438"/>
                </a:cubicBezTo>
                <a:cubicBezTo>
                  <a:pt x="3700" y="442"/>
                  <a:pt x="3699" y="444"/>
                  <a:pt x="3699" y="445"/>
                </a:cubicBezTo>
                <a:cubicBezTo>
                  <a:pt x="3699" y="446"/>
                  <a:pt x="3698" y="448"/>
                  <a:pt x="3697" y="450"/>
                </a:cubicBezTo>
                <a:cubicBezTo>
                  <a:pt x="3696" y="452"/>
                  <a:pt x="3694" y="453"/>
                  <a:pt x="3693" y="455"/>
                </a:cubicBezTo>
                <a:cubicBezTo>
                  <a:pt x="3691" y="456"/>
                  <a:pt x="3690" y="457"/>
                  <a:pt x="3689" y="457"/>
                </a:cubicBezTo>
                <a:cubicBezTo>
                  <a:pt x="3688" y="457"/>
                  <a:pt x="3688" y="456"/>
                  <a:pt x="3688" y="453"/>
                </a:cubicBezTo>
                <a:cubicBezTo>
                  <a:pt x="3688" y="441"/>
                  <a:pt x="3696" y="421"/>
                  <a:pt x="3714" y="394"/>
                </a:cubicBezTo>
                <a:cubicBezTo>
                  <a:pt x="3731" y="366"/>
                  <a:pt x="3742" y="349"/>
                  <a:pt x="3749" y="342"/>
                </a:cubicBezTo>
                <a:cubicBezTo>
                  <a:pt x="3749" y="341"/>
                  <a:pt x="3752" y="338"/>
                  <a:pt x="3756" y="333"/>
                </a:cubicBezTo>
                <a:cubicBezTo>
                  <a:pt x="3763" y="322"/>
                  <a:pt x="3768" y="317"/>
                  <a:pt x="3771" y="317"/>
                </a:cubicBezTo>
                <a:cubicBezTo>
                  <a:pt x="3774" y="317"/>
                  <a:pt x="3776" y="319"/>
                  <a:pt x="3776" y="322"/>
                </a:cubicBezTo>
                <a:cubicBezTo>
                  <a:pt x="3776" y="324"/>
                  <a:pt x="3775" y="326"/>
                  <a:pt x="3774" y="329"/>
                </a:cubicBezTo>
                <a:cubicBezTo>
                  <a:pt x="3772" y="332"/>
                  <a:pt x="3772" y="333"/>
                  <a:pt x="3772" y="334"/>
                </a:cubicBezTo>
                <a:cubicBezTo>
                  <a:pt x="3772" y="335"/>
                  <a:pt x="3772" y="335"/>
                  <a:pt x="3774" y="335"/>
                </a:cubicBezTo>
                <a:cubicBezTo>
                  <a:pt x="3775" y="335"/>
                  <a:pt x="3776" y="337"/>
                  <a:pt x="3776" y="341"/>
                </a:cubicBezTo>
                <a:cubicBezTo>
                  <a:pt x="3776" y="348"/>
                  <a:pt x="3775" y="352"/>
                  <a:pt x="3772" y="355"/>
                </a:cubicBezTo>
                <a:cubicBezTo>
                  <a:pt x="3766" y="360"/>
                  <a:pt x="3758" y="372"/>
                  <a:pt x="3749" y="390"/>
                </a:cubicBezTo>
                <a:cubicBezTo>
                  <a:pt x="3744" y="397"/>
                  <a:pt x="3742" y="401"/>
                  <a:pt x="3742" y="403"/>
                </a:cubicBezTo>
                <a:lnTo>
                  <a:pt x="3742" y="404"/>
                </a:lnTo>
                <a:cubicBezTo>
                  <a:pt x="3742" y="405"/>
                  <a:pt x="3742" y="406"/>
                  <a:pt x="3742" y="406"/>
                </a:cubicBezTo>
                <a:lnTo>
                  <a:pt x="3740" y="405"/>
                </a:lnTo>
                <a:cubicBezTo>
                  <a:pt x="3739" y="405"/>
                  <a:pt x="3737" y="406"/>
                  <a:pt x="3735" y="408"/>
                </a:cubicBezTo>
                <a:lnTo>
                  <a:pt x="3734" y="411"/>
                </a:lnTo>
                <a:cubicBezTo>
                  <a:pt x="3735" y="411"/>
                  <a:pt x="3735" y="411"/>
                  <a:pt x="3737" y="410"/>
                </a:cubicBezTo>
                <a:lnTo>
                  <a:pt x="3740" y="409"/>
                </a:lnTo>
                <a:cubicBezTo>
                  <a:pt x="3740" y="410"/>
                  <a:pt x="3739" y="411"/>
                  <a:pt x="3738" y="411"/>
                </a:cubicBezTo>
                <a:cubicBezTo>
                  <a:pt x="3736" y="413"/>
                  <a:pt x="3735" y="415"/>
                  <a:pt x="3734" y="419"/>
                </a:cubicBezTo>
                <a:cubicBezTo>
                  <a:pt x="3733" y="422"/>
                  <a:pt x="3731" y="426"/>
                  <a:pt x="3728" y="429"/>
                </a:cubicBezTo>
                <a:cubicBezTo>
                  <a:pt x="3717" y="447"/>
                  <a:pt x="3712" y="456"/>
                  <a:pt x="3712" y="458"/>
                </a:cubicBezTo>
                <a:cubicBezTo>
                  <a:pt x="3712" y="458"/>
                  <a:pt x="3712" y="459"/>
                  <a:pt x="3712" y="459"/>
                </a:cubicBezTo>
                <a:lnTo>
                  <a:pt x="3714" y="458"/>
                </a:lnTo>
                <a:cubicBezTo>
                  <a:pt x="3715" y="458"/>
                  <a:pt x="3716" y="459"/>
                  <a:pt x="3718" y="460"/>
                </a:cubicBezTo>
                <a:cubicBezTo>
                  <a:pt x="3719" y="461"/>
                  <a:pt x="3719" y="462"/>
                  <a:pt x="3719" y="463"/>
                </a:cubicBezTo>
                <a:cubicBezTo>
                  <a:pt x="3719" y="464"/>
                  <a:pt x="3719" y="464"/>
                  <a:pt x="3719" y="465"/>
                </a:cubicBezTo>
                <a:cubicBezTo>
                  <a:pt x="3718" y="465"/>
                  <a:pt x="3718" y="465"/>
                  <a:pt x="3717" y="465"/>
                </a:cubicBezTo>
                <a:cubicBezTo>
                  <a:pt x="3717" y="465"/>
                  <a:pt x="3716" y="465"/>
                  <a:pt x="3716" y="464"/>
                </a:cubicBezTo>
                <a:cubicBezTo>
                  <a:pt x="3716" y="463"/>
                  <a:pt x="3715" y="462"/>
                  <a:pt x="3713" y="462"/>
                </a:cubicBezTo>
                <a:cubicBezTo>
                  <a:pt x="3712" y="462"/>
                  <a:pt x="3711" y="463"/>
                  <a:pt x="3711" y="463"/>
                </a:cubicBezTo>
                <a:cubicBezTo>
                  <a:pt x="3711" y="463"/>
                  <a:pt x="3711" y="464"/>
                  <a:pt x="3712" y="464"/>
                </a:cubicBezTo>
                <a:cubicBezTo>
                  <a:pt x="3712" y="465"/>
                  <a:pt x="3712" y="466"/>
                  <a:pt x="3712" y="467"/>
                </a:cubicBezTo>
                <a:cubicBezTo>
                  <a:pt x="3712" y="469"/>
                  <a:pt x="3712" y="471"/>
                  <a:pt x="3712" y="473"/>
                </a:cubicBezTo>
                <a:cubicBezTo>
                  <a:pt x="3711" y="476"/>
                  <a:pt x="3710" y="478"/>
                  <a:pt x="3709" y="479"/>
                </a:cubicBezTo>
                <a:cubicBezTo>
                  <a:pt x="3708" y="481"/>
                  <a:pt x="3708" y="482"/>
                  <a:pt x="3707" y="482"/>
                </a:cubicBezTo>
                <a:close/>
                <a:moveTo>
                  <a:pt x="3755" y="353"/>
                </a:moveTo>
                <a:cubicBezTo>
                  <a:pt x="3756" y="353"/>
                  <a:pt x="3758" y="352"/>
                  <a:pt x="3760" y="349"/>
                </a:cubicBezTo>
                <a:cubicBezTo>
                  <a:pt x="3763" y="346"/>
                  <a:pt x="3764" y="345"/>
                  <a:pt x="3764" y="344"/>
                </a:cubicBezTo>
                <a:cubicBezTo>
                  <a:pt x="3763" y="344"/>
                  <a:pt x="3761" y="346"/>
                  <a:pt x="3759" y="349"/>
                </a:cubicBezTo>
                <a:cubicBezTo>
                  <a:pt x="3757" y="352"/>
                  <a:pt x="3755" y="353"/>
                  <a:pt x="3755" y="353"/>
                </a:cubicBezTo>
                <a:close/>
                <a:moveTo>
                  <a:pt x="3747" y="365"/>
                </a:moveTo>
                <a:cubicBezTo>
                  <a:pt x="3748" y="365"/>
                  <a:pt x="3749" y="364"/>
                  <a:pt x="3752" y="361"/>
                </a:cubicBezTo>
                <a:cubicBezTo>
                  <a:pt x="3754" y="358"/>
                  <a:pt x="3755" y="356"/>
                  <a:pt x="3755" y="356"/>
                </a:cubicBezTo>
                <a:cubicBezTo>
                  <a:pt x="3754" y="356"/>
                  <a:pt x="3753" y="357"/>
                  <a:pt x="3750" y="360"/>
                </a:cubicBezTo>
                <a:cubicBezTo>
                  <a:pt x="3748" y="363"/>
                  <a:pt x="3747" y="365"/>
                  <a:pt x="3747" y="365"/>
                </a:cubicBezTo>
                <a:close/>
                <a:moveTo>
                  <a:pt x="3719" y="408"/>
                </a:moveTo>
                <a:cubicBezTo>
                  <a:pt x="3720" y="408"/>
                  <a:pt x="3725" y="401"/>
                  <a:pt x="3735" y="386"/>
                </a:cubicBezTo>
                <a:cubicBezTo>
                  <a:pt x="3742" y="375"/>
                  <a:pt x="3745" y="368"/>
                  <a:pt x="3745" y="368"/>
                </a:cubicBezTo>
                <a:cubicBezTo>
                  <a:pt x="3745" y="368"/>
                  <a:pt x="3742" y="372"/>
                  <a:pt x="3737" y="379"/>
                </a:cubicBezTo>
                <a:cubicBezTo>
                  <a:pt x="3732" y="387"/>
                  <a:pt x="3728" y="392"/>
                  <a:pt x="3726" y="392"/>
                </a:cubicBezTo>
                <a:cubicBezTo>
                  <a:pt x="3726" y="392"/>
                  <a:pt x="3726" y="393"/>
                  <a:pt x="3725" y="394"/>
                </a:cubicBezTo>
                <a:cubicBezTo>
                  <a:pt x="3725" y="394"/>
                  <a:pt x="3725" y="395"/>
                  <a:pt x="3725" y="396"/>
                </a:cubicBezTo>
                <a:cubicBezTo>
                  <a:pt x="3725" y="397"/>
                  <a:pt x="3725" y="398"/>
                  <a:pt x="3724" y="398"/>
                </a:cubicBezTo>
                <a:cubicBezTo>
                  <a:pt x="3723" y="399"/>
                  <a:pt x="3722" y="399"/>
                  <a:pt x="3721" y="399"/>
                </a:cubicBezTo>
                <a:cubicBezTo>
                  <a:pt x="3720" y="399"/>
                  <a:pt x="3719" y="401"/>
                  <a:pt x="3719" y="404"/>
                </a:cubicBezTo>
                <a:lnTo>
                  <a:pt x="3719" y="408"/>
                </a:lnTo>
                <a:close/>
                <a:moveTo>
                  <a:pt x="3712" y="420"/>
                </a:moveTo>
                <a:cubicBezTo>
                  <a:pt x="3713" y="420"/>
                  <a:pt x="3715" y="419"/>
                  <a:pt x="3716" y="416"/>
                </a:cubicBezTo>
                <a:cubicBezTo>
                  <a:pt x="3717" y="414"/>
                  <a:pt x="3717" y="413"/>
                  <a:pt x="3717" y="412"/>
                </a:cubicBezTo>
                <a:cubicBezTo>
                  <a:pt x="3717" y="411"/>
                  <a:pt x="3717" y="411"/>
                  <a:pt x="3717" y="411"/>
                </a:cubicBezTo>
                <a:cubicBezTo>
                  <a:pt x="3715" y="411"/>
                  <a:pt x="3714" y="413"/>
                  <a:pt x="3712" y="416"/>
                </a:cubicBezTo>
                <a:cubicBezTo>
                  <a:pt x="3712" y="417"/>
                  <a:pt x="3711" y="419"/>
                  <a:pt x="3711" y="419"/>
                </a:cubicBezTo>
                <a:cubicBezTo>
                  <a:pt x="3711" y="420"/>
                  <a:pt x="3711" y="420"/>
                  <a:pt x="3712" y="420"/>
                </a:cubicBezTo>
                <a:close/>
                <a:moveTo>
                  <a:pt x="3724" y="449"/>
                </a:moveTo>
                <a:cubicBezTo>
                  <a:pt x="3724" y="449"/>
                  <a:pt x="3723" y="449"/>
                  <a:pt x="3723" y="448"/>
                </a:cubicBezTo>
                <a:lnTo>
                  <a:pt x="3724" y="447"/>
                </a:lnTo>
                <a:cubicBezTo>
                  <a:pt x="3724" y="446"/>
                  <a:pt x="3725" y="445"/>
                  <a:pt x="3726" y="445"/>
                </a:cubicBezTo>
                <a:lnTo>
                  <a:pt x="3727" y="445"/>
                </a:lnTo>
                <a:cubicBezTo>
                  <a:pt x="3728" y="445"/>
                  <a:pt x="3728" y="445"/>
                  <a:pt x="3728" y="444"/>
                </a:cubicBezTo>
                <a:lnTo>
                  <a:pt x="3728" y="441"/>
                </a:lnTo>
                <a:cubicBezTo>
                  <a:pt x="3728" y="439"/>
                  <a:pt x="3728" y="438"/>
                  <a:pt x="3730" y="436"/>
                </a:cubicBezTo>
                <a:cubicBezTo>
                  <a:pt x="3731" y="434"/>
                  <a:pt x="3732" y="433"/>
                  <a:pt x="3733" y="433"/>
                </a:cubicBezTo>
                <a:lnTo>
                  <a:pt x="3735" y="433"/>
                </a:lnTo>
                <a:cubicBezTo>
                  <a:pt x="3735" y="433"/>
                  <a:pt x="3735" y="433"/>
                  <a:pt x="3735" y="433"/>
                </a:cubicBezTo>
                <a:lnTo>
                  <a:pt x="3735" y="430"/>
                </a:lnTo>
                <a:cubicBezTo>
                  <a:pt x="3735" y="429"/>
                  <a:pt x="3735" y="427"/>
                  <a:pt x="3736" y="425"/>
                </a:cubicBezTo>
                <a:cubicBezTo>
                  <a:pt x="3737" y="424"/>
                  <a:pt x="3737" y="422"/>
                  <a:pt x="3739" y="421"/>
                </a:cubicBezTo>
                <a:cubicBezTo>
                  <a:pt x="3740" y="419"/>
                  <a:pt x="3741" y="419"/>
                  <a:pt x="3742" y="419"/>
                </a:cubicBezTo>
                <a:lnTo>
                  <a:pt x="3744" y="419"/>
                </a:lnTo>
                <a:cubicBezTo>
                  <a:pt x="3744" y="419"/>
                  <a:pt x="3745" y="419"/>
                  <a:pt x="3746" y="418"/>
                </a:cubicBezTo>
                <a:cubicBezTo>
                  <a:pt x="3746" y="417"/>
                  <a:pt x="3747" y="416"/>
                  <a:pt x="3747" y="416"/>
                </a:cubicBezTo>
                <a:lnTo>
                  <a:pt x="3743" y="417"/>
                </a:lnTo>
                <a:cubicBezTo>
                  <a:pt x="3743" y="417"/>
                  <a:pt x="3743" y="417"/>
                  <a:pt x="3743" y="417"/>
                </a:cubicBezTo>
                <a:cubicBezTo>
                  <a:pt x="3743" y="415"/>
                  <a:pt x="3745" y="410"/>
                  <a:pt x="3750" y="403"/>
                </a:cubicBezTo>
                <a:cubicBezTo>
                  <a:pt x="3754" y="397"/>
                  <a:pt x="3757" y="393"/>
                  <a:pt x="3759" y="393"/>
                </a:cubicBezTo>
                <a:cubicBezTo>
                  <a:pt x="3759" y="394"/>
                  <a:pt x="3760" y="394"/>
                  <a:pt x="3760" y="394"/>
                </a:cubicBezTo>
                <a:cubicBezTo>
                  <a:pt x="3761" y="394"/>
                  <a:pt x="3762" y="393"/>
                  <a:pt x="3764" y="392"/>
                </a:cubicBezTo>
                <a:cubicBezTo>
                  <a:pt x="3765" y="392"/>
                  <a:pt x="3765" y="391"/>
                  <a:pt x="3766" y="391"/>
                </a:cubicBezTo>
                <a:cubicBezTo>
                  <a:pt x="3766" y="391"/>
                  <a:pt x="3766" y="391"/>
                  <a:pt x="3766" y="391"/>
                </a:cubicBezTo>
                <a:cubicBezTo>
                  <a:pt x="3766" y="393"/>
                  <a:pt x="3764" y="395"/>
                  <a:pt x="3761" y="399"/>
                </a:cubicBezTo>
                <a:cubicBezTo>
                  <a:pt x="3760" y="400"/>
                  <a:pt x="3759" y="400"/>
                  <a:pt x="3759" y="400"/>
                </a:cubicBezTo>
                <a:lnTo>
                  <a:pt x="3758" y="400"/>
                </a:lnTo>
                <a:lnTo>
                  <a:pt x="3759" y="398"/>
                </a:lnTo>
                <a:cubicBezTo>
                  <a:pt x="3759" y="398"/>
                  <a:pt x="3759" y="397"/>
                  <a:pt x="3759" y="397"/>
                </a:cubicBezTo>
                <a:lnTo>
                  <a:pt x="3757" y="399"/>
                </a:lnTo>
                <a:cubicBezTo>
                  <a:pt x="3757" y="399"/>
                  <a:pt x="3757" y="400"/>
                  <a:pt x="3757" y="401"/>
                </a:cubicBezTo>
                <a:lnTo>
                  <a:pt x="3757" y="404"/>
                </a:lnTo>
                <a:cubicBezTo>
                  <a:pt x="3757" y="405"/>
                  <a:pt x="3757" y="406"/>
                  <a:pt x="3755" y="407"/>
                </a:cubicBezTo>
                <a:cubicBezTo>
                  <a:pt x="3754" y="409"/>
                  <a:pt x="3753" y="409"/>
                  <a:pt x="3751" y="409"/>
                </a:cubicBezTo>
                <a:lnTo>
                  <a:pt x="3749" y="409"/>
                </a:lnTo>
                <a:lnTo>
                  <a:pt x="3750" y="411"/>
                </a:lnTo>
                <a:cubicBezTo>
                  <a:pt x="3750" y="413"/>
                  <a:pt x="3749" y="414"/>
                  <a:pt x="3748" y="417"/>
                </a:cubicBezTo>
                <a:cubicBezTo>
                  <a:pt x="3747" y="419"/>
                  <a:pt x="3746" y="422"/>
                  <a:pt x="3744" y="425"/>
                </a:cubicBezTo>
                <a:cubicBezTo>
                  <a:pt x="3742" y="429"/>
                  <a:pt x="3740" y="432"/>
                  <a:pt x="3738" y="435"/>
                </a:cubicBezTo>
                <a:cubicBezTo>
                  <a:pt x="3736" y="438"/>
                  <a:pt x="3735" y="441"/>
                  <a:pt x="3734" y="442"/>
                </a:cubicBezTo>
                <a:cubicBezTo>
                  <a:pt x="3733" y="444"/>
                  <a:pt x="3732" y="446"/>
                  <a:pt x="3730" y="447"/>
                </a:cubicBezTo>
                <a:cubicBezTo>
                  <a:pt x="3727" y="448"/>
                  <a:pt x="3726" y="449"/>
                  <a:pt x="3724" y="449"/>
                </a:cubicBezTo>
                <a:close/>
                <a:moveTo>
                  <a:pt x="3760" y="391"/>
                </a:moveTo>
                <a:cubicBezTo>
                  <a:pt x="3760" y="391"/>
                  <a:pt x="3760" y="391"/>
                  <a:pt x="3760" y="391"/>
                </a:cubicBezTo>
                <a:cubicBezTo>
                  <a:pt x="3760" y="389"/>
                  <a:pt x="3764" y="384"/>
                  <a:pt x="3771" y="373"/>
                </a:cubicBezTo>
                <a:cubicBezTo>
                  <a:pt x="3778" y="365"/>
                  <a:pt x="3781" y="359"/>
                  <a:pt x="3781" y="356"/>
                </a:cubicBezTo>
                <a:cubicBezTo>
                  <a:pt x="3781" y="355"/>
                  <a:pt x="3781" y="355"/>
                  <a:pt x="3781" y="354"/>
                </a:cubicBezTo>
                <a:cubicBezTo>
                  <a:pt x="3780" y="353"/>
                  <a:pt x="3780" y="353"/>
                  <a:pt x="3780" y="351"/>
                </a:cubicBezTo>
                <a:cubicBezTo>
                  <a:pt x="3780" y="350"/>
                  <a:pt x="3781" y="349"/>
                  <a:pt x="3782" y="347"/>
                </a:cubicBezTo>
                <a:cubicBezTo>
                  <a:pt x="3784" y="345"/>
                  <a:pt x="3785" y="344"/>
                  <a:pt x="3785" y="344"/>
                </a:cubicBezTo>
                <a:lnTo>
                  <a:pt x="3785" y="345"/>
                </a:lnTo>
                <a:lnTo>
                  <a:pt x="3782" y="353"/>
                </a:lnTo>
                <a:cubicBezTo>
                  <a:pt x="3783" y="353"/>
                  <a:pt x="3784" y="352"/>
                  <a:pt x="3787" y="348"/>
                </a:cubicBezTo>
                <a:cubicBezTo>
                  <a:pt x="3789" y="346"/>
                  <a:pt x="3790" y="345"/>
                  <a:pt x="3791" y="345"/>
                </a:cubicBezTo>
                <a:cubicBezTo>
                  <a:pt x="3792" y="345"/>
                  <a:pt x="3792" y="345"/>
                  <a:pt x="3792" y="346"/>
                </a:cubicBezTo>
                <a:cubicBezTo>
                  <a:pt x="3792" y="348"/>
                  <a:pt x="3791" y="350"/>
                  <a:pt x="3789" y="353"/>
                </a:cubicBezTo>
                <a:lnTo>
                  <a:pt x="3788" y="355"/>
                </a:lnTo>
                <a:lnTo>
                  <a:pt x="3791" y="354"/>
                </a:lnTo>
                <a:cubicBezTo>
                  <a:pt x="3791" y="354"/>
                  <a:pt x="3792" y="354"/>
                  <a:pt x="3792" y="355"/>
                </a:cubicBezTo>
                <a:cubicBezTo>
                  <a:pt x="3792" y="356"/>
                  <a:pt x="3788" y="362"/>
                  <a:pt x="3781" y="372"/>
                </a:cubicBezTo>
                <a:cubicBezTo>
                  <a:pt x="3772" y="384"/>
                  <a:pt x="3767" y="389"/>
                  <a:pt x="3766" y="389"/>
                </a:cubicBezTo>
                <a:cubicBezTo>
                  <a:pt x="3765" y="389"/>
                  <a:pt x="3764" y="390"/>
                  <a:pt x="3763" y="390"/>
                </a:cubicBezTo>
                <a:cubicBezTo>
                  <a:pt x="3762" y="391"/>
                  <a:pt x="3761" y="391"/>
                  <a:pt x="3760" y="391"/>
                </a:cubicBezTo>
                <a:close/>
                <a:moveTo>
                  <a:pt x="3775" y="374"/>
                </a:moveTo>
                <a:cubicBezTo>
                  <a:pt x="3776" y="374"/>
                  <a:pt x="3777" y="373"/>
                  <a:pt x="3779" y="370"/>
                </a:cubicBezTo>
                <a:lnTo>
                  <a:pt x="3781" y="368"/>
                </a:lnTo>
                <a:lnTo>
                  <a:pt x="3781" y="367"/>
                </a:lnTo>
                <a:cubicBezTo>
                  <a:pt x="3781" y="367"/>
                  <a:pt x="3781" y="368"/>
                  <a:pt x="3779" y="369"/>
                </a:cubicBezTo>
                <a:cubicBezTo>
                  <a:pt x="3778" y="370"/>
                  <a:pt x="3777" y="370"/>
                  <a:pt x="3776" y="371"/>
                </a:cubicBezTo>
                <a:cubicBezTo>
                  <a:pt x="3775" y="372"/>
                  <a:pt x="3775" y="373"/>
                  <a:pt x="3775" y="373"/>
                </a:cubicBezTo>
                <a:cubicBezTo>
                  <a:pt x="3775" y="374"/>
                  <a:pt x="3775" y="374"/>
                  <a:pt x="3775" y="374"/>
                </a:cubicBezTo>
                <a:close/>
                <a:moveTo>
                  <a:pt x="3782" y="365"/>
                </a:moveTo>
                <a:cubicBezTo>
                  <a:pt x="3783" y="365"/>
                  <a:pt x="3783" y="365"/>
                  <a:pt x="3784" y="364"/>
                </a:cubicBezTo>
                <a:cubicBezTo>
                  <a:pt x="3785" y="363"/>
                  <a:pt x="3786" y="362"/>
                  <a:pt x="3786" y="361"/>
                </a:cubicBezTo>
                <a:lnTo>
                  <a:pt x="3788" y="359"/>
                </a:lnTo>
                <a:lnTo>
                  <a:pt x="3788" y="358"/>
                </a:lnTo>
                <a:lnTo>
                  <a:pt x="3785" y="360"/>
                </a:lnTo>
                <a:cubicBezTo>
                  <a:pt x="3783" y="362"/>
                  <a:pt x="3781" y="364"/>
                  <a:pt x="3781" y="365"/>
                </a:cubicBezTo>
                <a:cubicBezTo>
                  <a:pt x="3781" y="365"/>
                  <a:pt x="3782" y="365"/>
                  <a:pt x="3782" y="365"/>
                </a:cubicBezTo>
                <a:close/>
                <a:moveTo>
                  <a:pt x="3715" y="475"/>
                </a:moveTo>
                <a:cubicBezTo>
                  <a:pt x="3714" y="475"/>
                  <a:pt x="3714" y="474"/>
                  <a:pt x="3714" y="472"/>
                </a:cubicBezTo>
                <a:cubicBezTo>
                  <a:pt x="3714" y="469"/>
                  <a:pt x="3715" y="468"/>
                  <a:pt x="3716" y="468"/>
                </a:cubicBezTo>
                <a:cubicBezTo>
                  <a:pt x="3717" y="468"/>
                  <a:pt x="3717" y="469"/>
                  <a:pt x="3717" y="470"/>
                </a:cubicBezTo>
                <a:cubicBezTo>
                  <a:pt x="3717" y="470"/>
                  <a:pt x="3717" y="471"/>
                  <a:pt x="3717" y="472"/>
                </a:cubicBezTo>
                <a:cubicBezTo>
                  <a:pt x="3717" y="473"/>
                  <a:pt x="3716" y="474"/>
                  <a:pt x="3716" y="474"/>
                </a:cubicBezTo>
                <a:cubicBezTo>
                  <a:pt x="3716" y="475"/>
                  <a:pt x="3715" y="475"/>
                  <a:pt x="3715" y="475"/>
                </a:cubicBezTo>
                <a:close/>
                <a:moveTo>
                  <a:pt x="3987" y="753"/>
                </a:moveTo>
                <a:cubicBezTo>
                  <a:pt x="3985" y="753"/>
                  <a:pt x="3984" y="753"/>
                  <a:pt x="3984" y="753"/>
                </a:cubicBezTo>
                <a:cubicBezTo>
                  <a:pt x="3984" y="752"/>
                  <a:pt x="3985" y="752"/>
                  <a:pt x="3985" y="751"/>
                </a:cubicBezTo>
                <a:cubicBezTo>
                  <a:pt x="3987" y="750"/>
                  <a:pt x="3988" y="750"/>
                  <a:pt x="3988" y="749"/>
                </a:cubicBezTo>
                <a:cubicBezTo>
                  <a:pt x="3988" y="749"/>
                  <a:pt x="3987" y="748"/>
                  <a:pt x="3986" y="748"/>
                </a:cubicBezTo>
                <a:cubicBezTo>
                  <a:pt x="3985" y="747"/>
                  <a:pt x="3984" y="747"/>
                  <a:pt x="3984" y="747"/>
                </a:cubicBezTo>
                <a:lnTo>
                  <a:pt x="3987" y="746"/>
                </a:lnTo>
                <a:cubicBezTo>
                  <a:pt x="3988" y="746"/>
                  <a:pt x="3988" y="746"/>
                  <a:pt x="3988" y="746"/>
                </a:cubicBezTo>
                <a:cubicBezTo>
                  <a:pt x="3988" y="745"/>
                  <a:pt x="3987" y="745"/>
                  <a:pt x="3986" y="744"/>
                </a:cubicBezTo>
                <a:cubicBezTo>
                  <a:pt x="3985" y="743"/>
                  <a:pt x="3984" y="742"/>
                  <a:pt x="3984" y="742"/>
                </a:cubicBezTo>
                <a:lnTo>
                  <a:pt x="3987" y="742"/>
                </a:lnTo>
                <a:cubicBezTo>
                  <a:pt x="3989" y="742"/>
                  <a:pt x="3990" y="743"/>
                  <a:pt x="3990" y="746"/>
                </a:cubicBezTo>
                <a:cubicBezTo>
                  <a:pt x="3990" y="751"/>
                  <a:pt x="3989" y="753"/>
                  <a:pt x="3987" y="753"/>
                </a:cubicBezTo>
                <a:close/>
                <a:moveTo>
                  <a:pt x="4011" y="810"/>
                </a:moveTo>
                <a:cubicBezTo>
                  <a:pt x="4007" y="810"/>
                  <a:pt x="4003" y="810"/>
                  <a:pt x="3998" y="808"/>
                </a:cubicBezTo>
                <a:cubicBezTo>
                  <a:pt x="3994" y="807"/>
                  <a:pt x="3990" y="803"/>
                  <a:pt x="3985" y="796"/>
                </a:cubicBezTo>
                <a:cubicBezTo>
                  <a:pt x="3980" y="789"/>
                  <a:pt x="3977" y="784"/>
                  <a:pt x="3975" y="778"/>
                </a:cubicBezTo>
                <a:cubicBezTo>
                  <a:pt x="3974" y="773"/>
                  <a:pt x="3973" y="765"/>
                  <a:pt x="3973" y="756"/>
                </a:cubicBezTo>
                <a:cubicBezTo>
                  <a:pt x="3973" y="735"/>
                  <a:pt x="3975" y="710"/>
                  <a:pt x="3979" y="679"/>
                </a:cubicBezTo>
                <a:cubicBezTo>
                  <a:pt x="3984" y="647"/>
                  <a:pt x="3989" y="619"/>
                  <a:pt x="3996" y="593"/>
                </a:cubicBezTo>
                <a:lnTo>
                  <a:pt x="3997" y="592"/>
                </a:lnTo>
                <a:cubicBezTo>
                  <a:pt x="3997" y="589"/>
                  <a:pt x="3997" y="586"/>
                  <a:pt x="3997" y="583"/>
                </a:cubicBezTo>
                <a:cubicBezTo>
                  <a:pt x="3997" y="580"/>
                  <a:pt x="3998" y="579"/>
                  <a:pt x="3999" y="579"/>
                </a:cubicBezTo>
                <a:cubicBezTo>
                  <a:pt x="4000" y="579"/>
                  <a:pt x="4000" y="578"/>
                  <a:pt x="4000" y="577"/>
                </a:cubicBezTo>
                <a:lnTo>
                  <a:pt x="4000" y="573"/>
                </a:lnTo>
                <a:cubicBezTo>
                  <a:pt x="4000" y="571"/>
                  <a:pt x="4000" y="570"/>
                  <a:pt x="4001" y="570"/>
                </a:cubicBezTo>
                <a:cubicBezTo>
                  <a:pt x="4002" y="570"/>
                  <a:pt x="4002" y="569"/>
                  <a:pt x="4002" y="568"/>
                </a:cubicBezTo>
                <a:lnTo>
                  <a:pt x="4002" y="566"/>
                </a:lnTo>
                <a:cubicBezTo>
                  <a:pt x="4002" y="564"/>
                  <a:pt x="4003" y="563"/>
                  <a:pt x="4005" y="563"/>
                </a:cubicBezTo>
                <a:cubicBezTo>
                  <a:pt x="4006" y="563"/>
                  <a:pt x="4007" y="562"/>
                  <a:pt x="4007" y="562"/>
                </a:cubicBezTo>
                <a:lnTo>
                  <a:pt x="4006" y="561"/>
                </a:lnTo>
                <a:cubicBezTo>
                  <a:pt x="4005" y="561"/>
                  <a:pt x="4005" y="560"/>
                  <a:pt x="4004" y="559"/>
                </a:cubicBezTo>
                <a:cubicBezTo>
                  <a:pt x="4003" y="558"/>
                  <a:pt x="4003" y="558"/>
                  <a:pt x="4003" y="557"/>
                </a:cubicBezTo>
                <a:cubicBezTo>
                  <a:pt x="4003" y="555"/>
                  <a:pt x="4004" y="554"/>
                  <a:pt x="4006" y="554"/>
                </a:cubicBezTo>
                <a:cubicBezTo>
                  <a:pt x="4008" y="555"/>
                  <a:pt x="4008" y="556"/>
                  <a:pt x="4008" y="558"/>
                </a:cubicBezTo>
                <a:cubicBezTo>
                  <a:pt x="4008" y="562"/>
                  <a:pt x="4006" y="573"/>
                  <a:pt x="4001" y="590"/>
                </a:cubicBezTo>
                <a:cubicBezTo>
                  <a:pt x="3994" y="618"/>
                  <a:pt x="3988" y="646"/>
                  <a:pt x="3984" y="674"/>
                </a:cubicBezTo>
                <a:cubicBezTo>
                  <a:pt x="3980" y="703"/>
                  <a:pt x="3978" y="726"/>
                  <a:pt x="3978" y="744"/>
                </a:cubicBezTo>
                <a:cubicBezTo>
                  <a:pt x="3978" y="750"/>
                  <a:pt x="3978" y="755"/>
                  <a:pt x="3979" y="760"/>
                </a:cubicBezTo>
                <a:cubicBezTo>
                  <a:pt x="3981" y="772"/>
                  <a:pt x="3982" y="778"/>
                  <a:pt x="3983" y="778"/>
                </a:cubicBezTo>
                <a:cubicBezTo>
                  <a:pt x="3984" y="778"/>
                  <a:pt x="3984" y="777"/>
                  <a:pt x="3984" y="774"/>
                </a:cubicBezTo>
                <a:cubicBezTo>
                  <a:pt x="3984" y="772"/>
                  <a:pt x="3985" y="770"/>
                  <a:pt x="3985" y="767"/>
                </a:cubicBezTo>
                <a:lnTo>
                  <a:pt x="3986" y="765"/>
                </a:lnTo>
                <a:lnTo>
                  <a:pt x="3987" y="768"/>
                </a:lnTo>
                <a:cubicBezTo>
                  <a:pt x="3988" y="770"/>
                  <a:pt x="3988" y="773"/>
                  <a:pt x="3989" y="776"/>
                </a:cubicBezTo>
                <a:cubicBezTo>
                  <a:pt x="3990" y="779"/>
                  <a:pt x="3990" y="782"/>
                  <a:pt x="3992" y="785"/>
                </a:cubicBezTo>
                <a:cubicBezTo>
                  <a:pt x="3993" y="787"/>
                  <a:pt x="3993" y="789"/>
                  <a:pt x="3994" y="789"/>
                </a:cubicBezTo>
                <a:cubicBezTo>
                  <a:pt x="3995" y="789"/>
                  <a:pt x="3996" y="789"/>
                  <a:pt x="3996" y="788"/>
                </a:cubicBezTo>
                <a:lnTo>
                  <a:pt x="3995" y="784"/>
                </a:lnTo>
                <a:cubicBezTo>
                  <a:pt x="3994" y="780"/>
                  <a:pt x="3993" y="768"/>
                  <a:pt x="3993" y="749"/>
                </a:cubicBezTo>
                <a:cubicBezTo>
                  <a:pt x="3993" y="730"/>
                  <a:pt x="3993" y="721"/>
                  <a:pt x="3992" y="721"/>
                </a:cubicBezTo>
                <a:cubicBezTo>
                  <a:pt x="3990" y="721"/>
                  <a:pt x="3990" y="726"/>
                  <a:pt x="3990" y="735"/>
                </a:cubicBezTo>
                <a:cubicBezTo>
                  <a:pt x="3990" y="736"/>
                  <a:pt x="3990" y="737"/>
                  <a:pt x="3989" y="737"/>
                </a:cubicBezTo>
                <a:cubicBezTo>
                  <a:pt x="3988" y="738"/>
                  <a:pt x="3988" y="739"/>
                  <a:pt x="3987" y="739"/>
                </a:cubicBezTo>
                <a:cubicBezTo>
                  <a:pt x="3985" y="739"/>
                  <a:pt x="3985" y="738"/>
                  <a:pt x="3985" y="736"/>
                </a:cubicBezTo>
                <a:cubicBezTo>
                  <a:pt x="3985" y="733"/>
                  <a:pt x="3987" y="719"/>
                  <a:pt x="3990" y="693"/>
                </a:cubicBezTo>
                <a:cubicBezTo>
                  <a:pt x="3993" y="665"/>
                  <a:pt x="3996" y="650"/>
                  <a:pt x="3997" y="648"/>
                </a:cubicBezTo>
                <a:cubicBezTo>
                  <a:pt x="3997" y="647"/>
                  <a:pt x="3998" y="644"/>
                  <a:pt x="3998" y="641"/>
                </a:cubicBezTo>
                <a:cubicBezTo>
                  <a:pt x="3998" y="631"/>
                  <a:pt x="4001" y="616"/>
                  <a:pt x="4006" y="597"/>
                </a:cubicBezTo>
                <a:cubicBezTo>
                  <a:pt x="4011" y="577"/>
                  <a:pt x="4016" y="559"/>
                  <a:pt x="4022" y="542"/>
                </a:cubicBezTo>
                <a:cubicBezTo>
                  <a:pt x="4027" y="528"/>
                  <a:pt x="4030" y="519"/>
                  <a:pt x="4030" y="514"/>
                </a:cubicBezTo>
                <a:cubicBezTo>
                  <a:pt x="4030" y="510"/>
                  <a:pt x="4030" y="508"/>
                  <a:pt x="4032" y="508"/>
                </a:cubicBezTo>
                <a:cubicBezTo>
                  <a:pt x="4033" y="508"/>
                  <a:pt x="4034" y="508"/>
                  <a:pt x="4034" y="509"/>
                </a:cubicBezTo>
                <a:cubicBezTo>
                  <a:pt x="4034" y="511"/>
                  <a:pt x="4034" y="512"/>
                  <a:pt x="4034" y="512"/>
                </a:cubicBezTo>
                <a:cubicBezTo>
                  <a:pt x="4035" y="512"/>
                  <a:pt x="4035" y="511"/>
                  <a:pt x="4036" y="510"/>
                </a:cubicBezTo>
                <a:cubicBezTo>
                  <a:pt x="4037" y="509"/>
                  <a:pt x="4039" y="509"/>
                  <a:pt x="4043" y="509"/>
                </a:cubicBezTo>
                <a:cubicBezTo>
                  <a:pt x="4045" y="509"/>
                  <a:pt x="4046" y="509"/>
                  <a:pt x="4046" y="509"/>
                </a:cubicBezTo>
                <a:cubicBezTo>
                  <a:pt x="4046" y="508"/>
                  <a:pt x="4045" y="507"/>
                  <a:pt x="4044" y="506"/>
                </a:cubicBezTo>
                <a:cubicBezTo>
                  <a:pt x="4044" y="505"/>
                  <a:pt x="4043" y="504"/>
                  <a:pt x="4043" y="503"/>
                </a:cubicBezTo>
                <a:cubicBezTo>
                  <a:pt x="4043" y="502"/>
                  <a:pt x="4044" y="502"/>
                  <a:pt x="4044" y="502"/>
                </a:cubicBezTo>
                <a:cubicBezTo>
                  <a:pt x="4048" y="502"/>
                  <a:pt x="4052" y="505"/>
                  <a:pt x="4057" y="509"/>
                </a:cubicBezTo>
                <a:cubicBezTo>
                  <a:pt x="4058" y="510"/>
                  <a:pt x="4059" y="511"/>
                  <a:pt x="4059" y="512"/>
                </a:cubicBezTo>
                <a:cubicBezTo>
                  <a:pt x="4061" y="513"/>
                  <a:pt x="4063" y="514"/>
                  <a:pt x="4064" y="515"/>
                </a:cubicBezTo>
                <a:cubicBezTo>
                  <a:pt x="4064" y="515"/>
                  <a:pt x="4064" y="516"/>
                  <a:pt x="4064" y="517"/>
                </a:cubicBezTo>
                <a:cubicBezTo>
                  <a:pt x="4064" y="521"/>
                  <a:pt x="4059" y="538"/>
                  <a:pt x="4048" y="570"/>
                </a:cubicBezTo>
                <a:cubicBezTo>
                  <a:pt x="4045" y="577"/>
                  <a:pt x="4044" y="581"/>
                  <a:pt x="4043" y="584"/>
                </a:cubicBezTo>
                <a:cubicBezTo>
                  <a:pt x="4042" y="588"/>
                  <a:pt x="4041" y="593"/>
                  <a:pt x="4040" y="600"/>
                </a:cubicBezTo>
                <a:cubicBezTo>
                  <a:pt x="4040" y="603"/>
                  <a:pt x="4040" y="604"/>
                  <a:pt x="4039" y="606"/>
                </a:cubicBezTo>
                <a:cubicBezTo>
                  <a:pt x="4039" y="607"/>
                  <a:pt x="4039" y="609"/>
                  <a:pt x="4038" y="610"/>
                </a:cubicBezTo>
                <a:cubicBezTo>
                  <a:pt x="4038" y="612"/>
                  <a:pt x="4037" y="614"/>
                  <a:pt x="4037" y="617"/>
                </a:cubicBezTo>
                <a:cubicBezTo>
                  <a:pt x="4037" y="619"/>
                  <a:pt x="4036" y="622"/>
                  <a:pt x="4035" y="627"/>
                </a:cubicBezTo>
                <a:lnTo>
                  <a:pt x="4034" y="632"/>
                </a:lnTo>
                <a:cubicBezTo>
                  <a:pt x="4033" y="636"/>
                  <a:pt x="4032" y="642"/>
                  <a:pt x="4030" y="650"/>
                </a:cubicBezTo>
                <a:cubicBezTo>
                  <a:pt x="4030" y="652"/>
                  <a:pt x="4029" y="654"/>
                  <a:pt x="4029" y="656"/>
                </a:cubicBezTo>
                <a:cubicBezTo>
                  <a:pt x="4029" y="657"/>
                  <a:pt x="4029" y="659"/>
                  <a:pt x="4028" y="660"/>
                </a:cubicBezTo>
                <a:cubicBezTo>
                  <a:pt x="4028" y="662"/>
                  <a:pt x="4028" y="663"/>
                  <a:pt x="4028" y="665"/>
                </a:cubicBezTo>
                <a:cubicBezTo>
                  <a:pt x="4027" y="667"/>
                  <a:pt x="4027" y="669"/>
                  <a:pt x="4027" y="671"/>
                </a:cubicBezTo>
                <a:cubicBezTo>
                  <a:pt x="4026" y="673"/>
                  <a:pt x="4025" y="675"/>
                  <a:pt x="4025" y="677"/>
                </a:cubicBezTo>
                <a:cubicBezTo>
                  <a:pt x="4025" y="680"/>
                  <a:pt x="4024" y="682"/>
                  <a:pt x="4024" y="684"/>
                </a:cubicBezTo>
                <a:cubicBezTo>
                  <a:pt x="4024" y="687"/>
                  <a:pt x="4023" y="691"/>
                  <a:pt x="4022" y="695"/>
                </a:cubicBezTo>
                <a:cubicBezTo>
                  <a:pt x="4019" y="721"/>
                  <a:pt x="4017" y="744"/>
                  <a:pt x="4017" y="763"/>
                </a:cubicBezTo>
                <a:cubicBezTo>
                  <a:pt x="4017" y="770"/>
                  <a:pt x="4017" y="773"/>
                  <a:pt x="4019" y="773"/>
                </a:cubicBezTo>
                <a:cubicBezTo>
                  <a:pt x="4021" y="773"/>
                  <a:pt x="4025" y="768"/>
                  <a:pt x="4033" y="758"/>
                </a:cubicBezTo>
                <a:cubicBezTo>
                  <a:pt x="4043" y="744"/>
                  <a:pt x="4055" y="726"/>
                  <a:pt x="4068" y="705"/>
                </a:cubicBezTo>
                <a:cubicBezTo>
                  <a:pt x="4079" y="688"/>
                  <a:pt x="4084" y="681"/>
                  <a:pt x="4085" y="681"/>
                </a:cubicBezTo>
                <a:lnTo>
                  <a:pt x="4081" y="688"/>
                </a:lnTo>
                <a:cubicBezTo>
                  <a:pt x="4075" y="698"/>
                  <a:pt x="4067" y="711"/>
                  <a:pt x="4057" y="727"/>
                </a:cubicBezTo>
                <a:cubicBezTo>
                  <a:pt x="4046" y="743"/>
                  <a:pt x="4037" y="756"/>
                  <a:pt x="4030" y="765"/>
                </a:cubicBezTo>
                <a:cubicBezTo>
                  <a:pt x="4021" y="777"/>
                  <a:pt x="4016" y="784"/>
                  <a:pt x="4016" y="785"/>
                </a:cubicBezTo>
                <a:cubicBezTo>
                  <a:pt x="4016" y="786"/>
                  <a:pt x="4016" y="787"/>
                  <a:pt x="4015" y="787"/>
                </a:cubicBezTo>
                <a:lnTo>
                  <a:pt x="4014" y="786"/>
                </a:lnTo>
                <a:cubicBezTo>
                  <a:pt x="4013" y="786"/>
                  <a:pt x="4012" y="788"/>
                  <a:pt x="4012" y="791"/>
                </a:cubicBezTo>
                <a:cubicBezTo>
                  <a:pt x="4012" y="794"/>
                  <a:pt x="4012" y="795"/>
                  <a:pt x="4014" y="795"/>
                </a:cubicBezTo>
                <a:cubicBezTo>
                  <a:pt x="4014" y="795"/>
                  <a:pt x="4015" y="795"/>
                  <a:pt x="4017" y="795"/>
                </a:cubicBezTo>
                <a:cubicBezTo>
                  <a:pt x="4019" y="794"/>
                  <a:pt x="4019" y="794"/>
                  <a:pt x="4019" y="793"/>
                </a:cubicBezTo>
                <a:cubicBezTo>
                  <a:pt x="4019" y="793"/>
                  <a:pt x="4019" y="792"/>
                  <a:pt x="4018" y="792"/>
                </a:cubicBezTo>
                <a:cubicBezTo>
                  <a:pt x="4017" y="791"/>
                  <a:pt x="4016" y="790"/>
                  <a:pt x="4016" y="790"/>
                </a:cubicBezTo>
                <a:cubicBezTo>
                  <a:pt x="4016" y="789"/>
                  <a:pt x="4017" y="788"/>
                  <a:pt x="4018" y="787"/>
                </a:cubicBezTo>
                <a:cubicBezTo>
                  <a:pt x="4019" y="786"/>
                  <a:pt x="4020" y="785"/>
                  <a:pt x="4020" y="785"/>
                </a:cubicBezTo>
                <a:cubicBezTo>
                  <a:pt x="4020" y="785"/>
                  <a:pt x="4020" y="786"/>
                  <a:pt x="4020" y="787"/>
                </a:cubicBezTo>
                <a:cubicBezTo>
                  <a:pt x="4020" y="789"/>
                  <a:pt x="4021" y="789"/>
                  <a:pt x="4021" y="789"/>
                </a:cubicBezTo>
                <a:cubicBezTo>
                  <a:pt x="4022" y="789"/>
                  <a:pt x="4023" y="789"/>
                  <a:pt x="4024" y="788"/>
                </a:cubicBezTo>
                <a:cubicBezTo>
                  <a:pt x="4025" y="787"/>
                  <a:pt x="4025" y="787"/>
                  <a:pt x="4026" y="787"/>
                </a:cubicBezTo>
                <a:cubicBezTo>
                  <a:pt x="4027" y="787"/>
                  <a:pt x="4028" y="787"/>
                  <a:pt x="4028" y="787"/>
                </a:cubicBezTo>
                <a:lnTo>
                  <a:pt x="4029" y="787"/>
                </a:lnTo>
                <a:lnTo>
                  <a:pt x="4028" y="785"/>
                </a:lnTo>
                <a:cubicBezTo>
                  <a:pt x="4028" y="783"/>
                  <a:pt x="4029" y="782"/>
                  <a:pt x="4032" y="780"/>
                </a:cubicBezTo>
                <a:cubicBezTo>
                  <a:pt x="4034" y="779"/>
                  <a:pt x="4035" y="779"/>
                  <a:pt x="4037" y="778"/>
                </a:cubicBezTo>
                <a:cubicBezTo>
                  <a:pt x="4038" y="777"/>
                  <a:pt x="4038" y="776"/>
                  <a:pt x="4038" y="776"/>
                </a:cubicBezTo>
                <a:cubicBezTo>
                  <a:pt x="4038" y="775"/>
                  <a:pt x="4038" y="774"/>
                  <a:pt x="4037" y="774"/>
                </a:cubicBezTo>
                <a:lnTo>
                  <a:pt x="4035" y="776"/>
                </a:lnTo>
                <a:lnTo>
                  <a:pt x="4035" y="775"/>
                </a:lnTo>
                <a:lnTo>
                  <a:pt x="4037" y="772"/>
                </a:lnTo>
                <a:cubicBezTo>
                  <a:pt x="4039" y="771"/>
                  <a:pt x="4040" y="769"/>
                  <a:pt x="4042" y="767"/>
                </a:cubicBezTo>
                <a:cubicBezTo>
                  <a:pt x="4045" y="765"/>
                  <a:pt x="4047" y="764"/>
                  <a:pt x="4049" y="763"/>
                </a:cubicBezTo>
                <a:cubicBezTo>
                  <a:pt x="4050" y="762"/>
                  <a:pt x="4051" y="761"/>
                  <a:pt x="4051" y="761"/>
                </a:cubicBezTo>
                <a:lnTo>
                  <a:pt x="4045" y="762"/>
                </a:lnTo>
                <a:lnTo>
                  <a:pt x="4045" y="761"/>
                </a:lnTo>
                <a:cubicBezTo>
                  <a:pt x="4045" y="761"/>
                  <a:pt x="4046" y="760"/>
                  <a:pt x="4048" y="758"/>
                </a:cubicBezTo>
                <a:cubicBezTo>
                  <a:pt x="4050" y="756"/>
                  <a:pt x="4052" y="754"/>
                  <a:pt x="4053" y="753"/>
                </a:cubicBezTo>
                <a:cubicBezTo>
                  <a:pt x="4054" y="752"/>
                  <a:pt x="4054" y="750"/>
                  <a:pt x="4054" y="750"/>
                </a:cubicBezTo>
                <a:cubicBezTo>
                  <a:pt x="4054" y="749"/>
                  <a:pt x="4055" y="748"/>
                  <a:pt x="4055" y="748"/>
                </a:cubicBezTo>
                <a:cubicBezTo>
                  <a:pt x="4056" y="747"/>
                  <a:pt x="4057" y="747"/>
                  <a:pt x="4058" y="747"/>
                </a:cubicBezTo>
                <a:cubicBezTo>
                  <a:pt x="4059" y="747"/>
                  <a:pt x="4059" y="747"/>
                  <a:pt x="4060" y="746"/>
                </a:cubicBezTo>
                <a:cubicBezTo>
                  <a:pt x="4061" y="745"/>
                  <a:pt x="4061" y="745"/>
                  <a:pt x="4062" y="744"/>
                </a:cubicBezTo>
                <a:lnTo>
                  <a:pt x="4062" y="743"/>
                </a:lnTo>
                <a:cubicBezTo>
                  <a:pt x="4062" y="742"/>
                  <a:pt x="4061" y="742"/>
                  <a:pt x="4061" y="742"/>
                </a:cubicBezTo>
                <a:lnTo>
                  <a:pt x="4060" y="743"/>
                </a:lnTo>
                <a:cubicBezTo>
                  <a:pt x="4059" y="743"/>
                  <a:pt x="4059" y="743"/>
                  <a:pt x="4058" y="743"/>
                </a:cubicBezTo>
                <a:cubicBezTo>
                  <a:pt x="4058" y="743"/>
                  <a:pt x="4058" y="743"/>
                  <a:pt x="4058" y="743"/>
                </a:cubicBezTo>
                <a:cubicBezTo>
                  <a:pt x="4058" y="742"/>
                  <a:pt x="4058" y="742"/>
                  <a:pt x="4059" y="741"/>
                </a:cubicBezTo>
                <a:cubicBezTo>
                  <a:pt x="4060" y="740"/>
                  <a:pt x="4062" y="740"/>
                  <a:pt x="4064" y="739"/>
                </a:cubicBezTo>
                <a:cubicBezTo>
                  <a:pt x="4066" y="738"/>
                  <a:pt x="4067" y="737"/>
                  <a:pt x="4067" y="736"/>
                </a:cubicBezTo>
                <a:cubicBezTo>
                  <a:pt x="4067" y="736"/>
                  <a:pt x="4067" y="736"/>
                  <a:pt x="4066" y="735"/>
                </a:cubicBezTo>
                <a:cubicBezTo>
                  <a:pt x="4065" y="735"/>
                  <a:pt x="4065" y="735"/>
                  <a:pt x="4065" y="734"/>
                </a:cubicBezTo>
                <a:cubicBezTo>
                  <a:pt x="4065" y="732"/>
                  <a:pt x="4066" y="731"/>
                  <a:pt x="4067" y="729"/>
                </a:cubicBezTo>
                <a:cubicBezTo>
                  <a:pt x="4069" y="727"/>
                  <a:pt x="4070" y="725"/>
                  <a:pt x="4070" y="724"/>
                </a:cubicBezTo>
                <a:cubicBezTo>
                  <a:pt x="4070" y="724"/>
                  <a:pt x="4070" y="723"/>
                  <a:pt x="4069" y="723"/>
                </a:cubicBezTo>
                <a:cubicBezTo>
                  <a:pt x="4069" y="723"/>
                  <a:pt x="4069" y="723"/>
                  <a:pt x="4069" y="723"/>
                </a:cubicBezTo>
                <a:cubicBezTo>
                  <a:pt x="4069" y="723"/>
                  <a:pt x="4070" y="722"/>
                  <a:pt x="4071" y="720"/>
                </a:cubicBezTo>
                <a:cubicBezTo>
                  <a:pt x="4072" y="718"/>
                  <a:pt x="4074" y="718"/>
                  <a:pt x="4075" y="718"/>
                </a:cubicBezTo>
                <a:cubicBezTo>
                  <a:pt x="4075" y="718"/>
                  <a:pt x="4075" y="718"/>
                  <a:pt x="4076" y="718"/>
                </a:cubicBezTo>
                <a:cubicBezTo>
                  <a:pt x="4076" y="718"/>
                  <a:pt x="4076" y="719"/>
                  <a:pt x="4076" y="719"/>
                </a:cubicBezTo>
                <a:cubicBezTo>
                  <a:pt x="4076" y="720"/>
                  <a:pt x="4075" y="720"/>
                  <a:pt x="4074" y="721"/>
                </a:cubicBezTo>
                <a:lnTo>
                  <a:pt x="4071" y="723"/>
                </a:lnTo>
                <a:cubicBezTo>
                  <a:pt x="4071" y="723"/>
                  <a:pt x="4072" y="723"/>
                  <a:pt x="4073" y="723"/>
                </a:cubicBezTo>
                <a:cubicBezTo>
                  <a:pt x="4075" y="723"/>
                  <a:pt x="4078" y="721"/>
                  <a:pt x="4079" y="719"/>
                </a:cubicBezTo>
                <a:cubicBezTo>
                  <a:pt x="4080" y="716"/>
                  <a:pt x="4081" y="714"/>
                  <a:pt x="4081" y="713"/>
                </a:cubicBezTo>
                <a:cubicBezTo>
                  <a:pt x="4081" y="713"/>
                  <a:pt x="4081" y="712"/>
                  <a:pt x="4080" y="712"/>
                </a:cubicBezTo>
                <a:lnTo>
                  <a:pt x="4078" y="713"/>
                </a:lnTo>
                <a:cubicBezTo>
                  <a:pt x="4076" y="713"/>
                  <a:pt x="4075" y="713"/>
                  <a:pt x="4075" y="712"/>
                </a:cubicBezTo>
                <a:cubicBezTo>
                  <a:pt x="4075" y="711"/>
                  <a:pt x="4075" y="710"/>
                  <a:pt x="4077" y="710"/>
                </a:cubicBezTo>
                <a:cubicBezTo>
                  <a:pt x="4078" y="710"/>
                  <a:pt x="4079" y="709"/>
                  <a:pt x="4080" y="709"/>
                </a:cubicBezTo>
                <a:cubicBezTo>
                  <a:pt x="4081" y="709"/>
                  <a:pt x="4082" y="709"/>
                  <a:pt x="4083" y="708"/>
                </a:cubicBezTo>
                <a:cubicBezTo>
                  <a:pt x="4086" y="707"/>
                  <a:pt x="4089" y="703"/>
                  <a:pt x="4094" y="696"/>
                </a:cubicBezTo>
                <a:cubicBezTo>
                  <a:pt x="4098" y="688"/>
                  <a:pt x="4106" y="675"/>
                  <a:pt x="4117" y="655"/>
                </a:cubicBezTo>
                <a:cubicBezTo>
                  <a:pt x="4128" y="636"/>
                  <a:pt x="4133" y="626"/>
                  <a:pt x="4133" y="625"/>
                </a:cubicBezTo>
                <a:cubicBezTo>
                  <a:pt x="4133" y="623"/>
                  <a:pt x="4133" y="622"/>
                  <a:pt x="4133" y="622"/>
                </a:cubicBezTo>
                <a:lnTo>
                  <a:pt x="4132" y="622"/>
                </a:lnTo>
                <a:cubicBezTo>
                  <a:pt x="4131" y="622"/>
                  <a:pt x="4129" y="624"/>
                  <a:pt x="4128" y="628"/>
                </a:cubicBezTo>
                <a:cubicBezTo>
                  <a:pt x="4127" y="632"/>
                  <a:pt x="4127" y="634"/>
                  <a:pt x="4126" y="634"/>
                </a:cubicBezTo>
                <a:cubicBezTo>
                  <a:pt x="4125" y="634"/>
                  <a:pt x="4124" y="634"/>
                  <a:pt x="4124" y="635"/>
                </a:cubicBezTo>
                <a:cubicBezTo>
                  <a:pt x="4123" y="636"/>
                  <a:pt x="4123" y="636"/>
                  <a:pt x="4123" y="637"/>
                </a:cubicBezTo>
                <a:cubicBezTo>
                  <a:pt x="4123" y="639"/>
                  <a:pt x="4122" y="641"/>
                  <a:pt x="4119" y="644"/>
                </a:cubicBezTo>
                <a:cubicBezTo>
                  <a:pt x="4119" y="644"/>
                  <a:pt x="4117" y="647"/>
                  <a:pt x="4115" y="652"/>
                </a:cubicBezTo>
                <a:cubicBezTo>
                  <a:pt x="4114" y="655"/>
                  <a:pt x="4113" y="657"/>
                  <a:pt x="4111" y="657"/>
                </a:cubicBezTo>
                <a:cubicBezTo>
                  <a:pt x="4110" y="657"/>
                  <a:pt x="4109" y="658"/>
                  <a:pt x="4109" y="660"/>
                </a:cubicBezTo>
                <a:cubicBezTo>
                  <a:pt x="4109" y="663"/>
                  <a:pt x="4109" y="664"/>
                  <a:pt x="4108" y="664"/>
                </a:cubicBezTo>
                <a:cubicBezTo>
                  <a:pt x="4107" y="664"/>
                  <a:pt x="4106" y="664"/>
                  <a:pt x="4106" y="665"/>
                </a:cubicBezTo>
                <a:lnTo>
                  <a:pt x="4107" y="666"/>
                </a:lnTo>
                <a:cubicBezTo>
                  <a:pt x="4107" y="667"/>
                  <a:pt x="4106" y="668"/>
                  <a:pt x="4105" y="668"/>
                </a:cubicBezTo>
                <a:cubicBezTo>
                  <a:pt x="4104" y="668"/>
                  <a:pt x="4103" y="669"/>
                  <a:pt x="4103" y="672"/>
                </a:cubicBezTo>
                <a:cubicBezTo>
                  <a:pt x="4103" y="673"/>
                  <a:pt x="4103" y="673"/>
                  <a:pt x="4103" y="674"/>
                </a:cubicBezTo>
                <a:cubicBezTo>
                  <a:pt x="4102" y="675"/>
                  <a:pt x="4102" y="675"/>
                  <a:pt x="4101" y="675"/>
                </a:cubicBezTo>
                <a:cubicBezTo>
                  <a:pt x="4101" y="675"/>
                  <a:pt x="4100" y="675"/>
                  <a:pt x="4100" y="676"/>
                </a:cubicBezTo>
                <a:cubicBezTo>
                  <a:pt x="4099" y="677"/>
                  <a:pt x="4099" y="677"/>
                  <a:pt x="4099" y="678"/>
                </a:cubicBezTo>
                <a:cubicBezTo>
                  <a:pt x="4099" y="679"/>
                  <a:pt x="4099" y="680"/>
                  <a:pt x="4098" y="681"/>
                </a:cubicBezTo>
                <a:cubicBezTo>
                  <a:pt x="4097" y="682"/>
                  <a:pt x="4095" y="685"/>
                  <a:pt x="4091" y="690"/>
                </a:cubicBezTo>
                <a:cubicBezTo>
                  <a:pt x="4090" y="692"/>
                  <a:pt x="4089" y="694"/>
                  <a:pt x="4088" y="695"/>
                </a:cubicBezTo>
                <a:cubicBezTo>
                  <a:pt x="4087" y="697"/>
                  <a:pt x="4087" y="697"/>
                  <a:pt x="4087" y="698"/>
                </a:cubicBezTo>
                <a:cubicBezTo>
                  <a:pt x="4086" y="698"/>
                  <a:pt x="4086" y="699"/>
                  <a:pt x="4084" y="700"/>
                </a:cubicBezTo>
                <a:lnTo>
                  <a:pt x="4084" y="699"/>
                </a:lnTo>
                <a:cubicBezTo>
                  <a:pt x="4084" y="697"/>
                  <a:pt x="4086" y="693"/>
                  <a:pt x="4089" y="688"/>
                </a:cubicBezTo>
                <a:lnTo>
                  <a:pt x="4092" y="683"/>
                </a:lnTo>
                <a:cubicBezTo>
                  <a:pt x="4095" y="679"/>
                  <a:pt x="4096" y="676"/>
                  <a:pt x="4097" y="675"/>
                </a:cubicBezTo>
                <a:cubicBezTo>
                  <a:pt x="4098" y="674"/>
                  <a:pt x="4100" y="670"/>
                  <a:pt x="4103" y="665"/>
                </a:cubicBezTo>
                <a:cubicBezTo>
                  <a:pt x="4105" y="663"/>
                  <a:pt x="4107" y="659"/>
                  <a:pt x="4109" y="654"/>
                </a:cubicBezTo>
                <a:cubicBezTo>
                  <a:pt x="4110" y="651"/>
                  <a:pt x="4111" y="650"/>
                  <a:pt x="4112" y="650"/>
                </a:cubicBezTo>
                <a:cubicBezTo>
                  <a:pt x="4113" y="650"/>
                  <a:pt x="4113" y="649"/>
                  <a:pt x="4113" y="648"/>
                </a:cubicBezTo>
                <a:lnTo>
                  <a:pt x="4113" y="647"/>
                </a:lnTo>
                <a:cubicBezTo>
                  <a:pt x="4113" y="646"/>
                  <a:pt x="4114" y="645"/>
                  <a:pt x="4115" y="644"/>
                </a:cubicBezTo>
                <a:cubicBezTo>
                  <a:pt x="4117" y="644"/>
                  <a:pt x="4118" y="643"/>
                  <a:pt x="4118" y="642"/>
                </a:cubicBezTo>
                <a:lnTo>
                  <a:pt x="4117" y="640"/>
                </a:lnTo>
                <a:cubicBezTo>
                  <a:pt x="4117" y="639"/>
                  <a:pt x="4117" y="639"/>
                  <a:pt x="4118" y="639"/>
                </a:cubicBezTo>
                <a:cubicBezTo>
                  <a:pt x="4119" y="639"/>
                  <a:pt x="4120" y="638"/>
                  <a:pt x="4120" y="638"/>
                </a:cubicBezTo>
                <a:lnTo>
                  <a:pt x="4119" y="636"/>
                </a:lnTo>
                <a:cubicBezTo>
                  <a:pt x="4119" y="635"/>
                  <a:pt x="4120" y="634"/>
                  <a:pt x="4122" y="633"/>
                </a:cubicBezTo>
                <a:cubicBezTo>
                  <a:pt x="4124" y="632"/>
                  <a:pt x="4125" y="629"/>
                  <a:pt x="4126" y="626"/>
                </a:cubicBezTo>
                <a:cubicBezTo>
                  <a:pt x="4126" y="624"/>
                  <a:pt x="4127" y="622"/>
                  <a:pt x="4129" y="620"/>
                </a:cubicBezTo>
                <a:cubicBezTo>
                  <a:pt x="4131" y="618"/>
                  <a:pt x="4132" y="616"/>
                  <a:pt x="4132" y="614"/>
                </a:cubicBezTo>
                <a:cubicBezTo>
                  <a:pt x="4133" y="612"/>
                  <a:pt x="4134" y="610"/>
                  <a:pt x="4135" y="608"/>
                </a:cubicBezTo>
                <a:cubicBezTo>
                  <a:pt x="4137" y="607"/>
                  <a:pt x="4137" y="605"/>
                  <a:pt x="4137" y="605"/>
                </a:cubicBezTo>
                <a:cubicBezTo>
                  <a:pt x="4137" y="604"/>
                  <a:pt x="4137" y="604"/>
                  <a:pt x="4137" y="604"/>
                </a:cubicBezTo>
                <a:cubicBezTo>
                  <a:pt x="4137" y="604"/>
                  <a:pt x="4136" y="604"/>
                  <a:pt x="4136" y="604"/>
                </a:cubicBezTo>
                <a:cubicBezTo>
                  <a:pt x="4136" y="603"/>
                  <a:pt x="4137" y="602"/>
                  <a:pt x="4140" y="599"/>
                </a:cubicBezTo>
                <a:cubicBezTo>
                  <a:pt x="4143" y="596"/>
                  <a:pt x="4144" y="595"/>
                  <a:pt x="4144" y="593"/>
                </a:cubicBezTo>
                <a:lnTo>
                  <a:pt x="4144" y="593"/>
                </a:lnTo>
                <a:cubicBezTo>
                  <a:pt x="4144" y="592"/>
                  <a:pt x="4145" y="590"/>
                  <a:pt x="4147" y="588"/>
                </a:cubicBezTo>
                <a:cubicBezTo>
                  <a:pt x="4149" y="585"/>
                  <a:pt x="4150" y="584"/>
                  <a:pt x="4151" y="584"/>
                </a:cubicBezTo>
                <a:cubicBezTo>
                  <a:pt x="4151" y="584"/>
                  <a:pt x="4151" y="584"/>
                  <a:pt x="4151" y="584"/>
                </a:cubicBezTo>
                <a:cubicBezTo>
                  <a:pt x="4151" y="585"/>
                  <a:pt x="4151" y="587"/>
                  <a:pt x="4150" y="589"/>
                </a:cubicBezTo>
                <a:cubicBezTo>
                  <a:pt x="4147" y="595"/>
                  <a:pt x="4144" y="600"/>
                  <a:pt x="4143" y="602"/>
                </a:cubicBezTo>
                <a:cubicBezTo>
                  <a:pt x="4141" y="603"/>
                  <a:pt x="4139" y="606"/>
                  <a:pt x="4137" y="611"/>
                </a:cubicBezTo>
                <a:lnTo>
                  <a:pt x="4134" y="621"/>
                </a:lnTo>
                <a:cubicBezTo>
                  <a:pt x="4135" y="621"/>
                  <a:pt x="4138" y="617"/>
                  <a:pt x="4143" y="608"/>
                </a:cubicBezTo>
                <a:cubicBezTo>
                  <a:pt x="4148" y="600"/>
                  <a:pt x="4151" y="595"/>
                  <a:pt x="4151" y="595"/>
                </a:cubicBezTo>
                <a:cubicBezTo>
                  <a:pt x="4151" y="595"/>
                  <a:pt x="4152" y="595"/>
                  <a:pt x="4152" y="595"/>
                </a:cubicBezTo>
                <a:cubicBezTo>
                  <a:pt x="4152" y="597"/>
                  <a:pt x="4151" y="600"/>
                  <a:pt x="4148" y="605"/>
                </a:cubicBezTo>
                <a:cubicBezTo>
                  <a:pt x="4136" y="631"/>
                  <a:pt x="4118" y="663"/>
                  <a:pt x="4094" y="700"/>
                </a:cubicBezTo>
                <a:cubicBezTo>
                  <a:pt x="4068" y="742"/>
                  <a:pt x="4048" y="771"/>
                  <a:pt x="4033" y="786"/>
                </a:cubicBezTo>
                <a:cubicBezTo>
                  <a:pt x="4028" y="791"/>
                  <a:pt x="4026" y="794"/>
                  <a:pt x="4026" y="795"/>
                </a:cubicBezTo>
                <a:cubicBezTo>
                  <a:pt x="4026" y="796"/>
                  <a:pt x="4027" y="797"/>
                  <a:pt x="4030" y="797"/>
                </a:cubicBezTo>
                <a:lnTo>
                  <a:pt x="4032" y="797"/>
                </a:lnTo>
                <a:cubicBezTo>
                  <a:pt x="4035" y="797"/>
                  <a:pt x="4037" y="797"/>
                  <a:pt x="4037" y="796"/>
                </a:cubicBezTo>
                <a:lnTo>
                  <a:pt x="4037" y="795"/>
                </a:lnTo>
                <a:cubicBezTo>
                  <a:pt x="4037" y="794"/>
                  <a:pt x="4037" y="794"/>
                  <a:pt x="4038" y="794"/>
                </a:cubicBezTo>
                <a:cubicBezTo>
                  <a:pt x="4040" y="794"/>
                  <a:pt x="4043" y="791"/>
                  <a:pt x="4048" y="786"/>
                </a:cubicBezTo>
                <a:lnTo>
                  <a:pt x="4050" y="781"/>
                </a:lnTo>
                <a:lnTo>
                  <a:pt x="4050" y="780"/>
                </a:lnTo>
                <a:cubicBezTo>
                  <a:pt x="4050" y="779"/>
                  <a:pt x="4050" y="778"/>
                  <a:pt x="4051" y="777"/>
                </a:cubicBezTo>
                <a:cubicBezTo>
                  <a:pt x="4052" y="775"/>
                  <a:pt x="4054" y="774"/>
                  <a:pt x="4054" y="774"/>
                </a:cubicBezTo>
                <a:lnTo>
                  <a:pt x="4056" y="775"/>
                </a:lnTo>
                <a:cubicBezTo>
                  <a:pt x="4057" y="775"/>
                  <a:pt x="4060" y="771"/>
                  <a:pt x="4067" y="762"/>
                </a:cubicBezTo>
                <a:cubicBezTo>
                  <a:pt x="4069" y="760"/>
                  <a:pt x="4070" y="758"/>
                  <a:pt x="4071" y="757"/>
                </a:cubicBezTo>
                <a:cubicBezTo>
                  <a:pt x="4074" y="755"/>
                  <a:pt x="4075" y="752"/>
                  <a:pt x="4075" y="751"/>
                </a:cubicBezTo>
                <a:cubicBezTo>
                  <a:pt x="4075" y="750"/>
                  <a:pt x="4076" y="748"/>
                  <a:pt x="4078" y="747"/>
                </a:cubicBezTo>
                <a:cubicBezTo>
                  <a:pt x="4080" y="745"/>
                  <a:pt x="4081" y="743"/>
                  <a:pt x="4081" y="739"/>
                </a:cubicBezTo>
                <a:cubicBezTo>
                  <a:pt x="4081" y="736"/>
                  <a:pt x="4081" y="734"/>
                  <a:pt x="4083" y="734"/>
                </a:cubicBezTo>
                <a:cubicBezTo>
                  <a:pt x="4084" y="734"/>
                  <a:pt x="4086" y="732"/>
                  <a:pt x="4088" y="730"/>
                </a:cubicBezTo>
                <a:cubicBezTo>
                  <a:pt x="4094" y="723"/>
                  <a:pt x="4097" y="718"/>
                  <a:pt x="4097" y="716"/>
                </a:cubicBezTo>
                <a:lnTo>
                  <a:pt x="4093" y="720"/>
                </a:lnTo>
                <a:cubicBezTo>
                  <a:pt x="4092" y="721"/>
                  <a:pt x="4092" y="722"/>
                  <a:pt x="4091" y="722"/>
                </a:cubicBezTo>
                <a:cubicBezTo>
                  <a:pt x="4091" y="722"/>
                  <a:pt x="4090" y="722"/>
                  <a:pt x="4090" y="721"/>
                </a:cubicBezTo>
                <a:cubicBezTo>
                  <a:pt x="4090" y="721"/>
                  <a:pt x="4091" y="720"/>
                  <a:pt x="4092" y="718"/>
                </a:cubicBezTo>
                <a:cubicBezTo>
                  <a:pt x="4092" y="717"/>
                  <a:pt x="4094" y="715"/>
                  <a:pt x="4095" y="713"/>
                </a:cubicBezTo>
                <a:cubicBezTo>
                  <a:pt x="4096" y="712"/>
                  <a:pt x="4097" y="710"/>
                  <a:pt x="4097" y="710"/>
                </a:cubicBezTo>
                <a:cubicBezTo>
                  <a:pt x="4097" y="710"/>
                  <a:pt x="4097" y="709"/>
                  <a:pt x="4097" y="709"/>
                </a:cubicBezTo>
                <a:cubicBezTo>
                  <a:pt x="4096" y="709"/>
                  <a:pt x="4096" y="709"/>
                  <a:pt x="4096" y="709"/>
                </a:cubicBezTo>
                <a:cubicBezTo>
                  <a:pt x="4096" y="708"/>
                  <a:pt x="4097" y="707"/>
                  <a:pt x="4099" y="705"/>
                </a:cubicBezTo>
                <a:cubicBezTo>
                  <a:pt x="4102" y="702"/>
                  <a:pt x="4103" y="699"/>
                  <a:pt x="4103" y="698"/>
                </a:cubicBezTo>
                <a:cubicBezTo>
                  <a:pt x="4103" y="696"/>
                  <a:pt x="4104" y="695"/>
                  <a:pt x="4107" y="693"/>
                </a:cubicBezTo>
                <a:cubicBezTo>
                  <a:pt x="4109" y="691"/>
                  <a:pt x="4110" y="689"/>
                  <a:pt x="4110" y="686"/>
                </a:cubicBezTo>
                <a:cubicBezTo>
                  <a:pt x="4111" y="684"/>
                  <a:pt x="4112" y="682"/>
                  <a:pt x="4114" y="680"/>
                </a:cubicBezTo>
                <a:cubicBezTo>
                  <a:pt x="4117" y="679"/>
                  <a:pt x="4118" y="674"/>
                  <a:pt x="4118" y="667"/>
                </a:cubicBezTo>
                <a:cubicBezTo>
                  <a:pt x="4118" y="667"/>
                  <a:pt x="4118" y="666"/>
                  <a:pt x="4119" y="666"/>
                </a:cubicBezTo>
                <a:lnTo>
                  <a:pt x="4121" y="667"/>
                </a:lnTo>
                <a:cubicBezTo>
                  <a:pt x="4121" y="667"/>
                  <a:pt x="4121" y="667"/>
                  <a:pt x="4121" y="666"/>
                </a:cubicBezTo>
                <a:lnTo>
                  <a:pt x="4121" y="664"/>
                </a:lnTo>
                <a:cubicBezTo>
                  <a:pt x="4121" y="661"/>
                  <a:pt x="4122" y="660"/>
                  <a:pt x="4123" y="659"/>
                </a:cubicBezTo>
                <a:cubicBezTo>
                  <a:pt x="4124" y="659"/>
                  <a:pt x="4125" y="657"/>
                  <a:pt x="4127" y="653"/>
                </a:cubicBezTo>
                <a:cubicBezTo>
                  <a:pt x="4128" y="648"/>
                  <a:pt x="4131" y="644"/>
                  <a:pt x="4134" y="639"/>
                </a:cubicBezTo>
                <a:cubicBezTo>
                  <a:pt x="4137" y="634"/>
                  <a:pt x="4139" y="630"/>
                  <a:pt x="4141" y="627"/>
                </a:cubicBezTo>
                <a:cubicBezTo>
                  <a:pt x="4142" y="624"/>
                  <a:pt x="4143" y="622"/>
                  <a:pt x="4144" y="622"/>
                </a:cubicBezTo>
                <a:cubicBezTo>
                  <a:pt x="4145" y="622"/>
                  <a:pt x="4146" y="622"/>
                  <a:pt x="4146" y="621"/>
                </a:cubicBezTo>
                <a:lnTo>
                  <a:pt x="4145" y="619"/>
                </a:lnTo>
                <a:cubicBezTo>
                  <a:pt x="4145" y="618"/>
                  <a:pt x="4146" y="617"/>
                  <a:pt x="4147" y="615"/>
                </a:cubicBezTo>
                <a:cubicBezTo>
                  <a:pt x="4148" y="614"/>
                  <a:pt x="4149" y="612"/>
                  <a:pt x="4150" y="609"/>
                </a:cubicBezTo>
                <a:cubicBezTo>
                  <a:pt x="4152" y="606"/>
                  <a:pt x="4153" y="604"/>
                  <a:pt x="4154" y="603"/>
                </a:cubicBezTo>
                <a:cubicBezTo>
                  <a:pt x="4155" y="602"/>
                  <a:pt x="4156" y="601"/>
                  <a:pt x="4156" y="599"/>
                </a:cubicBezTo>
                <a:lnTo>
                  <a:pt x="4156" y="597"/>
                </a:lnTo>
                <a:cubicBezTo>
                  <a:pt x="4156" y="595"/>
                  <a:pt x="4157" y="594"/>
                  <a:pt x="4158" y="593"/>
                </a:cubicBezTo>
                <a:cubicBezTo>
                  <a:pt x="4160" y="592"/>
                  <a:pt x="4161" y="591"/>
                  <a:pt x="4161" y="590"/>
                </a:cubicBezTo>
                <a:cubicBezTo>
                  <a:pt x="4161" y="590"/>
                  <a:pt x="4161" y="589"/>
                  <a:pt x="4160" y="589"/>
                </a:cubicBezTo>
                <a:cubicBezTo>
                  <a:pt x="4160" y="587"/>
                  <a:pt x="4161" y="585"/>
                  <a:pt x="4163" y="584"/>
                </a:cubicBezTo>
                <a:cubicBezTo>
                  <a:pt x="4164" y="583"/>
                  <a:pt x="4165" y="582"/>
                  <a:pt x="4165" y="581"/>
                </a:cubicBezTo>
                <a:lnTo>
                  <a:pt x="4165" y="581"/>
                </a:lnTo>
                <a:cubicBezTo>
                  <a:pt x="4164" y="580"/>
                  <a:pt x="4164" y="579"/>
                  <a:pt x="4162" y="579"/>
                </a:cubicBezTo>
                <a:lnTo>
                  <a:pt x="4160" y="580"/>
                </a:lnTo>
                <a:cubicBezTo>
                  <a:pt x="4159" y="580"/>
                  <a:pt x="4158" y="580"/>
                  <a:pt x="4158" y="579"/>
                </a:cubicBezTo>
                <a:lnTo>
                  <a:pt x="4159" y="578"/>
                </a:lnTo>
                <a:cubicBezTo>
                  <a:pt x="4159" y="577"/>
                  <a:pt x="4159" y="576"/>
                  <a:pt x="4158" y="576"/>
                </a:cubicBezTo>
                <a:cubicBezTo>
                  <a:pt x="4157" y="575"/>
                  <a:pt x="4157" y="575"/>
                  <a:pt x="4156" y="575"/>
                </a:cubicBezTo>
                <a:cubicBezTo>
                  <a:pt x="4156" y="575"/>
                  <a:pt x="4156" y="576"/>
                  <a:pt x="4156" y="577"/>
                </a:cubicBezTo>
                <a:cubicBezTo>
                  <a:pt x="4156" y="578"/>
                  <a:pt x="4155" y="579"/>
                  <a:pt x="4154" y="580"/>
                </a:cubicBezTo>
                <a:cubicBezTo>
                  <a:pt x="4154" y="580"/>
                  <a:pt x="4153" y="581"/>
                  <a:pt x="4152" y="581"/>
                </a:cubicBezTo>
                <a:cubicBezTo>
                  <a:pt x="4151" y="581"/>
                  <a:pt x="4150" y="581"/>
                  <a:pt x="4150" y="580"/>
                </a:cubicBezTo>
                <a:cubicBezTo>
                  <a:pt x="4150" y="580"/>
                  <a:pt x="4151" y="579"/>
                  <a:pt x="4152" y="577"/>
                </a:cubicBezTo>
                <a:cubicBezTo>
                  <a:pt x="4154" y="576"/>
                  <a:pt x="4154" y="574"/>
                  <a:pt x="4154" y="573"/>
                </a:cubicBezTo>
                <a:lnTo>
                  <a:pt x="4154" y="570"/>
                </a:lnTo>
                <a:cubicBezTo>
                  <a:pt x="4154" y="570"/>
                  <a:pt x="4154" y="570"/>
                  <a:pt x="4154" y="570"/>
                </a:cubicBezTo>
                <a:cubicBezTo>
                  <a:pt x="4156" y="570"/>
                  <a:pt x="4158" y="571"/>
                  <a:pt x="4160" y="573"/>
                </a:cubicBezTo>
                <a:cubicBezTo>
                  <a:pt x="4162" y="575"/>
                  <a:pt x="4163" y="576"/>
                  <a:pt x="4164" y="576"/>
                </a:cubicBezTo>
                <a:cubicBezTo>
                  <a:pt x="4165" y="576"/>
                  <a:pt x="4166" y="576"/>
                  <a:pt x="4168" y="574"/>
                </a:cubicBezTo>
                <a:cubicBezTo>
                  <a:pt x="4169" y="572"/>
                  <a:pt x="4170" y="571"/>
                  <a:pt x="4170" y="571"/>
                </a:cubicBezTo>
                <a:cubicBezTo>
                  <a:pt x="4170" y="571"/>
                  <a:pt x="4170" y="570"/>
                  <a:pt x="4170" y="570"/>
                </a:cubicBezTo>
                <a:cubicBezTo>
                  <a:pt x="4169" y="570"/>
                  <a:pt x="4169" y="570"/>
                  <a:pt x="4169" y="570"/>
                </a:cubicBezTo>
                <a:cubicBezTo>
                  <a:pt x="4168" y="570"/>
                  <a:pt x="4167" y="571"/>
                  <a:pt x="4165" y="572"/>
                </a:cubicBezTo>
                <a:cubicBezTo>
                  <a:pt x="4164" y="573"/>
                  <a:pt x="4163" y="574"/>
                  <a:pt x="4162" y="574"/>
                </a:cubicBezTo>
                <a:cubicBezTo>
                  <a:pt x="4162" y="574"/>
                  <a:pt x="4162" y="574"/>
                  <a:pt x="4162" y="573"/>
                </a:cubicBezTo>
                <a:cubicBezTo>
                  <a:pt x="4162" y="573"/>
                  <a:pt x="4162" y="572"/>
                  <a:pt x="4162" y="571"/>
                </a:cubicBezTo>
                <a:cubicBezTo>
                  <a:pt x="4163" y="571"/>
                  <a:pt x="4163" y="570"/>
                  <a:pt x="4163" y="569"/>
                </a:cubicBezTo>
                <a:cubicBezTo>
                  <a:pt x="4163" y="568"/>
                  <a:pt x="4163" y="567"/>
                  <a:pt x="4162" y="566"/>
                </a:cubicBezTo>
                <a:cubicBezTo>
                  <a:pt x="4161" y="566"/>
                  <a:pt x="4161" y="565"/>
                  <a:pt x="4161" y="564"/>
                </a:cubicBezTo>
                <a:cubicBezTo>
                  <a:pt x="4161" y="563"/>
                  <a:pt x="4161" y="563"/>
                  <a:pt x="4162" y="561"/>
                </a:cubicBezTo>
                <a:cubicBezTo>
                  <a:pt x="4163" y="560"/>
                  <a:pt x="4164" y="559"/>
                  <a:pt x="4166" y="559"/>
                </a:cubicBezTo>
                <a:lnTo>
                  <a:pt x="4167" y="560"/>
                </a:lnTo>
                <a:cubicBezTo>
                  <a:pt x="4167" y="560"/>
                  <a:pt x="4168" y="559"/>
                  <a:pt x="4168" y="559"/>
                </a:cubicBezTo>
                <a:cubicBezTo>
                  <a:pt x="4168" y="558"/>
                  <a:pt x="4167" y="558"/>
                  <a:pt x="4167" y="557"/>
                </a:cubicBezTo>
                <a:cubicBezTo>
                  <a:pt x="4167" y="556"/>
                  <a:pt x="4166" y="555"/>
                  <a:pt x="4166" y="554"/>
                </a:cubicBezTo>
                <a:cubicBezTo>
                  <a:pt x="4166" y="552"/>
                  <a:pt x="4167" y="550"/>
                  <a:pt x="4169" y="550"/>
                </a:cubicBezTo>
                <a:cubicBezTo>
                  <a:pt x="4170" y="550"/>
                  <a:pt x="4171" y="551"/>
                  <a:pt x="4172" y="551"/>
                </a:cubicBezTo>
                <a:cubicBezTo>
                  <a:pt x="4173" y="553"/>
                  <a:pt x="4174" y="553"/>
                  <a:pt x="4175" y="553"/>
                </a:cubicBezTo>
                <a:cubicBezTo>
                  <a:pt x="4176" y="553"/>
                  <a:pt x="4176" y="553"/>
                  <a:pt x="4176" y="553"/>
                </a:cubicBezTo>
                <a:lnTo>
                  <a:pt x="4176" y="552"/>
                </a:lnTo>
                <a:cubicBezTo>
                  <a:pt x="4176" y="551"/>
                  <a:pt x="4176" y="551"/>
                  <a:pt x="4175" y="551"/>
                </a:cubicBezTo>
                <a:cubicBezTo>
                  <a:pt x="4174" y="551"/>
                  <a:pt x="4174" y="551"/>
                  <a:pt x="4174" y="550"/>
                </a:cubicBezTo>
                <a:lnTo>
                  <a:pt x="4175" y="548"/>
                </a:lnTo>
                <a:cubicBezTo>
                  <a:pt x="4175" y="547"/>
                  <a:pt x="4174" y="547"/>
                  <a:pt x="4174" y="547"/>
                </a:cubicBezTo>
                <a:lnTo>
                  <a:pt x="4172" y="548"/>
                </a:lnTo>
                <a:cubicBezTo>
                  <a:pt x="4171" y="548"/>
                  <a:pt x="4170" y="547"/>
                  <a:pt x="4170" y="546"/>
                </a:cubicBezTo>
                <a:cubicBezTo>
                  <a:pt x="4170" y="544"/>
                  <a:pt x="4171" y="543"/>
                  <a:pt x="4172" y="542"/>
                </a:cubicBezTo>
                <a:cubicBezTo>
                  <a:pt x="4173" y="541"/>
                  <a:pt x="4173" y="541"/>
                  <a:pt x="4174" y="541"/>
                </a:cubicBezTo>
                <a:cubicBezTo>
                  <a:pt x="4175" y="541"/>
                  <a:pt x="4176" y="541"/>
                  <a:pt x="4176" y="542"/>
                </a:cubicBezTo>
                <a:cubicBezTo>
                  <a:pt x="4177" y="544"/>
                  <a:pt x="4178" y="544"/>
                  <a:pt x="4180" y="544"/>
                </a:cubicBezTo>
                <a:cubicBezTo>
                  <a:pt x="4180" y="544"/>
                  <a:pt x="4180" y="544"/>
                  <a:pt x="4180" y="544"/>
                </a:cubicBezTo>
                <a:cubicBezTo>
                  <a:pt x="4180" y="543"/>
                  <a:pt x="4180" y="542"/>
                  <a:pt x="4178" y="541"/>
                </a:cubicBezTo>
                <a:cubicBezTo>
                  <a:pt x="4177" y="539"/>
                  <a:pt x="4176" y="537"/>
                  <a:pt x="4176" y="534"/>
                </a:cubicBezTo>
                <a:cubicBezTo>
                  <a:pt x="4176" y="532"/>
                  <a:pt x="4176" y="530"/>
                  <a:pt x="4177" y="528"/>
                </a:cubicBezTo>
                <a:cubicBezTo>
                  <a:pt x="4178" y="526"/>
                  <a:pt x="4179" y="525"/>
                  <a:pt x="4180" y="525"/>
                </a:cubicBezTo>
                <a:lnTo>
                  <a:pt x="4181" y="525"/>
                </a:lnTo>
                <a:cubicBezTo>
                  <a:pt x="4183" y="525"/>
                  <a:pt x="4184" y="524"/>
                  <a:pt x="4186" y="522"/>
                </a:cubicBezTo>
                <a:lnTo>
                  <a:pt x="4188" y="519"/>
                </a:lnTo>
                <a:cubicBezTo>
                  <a:pt x="4188" y="519"/>
                  <a:pt x="4187" y="520"/>
                  <a:pt x="4186" y="521"/>
                </a:cubicBezTo>
                <a:cubicBezTo>
                  <a:pt x="4184" y="522"/>
                  <a:pt x="4183" y="523"/>
                  <a:pt x="4182" y="523"/>
                </a:cubicBezTo>
                <a:cubicBezTo>
                  <a:pt x="4182" y="523"/>
                  <a:pt x="4181" y="522"/>
                  <a:pt x="4181" y="521"/>
                </a:cubicBezTo>
                <a:cubicBezTo>
                  <a:pt x="4181" y="518"/>
                  <a:pt x="4183" y="516"/>
                  <a:pt x="4185" y="513"/>
                </a:cubicBezTo>
                <a:cubicBezTo>
                  <a:pt x="4185" y="512"/>
                  <a:pt x="4186" y="512"/>
                  <a:pt x="4186" y="512"/>
                </a:cubicBezTo>
                <a:cubicBezTo>
                  <a:pt x="4187" y="512"/>
                  <a:pt x="4187" y="513"/>
                  <a:pt x="4187" y="514"/>
                </a:cubicBezTo>
                <a:lnTo>
                  <a:pt x="4186" y="517"/>
                </a:lnTo>
                <a:cubicBezTo>
                  <a:pt x="4186" y="517"/>
                  <a:pt x="4187" y="517"/>
                  <a:pt x="4188" y="516"/>
                </a:cubicBezTo>
                <a:cubicBezTo>
                  <a:pt x="4189" y="515"/>
                  <a:pt x="4189" y="514"/>
                  <a:pt x="4189" y="514"/>
                </a:cubicBezTo>
                <a:cubicBezTo>
                  <a:pt x="4189" y="513"/>
                  <a:pt x="4189" y="512"/>
                  <a:pt x="4189" y="512"/>
                </a:cubicBezTo>
                <a:cubicBezTo>
                  <a:pt x="4188" y="512"/>
                  <a:pt x="4188" y="511"/>
                  <a:pt x="4188" y="509"/>
                </a:cubicBezTo>
                <a:cubicBezTo>
                  <a:pt x="4188" y="507"/>
                  <a:pt x="4188" y="505"/>
                  <a:pt x="4189" y="502"/>
                </a:cubicBezTo>
                <a:cubicBezTo>
                  <a:pt x="4190" y="499"/>
                  <a:pt x="4191" y="497"/>
                  <a:pt x="4192" y="495"/>
                </a:cubicBezTo>
                <a:cubicBezTo>
                  <a:pt x="4193" y="493"/>
                  <a:pt x="4194" y="492"/>
                  <a:pt x="4195" y="492"/>
                </a:cubicBezTo>
                <a:cubicBezTo>
                  <a:pt x="4196" y="492"/>
                  <a:pt x="4196" y="491"/>
                  <a:pt x="4196" y="491"/>
                </a:cubicBezTo>
                <a:lnTo>
                  <a:pt x="4196" y="488"/>
                </a:lnTo>
                <a:cubicBezTo>
                  <a:pt x="4196" y="485"/>
                  <a:pt x="4198" y="479"/>
                  <a:pt x="4202" y="470"/>
                </a:cubicBezTo>
                <a:cubicBezTo>
                  <a:pt x="4208" y="455"/>
                  <a:pt x="4211" y="446"/>
                  <a:pt x="4213" y="441"/>
                </a:cubicBezTo>
                <a:cubicBezTo>
                  <a:pt x="4214" y="438"/>
                  <a:pt x="4215" y="435"/>
                  <a:pt x="4216" y="433"/>
                </a:cubicBezTo>
                <a:cubicBezTo>
                  <a:pt x="4218" y="431"/>
                  <a:pt x="4218" y="430"/>
                  <a:pt x="4219" y="430"/>
                </a:cubicBezTo>
                <a:cubicBezTo>
                  <a:pt x="4219" y="430"/>
                  <a:pt x="4220" y="429"/>
                  <a:pt x="4220" y="429"/>
                </a:cubicBezTo>
                <a:lnTo>
                  <a:pt x="4220" y="427"/>
                </a:lnTo>
                <a:cubicBezTo>
                  <a:pt x="4220" y="421"/>
                  <a:pt x="4223" y="409"/>
                  <a:pt x="4231" y="391"/>
                </a:cubicBezTo>
                <a:cubicBezTo>
                  <a:pt x="4238" y="372"/>
                  <a:pt x="4243" y="363"/>
                  <a:pt x="4244" y="363"/>
                </a:cubicBezTo>
                <a:cubicBezTo>
                  <a:pt x="4246" y="363"/>
                  <a:pt x="4246" y="362"/>
                  <a:pt x="4246" y="360"/>
                </a:cubicBezTo>
                <a:cubicBezTo>
                  <a:pt x="4246" y="358"/>
                  <a:pt x="4248" y="357"/>
                  <a:pt x="4250" y="357"/>
                </a:cubicBezTo>
                <a:cubicBezTo>
                  <a:pt x="4252" y="357"/>
                  <a:pt x="4253" y="356"/>
                  <a:pt x="4253" y="354"/>
                </a:cubicBezTo>
                <a:cubicBezTo>
                  <a:pt x="4253" y="353"/>
                  <a:pt x="4253" y="353"/>
                  <a:pt x="4252" y="353"/>
                </a:cubicBezTo>
                <a:lnTo>
                  <a:pt x="4249" y="353"/>
                </a:lnTo>
                <a:cubicBezTo>
                  <a:pt x="4249" y="353"/>
                  <a:pt x="4250" y="353"/>
                  <a:pt x="4251" y="351"/>
                </a:cubicBezTo>
                <a:cubicBezTo>
                  <a:pt x="4253" y="350"/>
                  <a:pt x="4254" y="349"/>
                  <a:pt x="4256" y="348"/>
                </a:cubicBezTo>
                <a:cubicBezTo>
                  <a:pt x="4257" y="348"/>
                  <a:pt x="4258" y="348"/>
                  <a:pt x="4258" y="348"/>
                </a:cubicBezTo>
                <a:cubicBezTo>
                  <a:pt x="4259" y="348"/>
                  <a:pt x="4259" y="347"/>
                  <a:pt x="4259" y="346"/>
                </a:cubicBezTo>
                <a:cubicBezTo>
                  <a:pt x="4259" y="346"/>
                  <a:pt x="4259" y="345"/>
                  <a:pt x="4258" y="344"/>
                </a:cubicBezTo>
                <a:cubicBezTo>
                  <a:pt x="4258" y="344"/>
                  <a:pt x="4258" y="343"/>
                  <a:pt x="4258" y="343"/>
                </a:cubicBezTo>
                <a:cubicBezTo>
                  <a:pt x="4258" y="343"/>
                  <a:pt x="4259" y="343"/>
                  <a:pt x="4260" y="344"/>
                </a:cubicBezTo>
                <a:cubicBezTo>
                  <a:pt x="4261" y="345"/>
                  <a:pt x="4261" y="345"/>
                  <a:pt x="4261" y="346"/>
                </a:cubicBezTo>
                <a:cubicBezTo>
                  <a:pt x="4261" y="347"/>
                  <a:pt x="4261" y="347"/>
                  <a:pt x="4260" y="348"/>
                </a:cubicBezTo>
                <a:lnTo>
                  <a:pt x="4260" y="348"/>
                </a:lnTo>
                <a:cubicBezTo>
                  <a:pt x="4260" y="349"/>
                  <a:pt x="4261" y="350"/>
                  <a:pt x="4262" y="350"/>
                </a:cubicBezTo>
                <a:cubicBezTo>
                  <a:pt x="4263" y="350"/>
                  <a:pt x="4263" y="354"/>
                  <a:pt x="4263" y="362"/>
                </a:cubicBezTo>
                <a:cubicBezTo>
                  <a:pt x="4263" y="376"/>
                  <a:pt x="4262" y="386"/>
                  <a:pt x="4261" y="392"/>
                </a:cubicBezTo>
                <a:cubicBezTo>
                  <a:pt x="4258" y="403"/>
                  <a:pt x="4250" y="426"/>
                  <a:pt x="4237" y="462"/>
                </a:cubicBezTo>
                <a:cubicBezTo>
                  <a:pt x="4223" y="497"/>
                  <a:pt x="4215" y="517"/>
                  <a:pt x="4213" y="520"/>
                </a:cubicBezTo>
                <a:cubicBezTo>
                  <a:pt x="4211" y="522"/>
                  <a:pt x="4211" y="523"/>
                  <a:pt x="4211" y="524"/>
                </a:cubicBezTo>
                <a:cubicBezTo>
                  <a:pt x="4211" y="524"/>
                  <a:pt x="4211" y="524"/>
                  <a:pt x="4211" y="524"/>
                </a:cubicBezTo>
                <a:cubicBezTo>
                  <a:pt x="4211" y="525"/>
                  <a:pt x="4211" y="525"/>
                  <a:pt x="4211" y="525"/>
                </a:cubicBezTo>
                <a:cubicBezTo>
                  <a:pt x="4211" y="526"/>
                  <a:pt x="4211" y="528"/>
                  <a:pt x="4211" y="529"/>
                </a:cubicBezTo>
                <a:cubicBezTo>
                  <a:pt x="4208" y="534"/>
                  <a:pt x="4207" y="536"/>
                  <a:pt x="4206" y="536"/>
                </a:cubicBezTo>
                <a:lnTo>
                  <a:pt x="4205" y="536"/>
                </a:lnTo>
                <a:cubicBezTo>
                  <a:pt x="4203" y="536"/>
                  <a:pt x="4202" y="538"/>
                  <a:pt x="4202" y="542"/>
                </a:cubicBezTo>
                <a:lnTo>
                  <a:pt x="4203" y="546"/>
                </a:lnTo>
                <a:cubicBezTo>
                  <a:pt x="4203" y="546"/>
                  <a:pt x="4203" y="546"/>
                  <a:pt x="4202" y="546"/>
                </a:cubicBezTo>
                <a:lnTo>
                  <a:pt x="4201" y="546"/>
                </a:lnTo>
                <a:cubicBezTo>
                  <a:pt x="4200" y="546"/>
                  <a:pt x="4199" y="546"/>
                  <a:pt x="4198" y="548"/>
                </a:cubicBezTo>
                <a:cubicBezTo>
                  <a:pt x="4198" y="549"/>
                  <a:pt x="4197" y="550"/>
                  <a:pt x="4197" y="552"/>
                </a:cubicBezTo>
                <a:lnTo>
                  <a:pt x="4198" y="555"/>
                </a:lnTo>
                <a:cubicBezTo>
                  <a:pt x="4198" y="555"/>
                  <a:pt x="4198" y="556"/>
                  <a:pt x="4197" y="556"/>
                </a:cubicBezTo>
                <a:cubicBezTo>
                  <a:pt x="4196" y="556"/>
                  <a:pt x="4195" y="556"/>
                  <a:pt x="4195" y="557"/>
                </a:cubicBezTo>
                <a:lnTo>
                  <a:pt x="4196" y="558"/>
                </a:lnTo>
                <a:cubicBezTo>
                  <a:pt x="4196" y="560"/>
                  <a:pt x="4195" y="561"/>
                  <a:pt x="4194" y="561"/>
                </a:cubicBezTo>
                <a:cubicBezTo>
                  <a:pt x="4193" y="561"/>
                  <a:pt x="4193" y="561"/>
                  <a:pt x="4193" y="562"/>
                </a:cubicBezTo>
                <a:lnTo>
                  <a:pt x="4194" y="564"/>
                </a:lnTo>
                <a:cubicBezTo>
                  <a:pt x="4194" y="565"/>
                  <a:pt x="4193" y="565"/>
                  <a:pt x="4192" y="565"/>
                </a:cubicBezTo>
                <a:cubicBezTo>
                  <a:pt x="4191" y="565"/>
                  <a:pt x="4191" y="566"/>
                  <a:pt x="4191" y="567"/>
                </a:cubicBezTo>
                <a:lnTo>
                  <a:pt x="4191" y="569"/>
                </a:lnTo>
                <a:cubicBezTo>
                  <a:pt x="4191" y="570"/>
                  <a:pt x="4191" y="570"/>
                  <a:pt x="4190" y="570"/>
                </a:cubicBezTo>
                <a:cubicBezTo>
                  <a:pt x="4189" y="570"/>
                  <a:pt x="4189" y="570"/>
                  <a:pt x="4189" y="571"/>
                </a:cubicBezTo>
                <a:lnTo>
                  <a:pt x="4189" y="572"/>
                </a:lnTo>
                <a:cubicBezTo>
                  <a:pt x="4189" y="573"/>
                  <a:pt x="4189" y="574"/>
                  <a:pt x="4188" y="574"/>
                </a:cubicBezTo>
                <a:cubicBezTo>
                  <a:pt x="4187" y="574"/>
                  <a:pt x="4187" y="575"/>
                  <a:pt x="4187" y="576"/>
                </a:cubicBezTo>
                <a:lnTo>
                  <a:pt x="4187" y="578"/>
                </a:lnTo>
                <a:cubicBezTo>
                  <a:pt x="4187" y="579"/>
                  <a:pt x="4187" y="579"/>
                  <a:pt x="4186" y="579"/>
                </a:cubicBezTo>
                <a:cubicBezTo>
                  <a:pt x="4185" y="579"/>
                  <a:pt x="4184" y="580"/>
                  <a:pt x="4183" y="581"/>
                </a:cubicBezTo>
                <a:cubicBezTo>
                  <a:pt x="4182" y="582"/>
                  <a:pt x="4181" y="584"/>
                  <a:pt x="4180" y="587"/>
                </a:cubicBezTo>
                <a:cubicBezTo>
                  <a:pt x="4179" y="589"/>
                  <a:pt x="4178" y="591"/>
                  <a:pt x="4178" y="592"/>
                </a:cubicBezTo>
                <a:lnTo>
                  <a:pt x="4181" y="590"/>
                </a:lnTo>
                <a:cubicBezTo>
                  <a:pt x="4181" y="590"/>
                  <a:pt x="4181" y="591"/>
                  <a:pt x="4181" y="591"/>
                </a:cubicBezTo>
                <a:cubicBezTo>
                  <a:pt x="4181" y="592"/>
                  <a:pt x="4180" y="594"/>
                  <a:pt x="4176" y="598"/>
                </a:cubicBezTo>
                <a:lnTo>
                  <a:pt x="4174" y="601"/>
                </a:lnTo>
                <a:lnTo>
                  <a:pt x="4176" y="600"/>
                </a:lnTo>
                <a:cubicBezTo>
                  <a:pt x="4176" y="600"/>
                  <a:pt x="4176" y="600"/>
                  <a:pt x="4176" y="600"/>
                </a:cubicBezTo>
                <a:cubicBezTo>
                  <a:pt x="4176" y="600"/>
                  <a:pt x="4176" y="602"/>
                  <a:pt x="4175" y="603"/>
                </a:cubicBezTo>
                <a:cubicBezTo>
                  <a:pt x="4174" y="605"/>
                  <a:pt x="4173" y="606"/>
                  <a:pt x="4172" y="607"/>
                </a:cubicBezTo>
                <a:cubicBezTo>
                  <a:pt x="4171" y="608"/>
                  <a:pt x="4171" y="609"/>
                  <a:pt x="4170" y="609"/>
                </a:cubicBezTo>
                <a:cubicBezTo>
                  <a:pt x="4169" y="609"/>
                  <a:pt x="4169" y="609"/>
                  <a:pt x="4169" y="610"/>
                </a:cubicBezTo>
                <a:lnTo>
                  <a:pt x="4169" y="611"/>
                </a:lnTo>
                <a:cubicBezTo>
                  <a:pt x="4169" y="613"/>
                  <a:pt x="4168" y="615"/>
                  <a:pt x="4166" y="617"/>
                </a:cubicBezTo>
                <a:cubicBezTo>
                  <a:pt x="4164" y="620"/>
                  <a:pt x="4163" y="622"/>
                  <a:pt x="4163" y="622"/>
                </a:cubicBezTo>
                <a:lnTo>
                  <a:pt x="4164" y="625"/>
                </a:lnTo>
                <a:cubicBezTo>
                  <a:pt x="4164" y="625"/>
                  <a:pt x="4163" y="627"/>
                  <a:pt x="4161" y="628"/>
                </a:cubicBezTo>
                <a:cubicBezTo>
                  <a:pt x="4160" y="630"/>
                  <a:pt x="4159" y="631"/>
                  <a:pt x="4158" y="632"/>
                </a:cubicBezTo>
                <a:cubicBezTo>
                  <a:pt x="4158" y="632"/>
                  <a:pt x="4158" y="634"/>
                  <a:pt x="4158" y="635"/>
                </a:cubicBezTo>
                <a:cubicBezTo>
                  <a:pt x="4158" y="637"/>
                  <a:pt x="4157" y="637"/>
                  <a:pt x="4156" y="637"/>
                </a:cubicBezTo>
                <a:lnTo>
                  <a:pt x="4154" y="637"/>
                </a:lnTo>
                <a:cubicBezTo>
                  <a:pt x="4154" y="637"/>
                  <a:pt x="4153" y="638"/>
                  <a:pt x="4153" y="639"/>
                </a:cubicBezTo>
                <a:cubicBezTo>
                  <a:pt x="4152" y="640"/>
                  <a:pt x="4152" y="641"/>
                  <a:pt x="4152" y="642"/>
                </a:cubicBezTo>
                <a:cubicBezTo>
                  <a:pt x="4152" y="642"/>
                  <a:pt x="4152" y="642"/>
                  <a:pt x="4152" y="642"/>
                </a:cubicBezTo>
                <a:lnTo>
                  <a:pt x="4154" y="642"/>
                </a:lnTo>
                <a:cubicBezTo>
                  <a:pt x="4154" y="642"/>
                  <a:pt x="4154" y="642"/>
                  <a:pt x="4154" y="642"/>
                </a:cubicBezTo>
                <a:cubicBezTo>
                  <a:pt x="4154" y="644"/>
                  <a:pt x="4153" y="645"/>
                  <a:pt x="4151" y="648"/>
                </a:cubicBezTo>
                <a:lnTo>
                  <a:pt x="4149" y="649"/>
                </a:lnTo>
                <a:cubicBezTo>
                  <a:pt x="4146" y="649"/>
                  <a:pt x="4145" y="650"/>
                  <a:pt x="4145" y="653"/>
                </a:cubicBezTo>
                <a:cubicBezTo>
                  <a:pt x="4145" y="654"/>
                  <a:pt x="4146" y="654"/>
                  <a:pt x="4146" y="654"/>
                </a:cubicBezTo>
                <a:lnTo>
                  <a:pt x="4147" y="653"/>
                </a:lnTo>
                <a:cubicBezTo>
                  <a:pt x="4147" y="653"/>
                  <a:pt x="4148" y="653"/>
                  <a:pt x="4148" y="653"/>
                </a:cubicBezTo>
                <a:cubicBezTo>
                  <a:pt x="4149" y="653"/>
                  <a:pt x="4149" y="653"/>
                  <a:pt x="4149" y="653"/>
                </a:cubicBezTo>
                <a:cubicBezTo>
                  <a:pt x="4149" y="655"/>
                  <a:pt x="4148" y="657"/>
                  <a:pt x="4145" y="659"/>
                </a:cubicBezTo>
                <a:lnTo>
                  <a:pt x="4142" y="660"/>
                </a:lnTo>
                <a:cubicBezTo>
                  <a:pt x="4142" y="660"/>
                  <a:pt x="4141" y="660"/>
                  <a:pt x="4141" y="660"/>
                </a:cubicBezTo>
                <a:cubicBezTo>
                  <a:pt x="4141" y="660"/>
                  <a:pt x="4140" y="660"/>
                  <a:pt x="4138" y="662"/>
                </a:cubicBezTo>
                <a:cubicBezTo>
                  <a:pt x="4137" y="663"/>
                  <a:pt x="4136" y="664"/>
                  <a:pt x="4136" y="665"/>
                </a:cubicBezTo>
                <a:cubicBezTo>
                  <a:pt x="4136" y="666"/>
                  <a:pt x="4137" y="666"/>
                  <a:pt x="4139" y="666"/>
                </a:cubicBezTo>
                <a:lnTo>
                  <a:pt x="4142" y="666"/>
                </a:lnTo>
                <a:cubicBezTo>
                  <a:pt x="4142" y="667"/>
                  <a:pt x="4140" y="667"/>
                  <a:pt x="4137" y="669"/>
                </a:cubicBezTo>
                <a:cubicBezTo>
                  <a:pt x="4135" y="670"/>
                  <a:pt x="4133" y="672"/>
                  <a:pt x="4132" y="675"/>
                </a:cubicBezTo>
                <a:cubicBezTo>
                  <a:pt x="4131" y="679"/>
                  <a:pt x="4129" y="681"/>
                  <a:pt x="4126" y="683"/>
                </a:cubicBezTo>
                <a:cubicBezTo>
                  <a:pt x="4124" y="684"/>
                  <a:pt x="4123" y="685"/>
                  <a:pt x="4123" y="686"/>
                </a:cubicBezTo>
                <a:lnTo>
                  <a:pt x="4123" y="687"/>
                </a:lnTo>
                <a:cubicBezTo>
                  <a:pt x="4123" y="689"/>
                  <a:pt x="4121" y="693"/>
                  <a:pt x="4118" y="699"/>
                </a:cubicBezTo>
                <a:cubicBezTo>
                  <a:pt x="4114" y="708"/>
                  <a:pt x="4111" y="713"/>
                  <a:pt x="4111" y="714"/>
                </a:cubicBezTo>
                <a:cubicBezTo>
                  <a:pt x="4111" y="715"/>
                  <a:pt x="4111" y="716"/>
                  <a:pt x="4111" y="716"/>
                </a:cubicBezTo>
                <a:lnTo>
                  <a:pt x="4109" y="715"/>
                </a:lnTo>
                <a:cubicBezTo>
                  <a:pt x="4108" y="715"/>
                  <a:pt x="4107" y="717"/>
                  <a:pt x="4105" y="720"/>
                </a:cubicBezTo>
                <a:cubicBezTo>
                  <a:pt x="4103" y="723"/>
                  <a:pt x="4102" y="725"/>
                  <a:pt x="4102" y="725"/>
                </a:cubicBezTo>
                <a:cubicBezTo>
                  <a:pt x="4102" y="726"/>
                  <a:pt x="4099" y="730"/>
                  <a:pt x="4093" y="737"/>
                </a:cubicBezTo>
                <a:cubicBezTo>
                  <a:pt x="4074" y="764"/>
                  <a:pt x="4064" y="777"/>
                  <a:pt x="4062" y="777"/>
                </a:cubicBezTo>
                <a:cubicBezTo>
                  <a:pt x="4061" y="777"/>
                  <a:pt x="4061" y="777"/>
                  <a:pt x="4061" y="778"/>
                </a:cubicBezTo>
                <a:lnTo>
                  <a:pt x="4062" y="781"/>
                </a:lnTo>
                <a:cubicBezTo>
                  <a:pt x="4062" y="782"/>
                  <a:pt x="4061" y="783"/>
                  <a:pt x="4060" y="783"/>
                </a:cubicBezTo>
                <a:cubicBezTo>
                  <a:pt x="4059" y="783"/>
                  <a:pt x="4055" y="786"/>
                  <a:pt x="4049" y="792"/>
                </a:cubicBezTo>
                <a:cubicBezTo>
                  <a:pt x="4036" y="804"/>
                  <a:pt x="4024" y="810"/>
                  <a:pt x="4011" y="810"/>
                </a:cubicBezTo>
                <a:close/>
                <a:moveTo>
                  <a:pt x="4069" y="732"/>
                </a:moveTo>
                <a:cubicBezTo>
                  <a:pt x="4070" y="732"/>
                  <a:pt x="4070" y="731"/>
                  <a:pt x="4071" y="731"/>
                </a:cubicBezTo>
                <a:cubicBezTo>
                  <a:pt x="4072" y="730"/>
                  <a:pt x="4073" y="729"/>
                  <a:pt x="4073" y="728"/>
                </a:cubicBezTo>
                <a:cubicBezTo>
                  <a:pt x="4073" y="727"/>
                  <a:pt x="4072" y="727"/>
                  <a:pt x="4072" y="727"/>
                </a:cubicBezTo>
                <a:lnTo>
                  <a:pt x="4071" y="727"/>
                </a:lnTo>
                <a:cubicBezTo>
                  <a:pt x="4069" y="728"/>
                  <a:pt x="4068" y="729"/>
                  <a:pt x="4068" y="730"/>
                </a:cubicBezTo>
                <a:cubicBezTo>
                  <a:pt x="4068" y="731"/>
                  <a:pt x="4069" y="732"/>
                  <a:pt x="4069" y="732"/>
                </a:cubicBezTo>
                <a:close/>
                <a:moveTo>
                  <a:pt x="4046" y="521"/>
                </a:moveTo>
                <a:cubicBezTo>
                  <a:pt x="4048" y="521"/>
                  <a:pt x="4049" y="520"/>
                  <a:pt x="4050" y="518"/>
                </a:cubicBezTo>
                <a:lnTo>
                  <a:pt x="4050" y="517"/>
                </a:lnTo>
                <a:cubicBezTo>
                  <a:pt x="4050" y="515"/>
                  <a:pt x="4049" y="514"/>
                  <a:pt x="4049" y="514"/>
                </a:cubicBezTo>
                <a:cubicBezTo>
                  <a:pt x="4048" y="513"/>
                  <a:pt x="4047" y="513"/>
                  <a:pt x="4047" y="513"/>
                </a:cubicBezTo>
                <a:lnTo>
                  <a:pt x="4047" y="514"/>
                </a:lnTo>
                <a:cubicBezTo>
                  <a:pt x="4047" y="514"/>
                  <a:pt x="4048" y="514"/>
                  <a:pt x="4048" y="515"/>
                </a:cubicBezTo>
                <a:cubicBezTo>
                  <a:pt x="4048" y="516"/>
                  <a:pt x="4047" y="517"/>
                  <a:pt x="4046" y="518"/>
                </a:cubicBezTo>
                <a:lnTo>
                  <a:pt x="4045" y="520"/>
                </a:lnTo>
                <a:cubicBezTo>
                  <a:pt x="4045" y="521"/>
                  <a:pt x="4045" y="521"/>
                  <a:pt x="4046" y="521"/>
                </a:cubicBezTo>
                <a:close/>
                <a:moveTo>
                  <a:pt x="4040" y="546"/>
                </a:moveTo>
                <a:lnTo>
                  <a:pt x="4039" y="544"/>
                </a:lnTo>
                <a:cubicBezTo>
                  <a:pt x="4039" y="543"/>
                  <a:pt x="4040" y="542"/>
                  <a:pt x="4041" y="541"/>
                </a:cubicBezTo>
                <a:cubicBezTo>
                  <a:pt x="4043" y="541"/>
                  <a:pt x="4044" y="539"/>
                  <a:pt x="4044" y="536"/>
                </a:cubicBezTo>
                <a:lnTo>
                  <a:pt x="4044" y="535"/>
                </a:lnTo>
                <a:cubicBezTo>
                  <a:pt x="4043" y="531"/>
                  <a:pt x="4043" y="528"/>
                  <a:pt x="4042" y="528"/>
                </a:cubicBezTo>
                <a:cubicBezTo>
                  <a:pt x="4042" y="528"/>
                  <a:pt x="4041" y="529"/>
                  <a:pt x="4041" y="530"/>
                </a:cubicBezTo>
                <a:cubicBezTo>
                  <a:pt x="4040" y="531"/>
                  <a:pt x="4040" y="532"/>
                  <a:pt x="4040" y="534"/>
                </a:cubicBezTo>
                <a:cubicBezTo>
                  <a:pt x="4040" y="535"/>
                  <a:pt x="4040" y="536"/>
                  <a:pt x="4041" y="537"/>
                </a:cubicBezTo>
                <a:cubicBezTo>
                  <a:pt x="4042" y="538"/>
                  <a:pt x="4042" y="539"/>
                  <a:pt x="4042" y="539"/>
                </a:cubicBezTo>
                <a:lnTo>
                  <a:pt x="4042" y="540"/>
                </a:lnTo>
                <a:lnTo>
                  <a:pt x="4038" y="539"/>
                </a:lnTo>
                <a:cubicBezTo>
                  <a:pt x="4037" y="539"/>
                  <a:pt x="4036" y="540"/>
                  <a:pt x="4036" y="541"/>
                </a:cubicBezTo>
                <a:cubicBezTo>
                  <a:pt x="4036" y="542"/>
                  <a:pt x="4036" y="544"/>
                  <a:pt x="4037" y="545"/>
                </a:cubicBezTo>
                <a:cubicBezTo>
                  <a:pt x="4038" y="546"/>
                  <a:pt x="4039" y="546"/>
                  <a:pt x="4040" y="546"/>
                </a:cubicBezTo>
                <a:close/>
                <a:moveTo>
                  <a:pt x="4025" y="558"/>
                </a:moveTo>
                <a:cubicBezTo>
                  <a:pt x="4026" y="558"/>
                  <a:pt x="4027" y="557"/>
                  <a:pt x="4027" y="556"/>
                </a:cubicBezTo>
                <a:cubicBezTo>
                  <a:pt x="4027" y="554"/>
                  <a:pt x="4027" y="554"/>
                  <a:pt x="4026" y="554"/>
                </a:cubicBezTo>
                <a:cubicBezTo>
                  <a:pt x="4025" y="554"/>
                  <a:pt x="4025" y="554"/>
                  <a:pt x="4024" y="556"/>
                </a:cubicBezTo>
                <a:lnTo>
                  <a:pt x="4024" y="557"/>
                </a:lnTo>
                <a:cubicBezTo>
                  <a:pt x="4024" y="558"/>
                  <a:pt x="4024" y="558"/>
                  <a:pt x="4025" y="558"/>
                </a:cubicBezTo>
                <a:close/>
                <a:moveTo>
                  <a:pt x="4019" y="579"/>
                </a:moveTo>
                <a:cubicBezTo>
                  <a:pt x="4020" y="579"/>
                  <a:pt x="4020" y="578"/>
                  <a:pt x="4021" y="574"/>
                </a:cubicBezTo>
                <a:lnTo>
                  <a:pt x="4021" y="572"/>
                </a:lnTo>
                <a:cubicBezTo>
                  <a:pt x="4021" y="571"/>
                  <a:pt x="4021" y="571"/>
                  <a:pt x="4021" y="571"/>
                </a:cubicBezTo>
                <a:lnTo>
                  <a:pt x="4020" y="571"/>
                </a:lnTo>
                <a:cubicBezTo>
                  <a:pt x="4019" y="572"/>
                  <a:pt x="4019" y="574"/>
                  <a:pt x="4019" y="575"/>
                </a:cubicBezTo>
                <a:cubicBezTo>
                  <a:pt x="4019" y="578"/>
                  <a:pt x="4019" y="579"/>
                  <a:pt x="4019" y="579"/>
                </a:cubicBezTo>
                <a:close/>
                <a:moveTo>
                  <a:pt x="4015" y="595"/>
                </a:moveTo>
                <a:cubicBezTo>
                  <a:pt x="4015" y="595"/>
                  <a:pt x="4016" y="594"/>
                  <a:pt x="4016" y="593"/>
                </a:cubicBezTo>
                <a:lnTo>
                  <a:pt x="4016" y="590"/>
                </a:lnTo>
                <a:cubicBezTo>
                  <a:pt x="4015" y="589"/>
                  <a:pt x="4015" y="589"/>
                  <a:pt x="4015" y="589"/>
                </a:cubicBezTo>
                <a:cubicBezTo>
                  <a:pt x="4014" y="589"/>
                  <a:pt x="4014" y="590"/>
                  <a:pt x="4014" y="591"/>
                </a:cubicBezTo>
                <a:cubicBezTo>
                  <a:pt x="4014" y="593"/>
                  <a:pt x="4015" y="594"/>
                  <a:pt x="4015" y="595"/>
                </a:cubicBezTo>
                <a:close/>
                <a:moveTo>
                  <a:pt x="4007" y="622"/>
                </a:moveTo>
                <a:cubicBezTo>
                  <a:pt x="4009" y="622"/>
                  <a:pt x="4010" y="621"/>
                  <a:pt x="4010" y="617"/>
                </a:cubicBezTo>
                <a:cubicBezTo>
                  <a:pt x="4010" y="615"/>
                  <a:pt x="4010" y="614"/>
                  <a:pt x="4009" y="614"/>
                </a:cubicBezTo>
                <a:cubicBezTo>
                  <a:pt x="4009" y="614"/>
                  <a:pt x="4008" y="614"/>
                  <a:pt x="4007" y="615"/>
                </a:cubicBezTo>
                <a:cubicBezTo>
                  <a:pt x="4006" y="618"/>
                  <a:pt x="4006" y="620"/>
                  <a:pt x="4006" y="620"/>
                </a:cubicBezTo>
                <a:cubicBezTo>
                  <a:pt x="4006" y="622"/>
                  <a:pt x="4006" y="622"/>
                  <a:pt x="4007" y="622"/>
                </a:cubicBezTo>
                <a:close/>
                <a:moveTo>
                  <a:pt x="4006" y="632"/>
                </a:moveTo>
                <a:cubicBezTo>
                  <a:pt x="4007" y="632"/>
                  <a:pt x="4007" y="631"/>
                  <a:pt x="4007" y="630"/>
                </a:cubicBezTo>
                <a:cubicBezTo>
                  <a:pt x="4007" y="628"/>
                  <a:pt x="4007" y="627"/>
                  <a:pt x="4006" y="627"/>
                </a:cubicBezTo>
                <a:cubicBezTo>
                  <a:pt x="4004" y="627"/>
                  <a:pt x="4003" y="628"/>
                  <a:pt x="4003" y="630"/>
                </a:cubicBezTo>
                <a:cubicBezTo>
                  <a:pt x="4003" y="631"/>
                  <a:pt x="4004" y="632"/>
                  <a:pt x="4006" y="632"/>
                </a:cubicBezTo>
                <a:close/>
                <a:moveTo>
                  <a:pt x="4003" y="644"/>
                </a:moveTo>
                <a:cubicBezTo>
                  <a:pt x="4005" y="643"/>
                  <a:pt x="4006" y="642"/>
                  <a:pt x="4006" y="639"/>
                </a:cubicBezTo>
                <a:cubicBezTo>
                  <a:pt x="4006" y="637"/>
                  <a:pt x="4005" y="636"/>
                  <a:pt x="4004" y="636"/>
                </a:cubicBezTo>
                <a:cubicBezTo>
                  <a:pt x="4003" y="636"/>
                  <a:pt x="4002" y="637"/>
                  <a:pt x="4002" y="641"/>
                </a:cubicBezTo>
                <a:lnTo>
                  <a:pt x="4002" y="642"/>
                </a:lnTo>
                <a:cubicBezTo>
                  <a:pt x="4002" y="644"/>
                  <a:pt x="4002" y="644"/>
                  <a:pt x="4003" y="644"/>
                </a:cubicBezTo>
                <a:close/>
                <a:moveTo>
                  <a:pt x="4001" y="655"/>
                </a:moveTo>
                <a:cubicBezTo>
                  <a:pt x="4003" y="655"/>
                  <a:pt x="4003" y="654"/>
                  <a:pt x="4003" y="652"/>
                </a:cubicBezTo>
                <a:cubicBezTo>
                  <a:pt x="4003" y="651"/>
                  <a:pt x="4003" y="650"/>
                  <a:pt x="4001" y="650"/>
                </a:cubicBezTo>
                <a:cubicBezTo>
                  <a:pt x="4000" y="650"/>
                  <a:pt x="3999" y="651"/>
                  <a:pt x="3999" y="652"/>
                </a:cubicBezTo>
                <a:cubicBezTo>
                  <a:pt x="3999" y="654"/>
                  <a:pt x="4000" y="655"/>
                  <a:pt x="4001" y="655"/>
                </a:cubicBezTo>
                <a:close/>
                <a:moveTo>
                  <a:pt x="3999" y="668"/>
                </a:moveTo>
                <a:cubicBezTo>
                  <a:pt x="4000" y="668"/>
                  <a:pt x="4001" y="667"/>
                  <a:pt x="4001" y="666"/>
                </a:cubicBezTo>
                <a:cubicBezTo>
                  <a:pt x="4001" y="664"/>
                  <a:pt x="4000" y="664"/>
                  <a:pt x="3999" y="664"/>
                </a:cubicBezTo>
                <a:cubicBezTo>
                  <a:pt x="3998" y="664"/>
                  <a:pt x="3997" y="664"/>
                  <a:pt x="3997" y="666"/>
                </a:cubicBezTo>
                <a:cubicBezTo>
                  <a:pt x="3997" y="667"/>
                  <a:pt x="3998" y="668"/>
                  <a:pt x="3999" y="668"/>
                </a:cubicBezTo>
                <a:close/>
                <a:moveTo>
                  <a:pt x="3995" y="685"/>
                </a:moveTo>
                <a:cubicBezTo>
                  <a:pt x="3996" y="685"/>
                  <a:pt x="3997" y="684"/>
                  <a:pt x="3998" y="683"/>
                </a:cubicBezTo>
                <a:cubicBezTo>
                  <a:pt x="3998" y="681"/>
                  <a:pt x="3999" y="680"/>
                  <a:pt x="3999" y="678"/>
                </a:cubicBezTo>
                <a:cubicBezTo>
                  <a:pt x="3999" y="676"/>
                  <a:pt x="3998" y="676"/>
                  <a:pt x="3998" y="676"/>
                </a:cubicBezTo>
                <a:lnTo>
                  <a:pt x="3997" y="676"/>
                </a:lnTo>
                <a:cubicBezTo>
                  <a:pt x="3995" y="677"/>
                  <a:pt x="3995" y="679"/>
                  <a:pt x="3995" y="683"/>
                </a:cubicBezTo>
                <a:cubicBezTo>
                  <a:pt x="3995" y="684"/>
                  <a:pt x="3995" y="685"/>
                  <a:pt x="3995" y="685"/>
                </a:cubicBezTo>
                <a:close/>
                <a:moveTo>
                  <a:pt x="3993" y="719"/>
                </a:moveTo>
                <a:cubicBezTo>
                  <a:pt x="3994" y="719"/>
                  <a:pt x="3995" y="716"/>
                  <a:pt x="3995" y="710"/>
                </a:cubicBezTo>
                <a:cubicBezTo>
                  <a:pt x="3995" y="705"/>
                  <a:pt x="3994" y="703"/>
                  <a:pt x="3993" y="703"/>
                </a:cubicBezTo>
                <a:cubicBezTo>
                  <a:pt x="3993" y="703"/>
                  <a:pt x="3993" y="706"/>
                  <a:pt x="3992" y="711"/>
                </a:cubicBezTo>
                <a:lnTo>
                  <a:pt x="3992" y="714"/>
                </a:lnTo>
                <a:cubicBezTo>
                  <a:pt x="3992" y="716"/>
                  <a:pt x="3992" y="717"/>
                  <a:pt x="3992" y="717"/>
                </a:cubicBezTo>
                <a:cubicBezTo>
                  <a:pt x="3992" y="717"/>
                  <a:pt x="3992" y="718"/>
                  <a:pt x="3993" y="719"/>
                </a:cubicBezTo>
                <a:close/>
                <a:moveTo>
                  <a:pt x="3995" y="700"/>
                </a:moveTo>
                <a:cubicBezTo>
                  <a:pt x="3997" y="700"/>
                  <a:pt x="3997" y="698"/>
                  <a:pt x="3997" y="694"/>
                </a:cubicBezTo>
                <a:cubicBezTo>
                  <a:pt x="3997" y="691"/>
                  <a:pt x="3997" y="689"/>
                  <a:pt x="3995" y="689"/>
                </a:cubicBezTo>
                <a:lnTo>
                  <a:pt x="3995" y="690"/>
                </a:lnTo>
                <a:cubicBezTo>
                  <a:pt x="3994" y="691"/>
                  <a:pt x="3994" y="691"/>
                  <a:pt x="3994" y="693"/>
                </a:cubicBezTo>
                <a:cubicBezTo>
                  <a:pt x="3993" y="694"/>
                  <a:pt x="3993" y="695"/>
                  <a:pt x="3993" y="696"/>
                </a:cubicBezTo>
                <a:cubicBezTo>
                  <a:pt x="3993" y="697"/>
                  <a:pt x="3993" y="698"/>
                  <a:pt x="3993" y="698"/>
                </a:cubicBezTo>
                <a:cubicBezTo>
                  <a:pt x="3993" y="699"/>
                  <a:pt x="3994" y="700"/>
                  <a:pt x="3995" y="700"/>
                </a:cubicBezTo>
                <a:close/>
                <a:moveTo>
                  <a:pt x="3999" y="803"/>
                </a:moveTo>
                <a:cubicBezTo>
                  <a:pt x="4001" y="803"/>
                  <a:pt x="4002" y="803"/>
                  <a:pt x="4002" y="803"/>
                </a:cubicBezTo>
                <a:lnTo>
                  <a:pt x="4002" y="802"/>
                </a:lnTo>
                <a:cubicBezTo>
                  <a:pt x="4000" y="801"/>
                  <a:pt x="4000" y="801"/>
                  <a:pt x="4000" y="800"/>
                </a:cubicBezTo>
                <a:cubicBezTo>
                  <a:pt x="4000" y="800"/>
                  <a:pt x="4000" y="799"/>
                  <a:pt x="4002" y="797"/>
                </a:cubicBezTo>
                <a:cubicBezTo>
                  <a:pt x="4003" y="796"/>
                  <a:pt x="4003" y="795"/>
                  <a:pt x="4003" y="795"/>
                </a:cubicBezTo>
                <a:cubicBezTo>
                  <a:pt x="4002" y="795"/>
                  <a:pt x="4001" y="795"/>
                  <a:pt x="4000" y="796"/>
                </a:cubicBezTo>
                <a:cubicBezTo>
                  <a:pt x="3998" y="798"/>
                  <a:pt x="3997" y="799"/>
                  <a:pt x="3996" y="800"/>
                </a:cubicBezTo>
                <a:cubicBezTo>
                  <a:pt x="3995" y="801"/>
                  <a:pt x="3995" y="801"/>
                  <a:pt x="3995" y="802"/>
                </a:cubicBezTo>
                <a:cubicBezTo>
                  <a:pt x="3995" y="803"/>
                  <a:pt x="3996" y="803"/>
                  <a:pt x="3999" y="803"/>
                </a:cubicBezTo>
                <a:close/>
                <a:moveTo>
                  <a:pt x="3998" y="776"/>
                </a:moveTo>
                <a:cubicBezTo>
                  <a:pt x="3999" y="776"/>
                  <a:pt x="4000" y="774"/>
                  <a:pt x="4000" y="771"/>
                </a:cubicBezTo>
                <a:lnTo>
                  <a:pt x="4000" y="769"/>
                </a:lnTo>
                <a:cubicBezTo>
                  <a:pt x="4000" y="764"/>
                  <a:pt x="4000" y="762"/>
                  <a:pt x="4001" y="762"/>
                </a:cubicBezTo>
                <a:cubicBezTo>
                  <a:pt x="4002" y="762"/>
                  <a:pt x="4003" y="762"/>
                  <a:pt x="4003" y="762"/>
                </a:cubicBezTo>
                <a:cubicBezTo>
                  <a:pt x="4003" y="762"/>
                  <a:pt x="4002" y="761"/>
                  <a:pt x="4001" y="760"/>
                </a:cubicBezTo>
                <a:cubicBezTo>
                  <a:pt x="4000" y="759"/>
                  <a:pt x="3999" y="759"/>
                  <a:pt x="3999" y="758"/>
                </a:cubicBezTo>
                <a:cubicBezTo>
                  <a:pt x="3999" y="758"/>
                  <a:pt x="4000" y="758"/>
                  <a:pt x="4003" y="757"/>
                </a:cubicBezTo>
                <a:cubicBezTo>
                  <a:pt x="4005" y="757"/>
                  <a:pt x="4006" y="757"/>
                  <a:pt x="4006" y="757"/>
                </a:cubicBezTo>
                <a:lnTo>
                  <a:pt x="4002" y="755"/>
                </a:lnTo>
                <a:cubicBezTo>
                  <a:pt x="4001" y="754"/>
                  <a:pt x="4000" y="754"/>
                  <a:pt x="4000" y="754"/>
                </a:cubicBezTo>
                <a:cubicBezTo>
                  <a:pt x="4000" y="754"/>
                  <a:pt x="4001" y="753"/>
                  <a:pt x="4002" y="753"/>
                </a:cubicBezTo>
                <a:cubicBezTo>
                  <a:pt x="4004" y="753"/>
                  <a:pt x="4005" y="750"/>
                  <a:pt x="4005" y="742"/>
                </a:cubicBezTo>
                <a:cubicBezTo>
                  <a:pt x="4005" y="734"/>
                  <a:pt x="4006" y="726"/>
                  <a:pt x="4008" y="717"/>
                </a:cubicBezTo>
                <a:lnTo>
                  <a:pt x="4013" y="684"/>
                </a:lnTo>
                <a:cubicBezTo>
                  <a:pt x="4013" y="680"/>
                  <a:pt x="4013" y="679"/>
                  <a:pt x="4014" y="679"/>
                </a:cubicBezTo>
                <a:cubicBezTo>
                  <a:pt x="4014" y="679"/>
                  <a:pt x="4015" y="678"/>
                  <a:pt x="4015" y="676"/>
                </a:cubicBezTo>
                <a:cubicBezTo>
                  <a:pt x="4015" y="675"/>
                  <a:pt x="4015" y="674"/>
                  <a:pt x="4015" y="672"/>
                </a:cubicBezTo>
                <a:lnTo>
                  <a:pt x="4016" y="665"/>
                </a:lnTo>
                <a:cubicBezTo>
                  <a:pt x="4016" y="665"/>
                  <a:pt x="4017" y="662"/>
                  <a:pt x="4018" y="656"/>
                </a:cubicBezTo>
                <a:cubicBezTo>
                  <a:pt x="4018" y="650"/>
                  <a:pt x="4019" y="646"/>
                  <a:pt x="4020" y="644"/>
                </a:cubicBezTo>
                <a:cubicBezTo>
                  <a:pt x="4021" y="640"/>
                  <a:pt x="4021" y="637"/>
                  <a:pt x="4021" y="634"/>
                </a:cubicBezTo>
                <a:lnTo>
                  <a:pt x="4021" y="633"/>
                </a:lnTo>
                <a:cubicBezTo>
                  <a:pt x="4021" y="631"/>
                  <a:pt x="4022" y="630"/>
                  <a:pt x="4023" y="630"/>
                </a:cubicBezTo>
                <a:cubicBezTo>
                  <a:pt x="4024" y="630"/>
                  <a:pt x="4024" y="629"/>
                  <a:pt x="4024" y="628"/>
                </a:cubicBezTo>
                <a:cubicBezTo>
                  <a:pt x="4024" y="628"/>
                  <a:pt x="4024" y="627"/>
                  <a:pt x="4024" y="627"/>
                </a:cubicBezTo>
                <a:cubicBezTo>
                  <a:pt x="4024" y="626"/>
                  <a:pt x="4023" y="625"/>
                  <a:pt x="4022" y="625"/>
                </a:cubicBezTo>
                <a:lnTo>
                  <a:pt x="4020" y="626"/>
                </a:lnTo>
                <a:cubicBezTo>
                  <a:pt x="4020" y="626"/>
                  <a:pt x="4019" y="626"/>
                  <a:pt x="4019" y="625"/>
                </a:cubicBezTo>
                <a:cubicBezTo>
                  <a:pt x="4019" y="624"/>
                  <a:pt x="4020" y="622"/>
                  <a:pt x="4021" y="621"/>
                </a:cubicBezTo>
                <a:cubicBezTo>
                  <a:pt x="4023" y="620"/>
                  <a:pt x="4024" y="620"/>
                  <a:pt x="4025" y="620"/>
                </a:cubicBezTo>
                <a:cubicBezTo>
                  <a:pt x="4026" y="620"/>
                  <a:pt x="4027" y="620"/>
                  <a:pt x="4027" y="619"/>
                </a:cubicBezTo>
                <a:cubicBezTo>
                  <a:pt x="4027" y="619"/>
                  <a:pt x="4026" y="619"/>
                  <a:pt x="4025" y="618"/>
                </a:cubicBezTo>
                <a:cubicBezTo>
                  <a:pt x="4024" y="617"/>
                  <a:pt x="4024" y="615"/>
                  <a:pt x="4024" y="611"/>
                </a:cubicBezTo>
                <a:cubicBezTo>
                  <a:pt x="4024" y="605"/>
                  <a:pt x="4025" y="603"/>
                  <a:pt x="4026" y="603"/>
                </a:cubicBezTo>
                <a:lnTo>
                  <a:pt x="4028" y="603"/>
                </a:lnTo>
                <a:lnTo>
                  <a:pt x="4029" y="603"/>
                </a:lnTo>
                <a:cubicBezTo>
                  <a:pt x="4029" y="602"/>
                  <a:pt x="4028" y="601"/>
                  <a:pt x="4027" y="599"/>
                </a:cubicBezTo>
                <a:cubicBezTo>
                  <a:pt x="4027" y="598"/>
                  <a:pt x="4026" y="597"/>
                  <a:pt x="4026" y="596"/>
                </a:cubicBezTo>
                <a:cubicBezTo>
                  <a:pt x="4026" y="595"/>
                  <a:pt x="4027" y="595"/>
                  <a:pt x="4028" y="595"/>
                </a:cubicBezTo>
                <a:cubicBezTo>
                  <a:pt x="4029" y="595"/>
                  <a:pt x="4029" y="594"/>
                  <a:pt x="4029" y="593"/>
                </a:cubicBezTo>
                <a:lnTo>
                  <a:pt x="4029" y="588"/>
                </a:lnTo>
                <a:cubicBezTo>
                  <a:pt x="4029" y="586"/>
                  <a:pt x="4029" y="585"/>
                  <a:pt x="4030" y="585"/>
                </a:cubicBezTo>
                <a:cubicBezTo>
                  <a:pt x="4031" y="585"/>
                  <a:pt x="4031" y="585"/>
                  <a:pt x="4031" y="583"/>
                </a:cubicBezTo>
                <a:cubicBezTo>
                  <a:pt x="4031" y="582"/>
                  <a:pt x="4031" y="580"/>
                  <a:pt x="4030" y="579"/>
                </a:cubicBezTo>
                <a:cubicBezTo>
                  <a:pt x="4030" y="577"/>
                  <a:pt x="4030" y="576"/>
                  <a:pt x="4030" y="575"/>
                </a:cubicBezTo>
                <a:lnTo>
                  <a:pt x="4030" y="575"/>
                </a:lnTo>
                <a:cubicBezTo>
                  <a:pt x="4031" y="575"/>
                  <a:pt x="4032" y="576"/>
                  <a:pt x="4033" y="577"/>
                </a:cubicBezTo>
                <a:lnTo>
                  <a:pt x="4036" y="579"/>
                </a:lnTo>
                <a:cubicBezTo>
                  <a:pt x="4036" y="579"/>
                  <a:pt x="4035" y="578"/>
                  <a:pt x="4034" y="576"/>
                </a:cubicBezTo>
                <a:cubicBezTo>
                  <a:pt x="4034" y="575"/>
                  <a:pt x="4033" y="573"/>
                  <a:pt x="4033" y="571"/>
                </a:cubicBezTo>
                <a:cubicBezTo>
                  <a:pt x="4033" y="569"/>
                  <a:pt x="4034" y="566"/>
                  <a:pt x="4035" y="561"/>
                </a:cubicBezTo>
                <a:cubicBezTo>
                  <a:pt x="4036" y="557"/>
                  <a:pt x="4036" y="554"/>
                  <a:pt x="4036" y="552"/>
                </a:cubicBezTo>
                <a:cubicBezTo>
                  <a:pt x="4036" y="551"/>
                  <a:pt x="4036" y="550"/>
                  <a:pt x="4035" y="550"/>
                </a:cubicBezTo>
                <a:cubicBezTo>
                  <a:pt x="4035" y="550"/>
                  <a:pt x="4034" y="550"/>
                  <a:pt x="4034" y="551"/>
                </a:cubicBezTo>
                <a:cubicBezTo>
                  <a:pt x="4033" y="553"/>
                  <a:pt x="4032" y="554"/>
                  <a:pt x="4032" y="556"/>
                </a:cubicBezTo>
                <a:cubicBezTo>
                  <a:pt x="4032" y="557"/>
                  <a:pt x="4032" y="559"/>
                  <a:pt x="4031" y="560"/>
                </a:cubicBezTo>
                <a:cubicBezTo>
                  <a:pt x="4031" y="561"/>
                  <a:pt x="4030" y="562"/>
                  <a:pt x="4030" y="563"/>
                </a:cubicBezTo>
                <a:cubicBezTo>
                  <a:pt x="4026" y="566"/>
                  <a:pt x="4021" y="581"/>
                  <a:pt x="4016" y="607"/>
                </a:cubicBezTo>
                <a:cubicBezTo>
                  <a:pt x="4011" y="634"/>
                  <a:pt x="4007" y="663"/>
                  <a:pt x="4002" y="694"/>
                </a:cubicBezTo>
                <a:cubicBezTo>
                  <a:pt x="3998" y="725"/>
                  <a:pt x="3996" y="748"/>
                  <a:pt x="3996" y="763"/>
                </a:cubicBezTo>
                <a:cubicBezTo>
                  <a:pt x="3996" y="772"/>
                  <a:pt x="3997" y="776"/>
                  <a:pt x="3998" y="776"/>
                </a:cubicBezTo>
                <a:close/>
                <a:moveTo>
                  <a:pt x="4011" y="783"/>
                </a:moveTo>
                <a:cubicBezTo>
                  <a:pt x="4012" y="783"/>
                  <a:pt x="4012" y="780"/>
                  <a:pt x="4012" y="774"/>
                </a:cubicBezTo>
                <a:lnTo>
                  <a:pt x="4012" y="770"/>
                </a:lnTo>
                <a:cubicBezTo>
                  <a:pt x="4012" y="767"/>
                  <a:pt x="4012" y="764"/>
                  <a:pt x="4013" y="763"/>
                </a:cubicBezTo>
                <a:cubicBezTo>
                  <a:pt x="4013" y="762"/>
                  <a:pt x="4013" y="762"/>
                  <a:pt x="4013" y="761"/>
                </a:cubicBezTo>
                <a:cubicBezTo>
                  <a:pt x="4013" y="760"/>
                  <a:pt x="4013" y="760"/>
                  <a:pt x="4012" y="760"/>
                </a:cubicBezTo>
                <a:cubicBezTo>
                  <a:pt x="4011" y="760"/>
                  <a:pt x="4010" y="758"/>
                  <a:pt x="4009" y="755"/>
                </a:cubicBezTo>
                <a:lnTo>
                  <a:pt x="4008" y="753"/>
                </a:lnTo>
                <a:cubicBezTo>
                  <a:pt x="4008" y="753"/>
                  <a:pt x="4008" y="756"/>
                  <a:pt x="4008" y="762"/>
                </a:cubicBezTo>
                <a:cubicBezTo>
                  <a:pt x="4008" y="769"/>
                  <a:pt x="4008" y="775"/>
                  <a:pt x="4010" y="780"/>
                </a:cubicBezTo>
                <a:lnTo>
                  <a:pt x="4011" y="783"/>
                </a:lnTo>
                <a:close/>
                <a:moveTo>
                  <a:pt x="4023" y="805"/>
                </a:moveTo>
                <a:lnTo>
                  <a:pt x="4032" y="804"/>
                </a:lnTo>
                <a:lnTo>
                  <a:pt x="4032" y="803"/>
                </a:lnTo>
                <a:cubicBezTo>
                  <a:pt x="4032" y="803"/>
                  <a:pt x="4031" y="802"/>
                  <a:pt x="4029" y="800"/>
                </a:cubicBezTo>
                <a:cubicBezTo>
                  <a:pt x="4027" y="799"/>
                  <a:pt x="4025" y="798"/>
                  <a:pt x="4024" y="798"/>
                </a:cubicBezTo>
                <a:cubicBezTo>
                  <a:pt x="4023" y="798"/>
                  <a:pt x="4022" y="799"/>
                  <a:pt x="4020" y="799"/>
                </a:cubicBezTo>
                <a:cubicBezTo>
                  <a:pt x="4018" y="801"/>
                  <a:pt x="4017" y="802"/>
                  <a:pt x="4017" y="803"/>
                </a:cubicBezTo>
                <a:cubicBezTo>
                  <a:pt x="4017" y="804"/>
                  <a:pt x="4019" y="805"/>
                  <a:pt x="4023" y="805"/>
                </a:cubicBezTo>
                <a:close/>
                <a:moveTo>
                  <a:pt x="4170" y="565"/>
                </a:moveTo>
                <a:cubicBezTo>
                  <a:pt x="4172" y="565"/>
                  <a:pt x="4173" y="564"/>
                  <a:pt x="4173" y="563"/>
                </a:cubicBezTo>
                <a:cubicBezTo>
                  <a:pt x="4173" y="561"/>
                  <a:pt x="4173" y="561"/>
                  <a:pt x="4172" y="561"/>
                </a:cubicBezTo>
                <a:cubicBezTo>
                  <a:pt x="4171" y="561"/>
                  <a:pt x="4171" y="561"/>
                  <a:pt x="4170" y="562"/>
                </a:cubicBezTo>
                <a:cubicBezTo>
                  <a:pt x="4170" y="563"/>
                  <a:pt x="4169" y="563"/>
                  <a:pt x="4169" y="564"/>
                </a:cubicBezTo>
                <a:cubicBezTo>
                  <a:pt x="4169" y="565"/>
                  <a:pt x="4170" y="565"/>
                  <a:pt x="4170" y="565"/>
                </a:cubicBezTo>
                <a:close/>
                <a:moveTo>
                  <a:pt x="4200" y="491"/>
                </a:moveTo>
                <a:lnTo>
                  <a:pt x="4201" y="490"/>
                </a:lnTo>
                <a:cubicBezTo>
                  <a:pt x="4201" y="489"/>
                  <a:pt x="4200" y="488"/>
                  <a:pt x="4199" y="487"/>
                </a:cubicBezTo>
                <a:cubicBezTo>
                  <a:pt x="4198" y="485"/>
                  <a:pt x="4198" y="485"/>
                  <a:pt x="4197" y="485"/>
                </a:cubicBezTo>
                <a:lnTo>
                  <a:pt x="4197" y="485"/>
                </a:lnTo>
                <a:cubicBezTo>
                  <a:pt x="4197" y="486"/>
                  <a:pt x="4198" y="487"/>
                  <a:pt x="4198" y="488"/>
                </a:cubicBezTo>
                <a:cubicBezTo>
                  <a:pt x="4199" y="490"/>
                  <a:pt x="4199" y="491"/>
                  <a:pt x="4200" y="491"/>
                </a:cubicBezTo>
                <a:close/>
                <a:moveTo>
                  <a:pt x="4206" y="533"/>
                </a:moveTo>
                <a:cubicBezTo>
                  <a:pt x="4206" y="533"/>
                  <a:pt x="4207" y="532"/>
                  <a:pt x="4208" y="529"/>
                </a:cubicBezTo>
                <a:lnTo>
                  <a:pt x="4209" y="527"/>
                </a:lnTo>
                <a:cubicBezTo>
                  <a:pt x="4209" y="527"/>
                  <a:pt x="4208" y="527"/>
                  <a:pt x="4208" y="527"/>
                </a:cubicBezTo>
                <a:lnTo>
                  <a:pt x="4208" y="527"/>
                </a:lnTo>
                <a:cubicBezTo>
                  <a:pt x="4207" y="528"/>
                  <a:pt x="4206" y="528"/>
                  <a:pt x="4206" y="529"/>
                </a:cubicBezTo>
                <a:cubicBezTo>
                  <a:pt x="4206" y="529"/>
                  <a:pt x="4205" y="530"/>
                  <a:pt x="4205" y="531"/>
                </a:cubicBezTo>
                <a:cubicBezTo>
                  <a:pt x="4205" y="532"/>
                  <a:pt x="4206" y="533"/>
                  <a:pt x="4206" y="533"/>
                </a:cubicBezTo>
                <a:close/>
                <a:moveTo>
                  <a:pt x="4208" y="501"/>
                </a:moveTo>
                <a:lnTo>
                  <a:pt x="4211" y="497"/>
                </a:lnTo>
                <a:cubicBezTo>
                  <a:pt x="4213" y="495"/>
                  <a:pt x="4214" y="492"/>
                  <a:pt x="4214" y="491"/>
                </a:cubicBezTo>
                <a:cubicBezTo>
                  <a:pt x="4214" y="490"/>
                  <a:pt x="4214" y="490"/>
                  <a:pt x="4213" y="490"/>
                </a:cubicBezTo>
                <a:cubicBezTo>
                  <a:pt x="4213" y="490"/>
                  <a:pt x="4212" y="492"/>
                  <a:pt x="4210" y="497"/>
                </a:cubicBezTo>
                <a:lnTo>
                  <a:pt x="4208" y="500"/>
                </a:lnTo>
                <a:lnTo>
                  <a:pt x="4208" y="501"/>
                </a:lnTo>
                <a:close/>
                <a:moveTo>
                  <a:pt x="4213" y="516"/>
                </a:moveTo>
                <a:cubicBezTo>
                  <a:pt x="4214" y="516"/>
                  <a:pt x="4214" y="515"/>
                  <a:pt x="4215" y="512"/>
                </a:cubicBezTo>
                <a:cubicBezTo>
                  <a:pt x="4215" y="510"/>
                  <a:pt x="4215" y="508"/>
                  <a:pt x="4217" y="506"/>
                </a:cubicBezTo>
                <a:cubicBezTo>
                  <a:pt x="4218" y="504"/>
                  <a:pt x="4221" y="497"/>
                  <a:pt x="4225" y="486"/>
                </a:cubicBezTo>
                <a:cubicBezTo>
                  <a:pt x="4235" y="459"/>
                  <a:pt x="4243" y="435"/>
                  <a:pt x="4250" y="414"/>
                </a:cubicBezTo>
                <a:cubicBezTo>
                  <a:pt x="4253" y="402"/>
                  <a:pt x="4256" y="392"/>
                  <a:pt x="4258" y="382"/>
                </a:cubicBezTo>
                <a:cubicBezTo>
                  <a:pt x="4261" y="372"/>
                  <a:pt x="4262" y="365"/>
                  <a:pt x="4262" y="362"/>
                </a:cubicBezTo>
                <a:cubicBezTo>
                  <a:pt x="4262" y="360"/>
                  <a:pt x="4261" y="360"/>
                  <a:pt x="4261" y="360"/>
                </a:cubicBezTo>
                <a:cubicBezTo>
                  <a:pt x="4261" y="360"/>
                  <a:pt x="4260" y="360"/>
                  <a:pt x="4259" y="362"/>
                </a:cubicBezTo>
                <a:cubicBezTo>
                  <a:pt x="4258" y="363"/>
                  <a:pt x="4258" y="365"/>
                  <a:pt x="4258" y="367"/>
                </a:cubicBezTo>
                <a:lnTo>
                  <a:pt x="4258" y="371"/>
                </a:lnTo>
                <a:cubicBezTo>
                  <a:pt x="4258" y="372"/>
                  <a:pt x="4258" y="373"/>
                  <a:pt x="4257" y="374"/>
                </a:cubicBezTo>
                <a:cubicBezTo>
                  <a:pt x="4256" y="375"/>
                  <a:pt x="4256" y="375"/>
                  <a:pt x="4256" y="376"/>
                </a:cubicBezTo>
                <a:lnTo>
                  <a:pt x="4256" y="378"/>
                </a:lnTo>
                <a:cubicBezTo>
                  <a:pt x="4256" y="379"/>
                  <a:pt x="4256" y="379"/>
                  <a:pt x="4255" y="379"/>
                </a:cubicBezTo>
                <a:cubicBezTo>
                  <a:pt x="4254" y="379"/>
                  <a:pt x="4254" y="380"/>
                  <a:pt x="4254" y="382"/>
                </a:cubicBezTo>
                <a:lnTo>
                  <a:pt x="4254" y="387"/>
                </a:lnTo>
                <a:cubicBezTo>
                  <a:pt x="4254" y="388"/>
                  <a:pt x="4254" y="389"/>
                  <a:pt x="4253" y="390"/>
                </a:cubicBezTo>
                <a:cubicBezTo>
                  <a:pt x="4252" y="391"/>
                  <a:pt x="4251" y="393"/>
                  <a:pt x="4250" y="397"/>
                </a:cubicBezTo>
                <a:cubicBezTo>
                  <a:pt x="4249" y="401"/>
                  <a:pt x="4247" y="407"/>
                  <a:pt x="4244" y="416"/>
                </a:cubicBezTo>
                <a:cubicBezTo>
                  <a:pt x="4236" y="438"/>
                  <a:pt x="4230" y="452"/>
                  <a:pt x="4228" y="456"/>
                </a:cubicBezTo>
                <a:cubicBezTo>
                  <a:pt x="4226" y="457"/>
                  <a:pt x="4226" y="458"/>
                  <a:pt x="4226" y="459"/>
                </a:cubicBezTo>
                <a:cubicBezTo>
                  <a:pt x="4226" y="460"/>
                  <a:pt x="4226" y="460"/>
                  <a:pt x="4228" y="461"/>
                </a:cubicBezTo>
                <a:cubicBezTo>
                  <a:pt x="4229" y="462"/>
                  <a:pt x="4229" y="463"/>
                  <a:pt x="4229" y="464"/>
                </a:cubicBezTo>
                <a:cubicBezTo>
                  <a:pt x="4229" y="465"/>
                  <a:pt x="4229" y="465"/>
                  <a:pt x="4227" y="466"/>
                </a:cubicBezTo>
                <a:cubicBezTo>
                  <a:pt x="4227" y="466"/>
                  <a:pt x="4226" y="465"/>
                  <a:pt x="4226" y="465"/>
                </a:cubicBezTo>
                <a:cubicBezTo>
                  <a:pt x="4225" y="465"/>
                  <a:pt x="4225" y="465"/>
                  <a:pt x="4224" y="465"/>
                </a:cubicBezTo>
                <a:cubicBezTo>
                  <a:pt x="4223" y="465"/>
                  <a:pt x="4223" y="465"/>
                  <a:pt x="4223" y="466"/>
                </a:cubicBezTo>
                <a:cubicBezTo>
                  <a:pt x="4222" y="472"/>
                  <a:pt x="4220" y="477"/>
                  <a:pt x="4217" y="480"/>
                </a:cubicBezTo>
                <a:cubicBezTo>
                  <a:pt x="4215" y="482"/>
                  <a:pt x="4215" y="484"/>
                  <a:pt x="4215" y="485"/>
                </a:cubicBezTo>
                <a:cubicBezTo>
                  <a:pt x="4215" y="486"/>
                  <a:pt x="4215" y="487"/>
                  <a:pt x="4215" y="487"/>
                </a:cubicBezTo>
                <a:cubicBezTo>
                  <a:pt x="4216" y="487"/>
                  <a:pt x="4216" y="486"/>
                  <a:pt x="4216" y="485"/>
                </a:cubicBezTo>
                <a:cubicBezTo>
                  <a:pt x="4216" y="484"/>
                  <a:pt x="4216" y="483"/>
                  <a:pt x="4217" y="483"/>
                </a:cubicBezTo>
                <a:lnTo>
                  <a:pt x="4220" y="484"/>
                </a:lnTo>
                <a:lnTo>
                  <a:pt x="4220" y="482"/>
                </a:lnTo>
                <a:cubicBezTo>
                  <a:pt x="4220" y="481"/>
                  <a:pt x="4220" y="480"/>
                  <a:pt x="4222" y="478"/>
                </a:cubicBezTo>
                <a:cubicBezTo>
                  <a:pt x="4223" y="477"/>
                  <a:pt x="4224" y="476"/>
                  <a:pt x="4225" y="476"/>
                </a:cubicBezTo>
                <a:lnTo>
                  <a:pt x="4225" y="477"/>
                </a:lnTo>
                <a:cubicBezTo>
                  <a:pt x="4225" y="478"/>
                  <a:pt x="4224" y="480"/>
                  <a:pt x="4222" y="485"/>
                </a:cubicBezTo>
                <a:cubicBezTo>
                  <a:pt x="4221" y="489"/>
                  <a:pt x="4220" y="491"/>
                  <a:pt x="4219" y="491"/>
                </a:cubicBezTo>
                <a:cubicBezTo>
                  <a:pt x="4218" y="491"/>
                  <a:pt x="4217" y="493"/>
                  <a:pt x="4217" y="498"/>
                </a:cubicBezTo>
                <a:cubicBezTo>
                  <a:pt x="4216" y="502"/>
                  <a:pt x="4215" y="505"/>
                  <a:pt x="4214" y="507"/>
                </a:cubicBezTo>
                <a:cubicBezTo>
                  <a:pt x="4213" y="508"/>
                  <a:pt x="4212" y="511"/>
                  <a:pt x="4212" y="513"/>
                </a:cubicBezTo>
                <a:cubicBezTo>
                  <a:pt x="4212" y="515"/>
                  <a:pt x="4212" y="516"/>
                  <a:pt x="4213" y="516"/>
                </a:cubicBezTo>
                <a:close/>
                <a:moveTo>
                  <a:pt x="3987" y="757"/>
                </a:moveTo>
                <a:cubicBezTo>
                  <a:pt x="3985" y="757"/>
                  <a:pt x="3985" y="757"/>
                  <a:pt x="3985" y="757"/>
                </a:cubicBezTo>
                <a:lnTo>
                  <a:pt x="3985" y="756"/>
                </a:lnTo>
                <a:lnTo>
                  <a:pt x="3988" y="755"/>
                </a:lnTo>
                <a:cubicBezTo>
                  <a:pt x="3989" y="755"/>
                  <a:pt x="3990" y="756"/>
                  <a:pt x="3990" y="756"/>
                </a:cubicBezTo>
                <a:cubicBezTo>
                  <a:pt x="3990" y="757"/>
                  <a:pt x="3989" y="757"/>
                  <a:pt x="3987" y="757"/>
                </a:cubicBezTo>
                <a:close/>
                <a:moveTo>
                  <a:pt x="4082" y="707"/>
                </a:moveTo>
                <a:cubicBezTo>
                  <a:pt x="4080" y="707"/>
                  <a:pt x="4079" y="706"/>
                  <a:pt x="4079" y="705"/>
                </a:cubicBezTo>
                <a:cubicBezTo>
                  <a:pt x="4079" y="703"/>
                  <a:pt x="4080" y="703"/>
                  <a:pt x="4082" y="703"/>
                </a:cubicBezTo>
                <a:cubicBezTo>
                  <a:pt x="4083" y="703"/>
                  <a:pt x="4084" y="703"/>
                  <a:pt x="4084" y="705"/>
                </a:cubicBezTo>
                <a:cubicBezTo>
                  <a:pt x="4084" y="706"/>
                  <a:pt x="4083" y="707"/>
                  <a:pt x="4082" y="707"/>
                </a:cubicBezTo>
                <a:close/>
                <a:moveTo>
                  <a:pt x="4087" y="677"/>
                </a:moveTo>
                <a:lnTo>
                  <a:pt x="4087" y="676"/>
                </a:lnTo>
                <a:cubicBezTo>
                  <a:pt x="4087" y="675"/>
                  <a:pt x="4089" y="672"/>
                  <a:pt x="4092" y="667"/>
                </a:cubicBezTo>
                <a:lnTo>
                  <a:pt x="4094" y="666"/>
                </a:lnTo>
                <a:lnTo>
                  <a:pt x="4094" y="666"/>
                </a:lnTo>
                <a:cubicBezTo>
                  <a:pt x="4094" y="668"/>
                  <a:pt x="4093" y="670"/>
                  <a:pt x="4090" y="674"/>
                </a:cubicBezTo>
                <a:cubicBezTo>
                  <a:pt x="4089" y="676"/>
                  <a:pt x="4088" y="677"/>
                  <a:pt x="4087" y="677"/>
                </a:cubicBezTo>
                <a:close/>
                <a:moveTo>
                  <a:pt x="4171" y="515"/>
                </a:moveTo>
                <a:lnTo>
                  <a:pt x="4172" y="511"/>
                </a:lnTo>
                <a:cubicBezTo>
                  <a:pt x="4173" y="509"/>
                  <a:pt x="4174" y="508"/>
                  <a:pt x="4176" y="508"/>
                </a:cubicBezTo>
                <a:cubicBezTo>
                  <a:pt x="4176" y="508"/>
                  <a:pt x="4176" y="508"/>
                  <a:pt x="4176" y="509"/>
                </a:cubicBezTo>
                <a:cubicBezTo>
                  <a:pt x="4176" y="509"/>
                  <a:pt x="4176" y="510"/>
                  <a:pt x="4175" y="511"/>
                </a:cubicBezTo>
                <a:cubicBezTo>
                  <a:pt x="4173" y="514"/>
                  <a:pt x="4172" y="515"/>
                  <a:pt x="4171" y="515"/>
                </a:cubicBezTo>
                <a:close/>
                <a:moveTo>
                  <a:pt x="4183" y="494"/>
                </a:moveTo>
                <a:cubicBezTo>
                  <a:pt x="4182" y="494"/>
                  <a:pt x="4181" y="493"/>
                  <a:pt x="4181" y="490"/>
                </a:cubicBezTo>
                <a:cubicBezTo>
                  <a:pt x="4181" y="489"/>
                  <a:pt x="4182" y="488"/>
                  <a:pt x="4183" y="488"/>
                </a:cubicBezTo>
                <a:cubicBezTo>
                  <a:pt x="4184" y="488"/>
                  <a:pt x="4185" y="489"/>
                  <a:pt x="4185" y="491"/>
                </a:cubicBezTo>
                <a:lnTo>
                  <a:pt x="4185" y="492"/>
                </a:lnTo>
                <a:cubicBezTo>
                  <a:pt x="4184" y="493"/>
                  <a:pt x="4183" y="494"/>
                  <a:pt x="4183" y="494"/>
                </a:cubicBezTo>
                <a:close/>
                <a:moveTo>
                  <a:pt x="4168" y="531"/>
                </a:moveTo>
                <a:cubicBezTo>
                  <a:pt x="4167" y="531"/>
                  <a:pt x="4167" y="531"/>
                  <a:pt x="4166" y="530"/>
                </a:cubicBezTo>
                <a:cubicBezTo>
                  <a:pt x="4166" y="529"/>
                  <a:pt x="4166" y="529"/>
                  <a:pt x="4165" y="528"/>
                </a:cubicBezTo>
                <a:cubicBezTo>
                  <a:pt x="4165" y="528"/>
                  <a:pt x="4165" y="528"/>
                  <a:pt x="4165" y="527"/>
                </a:cubicBezTo>
                <a:cubicBezTo>
                  <a:pt x="4165" y="527"/>
                  <a:pt x="4165" y="526"/>
                  <a:pt x="4166" y="526"/>
                </a:cubicBezTo>
                <a:cubicBezTo>
                  <a:pt x="4168" y="526"/>
                  <a:pt x="4168" y="527"/>
                  <a:pt x="4168" y="528"/>
                </a:cubicBezTo>
                <a:cubicBezTo>
                  <a:pt x="4168" y="530"/>
                  <a:pt x="4168" y="531"/>
                  <a:pt x="4168" y="531"/>
                </a:cubicBezTo>
                <a:close/>
                <a:moveTo>
                  <a:pt x="4191" y="470"/>
                </a:moveTo>
                <a:cubicBezTo>
                  <a:pt x="4190" y="470"/>
                  <a:pt x="4190" y="470"/>
                  <a:pt x="4190" y="469"/>
                </a:cubicBezTo>
                <a:cubicBezTo>
                  <a:pt x="4190" y="468"/>
                  <a:pt x="4191" y="467"/>
                  <a:pt x="4192" y="466"/>
                </a:cubicBezTo>
                <a:cubicBezTo>
                  <a:pt x="4193" y="465"/>
                  <a:pt x="4194" y="464"/>
                  <a:pt x="4195" y="464"/>
                </a:cubicBezTo>
                <a:cubicBezTo>
                  <a:pt x="4195" y="464"/>
                  <a:pt x="4196" y="465"/>
                  <a:pt x="4196" y="465"/>
                </a:cubicBezTo>
                <a:cubicBezTo>
                  <a:pt x="4196" y="465"/>
                  <a:pt x="4196" y="466"/>
                  <a:pt x="4195" y="467"/>
                </a:cubicBezTo>
                <a:cubicBezTo>
                  <a:pt x="4195" y="468"/>
                  <a:pt x="4194" y="468"/>
                  <a:pt x="4193" y="469"/>
                </a:cubicBezTo>
                <a:cubicBezTo>
                  <a:pt x="4193" y="470"/>
                  <a:pt x="4192" y="470"/>
                  <a:pt x="4191" y="470"/>
                </a:cubicBezTo>
                <a:close/>
                <a:moveTo>
                  <a:pt x="4195" y="462"/>
                </a:moveTo>
                <a:cubicBezTo>
                  <a:pt x="4194" y="462"/>
                  <a:pt x="4194" y="461"/>
                  <a:pt x="4194" y="460"/>
                </a:cubicBezTo>
                <a:cubicBezTo>
                  <a:pt x="4194" y="458"/>
                  <a:pt x="4195" y="457"/>
                  <a:pt x="4197" y="457"/>
                </a:cubicBezTo>
                <a:cubicBezTo>
                  <a:pt x="4198" y="457"/>
                  <a:pt x="4198" y="457"/>
                  <a:pt x="4198" y="458"/>
                </a:cubicBezTo>
                <a:lnTo>
                  <a:pt x="4198" y="460"/>
                </a:lnTo>
                <a:cubicBezTo>
                  <a:pt x="4197" y="461"/>
                  <a:pt x="4196" y="462"/>
                  <a:pt x="4195" y="462"/>
                </a:cubicBezTo>
                <a:close/>
                <a:moveTo>
                  <a:pt x="4010" y="554"/>
                </a:moveTo>
                <a:cubicBezTo>
                  <a:pt x="4009" y="554"/>
                  <a:pt x="4008" y="553"/>
                  <a:pt x="4007" y="552"/>
                </a:cubicBezTo>
                <a:lnTo>
                  <a:pt x="4007" y="551"/>
                </a:lnTo>
                <a:cubicBezTo>
                  <a:pt x="4007" y="549"/>
                  <a:pt x="4008" y="544"/>
                  <a:pt x="4011" y="535"/>
                </a:cubicBezTo>
                <a:cubicBezTo>
                  <a:pt x="4014" y="527"/>
                  <a:pt x="4015" y="523"/>
                  <a:pt x="4015" y="521"/>
                </a:cubicBezTo>
                <a:cubicBezTo>
                  <a:pt x="4015" y="521"/>
                  <a:pt x="4016" y="519"/>
                  <a:pt x="4017" y="515"/>
                </a:cubicBezTo>
                <a:cubicBezTo>
                  <a:pt x="4025" y="497"/>
                  <a:pt x="4031" y="487"/>
                  <a:pt x="4033" y="487"/>
                </a:cubicBezTo>
                <a:cubicBezTo>
                  <a:pt x="4036" y="487"/>
                  <a:pt x="4037" y="491"/>
                  <a:pt x="4038" y="497"/>
                </a:cubicBezTo>
                <a:cubicBezTo>
                  <a:pt x="4038" y="501"/>
                  <a:pt x="4037" y="504"/>
                  <a:pt x="4036" y="508"/>
                </a:cubicBezTo>
                <a:lnTo>
                  <a:pt x="4032" y="506"/>
                </a:lnTo>
                <a:cubicBezTo>
                  <a:pt x="4031" y="506"/>
                  <a:pt x="4027" y="512"/>
                  <a:pt x="4021" y="526"/>
                </a:cubicBezTo>
                <a:cubicBezTo>
                  <a:pt x="4014" y="539"/>
                  <a:pt x="4011" y="547"/>
                  <a:pt x="4011" y="551"/>
                </a:cubicBezTo>
                <a:lnTo>
                  <a:pt x="4011" y="553"/>
                </a:lnTo>
                <a:cubicBezTo>
                  <a:pt x="4011" y="553"/>
                  <a:pt x="4011" y="554"/>
                  <a:pt x="4010" y="554"/>
                </a:cubicBezTo>
                <a:close/>
                <a:moveTo>
                  <a:pt x="4644" y="607"/>
                </a:moveTo>
                <a:cubicBezTo>
                  <a:pt x="4644" y="607"/>
                  <a:pt x="4644" y="606"/>
                  <a:pt x="4644" y="606"/>
                </a:cubicBezTo>
                <a:cubicBezTo>
                  <a:pt x="4644" y="605"/>
                  <a:pt x="4644" y="605"/>
                  <a:pt x="4645" y="604"/>
                </a:cubicBezTo>
                <a:cubicBezTo>
                  <a:pt x="4645" y="603"/>
                  <a:pt x="4646" y="603"/>
                  <a:pt x="4647" y="601"/>
                </a:cubicBezTo>
                <a:cubicBezTo>
                  <a:pt x="4649" y="600"/>
                  <a:pt x="4649" y="600"/>
                  <a:pt x="4650" y="600"/>
                </a:cubicBezTo>
                <a:lnTo>
                  <a:pt x="4650" y="600"/>
                </a:lnTo>
                <a:lnTo>
                  <a:pt x="4648" y="603"/>
                </a:lnTo>
                <a:cubicBezTo>
                  <a:pt x="4646" y="605"/>
                  <a:pt x="4645" y="607"/>
                  <a:pt x="4644" y="607"/>
                </a:cubicBezTo>
                <a:close/>
                <a:moveTo>
                  <a:pt x="4420" y="735"/>
                </a:moveTo>
                <a:cubicBezTo>
                  <a:pt x="4420" y="735"/>
                  <a:pt x="4419" y="734"/>
                  <a:pt x="4417" y="732"/>
                </a:cubicBezTo>
                <a:cubicBezTo>
                  <a:pt x="4417" y="731"/>
                  <a:pt x="4416" y="730"/>
                  <a:pt x="4416" y="730"/>
                </a:cubicBezTo>
                <a:cubicBezTo>
                  <a:pt x="4416" y="729"/>
                  <a:pt x="4417" y="728"/>
                  <a:pt x="4418" y="728"/>
                </a:cubicBezTo>
                <a:lnTo>
                  <a:pt x="4420" y="727"/>
                </a:lnTo>
                <a:cubicBezTo>
                  <a:pt x="4421" y="727"/>
                  <a:pt x="4421" y="728"/>
                  <a:pt x="4421" y="730"/>
                </a:cubicBezTo>
                <a:cubicBezTo>
                  <a:pt x="4421" y="734"/>
                  <a:pt x="4421" y="735"/>
                  <a:pt x="4420" y="735"/>
                </a:cubicBezTo>
                <a:close/>
                <a:moveTo>
                  <a:pt x="4464" y="509"/>
                </a:moveTo>
                <a:cubicBezTo>
                  <a:pt x="4464" y="509"/>
                  <a:pt x="4463" y="508"/>
                  <a:pt x="4463" y="506"/>
                </a:cubicBezTo>
                <a:cubicBezTo>
                  <a:pt x="4463" y="504"/>
                  <a:pt x="4464" y="502"/>
                  <a:pt x="4464" y="502"/>
                </a:cubicBezTo>
                <a:cubicBezTo>
                  <a:pt x="4464" y="502"/>
                  <a:pt x="4465" y="504"/>
                  <a:pt x="4465" y="506"/>
                </a:cubicBezTo>
                <a:lnTo>
                  <a:pt x="4464" y="509"/>
                </a:lnTo>
                <a:cubicBezTo>
                  <a:pt x="4464" y="509"/>
                  <a:pt x="4464" y="509"/>
                  <a:pt x="4464" y="509"/>
                </a:cubicBezTo>
                <a:close/>
                <a:moveTo>
                  <a:pt x="4611" y="630"/>
                </a:moveTo>
                <a:cubicBezTo>
                  <a:pt x="4611" y="630"/>
                  <a:pt x="4610" y="629"/>
                  <a:pt x="4610" y="627"/>
                </a:cubicBezTo>
                <a:cubicBezTo>
                  <a:pt x="4610" y="626"/>
                  <a:pt x="4611" y="625"/>
                  <a:pt x="4613" y="625"/>
                </a:cubicBezTo>
                <a:cubicBezTo>
                  <a:pt x="4614" y="625"/>
                  <a:pt x="4614" y="625"/>
                  <a:pt x="4614" y="626"/>
                </a:cubicBezTo>
                <a:lnTo>
                  <a:pt x="4614" y="627"/>
                </a:lnTo>
                <a:cubicBezTo>
                  <a:pt x="4613" y="629"/>
                  <a:pt x="4612" y="630"/>
                  <a:pt x="4611" y="630"/>
                </a:cubicBezTo>
                <a:close/>
                <a:moveTo>
                  <a:pt x="4451" y="547"/>
                </a:moveTo>
                <a:lnTo>
                  <a:pt x="4451" y="546"/>
                </a:lnTo>
                <a:cubicBezTo>
                  <a:pt x="4451" y="546"/>
                  <a:pt x="4451" y="545"/>
                  <a:pt x="4452" y="543"/>
                </a:cubicBezTo>
                <a:cubicBezTo>
                  <a:pt x="4453" y="541"/>
                  <a:pt x="4453" y="540"/>
                  <a:pt x="4454" y="539"/>
                </a:cubicBezTo>
                <a:cubicBezTo>
                  <a:pt x="4454" y="538"/>
                  <a:pt x="4455" y="538"/>
                  <a:pt x="4455" y="538"/>
                </a:cubicBezTo>
                <a:cubicBezTo>
                  <a:pt x="4456" y="538"/>
                  <a:pt x="4456" y="538"/>
                  <a:pt x="4456" y="539"/>
                </a:cubicBezTo>
                <a:cubicBezTo>
                  <a:pt x="4456" y="539"/>
                  <a:pt x="4455" y="541"/>
                  <a:pt x="4454" y="543"/>
                </a:cubicBezTo>
                <a:cubicBezTo>
                  <a:pt x="4453" y="546"/>
                  <a:pt x="4452" y="547"/>
                  <a:pt x="4451" y="547"/>
                </a:cubicBezTo>
                <a:close/>
                <a:moveTo>
                  <a:pt x="4425" y="733"/>
                </a:moveTo>
                <a:cubicBezTo>
                  <a:pt x="4424" y="733"/>
                  <a:pt x="4424" y="732"/>
                  <a:pt x="4424" y="730"/>
                </a:cubicBezTo>
                <a:cubicBezTo>
                  <a:pt x="4424" y="727"/>
                  <a:pt x="4424" y="726"/>
                  <a:pt x="4426" y="726"/>
                </a:cubicBezTo>
                <a:cubicBezTo>
                  <a:pt x="4427" y="726"/>
                  <a:pt x="4427" y="727"/>
                  <a:pt x="4427" y="728"/>
                </a:cubicBezTo>
                <a:cubicBezTo>
                  <a:pt x="4427" y="728"/>
                  <a:pt x="4427" y="729"/>
                  <a:pt x="4427" y="730"/>
                </a:cubicBezTo>
                <a:cubicBezTo>
                  <a:pt x="4426" y="730"/>
                  <a:pt x="4426" y="731"/>
                  <a:pt x="4426" y="732"/>
                </a:cubicBezTo>
                <a:cubicBezTo>
                  <a:pt x="4425" y="733"/>
                  <a:pt x="4425" y="733"/>
                  <a:pt x="4425" y="733"/>
                </a:cubicBezTo>
                <a:close/>
                <a:moveTo>
                  <a:pt x="4459" y="528"/>
                </a:moveTo>
                <a:lnTo>
                  <a:pt x="4459" y="527"/>
                </a:lnTo>
                <a:lnTo>
                  <a:pt x="4460" y="523"/>
                </a:lnTo>
                <a:cubicBezTo>
                  <a:pt x="4461" y="518"/>
                  <a:pt x="4462" y="515"/>
                  <a:pt x="4463" y="515"/>
                </a:cubicBezTo>
                <a:cubicBezTo>
                  <a:pt x="4463" y="515"/>
                  <a:pt x="4463" y="517"/>
                  <a:pt x="4463" y="519"/>
                </a:cubicBezTo>
                <a:cubicBezTo>
                  <a:pt x="4463" y="520"/>
                  <a:pt x="4463" y="522"/>
                  <a:pt x="4462" y="523"/>
                </a:cubicBezTo>
                <a:cubicBezTo>
                  <a:pt x="4462" y="524"/>
                  <a:pt x="4461" y="526"/>
                  <a:pt x="4461" y="526"/>
                </a:cubicBezTo>
                <a:lnTo>
                  <a:pt x="4459" y="528"/>
                </a:lnTo>
                <a:close/>
                <a:moveTo>
                  <a:pt x="4711" y="558"/>
                </a:moveTo>
                <a:cubicBezTo>
                  <a:pt x="4711" y="558"/>
                  <a:pt x="4711" y="558"/>
                  <a:pt x="4711" y="558"/>
                </a:cubicBezTo>
                <a:cubicBezTo>
                  <a:pt x="4711" y="557"/>
                  <a:pt x="4714" y="554"/>
                  <a:pt x="4721" y="550"/>
                </a:cubicBezTo>
                <a:cubicBezTo>
                  <a:pt x="4728" y="545"/>
                  <a:pt x="4732" y="543"/>
                  <a:pt x="4734" y="543"/>
                </a:cubicBezTo>
                <a:cubicBezTo>
                  <a:pt x="4734" y="544"/>
                  <a:pt x="4731" y="546"/>
                  <a:pt x="4726" y="549"/>
                </a:cubicBezTo>
                <a:cubicBezTo>
                  <a:pt x="4717" y="555"/>
                  <a:pt x="4712" y="558"/>
                  <a:pt x="4711" y="558"/>
                </a:cubicBezTo>
                <a:close/>
                <a:moveTo>
                  <a:pt x="4430" y="735"/>
                </a:moveTo>
                <a:lnTo>
                  <a:pt x="4429" y="735"/>
                </a:lnTo>
                <a:cubicBezTo>
                  <a:pt x="4429" y="734"/>
                  <a:pt x="4432" y="733"/>
                  <a:pt x="4438" y="730"/>
                </a:cubicBezTo>
                <a:lnTo>
                  <a:pt x="4453" y="723"/>
                </a:lnTo>
                <a:cubicBezTo>
                  <a:pt x="4456" y="722"/>
                  <a:pt x="4466" y="718"/>
                  <a:pt x="4482" y="711"/>
                </a:cubicBezTo>
                <a:cubicBezTo>
                  <a:pt x="4511" y="697"/>
                  <a:pt x="4526" y="690"/>
                  <a:pt x="4526" y="688"/>
                </a:cubicBezTo>
                <a:cubicBezTo>
                  <a:pt x="4526" y="688"/>
                  <a:pt x="4525" y="688"/>
                  <a:pt x="4525" y="688"/>
                </a:cubicBezTo>
                <a:cubicBezTo>
                  <a:pt x="4523" y="688"/>
                  <a:pt x="4514" y="692"/>
                  <a:pt x="4498" y="700"/>
                </a:cubicBezTo>
                <a:cubicBezTo>
                  <a:pt x="4486" y="707"/>
                  <a:pt x="4475" y="711"/>
                  <a:pt x="4468" y="713"/>
                </a:cubicBezTo>
                <a:cubicBezTo>
                  <a:pt x="4463" y="715"/>
                  <a:pt x="4458" y="716"/>
                  <a:pt x="4455" y="718"/>
                </a:cubicBezTo>
                <a:cubicBezTo>
                  <a:pt x="4452" y="720"/>
                  <a:pt x="4450" y="721"/>
                  <a:pt x="4450" y="722"/>
                </a:cubicBezTo>
                <a:cubicBezTo>
                  <a:pt x="4450" y="723"/>
                  <a:pt x="4450" y="723"/>
                  <a:pt x="4449" y="723"/>
                </a:cubicBezTo>
                <a:lnTo>
                  <a:pt x="4449" y="723"/>
                </a:lnTo>
                <a:cubicBezTo>
                  <a:pt x="4446" y="723"/>
                  <a:pt x="4443" y="724"/>
                  <a:pt x="4439" y="725"/>
                </a:cubicBezTo>
                <a:cubicBezTo>
                  <a:pt x="4435" y="727"/>
                  <a:pt x="4433" y="728"/>
                  <a:pt x="4431" y="728"/>
                </a:cubicBezTo>
                <a:cubicBezTo>
                  <a:pt x="4431" y="728"/>
                  <a:pt x="4430" y="728"/>
                  <a:pt x="4430" y="726"/>
                </a:cubicBezTo>
                <a:cubicBezTo>
                  <a:pt x="4430" y="725"/>
                  <a:pt x="4433" y="723"/>
                  <a:pt x="4438" y="721"/>
                </a:cubicBezTo>
                <a:cubicBezTo>
                  <a:pt x="4454" y="715"/>
                  <a:pt x="4484" y="701"/>
                  <a:pt x="4527" y="679"/>
                </a:cubicBezTo>
                <a:cubicBezTo>
                  <a:pt x="4544" y="670"/>
                  <a:pt x="4556" y="663"/>
                  <a:pt x="4563" y="659"/>
                </a:cubicBezTo>
                <a:cubicBezTo>
                  <a:pt x="4567" y="657"/>
                  <a:pt x="4570" y="655"/>
                  <a:pt x="4573" y="654"/>
                </a:cubicBezTo>
                <a:cubicBezTo>
                  <a:pt x="4575" y="652"/>
                  <a:pt x="4577" y="651"/>
                  <a:pt x="4578" y="650"/>
                </a:cubicBezTo>
                <a:cubicBezTo>
                  <a:pt x="4580" y="649"/>
                  <a:pt x="4580" y="649"/>
                  <a:pt x="4580" y="648"/>
                </a:cubicBezTo>
                <a:cubicBezTo>
                  <a:pt x="4580" y="647"/>
                  <a:pt x="4581" y="647"/>
                  <a:pt x="4582" y="647"/>
                </a:cubicBezTo>
                <a:lnTo>
                  <a:pt x="4583" y="647"/>
                </a:lnTo>
                <a:cubicBezTo>
                  <a:pt x="4585" y="647"/>
                  <a:pt x="4587" y="646"/>
                  <a:pt x="4588" y="644"/>
                </a:cubicBezTo>
                <a:cubicBezTo>
                  <a:pt x="4589" y="643"/>
                  <a:pt x="4591" y="642"/>
                  <a:pt x="4592" y="641"/>
                </a:cubicBezTo>
                <a:lnTo>
                  <a:pt x="4597" y="639"/>
                </a:lnTo>
                <a:cubicBezTo>
                  <a:pt x="4598" y="639"/>
                  <a:pt x="4598" y="639"/>
                  <a:pt x="4598" y="639"/>
                </a:cubicBezTo>
                <a:cubicBezTo>
                  <a:pt x="4598" y="641"/>
                  <a:pt x="4588" y="649"/>
                  <a:pt x="4567" y="661"/>
                </a:cubicBezTo>
                <a:cubicBezTo>
                  <a:pt x="4560" y="665"/>
                  <a:pt x="4555" y="669"/>
                  <a:pt x="4551" y="672"/>
                </a:cubicBezTo>
                <a:cubicBezTo>
                  <a:pt x="4547" y="675"/>
                  <a:pt x="4545" y="677"/>
                  <a:pt x="4545" y="677"/>
                </a:cubicBezTo>
                <a:lnTo>
                  <a:pt x="4546" y="677"/>
                </a:lnTo>
                <a:cubicBezTo>
                  <a:pt x="4546" y="677"/>
                  <a:pt x="4549" y="676"/>
                  <a:pt x="4553" y="673"/>
                </a:cubicBezTo>
                <a:cubicBezTo>
                  <a:pt x="4588" y="652"/>
                  <a:pt x="4605" y="640"/>
                  <a:pt x="4605" y="637"/>
                </a:cubicBezTo>
                <a:lnTo>
                  <a:pt x="4605" y="637"/>
                </a:lnTo>
                <a:cubicBezTo>
                  <a:pt x="4605" y="636"/>
                  <a:pt x="4605" y="635"/>
                  <a:pt x="4606" y="635"/>
                </a:cubicBezTo>
                <a:lnTo>
                  <a:pt x="4608" y="635"/>
                </a:lnTo>
                <a:cubicBezTo>
                  <a:pt x="4609" y="635"/>
                  <a:pt x="4613" y="633"/>
                  <a:pt x="4619" y="630"/>
                </a:cubicBezTo>
                <a:cubicBezTo>
                  <a:pt x="4636" y="618"/>
                  <a:pt x="4649" y="609"/>
                  <a:pt x="4658" y="601"/>
                </a:cubicBezTo>
                <a:cubicBezTo>
                  <a:pt x="4663" y="596"/>
                  <a:pt x="4665" y="593"/>
                  <a:pt x="4665" y="592"/>
                </a:cubicBezTo>
                <a:lnTo>
                  <a:pt x="4665" y="590"/>
                </a:lnTo>
                <a:cubicBezTo>
                  <a:pt x="4665" y="589"/>
                  <a:pt x="4665" y="589"/>
                  <a:pt x="4665" y="589"/>
                </a:cubicBezTo>
                <a:cubicBezTo>
                  <a:pt x="4666" y="589"/>
                  <a:pt x="4666" y="590"/>
                  <a:pt x="4667" y="590"/>
                </a:cubicBezTo>
                <a:cubicBezTo>
                  <a:pt x="4668" y="591"/>
                  <a:pt x="4668" y="592"/>
                  <a:pt x="4669" y="592"/>
                </a:cubicBezTo>
                <a:cubicBezTo>
                  <a:pt x="4670" y="592"/>
                  <a:pt x="4672" y="591"/>
                  <a:pt x="4675" y="588"/>
                </a:cubicBezTo>
                <a:cubicBezTo>
                  <a:pt x="4680" y="585"/>
                  <a:pt x="4682" y="583"/>
                  <a:pt x="4682" y="582"/>
                </a:cubicBezTo>
                <a:cubicBezTo>
                  <a:pt x="4682" y="582"/>
                  <a:pt x="4682" y="581"/>
                  <a:pt x="4682" y="581"/>
                </a:cubicBezTo>
                <a:cubicBezTo>
                  <a:pt x="4681" y="581"/>
                  <a:pt x="4680" y="582"/>
                  <a:pt x="4679" y="582"/>
                </a:cubicBezTo>
                <a:cubicBezTo>
                  <a:pt x="4679" y="583"/>
                  <a:pt x="4678" y="583"/>
                  <a:pt x="4677" y="583"/>
                </a:cubicBezTo>
                <a:cubicBezTo>
                  <a:pt x="4677" y="583"/>
                  <a:pt x="4677" y="583"/>
                  <a:pt x="4677" y="583"/>
                </a:cubicBezTo>
                <a:cubicBezTo>
                  <a:pt x="4677" y="581"/>
                  <a:pt x="4678" y="580"/>
                  <a:pt x="4682" y="580"/>
                </a:cubicBezTo>
                <a:cubicBezTo>
                  <a:pt x="4685" y="580"/>
                  <a:pt x="4691" y="577"/>
                  <a:pt x="4699" y="571"/>
                </a:cubicBezTo>
                <a:cubicBezTo>
                  <a:pt x="4702" y="569"/>
                  <a:pt x="4703" y="568"/>
                  <a:pt x="4703" y="567"/>
                </a:cubicBezTo>
                <a:lnTo>
                  <a:pt x="4703" y="566"/>
                </a:lnTo>
                <a:lnTo>
                  <a:pt x="4702" y="566"/>
                </a:lnTo>
                <a:cubicBezTo>
                  <a:pt x="4702" y="566"/>
                  <a:pt x="4700" y="566"/>
                  <a:pt x="4699" y="568"/>
                </a:cubicBezTo>
                <a:cubicBezTo>
                  <a:pt x="4697" y="569"/>
                  <a:pt x="4696" y="570"/>
                  <a:pt x="4696" y="570"/>
                </a:cubicBezTo>
                <a:cubicBezTo>
                  <a:pt x="4696" y="570"/>
                  <a:pt x="4695" y="570"/>
                  <a:pt x="4695" y="569"/>
                </a:cubicBezTo>
                <a:cubicBezTo>
                  <a:pt x="4695" y="569"/>
                  <a:pt x="4696" y="568"/>
                  <a:pt x="4697" y="567"/>
                </a:cubicBezTo>
                <a:cubicBezTo>
                  <a:pt x="4699" y="566"/>
                  <a:pt x="4701" y="564"/>
                  <a:pt x="4702" y="563"/>
                </a:cubicBezTo>
                <a:lnTo>
                  <a:pt x="4708" y="560"/>
                </a:lnTo>
                <a:cubicBezTo>
                  <a:pt x="4708" y="560"/>
                  <a:pt x="4707" y="561"/>
                  <a:pt x="4706" y="562"/>
                </a:cubicBezTo>
                <a:lnTo>
                  <a:pt x="4704" y="566"/>
                </a:lnTo>
                <a:cubicBezTo>
                  <a:pt x="4705" y="566"/>
                  <a:pt x="4706" y="565"/>
                  <a:pt x="4707" y="564"/>
                </a:cubicBezTo>
                <a:cubicBezTo>
                  <a:pt x="4709" y="563"/>
                  <a:pt x="4711" y="563"/>
                  <a:pt x="4714" y="563"/>
                </a:cubicBezTo>
                <a:cubicBezTo>
                  <a:pt x="4716" y="563"/>
                  <a:pt x="4716" y="563"/>
                  <a:pt x="4716" y="562"/>
                </a:cubicBezTo>
                <a:lnTo>
                  <a:pt x="4716" y="561"/>
                </a:lnTo>
                <a:cubicBezTo>
                  <a:pt x="4716" y="560"/>
                  <a:pt x="4717" y="559"/>
                  <a:pt x="4718" y="558"/>
                </a:cubicBezTo>
                <a:cubicBezTo>
                  <a:pt x="4721" y="556"/>
                  <a:pt x="4724" y="555"/>
                  <a:pt x="4727" y="555"/>
                </a:cubicBezTo>
                <a:cubicBezTo>
                  <a:pt x="4727" y="555"/>
                  <a:pt x="4728" y="555"/>
                  <a:pt x="4728" y="555"/>
                </a:cubicBezTo>
                <a:cubicBezTo>
                  <a:pt x="4729" y="555"/>
                  <a:pt x="4729" y="556"/>
                  <a:pt x="4729" y="556"/>
                </a:cubicBezTo>
                <a:cubicBezTo>
                  <a:pt x="4729" y="556"/>
                  <a:pt x="4730" y="555"/>
                  <a:pt x="4730" y="554"/>
                </a:cubicBezTo>
                <a:lnTo>
                  <a:pt x="4730" y="553"/>
                </a:lnTo>
                <a:cubicBezTo>
                  <a:pt x="4730" y="551"/>
                  <a:pt x="4731" y="551"/>
                  <a:pt x="4733" y="551"/>
                </a:cubicBezTo>
                <a:cubicBezTo>
                  <a:pt x="4736" y="551"/>
                  <a:pt x="4737" y="550"/>
                  <a:pt x="4737" y="548"/>
                </a:cubicBezTo>
                <a:lnTo>
                  <a:pt x="4737" y="548"/>
                </a:lnTo>
                <a:cubicBezTo>
                  <a:pt x="4737" y="546"/>
                  <a:pt x="4737" y="546"/>
                  <a:pt x="4738" y="546"/>
                </a:cubicBezTo>
                <a:lnTo>
                  <a:pt x="4742" y="546"/>
                </a:lnTo>
                <a:cubicBezTo>
                  <a:pt x="4744" y="546"/>
                  <a:pt x="4745" y="546"/>
                  <a:pt x="4746" y="545"/>
                </a:cubicBezTo>
                <a:cubicBezTo>
                  <a:pt x="4747" y="544"/>
                  <a:pt x="4748" y="544"/>
                  <a:pt x="4749" y="544"/>
                </a:cubicBezTo>
                <a:cubicBezTo>
                  <a:pt x="4749" y="544"/>
                  <a:pt x="4750" y="544"/>
                  <a:pt x="4750" y="544"/>
                </a:cubicBezTo>
                <a:cubicBezTo>
                  <a:pt x="4749" y="546"/>
                  <a:pt x="4746" y="549"/>
                  <a:pt x="4742" y="552"/>
                </a:cubicBezTo>
                <a:lnTo>
                  <a:pt x="4716" y="571"/>
                </a:lnTo>
                <a:cubicBezTo>
                  <a:pt x="4706" y="579"/>
                  <a:pt x="4698" y="584"/>
                  <a:pt x="4695" y="586"/>
                </a:cubicBezTo>
                <a:lnTo>
                  <a:pt x="4694" y="587"/>
                </a:lnTo>
                <a:cubicBezTo>
                  <a:pt x="4691" y="589"/>
                  <a:pt x="4689" y="590"/>
                  <a:pt x="4688" y="592"/>
                </a:cubicBezTo>
                <a:cubicBezTo>
                  <a:pt x="4686" y="595"/>
                  <a:pt x="4677" y="601"/>
                  <a:pt x="4661" y="612"/>
                </a:cubicBezTo>
                <a:cubicBezTo>
                  <a:pt x="4630" y="637"/>
                  <a:pt x="4611" y="649"/>
                  <a:pt x="4603" y="649"/>
                </a:cubicBezTo>
                <a:lnTo>
                  <a:pt x="4600" y="649"/>
                </a:lnTo>
                <a:lnTo>
                  <a:pt x="4602" y="650"/>
                </a:lnTo>
                <a:cubicBezTo>
                  <a:pt x="4603" y="650"/>
                  <a:pt x="4603" y="651"/>
                  <a:pt x="4603" y="652"/>
                </a:cubicBezTo>
                <a:cubicBezTo>
                  <a:pt x="4603" y="653"/>
                  <a:pt x="4602" y="654"/>
                  <a:pt x="4600" y="655"/>
                </a:cubicBezTo>
                <a:cubicBezTo>
                  <a:pt x="4598" y="656"/>
                  <a:pt x="4597" y="656"/>
                  <a:pt x="4597" y="656"/>
                </a:cubicBezTo>
                <a:cubicBezTo>
                  <a:pt x="4596" y="656"/>
                  <a:pt x="4596" y="656"/>
                  <a:pt x="4596" y="656"/>
                </a:cubicBezTo>
                <a:lnTo>
                  <a:pt x="4597" y="652"/>
                </a:lnTo>
                <a:cubicBezTo>
                  <a:pt x="4597" y="651"/>
                  <a:pt x="4597" y="651"/>
                  <a:pt x="4595" y="651"/>
                </a:cubicBezTo>
                <a:cubicBezTo>
                  <a:pt x="4593" y="652"/>
                  <a:pt x="4593" y="653"/>
                  <a:pt x="4593" y="655"/>
                </a:cubicBezTo>
                <a:lnTo>
                  <a:pt x="4593" y="656"/>
                </a:lnTo>
                <a:cubicBezTo>
                  <a:pt x="4593" y="658"/>
                  <a:pt x="4592" y="660"/>
                  <a:pt x="4589" y="661"/>
                </a:cubicBezTo>
                <a:cubicBezTo>
                  <a:pt x="4587" y="663"/>
                  <a:pt x="4585" y="663"/>
                  <a:pt x="4585" y="663"/>
                </a:cubicBezTo>
                <a:lnTo>
                  <a:pt x="4591" y="658"/>
                </a:lnTo>
                <a:lnTo>
                  <a:pt x="4591" y="657"/>
                </a:lnTo>
                <a:cubicBezTo>
                  <a:pt x="4590" y="657"/>
                  <a:pt x="4590" y="658"/>
                  <a:pt x="4588" y="658"/>
                </a:cubicBezTo>
                <a:cubicBezTo>
                  <a:pt x="4587" y="659"/>
                  <a:pt x="4586" y="659"/>
                  <a:pt x="4585" y="659"/>
                </a:cubicBezTo>
                <a:cubicBezTo>
                  <a:pt x="4584" y="659"/>
                  <a:pt x="4583" y="659"/>
                  <a:pt x="4582" y="659"/>
                </a:cubicBezTo>
                <a:cubicBezTo>
                  <a:pt x="4582" y="659"/>
                  <a:pt x="4581" y="660"/>
                  <a:pt x="4581" y="661"/>
                </a:cubicBezTo>
                <a:lnTo>
                  <a:pt x="4582" y="663"/>
                </a:lnTo>
                <a:cubicBezTo>
                  <a:pt x="4582" y="665"/>
                  <a:pt x="4580" y="667"/>
                  <a:pt x="4578" y="669"/>
                </a:cubicBezTo>
                <a:lnTo>
                  <a:pt x="4573" y="670"/>
                </a:lnTo>
                <a:cubicBezTo>
                  <a:pt x="4573" y="670"/>
                  <a:pt x="4575" y="669"/>
                  <a:pt x="4577" y="667"/>
                </a:cubicBezTo>
                <a:cubicBezTo>
                  <a:pt x="4579" y="666"/>
                  <a:pt x="4580" y="665"/>
                  <a:pt x="4580" y="664"/>
                </a:cubicBezTo>
                <a:lnTo>
                  <a:pt x="4577" y="665"/>
                </a:lnTo>
                <a:cubicBezTo>
                  <a:pt x="4575" y="666"/>
                  <a:pt x="4573" y="666"/>
                  <a:pt x="4573" y="666"/>
                </a:cubicBezTo>
                <a:cubicBezTo>
                  <a:pt x="4572" y="666"/>
                  <a:pt x="4572" y="668"/>
                  <a:pt x="4572" y="670"/>
                </a:cubicBezTo>
                <a:cubicBezTo>
                  <a:pt x="4572" y="671"/>
                  <a:pt x="4571" y="672"/>
                  <a:pt x="4570" y="673"/>
                </a:cubicBezTo>
                <a:cubicBezTo>
                  <a:pt x="4567" y="676"/>
                  <a:pt x="4565" y="677"/>
                  <a:pt x="4563" y="677"/>
                </a:cubicBezTo>
                <a:cubicBezTo>
                  <a:pt x="4562" y="677"/>
                  <a:pt x="4562" y="677"/>
                  <a:pt x="4562" y="677"/>
                </a:cubicBezTo>
                <a:cubicBezTo>
                  <a:pt x="4561" y="677"/>
                  <a:pt x="4561" y="677"/>
                  <a:pt x="4561" y="676"/>
                </a:cubicBezTo>
                <a:lnTo>
                  <a:pt x="4565" y="674"/>
                </a:lnTo>
                <a:cubicBezTo>
                  <a:pt x="4568" y="673"/>
                  <a:pt x="4569" y="671"/>
                  <a:pt x="4569" y="671"/>
                </a:cubicBezTo>
                <a:cubicBezTo>
                  <a:pt x="4569" y="671"/>
                  <a:pt x="4569" y="670"/>
                  <a:pt x="4569" y="670"/>
                </a:cubicBezTo>
                <a:cubicBezTo>
                  <a:pt x="4567" y="670"/>
                  <a:pt x="4563" y="672"/>
                  <a:pt x="4557" y="676"/>
                </a:cubicBezTo>
                <a:cubicBezTo>
                  <a:pt x="4550" y="679"/>
                  <a:pt x="4547" y="682"/>
                  <a:pt x="4547" y="683"/>
                </a:cubicBezTo>
                <a:lnTo>
                  <a:pt x="4547" y="685"/>
                </a:lnTo>
                <a:cubicBezTo>
                  <a:pt x="4547" y="686"/>
                  <a:pt x="4546" y="686"/>
                  <a:pt x="4545" y="686"/>
                </a:cubicBezTo>
                <a:lnTo>
                  <a:pt x="4545" y="686"/>
                </a:lnTo>
                <a:cubicBezTo>
                  <a:pt x="4541" y="686"/>
                  <a:pt x="4532" y="690"/>
                  <a:pt x="4516" y="698"/>
                </a:cubicBezTo>
                <a:cubicBezTo>
                  <a:pt x="4507" y="703"/>
                  <a:pt x="4496" y="708"/>
                  <a:pt x="4483" y="714"/>
                </a:cubicBezTo>
                <a:cubicBezTo>
                  <a:pt x="4452" y="728"/>
                  <a:pt x="4434" y="735"/>
                  <a:pt x="4430" y="735"/>
                </a:cubicBezTo>
                <a:close/>
                <a:moveTo>
                  <a:pt x="4528" y="686"/>
                </a:moveTo>
                <a:cubicBezTo>
                  <a:pt x="4529" y="686"/>
                  <a:pt x="4530" y="686"/>
                  <a:pt x="4531" y="686"/>
                </a:cubicBezTo>
                <a:cubicBezTo>
                  <a:pt x="4533" y="685"/>
                  <a:pt x="4534" y="684"/>
                  <a:pt x="4534" y="683"/>
                </a:cubicBezTo>
                <a:cubicBezTo>
                  <a:pt x="4533" y="683"/>
                  <a:pt x="4533" y="683"/>
                  <a:pt x="4533" y="683"/>
                </a:cubicBezTo>
                <a:cubicBezTo>
                  <a:pt x="4532" y="683"/>
                  <a:pt x="4531" y="683"/>
                  <a:pt x="4530" y="685"/>
                </a:cubicBezTo>
                <a:lnTo>
                  <a:pt x="4528" y="686"/>
                </a:lnTo>
                <a:close/>
                <a:moveTo>
                  <a:pt x="4278" y="755"/>
                </a:moveTo>
                <a:lnTo>
                  <a:pt x="4278" y="755"/>
                </a:lnTo>
                <a:cubicBezTo>
                  <a:pt x="4277" y="755"/>
                  <a:pt x="4276" y="754"/>
                  <a:pt x="4275" y="752"/>
                </a:cubicBezTo>
                <a:lnTo>
                  <a:pt x="4274" y="749"/>
                </a:lnTo>
                <a:lnTo>
                  <a:pt x="4275" y="749"/>
                </a:lnTo>
                <a:lnTo>
                  <a:pt x="4276" y="751"/>
                </a:lnTo>
                <a:cubicBezTo>
                  <a:pt x="4278" y="752"/>
                  <a:pt x="4278" y="753"/>
                  <a:pt x="4278" y="754"/>
                </a:cubicBezTo>
                <a:lnTo>
                  <a:pt x="4278" y="755"/>
                </a:lnTo>
                <a:close/>
                <a:moveTo>
                  <a:pt x="4273" y="735"/>
                </a:moveTo>
                <a:cubicBezTo>
                  <a:pt x="4273" y="735"/>
                  <a:pt x="4272" y="734"/>
                  <a:pt x="4270" y="731"/>
                </a:cubicBezTo>
                <a:lnTo>
                  <a:pt x="4268" y="728"/>
                </a:lnTo>
                <a:lnTo>
                  <a:pt x="4274" y="734"/>
                </a:lnTo>
                <a:cubicBezTo>
                  <a:pt x="4274" y="735"/>
                  <a:pt x="4273" y="735"/>
                  <a:pt x="4273" y="735"/>
                </a:cubicBezTo>
                <a:close/>
                <a:moveTo>
                  <a:pt x="4426" y="458"/>
                </a:moveTo>
                <a:cubicBezTo>
                  <a:pt x="4425" y="458"/>
                  <a:pt x="4424" y="456"/>
                  <a:pt x="4423" y="454"/>
                </a:cubicBezTo>
                <a:lnTo>
                  <a:pt x="4422" y="451"/>
                </a:lnTo>
                <a:cubicBezTo>
                  <a:pt x="4422" y="450"/>
                  <a:pt x="4422" y="449"/>
                  <a:pt x="4423" y="449"/>
                </a:cubicBezTo>
                <a:cubicBezTo>
                  <a:pt x="4423" y="449"/>
                  <a:pt x="4424" y="450"/>
                  <a:pt x="4425" y="451"/>
                </a:cubicBezTo>
                <a:cubicBezTo>
                  <a:pt x="4426" y="453"/>
                  <a:pt x="4427" y="454"/>
                  <a:pt x="4428" y="454"/>
                </a:cubicBezTo>
                <a:lnTo>
                  <a:pt x="4430" y="453"/>
                </a:lnTo>
                <a:lnTo>
                  <a:pt x="4429" y="455"/>
                </a:lnTo>
                <a:cubicBezTo>
                  <a:pt x="4429" y="457"/>
                  <a:pt x="4427" y="458"/>
                  <a:pt x="4426" y="458"/>
                </a:cubicBezTo>
                <a:close/>
                <a:moveTo>
                  <a:pt x="4312" y="499"/>
                </a:moveTo>
                <a:cubicBezTo>
                  <a:pt x="4312" y="498"/>
                  <a:pt x="4312" y="498"/>
                  <a:pt x="4312" y="498"/>
                </a:cubicBezTo>
                <a:cubicBezTo>
                  <a:pt x="4312" y="497"/>
                  <a:pt x="4312" y="497"/>
                  <a:pt x="4313" y="495"/>
                </a:cubicBezTo>
                <a:cubicBezTo>
                  <a:pt x="4313" y="494"/>
                  <a:pt x="4314" y="492"/>
                  <a:pt x="4315" y="491"/>
                </a:cubicBezTo>
                <a:cubicBezTo>
                  <a:pt x="4316" y="490"/>
                  <a:pt x="4317" y="489"/>
                  <a:pt x="4318" y="488"/>
                </a:cubicBezTo>
                <a:cubicBezTo>
                  <a:pt x="4319" y="488"/>
                  <a:pt x="4319" y="487"/>
                  <a:pt x="4320" y="487"/>
                </a:cubicBezTo>
                <a:cubicBezTo>
                  <a:pt x="4320" y="487"/>
                  <a:pt x="4320" y="487"/>
                  <a:pt x="4320" y="488"/>
                </a:cubicBezTo>
                <a:cubicBezTo>
                  <a:pt x="4320" y="489"/>
                  <a:pt x="4319" y="491"/>
                  <a:pt x="4315" y="495"/>
                </a:cubicBezTo>
                <a:cubicBezTo>
                  <a:pt x="4313" y="497"/>
                  <a:pt x="4312" y="499"/>
                  <a:pt x="4312" y="499"/>
                </a:cubicBezTo>
                <a:close/>
                <a:moveTo>
                  <a:pt x="4262" y="691"/>
                </a:moveTo>
                <a:lnTo>
                  <a:pt x="4262" y="691"/>
                </a:lnTo>
                <a:cubicBezTo>
                  <a:pt x="4262" y="691"/>
                  <a:pt x="4261" y="691"/>
                  <a:pt x="4261" y="690"/>
                </a:cubicBezTo>
                <a:lnTo>
                  <a:pt x="4261" y="688"/>
                </a:lnTo>
                <a:cubicBezTo>
                  <a:pt x="4261" y="686"/>
                  <a:pt x="4262" y="686"/>
                  <a:pt x="4262" y="686"/>
                </a:cubicBezTo>
                <a:lnTo>
                  <a:pt x="4262" y="686"/>
                </a:lnTo>
                <a:cubicBezTo>
                  <a:pt x="4263" y="687"/>
                  <a:pt x="4263" y="688"/>
                  <a:pt x="4263" y="688"/>
                </a:cubicBezTo>
                <a:cubicBezTo>
                  <a:pt x="4263" y="690"/>
                  <a:pt x="4263" y="691"/>
                  <a:pt x="4262" y="691"/>
                </a:cubicBezTo>
                <a:close/>
                <a:moveTo>
                  <a:pt x="4644" y="606"/>
                </a:moveTo>
                <a:close/>
                <a:moveTo>
                  <a:pt x="4357" y="786"/>
                </a:moveTo>
                <a:lnTo>
                  <a:pt x="4340" y="785"/>
                </a:lnTo>
                <a:cubicBezTo>
                  <a:pt x="4331" y="784"/>
                  <a:pt x="4322" y="783"/>
                  <a:pt x="4315" y="779"/>
                </a:cubicBezTo>
                <a:cubicBezTo>
                  <a:pt x="4307" y="776"/>
                  <a:pt x="4301" y="772"/>
                  <a:pt x="4298" y="768"/>
                </a:cubicBezTo>
                <a:cubicBezTo>
                  <a:pt x="4296" y="766"/>
                  <a:pt x="4295" y="765"/>
                  <a:pt x="4293" y="765"/>
                </a:cubicBezTo>
                <a:cubicBezTo>
                  <a:pt x="4292" y="765"/>
                  <a:pt x="4290" y="764"/>
                  <a:pt x="4288" y="763"/>
                </a:cubicBezTo>
                <a:cubicBezTo>
                  <a:pt x="4283" y="760"/>
                  <a:pt x="4281" y="758"/>
                  <a:pt x="4281" y="756"/>
                </a:cubicBezTo>
                <a:cubicBezTo>
                  <a:pt x="4281" y="756"/>
                  <a:pt x="4281" y="756"/>
                  <a:pt x="4282" y="756"/>
                </a:cubicBezTo>
                <a:cubicBezTo>
                  <a:pt x="4282" y="756"/>
                  <a:pt x="4283" y="756"/>
                  <a:pt x="4284" y="757"/>
                </a:cubicBezTo>
                <a:cubicBezTo>
                  <a:pt x="4285" y="757"/>
                  <a:pt x="4286" y="758"/>
                  <a:pt x="4287" y="759"/>
                </a:cubicBezTo>
                <a:lnTo>
                  <a:pt x="4288" y="760"/>
                </a:lnTo>
                <a:cubicBezTo>
                  <a:pt x="4288" y="760"/>
                  <a:pt x="4288" y="759"/>
                  <a:pt x="4288" y="759"/>
                </a:cubicBezTo>
                <a:lnTo>
                  <a:pt x="4287" y="756"/>
                </a:lnTo>
                <a:cubicBezTo>
                  <a:pt x="4282" y="748"/>
                  <a:pt x="4278" y="742"/>
                  <a:pt x="4277" y="737"/>
                </a:cubicBezTo>
                <a:cubicBezTo>
                  <a:pt x="4274" y="732"/>
                  <a:pt x="4273" y="726"/>
                  <a:pt x="4272" y="719"/>
                </a:cubicBezTo>
                <a:cubicBezTo>
                  <a:pt x="4271" y="707"/>
                  <a:pt x="4270" y="691"/>
                  <a:pt x="4270" y="670"/>
                </a:cubicBezTo>
                <a:cubicBezTo>
                  <a:pt x="4270" y="662"/>
                  <a:pt x="4271" y="658"/>
                  <a:pt x="4272" y="658"/>
                </a:cubicBezTo>
                <a:lnTo>
                  <a:pt x="4275" y="659"/>
                </a:lnTo>
                <a:cubicBezTo>
                  <a:pt x="4275" y="659"/>
                  <a:pt x="4276" y="659"/>
                  <a:pt x="4276" y="658"/>
                </a:cubicBezTo>
                <a:lnTo>
                  <a:pt x="4276" y="658"/>
                </a:lnTo>
                <a:cubicBezTo>
                  <a:pt x="4275" y="658"/>
                  <a:pt x="4275" y="657"/>
                  <a:pt x="4275" y="657"/>
                </a:cubicBezTo>
                <a:cubicBezTo>
                  <a:pt x="4275" y="656"/>
                  <a:pt x="4276" y="655"/>
                  <a:pt x="4277" y="653"/>
                </a:cubicBezTo>
                <a:cubicBezTo>
                  <a:pt x="4278" y="652"/>
                  <a:pt x="4278" y="651"/>
                  <a:pt x="4278" y="650"/>
                </a:cubicBezTo>
                <a:cubicBezTo>
                  <a:pt x="4278" y="649"/>
                  <a:pt x="4278" y="649"/>
                  <a:pt x="4277" y="649"/>
                </a:cubicBezTo>
                <a:cubicBezTo>
                  <a:pt x="4276" y="649"/>
                  <a:pt x="4275" y="650"/>
                  <a:pt x="4273" y="651"/>
                </a:cubicBezTo>
                <a:cubicBezTo>
                  <a:pt x="4272" y="653"/>
                  <a:pt x="4271" y="654"/>
                  <a:pt x="4270" y="654"/>
                </a:cubicBezTo>
                <a:cubicBezTo>
                  <a:pt x="4270" y="654"/>
                  <a:pt x="4270" y="653"/>
                  <a:pt x="4270" y="651"/>
                </a:cubicBezTo>
                <a:cubicBezTo>
                  <a:pt x="4270" y="648"/>
                  <a:pt x="4270" y="644"/>
                  <a:pt x="4271" y="637"/>
                </a:cubicBezTo>
                <a:lnTo>
                  <a:pt x="4271" y="627"/>
                </a:lnTo>
                <a:cubicBezTo>
                  <a:pt x="4271" y="623"/>
                  <a:pt x="4271" y="621"/>
                  <a:pt x="4270" y="621"/>
                </a:cubicBezTo>
                <a:cubicBezTo>
                  <a:pt x="4270" y="622"/>
                  <a:pt x="4269" y="624"/>
                  <a:pt x="4268" y="628"/>
                </a:cubicBezTo>
                <a:cubicBezTo>
                  <a:pt x="4268" y="631"/>
                  <a:pt x="4267" y="635"/>
                  <a:pt x="4266" y="639"/>
                </a:cubicBezTo>
                <a:cubicBezTo>
                  <a:pt x="4265" y="644"/>
                  <a:pt x="4265" y="647"/>
                  <a:pt x="4265" y="651"/>
                </a:cubicBezTo>
                <a:cubicBezTo>
                  <a:pt x="4265" y="654"/>
                  <a:pt x="4265" y="656"/>
                  <a:pt x="4264" y="656"/>
                </a:cubicBezTo>
                <a:cubicBezTo>
                  <a:pt x="4264" y="656"/>
                  <a:pt x="4263" y="656"/>
                  <a:pt x="4263" y="655"/>
                </a:cubicBezTo>
                <a:cubicBezTo>
                  <a:pt x="4263" y="654"/>
                  <a:pt x="4263" y="654"/>
                  <a:pt x="4262" y="654"/>
                </a:cubicBezTo>
                <a:cubicBezTo>
                  <a:pt x="4261" y="654"/>
                  <a:pt x="4260" y="662"/>
                  <a:pt x="4260" y="677"/>
                </a:cubicBezTo>
                <a:lnTo>
                  <a:pt x="4260" y="687"/>
                </a:lnTo>
                <a:cubicBezTo>
                  <a:pt x="4260" y="702"/>
                  <a:pt x="4261" y="711"/>
                  <a:pt x="4264" y="715"/>
                </a:cubicBezTo>
                <a:cubicBezTo>
                  <a:pt x="4265" y="718"/>
                  <a:pt x="4266" y="720"/>
                  <a:pt x="4266" y="721"/>
                </a:cubicBezTo>
                <a:lnTo>
                  <a:pt x="4266" y="723"/>
                </a:lnTo>
                <a:cubicBezTo>
                  <a:pt x="4266" y="723"/>
                  <a:pt x="4266" y="723"/>
                  <a:pt x="4268" y="723"/>
                </a:cubicBezTo>
                <a:cubicBezTo>
                  <a:pt x="4269" y="723"/>
                  <a:pt x="4270" y="724"/>
                  <a:pt x="4271" y="724"/>
                </a:cubicBezTo>
                <a:cubicBezTo>
                  <a:pt x="4272" y="725"/>
                  <a:pt x="4272" y="725"/>
                  <a:pt x="4272" y="726"/>
                </a:cubicBezTo>
                <a:cubicBezTo>
                  <a:pt x="4272" y="727"/>
                  <a:pt x="4272" y="728"/>
                  <a:pt x="4271" y="728"/>
                </a:cubicBezTo>
                <a:cubicBezTo>
                  <a:pt x="4271" y="728"/>
                  <a:pt x="4270" y="727"/>
                  <a:pt x="4270" y="727"/>
                </a:cubicBezTo>
                <a:cubicBezTo>
                  <a:pt x="4269" y="727"/>
                  <a:pt x="4269" y="727"/>
                  <a:pt x="4268" y="727"/>
                </a:cubicBezTo>
                <a:cubicBezTo>
                  <a:pt x="4267" y="727"/>
                  <a:pt x="4266" y="728"/>
                  <a:pt x="4266" y="730"/>
                </a:cubicBezTo>
                <a:cubicBezTo>
                  <a:pt x="4266" y="732"/>
                  <a:pt x="4267" y="734"/>
                  <a:pt x="4268" y="738"/>
                </a:cubicBezTo>
                <a:cubicBezTo>
                  <a:pt x="4270" y="741"/>
                  <a:pt x="4271" y="744"/>
                  <a:pt x="4271" y="746"/>
                </a:cubicBezTo>
                <a:lnTo>
                  <a:pt x="4271" y="746"/>
                </a:lnTo>
                <a:cubicBezTo>
                  <a:pt x="4270" y="746"/>
                  <a:pt x="4268" y="742"/>
                  <a:pt x="4264" y="734"/>
                </a:cubicBezTo>
                <a:cubicBezTo>
                  <a:pt x="4261" y="725"/>
                  <a:pt x="4259" y="720"/>
                  <a:pt x="4259" y="719"/>
                </a:cubicBezTo>
                <a:cubicBezTo>
                  <a:pt x="4259" y="717"/>
                  <a:pt x="4258" y="714"/>
                  <a:pt x="4256" y="710"/>
                </a:cubicBezTo>
                <a:lnTo>
                  <a:pt x="4256" y="707"/>
                </a:lnTo>
                <a:cubicBezTo>
                  <a:pt x="4254" y="704"/>
                  <a:pt x="4253" y="702"/>
                  <a:pt x="4253" y="700"/>
                </a:cubicBezTo>
                <a:lnTo>
                  <a:pt x="4253" y="697"/>
                </a:lnTo>
                <a:cubicBezTo>
                  <a:pt x="4253" y="696"/>
                  <a:pt x="4253" y="693"/>
                  <a:pt x="4252" y="690"/>
                </a:cubicBezTo>
                <a:cubicBezTo>
                  <a:pt x="4250" y="683"/>
                  <a:pt x="4249" y="674"/>
                  <a:pt x="4249" y="665"/>
                </a:cubicBezTo>
                <a:cubicBezTo>
                  <a:pt x="4249" y="659"/>
                  <a:pt x="4250" y="651"/>
                  <a:pt x="4251" y="642"/>
                </a:cubicBezTo>
                <a:cubicBezTo>
                  <a:pt x="4253" y="628"/>
                  <a:pt x="4255" y="619"/>
                  <a:pt x="4256" y="616"/>
                </a:cubicBezTo>
                <a:lnTo>
                  <a:pt x="4259" y="596"/>
                </a:lnTo>
                <a:cubicBezTo>
                  <a:pt x="4259" y="594"/>
                  <a:pt x="4260" y="593"/>
                  <a:pt x="4261" y="593"/>
                </a:cubicBezTo>
                <a:cubicBezTo>
                  <a:pt x="4262" y="593"/>
                  <a:pt x="4262" y="593"/>
                  <a:pt x="4262" y="591"/>
                </a:cubicBezTo>
                <a:lnTo>
                  <a:pt x="4262" y="586"/>
                </a:lnTo>
                <a:cubicBezTo>
                  <a:pt x="4262" y="585"/>
                  <a:pt x="4262" y="584"/>
                  <a:pt x="4263" y="584"/>
                </a:cubicBezTo>
                <a:cubicBezTo>
                  <a:pt x="4264" y="584"/>
                  <a:pt x="4264" y="583"/>
                  <a:pt x="4264" y="583"/>
                </a:cubicBezTo>
                <a:lnTo>
                  <a:pt x="4264" y="579"/>
                </a:lnTo>
                <a:cubicBezTo>
                  <a:pt x="4264" y="578"/>
                  <a:pt x="4264" y="577"/>
                  <a:pt x="4265" y="577"/>
                </a:cubicBezTo>
                <a:cubicBezTo>
                  <a:pt x="4267" y="577"/>
                  <a:pt x="4267" y="576"/>
                  <a:pt x="4267" y="575"/>
                </a:cubicBezTo>
                <a:lnTo>
                  <a:pt x="4267" y="575"/>
                </a:lnTo>
                <a:cubicBezTo>
                  <a:pt x="4267" y="573"/>
                  <a:pt x="4268" y="571"/>
                  <a:pt x="4270" y="567"/>
                </a:cubicBezTo>
                <a:cubicBezTo>
                  <a:pt x="4272" y="564"/>
                  <a:pt x="4273" y="562"/>
                  <a:pt x="4273" y="560"/>
                </a:cubicBezTo>
                <a:lnTo>
                  <a:pt x="4272" y="557"/>
                </a:lnTo>
                <a:cubicBezTo>
                  <a:pt x="4272" y="556"/>
                  <a:pt x="4273" y="556"/>
                  <a:pt x="4273" y="556"/>
                </a:cubicBezTo>
                <a:cubicBezTo>
                  <a:pt x="4274" y="556"/>
                  <a:pt x="4275" y="556"/>
                  <a:pt x="4275" y="554"/>
                </a:cubicBezTo>
                <a:lnTo>
                  <a:pt x="4274" y="552"/>
                </a:lnTo>
                <a:cubicBezTo>
                  <a:pt x="4274" y="550"/>
                  <a:pt x="4275" y="550"/>
                  <a:pt x="4277" y="550"/>
                </a:cubicBezTo>
                <a:cubicBezTo>
                  <a:pt x="4279" y="550"/>
                  <a:pt x="4280" y="549"/>
                  <a:pt x="4280" y="548"/>
                </a:cubicBezTo>
                <a:lnTo>
                  <a:pt x="4279" y="546"/>
                </a:lnTo>
                <a:cubicBezTo>
                  <a:pt x="4279" y="544"/>
                  <a:pt x="4280" y="542"/>
                  <a:pt x="4281" y="540"/>
                </a:cubicBezTo>
                <a:cubicBezTo>
                  <a:pt x="4283" y="538"/>
                  <a:pt x="4283" y="537"/>
                  <a:pt x="4284" y="537"/>
                </a:cubicBezTo>
                <a:lnTo>
                  <a:pt x="4283" y="539"/>
                </a:lnTo>
                <a:cubicBezTo>
                  <a:pt x="4283" y="540"/>
                  <a:pt x="4283" y="540"/>
                  <a:pt x="4283" y="540"/>
                </a:cubicBezTo>
                <a:cubicBezTo>
                  <a:pt x="4283" y="540"/>
                  <a:pt x="4284" y="540"/>
                  <a:pt x="4285" y="539"/>
                </a:cubicBezTo>
                <a:cubicBezTo>
                  <a:pt x="4286" y="538"/>
                  <a:pt x="4286" y="537"/>
                  <a:pt x="4286" y="536"/>
                </a:cubicBezTo>
                <a:lnTo>
                  <a:pt x="4286" y="533"/>
                </a:lnTo>
                <a:cubicBezTo>
                  <a:pt x="4286" y="532"/>
                  <a:pt x="4286" y="531"/>
                  <a:pt x="4287" y="531"/>
                </a:cubicBezTo>
                <a:cubicBezTo>
                  <a:pt x="4287" y="530"/>
                  <a:pt x="4287" y="529"/>
                  <a:pt x="4288" y="529"/>
                </a:cubicBezTo>
                <a:cubicBezTo>
                  <a:pt x="4288" y="529"/>
                  <a:pt x="4288" y="529"/>
                  <a:pt x="4288" y="530"/>
                </a:cubicBezTo>
                <a:lnTo>
                  <a:pt x="4287" y="534"/>
                </a:lnTo>
                <a:lnTo>
                  <a:pt x="4287" y="534"/>
                </a:lnTo>
                <a:cubicBezTo>
                  <a:pt x="4288" y="534"/>
                  <a:pt x="4290" y="532"/>
                  <a:pt x="4292" y="527"/>
                </a:cubicBezTo>
                <a:cubicBezTo>
                  <a:pt x="4294" y="524"/>
                  <a:pt x="4295" y="522"/>
                  <a:pt x="4295" y="522"/>
                </a:cubicBezTo>
                <a:lnTo>
                  <a:pt x="4292" y="525"/>
                </a:lnTo>
                <a:cubicBezTo>
                  <a:pt x="4292" y="524"/>
                  <a:pt x="4293" y="521"/>
                  <a:pt x="4295" y="517"/>
                </a:cubicBezTo>
                <a:cubicBezTo>
                  <a:pt x="4300" y="511"/>
                  <a:pt x="4303" y="508"/>
                  <a:pt x="4304" y="508"/>
                </a:cubicBezTo>
                <a:lnTo>
                  <a:pt x="4305" y="508"/>
                </a:lnTo>
                <a:cubicBezTo>
                  <a:pt x="4305" y="508"/>
                  <a:pt x="4306" y="507"/>
                  <a:pt x="4306" y="507"/>
                </a:cubicBezTo>
                <a:lnTo>
                  <a:pt x="4306" y="506"/>
                </a:lnTo>
                <a:cubicBezTo>
                  <a:pt x="4306" y="505"/>
                  <a:pt x="4306" y="504"/>
                  <a:pt x="4307" y="504"/>
                </a:cubicBezTo>
                <a:cubicBezTo>
                  <a:pt x="4308" y="504"/>
                  <a:pt x="4313" y="500"/>
                  <a:pt x="4321" y="492"/>
                </a:cubicBezTo>
                <a:cubicBezTo>
                  <a:pt x="4343" y="471"/>
                  <a:pt x="4365" y="458"/>
                  <a:pt x="4389" y="453"/>
                </a:cubicBezTo>
                <a:cubicBezTo>
                  <a:pt x="4397" y="451"/>
                  <a:pt x="4401" y="450"/>
                  <a:pt x="4401" y="448"/>
                </a:cubicBezTo>
                <a:lnTo>
                  <a:pt x="4400" y="447"/>
                </a:lnTo>
                <a:lnTo>
                  <a:pt x="4401" y="447"/>
                </a:lnTo>
                <a:cubicBezTo>
                  <a:pt x="4401" y="447"/>
                  <a:pt x="4402" y="448"/>
                  <a:pt x="4403" y="449"/>
                </a:cubicBezTo>
                <a:cubicBezTo>
                  <a:pt x="4404" y="450"/>
                  <a:pt x="4406" y="451"/>
                  <a:pt x="4406" y="451"/>
                </a:cubicBezTo>
                <a:cubicBezTo>
                  <a:pt x="4407" y="451"/>
                  <a:pt x="4408" y="450"/>
                  <a:pt x="4408" y="450"/>
                </a:cubicBezTo>
                <a:cubicBezTo>
                  <a:pt x="4410" y="448"/>
                  <a:pt x="4412" y="447"/>
                  <a:pt x="4414" y="447"/>
                </a:cubicBezTo>
                <a:cubicBezTo>
                  <a:pt x="4416" y="447"/>
                  <a:pt x="4417" y="448"/>
                  <a:pt x="4418" y="450"/>
                </a:cubicBezTo>
                <a:lnTo>
                  <a:pt x="4418" y="451"/>
                </a:lnTo>
                <a:cubicBezTo>
                  <a:pt x="4418" y="452"/>
                  <a:pt x="4418" y="453"/>
                  <a:pt x="4417" y="453"/>
                </a:cubicBezTo>
                <a:lnTo>
                  <a:pt x="4412" y="452"/>
                </a:lnTo>
                <a:cubicBezTo>
                  <a:pt x="4409" y="452"/>
                  <a:pt x="4407" y="453"/>
                  <a:pt x="4407" y="454"/>
                </a:cubicBezTo>
                <a:cubicBezTo>
                  <a:pt x="4407" y="455"/>
                  <a:pt x="4408" y="455"/>
                  <a:pt x="4410" y="455"/>
                </a:cubicBezTo>
                <a:cubicBezTo>
                  <a:pt x="4411" y="456"/>
                  <a:pt x="4413" y="456"/>
                  <a:pt x="4415" y="457"/>
                </a:cubicBezTo>
                <a:cubicBezTo>
                  <a:pt x="4418" y="458"/>
                  <a:pt x="4420" y="459"/>
                  <a:pt x="4423" y="460"/>
                </a:cubicBezTo>
                <a:cubicBezTo>
                  <a:pt x="4426" y="462"/>
                  <a:pt x="4427" y="462"/>
                  <a:pt x="4429" y="462"/>
                </a:cubicBezTo>
                <a:cubicBezTo>
                  <a:pt x="4430" y="462"/>
                  <a:pt x="4430" y="462"/>
                  <a:pt x="4430" y="462"/>
                </a:cubicBezTo>
                <a:lnTo>
                  <a:pt x="4430" y="461"/>
                </a:lnTo>
                <a:cubicBezTo>
                  <a:pt x="4430" y="460"/>
                  <a:pt x="4431" y="459"/>
                  <a:pt x="4432" y="459"/>
                </a:cubicBezTo>
                <a:cubicBezTo>
                  <a:pt x="4434" y="459"/>
                  <a:pt x="4435" y="460"/>
                  <a:pt x="4435" y="462"/>
                </a:cubicBezTo>
                <a:lnTo>
                  <a:pt x="4435" y="463"/>
                </a:lnTo>
                <a:cubicBezTo>
                  <a:pt x="4435" y="465"/>
                  <a:pt x="4436" y="467"/>
                  <a:pt x="4439" y="468"/>
                </a:cubicBezTo>
                <a:cubicBezTo>
                  <a:pt x="4441" y="469"/>
                  <a:pt x="4444" y="471"/>
                  <a:pt x="4447" y="474"/>
                </a:cubicBezTo>
                <a:cubicBezTo>
                  <a:pt x="4456" y="481"/>
                  <a:pt x="4460" y="486"/>
                  <a:pt x="4460" y="489"/>
                </a:cubicBezTo>
                <a:lnTo>
                  <a:pt x="4459" y="491"/>
                </a:lnTo>
                <a:cubicBezTo>
                  <a:pt x="4459" y="492"/>
                  <a:pt x="4460" y="492"/>
                  <a:pt x="4461" y="492"/>
                </a:cubicBezTo>
                <a:cubicBezTo>
                  <a:pt x="4461" y="493"/>
                  <a:pt x="4461" y="494"/>
                  <a:pt x="4461" y="497"/>
                </a:cubicBezTo>
                <a:cubicBezTo>
                  <a:pt x="4461" y="500"/>
                  <a:pt x="4461" y="506"/>
                  <a:pt x="4459" y="514"/>
                </a:cubicBezTo>
                <a:cubicBezTo>
                  <a:pt x="4457" y="522"/>
                  <a:pt x="4454" y="529"/>
                  <a:pt x="4452" y="535"/>
                </a:cubicBezTo>
                <a:cubicBezTo>
                  <a:pt x="4449" y="542"/>
                  <a:pt x="4448" y="546"/>
                  <a:pt x="4448" y="549"/>
                </a:cubicBezTo>
                <a:cubicBezTo>
                  <a:pt x="4448" y="549"/>
                  <a:pt x="4448" y="550"/>
                  <a:pt x="4448" y="550"/>
                </a:cubicBezTo>
                <a:cubicBezTo>
                  <a:pt x="4449" y="550"/>
                  <a:pt x="4449" y="550"/>
                  <a:pt x="4449" y="551"/>
                </a:cubicBezTo>
                <a:cubicBezTo>
                  <a:pt x="4449" y="552"/>
                  <a:pt x="4448" y="554"/>
                  <a:pt x="4445" y="557"/>
                </a:cubicBezTo>
                <a:cubicBezTo>
                  <a:pt x="4442" y="560"/>
                  <a:pt x="4440" y="562"/>
                  <a:pt x="4440" y="563"/>
                </a:cubicBezTo>
                <a:cubicBezTo>
                  <a:pt x="4440" y="564"/>
                  <a:pt x="4439" y="567"/>
                  <a:pt x="4435" y="572"/>
                </a:cubicBezTo>
                <a:cubicBezTo>
                  <a:pt x="4431" y="577"/>
                  <a:pt x="4427" y="582"/>
                  <a:pt x="4422" y="588"/>
                </a:cubicBezTo>
                <a:cubicBezTo>
                  <a:pt x="4417" y="594"/>
                  <a:pt x="4413" y="599"/>
                  <a:pt x="4409" y="603"/>
                </a:cubicBezTo>
                <a:cubicBezTo>
                  <a:pt x="4371" y="643"/>
                  <a:pt x="4340" y="663"/>
                  <a:pt x="4317" y="663"/>
                </a:cubicBezTo>
                <a:cubicBezTo>
                  <a:pt x="4309" y="663"/>
                  <a:pt x="4303" y="661"/>
                  <a:pt x="4298" y="656"/>
                </a:cubicBezTo>
                <a:cubicBezTo>
                  <a:pt x="4296" y="654"/>
                  <a:pt x="4294" y="653"/>
                  <a:pt x="4293" y="653"/>
                </a:cubicBezTo>
                <a:cubicBezTo>
                  <a:pt x="4291" y="653"/>
                  <a:pt x="4290" y="657"/>
                  <a:pt x="4290" y="666"/>
                </a:cubicBezTo>
                <a:cubicBezTo>
                  <a:pt x="4289" y="674"/>
                  <a:pt x="4288" y="682"/>
                  <a:pt x="4288" y="691"/>
                </a:cubicBezTo>
                <a:cubicBezTo>
                  <a:pt x="4288" y="704"/>
                  <a:pt x="4289" y="715"/>
                  <a:pt x="4291" y="726"/>
                </a:cubicBezTo>
                <a:cubicBezTo>
                  <a:pt x="4293" y="737"/>
                  <a:pt x="4295" y="742"/>
                  <a:pt x="4297" y="742"/>
                </a:cubicBezTo>
                <a:cubicBezTo>
                  <a:pt x="4299" y="742"/>
                  <a:pt x="4300" y="744"/>
                  <a:pt x="4300" y="746"/>
                </a:cubicBezTo>
                <a:cubicBezTo>
                  <a:pt x="4300" y="753"/>
                  <a:pt x="4306" y="759"/>
                  <a:pt x="4317" y="765"/>
                </a:cubicBezTo>
                <a:cubicBezTo>
                  <a:pt x="4328" y="771"/>
                  <a:pt x="4339" y="774"/>
                  <a:pt x="4351" y="774"/>
                </a:cubicBezTo>
                <a:cubicBezTo>
                  <a:pt x="4357" y="774"/>
                  <a:pt x="4365" y="772"/>
                  <a:pt x="4377" y="770"/>
                </a:cubicBezTo>
                <a:cubicBezTo>
                  <a:pt x="4384" y="769"/>
                  <a:pt x="4392" y="767"/>
                  <a:pt x="4403" y="764"/>
                </a:cubicBezTo>
                <a:cubicBezTo>
                  <a:pt x="4408" y="763"/>
                  <a:pt x="4412" y="762"/>
                  <a:pt x="4416" y="761"/>
                </a:cubicBezTo>
                <a:cubicBezTo>
                  <a:pt x="4419" y="760"/>
                  <a:pt x="4422" y="760"/>
                  <a:pt x="4423" y="759"/>
                </a:cubicBezTo>
                <a:cubicBezTo>
                  <a:pt x="4424" y="759"/>
                  <a:pt x="4426" y="759"/>
                  <a:pt x="4427" y="758"/>
                </a:cubicBezTo>
                <a:cubicBezTo>
                  <a:pt x="4428" y="757"/>
                  <a:pt x="4429" y="756"/>
                  <a:pt x="4430" y="756"/>
                </a:cubicBezTo>
                <a:lnTo>
                  <a:pt x="4434" y="757"/>
                </a:lnTo>
                <a:cubicBezTo>
                  <a:pt x="4434" y="757"/>
                  <a:pt x="4435" y="757"/>
                  <a:pt x="4435" y="756"/>
                </a:cubicBezTo>
                <a:cubicBezTo>
                  <a:pt x="4435" y="755"/>
                  <a:pt x="4435" y="754"/>
                  <a:pt x="4436" y="754"/>
                </a:cubicBezTo>
                <a:lnTo>
                  <a:pt x="4437" y="755"/>
                </a:lnTo>
                <a:cubicBezTo>
                  <a:pt x="4438" y="755"/>
                  <a:pt x="4439" y="754"/>
                  <a:pt x="4441" y="753"/>
                </a:cubicBezTo>
                <a:cubicBezTo>
                  <a:pt x="4441" y="752"/>
                  <a:pt x="4443" y="751"/>
                  <a:pt x="4445" y="751"/>
                </a:cubicBezTo>
                <a:cubicBezTo>
                  <a:pt x="4449" y="751"/>
                  <a:pt x="4464" y="745"/>
                  <a:pt x="4491" y="733"/>
                </a:cubicBezTo>
                <a:cubicBezTo>
                  <a:pt x="4517" y="720"/>
                  <a:pt x="4532" y="713"/>
                  <a:pt x="4537" y="710"/>
                </a:cubicBezTo>
                <a:cubicBezTo>
                  <a:pt x="4540" y="708"/>
                  <a:pt x="4543" y="708"/>
                  <a:pt x="4544" y="708"/>
                </a:cubicBezTo>
                <a:cubicBezTo>
                  <a:pt x="4546" y="708"/>
                  <a:pt x="4551" y="704"/>
                  <a:pt x="4562" y="697"/>
                </a:cubicBezTo>
                <a:cubicBezTo>
                  <a:pt x="4572" y="691"/>
                  <a:pt x="4578" y="688"/>
                  <a:pt x="4580" y="688"/>
                </a:cubicBezTo>
                <a:cubicBezTo>
                  <a:pt x="4581" y="688"/>
                  <a:pt x="4581" y="689"/>
                  <a:pt x="4581" y="689"/>
                </a:cubicBezTo>
                <a:cubicBezTo>
                  <a:pt x="4581" y="691"/>
                  <a:pt x="4569" y="700"/>
                  <a:pt x="4545" y="713"/>
                </a:cubicBezTo>
                <a:cubicBezTo>
                  <a:pt x="4533" y="720"/>
                  <a:pt x="4527" y="724"/>
                  <a:pt x="4527" y="725"/>
                </a:cubicBezTo>
                <a:lnTo>
                  <a:pt x="4527" y="725"/>
                </a:lnTo>
                <a:cubicBezTo>
                  <a:pt x="4528" y="725"/>
                  <a:pt x="4538" y="720"/>
                  <a:pt x="4555" y="711"/>
                </a:cubicBezTo>
                <a:cubicBezTo>
                  <a:pt x="4573" y="701"/>
                  <a:pt x="4583" y="696"/>
                  <a:pt x="4585" y="696"/>
                </a:cubicBezTo>
                <a:cubicBezTo>
                  <a:pt x="4587" y="696"/>
                  <a:pt x="4588" y="696"/>
                  <a:pt x="4588" y="695"/>
                </a:cubicBezTo>
                <a:lnTo>
                  <a:pt x="4587" y="692"/>
                </a:lnTo>
                <a:cubicBezTo>
                  <a:pt x="4587" y="692"/>
                  <a:pt x="4588" y="692"/>
                  <a:pt x="4588" y="692"/>
                </a:cubicBezTo>
                <a:cubicBezTo>
                  <a:pt x="4588" y="692"/>
                  <a:pt x="4589" y="693"/>
                  <a:pt x="4589" y="693"/>
                </a:cubicBezTo>
                <a:cubicBezTo>
                  <a:pt x="4591" y="693"/>
                  <a:pt x="4592" y="692"/>
                  <a:pt x="4594" y="691"/>
                </a:cubicBezTo>
                <a:lnTo>
                  <a:pt x="4598" y="689"/>
                </a:lnTo>
                <a:cubicBezTo>
                  <a:pt x="4598" y="691"/>
                  <a:pt x="4589" y="697"/>
                  <a:pt x="4569" y="709"/>
                </a:cubicBezTo>
                <a:cubicBezTo>
                  <a:pt x="4487" y="760"/>
                  <a:pt x="4416" y="786"/>
                  <a:pt x="4357" y="786"/>
                </a:cubicBezTo>
                <a:close/>
                <a:moveTo>
                  <a:pt x="4255" y="666"/>
                </a:moveTo>
                <a:cubicBezTo>
                  <a:pt x="4255" y="666"/>
                  <a:pt x="4256" y="665"/>
                  <a:pt x="4257" y="662"/>
                </a:cubicBezTo>
                <a:cubicBezTo>
                  <a:pt x="4258" y="660"/>
                  <a:pt x="4258" y="659"/>
                  <a:pt x="4258" y="657"/>
                </a:cubicBezTo>
                <a:cubicBezTo>
                  <a:pt x="4258" y="656"/>
                  <a:pt x="4258" y="655"/>
                  <a:pt x="4257" y="654"/>
                </a:cubicBezTo>
                <a:lnTo>
                  <a:pt x="4256" y="653"/>
                </a:lnTo>
                <a:cubicBezTo>
                  <a:pt x="4255" y="653"/>
                  <a:pt x="4255" y="655"/>
                  <a:pt x="4255" y="660"/>
                </a:cubicBezTo>
                <a:cubicBezTo>
                  <a:pt x="4255" y="664"/>
                  <a:pt x="4255" y="666"/>
                  <a:pt x="4255" y="666"/>
                </a:cubicBezTo>
                <a:close/>
                <a:moveTo>
                  <a:pt x="4258" y="643"/>
                </a:moveTo>
                <a:cubicBezTo>
                  <a:pt x="4259" y="643"/>
                  <a:pt x="4259" y="641"/>
                  <a:pt x="4260" y="637"/>
                </a:cubicBezTo>
                <a:lnTo>
                  <a:pt x="4260" y="637"/>
                </a:lnTo>
                <a:cubicBezTo>
                  <a:pt x="4260" y="636"/>
                  <a:pt x="4260" y="635"/>
                  <a:pt x="4259" y="634"/>
                </a:cubicBezTo>
                <a:cubicBezTo>
                  <a:pt x="4259" y="633"/>
                  <a:pt x="4259" y="633"/>
                  <a:pt x="4258" y="633"/>
                </a:cubicBezTo>
                <a:cubicBezTo>
                  <a:pt x="4257" y="633"/>
                  <a:pt x="4257" y="635"/>
                  <a:pt x="4256" y="638"/>
                </a:cubicBezTo>
                <a:cubicBezTo>
                  <a:pt x="4256" y="641"/>
                  <a:pt x="4257" y="643"/>
                  <a:pt x="4258" y="643"/>
                </a:cubicBezTo>
                <a:close/>
                <a:moveTo>
                  <a:pt x="4315" y="655"/>
                </a:moveTo>
                <a:lnTo>
                  <a:pt x="4325" y="652"/>
                </a:lnTo>
                <a:cubicBezTo>
                  <a:pt x="4330" y="651"/>
                  <a:pt x="4333" y="649"/>
                  <a:pt x="4333" y="648"/>
                </a:cubicBezTo>
                <a:lnTo>
                  <a:pt x="4333" y="646"/>
                </a:lnTo>
                <a:lnTo>
                  <a:pt x="4335" y="647"/>
                </a:lnTo>
                <a:cubicBezTo>
                  <a:pt x="4337" y="647"/>
                  <a:pt x="4339" y="647"/>
                  <a:pt x="4342" y="646"/>
                </a:cubicBezTo>
                <a:cubicBezTo>
                  <a:pt x="4344" y="645"/>
                  <a:pt x="4346" y="644"/>
                  <a:pt x="4348" y="642"/>
                </a:cubicBezTo>
                <a:cubicBezTo>
                  <a:pt x="4350" y="641"/>
                  <a:pt x="4351" y="640"/>
                  <a:pt x="4351" y="639"/>
                </a:cubicBezTo>
                <a:lnTo>
                  <a:pt x="4351" y="638"/>
                </a:lnTo>
                <a:cubicBezTo>
                  <a:pt x="4351" y="638"/>
                  <a:pt x="4351" y="637"/>
                  <a:pt x="4351" y="637"/>
                </a:cubicBezTo>
                <a:lnTo>
                  <a:pt x="4353" y="638"/>
                </a:lnTo>
                <a:cubicBezTo>
                  <a:pt x="4355" y="638"/>
                  <a:pt x="4357" y="637"/>
                  <a:pt x="4360" y="634"/>
                </a:cubicBezTo>
                <a:cubicBezTo>
                  <a:pt x="4362" y="632"/>
                  <a:pt x="4364" y="630"/>
                  <a:pt x="4365" y="630"/>
                </a:cubicBezTo>
                <a:cubicBezTo>
                  <a:pt x="4366" y="630"/>
                  <a:pt x="4368" y="629"/>
                  <a:pt x="4372" y="625"/>
                </a:cubicBezTo>
                <a:cubicBezTo>
                  <a:pt x="4377" y="620"/>
                  <a:pt x="4380" y="618"/>
                  <a:pt x="4382" y="618"/>
                </a:cubicBezTo>
                <a:cubicBezTo>
                  <a:pt x="4385" y="618"/>
                  <a:pt x="4386" y="618"/>
                  <a:pt x="4386" y="617"/>
                </a:cubicBezTo>
                <a:lnTo>
                  <a:pt x="4386" y="616"/>
                </a:lnTo>
                <a:cubicBezTo>
                  <a:pt x="4386" y="615"/>
                  <a:pt x="4386" y="614"/>
                  <a:pt x="4387" y="613"/>
                </a:cubicBezTo>
                <a:cubicBezTo>
                  <a:pt x="4389" y="612"/>
                  <a:pt x="4390" y="611"/>
                  <a:pt x="4391" y="610"/>
                </a:cubicBezTo>
                <a:cubicBezTo>
                  <a:pt x="4393" y="609"/>
                  <a:pt x="4394" y="609"/>
                  <a:pt x="4395" y="609"/>
                </a:cubicBezTo>
                <a:lnTo>
                  <a:pt x="4396" y="609"/>
                </a:lnTo>
                <a:cubicBezTo>
                  <a:pt x="4397" y="609"/>
                  <a:pt x="4399" y="607"/>
                  <a:pt x="4401" y="604"/>
                </a:cubicBezTo>
                <a:cubicBezTo>
                  <a:pt x="4403" y="602"/>
                  <a:pt x="4404" y="600"/>
                  <a:pt x="4404" y="600"/>
                </a:cubicBezTo>
                <a:lnTo>
                  <a:pt x="4396" y="607"/>
                </a:lnTo>
                <a:cubicBezTo>
                  <a:pt x="4396" y="606"/>
                  <a:pt x="4397" y="605"/>
                  <a:pt x="4399" y="602"/>
                </a:cubicBezTo>
                <a:cubicBezTo>
                  <a:pt x="4401" y="599"/>
                  <a:pt x="4403" y="598"/>
                  <a:pt x="4404" y="598"/>
                </a:cubicBezTo>
                <a:cubicBezTo>
                  <a:pt x="4406" y="598"/>
                  <a:pt x="4407" y="597"/>
                  <a:pt x="4408" y="596"/>
                </a:cubicBezTo>
                <a:cubicBezTo>
                  <a:pt x="4410" y="596"/>
                  <a:pt x="4410" y="595"/>
                  <a:pt x="4410" y="593"/>
                </a:cubicBezTo>
                <a:lnTo>
                  <a:pt x="4410" y="593"/>
                </a:lnTo>
                <a:lnTo>
                  <a:pt x="4408" y="595"/>
                </a:lnTo>
                <a:lnTo>
                  <a:pt x="4408" y="594"/>
                </a:lnTo>
                <a:cubicBezTo>
                  <a:pt x="4408" y="594"/>
                  <a:pt x="4409" y="593"/>
                  <a:pt x="4410" y="590"/>
                </a:cubicBezTo>
                <a:cubicBezTo>
                  <a:pt x="4412" y="588"/>
                  <a:pt x="4414" y="587"/>
                  <a:pt x="4415" y="586"/>
                </a:cubicBezTo>
                <a:cubicBezTo>
                  <a:pt x="4417" y="585"/>
                  <a:pt x="4417" y="584"/>
                  <a:pt x="4418" y="584"/>
                </a:cubicBezTo>
                <a:lnTo>
                  <a:pt x="4418" y="584"/>
                </a:lnTo>
                <a:cubicBezTo>
                  <a:pt x="4420" y="584"/>
                  <a:pt x="4420" y="584"/>
                  <a:pt x="4420" y="583"/>
                </a:cubicBezTo>
                <a:cubicBezTo>
                  <a:pt x="4420" y="581"/>
                  <a:pt x="4424" y="576"/>
                  <a:pt x="4430" y="567"/>
                </a:cubicBezTo>
                <a:cubicBezTo>
                  <a:pt x="4448" y="543"/>
                  <a:pt x="4457" y="522"/>
                  <a:pt x="4457" y="505"/>
                </a:cubicBezTo>
                <a:cubicBezTo>
                  <a:pt x="4457" y="501"/>
                  <a:pt x="4457" y="497"/>
                  <a:pt x="4456" y="494"/>
                </a:cubicBezTo>
                <a:cubicBezTo>
                  <a:pt x="4454" y="488"/>
                  <a:pt x="4453" y="485"/>
                  <a:pt x="4452" y="485"/>
                </a:cubicBezTo>
                <a:cubicBezTo>
                  <a:pt x="4451" y="485"/>
                  <a:pt x="4451" y="487"/>
                  <a:pt x="4451" y="492"/>
                </a:cubicBezTo>
                <a:lnTo>
                  <a:pt x="4451" y="497"/>
                </a:lnTo>
                <a:cubicBezTo>
                  <a:pt x="4451" y="509"/>
                  <a:pt x="4447" y="523"/>
                  <a:pt x="4439" y="537"/>
                </a:cubicBezTo>
                <a:cubicBezTo>
                  <a:pt x="4436" y="542"/>
                  <a:pt x="4432" y="547"/>
                  <a:pt x="4428" y="553"/>
                </a:cubicBezTo>
                <a:cubicBezTo>
                  <a:pt x="4424" y="558"/>
                  <a:pt x="4419" y="563"/>
                  <a:pt x="4415" y="568"/>
                </a:cubicBezTo>
                <a:cubicBezTo>
                  <a:pt x="4411" y="573"/>
                  <a:pt x="4408" y="575"/>
                  <a:pt x="4407" y="575"/>
                </a:cubicBezTo>
                <a:cubicBezTo>
                  <a:pt x="4406" y="575"/>
                  <a:pt x="4404" y="576"/>
                  <a:pt x="4402" y="578"/>
                </a:cubicBezTo>
                <a:cubicBezTo>
                  <a:pt x="4401" y="580"/>
                  <a:pt x="4400" y="581"/>
                  <a:pt x="4400" y="581"/>
                </a:cubicBezTo>
                <a:lnTo>
                  <a:pt x="4404" y="579"/>
                </a:lnTo>
                <a:lnTo>
                  <a:pt x="4404" y="579"/>
                </a:lnTo>
                <a:cubicBezTo>
                  <a:pt x="4404" y="580"/>
                  <a:pt x="4404" y="581"/>
                  <a:pt x="4402" y="582"/>
                </a:cubicBezTo>
                <a:cubicBezTo>
                  <a:pt x="4401" y="584"/>
                  <a:pt x="4400" y="585"/>
                  <a:pt x="4399" y="585"/>
                </a:cubicBezTo>
                <a:cubicBezTo>
                  <a:pt x="4399" y="585"/>
                  <a:pt x="4398" y="585"/>
                  <a:pt x="4398" y="584"/>
                </a:cubicBezTo>
                <a:cubicBezTo>
                  <a:pt x="4398" y="584"/>
                  <a:pt x="4398" y="584"/>
                  <a:pt x="4398" y="584"/>
                </a:cubicBezTo>
                <a:cubicBezTo>
                  <a:pt x="4396" y="584"/>
                  <a:pt x="4394" y="585"/>
                  <a:pt x="4391" y="588"/>
                </a:cubicBezTo>
                <a:cubicBezTo>
                  <a:pt x="4387" y="593"/>
                  <a:pt x="4384" y="595"/>
                  <a:pt x="4381" y="595"/>
                </a:cubicBezTo>
                <a:cubicBezTo>
                  <a:pt x="4378" y="595"/>
                  <a:pt x="4376" y="596"/>
                  <a:pt x="4376" y="599"/>
                </a:cubicBezTo>
                <a:cubicBezTo>
                  <a:pt x="4376" y="600"/>
                  <a:pt x="4376" y="600"/>
                  <a:pt x="4375" y="601"/>
                </a:cubicBezTo>
                <a:cubicBezTo>
                  <a:pt x="4374" y="602"/>
                  <a:pt x="4374" y="602"/>
                  <a:pt x="4373" y="602"/>
                </a:cubicBezTo>
                <a:cubicBezTo>
                  <a:pt x="4371" y="602"/>
                  <a:pt x="4368" y="604"/>
                  <a:pt x="4366" y="606"/>
                </a:cubicBezTo>
                <a:cubicBezTo>
                  <a:pt x="4363" y="609"/>
                  <a:pt x="4360" y="611"/>
                  <a:pt x="4357" y="611"/>
                </a:cubicBezTo>
                <a:lnTo>
                  <a:pt x="4354" y="610"/>
                </a:lnTo>
                <a:cubicBezTo>
                  <a:pt x="4351" y="610"/>
                  <a:pt x="4349" y="611"/>
                  <a:pt x="4348" y="613"/>
                </a:cubicBezTo>
                <a:cubicBezTo>
                  <a:pt x="4346" y="615"/>
                  <a:pt x="4345" y="615"/>
                  <a:pt x="4345" y="616"/>
                </a:cubicBezTo>
                <a:lnTo>
                  <a:pt x="4348" y="615"/>
                </a:lnTo>
                <a:cubicBezTo>
                  <a:pt x="4351" y="613"/>
                  <a:pt x="4353" y="612"/>
                  <a:pt x="4355" y="612"/>
                </a:cubicBezTo>
                <a:cubicBezTo>
                  <a:pt x="4356" y="612"/>
                  <a:pt x="4357" y="612"/>
                  <a:pt x="4357" y="613"/>
                </a:cubicBezTo>
                <a:cubicBezTo>
                  <a:pt x="4357" y="615"/>
                  <a:pt x="4350" y="620"/>
                  <a:pt x="4337" y="626"/>
                </a:cubicBezTo>
                <a:cubicBezTo>
                  <a:pt x="4323" y="632"/>
                  <a:pt x="4313" y="635"/>
                  <a:pt x="4306" y="635"/>
                </a:cubicBezTo>
                <a:cubicBezTo>
                  <a:pt x="4303" y="635"/>
                  <a:pt x="4300" y="634"/>
                  <a:pt x="4298" y="633"/>
                </a:cubicBezTo>
                <a:lnTo>
                  <a:pt x="4297" y="633"/>
                </a:lnTo>
                <a:cubicBezTo>
                  <a:pt x="4297" y="633"/>
                  <a:pt x="4297" y="633"/>
                  <a:pt x="4297" y="634"/>
                </a:cubicBezTo>
                <a:cubicBezTo>
                  <a:pt x="4297" y="635"/>
                  <a:pt x="4297" y="637"/>
                  <a:pt x="4299" y="640"/>
                </a:cubicBezTo>
                <a:cubicBezTo>
                  <a:pt x="4300" y="643"/>
                  <a:pt x="4301" y="645"/>
                  <a:pt x="4302" y="647"/>
                </a:cubicBezTo>
                <a:cubicBezTo>
                  <a:pt x="4304" y="649"/>
                  <a:pt x="4306" y="650"/>
                  <a:pt x="4308" y="652"/>
                </a:cubicBezTo>
                <a:cubicBezTo>
                  <a:pt x="4311" y="653"/>
                  <a:pt x="4313" y="654"/>
                  <a:pt x="4315" y="655"/>
                </a:cubicBezTo>
                <a:close/>
                <a:moveTo>
                  <a:pt x="4313" y="632"/>
                </a:moveTo>
                <a:cubicBezTo>
                  <a:pt x="4315" y="632"/>
                  <a:pt x="4316" y="631"/>
                  <a:pt x="4316" y="631"/>
                </a:cubicBezTo>
                <a:cubicBezTo>
                  <a:pt x="4316" y="630"/>
                  <a:pt x="4315" y="630"/>
                  <a:pt x="4313" y="630"/>
                </a:cubicBezTo>
                <a:lnTo>
                  <a:pt x="4310" y="630"/>
                </a:lnTo>
                <a:cubicBezTo>
                  <a:pt x="4310" y="630"/>
                  <a:pt x="4310" y="631"/>
                  <a:pt x="4310" y="631"/>
                </a:cubicBezTo>
                <a:cubicBezTo>
                  <a:pt x="4310" y="631"/>
                  <a:pt x="4311" y="632"/>
                  <a:pt x="4313" y="632"/>
                </a:cubicBezTo>
                <a:close/>
                <a:moveTo>
                  <a:pt x="4322" y="630"/>
                </a:moveTo>
                <a:lnTo>
                  <a:pt x="4329" y="626"/>
                </a:lnTo>
                <a:lnTo>
                  <a:pt x="4332" y="625"/>
                </a:lnTo>
                <a:cubicBezTo>
                  <a:pt x="4335" y="623"/>
                  <a:pt x="4338" y="622"/>
                  <a:pt x="4340" y="622"/>
                </a:cubicBezTo>
                <a:lnTo>
                  <a:pt x="4340" y="622"/>
                </a:lnTo>
                <a:cubicBezTo>
                  <a:pt x="4340" y="622"/>
                  <a:pt x="4341" y="622"/>
                  <a:pt x="4341" y="622"/>
                </a:cubicBezTo>
                <a:cubicBezTo>
                  <a:pt x="4341" y="621"/>
                  <a:pt x="4340" y="620"/>
                  <a:pt x="4339" y="620"/>
                </a:cubicBezTo>
                <a:cubicBezTo>
                  <a:pt x="4337" y="620"/>
                  <a:pt x="4335" y="621"/>
                  <a:pt x="4332" y="622"/>
                </a:cubicBezTo>
                <a:cubicBezTo>
                  <a:pt x="4330" y="623"/>
                  <a:pt x="4327" y="624"/>
                  <a:pt x="4325" y="625"/>
                </a:cubicBezTo>
                <a:cubicBezTo>
                  <a:pt x="4323" y="627"/>
                  <a:pt x="4322" y="628"/>
                  <a:pt x="4322" y="629"/>
                </a:cubicBezTo>
                <a:cubicBezTo>
                  <a:pt x="4322" y="629"/>
                  <a:pt x="4322" y="630"/>
                  <a:pt x="4322" y="630"/>
                </a:cubicBezTo>
                <a:close/>
                <a:moveTo>
                  <a:pt x="4366" y="600"/>
                </a:moveTo>
                <a:cubicBezTo>
                  <a:pt x="4366" y="600"/>
                  <a:pt x="4368" y="598"/>
                  <a:pt x="4370" y="595"/>
                </a:cubicBezTo>
                <a:cubicBezTo>
                  <a:pt x="4373" y="593"/>
                  <a:pt x="4374" y="591"/>
                  <a:pt x="4374" y="591"/>
                </a:cubicBezTo>
                <a:cubicBezTo>
                  <a:pt x="4373" y="591"/>
                  <a:pt x="4372" y="592"/>
                  <a:pt x="4370" y="593"/>
                </a:cubicBezTo>
                <a:cubicBezTo>
                  <a:pt x="4367" y="595"/>
                  <a:pt x="4365" y="597"/>
                  <a:pt x="4365" y="598"/>
                </a:cubicBezTo>
                <a:cubicBezTo>
                  <a:pt x="4365" y="599"/>
                  <a:pt x="4365" y="600"/>
                  <a:pt x="4366" y="600"/>
                </a:cubicBezTo>
                <a:close/>
                <a:moveTo>
                  <a:pt x="4302" y="622"/>
                </a:moveTo>
                <a:cubicBezTo>
                  <a:pt x="4305" y="622"/>
                  <a:pt x="4310" y="621"/>
                  <a:pt x="4317" y="617"/>
                </a:cubicBezTo>
                <a:cubicBezTo>
                  <a:pt x="4328" y="611"/>
                  <a:pt x="4340" y="603"/>
                  <a:pt x="4355" y="590"/>
                </a:cubicBezTo>
                <a:cubicBezTo>
                  <a:pt x="4357" y="588"/>
                  <a:pt x="4359" y="586"/>
                  <a:pt x="4361" y="585"/>
                </a:cubicBezTo>
                <a:lnTo>
                  <a:pt x="4366" y="583"/>
                </a:lnTo>
                <a:lnTo>
                  <a:pt x="4367" y="584"/>
                </a:lnTo>
                <a:lnTo>
                  <a:pt x="4366" y="581"/>
                </a:lnTo>
                <a:cubicBezTo>
                  <a:pt x="4366" y="580"/>
                  <a:pt x="4367" y="579"/>
                  <a:pt x="4368" y="578"/>
                </a:cubicBezTo>
                <a:cubicBezTo>
                  <a:pt x="4369" y="576"/>
                  <a:pt x="4371" y="575"/>
                  <a:pt x="4373" y="574"/>
                </a:cubicBezTo>
                <a:cubicBezTo>
                  <a:pt x="4375" y="573"/>
                  <a:pt x="4376" y="572"/>
                  <a:pt x="4378" y="572"/>
                </a:cubicBezTo>
                <a:cubicBezTo>
                  <a:pt x="4379" y="572"/>
                  <a:pt x="4380" y="573"/>
                  <a:pt x="4380" y="573"/>
                </a:cubicBezTo>
                <a:lnTo>
                  <a:pt x="4376" y="579"/>
                </a:lnTo>
                <a:cubicBezTo>
                  <a:pt x="4377" y="579"/>
                  <a:pt x="4377" y="578"/>
                  <a:pt x="4379" y="577"/>
                </a:cubicBezTo>
                <a:cubicBezTo>
                  <a:pt x="4381" y="575"/>
                  <a:pt x="4382" y="574"/>
                  <a:pt x="4382" y="573"/>
                </a:cubicBezTo>
                <a:cubicBezTo>
                  <a:pt x="4382" y="573"/>
                  <a:pt x="4383" y="572"/>
                  <a:pt x="4383" y="570"/>
                </a:cubicBezTo>
                <a:lnTo>
                  <a:pt x="4383" y="569"/>
                </a:lnTo>
                <a:cubicBezTo>
                  <a:pt x="4383" y="568"/>
                  <a:pt x="4384" y="567"/>
                  <a:pt x="4386" y="565"/>
                </a:cubicBezTo>
                <a:cubicBezTo>
                  <a:pt x="4387" y="564"/>
                  <a:pt x="4388" y="563"/>
                  <a:pt x="4389" y="563"/>
                </a:cubicBezTo>
                <a:cubicBezTo>
                  <a:pt x="4389" y="563"/>
                  <a:pt x="4389" y="563"/>
                  <a:pt x="4389" y="564"/>
                </a:cubicBezTo>
                <a:lnTo>
                  <a:pt x="4388" y="567"/>
                </a:lnTo>
                <a:cubicBezTo>
                  <a:pt x="4388" y="567"/>
                  <a:pt x="4389" y="566"/>
                  <a:pt x="4389" y="565"/>
                </a:cubicBezTo>
                <a:cubicBezTo>
                  <a:pt x="4390" y="563"/>
                  <a:pt x="4391" y="562"/>
                  <a:pt x="4393" y="560"/>
                </a:cubicBezTo>
                <a:cubicBezTo>
                  <a:pt x="4394" y="558"/>
                  <a:pt x="4396" y="556"/>
                  <a:pt x="4397" y="555"/>
                </a:cubicBezTo>
                <a:cubicBezTo>
                  <a:pt x="4399" y="554"/>
                  <a:pt x="4399" y="553"/>
                  <a:pt x="4400" y="552"/>
                </a:cubicBezTo>
                <a:cubicBezTo>
                  <a:pt x="4401" y="551"/>
                  <a:pt x="4401" y="550"/>
                  <a:pt x="4401" y="550"/>
                </a:cubicBezTo>
                <a:cubicBezTo>
                  <a:pt x="4401" y="550"/>
                  <a:pt x="4401" y="550"/>
                  <a:pt x="4401" y="550"/>
                </a:cubicBezTo>
                <a:cubicBezTo>
                  <a:pt x="4401" y="550"/>
                  <a:pt x="4400" y="549"/>
                  <a:pt x="4400" y="549"/>
                </a:cubicBezTo>
                <a:cubicBezTo>
                  <a:pt x="4400" y="548"/>
                  <a:pt x="4402" y="546"/>
                  <a:pt x="4405" y="544"/>
                </a:cubicBezTo>
                <a:cubicBezTo>
                  <a:pt x="4408" y="541"/>
                  <a:pt x="4409" y="539"/>
                  <a:pt x="4409" y="539"/>
                </a:cubicBezTo>
                <a:lnTo>
                  <a:pt x="4409" y="539"/>
                </a:lnTo>
                <a:lnTo>
                  <a:pt x="4408" y="539"/>
                </a:lnTo>
                <a:cubicBezTo>
                  <a:pt x="4408" y="539"/>
                  <a:pt x="4409" y="536"/>
                  <a:pt x="4412" y="532"/>
                </a:cubicBezTo>
                <a:cubicBezTo>
                  <a:pt x="4415" y="528"/>
                  <a:pt x="4416" y="526"/>
                  <a:pt x="4416" y="524"/>
                </a:cubicBezTo>
                <a:lnTo>
                  <a:pt x="4416" y="524"/>
                </a:lnTo>
                <a:cubicBezTo>
                  <a:pt x="4416" y="523"/>
                  <a:pt x="4417" y="521"/>
                  <a:pt x="4419" y="519"/>
                </a:cubicBezTo>
                <a:cubicBezTo>
                  <a:pt x="4420" y="516"/>
                  <a:pt x="4421" y="514"/>
                  <a:pt x="4421" y="513"/>
                </a:cubicBezTo>
                <a:cubicBezTo>
                  <a:pt x="4421" y="513"/>
                  <a:pt x="4421" y="513"/>
                  <a:pt x="4420" y="513"/>
                </a:cubicBezTo>
                <a:cubicBezTo>
                  <a:pt x="4420" y="513"/>
                  <a:pt x="4420" y="512"/>
                  <a:pt x="4420" y="512"/>
                </a:cubicBezTo>
                <a:cubicBezTo>
                  <a:pt x="4420" y="512"/>
                  <a:pt x="4420" y="511"/>
                  <a:pt x="4421" y="509"/>
                </a:cubicBezTo>
                <a:cubicBezTo>
                  <a:pt x="4422" y="508"/>
                  <a:pt x="4423" y="505"/>
                  <a:pt x="4424" y="498"/>
                </a:cubicBezTo>
                <a:lnTo>
                  <a:pt x="4425" y="490"/>
                </a:lnTo>
                <a:lnTo>
                  <a:pt x="4425" y="483"/>
                </a:lnTo>
                <a:cubicBezTo>
                  <a:pt x="4425" y="477"/>
                  <a:pt x="4423" y="474"/>
                  <a:pt x="4420" y="474"/>
                </a:cubicBezTo>
                <a:cubicBezTo>
                  <a:pt x="4418" y="474"/>
                  <a:pt x="4416" y="475"/>
                  <a:pt x="4412" y="476"/>
                </a:cubicBezTo>
                <a:cubicBezTo>
                  <a:pt x="4406" y="478"/>
                  <a:pt x="4398" y="482"/>
                  <a:pt x="4389" y="488"/>
                </a:cubicBezTo>
                <a:cubicBezTo>
                  <a:pt x="4379" y="494"/>
                  <a:pt x="4370" y="501"/>
                  <a:pt x="4362" y="507"/>
                </a:cubicBezTo>
                <a:cubicBezTo>
                  <a:pt x="4354" y="514"/>
                  <a:pt x="4350" y="518"/>
                  <a:pt x="4350" y="521"/>
                </a:cubicBezTo>
                <a:lnTo>
                  <a:pt x="4351" y="522"/>
                </a:lnTo>
                <a:cubicBezTo>
                  <a:pt x="4351" y="524"/>
                  <a:pt x="4348" y="527"/>
                  <a:pt x="4344" y="533"/>
                </a:cubicBezTo>
                <a:cubicBezTo>
                  <a:pt x="4333" y="547"/>
                  <a:pt x="4327" y="555"/>
                  <a:pt x="4327" y="559"/>
                </a:cubicBezTo>
                <a:cubicBezTo>
                  <a:pt x="4327" y="560"/>
                  <a:pt x="4328" y="561"/>
                  <a:pt x="4329" y="561"/>
                </a:cubicBezTo>
                <a:cubicBezTo>
                  <a:pt x="4330" y="562"/>
                  <a:pt x="4330" y="562"/>
                  <a:pt x="4330" y="563"/>
                </a:cubicBezTo>
                <a:lnTo>
                  <a:pt x="4327" y="563"/>
                </a:lnTo>
                <a:cubicBezTo>
                  <a:pt x="4324" y="563"/>
                  <a:pt x="4317" y="573"/>
                  <a:pt x="4308" y="594"/>
                </a:cubicBezTo>
                <a:cubicBezTo>
                  <a:pt x="4303" y="605"/>
                  <a:pt x="4300" y="614"/>
                  <a:pt x="4300" y="619"/>
                </a:cubicBezTo>
                <a:cubicBezTo>
                  <a:pt x="4300" y="621"/>
                  <a:pt x="4301" y="622"/>
                  <a:pt x="4302" y="622"/>
                </a:cubicBezTo>
                <a:close/>
                <a:moveTo>
                  <a:pt x="4319" y="553"/>
                </a:moveTo>
                <a:cubicBezTo>
                  <a:pt x="4322" y="553"/>
                  <a:pt x="4324" y="551"/>
                  <a:pt x="4324" y="549"/>
                </a:cubicBezTo>
                <a:cubicBezTo>
                  <a:pt x="4324" y="548"/>
                  <a:pt x="4324" y="548"/>
                  <a:pt x="4325" y="548"/>
                </a:cubicBezTo>
                <a:lnTo>
                  <a:pt x="4326" y="548"/>
                </a:lnTo>
                <a:cubicBezTo>
                  <a:pt x="4327" y="548"/>
                  <a:pt x="4330" y="546"/>
                  <a:pt x="4332" y="541"/>
                </a:cubicBezTo>
                <a:cubicBezTo>
                  <a:pt x="4339" y="529"/>
                  <a:pt x="4350" y="515"/>
                  <a:pt x="4365" y="501"/>
                </a:cubicBezTo>
                <a:cubicBezTo>
                  <a:pt x="4380" y="487"/>
                  <a:pt x="4393" y="478"/>
                  <a:pt x="4406" y="472"/>
                </a:cubicBezTo>
                <a:cubicBezTo>
                  <a:pt x="4411" y="469"/>
                  <a:pt x="4414" y="468"/>
                  <a:pt x="4414" y="468"/>
                </a:cubicBezTo>
                <a:cubicBezTo>
                  <a:pt x="4414" y="468"/>
                  <a:pt x="4413" y="467"/>
                  <a:pt x="4413" y="467"/>
                </a:cubicBezTo>
                <a:lnTo>
                  <a:pt x="4409" y="468"/>
                </a:lnTo>
                <a:cubicBezTo>
                  <a:pt x="4403" y="468"/>
                  <a:pt x="4399" y="469"/>
                  <a:pt x="4396" y="470"/>
                </a:cubicBezTo>
                <a:cubicBezTo>
                  <a:pt x="4393" y="471"/>
                  <a:pt x="4390" y="473"/>
                  <a:pt x="4385" y="476"/>
                </a:cubicBezTo>
                <a:cubicBezTo>
                  <a:pt x="4371" y="483"/>
                  <a:pt x="4357" y="495"/>
                  <a:pt x="4342" y="511"/>
                </a:cubicBezTo>
                <a:cubicBezTo>
                  <a:pt x="4334" y="519"/>
                  <a:pt x="4328" y="525"/>
                  <a:pt x="4324" y="527"/>
                </a:cubicBezTo>
                <a:cubicBezTo>
                  <a:pt x="4322" y="528"/>
                  <a:pt x="4320" y="529"/>
                  <a:pt x="4320" y="530"/>
                </a:cubicBezTo>
                <a:lnTo>
                  <a:pt x="4321" y="531"/>
                </a:lnTo>
                <a:cubicBezTo>
                  <a:pt x="4321" y="533"/>
                  <a:pt x="4319" y="534"/>
                  <a:pt x="4317" y="536"/>
                </a:cubicBezTo>
                <a:cubicBezTo>
                  <a:pt x="4314" y="537"/>
                  <a:pt x="4313" y="539"/>
                  <a:pt x="4313" y="541"/>
                </a:cubicBezTo>
                <a:cubicBezTo>
                  <a:pt x="4313" y="543"/>
                  <a:pt x="4312" y="545"/>
                  <a:pt x="4309" y="546"/>
                </a:cubicBezTo>
                <a:cubicBezTo>
                  <a:pt x="4308" y="546"/>
                  <a:pt x="4307" y="547"/>
                  <a:pt x="4307" y="548"/>
                </a:cubicBezTo>
                <a:cubicBezTo>
                  <a:pt x="4307" y="548"/>
                  <a:pt x="4309" y="549"/>
                  <a:pt x="4312" y="551"/>
                </a:cubicBezTo>
                <a:cubicBezTo>
                  <a:pt x="4315" y="552"/>
                  <a:pt x="4317" y="553"/>
                  <a:pt x="4319" y="553"/>
                </a:cubicBezTo>
                <a:close/>
                <a:moveTo>
                  <a:pt x="4283" y="584"/>
                </a:moveTo>
                <a:cubicBezTo>
                  <a:pt x="4284" y="584"/>
                  <a:pt x="4285" y="583"/>
                  <a:pt x="4285" y="582"/>
                </a:cubicBezTo>
                <a:lnTo>
                  <a:pt x="4285" y="579"/>
                </a:lnTo>
                <a:cubicBezTo>
                  <a:pt x="4283" y="576"/>
                  <a:pt x="4282" y="575"/>
                  <a:pt x="4282" y="575"/>
                </a:cubicBezTo>
                <a:lnTo>
                  <a:pt x="4281" y="575"/>
                </a:lnTo>
                <a:lnTo>
                  <a:pt x="4282" y="580"/>
                </a:lnTo>
                <a:cubicBezTo>
                  <a:pt x="4282" y="581"/>
                  <a:pt x="4282" y="581"/>
                  <a:pt x="4282" y="581"/>
                </a:cubicBezTo>
                <a:lnTo>
                  <a:pt x="4279" y="580"/>
                </a:lnTo>
                <a:lnTo>
                  <a:pt x="4278" y="580"/>
                </a:lnTo>
                <a:lnTo>
                  <a:pt x="4279" y="581"/>
                </a:lnTo>
                <a:cubicBezTo>
                  <a:pt x="4280" y="583"/>
                  <a:pt x="4282" y="584"/>
                  <a:pt x="4283" y="584"/>
                </a:cubicBezTo>
                <a:close/>
                <a:moveTo>
                  <a:pt x="4277" y="603"/>
                </a:moveTo>
                <a:lnTo>
                  <a:pt x="4278" y="600"/>
                </a:lnTo>
                <a:cubicBezTo>
                  <a:pt x="4279" y="598"/>
                  <a:pt x="4280" y="596"/>
                  <a:pt x="4280" y="594"/>
                </a:cubicBezTo>
                <a:cubicBezTo>
                  <a:pt x="4281" y="592"/>
                  <a:pt x="4282" y="590"/>
                  <a:pt x="4283" y="590"/>
                </a:cubicBezTo>
                <a:cubicBezTo>
                  <a:pt x="4283" y="589"/>
                  <a:pt x="4284" y="588"/>
                  <a:pt x="4284" y="588"/>
                </a:cubicBezTo>
                <a:cubicBezTo>
                  <a:pt x="4284" y="587"/>
                  <a:pt x="4283" y="586"/>
                  <a:pt x="4281" y="586"/>
                </a:cubicBezTo>
                <a:cubicBezTo>
                  <a:pt x="4278" y="587"/>
                  <a:pt x="4277" y="590"/>
                  <a:pt x="4277" y="596"/>
                </a:cubicBezTo>
                <a:cubicBezTo>
                  <a:pt x="4277" y="601"/>
                  <a:pt x="4277" y="603"/>
                  <a:pt x="4277" y="603"/>
                </a:cubicBezTo>
                <a:close/>
                <a:moveTo>
                  <a:pt x="4277" y="646"/>
                </a:moveTo>
                <a:cubicBezTo>
                  <a:pt x="4278" y="646"/>
                  <a:pt x="4279" y="644"/>
                  <a:pt x="4280" y="641"/>
                </a:cubicBezTo>
                <a:lnTo>
                  <a:pt x="4280" y="640"/>
                </a:lnTo>
                <a:cubicBezTo>
                  <a:pt x="4280" y="640"/>
                  <a:pt x="4280" y="639"/>
                  <a:pt x="4280" y="639"/>
                </a:cubicBezTo>
                <a:lnTo>
                  <a:pt x="4277" y="641"/>
                </a:lnTo>
                <a:lnTo>
                  <a:pt x="4277" y="639"/>
                </a:lnTo>
                <a:cubicBezTo>
                  <a:pt x="4279" y="636"/>
                  <a:pt x="4280" y="634"/>
                  <a:pt x="4280" y="632"/>
                </a:cubicBezTo>
                <a:cubicBezTo>
                  <a:pt x="4280" y="629"/>
                  <a:pt x="4279" y="627"/>
                  <a:pt x="4277" y="626"/>
                </a:cubicBezTo>
                <a:lnTo>
                  <a:pt x="4277" y="626"/>
                </a:lnTo>
                <a:cubicBezTo>
                  <a:pt x="4275" y="626"/>
                  <a:pt x="4275" y="630"/>
                  <a:pt x="4274" y="636"/>
                </a:cubicBezTo>
                <a:lnTo>
                  <a:pt x="4274" y="637"/>
                </a:lnTo>
                <a:cubicBezTo>
                  <a:pt x="4274" y="642"/>
                  <a:pt x="4275" y="645"/>
                  <a:pt x="4277" y="646"/>
                </a:cubicBezTo>
                <a:close/>
                <a:moveTo>
                  <a:pt x="4282" y="618"/>
                </a:moveTo>
                <a:cubicBezTo>
                  <a:pt x="4283" y="618"/>
                  <a:pt x="4283" y="617"/>
                  <a:pt x="4284" y="617"/>
                </a:cubicBezTo>
                <a:cubicBezTo>
                  <a:pt x="4284" y="616"/>
                  <a:pt x="4284" y="615"/>
                  <a:pt x="4284" y="615"/>
                </a:cubicBezTo>
                <a:cubicBezTo>
                  <a:pt x="4284" y="615"/>
                  <a:pt x="4284" y="614"/>
                  <a:pt x="4284" y="614"/>
                </a:cubicBezTo>
                <a:lnTo>
                  <a:pt x="4283" y="614"/>
                </a:lnTo>
                <a:cubicBezTo>
                  <a:pt x="4282" y="614"/>
                  <a:pt x="4282" y="613"/>
                  <a:pt x="4282" y="612"/>
                </a:cubicBezTo>
                <a:cubicBezTo>
                  <a:pt x="4282" y="611"/>
                  <a:pt x="4282" y="611"/>
                  <a:pt x="4282" y="611"/>
                </a:cubicBezTo>
                <a:lnTo>
                  <a:pt x="4283" y="611"/>
                </a:lnTo>
                <a:cubicBezTo>
                  <a:pt x="4284" y="611"/>
                  <a:pt x="4285" y="609"/>
                  <a:pt x="4286" y="606"/>
                </a:cubicBezTo>
                <a:cubicBezTo>
                  <a:pt x="4287" y="601"/>
                  <a:pt x="4288" y="598"/>
                  <a:pt x="4290" y="595"/>
                </a:cubicBezTo>
                <a:cubicBezTo>
                  <a:pt x="4292" y="592"/>
                  <a:pt x="4294" y="590"/>
                  <a:pt x="4295" y="590"/>
                </a:cubicBezTo>
                <a:cubicBezTo>
                  <a:pt x="4297" y="590"/>
                  <a:pt x="4297" y="590"/>
                  <a:pt x="4297" y="588"/>
                </a:cubicBezTo>
                <a:lnTo>
                  <a:pt x="4297" y="587"/>
                </a:lnTo>
                <a:cubicBezTo>
                  <a:pt x="4297" y="587"/>
                  <a:pt x="4297" y="586"/>
                  <a:pt x="4298" y="585"/>
                </a:cubicBezTo>
                <a:cubicBezTo>
                  <a:pt x="4298" y="585"/>
                  <a:pt x="4298" y="585"/>
                  <a:pt x="4299" y="584"/>
                </a:cubicBezTo>
                <a:cubicBezTo>
                  <a:pt x="4300" y="584"/>
                  <a:pt x="4302" y="582"/>
                  <a:pt x="4304" y="578"/>
                </a:cubicBezTo>
                <a:cubicBezTo>
                  <a:pt x="4307" y="574"/>
                  <a:pt x="4309" y="570"/>
                  <a:pt x="4311" y="566"/>
                </a:cubicBezTo>
                <a:cubicBezTo>
                  <a:pt x="4313" y="562"/>
                  <a:pt x="4314" y="559"/>
                  <a:pt x="4314" y="558"/>
                </a:cubicBezTo>
                <a:cubicBezTo>
                  <a:pt x="4314" y="557"/>
                  <a:pt x="4313" y="556"/>
                  <a:pt x="4311" y="556"/>
                </a:cubicBezTo>
                <a:cubicBezTo>
                  <a:pt x="4305" y="556"/>
                  <a:pt x="4301" y="559"/>
                  <a:pt x="4297" y="565"/>
                </a:cubicBezTo>
                <a:cubicBezTo>
                  <a:pt x="4295" y="569"/>
                  <a:pt x="4293" y="571"/>
                  <a:pt x="4292" y="571"/>
                </a:cubicBezTo>
                <a:cubicBezTo>
                  <a:pt x="4291" y="571"/>
                  <a:pt x="4291" y="571"/>
                  <a:pt x="4291" y="571"/>
                </a:cubicBezTo>
                <a:cubicBezTo>
                  <a:pt x="4290" y="571"/>
                  <a:pt x="4290" y="570"/>
                  <a:pt x="4290" y="569"/>
                </a:cubicBezTo>
                <a:lnTo>
                  <a:pt x="4290" y="567"/>
                </a:lnTo>
                <a:cubicBezTo>
                  <a:pt x="4290" y="566"/>
                  <a:pt x="4290" y="565"/>
                  <a:pt x="4289" y="565"/>
                </a:cubicBezTo>
                <a:cubicBezTo>
                  <a:pt x="4288" y="565"/>
                  <a:pt x="4288" y="565"/>
                  <a:pt x="4288" y="564"/>
                </a:cubicBezTo>
                <a:lnTo>
                  <a:pt x="4288" y="562"/>
                </a:lnTo>
                <a:cubicBezTo>
                  <a:pt x="4288" y="561"/>
                  <a:pt x="4288" y="561"/>
                  <a:pt x="4288" y="561"/>
                </a:cubicBezTo>
                <a:lnTo>
                  <a:pt x="4287" y="562"/>
                </a:lnTo>
                <a:cubicBezTo>
                  <a:pt x="4286" y="562"/>
                  <a:pt x="4286" y="563"/>
                  <a:pt x="4286" y="564"/>
                </a:cubicBezTo>
                <a:cubicBezTo>
                  <a:pt x="4286" y="565"/>
                  <a:pt x="4287" y="567"/>
                  <a:pt x="4288" y="569"/>
                </a:cubicBezTo>
                <a:cubicBezTo>
                  <a:pt x="4290" y="571"/>
                  <a:pt x="4290" y="574"/>
                  <a:pt x="4290" y="576"/>
                </a:cubicBezTo>
                <a:cubicBezTo>
                  <a:pt x="4290" y="579"/>
                  <a:pt x="4289" y="583"/>
                  <a:pt x="4286" y="588"/>
                </a:cubicBezTo>
                <a:cubicBezTo>
                  <a:pt x="4285" y="591"/>
                  <a:pt x="4284" y="593"/>
                  <a:pt x="4284" y="595"/>
                </a:cubicBezTo>
                <a:cubicBezTo>
                  <a:pt x="4284" y="595"/>
                  <a:pt x="4284" y="595"/>
                  <a:pt x="4284" y="595"/>
                </a:cubicBezTo>
                <a:lnTo>
                  <a:pt x="4285" y="595"/>
                </a:lnTo>
                <a:cubicBezTo>
                  <a:pt x="4285" y="596"/>
                  <a:pt x="4284" y="597"/>
                  <a:pt x="4283" y="598"/>
                </a:cubicBezTo>
                <a:cubicBezTo>
                  <a:pt x="4282" y="598"/>
                  <a:pt x="4281" y="600"/>
                  <a:pt x="4280" y="603"/>
                </a:cubicBezTo>
                <a:cubicBezTo>
                  <a:pt x="4279" y="607"/>
                  <a:pt x="4278" y="610"/>
                  <a:pt x="4278" y="612"/>
                </a:cubicBezTo>
                <a:cubicBezTo>
                  <a:pt x="4278" y="614"/>
                  <a:pt x="4279" y="615"/>
                  <a:pt x="4280" y="616"/>
                </a:cubicBezTo>
                <a:cubicBezTo>
                  <a:pt x="4280" y="617"/>
                  <a:pt x="4281" y="618"/>
                  <a:pt x="4282" y="618"/>
                </a:cubicBezTo>
                <a:close/>
                <a:moveTo>
                  <a:pt x="4589" y="674"/>
                </a:moveTo>
                <a:cubicBezTo>
                  <a:pt x="4589" y="674"/>
                  <a:pt x="4598" y="667"/>
                  <a:pt x="4617" y="654"/>
                </a:cubicBezTo>
                <a:cubicBezTo>
                  <a:pt x="4640" y="637"/>
                  <a:pt x="4657" y="625"/>
                  <a:pt x="4669" y="615"/>
                </a:cubicBezTo>
                <a:lnTo>
                  <a:pt x="4715" y="579"/>
                </a:lnTo>
                <a:cubicBezTo>
                  <a:pt x="4730" y="568"/>
                  <a:pt x="4737" y="562"/>
                  <a:pt x="4737" y="561"/>
                </a:cubicBezTo>
                <a:cubicBezTo>
                  <a:pt x="4737" y="560"/>
                  <a:pt x="4737" y="559"/>
                  <a:pt x="4738" y="559"/>
                </a:cubicBezTo>
                <a:lnTo>
                  <a:pt x="4739" y="559"/>
                </a:lnTo>
                <a:cubicBezTo>
                  <a:pt x="4740" y="559"/>
                  <a:pt x="4742" y="558"/>
                  <a:pt x="4744" y="557"/>
                </a:cubicBezTo>
                <a:cubicBezTo>
                  <a:pt x="4745" y="556"/>
                  <a:pt x="4746" y="555"/>
                  <a:pt x="4746" y="553"/>
                </a:cubicBezTo>
                <a:lnTo>
                  <a:pt x="4746" y="552"/>
                </a:lnTo>
                <a:lnTo>
                  <a:pt x="4747" y="552"/>
                </a:lnTo>
                <a:cubicBezTo>
                  <a:pt x="4749" y="552"/>
                  <a:pt x="4753" y="550"/>
                  <a:pt x="4759" y="546"/>
                </a:cubicBezTo>
                <a:lnTo>
                  <a:pt x="4768" y="540"/>
                </a:lnTo>
                <a:lnTo>
                  <a:pt x="4767" y="541"/>
                </a:lnTo>
                <a:cubicBezTo>
                  <a:pt x="4766" y="542"/>
                  <a:pt x="4766" y="543"/>
                  <a:pt x="4766" y="544"/>
                </a:cubicBezTo>
                <a:lnTo>
                  <a:pt x="4767" y="547"/>
                </a:lnTo>
                <a:lnTo>
                  <a:pt x="4765" y="546"/>
                </a:lnTo>
                <a:cubicBezTo>
                  <a:pt x="4763" y="546"/>
                  <a:pt x="4761" y="548"/>
                  <a:pt x="4759" y="552"/>
                </a:cubicBezTo>
                <a:cubicBezTo>
                  <a:pt x="4756" y="556"/>
                  <a:pt x="4754" y="558"/>
                  <a:pt x="4753" y="558"/>
                </a:cubicBezTo>
                <a:lnTo>
                  <a:pt x="4750" y="558"/>
                </a:lnTo>
                <a:cubicBezTo>
                  <a:pt x="4747" y="558"/>
                  <a:pt x="4746" y="559"/>
                  <a:pt x="4746" y="560"/>
                </a:cubicBezTo>
                <a:lnTo>
                  <a:pt x="4746" y="561"/>
                </a:lnTo>
                <a:cubicBezTo>
                  <a:pt x="4746" y="563"/>
                  <a:pt x="4746" y="565"/>
                  <a:pt x="4744" y="566"/>
                </a:cubicBezTo>
                <a:cubicBezTo>
                  <a:pt x="4742" y="567"/>
                  <a:pt x="4741" y="568"/>
                  <a:pt x="4741" y="568"/>
                </a:cubicBezTo>
                <a:lnTo>
                  <a:pt x="4741" y="567"/>
                </a:lnTo>
                <a:lnTo>
                  <a:pt x="4742" y="565"/>
                </a:lnTo>
                <a:cubicBezTo>
                  <a:pt x="4742" y="565"/>
                  <a:pt x="4740" y="567"/>
                  <a:pt x="4736" y="572"/>
                </a:cubicBezTo>
                <a:cubicBezTo>
                  <a:pt x="4730" y="578"/>
                  <a:pt x="4726" y="582"/>
                  <a:pt x="4724" y="582"/>
                </a:cubicBezTo>
                <a:cubicBezTo>
                  <a:pt x="4724" y="582"/>
                  <a:pt x="4724" y="582"/>
                  <a:pt x="4724" y="581"/>
                </a:cubicBezTo>
                <a:cubicBezTo>
                  <a:pt x="4724" y="581"/>
                  <a:pt x="4724" y="580"/>
                  <a:pt x="4726" y="578"/>
                </a:cubicBezTo>
                <a:cubicBezTo>
                  <a:pt x="4727" y="576"/>
                  <a:pt x="4728" y="575"/>
                  <a:pt x="4728" y="574"/>
                </a:cubicBezTo>
                <a:lnTo>
                  <a:pt x="4726" y="576"/>
                </a:lnTo>
                <a:cubicBezTo>
                  <a:pt x="4724" y="578"/>
                  <a:pt x="4722" y="580"/>
                  <a:pt x="4722" y="581"/>
                </a:cubicBezTo>
                <a:cubicBezTo>
                  <a:pt x="4722" y="583"/>
                  <a:pt x="4721" y="584"/>
                  <a:pt x="4719" y="586"/>
                </a:cubicBezTo>
                <a:cubicBezTo>
                  <a:pt x="4715" y="591"/>
                  <a:pt x="4709" y="595"/>
                  <a:pt x="4701" y="600"/>
                </a:cubicBezTo>
                <a:lnTo>
                  <a:pt x="4694" y="603"/>
                </a:lnTo>
                <a:cubicBezTo>
                  <a:pt x="4692" y="603"/>
                  <a:pt x="4691" y="604"/>
                  <a:pt x="4689" y="606"/>
                </a:cubicBezTo>
                <a:lnTo>
                  <a:pt x="4687" y="609"/>
                </a:lnTo>
                <a:cubicBezTo>
                  <a:pt x="4687" y="609"/>
                  <a:pt x="4688" y="609"/>
                  <a:pt x="4689" y="608"/>
                </a:cubicBezTo>
                <a:cubicBezTo>
                  <a:pt x="4690" y="607"/>
                  <a:pt x="4691" y="606"/>
                  <a:pt x="4691" y="606"/>
                </a:cubicBezTo>
                <a:cubicBezTo>
                  <a:pt x="4691" y="607"/>
                  <a:pt x="4690" y="608"/>
                  <a:pt x="4688" y="610"/>
                </a:cubicBezTo>
                <a:cubicBezTo>
                  <a:pt x="4685" y="613"/>
                  <a:pt x="4682" y="615"/>
                  <a:pt x="4680" y="615"/>
                </a:cubicBezTo>
                <a:lnTo>
                  <a:pt x="4679" y="614"/>
                </a:lnTo>
                <a:lnTo>
                  <a:pt x="4679" y="614"/>
                </a:lnTo>
                <a:cubicBezTo>
                  <a:pt x="4679" y="615"/>
                  <a:pt x="4679" y="615"/>
                  <a:pt x="4680" y="617"/>
                </a:cubicBezTo>
                <a:cubicBezTo>
                  <a:pt x="4681" y="618"/>
                  <a:pt x="4681" y="619"/>
                  <a:pt x="4681" y="619"/>
                </a:cubicBezTo>
                <a:cubicBezTo>
                  <a:pt x="4681" y="619"/>
                  <a:pt x="4681" y="619"/>
                  <a:pt x="4681" y="619"/>
                </a:cubicBezTo>
                <a:lnTo>
                  <a:pt x="4677" y="619"/>
                </a:lnTo>
                <a:cubicBezTo>
                  <a:pt x="4674" y="619"/>
                  <a:pt x="4672" y="620"/>
                  <a:pt x="4672" y="620"/>
                </a:cubicBezTo>
                <a:cubicBezTo>
                  <a:pt x="4672" y="622"/>
                  <a:pt x="4671" y="624"/>
                  <a:pt x="4668" y="626"/>
                </a:cubicBezTo>
                <a:cubicBezTo>
                  <a:pt x="4665" y="628"/>
                  <a:pt x="4663" y="630"/>
                  <a:pt x="4663" y="630"/>
                </a:cubicBezTo>
                <a:cubicBezTo>
                  <a:pt x="4663" y="629"/>
                  <a:pt x="4664" y="628"/>
                  <a:pt x="4665" y="626"/>
                </a:cubicBezTo>
                <a:cubicBezTo>
                  <a:pt x="4666" y="625"/>
                  <a:pt x="4666" y="625"/>
                  <a:pt x="4666" y="625"/>
                </a:cubicBezTo>
                <a:cubicBezTo>
                  <a:pt x="4666" y="625"/>
                  <a:pt x="4664" y="626"/>
                  <a:pt x="4662" y="628"/>
                </a:cubicBezTo>
                <a:lnTo>
                  <a:pt x="4657" y="633"/>
                </a:lnTo>
                <a:lnTo>
                  <a:pt x="4658" y="632"/>
                </a:lnTo>
                <a:cubicBezTo>
                  <a:pt x="4658" y="631"/>
                  <a:pt x="4658" y="631"/>
                  <a:pt x="4658" y="630"/>
                </a:cubicBezTo>
                <a:cubicBezTo>
                  <a:pt x="4658" y="630"/>
                  <a:pt x="4658" y="630"/>
                  <a:pt x="4658" y="630"/>
                </a:cubicBezTo>
                <a:cubicBezTo>
                  <a:pt x="4657" y="630"/>
                  <a:pt x="4654" y="632"/>
                  <a:pt x="4649" y="635"/>
                </a:cubicBezTo>
                <a:cubicBezTo>
                  <a:pt x="4645" y="639"/>
                  <a:pt x="4642" y="642"/>
                  <a:pt x="4642" y="643"/>
                </a:cubicBezTo>
                <a:cubicBezTo>
                  <a:pt x="4642" y="644"/>
                  <a:pt x="4643" y="645"/>
                  <a:pt x="4644" y="646"/>
                </a:cubicBezTo>
                <a:lnTo>
                  <a:pt x="4645" y="648"/>
                </a:lnTo>
                <a:lnTo>
                  <a:pt x="4645" y="648"/>
                </a:lnTo>
                <a:cubicBezTo>
                  <a:pt x="4645" y="648"/>
                  <a:pt x="4644" y="648"/>
                  <a:pt x="4643" y="647"/>
                </a:cubicBezTo>
                <a:cubicBezTo>
                  <a:pt x="4642" y="646"/>
                  <a:pt x="4641" y="645"/>
                  <a:pt x="4640" y="645"/>
                </a:cubicBezTo>
                <a:cubicBezTo>
                  <a:pt x="4637" y="645"/>
                  <a:pt x="4632" y="648"/>
                  <a:pt x="4624" y="653"/>
                </a:cubicBezTo>
                <a:cubicBezTo>
                  <a:pt x="4604" y="667"/>
                  <a:pt x="4592" y="674"/>
                  <a:pt x="4589" y="674"/>
                </a:cubicBezTo>
                <a:close/>
                <a:moveTo>
                  <a:pt x="4696" y="602"/>
                </a:moveTo>
                <a:cubicBezTo>
                  <a:pt x="4697" y="602"/>
                  <a:pt x="4698" y="601"/>
                  <a:pt x="4700" y="598"/>
                </a:cubicBezTo>
                <a:lnTo>
                  <a:pt x="4702" y="595"/>
                </a:lnTo>
                <a:lnTo>
                  <a:pt x="4702" y="595"/>
                </a:lnTo>
                <a:cubicBezTo>
                  <a:pt x="4702" y="595"/>
                  <a:pt x="4701" y="596"/>
                  <a:pt x="4700" y="597"/>
                </a:cubicBezTo>
                <a:cubicBezTo>
                  <a:pt x="4699" y="598"/>
                  <a:pt x="4697" y="598"/>
                  <a:pt x="4697" y="599"/>
                </a:cubicBezTo>
                <a:cubicBezTo>
                  <a:pt x="4696" y="600"/>
                  <a:pt x="4695" y="601"/>
                  <a:pt x="4695" y="601"/>
                </a:cubicBezTo>
                <a:cubicBezTo>
                  <a:pt x="4695" y="602"/>
                  <a:pt x="4696" y="602"/>
                  <a:pt x="4696" y="602"/>
                </a:cubicBezTo>
                <a:close/>
                <a:moveTo>
                  <a:pt x="4704" y="595"/>
                </a:moveTo>
                <a:cubicBezTo>
                  <a:pt x="4706" y="595"/>
                  <a:pt x="4709" y="592"/>
                  <a:pt x="4714" y="588"/>
                </a:cubicBezTo>
                <a:cubicBezTo>
                  <a:pt x="4717" y="585"/>
                  <a:pt x="4719" y="584"/>
                  <a:pt x="4719" y="583"/>
                </a:cubicBezTo>
                <a:lnTo>
                  <a:pt x="4718" y="583"/>
                </a:lnTo>
                <a:cubicBezTo>
                  <a:pt x="4717" y="583"/>
                  <a:pt x="4716" y="584"/>
                  <a:pt x="4712" y="587"/>
                </a:cubicBezTo>
                <a:cubicBezTo>
                  <a:pt x="4707" y="591"/>
                  <a:pt x="4704" y="594"/>
                  <a:pt x="4704" y="595"/>
                </a:cubicBezTo>
                <a:close/>
                <a:moveTo>
                  <a:pt x="4731" y="575"/>
                </a:moveTo>
                <a:cubicBezTo>
                  <a:pt x="4731" y="575"/>
                  <a:pt x="4733" y="573"/>
                  <a:pt x="4735" y="571"/>
                </a:cubicBezTo>
                <a:lnTo>
                  <a:pt x="4737" y="568"/>
                </a:lnTo>
                <a:lnTo>
                  <a:pt x="4736" y="568"/>
                </a:lnTo>
                <a:lnTo>
                  <a:pt x="4734" y="570"/>
                </a:lnTo>
                <a:cubicBezTo>
                  <a:pt x="4731" y="572"/>
                  <a:pt x="4730" y="573"/>
                  <a:pt x="4730" y="574"/>
                </a:cubicBezTo>
                <a:cubicBezTo>
                  <a:pt x="4730" y="575"/>
                  <a:pt x="4730" y="575"/>
                  <a:pt x="4731" y="575"/>
                </a:cubicBezTo>
                <a:close/>
                <a:moveTo>
                  <a:pt x="4752" y="556"/>
                </a:moveTo>
                <a:cubicBezTo>
                  <a:pt x="4753" y="556"/>
                  <a:pt x="4754" y="555"/>
                  <a:pt x="4756" y="552"/>
                </a:cubicBezTo>
                <a:lnTo>
                  <a:pt x="4758" y="550"/>
                </a:lnTo>
                <a:cubicBezTo>
                  <a:pt x="4758" y="550"/>
                  <a:pt x="4757" y="551"/>
                  <a:pt x="4755" y="552"/>
                </a:cubicBezTo>
                <a:cubicBezTo>
                  <a:pt x="4753" y="554"/>
                  <a:pt x="4752" y="555"/>
                  <a:pt x="4752" y="556"/>
                </a:cubicBezTo>
                <a:cubicBezTo>
                  <a:pt x="4752" y="556"/>
                  <a:pt x="4752" y="556"/>
                  <a:pt x="4752" y="556"/>
                </a:cubicBezTo>
                <a:close/>
                <a:moveTo>
                  <a:pt x="4757" y="540"/>
                </a:moveTo>
                <a:cubicBezTo>
                  <a:pt x="4756" y="540"/>
                  <a:pt x="4756" y="540"/>
                  <a:pt x="4756" y="539"/>
                </a:cubicBezTo>
                <a:cubicBezTo>
                  <a:pt x="4756" y="539"/>
                  <a:pt x="4757" y="539"/>
                  <a:pt x="4758" y="538"/>
                </a:cubicBezTo>
                <a:cubicBezTo>
                  <a:pt x="4758" y="538"/>
                  <a:pt x="4759" y="537"/>
                  <a:pt x="4760" y="537"/>
                </a:cubicBezTo>
                <a:cubicBezTo>
                  <a:pt x="4760" y="537"/>
                  <a:pt x="4761" y="537"/>
                  <a:pt x="4761" y="537"/>
                </a:cubicBezTo>
                <a:cubicBezTo>
                  <a:pt x="4761" y="537"/>
                  <a:pt x="4762" y="537"/>
                  <a:pt x="4762" y="537"/>
                </a:cubicBezTo>
                <a:lnTo>
                  <a:pt x="4762" y="538"/>
                </a:lnTo>
                <a:cubicBezTo>
                  <a:pt x="4760" y="539"/>
                  <a:pt x="4759" y="540"/>
                  <a:pt x="4757" y="540"/>
                </a:cubicBezTo>
                <a:close/>
                <a:moveTo>
                  <a:pt x="4407" y="740"/>
                </a:moveTo>
                <a:cubicBezTo>
                  <a:pt x="4406" y="740"/>
                  <a:pt x="4404" y="738"/>
                  <a:pt x="4402" y="736"/>
                </a:cubicBezTo>
                <a:cubicBezTo>
                  <a:pt x="4401" y="735"/>
                  <a:pt x="4400" y="734"/>
                  <a:pt x="4400" y="734"/>
                </a:cubicBezTo>
                <a:cubicBezTo>
                  <a:pt x="4400" y="733"/>
                  <a:pt x="4401" y="733"/>
                  <a:pt x="4401" y="733"/>
                </a:cubicBezTo>
                <a:lnTo>
                  <a:pt x="4403" y="733"/>
                </a:lnTo>
                <a:cubicBezTo>
                  <a:pt x="4407" y="734"/>
                  <a:pt x="4408" y="735"/>
                  <a:pt x="4408" y="739"/>
                </a:cubicBezTo>
                <a:cubicBezTo>
                  <a:pt x="4408" y="739"/>
                  <a:pt x="4408" y="740"/>
                  <a:pt x="4407" y="740"/>
                </a:cubicBezTo>
                <a:close/>
                <a:moveTo>
                  <a:pt x="4398" y="742"/>
                </a:moveTo>
                <a:cubicBezTo>
                  <a:pt x="4397" y="742"/>
                  <a:pt x="4396" y="742"/>
                  <a:pt x="4396" y="741"/>
                </a:cubicBezTo>
                <a:lnTo>
                  <a:pt x="4397" y="740"/>
                </a:lnTo>
                <a:cubicBezTo>
                  <a:pt x="4397" y="738"/>
                  <a:pt x="4398" y="737"/>
                  <a:pt x="4399" y="737"/>
                </a:cubicBezTo>
                <a:cubicBezTo>
                  <a:pt x="4399" y="737"/>
                  <a:pt x="4400" y="738"/>
                  <a:pt x="4400" y="740"/>
                </a:cubicBezTo>
                <a:cubicBezTo>
                  <a:pt x="4400" y="741"/>
                  <a:pt x="4399" y="742"/>
                  <a:pt x="4398" y="742"/>
                </a:cubicBezTo>
                <a:close/>
                <a:moveTo>
                  <a:pt x="4390" y="744"/>
                </a:moveTo>
                <a:lnTo>
                  <a:pt x="4387" y="744"/>
                </a:lnTo>
                <a:cubicBezTo>
                  <a:pt x="4387" y="743"/>
                  <a:pt x="4388" y="742"/>
                  <a:pt x="4390" y="741"/>
                </a:cubicBezTo>
                <a:lnTo>
                  <a:pt x="4392" y="741"/>
                </a:lnTo>
                <a:cubicBezTo>
                  <a:pt x="4393" y="741"/>
                  <a:pt x="4394" y="741"/>
                  <a:pt x="4394" y="742"/>
                </a:cubicBezTo>
                <a:cubicBezTo>
                  <a:pt x="4394" y="744"/>
                  <a:pt x="4392" y="744"/>
                  <a:pt x="4390" y="744"/>
                </a:cubicBezTo>
                <a:close/>
                <a:moveTo>
                  <a:pt x="4349" y="769"/>
                </a:moveTo>
                <a:cubicBezTo>
                  <a:pt x="4346" y="769"/>
                  <a:pt x="4345" y="769"/>
                  <a:pt x="4345" y="768"/>
                </a:cubicBezTo>
                <a:lnTo>
                  <a:pt x="4346" y="768"/>
                </a:lnTo>
                <a:lnTo>
                  <a:pt x="4350" y="767"/>
                </a:lnTo>
                <a:cubicBezTo>
                  <a:pt x="4352" y="767"/>
                  <a:pt x="4353" y="768"/>
                  <a:pt x="4353" y="768"/>
                </a:cubicBezTo>
                <a:cubicBezTo>
                  <a:pt x="4353" y="769"/>
                  <a:pt x="4352" y="769"/>
                  <a:pt x="4349" y="769"/>
                </a:cubicBezTo>
                <a:close/>
                <a:moveTo>
                  <a:pt x="4359" y="751"/>
                </a:moveTo>
                <a:cubicBezTo>
                  <a:pt x="4358" y="751"/>
                  <a:pt x="4357" y="750"/>
                  <a:pt x="4357" y="750"/>
                </a:cubicBezTo>
                <a:lnTo>
                  <a:pt x="4358" y="750"/>
                </a:lnTo>
                <a:lnTo>
                  <a:pt x="4360" y="749"/>
                </a:lnTo>
                <a:cubicBezTo>
                  <a:pt x="4362" y="749"/>
                  <a:pt x="4363" y="750"/>
                  <a:pt x="4363" y="750"/>
                </a:cubicBezTo>
                <a:cubicBezTo>
                  <a:pt x="4363" y="751"/>
                  <a:pt x="4362" y="751"/>
                  <a:pt x="4359" y="751"/>
                </a:cubicBezTo>
                <a:close/>
                <a:moveTo>
                  <a:pt x="4343" y="746"/>
                </a:moveTo>
                <a:cubicBezTo>
                  <a:pt x="4341" y="746"/>
                  <a:pt x="4340" y="746"/>
                  <a:pt x="4340" y="746"/>
                </a:cubicBezTo>
                <a:cubicBezTo>
                  <a:pt x="4340" y="745"/>
                  <a:pt x="4341" y="745"/>
                  <a:pt x="4344" y="745"/>
                </a:cubicBezTo>
                <a:lnTo>
                  <a:pt x="4346" y="745"/>
                </a:lnTo>
                <a:cubicBezTo>
                  <a:pt x="4346" y="745"/>
                  <a:pt x="4347" y="745"/>
                  <a:pt x="4347" y="746"/>
                </a:cubicBezTo>
                <a:cubicBezTo>
                  <a:pt x="4347" y="746"/>
                  <a:pt x="4345" y="746"/>
                  <a:pt x="4343" y="746"/>
                </a:cubicBezTo>
                <a:close/>
                <a:moveTo>
                  <a:pt x="4589" y="674"/>
                </a:moveTo>
                <a:close/>
                <a:moveTo>
                  <a:pt x="4414" y="737"/>
                </a:moveTo>
                <a:lnTo>
                  <a:pt x="4414" y="737"/>
                </a:lnTo>
                <a:cubicBezTo>
                  <a:pt x="4413" y="737"/>
                  <a:pt x="4412" y="736"/>
                  <a:pt x="4411" y="734"/>
                </a:cubicBezTo>
                <a:cubicBezTo>
                  <a:pt x="4410" y="732"/>
                  <a:pt x="4409" y="732"/>
                  <a:pt x="4409" y="731"/>
                </a:cubicBezTo>
                <a:cubicBezTo>
                  <a:pt x="4409" y="731"/>
                  <a:pt x="4409" y="730"/>
                  <a:pt x="4410" y="730"/>
                </a:cubicBezTo>
                <a:cubicBezTo>
                  <a:pt x="4412" y="730"/>
                  <a:pt x="4413" y="731"/>
                  <a:pt x="4414" y="732"/>
                </a:cubicBezTo>
                <a:cubicBezTo>
                  <a:pt x="4414" y="733"/>
                  <a:pt x="4415" y="735"/>
                  <a:pt x="4415" y="736"/>
                </a:cubicBezTo>
                <a:lnTo>
                  <a:pt x="4414" y="737"/>
                </a:lnTo>
                <a:close/>
                <a:moveTo>
                  <a:pt x="4724" y="633"/>
                </a:moveTo>
                <a:lnTo>
                  <a:pt x="4724" y="609"/>
                </a:lnTo>
                <a:cubicBezTo>
                  <a:pt x="4724" y="609"/>
                  <a:pt x="4725" y="613"/>
                  <a:pt x="4725" y="621"/>
                </a:cubicBezTo>
                <a:lnTo>
                  <a:pt x="4724" y="631"/>
                </a:lnTo>
                <a:cubicBezTo>
                  <a:pt x="4724" y="632"/>
                  <a:pt x="4724" y="633"/>
                  <a:pt x="4724" y="633"/>
                </a:cubicBezTo>
                <a:close/>
                <a:moveTo>
                  <a:pt x="4732" y="676"/>
                </a:moveTo>
                <a:cubicBezTo>
                  <a:pt x="4732" y="676"/>
                  <a:pt x="4731" y="675"/>
                  <a:pt x="4731" y="674"/>
                </a:cubicBezTo>
                <a:lnTo>
                  <a:pt x="4730" y="671"/>
                </a:lnTo>
                <a:cubicBezTo>
                  <a:pt x="4730" y="671"/>
                  <a:pt x="4730" y="670"/>
                  <a:pt x="4731" y="670"/>
                </a:cubicBezTo>
                <a:cubicBezTo>
                  <a:pt x="4731" y="670"/>
                  <a:pt x="4731" y="671"/>
                  <a:pt x="4732" y="671"/>
                </a:cubicBezTo>
                <a:cubicBezTo>
                  <a:pt x="4733" y="672"/>
                  <a:pt x="4733" y="674"/>
                  <a:pt x="4733" y="675"/>
                </a:cubicBezTo>
                <a:cubicBezTo>
                  <a:pt x="4733" y="676"/>
                  <a:pt x="4733" y="676"/>
                  <a:pt x="4732" y="676"/>
                </a:cubicBezTo>
                <a:close/>
                <a:moveTo>
                  <a:pt x="4726" y="654"/>
                </a:moveTo>
                <a:cubicBezTo>
                  <a:pt x="4726" y="654"/>
                  <a:pt x="4725" y="653"/>
                  <a:pt x="4725" y="651"/>
                </a:cubicBezTo>
                <a:cubicBezTo>
                  <a:pt x="4725" y="649"/>
                  <a:pt x="4726" y="648"/>
                  <a:pt x="4726" y="648"/>
                </a:cubicBezTo>
                <a:cubicBezTo>
                  <a:pt x="4727" y="648"/>
                  <a:pt x="4727" y="649"/>
                  <a:pt x="4727" y="651"/>
                </a:cubicBezTo>
                <a:lnTo>
                  <a:pt x="4727" y="654"/>
                </a:lnTo>
                <a:lnTo>
                  <a:pt x="4726" y="654"/>
                </a:lnTo>
                <a:close/>
                <a:moveTo>
                  <a:pt x="4841" y="485"/>
                </a:moveTo>
                <a:lnTo>
                  <a:pt x="4840" y="485"/>
                </a:lnTo>
                <a:cubicBezTo>
                  <a:pt x="4840" y="484"/>
                  <a:pt x="4841" y="483"/>
                  <a:pt x="4844" y="482"/>
                </a:cubicBezTo>
                <a:cubicBezTo>
                  <a:pt x="4846" y="480"/>
                  <a:pt x="4848" y="480"/>
                  <a:pt x="4848" y="480"/>
                </a:cubicBezTo>
                <a:lnTo>
                  <a:pt x="4849" y="480"/>
                </a:lnTo>
                <a:cubicBezTo>
                  <a:pt x="4849" y="481"/>
                  <a:pt x="4848" y="482"/>
                  <a:pt x="4845" y="483"/>
                </a:cubicBezTo>
                <a:cubicBezTo>
                  <a:pt x="4843" y="484"/>
                  <a:pt x="4841" y="485"/>
                  <a:pt x="4841" y="485"/>
                </a:cubicBezTo>
                <a:close/>
                <a:moveTo>
                  <a:pt x="4819" y="497"/>
                </a:moveTo>
                <a:lnTo>
                  <a:pt x="4819" y="497"/>
                </a:lnTo>
                <a:lnTo>
                  <a:pt x="4819" y="497"/>
                </a:lnTo>
                <a:cubicBezTo>
                  <a:pt x="4820" y="496"/>
                  <a:pt x="4821" y="495"/>
                  <a:pt x="4824" y="493"/>
                </a:cubicBezTo>
                <a:cubicBezTo>
                  <a:pt x="4827" y="492"/>
                  <a:pt x="4830" y="490"/>
                  <a:pt x="4833" y="489"/>
                </a:cubicBezTo>
                <a:cubicBezTo>
                  <a:pt x="4836" y="487"/>
                  <a:pt x="4837" y="487"/>
                  <a:pt x="4838" y="487"/>
                </a:cubicBezTo>
                <a:cubicBezTo>
                  <a:pt x="4838" y="487"/>
                  <a:pt x="4835" y="489"/>
                  <a:pt x="4830" y="492"/>
                </a:cubicBezTo>
                <a:cubicBezTo>
                  <a:pt x="4824" y="495"/>
                  <a:pt x="4821" y="497"/>
                  <a:pt x="4819" y="497"/>
                </a:cubicBezTo>
                <a:close/>
                <a:moveTo>
                  <a:pt x="4880" y="456"/>
                </a:moveTo>
                <a:cubicBezTo>
                  <a:pt x="4880" y="456"/>
                  <a:pt x="4881" y="454"/>
                  <a:pt x="4883" y="451"/>
                </a:cubicBezTo>
                <a:cubicBezTo>
                  <a:pt x="4886" y="448"/>
                  <a:pt x="4887" y="447"/>
                  <a:pt x="4888" y="447"/>
                </a:cubicBezTo>
                <a:cubicBezTo>
                  <a:pt x="4888" y="447"/>
                  <a:pt x="4887" y="449"/>
                  <a:pt x="4885" y="451"/>
                </a:cubicBezTo>
                <a:cubicBezTo>
                  <a:pt x="4882" y="455"/>
                  <a:pt x="4880" y="456"/>
                  <a:pt x="4880" y="456"/>
                </a:cubicBezTo>
                <a:close/>
                <a:moveTo>
                  <a:pt x="4895" y="442"/>
                </a:moveTo>
                <a:cubicBezTo>
                  <a:pt x="4895" y="441"/>
                  <a:pt x="4897" y="438"/>
                  <a:pt x="4901" y="433"/>
                </a:cubicBezTo>
                <a:cubicBezTo>
                  <a:pt x="4905" y="429"/>
                  <a:pt x="4908" y="426"/>
                  <a:pt x="4910" y="426"/>
                </a:cubicBezTo>
                <a:cubicBezTo>
                  <a:pt x="4910" y="426"/>
                  <a:pt x="4908" y="429"/>
                  <a:pt x="4903" y="434"/>
                </a:cubicBezTo>
                <a:lnTo>
                  <a:pt x="4895" y="442"/>
                </a:lnTo>
                <a:close/>
                <a:moveTo>
                  <a:pt x="4835" y="397"/>
                </a:moveTo>
                <a:lnTo>
                  <a:pt x="4835" y="393"/>
                </a:lnTo>
                <a:cubicBezTo>
                  <a:pt x="4836" y="391"/>
                  <a:pt x="4838" y="389"/>
                  <a:pt x="4838" y="389"/>
                </a:cubicBezTo>
                <a:cubicBezTo>
                  <a:pt x="4839" y="389"/>
                  <a:pt x="4839" y="390"/>
                  <a:pt x="4839" y="390"/>
                </a:cubicBezTo>
                <a:cubicBezTo>
                  <a:pt x="4839" y="391"/>
                  <a:pt x="4839" y="392"/>
                  <a:pt x="4838" y="393"/>
                </a:cubicBezTo>
                <a:cubicBezTo>
                  <a:pt x="4836" y="395"/>
                  <a:pt x="4835" y="397"/>
                  <a:pt x="4835" y="397"/>
                </a:cubicBezTo>
                <a:close/>
                <a:moveTo>
                  <a:pt x="4913" y="424"/>
                </a:moveTo>
                <a:lnTo>
                  <a:pt x="4912" y="423"/>
                </a:lnTo>
                <a:cubicBezTo>
                  <a:pt x="4912" y="423"/>
                  <a:pt x="4913" y="421"/>
                  <a:pt x="4916" y="419"/>
                </a:cubicBezTo>
                <a:cubicBezTo>
                  <a:pt x="4918" y="416"/>
                  <a:pt x="4920" y="415"/>
                  <a:pt x="4920" y="415"/>
                </a:cubicBezTo>
                <a:cubicBezTo>
                  <a:pt x="4920" y="415"/>
                  <a:pt x="4919" y="417"/>
                  <a:pt x="4917" y="419"/>
                </a:cubicBezTo>
                <a:cubicBezTo>
                  <a:pt x="4914" y="422"/>
                  <a:pt x="4913" y="424"/>
                  <a:pt x="4913" y="424"/>
                </a:cubicBezTo>
                <a:close/>
                <a:moveTo>
                  <a:pt x="5050" y="128"/>
                </a:moveTo>
                <a:cubicBezTo>
                  <a:pt x="5049" y="128"/>
                  <a:pt x="5048" y="127"/>
                  <a:pt x="5045" y="124"/>
                </a:cubicBezTo>
                <a:cubicBezTo>
                  <a:pt x="5041" y="120"/>
                  <a:pt x="5035" y="118"/>
                  <a:pt x="5027" y="118"/>
                </a:cubicBezTo>
                <a:cubicBezTo>
                  <a:pt x="5022" y="118"/>
                  <a:pt x="5017" y="119"/>
                  <a:pt x="5012" y="120"/>
                </a:cubicBezTo>
                <a:cubicBezTo>
                  <a:pt x="5006" y="122"/>
                  <a:pt x="5002" y="122"/>
                  <a:pt x="5000" y="122"/>
                </a:cubicBezTo>
                <a:lnTo>
                  <a:pt x="4999" y="122"/>
                </a:lnTo>
                <a:cubicBezTo>
                  <a:pt x="4999" y="122"/>
                  <a:pt x="5002" y="120"/>
                  <a:pt x="5009" y="118"/>
                </a:cubicBezTo>
                <a:cubicBezTo>
                  <a:pt x="5016" y="116"/>
                  <a:pt x="5022" y="115"/>
                  <a:pt x="5027" y="115"/>
                </a:cubicBezTo>
                <a:cubicBezTo>
                  <a:pt x="5039" y="115"/>
                  <a:pt x="5046" y="119"/>
                  <a:pt x="5049" y="125"/>
                </a:cubicBezTo>
                <a:lnTo>
                  <a:pt x="5051" y="127"/>
                </a:lnTo>
                <a:cubicBezTo>
                  <a:pt x="5051" y="128"/>
                  <a:pt x="5050" y="128"/>
                  <a:pt x="5050" y="128"/>
                </a:cubicBezTo>
                <a:close/>
                <a:moveTo>
                  <a:pt x="5005" y="360"/>
                </a:moveTo>
                <a:cubicBezTo>
                  <a:pt x="5004" y="360"/>
                  <a:pt x="5004" y="359"/>
                  <a:pt x="5004" y="359"/>
                </a:cubicBezTo>
                <a:lnTo>
                  <a:pt x="5004" y="357"/>
                </a:lnTo>
                <a:cubicBezTo>
                  <a:pt x="5006" y="356"/>
                  <a:pt x="5007" y="355"/>
                  <a:pt x="5008" y="355"/>
                </a:cubicBezTo>
                <a:cubicBezTo>
                  <a:pt x="5009" y="355"/>
                  <a:pt x="5009" y="355"/>
                  <a:pt x="5009" y="357"/>
                </a:cubicBezTo>
                <a:cubicBezTo>
                  <a:pt x="5009" y="357"/>
                  <a:pt x="5009" y="357"/>
                  <a:pt x="5008" y="358"/>
                </a:cubicBezTo>
                <a:cubicBezTo>
                  <a:pt x="5008" y="359"/>
                  <a:pt x="5007" y="360"/>
                  <a:pt x="5005" y="360"/>
                </a:cubicBezTo>
                <a:close/>
                <a:moveTo>
                  <a:pt x="5009" y="353"/>
                </a:moveTo>
                <a:cubicBezTo>
                  <a:pt x="5009" y="353"/>
                  <a:pt x="5008" y="353"/>
                  <a:pt x="5008" y="352"/>
                </a:cubicBezTo>
                <a:cubicBezTo>
                  <a:pt x="5008" y="352"/>
                  <a:pt x="5009" y="351"/>
                  <a:pt x="5009" y="350"/>
                </a:cubicBezTo>
                <a:cubicBezTo>
                  <a:pt x="5009" y="349"/>
                  <a:pt x="5011" y="348"/>
                  <a:pt x="5012" y="348"/>
                </a:cubicBezTo>
                <a:cubicBezTo>
                  <a:pt x="5013" y="348"/>
                  <a:pt x="5013" y="349"/>
                  <a:pt x="5013" y="350"/>
                </a:cubicBezTo>
                <a:lnTo>
                  <a:pt x="5013" y="350"/>
                </a:lnTo>
                <a:cubicBezTo>
                  <a:pt x="5012" y="352"/>
                  <a:pt x="5011" y="353"/>
                  <a:pt x="5009" y="353"/>
                </a:cubicBezTo>
                <a:close/>
                <a:moveTo>
                  <a:pt x="4868" y="772"/>
                </a:moveTo>
                <a:cubicBezTo>
                  <a:pt x="4854" y="772"/>
                  <a:pt x="4842" y="771"/>
                  <a:pt x="4832" y="767"/>
                </a:cubicBezTo>
                <a:cubicBezTo>
                  <a:pt x="4819" y="764"/>
                  <a:pt x="4812" y="762"/>
                  <a:pt x="4812" y="762"/>
                </a:cubicBezTo>
                <a:cubicBezTo>
                  <a:pt x="4812" y="762"/>
                  <a:pt x="4811" y="762"/>
                  <a:pt x="4811" y="762"/>
                </a:cubicBezTo>
                <a:cubicBezTo>
                  <a:pt x="4810" y="761"/>
                  <a:pt x="4809" y="761"/>
                  <a:pt x="4809" y="760"/>
                </a:cubicBezTo>
                <a:cubicBezTo>
                  <a:pt x="4809" y="759"/>
                  <a:pt x="4809" y="759"/>
                  <a:pt x="4807" y="759"/>
                </a:cubicBezTo>
                <a:cubicBezTo>
                  <a:pt x="4803" y="759"/>
                  <a:pt x="4798" y="756"/>
                  <a:pt x="4790" y="751"/>
                </a:cubicBezTo>
                <a:cubicBezTo>
                  <a:pt x="4782" y="746"/>
                  <a:pt x="4776" y="740"/>
                  <a:pt x="4770" y="734"/>
                </a:cubicBezTo>
                <a:cubicBezTo>
                  <a:pt x="4748" y="706"/>
                  <a:pt x="4738" y="677"/>
                  <a:pt x="4738" y="649"/>
                </a:cubicBezTo>
                <a:cubicBezTo>
                  <a:pt x="4738" y="637"/>
                  <a:pt x="4737" y="632"/>
                  <a:pt x="4736" y="631"/>
                </a:cubicBezTo>
                <a:lnTo>
                  <a:pt x="4736" y="631"/>
                </a:lnTo>
                <a:cubicBezTo>
                  <a:pt x="4736" y="631"/>
                  <a:pt x="4735" y="630"/>
                  <a:pt x="4735" y="627"/>
                </a:cubicBezTo>
                <a:cubicBezTo>
                  <a:pt x="4735" y="623"/>
                  <a:pt x="4736" y="615"/>
                  <a:pt x="4738" y="604"/>
                </a:cubicBezTo>
                <a:cubicBezTo>
                  <a:pt x="4739" y="593"/>
                  <a:pt x="4741" y="583"/>
                  <a:pt x="4743" y="573"/>
                </a:cubicBezTo>
                <a:cubicBezTo>
                  <a:pt x="4745" y="563"/>
                  <a:pt x="4747" y="556"/>
                  <a:pt x="4749" y="553"/>
                </a:cubicBezTo>
                <a:lnTo>
                  <a:pt x="4750" y="551"/>
                </a:lnTo>
                <a:cubicBezTo>
                  <a:pt x="4751" y="551"/>
                  <a:pt x="4751" y="551"/>
                  <a:pt x="4751" y="552"/>
                </a:cubicBezTo>
                <a:lnTo>
                  <a:pt x="4750" y="557"/>
                </a:lnTo>
                <a:cubicBezTo>
                  <a:pt x="4751" y="557"/>
                  <a:pt x="4751" y="555"/>
                  <a:pt x="4753" y="552"/>
                </a:cubicBezTo>
                <a:cubicBezTo>
                  <a:pt x="4759" y="532"/>
                  <a:pt x="4762" y="519"/>
                  <a:pt x="4762" y="513"/>
                </a:cubicBezTo>
                <a:cubicBezTo>
                  <a:pt x="4762" y="511"/>
                  <a:pt x="4762" y="509"/>
                  <a:pt x="4760" y="509"/>
                </a:cubicBezTo>
                <a:cubicBezTo>
                  <a:pt x="4759" y="509"/>
                  <a:pt x="4759" y="509"/>
                  <a:pt x="4758" y="510"/>
                </a:cubicBezTo>
                <a:cubicBezTo>
                  <a:pt x="4757" y="510"/>
                  <a:pt x="4756" y="508"/>
                  <a:pt x="4756" y="505"/>
                </a:cubicBezTo>
                <a:cubicBezTo>
                  <a:pt x="4756" y="504"/>
                  <a:pt x="4756" y="503"/>
                  <a:pt x="4757" y="503"/>
                </a:cubicBezTo>
                <a:cubicBezTo>
                  <a:pt x="4757" y="502"/>
                  <a:pt x="4758" y="502"/>
                  <a:pt x="4758" y="501"/>
                </a:cubicBezTo>
                <a:lnTo>
                  <a:pt x="4759" y="501"/>
                </a:lnTo>
                <a:cubicBezTo>
                  <a:pt x="4759" y="501"/>
                  <a:pt x="4760" y="500"/>
                  <a:pt x="4760" y="499"/>
                </a:cubicBezTo>
                <a:cubicBezTo>
                  <a:pt x="4760" y="498"/>
                  <a:pt x="4760" y="497"/>
                  <a:pt x="4760" y="497"/>
                </a:cubicBezTo>
                <a:cubicBezTo>
                  <a:pt x="4761" y="496"/>
                  <a:pt x="4761" y="495"/>
                  <a:pt x="4763" y="493"/>
                </a:cubicBezTo>
                <a:cubicBezTo>
                  <a:pt x="4763" y="493"/>
                  <a:pt x="4764" y="495"/>
                  <a:pt x="4764" y="498"/>
                </a:cubicBezTo>
                <a:cubicBezTo>
                  <a:pt x="4764" y="501"/>
                  <a:pt x="4764" y="503"/>
                  <a:pt x="4766" y="503"/>
                </a:cubicBezTo>
                <a:cubicBezTo>
                  <a:pt x="4767" y="503"/>
                  <a:pt x="4768" y="502"/>
                  <a:pt x="4769" y="500"/>
                </a:cubicBezTo>
                <a:lnTo>
                  <a:pt x="4770" y="498"/>
                </a:lnTo>
                <a:cubicBezTo>
                  <a:pt x="4770" y="496"/>
                  <a:pt x="4769" y="495"/>
                  <a:pt x="4767" y="493"/>
                </a:cubicBezTo>
                <a:cubicBezTo>
                  <a:pt x="4765" y="491"/>
                  <a:pt x="4764" y="490"/>
                  <a:pt x="4764" y="487"/>
                </a:cubicBezTo>
                <a:cubicBezTo>
                  <a:pt x="4764" y="487"/>
                  <a:pt x="4764" y="485"/>
                  <a:pt x="4765" y="485"/>
                </a:cubicBezTo>
                <a:cubicBezTo>
                  <a:pt x="4765" y="484"/>
                  <a:pt x="4766" y="483"/>
                  <a:pt x="4767" y="483"/>
                </a:cubicBezTo>
                <a:cubicBezTo>
                  <a:pt x="4768" y="483"/>
                  <a:pt x="4769" y="483"/>
                  <a:pt x="4770" y="482"/>
                </a:cubicBezTo>
                <a:cubicBezTo>
                  <a:pt x="4771" y="482"/>
                  <a:pt x="4771" y="482"/>
                  <a:pt x="4771" y="481"/>
                </a:cubicBezTo>
                <a:cubicBezTo>
                  <a:pt x="4771" y="480"/>
                  <a:pt x="4770" y="479"/>
                  <a:pt x="4769" y="479"/>
                </a:cubicBezTo>
                <a:cubicBezTo>
                  <a:pt x="4768" y="479"/>
                  <a:pt x="4767" y="478"/>
                  <a:pt x="4767" y="477"/>
                </a:cubicBezTo>
                <a:cubicBezTo>
                  <a:pt x="4767" y="475"/>
                  <a:pt x="4768" y="472"/>
                  <a:pt x="4770" y="468"/>
                </a:cubicBezTo>
                <a:lnTo>
                  <a:pt x="4772" y="463"/>
                </a:lnTo>
                <a:cubicBezTo>
                  <a:pt x="4771" y="463"/>
                  <a:pt x="4771" y="463"/>
                  <a:pt x="4771" y="462"/>
                </a:cubicBezTo>
                <a:cubicBezTo>
                  <a:pt x="4771" y="462"/>
                  <a:pt x="4772" y="461"/>
                  <a:pt x="4774" y="459"/>
                </a:cubicBezTo>
                <a:cubicBezTo>
                  <a:pt x="4775" y="457"/>
                  <a:pt x="4776" y="455"/>
                  <a:pt x="4776" y="452"/>
                </a:cubicBezTo>
                <a:lnTo>
                  <a:pt x="4776" y="450"/>
                </a:lnTo>
                <a:cubicBezTo>
                  <a:pt x="4776" y="448"/>
                  <a:pt x="4777" y="447"/>
                  <a:pt x="4779" y="446"/>
                </a:cubicBezTo>
                <a:cubicBezTo>
                  <a:pt x="4781" y="445"/>
                  <a:pt x="4781" y="445"/>
                  <a:pt x="4781" y="444"/>
                </a:cubicBezTo>
                <a:cubicBezTo>
                  <a:pt x="4781" y="444"/>
                  <a:pt x="4781" y="443"/>
                  <a:pt x="4779" y="442"/>
                </a:cubicBezTo>
                <a:cubicBezTo>
                  <a:pt x="4778" y="441"/>
                  <a:pt x="4778" y="441"/>
                  <a:pt x="4778" y="441"/>
                </a:cubicBezTo>
                <a:cubicBezTo>
                  <a:pt x="4778" y="440"/>
                  <a:pt x="4778" y="440"/>
                  <a:pt x="4779" y="440"/>
                </a:cubicBezTo>
                <a:cubicBezTo>
                  <a:pt x="4780" y="440"/>
                  <a:pt x="4781" y="439"/>
                  <a:pt x="4781" y="438"/>
                </a:cubicBezTo>
                <a:lnTo>
                  <a:pt x="4780" y="436"/>
                </a:lnTo>
                <a:cubicBezTo>
                  <a:pt x="4780" y="436"/>
                  <a:pt x="4780" y="436"/>
                  <a:pt x="4780" y="436"/>
                </a:cubicBezTo>
                <a:lnTo>
                  <a:pt x="4782" y="437"/>
                </a:lnTo>
                <a:cubicBezTo>
                  <a:pt x="4783" y="438"/>
                  <a:pt x="4784" y="439"/>
                  <a:pt x="4784" y="441"/>
                </a:cubicBezTo>
                <a:cubicBezTo>
                  <a:pt x="4784" y="445"/>
                  <a:pt x="4782" y="451"/>
                  <a:pt x="4778" y="459"/>
                </a:cubicBezTo>
                <a:cubicBezTo>
                  <a:pt x="4774" y="465"/>
                  <a:pt x="4773" y="470"/>
                  <a:pt x="4773" y="471"/>
                </a:cubicBezTo>
                <a:cubicBezTo>
                  <a:pt x="4773" y="472"/>
                  <a:pt x="4773" y="472"/>
                  <a:pt x="4773" y="472"/>
                </a:cubicBezTo>
                <a:cubicBezTo>
                  <a:pt x="4775" y="471"/>
                  <a:pt x="4777" y="469"/>
                  <a:pt x="4779" y="464"/>
                </a:cubicBezTo>
                <a:cubicBezTo>
                  <a:pt x="4781" y="460"/>
                  <a:pt x="4782" y="456"/>
                  <a:pt x="4783" y="451"/>
                </a:cubicBezTo>
                <a:cubicBezTo>
                  <a:pt x="4784" y="446"/>
                  <a:pt x="4785" y="442"/>
                  <a:pt x="4785" y="439"/>
                </a:cubicBezTo>
                <a:cubicBezTo>
                  <a:pt x="4785" y="438"/>
                  <a:pt x="4785" y="437"/>
                  <a:pt x="4785" y="436"/>
                </a:cubicBezTo>
                <a:cubicBezTo>
                  <a:pt x="4783" y="433"/>
                  <a:pt x="4782" y="432"/>
                  <a:pt x="4782" y="431"/>
                </a:cubicBezTo>
                <a:lnTo>
                  <a:pt x="4784" y="432"/>
                </a:lnTo>
                <a:cubicBezTo>
                  <a:pt x="4786" y="432"/>
                  <a:pt x="4787" y="430"/>
                  <a:pt x="4787" y="426"/>
                </a:cubicBezTo>
                <a:cubicBezTo>
                  <a:pt x="4787" y="425"/>
                  <a:pt x="4787" y="424"/>
                  <a:pt x="4787" y="424"/>
                </a:cubicBezTo>
                <a:cubicBezTo>
                  <a:pt x="4786" y="423"/>
                  <a:pt x="4786" y="423"/>
                  <a:pt x="4786" y="422"/>
                </a:cubicBezTo>
                <a:lnTo>
                  <a:pt x="4789" y="423"/>
                </a:lnTo>
                <a:cubicBezTo>
                  <a:pt x="4790" y="423"/>
                  <a:pt x="4790" y="423"/>
                  <a:pt x="4790" y="422"/>
                </a:cubicBezTo>
                <a:lnTo>
                  <a:pt x="4789" y="416"/>
                </a:lnTo>
                <a:cubicBezTo>
                  <a:pt x="4789" y="415"/>
                  <a:pt x="4789" y="415"/>
                  <a:pt x="4789" y="415"/>
                </a:cubicBezTo>
                <a:lnTo>
                  <a:pt x="4792" y="419"/>
                </a:lnTo>
                <a:cubicBezTo>
                  <a:pt x="4792" y="419"/>
                  <a:pt x="4792" y="419"/>
                  <a:pt x="4792" y="418"/>
                </a:cubicBezTo>
                <a:lnTo>
                  <a:pt x="4791" y="413"/>
                </a:lnTo>
                <a:cubicBezTo>
                  <a:pt x="4791" y="412"/>
                  <a:pt x="4792" y="411"/>
                  <a:pt x="4792" y="411"/>
                </a:cubicBezTo>
                <a:lnTo>
                  <a:pt x="4793" y="411"/>
                </a:lnTo>
                <a:cubicBezTo>
                  <a:pt x="4794" y="411"/>
                  <a:pt x="4795" y="410"/>
                  <a:pt x="4796" y="408"/>
                </a:cubicBezTo>
                <a:cubicBezTo>
                  <a:pt x="4798" y="406"/>
                  <a:pt x="4798" y="404"/>
                  <a:pt x="4798" y="402"/>
                </a:cubicBezTo>
                <a:cubicBezTo>
                  <a:pt x="4798" y="401"/>
                  <a:pt x="4798" y="400"/>
                  <a:pt x="4798" y="399"/>
                </a:cubicBezTo>
                <a:cubicBezTo>
                  <a:pt x="4798" y="398"/>
                  <a:pt x="4797" y="398"/>
                  <a:pt x="4797" y="397"/>
                </a:cubicBezTo>
                <a:lnTo>
                  <a:pt x="4799" y="397"/>
                </a:lnTo>
                <a:cubicBezTo>
                  <a:pt x="4801" y="397"/>
                  <a:pt x="4802" y="396"/>
                  <a:pt x="4803" y="394"/>
                </a:cubicBezTo>
                <a:cubicBezTo>
                  <a:pt x="4805" y="392"/>
                  <a:pt x="4805" y="390"/>
                  <a:pt x="4805" y="389"/>
                </a:cubicBezTo>
                <a:cubicBezTo>
                  <a:pt x="4805" y="388"/>
                  <a:pt x="4805" y="388"/>
                  <a:pt x="4805" y="388"/>
                </a:cubicBezTo>
                <a:cubicBezTo>
                  <a:pt x="4804" y="388"/>
                  <a:pt x="4804" y="389"/>
                  <a:pt x="4803" y="390"/>
                </a:cubicBezTo>
                <a:cubicBezTo>
                  <a:pt x="4801" y="392"/>
                  <a:pt x="4800" y="393"/>
                  <a:pt x="4800" y="393"/>
                </a:cubicBezTo>
                <a:lnTo>
                  <a:pt x="4802" y="387"/>
                </a:lnTo>
                <a:cubicBezTo>
                  <a:pt x="4805" y="381"/>
                  <a:pt x="4807" y="378"/>
                  <a:pt x="4808" y="378"/>
                </a:cubicBezTo>
                <a:lnTo>
                  <a:pt x="4806" y="384"/>
                </a:lnTo>
                <a:cubicBezTo>
                  <a:pt x="4806" y="384"/>
                  <a:pt x="4806" y="385"/>
                  <a:pt x="4807" y="385"/>
                </a:cubicBezTo>
                <a:cubicBezTo>
                  <a:pt x="4807" y="385"/>
                  <a:pt x="4808" y="383"/>
                  <a:pt x="4810" y="380"/>
                </a:cubicBezTo>
                <a:lnTo>
                  <a:pt x="4811" y="376"/>
                </a:lnTo>
                <a:cubicBezTo>
                  <a:pt x="4811" y="376"/>
                  <a:pt x="4810" y="377"/>
                  <a:pt x="4810" y="377"/>
                </a:cubicBezTo>
                <a:cubicBezTo>
                  <a:pt x="4809" y="377"/>
                  <a:pt x="4809" y="378"/>
                  <a:pt x="4808" y="378"/>
                </a:cubicBezTo>
                <a:lnTo>
                  <a:pt x="4808" y="377"/>
                </a:lnTo>
                <a:cubicBezTo>
                  <a:pt x="4808" y="376"/>
                  <a:pt x="4809" y="374"/>
                  <a:pt x="4810" y="370"/>
                </a:cubicBezTo>
                <a:cubicBezTo>
                  <a:pt x="4811" y="367"/>
                  <a:pt x="4813" y="366"/>
                  <a:pt x="4813" y="366"/>
                </a:cubicBezTo>
                <a:cubicBezTo>
                  <a:pt x="4814" y="366"/>
                  <a:pt x="4814" y="366"/>
                  <a:pt x="4815" y="367"/>
                </a:cubicBezTo>
                <a:cubicBezTo>
                  <a:pt x="4815" y="367"/>
                  <a:pt x="4815" y="368"/>
                  <a:pt x="4816" y="368"/>
                </a:cubicBezTo>
                <a:cubicBezTo>
                  <a:pt x="4816" y="368"/>
                  <a:pt x="4816" y="367"/>
                  <a:pt x="4817" y="366"/>
                </a:cubicBezTo>
                <a:cubicBezTo>
                  <a:pt x="4818" y="365"/>
                  <a:pt x="4818" y="364"/>
                  <a:pt x="4818" y="364"/>
                </a:cubicBezTo>
                <a:cubicBezTo>
                  <a:pt x="4818" y="363"/>
                  <a:pt x="4818" y="363"/>
                  <a:pt x="4817" y="363"/>
                </a:cubicBezTo>
                <a:lnTo>
                  <a:pt x="4816" y="364"/>
                </a:lnTo>
                <a:cubicBezTo>
                  <a:pt x="4815" y="364"/>
                  <a:pt x="4815" y="363"/>
                  <a:pt x="4815" y="363"/>
                </a:cubicBezTo>
                <a:cubicBezTo>
                  <a:pt x="4815" y="362"/>
                  <a:pt x="4815" y="361"/>
                  <a:pt x="4816" y="360"/>
                </a:cubicBezTo>
                <a:cubicBezTo>
                  <a:pt x="4817" y="359"/>
                  <a:pt x="4818" y="359"/>
                  <a:pt x="4819" y="359"/>
                </a:cubicBezTo>
                <a:cubicBezTo>
                  <a:pt x="4820" y="359"/>
                  <a:pt x="4820" y="358"/>
                  <a:pt x="4821" y="357"/>
                </a:cubicBezTo>
                <a:cubicBezTo>
                  <a:pt x="4823" y="355"/>
                  <a:pt x="4825" y="353"/>
                  <a:pt x="4825" y="351"/>
                </a:cubicBezTo>
                <a:cubicBezTo>
                  <a:pt x="4825" y="351"/>
                  <a:pt x="4824" y="351"/>
                  <a:pt x="4824" y="351"/>
                </a:cubicBezTo>
                <a:cubicBezTo>
                  <a:pt x="4824" y="351"/>
                  <a:pt x="4823" y="351"/>
                  <a:pt x="4823" y="351"/>
                </a:cubicBezTo>
                <a:cubicBezTo>
                  <a:pt x="4822" y="352"/>
                  <a:pt x="4822" y="352"/>
                  <a:pt x="4821" y="352"/>
                </a:cubicBezTo>
                <a:cubicBezTo>
                  <a:pt x="4821" y="352"/>
                  <a:pt x="4821" y="352"/>
                  <a:pt x="4821" y="351"/>
                </a:cubicBezTo>
                <a:cubicBezTo>
                  <a:pt x="4821" y="351"/>
                  <a:pt x="4821" y="349"/>
                  <a:pt x="4823" y="345"/>
                </a:cubicBezTo>
                <a:cubicBezTo>
                  <a:pt x="4828" y="336"/>
                  <a:pt x="4831" y="330"/>
                  <a:pt x="4834" y="325"/>
                </a:cubicBezTo>
                <a:cubicBezTo>
                  <a:pt x="4837" y="321"/>
                  <a:pt x="4839" y="319"/>
                  <a:pt x="4839" y="319"/>
                </a:cubicBezTo>
                <a:cubicBezTo>
                  <a:pt x="4840" y="319"/>
                  <a:pt x="4840" y="319"/>
                  <a:pt x="4840" y="320"/>
                </a:cubicBezTo>
                <a:cubicBezTo>
                  <a:pt x="4840" y="321"/>
                  <a:pt x="4840" y="323"/>
                  <a:pt x="4838" y="324"/>
                </a:cubicBezTo>
                <a:cubicBezTo>
                  <a:pt x="4837" y="326"/>
                  <a:pt x="4836" y="328"/>
                  <a:pt x="4835" y="330"/>
                </a:cubicBezTo>
                <a:cubicBezTo>
                  <a:pt x="4833" y="333"/>
                  <a:pt x="4832" y="335"/>
                  <a:pt x="4831" y="337"/>
                </a:cubicBezTo>
                <a:cubicBezTo>
                  <a:pt x="4830" y="339"/>
                  <a:pt x="4829" y="340"/>
                  <a:pt x="4829" y="341"/>
                </a:cubicBezTo>
                <a:lnTo>
                  <a:pt x="4831" y="340"/>
                </a:lnTo>
                <a:cubicBezTo>
                  <a:pt x="4834" y="336"/>
                  <a:pt x="4838" y="331"/>
                  <a:pt x="4841" y="324"/>
                </a:cubicBezTo>
                <a:cubicBezTo>
                  <a:pt x="4844" y="318"/>
                  <a:pt x="4845" y="313"/>
                  <a:pt x="4845" y="310"/>
                </a:cubicBezTo>
                <a:lnTo>
                  <a:pt x="4845" y="309"/>
                </a:lnTo>
                <a:cubicBezTo>
                  <a:pt x="4845" y="306"/>
                  <a:pt x="4846" y="305"/>
                  <a:pt x="4846" y="305"/>
                </a:cubicBezTo>
                <a:lnTo>
                  <a:pt x="4849" y="306"/>
                </a:lnTo>
                <a:cubicBezTo>
                  <a:pt x="4850" y="306"/>
                  <a:pt x="4852" y="305"/>
                  <a:pt x="4853" y="302"/>
                </a:cubicBezTo>
                <a:cubicBezTo>
                  <a:pt x="4855" y="300"/>
                  <a:pt x="4855" y="298"/>
                  <a:pt x="4855" y="298"/>
                </a:cubicBezTo>
                <a:cubicBezTo>
                  <a:pt x="4855" y="298"/>
                  <a:pt x="4854" y="299"/>
                  <a:pt x="4853" y="300"/>
                </a:cubicBezTo>
                <a:cubicBezTo>
                  <a:pt x="4851" y="302"/>
                  <a:pt x="4850" y="303"/>
                  <a:pt x="4849" y="303"/>
                </a:cubicBezTo>
                <a:cubicBezTo>
                  <a:pt x="4849" y="303"/>
                  <a:pt x="4849" y="303"/>
                  <a:pt x="4849" y="302"/>
                </a:cubicBezTo>
                <a:cubicBezTo>
                  <a:pt x="4848" y="302"/>
                  <a:pt x="4848" y="301"/>
                  <a:pt x="4848" y="301"/>
                </a:cubicBezTo>
                <a:cubicBezTo>
                  <a:pt x="4847" y="301"/>
                  <a:pt x="4845" y="303"/>
                  <a:pt x="4843" y="306"/>
                </a:cubicBezTo>
                <a:cubicBezTo>
                  <a:pt x="4841" y="309"/>
                  <a:pt x="4840" y="312"/>
                  <a:pt x="4840" y="313"/>
                </a:cubicBezTo>
                <a:cubicBezTo>
                  <a:pt x="4840" y="313"/>
                  <a:pt x="4840" y="313"/>
                  <a:pt x="4840" y="313"/>
                </a:cubicBezTo>
                <a:cubicBezTo>
                  <a:pt x="4841" y="313"/>
                  <a:pt x="4841" y="313"/>
                  <a:pt x="4841" y="312"/>
                </a:cubicBezTo>
                <a:cubicBezTo>
                  <a:pt x="4842" y="312"/>
                  <a:pt x="4842" y="312"/>
                  <a:pt x="4843" y="312"/>
                </a:cubicBezTo>
                <a:cubicBezTo>
                  <a:pt x="4843" y="312"/>
                  <a:pt x="4844" y="312"/>
                  <a:pt x="4844" y="313"/>
                </a:cubicBezTo>
                <a:cubicBezTo>
                  <a:pt x="4844" y="316"/>
                  <a:pt x="4842" y="317"/>
                  <a:pt x="4839" y="317"/>
                </a:cubicBezTo>
                <a:lnTo>
                  <a:pt x="4839" y="317"/>
                </a:lnTo>
                <a:cubicBezTo>
                  <a:pt x="4836" y="317"/>
                  <a:pt x="4833" y="322"/>
                  <a:pt x="4827" y="333"/>
                </a:cubicBezTo>
                <a:cubicBezTo>
                  <a:pt x="4821" y="344"/>
                  <a:pt x="4818" y="349"/>
                  <a:pt x="4816" y="349"/>
                </a:cubicBezTo>
                <a:lnTo>
                  <a:pt x="4815" y="349"/>
                </a:lnTo>
                <a:cubicBezTo>
                  <a:pt x="4815" y="349"/>
                  <a:pt x="4814" y="350"/>
                  <a:pt x="4814" y="351"/>
                </a:cubicBezTo>
                <a:cubicBezTo>
                  <a:pt x="4813" y="355"/>
                  <a:pt x="4812" y="358"/>
                  <a:pt x="4812" y="358"/>
                </a:cubicBezTo>
                <a:cubicBezTo>
                  <a:pt x="4812" y="359"/>
                  <a:pt x="4811" y="359"/>
                  <a:pt x="4811" y="360"/>
                </a:cubicBezTo>
                <a:cubicBezTo>
                  <a:pt x="4811" y="361"/>
                  <a:pt x="4811" y="361"/>
                  <a:pt x="4811" y="362"/>
                </a:cubicBezTo>
                <a:cubicBezTo>
                  <a:pt x="4811" y="362"/>
                  <a:pt x="4810" y="363"/>
                  <a:pt x="4809" y="366"/>
                </a:cubicBezTo>
                <a:cubicBezTo>
                  <a:pt x="4808" y="369"/>
                  <a:pt x="4806" y="372"/>
                  <a:pt x="4804" y="375"/>
                </a:cubicBezTo>
                <a:cubicBezTo>
                  <a:pt x="4800" y="383"/>
                  <a:pt x="4797" y="388"/>
                  <a:pt x="4796" y="391"/>
                </a:cubicBezTo>
                <a:cubicBezTo>
                  <a:pt x="4793" y="400"/>
                  <a:pt x="4789" y="409"/>
                  <a:pt x="4785" y="418"/>
                </a:cubicBezTo>
                <a:cubicBezTo>
                  <a:pt x="4782" y="424"/>
                  <a:pt x="4779" y="430"/>
                  <a:pt x="4777" y="436"/>
                </a:cubicBezTo>
                <a:cubicBezTo>
                  <a:pt x="4774" y="443"/>
                  <a:pt x="4772" y="448"/>
                  <a:pt x="4771" y="453"/>
                </a:cubicBezTo>
                <a:cubicBezTo>
                  <a:pt x="4769" y="457"/>
                  <a:pt x="4768" y="460"/>
                  <a:pt x="4767" y="463"/>
                </a:cubicBezTo>
                <a:cubicBezTo>
                  <a:pt x="4766" y="466"/>
                  <a:pt x="4764" y="468"/>
                  <a:pt x="4764" y="469"/>
                </a:cubicBezTo>
                <a:cubicBezTo>
                  <a:pt x="4763" y="470"/>
                  <a:pt x="4762" y="471"/>
                  <a:pt x="4762" y="473"/>
                </a:cubicBezTo>
                <a:cubicBezTo>
                  <a:pt x="4762" y="474"/>
                  <a:pt x="4762" y="475"/>
                  <a:pt x="4761" y="477"/>
                </a:cubicBezTo>
                <a:lnTo>
                  <a:pt x="4758" y="487"/>
                </a:lnTo>
                <a:cubicBezTo>
                  <a:pt x="4754" y="494"/>
                  <a:pt x="4752" y="499"/>
                  <a:pt x="4752" y="502"/>
                </a:cubicBezTo>
                <a:cubicBezTo>
                  <a:pt x="4751" y="505"/>
                  <a:pt x="4750" y="507"/>
                  <a:pt x="4749" y="507"/>
                </a:cubicBezTo>
                <a:lnTo>
                  <a:pt x="4748" y="506"/>
                </a:lnTo>
                <a:lnTo>
                  <a:pt x="4748" y="506"/>
                </a:lnTo>
                <a:cubicBezTo>
                  <a:pt x="4748" y="504"/>
                  <a:pt x="4749" y="497"/>
                  <a:pt x="4753" y="486"/>
                </a:cubicBezTo>
                <a:cubicBezTo>
                  <a:pt x="4756" y="475"/>
                  <a:pt x="4760" y="463"/>
                  <a:pt x="4766" y="448"/>
                </a:cubicBezTo>
                <a:cubicBezTo>
                  <a:pt x="4771" y="434"/>
                  <a:pt x="4778" y="416"/>
                  <a:pt x="4789" y="394"/>
                </a:cubicBezTo>
                <a:cubicBezTo>
                  <a:pt x="4799" y="372"/>
                  <a:pt x="4809" y="352"/>
                  <a:pt x="4819" y="334"/>
                </a:cubicBezTo>
                <a:cubicBezTo>
                  <a:pt x="4829" y="316"/>
                  <a:pt x="4835" y="307"/>
                  <a:pt x="4836" y="307"/>
                </a:cubicBezTo>
                <a:cubicBezTo>
                  <a:pt x="4837" y="307"/>
                  <a:pt x="4837" y="307"/>
                  <a:pt x="4837" y="306"/>
                </a:cubicBezTo>
                <a:lnTo>
                  <a:pt x="4837" y="304"/>
                </a:lnTo>
                <a:cubicBezTo>
                  <a:pt x="4837" y="304"/>
                  <a:pt x="4838" y="302"/>
                  <a:pt x="4840" y="301"/>
                </a:cubicBezTo>
                <a:cubicBezTo>
                  <a:pt x="4841" y="301"/>
                  <a:pt x="4842" y="300"/>
                  <a:pt x="4842" y="299"/>
                </a:cubicBezTo>
                <a:cubicBezTo>
                  <a:pt x="4842" y="298"/>
                  <a:pt x="4841" y="298"/>
                  <a:pt x="4841" y="297"/>
                </a:cubicBezTo>
                <a:cubicBezTo>
                  <a:pt x="4841" y="297"/>
                  <a:pt x="4841" y="296"/>
                  <a:pt x="4841" y="296"/>
                </a:cubicBezTo>
                <a:lnTo>
                  <a:pt x="4842" y="296"/>
                </a:lnTo>
                <a:cubicBezTo>
                  <a:pt x="4844" y="296"/>
                  <a:pt x="4845" y="294"/>
                  <a:pt x="4847" y="290"/>
                </a:cubicBezTo>
                <a:cubicBezTo>
                  <a:pt x="4848" y="286"/>
                  <a:pt x="4850" y="284"/>
                  <a:pt x="4851" y="284"/>
                </a:cubicBezTo>
                <a:cubicBezTo>
                  <a:pt x="4852" y="284"/>
                  <a:pt x="4853" y="284"/>
                  <a:pt x="4853" y="283"/>
                </a:cubicBezTo>
                <a:lnTo>
                  <a:pt x="4852" y="282"/>
                </a:lnTo>
                <a:cubicBezTo>
                  <a:pt x="4852" y="281"/>
                  <a:pt x="4853" y="279"/>
                  <a:pt x="4854" y="279"/>
                </a:cubicBezTo>
                <a:cubicBezTo>
                  <a:pt x="4855" y="279"/>
                  <a:pt x="4856" y="278"/>
                  <a:pt x="4856" y="278"/>
                </a:cubicBezTo>
                <a:cubicBezTo>
                  <a:pt x="4856" y="277"/>
                  <a:pt x="4856" y="276"/>
                  <a:pt x="4857" y="274"/>
                </a:cubicBezTo>
                <a:cubicBezTo>
                  <a:pt x="4857" y="273"/>
                  <a:pt x="4858" y="271"/>
                  <a:pt x="4860" y="269"/>
                </a:cubicBezTo>
                <a:cubicBezTo>
                  <a:pt x="4862" y="268"/>
                  <a:pt x="4863" y="267"/>
                  <a:pt x="4863" y="267"/>
                </a:cubicBezTo>
                <a:lnTo>
                  <a:pt x="4861" y="267"/>
                </a:lnTo>
                <a:cubicBezTo>
                  <a:pt x="4861" y="266"/>
                  <a:pt x="4862" y="264"/>
                  <a:pt x="4864" y="262"/>
                </a:cubicBezTo>
                <a:cubicBezTo>
                  <a:pt x="4866" y="259"/>
                  <a:pt x="4867" y="257"/>
                  <a:pt x="4868" y="256"/>
                </a:cubicBezTo>
                <a:lnTo>
                  <a:pt x="4871" y="254"/>
                </a:lnTo>
                <a:cubicBezTo>
                  <a:pt x="4871" y="254"/>
                  <a:pt x="4870" y="255"/>
                  <a:pt x="4870" y="257"/>
                </a:cubicBezTo>
                <a:cubicBezTo>
                  <a:pt x="4870" y="259"/>
                  <a:pt x="4870" y="260"/>
                  <a:pt x="4872" y="260"/>
                </a:cubicBezTo>
                <a:cubicBezTo>
                  <a:pt x="4872" y="260"/>
                  <a:pt x="4872" y="259"/>
                  <a:pt x="4872" y="256"/>
                </a:cubicBezTo>
                <a:cubicBezTo>
                  <a:pt x="4872" y="254"/>
                  <a:pt x="4874" y="250"/>
                  <a:pt x="4878" y="244"/>
                </a:cubicBezTo>
                <a:cubicBezTo>
                  <a:pt x="4881" y="238"/>
                  <a:pt x="4885" y="232"/>
                  <a:pt x="4889" y="228"/>
                </a:cubicBezTo>
                <a:cubicBezTo>
                  <a:pt x="4893" y="223"/>
                  <a:pt x="4896" y="220"/>
                  <a:pt x="4897" y="220"/>
                </a:cubicBezTo>
                <a:cubicBezTo>
                  <a:pt x="4898" y="220"/>
                  <a:pt x="4898" y="220"/>
                  <a:pt x="4898" y="220"/>
                </a:cubicBezTo>
                <a:cubicBezTo>
                  <a:pt x="4898" y="221"/>
                  <a:pt x="4897" y="223"/>
                  <a:pt x="4895" y="224"/>
                </a:cubicBezTo>
                <a:cubicBezTo>
                  <a:pt x="4889" y="231"/>
                  <a:pt x="4886" y="235"/>
                  <a:pt x="4886" y="237"/>
                </a:cubicBezTo>
                <a:lnTo>
                  <a:pt x="4886" y="237"/>
                </a:lnTo>
                <a:lnTo>
                  <a:pt x="4887" y="237"/>
                </a:lnTo>
                <a:cubicBezTo>
                  <a:pt x="4887" y="237"/>
                  <a:pt x="4889" y="236"/>
                  <a:pt x="4892" y="232"/>
                </a:cubicBezTo>
                <a:cubicBezTo>
                  <a:pt x="4894" y="230"/>
                  <a:pt x="4897" y="226"/>
                  <a:pt x="4898" y="223"/>
                </a:cubicBezTo>
                <a:cubicBezTo>
                  <a:pt x="4900" y="219"/>
                  <a:pt x="4902" y="217"/>
                  <a:pt x="4902" y="215"/>
                </a:cubicBezTo>
                <a:cubicBezTo>
                  <a:pt x="4902" y="212"/>
                  <a:pt x="4903" y="211"/>
                  <a:pt x="4905" y="211"/>
                </a:cubicBezTo>
                <a:cubicBezTo>
                  <a:pt x="4906" y="211"/>
                  <a:pt x="4907" y="210"/>
                  <a:pt x="4907" y="209"/>
                </a:cubicBezTo>
                <a:lnTo>
                  <a:pt x="4906" y="207"/>
                </a:lnTo>
                <a:lnTo>
                  <a:pt x="4908" y="206"/>
                </a:lnTo>
                <a:cubicBezTo>
                  <a:pt x="4909" y="206"/>
                  <a:pt x="4913" y="203"/>
                  <a:pt x="4920" y="195"/>
                </a:cubicBezTo>
                <a:cubicBezTo>
                  <a:pt x="4927" y="188"/>
                  <a:pt x="4931" y="184"/>
                  <a:pt x="4933" y="184"/>
                </a:cubicBezTo>
                <a:cubicBezTo>
                  <a:pt x="4933" y="184"/>
                  <a:pt x="4933" y="184"/>
                  <a:pt x="4933" y="184"/>
                </a:cubicBezTo>
                <a:lnTo>
                  <a:pt x="4932" y="188"/>
                </a:lnTo>
                <a:cubicBezTo>
                  <a:pt x="4932" y="189"/>
                  <a:pt x="4932" y="189"/>
                  <a:pt x="4933" y="189"/>
                </a:cubicBezTo>
                <a:cubicBezTo>
                  <a:pt x="4934" y="189"/>
                  <a:pt x="4939" y="186"/>
                  <a:pt x="4946" y="178"/>
                </a:cubicBezTo>
                <a:cubicBezTo>
                  <a:pt x="4960" y="164"/>
                  <a:pt x="4975" y="152"/>
                  <a:pt x="4992" y="143"/>
                </a:cubicBezTo>
                <a:cubicBezTo>
                  <a:pt x="5008" y="135"/>
                  <a:pt x="5022" y="131"/>
                  <a:pt x="5033" y="131"/>
                </a:cubicBezTo>
                <a:cubicBezTo>
                  <a:pt x="5038" y="131"/>
                  <a:pt x="5042" y="132"/>
                  <a:pt x="5046" y="134"/>
                </a:cubicBezTo>
                <a:cubicBezTo>
                  <a:pt x="5047" y="135"/>
                  <a:pt x="5048" y="136"/>
                  <a:pt x="5049" y="136"/>
                </a:cubicBezTo>
                <a:cubicBezTo>
                  <a:pt x="5049" y="136"/>
                  <a:pt x="5051" y="136"/>
                  <a:pt x="5053" y="136"/>
                </a:cubicBezTo>
                <a:cubicBezTo>
                  <a:pt x="5054" y="137"/>
                  <a:pt x="5057" y="137"/>
                  <a:pt x="5060" y="139"/>
                </a:cubicBezTo>
                <a:cubicBezTo>
                  <a:pt x="5067" y="143"/>
                  <a:pt x="5072" y="147"/>
                  <a:pt x="5075" y="151"/>
                </a:cubicBezTo>
                <a:cubicBezTo>
                  <a:pt x="5077" y="153"/>
                  <a:pt x="5078" y="156"/>
                  <a:pt x="5079" y="160"/>
                </a:cubicBezTo>
                <a:cubicBezTo>
                  <a:pt x="5082" y="169"/>
                  <a:pt x="5083" y="179"/>
                  <a:pt x="5083" y="191"/>
                </a:cubicBezTo>
                <a:cubicBezTo>
                  <a:pt x="5083" y="236"/>
                  <a:pt x="5065" y="289"/>
                  <a:pt x="5029" y="350"/>
                </a:cubicBezTo>
                <a:cubicBezTo>
                  <a:pt x="4992" y="411"/>
                  <a:pt x="4949" y="459"/>
                  <a:pt x="4901" y="495"/>
                </a:cubicBezTo>
                <a:cubicBezTo>
                  <a:pt x="4888" y="502"/>
                  <a:pt x="4880" y="506"/>
                  <a:pt x="4877" y="506"/>
                </a:cubicBezTo>
                <a:cubicBezTo>
                  <a:pt x="4877" y="506"/>
                  <a:pt x="4876" y="506"/>
                  <a:pt x="4876" y="505"/>
                </a:cubicBezTo>
                <a:cubicBezTo>
                  <a:pt x="4876" y="505"/>
                  <a:pt x="4877" y="504"/>
                  <a:pt x="4877" y="502"/>
                </a:cubicBezTo>
                <a:cubicBezTo>
                  <a:pt x="4879" y="500"/>
                  <a:pt x="4881" y="500"/>
                  <a:pt x="4882" y="500"/>
                </a:cubicBezTo>
                <a:cubicBezTo>
                  <a:pt x="4883" y="500"/>
                  <a:pt x="4883" y="500"/>
                  <a:pt x="4883" y="501"/>
                </a:cubicBezTo>
                <a:cubicBezTo>
                  <a:pt x="4883" y="501"/>
                  <a:pt x="4883" y="502"/>
                  <a:pt x="4882" y="502"/>
                </a:cubicBezTo>
                <a:cubicBezTo>
                  <a:pt x="4882" y="503"/>
                  <a:pt x="4882" y="504"/>
                  <a:pt x="4882" y="504"/>
                </a:cubicBezTo>
                <a:lnTo>
                  <a:pt x="4883" y="503"/>
                </a:lnTo>
                <a:cubicBezTo>
                  <a:pt x="4884" y="503"/>
                  <a:pt x="4885" y="502"/>
                  <a:pt x="4885" y="501"/>
                </a:cubicBezTo>
                <a:cubicBezTo>
                  <a:pt x="4885" y="496"/>
                  <a:pt x="4886" y="493"/>
                  <a:pt x="4887" y="493"/>
                </a:cubicBezTo>
                <a:cubicBezTo>
                  <a:pt x="4887" y="493"/>
                  <a:pt x="4888" y="494"/>
                  <a:pt x="4890" y="495"/>
                </a:cubicBezTo>
                <a:lnTo>
                  <a:pt x="4892" y="497"/>
                </a:lnTo>
                <a:cubicBezTo>
                  <a:pt x="4892" y="497"/>
                  <a:pt x="4892" y="496"/>
                  <a:pt x="4892" y="495"/>
                </a:cubicBezTo>
                <a:cubicBezTo>
                  <a:pt x="4891" y="495"/>
                  <a:pt x="4891" y="494"/>
                  <a:pt x="4891" y="493"/>
                </a:cubicBezTo>
                <a:cubicBezTo>
                  <a:pt x="4891" y="492"/>
                  <a:pt x="4892" y="490"/>
                  <a:pt x="4893" y="489"/>
                </a:cubicBezTo>
                <a:cubicBezTo>
                  <a:pt x="4894" y="487"/>
                  <a:pt x="4895" y="487"/>
                  <a:pt x="4897" y="487"/>
                </a:cubicBezTo>
                <a:cubicBezTo>
                  <a:pt x="4898" y="487"/>
                  <a:pt x="4898" y="488"/>
                  <a:pt x="4898" y="489"/>
                </a:cubicBezTo>
                <a:cubicBezTo>
                  <a:pt x="4898" y="490"/>
                  <a:pt x="4898" y="490"/>
                  <a:pt x="4898" y="491"/>
                </a:cubicBezTo>
                <a:cubicBezTo>
                  <a:pt x="4898" y="492"/>
                  <a:pt x="4897" y="492"/>
                  <a:pt x="4897" y="492"/>
                </a:cubicBezTo>
                <a:lnTo>
                  <a:pt x="4899" y="491"/>
                </a:lnTo>
                <a:cubicBezTo>
                  <a:pt x="4900" y="490"/>
                  <a:pt x="4900" y="489"/>
                  <a:pt x="4900" y="488"/>
                </a:cubicBezTo>
                <a:cubicBezTo>
                  <a:pt x="4900" y="486"/>
                  <a:pt x="4901" y="484"/>
                  <a:pt x="4903" y="481"/>
                </a:cubicBezTo>
                <a:cubicBezTo>
                  <a:pt x="4905" y="479"/>
                  <a:pt x="4907" y="478"/>
                  <a:pt x="4909" y="478"/>
                </a:cubicBezTo>
                <a:lnTo>
                  <a:pt x="4912" y="478"/>
                </a:lnTo>
                <a:lnTo>
                  <a:pt x="4913" y="477"/>
                </a:lnTo>
                <a:lnTo>
                  <a:pt x="4913" y="476"/>
                </a:lnTo>
                <a:cubicBezTo>
                  <a:pt x="4913" y="474"/>
                  <a:pt x="4916" y="471"/>
                  <a:pt x="4920" y="467"/>
                </a:cubicBezTo>
                <a:lnTo>
                  <a:pt x="4923" y="464"/>
                </a:lnTo>
                <a:cubicBezTo>
                  <a:pt x="4923" y="465"/>
                  <a:pt x="4924" y="465"/>
                  <a:pt x="4924" y="465"/>
                </a:cubicBezTo>
                <a:cubicBezTo>
                  <a:pt x="4925" y="465"/>
                  <a:pt x="4926" y="463"/>
                  <a:pt x="4929" y="459"/>
                </a:cubicBezTo>
                <a:cubicBezTo>
                  <a:pt x="4931" y="455"/>
                  <a:pt x="4933" y="453"/>
                  <a:pt x="4935" y="453"/>
                </a:cubicBezTo>
                <a:cubicBezTo>
                  <a:pt x="4935" y="453"/>
                  <a:pt x="4935" y="454"/>
                  <a:pt x="4935" y="454"/>
                </a:cubicBezTo>
                <a:cubicBezTo>
                  <a:pt x="4935" y="455"/>
                  <a:pt x="4935" y="456"/>
                  <a:pt x="4935" y="456"/>
                </a:cubicBezTo>
                <a:cubicBezTo>
                  <a:pt x="4934" y="457"/>
                  <a:pt x="4934" y="458"/>
                  <a:pt x="4934" y="458"/>
                </a:cubicBezTo>
                <a:cubicBezTo>
                  <a:pt x="4934" y="458"/>
                  <a:pt x="4935" y="458"/>
                  <a:pt x="4937" y="456"/>
                </a:cubicBezTo>
                <a:cubicBezTo>
                  <a:pt x="4938" y="455"/>
                  <a:pt x="4939" y="454"/>
                  <a:pt x="4939" y="453"/>
                </a:cubicBezTo>
                <a:cubicBezTo>
                  <a:pt x="4939" y="452"/>
                  <a:pt x="4939" y="451"/>
                  <a:pt x="4938" y="451"/>
                </a:cubicBezTo>
                <a:cubicBezTo>
                  <a:pt x="4938" y="450"/>
                  <a:pt x="4937" y="449"/>
                  <a:pt x="4937" y="448"/>
                </a:cubicBezTo>
                <a:cubicBezTo>
                  <a:pt x="4937" y="447"/>
                  <a:pt x="4940" y="444"/>
                  <a:pt x="4947" y="439"/>
                </a:cubicBezTo>
                <a:cubicBezTo>
                  <a:pt x="4954" y="433"/>
                  <a:pt x="4958" y="430"/>
                  <a:pt x="4958" y="429"/>
                </a:cubicBezTo>
                <a:cubicBezTo>
                  <a:pt x="4958" y="427"/>
                  <a:pt x="4959" y="427"/>
                  <a:pt x="4960" y="427"/>
                </a:cubicBezTo>
                <a:cubicBezTo>
                  <a:pt x="4961" y="427"/>
                  <a:pt x="4965" y="423"/>
                  <a:pt x="4971" y="416"/>
                </a:cubicBezTo>
                <a:cubicBezTo>
                  <a:pt x="4975" y="411"/>
                  <a:pt x="4978" y="407"/>
                  <a:pt x="4978" y="406"/>
                </a:cubicBezTo>
                <a:lnTo>
                  <a:pt x="4977" y="406"/>
                </a:lnTo>
                <a:cubicBezTo>
                  <a:pt x="4977" y="406"/>
                  <a:pt x="4980" y="402"/>
                  <a:pt x="4986" y="395"/>
                </a:cubicBezTo>
                <a:cubicBezTo>
                  <a:pt x="4995" y="386"/>
                  <a:pt x="4999" y="380"/>
                  <a:pt x="4999" y="379"/>
                </a:cubicBezTo>
                <a:cubicBezTo>
                  <a:pt x="4999" y="377"/>
                  <a:pt x="5001" y="375"/>
                  <a:pt x="5004" y="371"/>
                </a:cubicBezTo>
                <a:cubicBezTo>
                  <a:pt x="5008" y="367"/>
                  <a:pt x="5010" y="365"/>
                  <a:pt x="5010" y="363"/>
                </a:cubicBezTo>
                <a:cubicBezTo>
                  <a:pt x="5010" y="362"/>
                  <a:pt x="5011" y="360"/>
                  <a:pt x="5014" y="356"/>
                </a:cubicBezTo>
                <a:cubicBezTo>
                  <a:pt x="5017" y="353"/>
                  <a:pt x="5018" y="350"/>
                  <a:pt x="5018" y="349"/>
                </a:cubicBezTo>
                <a:cubicBezTo>
                  <a:pt x="5018" y="347"/>
                  <a:pt x="5018" y="346"/>
                  <a:pt x="5019" y="346"/>
                </a:cubicBezTo>
                <a:cubicBezTo>
                  <a:pt x="5019" y="345"/>
                  <a:pt x="5019" y="345"/>
                  <a:pt x="5020" y="344"/>
                </a:cubicBezTo>
                <a:lnTo>
                  <a:pt x="5021" y="344"/>
                </a:lnTo>
                <a:cubicBezTo>
                  <a:pt x="5022" y="344"/>
                  <a:pt x="5023" y="343"/>
                  <a:pt x="5026" y="339"/>
                </a:cubicBezTo>
                <a:cubicBezTo>
                  <a:pt x="5027" y="336"/>
                  <a:pt x="5029" y="334"/>
                  <a:pt x="5029" y="333"/>
                </a:cubicBezTo>
                <a:cubicBezTo>
                  <a:pt x="5029" y="333"/>
                  <a:pt x="5028" y="332"/>
                  <a:pt x="5028" y="332"/>
                </a:cubicBezTo>
                <a:cubicBezTo>
                  <a:pt x="5028" y="332"/>
                  <a:pt x="5027" y="332"/>
                  <a:pt x="5027" y="332"/>
                </a:cubicBezTo>
                <a:cubicBezTo>
                  <a:pt x="5027" y="331"/>
                  <a:pt x="5028" y="331"/>
                  <a:pt x="5030" y="329"/>
                </a:cubicBezTo>
                <a:cubicBezTo>
                  <a:pt x="5032" y="328"/>
                  <a:pt x="5033" y="326"/>
                  <a:pt x="5034" y="323"/>
                </a:cubicBezTo>
                <a:cubicBezTo>
                  <a:pt x="5034" y="322"/>
                  <a:pt x="5035" y="321"/>
                  <a:pt x="5036" y="320"/>
                </a:cubicBezTo>
                <a:cubicBezTo>
                  <a:pt x="5036" y="318"/>
                  <a:pt x="5037" y="317"/>
                  <a:pt x="5039" y="316"/>
                </a:cubicBezTo>
                <a:cubicBezTo>
                  <a:pt x="5040" y="313"/>
                  <a:pt x="5041" y="311"/>
                  <a:pt x="5041" y="308"/>
                </a:cubicBezTo>
                <a:lnTo>
                  <a:pt x="5041" y="306"/>
                </a:lnTo>
                <a:cubicBezTo>
                  <a:pt x="5041" y="305"/>
                  <a:pt x="5041" y="304"/>
                  <a:pt x="5043" y="303"/>
                </a:cubicBezTo>
                <a:cubicBezTo>
                  <a:pt x="5045" y="302"/>
                  <a:pt x="5046" y="301"/>
                  <a:pt x="5046" y="300"/>
                </a:cubicBezTo>
                <a:lnTo>
                  <a:pt x="5045" y="298"/>
                </a:lnTo>
                <a:cubicBezTo>
                  <a:pt x="5045" y="296"/>
                  <a:pt x="5046" y="295"/>
                  <a:pt x="5046" y="294"/>
                </a:cubicBezTo>
                <a:cubicBezTo>
                  <a:pt x="5047" y="293"/>
                  <a:pt x="5048" y="292"/>
                  <a:pt x="5048" y="292"/>
                </a:cubicBezTo>
                <a:lnTo>
                  <a:pt x="5049" y="292"/>
                </a:lnTo>
                <a:cubicBezTo>
                  <a:pt x="5050" y="292"/>
                  <a:pt x="5050" y="292"/>
                  <a:pt x="5050" y="291"/>
                </a:cubicBezTo>
                <a:lnTo>
                  <a:pt x="5049" y="287"/>
                </a:lnTo>
                <a:cubicBezTo>
                  <a:pt x="5049" y="287"/>
                  <a:pt x="5049" y="287"/>
                  <a:pt x="5049" y="287"/>
                </a:cubicBezTo>
                <a:lnTo>
                  <a:pt x="5053" y="288"/>
                </a:lnTo>
                <a:cubicBezTo>
                  <a:pt x="5053" y="288"/>
                  <a:pt x="5053" y="288"/>
                  <a:pt x="5053" y="288"/>
                </a:cubicBezTo>
                <a:lnTo>
                  <a:pt x="5053" y="287"/>
                </a:lnTo>
                <a:cubicBezTo>
                  <a:pt x="5053" y="282"/>
                  <a:pt x="5054" y="275"/>
                  <a:pt x="5058" y="267"/>
                </a:cubicBezTo>
                <a:cubicBezTo>
                  <a:pt x="5070" y="232"/>
                  <a:pt x="5076" y="205"/>
                  <a:pt x="5076" y="186"/>
                </a:cubicBezTo>
                <a:cubicBezTo>
                  <a:pt x="5076" y="179"/>
                  <a:pt x="5075" y="174"/>
                  <a:pt x="5073" y="169"/>
                </a:cubicBezTo>
                <a:cubicBezTo>
                  <a:pt x="5071" y="165"/>
                  <a:pt x="5070" y="163"/>
                  <a:pt x="5070" y="163"/>
                </a:cubicBezTo>
                <a:cubicBezTo>
                  <a:pt x="5069" y="163"/>
                  <a:pt x="5069" y="163"/>
                  <a:pt x="5069" y="164"/>
                </a:cubicBezTo>
                <a:cubicBezTo>
                  <a:pt x="5069" y="164"/>
                  <a:pt x="5070" y="166"/>
                  <a:pt x="5071" y="169"/>
                </a:cubicBezTo>
                <a:cubicBezTo>
                  <a:pt x="5071" y="173"/>
                  <a:pt x="5072" y="177"/>
                  <a:pt x="5072" y="183"/>
                </a:cubicBezTo>
                <a:cubicBezTo>
                  <a:pt x="5072" y="192"/>
                  <a:pt x="5071" y="203"/>
                  <a:pt x="5068" y="213"/>
                </a:cubicBezTo>
                <a:lnTo>
                  <a:pt x="5066" y="224"/>
                </a:lnTo>
                <a:cubicBezTo>
                  <a:pt x="5066" y="226"/>
                  <a:pt x="5065" y="230"/>
                  <a:pt x="5063" y="235"/>
                </a:cubicBezTo>
                <a:cubicBezTo>
                  <a:pt x="5061" y="242"/>
                  <a:pt x="5059" y="246"/>
                  <a:pt x="5058" y="246"/>
                </a:cubicBezTo>
                <a:cubicBezTo>
                  <a:pt x="5057" y="246"/>
                  <a:pt x="5057" y="248"/>
                  <a:pt x="5057" y="252"/>
                </a:cubicBezTo>
                <a:cubicBezTo>
                  <a:pt x="5057" y="256"/>
                  <a:pt x="5056" y="259"/>
                  <a:pt x="5053" y="264"/>
                </a:cubicBezTo>
                <a:cubicBezTo>
                  <a:pt x="5051" y="268"/>
                  <a:pt x="5050" y="271"/>
                  <a:pt x="5050" y="274"/>
                </a:cubicBezTo>
                <a:cubicBezTo>
                  <a:pt x="5050" y="274"/>
                  <a:pt x="5050" y="275"/>
                  <a:pt x="5051" y="275"/>
                </a:cubicBezTo>
                <a:lnTo>
                  <a:pt x="5051" y="276"/>
                </a:lnTo>
                <a:cubicBezTo>
                  <a:pt x="5050" y="276"/>
                  <a:pt x="5049" y="275"/>
                  <a:pt x="5048" y="273"/>
                </a:cubicBezTo>
                <a:cubicBezTo>
                  <a:pt x="5046" y="272"/>
                  <a:pt x="5045" y="271"/>
                  <a:pt x="5045" y="271"/>
                </a:cubicBezTo>
                <a:lnTo>
                  <a:pt x="5045" y="271"/>
                </a:lnTo>
                <a:cubicBezTo>
                  <a:pt x="5045" y="272"/>
                  <a:pt x="5045" y="274"/>
                  <a:pt x="5047" y="278"/>
                </a:cubicBezTo>
                <a:cubicBezTo>
                  <a:pt x="5047" y="280"/>
                  <a:pt x="5048" y="281"/>
                  <a:pt x="5048" y="283"/>
                </a:cubicBezTo>
                <a:cubicBezTo>
                  <a:pt x="5048" y="285"/>
                  <a:pt x="5046" y="287"/>
                  <a:pt x="5043" y="290"/>
                </a:cubicBezTo>
                <a:cubicBezTo>
                  <a:pt x="5040" y="293"/>
                  <a:pt x="5039" y="294"/>
                  <a:pt x="5039" y="294"/>
                </a:cubicBezTo>
                <a:cubicBezTo>
                  <a:pt x="5039" y="295"/>
                  <a:pt x="5039" y="295"/>
                  <a:pt x="5039" y="295"/>
                </a:cubicBezTo>
                <a:lnTo>
                  <a:pt x="5041" y="294"/>
                </a:lnTo>
                <a:cubicBezTo>
                  <a:pt x="5042" y="294"/>
                  <a:pt x="5042" y="294"/>
                  <a:pt x="5042" y="296"/>
                </a:cubicBezTo>
                <a:cubicBezTo>
                  <a:pt x="5041" y="298"/>
                  <a:pt x="5040" y="299"/>
                  <a:pt x="5039" y="299"/>
                </a:cubicBezTo>
                <a:cubicBezTo>
                  <a:pt x="5037" y="299"/>
                  <a:pt x="5036" y="299"/>
                  <a:pt x="5035" y="301"/>
                </a:cubicBezTo>
                <a:cubicBezTo>
                  <a:pt x="5035" y="303"/>
                  <a:pt x="5035" y="304"/>
                  <a:pt x="5035" y="304"/>
                </a:cubicBezTo>
                <a:lnTo>
                  <a:pt x="5037" y="303"/>
                </a:lnTo>
                <a:cubicBezTo>
                  <a:pt x="5038" y="303"/>
                  <a:pt x="5038" y="303"/>
                  <a:pt x="5038" y="304"/>
                </a:cubicBezTo>
                <a:cubicBezTo>
                  <a:pt x="5038" y="305"/>
                  <a:pt x="5037" y="308"/>
                  <a:pt x="5034" y="314"/>
                </a:cubicBezTo>
                <a:cubicBezTo>
                  <a:pt x="5031" y="320"/>
                  <a:pt x="5029" y="323"/>
                  <a:pt x="5027" y="323"/>
                </a:cubicBezTo>
                <a:cubicBezTo>
                  <a:pt x="5026" y="323"/>
                  <a:pt x="5026" y="323"/>
                  <a:pt x="5026" y="322"/>
                </a:cubicBezTo>
                <a:lnTo>
                  <a:pt x="5027" y="318"/>
                </a:lnTo>
                <a:cubicBezTo>
                  <a:pt x="5026" y="318"/>
                  <a:pt x="5025" y="320"/>
                  <a:pt x="5022" y="323"/>
                </a:cubicBezTo>
                <a:cubicBezTo>
                  <a:pt x="5020" y="325"/>
                  <a:pt x="5019" y="326"/>
                  <a:pt x="5019" y="327"/>
                </a:cubicBezTo>
                <a:lnTo>
                  <a:pt x="5026" y="326"/>
                </a:lnTo>
                <a:cubicBezTo>
                  <a:pt x="5026" y="326"/>
                  <a:pt x="5026" y="326"/>
                  <a:pt x="5026" y="326"/>
                </a:cubicBezTo>
                <a:cubicBezTo>
                  <a:pt x="5026" y="327"/>
                  <a:pt x="5025" y="330"/>
                  <a:pt x="5022" y="335"/>
                </a:cubicBezTo>
                <a:cubicBezTo>
                  <a:pt x="5020" y="338"/>
                  <a:pt x="5018" y="341"/>
                  <a:pt x="5016" y="343"/>
                </a:cubicBezTo>
                <a:cubicBezTo>
                  <a:pt x="5014" y="346"/>
                  <a:pt x="5012" y="347"/>
                  <a:pt x="5012" y="347"/>
                </a:cubicBezTo>
                <a:cubicBezTo>
                  <a:pt x="5012" y="347"/>
                  <a:pt x="5012" y="347"/>
                  <a:pt x="5012" y="346"/>
                </a:cubicBezTo>
                <a:lnTo>
                  <a:pt x="5013" y="343"/>
                </a:lnTo>
                <a:cubicBezTo>
                  <a:pt x="5012" y="343"/>
                  <a:pt x="5011" y="344"/>
                  <a:pt x="5009" y="346"/>
                </a:cubicBezTo>
                <a:cubicBezTo>
                  <a:pt x="5006" y="348"/>
                  <a:pt x="5004" y="351"/>
                  <a:pt x="5004" y="353"/>
                </a:cubicBezTo>
                <a:cubicBezTo>
                  <a:pt x="5004" y="354"/>
                  <a:pt x="4997" y="364"/>
                  <a:pt x="4982" y="384"/>
                </a:cubicBezTo>
                <a:cubicBezTo>
                  <a:pt x="4977" y="390"/>
                  <a:pt x="4975" y="394"/>
                  <a:pt x="4975" y="395"/>
                </a:cubicBezTo>
                <a:cubicBezTo>
                  <a:pt x="4975" y="396"/>
                  <a:pt x="4972" y="399"/>
                  <a:pt x="4968" y="404"/>
                </a:cubicBezTo>
                <a:cubicBezTo>
                  <a:pt x="4965" y="406"/>
                  <a:pt x="4963" y="408"/>
                  <a:pt x="4963" y="409"/>
                </a:cubicBezTo>
                <a:lnTo>
                  <a:pt x="4965" y="409"/>
                </a:lnTo>
                <a:cubicBezTo>
                  <a:pt x="4964" y="410"/>
                  <a:pt x="4962" y="413"/>
                  <a:pt x="4956" y="418"/>
                </a:cubicBezTo>
                <a:cubicBezTo>
                  <a:pt x="4949" y="424"/>
                  <a:pt x="4946" y="429"/>
                  <a:pt x="4946" y="430"/>
                </a:cubicBezTo>
                <a:lnTo>
                  <a:pt x="4946" y="431"/>
                </a:lnTo>
                <a:cubicBezTo>
                  <a:pt x="4946" y="431"/>
                  <a:pt x="4945" y="433"/>
                  <a:pt x="4942" y="436"/>
                </a:cubicBezTo>
                <a:cubicBezTo>
                  <a:pt x="4939" y="441"/>
                  <a:pt x="4933" y="446"/>
                  <a:pt x="4925" y="453"/>
                </a:cubicBezTo>
                <a:lnTo>
                  <a:pt x="4920" y="457"/>
                </a:lnTo>
                <a:lnTo>
                  <a:pt x="4919" y="457"/>
                </a:lnTo>
                <a:lnTo>
                  <a:pt x="4919" y="458"/>
                </a:lnTo>
                <a:cubicBezTo>
                  <a:pt x="4919" y="460"/>
                  <a:pt x="4915" y="466"/>
                  <a:pt x="4906" y="475"/>
                </a:cubicBezTo>
                <a:cubicBezTo>
                  <a:pt x="4897" y="483"/>
                  <a:pt x="4886" y="492"/>
                  <a:pt x="4873" y="501"/>
                </a:cubicBezTo>
                <a:cubicBezTo>
                  <a:pt x="4859" y="511"/>
                  <a:pt x="4852" y="517"/>
                  <a:pt x="4852" y="518"/>
                </a:cubicBezTo>
                <a:cubicBezTo>
                  <a:pt x="4852" y="519"/>
                  <a:pt x="4852" y="519"/>
                  <a:pt x="4851" y="519"/>
                </a:cubicBezTo>
                <a:lnTo>
                  <a:pt x="4846" y="518"/>
                </a:lnTo>
                <a:lnTo>
                  <a:pt x="4845" y="519"/>
                </a:lnTo>
                <a:lnTo>
                  <a:pt x="4846" y="520"/>
                </a:lnTo>
                <a:cubicBezTo>
                  <a:pt x="4846" y="522"/>
                  <a:pt x="4839" y="523"/>
                  <a:pt x="4826" y="523"/>
                </a:cubicBezTo>
                <a:lnTo>
                  <a:pt x="4820" y="523"/>
                </a:lnTo>
                <a:cubicBezTo>
                  <a:pt x="4811" y="523"/>
                  <a:pt x="4806" y="522"/>
                  <a:pt x="4802" y="520"/>
                </a:cubicBezTo>
                <a:cubicBezTo>
                  <a:pt x="4799" y="518"/>
                  <a:pt x="4796" y="514"/>
                  <a:pt x="4794" y="509"/>
                </a:cubicBezTo>
                <a:cubicBezTo>
                  <a:pt x="4793" y="506"/>
                  <a:pt x="4793" y="504"/>
                  <a:pt x="4792" y="504"/>
                </a:cubicBezTo>
                <a:cubicBezTo>
                  <a:pt x="4791" y="504"/>
                  <a:pt x="4791" y="505"/>
                  <a:pt x="4790" y="507"/>
                </a:cubicBezTo>
                <a:cubicBezTo>
                  <a:pt x="4789" y="509"/>
                  <a:pt x="4789" y="511"/>
                  <a:pt x="4789" y="511"/>
                </a:cubicBezTo>
                <a:lnTo>
                  <a:pt x="4788" y="509"/>
                </a:lnTo>
                <a:cubicBezTo>
                  <a:pt x="4788" y="507"/>
                  <a:pt x="4789" y="505"/>
                  <a:pt x="4790" y="503"/>
                </a:cubicBezTo>
                <a:cubicBezTo>
                  <a:pt x="4791" y="502"/>
                  <a:pt x="4791" y="500"/>
                  <a:pt x="4791" y="498"/>
                </a:cubicBezTo>
                <a:cubicBezTo>
                  <a:pt x="4791" y="497"/>
                  <a:pt x="4791" y="496"/>
                  <a:pt x="4790" y="496"/>
                </a:cubicBezTo>
                <a:lnTo>
                  <a:pt x="4789" y="497"/>
                </a:lnTo>
                <a:cubicBezTo>
                  <a:pt x="4788" y="497"/>
                  <a:pt x="4788" y="496"/>
                  <a:pt x="4788" y="495"/>
                </a:cubicBezTo>
                <a:cubicBezTo>
                  <a:pt x="4788" y="494"/>
                  <a:pt x="4788" y="493"/>
                  <a:pt x="4788" y="493"/>
                </a:cubicBezTo>
                <a:lnTo>
                  <a:pt x="4788" y="493"/>
                </a:lnTo>
                <a:cubicBezTo>
                  <a:pt x="4787" y="493"/>
                  <a:pt x="4787" y="494"/>
                  <a:pt x="4786" y="496"/>
                </a:cubicBezTo>
                <a:cubicBezTo>
                  <a:pt x="4785" y="497"/>
                  <a:pt x="4785" y="499"/>
                  <a:pt x="4785" y="501"/>
                </a:cubicBezTo>
                <a:cubicBezTo>
                  <a:pt x="4785" y="502"/>
                  <a:pt x="4785" y="504"/>
                  <a:pt x="4785" y="505"/>
                </a:cubicBezTo>
                <a:cubicBezTo>
                  <a:pt x="4786" y="505"/>
                  <a:pt x="4786" y="506"/>
                  <a:pt x="4786" y="507"/>
                </a:cubicBezTo>
                <a:cubicBezTo>
                  <a:pt x="4786" y="508"/>
                  <a:pt x="4785" y="508"/>
                  <a:pt x="4785" y="508"/>
                </a:cubicBezTo>
                <a:lnTo>
                  <a:pt x="4784" y="508"/>
                </a:lnTo>
                <a:cubicBezTo>
                  <a:pt x="4783" y="508"/>
                  <a:pt x="4782" y="508"/>
                  <a:pt x="4781" y="510"/>
                </a:cubicBezTo>
                <a:cubicBezTo>
                  <a:pt x="4780" y="511"/>
                  <a:pt x="4780" y="513"/>
                  <a:pt x="4780" y="515"/>
                </a:cubicBezTo>
                <a:cubicBezTo>
                  <a:pt x="4780" y="516"/>
                  <a:pt x="4780" y="517"/>
                  <a:pt x="4781" y="518"/>
                </a:cubicBezTo>
                <a:lnTo>
                  <a:pt x="4781" y="519"/>
                </a:lnTo>
                <a:cubicBezTo>
                  <a:pt x="4781" y="519"/>
                  <a:pt x="4781" y="520"/>
                  <a:pt x="4781" y="520"/>
                </a:cubicBezTo>
                <a:lnTo>
                  <a:pt x="4778" y="519"/>
                </a:lnTo>
                <a:cubicBezTo>
                  <a:pt x="4778" y="519"/>
                  <a:pt x="4778" y="519"/>
                  <a:pt x="4778" y="519"/>
                </a:cubicBezTo>
                <a:lnTo>
                  <a:pt x="4779" y="525"/>
                </a:lnTo>
                <a:cubicBezTo>
                  <a:pt x="4779" y="526"/>
                  <a:pt x="4779" y="526"/>
                  <a:pt x="4778" y="526"/>
                </a:cubicBezTo>
                <a:lnTo>
                  <a:pt x="4776" y="525"/>
                </a:lnTo>
                <a:cubicBezTo>
                  <a:pt x="4775" y="525"/>
                  <a:pt x="4775" y="526"/>
                  <a:pt x="4775" y="526"/>
                </a:cubicBezTo>
                <a:lnTo>
                  <a:pt x="4776" y="530"/>
                </a:lnTo>
                <a:cubicBezTo>
                  <a:pt x="4776" y="531"/>
                  <a:pt x="4776" y="532"/>
                  <a:pt x="4775" y="532"/>
                </a:cubicBezTo>
                <a:cubicBezTo>
                  <a:pt x="4774" y="532"/>
                  <a:pt x="4774" y="532"/>
                  <a:pt x="4774" y="534"/>
                </a:cubicBezTo>
                <a:lnTo>
                  <a:pt x="4775" y="539"/>
                </a:lnTo>
                <a:cubicBezTo>
                  <a:pt x="4775" y="540"/>
                  <a:pt x="4775" y="541"/>
                  <a:pt x="4775" y="541"/>
                </a:cubicBezTo>
                <a:cubicBezTo>
                  <a:pt x="4774" y="541"/>
                  <a:pt x="4773" y="540"/>
                  <a:pt x="4773" y="539"/>
                </a:cubicBezTo>
                <a:cubicBezTo>
                  <a:pt x="4772" y="539"/>
                  <a:pt x="4771" y="539"/>
                  <a:pt x="4771" y="539"/>
                </a:cubicBezTo>
                <a:lnTo>
                  <a:pt x="4771" y="539"/>
                </a:lnTo>
                <a:cubicBezTo>
                  <a:pt x="4771" y="539"/>
                  <a:pt x="4771" y="540"/>
                  <a:pt x="4773" y="541"/>
                </a:cubicBezTo>
                <a:cubicBezTo>
                  <a:pt x="4774" y="543"/>
                  <a:pt x="4774" y="544"/>
                  <a:pt x="4774" y="544"/>
                </a:cubicBezTo>
                <a:cubicBezTo>
                  <a:pt x="4774" y="546"/>
                  <a:pt x="4774" y="546"/>
                  <a:pt x="4772" y="546"/>
                </a:cubicBezTo>
                <a:lnTo>
                  <a:pt x="4770" y="546"/>
                </a:lnTo>
                <a:cubicBezTo>
                  <a:pt x="4769" y="546"/>
                  <a:pt x="4769" y="546"/>
                  <a:pt x="4769" y="546"/>
                </a:cubicBezTo>
                <a:cubicBezTo>
                  <a:pt x="4769" y="547"/>
                  <a:pt x="4770" y="548"/>
                  <a:pt x="4771" y="549"/>
                </a:cubicBezTo>
                <a:cubicBezTo>
                  <a:pt x="4771" y="551"/>
                  <a:pt x="4771" y="553"/>
                  <a:pt x="4771" y="554"/>
                </a:cubicBezTo>
                <a:cubicBezTo>
                  <a:pt x="4771" y="556"/>
                  <a:pt x="4771" y="558"/>
                  <a:pt x="4770" y="560"/>
                </a:cubicBezTo>
                <a:cubicBezTo>
                  <a:pt x="4769" y="562"/>
                  <a:pt x="4768" y="563"/>
                  <a:pt x="4767" y="563"/>
                </a:cubicBezTo>
                <a:lnTo>
                  <a:pt x="4764" y="562"/>
                </a:lnTo>
                <a:cubicBezTo>
                  <a:pt x="4764" y="562"/>
                  <a:pt x="4765" y="563"/>
                  <a:pt x="4766" y="565"/>
                </a:cubicBezTo>
                <a:cubicBezTo>
                  <a:pt x="4767" y="566"/>
                  <a:pt x="4768" y="567"/>
                  <a:pt x="4768" y="569"/>
                </a:cubicBezTo>
                <a:cubicBezTo>
                  <a:pt x="4768" y="570"/>
                  <a:pt x="4767" y="571"/>
                  <a:pt x="4766" y="571"/>
                </a:cubicBezTo>
                <a:cubicBezTo>
                  <a:pt x="4766" y="572"/>
                  <a:pt x="4765" y="573"/>
                  <a:pt x="4764" y="573"/>
                </a:cubicBezTo>
                <a:cubicBezTo>
                  <a:pt x="4764" y="573"/>
                  <a:pt x="4764" y="572"/>
                  <a:pt x="4764" y="571"/>
                </a:cubicBezTo>
                <a:cubicBezTo>
                  <a:pt x="4764" y="569"/>
                  <a:pt x="4764" y="569"/>
                  <a:pt x="4764" y="569"/>
                </a:cubicBezTo>
                <a:lnTo>
                  <a:pt x="4763" y="569"/>
                </a:lnTo>
                <a:lnTo>
                  <a:pt x="4763" y="570"/>
                </a:lnTo>
                <a:cubicBezTo>
                  <a:pt x="4763" y="571"/>
                  <a:pt x="4763" y="572"/>
                  <a:pt x="4764" y="573"/>
                </a:cubicBezTo>
                <a:cubicBezTo>
                  <a:pt x="4765" y="574"/>
                  <a:pt x="4765" y="576"/>
                  <a:pt x="4765" y="577"/>
                </a:cubicBezTo>
                <a:cubicBezTo>
                  <a:pt x="4765" y="580"/>
                  <a:pt x="4764" y="583"/>
                  <a:pt x="4763" y="587"/>
                </a:cubicBezTo>
                <a:cubicBezTo>
                  <a:pt x="4758" y="604"/>
                  <a:pt x="4756" y="625"/>
                  <a:pt x="4756" y="651"/>
                </a:cubicBezTo>
                <a:cubicBezTo>
                  <a:pt x="4756" y="667"/>
                  <a:pt x="4758" y="682"/>
                  <a:pt x="4762" y="695"/>
                </a:cubicBezTo>
                <a:cubicBezTo>
                  <a:pt x="4766" y="708"/>
                  <a:pt x="4769" y="715"/>
                  <a:pt x="4772" y="715"/>
                </a:cubicBezTo>
                <a:cubicBezTo>
                  <a:pt x="4776" y="715"/>
                  <a:pt x="4779" y="717"/>
                  <a:pt x="4782" y="719"/>
                </a:cubicBezTo>
                <a:cubicBezTo>
                  <a:pt x="4788" y="726"/>
                  <a:pt x="4790" y="730"/>
                  <a:pt x="4790" y="732"/>
                </a:cubicBezTo>
                <a:cubicBezTo>
                  <a:pt x="4790" y="732"/>
                  <a:pt x="4790" y="733"/>
                  <a:pt x="4789" y="734"/>
                </a:cubicBezTo>
                <a:cubicBezTo>
                  <a:pt x="4789" y="734"/>
                  <a:pt x="4786" y="731"/>
                  <a:pt x="4783" y="725"/>
                </a:cubicBezTo>
                <a:cubicBezTo>
                  <a:pt x="4780" y="721"/>
                  <a:pt x="4778" y="719"/>
                  <a:pt x="4778" y="719"/>
                </a:cubicBezTo>
                <a:cubicBezTo>
                  <a:pt x="4777" y="719"/>
                  <a:pt x="4777" y="719"/>
                  <a:pt x="4777" y="720"/>
                </a:cubicBezTo>
                <a:cubicBezTo>
                  <a:pt x="4777" y="721"/>
                  <a:pt x="4777" y="721"/>
                  <a:pt x="4776" y="721"/>
                </a:cubicBezTo>
                <a:lnTo>
                  <a:pt x="4774" y="720"/>
                </a:lnTo>
                <a:cubicBezTo>
                  <a:pt x="4774" y="721"/>
                  <a:pt x="4776" y="723"/>
                  <a:pt x="4780" y="727"/>
                </a:cubicBezTo>
                <a:cubicBezTo>
                  <a:pt x="4787" y="732"/>
                  <a:pt x="4791" y="735"/>
                  <a:pt x="4793" y="735"/>
                </a:cubicBezTo>
                <a:cubicBezTo>
                  <a:pt x="4794" y="735"/>
                  <a:pt x="4795" y="735"/>
                  <a:pt x="4795" y="737"/>
                </a:cubicBezTo>
                <a:lnTo>
                  <a:pt x="4795" y="737"/>
                </a:lnTo>
                <a:cubicBezTo>
                  <a:pt x="4795" y="739"/>
                  <a:pt x="4796" y="739"/>
                  <a:pt x="4798" y="739"/>
                </a:cubicBezTo>
                <a:lnTo>
                  <a:pt x="4799" y="739"/>
                </a:lnTo>
                <a:cubicBezTo>
                  <a:pt x="4801" y="739"/>
                  <a:pt x="4802" y="739"/>
                  <a:pt x="4803" y="741"/>
                </a:cubicBezTo>
                <a:cubicBezTo>
                  <a:pt x="4804" y="742"/>
                  <a:pt x="4804" y="743"/>
                  <a:pt x="4806" y="743"/>
                </a:cubicBezTo>
                <a:cubicBezTo>
                  <a:pt x="4806" y="743"/>
                  <a:pt x="4807" y="742"/>
                  <a:pt x="4807" y="742"/>
                </a:cubicBezTo>
                <a:cubicBezTo>
                  <a:pt x="4807" y="741"/>
                  <a:pt x="4807" y="740"/>
                  <a:pt x="4806" y="740"/>
                </a:cubicBezTo>
                <a:cubicBezTo>
                  <a:pt x="4806" y="740"/>
                  <a:pt x="4806" y="739"/>
                  <a:pt x="4806" y="739"/>
                </a:cubicBezTo>
                <a:cubicBezTo>
                  <a:pt x="4806" y="739"/>
                  <a:pt x="4807" y="739"/>
                  <a:pt x="4808" y="739"/>
                </a:cubicBezTo>
                <a:cubicBezTo>
                  <a:pt x="4809" y="740"/>
                  <a:pt x="4809" y="741"/>
                  <a:pt x="4809" y="742"/>
                </a:cubicBezTo>
                <a:lnTo>
                  <a:pt x="4809" y="743"/>
                </a:lnTo>
                <a:cubicBezTo>
                  <a:pt x="4809" y="744"/>
                  <a:pt x="4809" y="745"/>
                  <a:pt x="4811" y="745"/>
                </a:cubicBezTo>
                <a:cubicBezTo>
                  <a:pt x="4812" y="746"/>
                  <a:pt x="4813" y="747"/>
                  <a:pt x="4815" y="747"/>
                </a:cubicBezTo>
                <a:cubicBezTo>
                  <a:pt x="4815" y="747"/>
                  <a:pt x="4816" y="746"/>
                  <a:pt x="4816" y="746"/>
                </a:cubicBezTo>
                <a:cubicBezTo>
                  <a:pt x="4817" y="746"/>
                  <a:pt x="4817" y="746"/>
                  <a:pt x="4817" y="746"/>
                </a:cubicBezTo>
                <a:cubicBezTo>
                  <a:pt x="4819" y="746"/>
                  <a:pt x="4822" y="747"/>
                  <a:pt x="4826" y="748"/>
                </a:cubicBezTo>
                <a:cubicBezTo>
                  <a:pt x="4831" y="751"/>
                  <a:pt x="4839" y="752"/>
                  <a:pt x="4848" y="752"/>
                </a:cubicBezTo>
                <a:cubicBezTo>
                  <a:pt x="4874" y="752"/>
                  <a:pt x="4908" y="745"/>
                  <a:pt x="4951" y="730"/>
                </a:cubicBezTo>
                <a:cubicBezTo>
                  <a:pt x="4971" y="724"/>
                  <a:pt x="4988" y="718"/>
                  <a:pt x="5002" y="711"/>
                </a:cubicBezTo>
                <a:cubicBezTo>
                  <a:pt x="5008" y="709"/>
                  <a:pt x="5012" y="707"/>
                  <a:pt x="5016" y="705"/>
                </a:cubicBezTo>
                <a:cubicBezTo>
                  <a:pt x="5019" y="704"/>
                  <a:pt x="5026" y="701"/>
                  <a:pt x="5035" y="696"/>
                </a:cubicBezTo>
                <a:cubicBezTo>
                  <a:pt x="5060" y="683"/>
                  <a:pt x="5075" y="675"/>
                  <a:pt x="5081" y="671"/>
                </a:cubicBezTo>
                <a:cubicBezTo>
                  <a:pt x="5087" y="667"/>
                  <a:pt x="5091" y="665"/>
                  <a:pt x="5094" y="665"/>
                </a:cubicBezTo>
                <a:cubicBezTo>
                  <a:pt x="5095" y="665"/>
                  <a:pt x="5096" y="666"/>
                  <a:pt x="5096" y="666"/>
                </a:cubicBezTo>
                <a:cubicBezTo>
                  <a:pt x="5096" y="667"/>
                  <a:pt x="5093" y="670"/>
                  <a:pt x="5087" y="672"/>
                </a:cubicBezTo>
                <a:cubicBezTo>
                  <a:pt x="5083" y="675"/>
                  <a:pt x="5081" y="677"/>
                  <a:pt x="5081" y="679"/>
                </a:cubicBezTo>
                <a:lnTo>
                  <a:pt x="5081" y="680"/>
                </a:lnTo>
                <a:cubicBezTo>
                  <a:pt x="5081" y="680"/>
                  <a:pt x="5081" y="681"/>
                  <a:pt x="5081" y="681"/>
                </a:cubicBezTo>
                <a:lnTo>
                  <a:pt x="5080" y="680"/>
                </a:lnTo>
                <a:cubicBezTo>
                  <a:pt x="5075" y="680"/>
                  <a:pt x="5069" y="682"/>
                  <a:pt x="5063" y="686"/>
                </a:cubicBezTo>
                <a:cubicBezTo>
                  <a:pt x="5040" y="698"/>
                  <a:pt x="5015" y="710"/>
                  <a:pt x="4988" y="720"/>
                </a:cubicBezTo>
                <a:cubicBezTo>
                  <a:pt x="4960" y="731"/>
                  <a:pt x="4935" y="740"/>
                  <a:pt x="4913" y="745"/>
                </a:cubicBezTo>
                <a:cubicBezTo>
                  <a:pt x="4898" y="749"/>
                  <a:pt x="4890" y="752"/>
                  <a:pt x="4890" y="752"/>
                </a:cubicBezTo>
                <a:cubicBezTo>
                  <a:pt x="4890" y="753"/>
                  <a:pt x="4891" y="754"/>
                  <a:pt x="4892" y="754"/>
                </a:cubicBezTo>
                <a:cubicBezTo>
                  <a:pt x="4896" y="754"/>
                  <a:pt x="4905" y="752"/>
                  <a:pt x="4918" y="748"/>
                </a:cubicBezTo>
                <a:cubicBezTo>
                  <a:pt x="4930" y="745"/>
                  <a:pt x="4937" y="744"/>
                  <a:pt x="4941" y="744"/>
                </a:cubicBezTo>
                <a:cubicBezTo>
                  <a:pt x="4942" y="744"/>
                  <a:pt x="4942" y="744"/>
                  <a:pt x="4943" y="744"/>
                </a:cubicBezTo>
                <a:cubicBezTo>
                  <a:pt x="4944" y="745"/>
                  <a:pt x="4944" y="745"/>
                  <a:pt x="4944" y="745"/>
                </a:cubicBezTo>
                <a:lnTo>
                  <a:pt x="4944" y="744"/>
                </a:lnTo>
                <a:cubicBezTo>
                  <a:pt x="4944" y="742"/>
                  <a:pt x="4952" y="738"/>
                  <a:pt x="4967" y="732"/>
                </a:cubicBezTo>
                <a:cubicBezTo>
                  <a:pt x="4980" y="728"/>
                  <a:pt x="4990" y="724"/>
                  <a:pt x="4995" y="723"/>
                </a:cubicBezTo>
                <a:cubicBezTo>
                  <a:pt x="4997" y="723"/>
                  <a:pt x="4999" y="723"/>
                  <a:pt x="4999" y="722"/>
                </a:cubicBezTo>
                <a:cubicBezTo>
                  <a:pt x="4999" y="721"/>
                  <a:pt x="5001" y="720"/>
                  <a:pt x="5004" y="720"/>
                </a:cubicBezTo>
                <a:cubicBezTo>
                  <a:pt x="5007" y="720"/>
                  <a:pt x="5009" y="719"/>
                  <a:pt x="5009" y="718"/>
                </a:cubicBezTo>
                <a:cubicBezTo>
                  <a:pt x="5009" y="717"/>
                  <a:pt x="5010" y="716"/>
                  <a:pt x="5011" y="716"/>
                </a:cubicBezTo>
                <a:lnTo>
                  <a:pt x="5013" y="716"/>
                </a:lnTo>
                <a:cubicBezTo>
                  <a:pt x="5014" y="716"/>
                  <a:pt x="5016" y="715"/>
                  <a:pt x="5017" y="714"/>
                </a:cubicBezTo>
                <a:cubicBezTo>
                  <a:pt x="5019" y="712"/>
                  <a:pt x="5021" y="711"/>
                  <a:pt x="5022" y="711"/>
                </a:cubicBezTo>
                <a:lnTo>
                  <a:pt x="5023" y="712"/>
                </a:lnTo>
                <a:cubicBezTo>
                  <a:pt x="5024" y="712"/>
                  <a:pt x="5025" y="711"/>
                  <a:pt x="5025" y="710"/>
                </a:cubicBezTo>
                <a:cubicBezTo>
                  <a:pt x="5025" y="709"/>
                  <a:pt x="5026" y="709"/>
                  <a:pt x="5028" y="709"/>
                </a:cubicBezTo>
                <a:lnTo>
                  <a:pt x="5030" y="709"/>
                </a:lnTo>
                <a:cubicBezTo>
                  <a:pt x="5031" y="709"/>
                  <a:pt x="5031" y="709"/>
                  <a:pt x="5031" y="708"/>
                </a:cubicBezTo>
                <a:cubicBezTo>
                  <a:pt x="5031" y="707"/>
                  <a:pt x="5032" y="707"/>
                  <a:pt x="5033" y="707"/>
                </a:cubicBezTo>
                <a:cubicBezTo>
                  <a:pt x="5033" y="707"/>
                  <a:pt x="5034" y="707"/>
                  <a:pt x="5035" y="707"/>
                </a:cubicBezTo>
                <a:cubicBezTo>
                  <a:pt x="5035" y="708"/>
                  <a:pt x="5036" y="708"/>
                  <a:pt x="5036" y="708"/>
                </a:cubicBezTo>
                <a:cubicBezTo>
                  <a:pt x="5037" y="708"/>
                  <a:pt x="5039" y="707"/>
                  <a:pt x="5039" y="705"/>
                </a:cubicBezTo>
                <a:cubicBezTo>
                  <a:pt x="5040" y="704"/>
                  <a:pt x="5041" y="703"/>
                  <a:pt x="5042" y="703"/>
                </a:cubicBezTo>
                <a:lnTo>
                  <a:pt x="5044" y="703"/>
                </a:lnTo>
                <a:cubicBezTo>
                  <a:pt x="5046" y="703"/>
                  <a:pt x="5048" y="702"/>
                  <a:pt x="5049" y="700"/>
                </a:cubicBezTo>
                <a:cubicBezTo>
                  <a:pt x="5050" y="700"/>
                  <a:pt x="5051" y="699"/>
                  <a:pt x="5051" y="699"/>
                </a:cubicBezTo>
                <a:cubicBezTo>
                  <a:pt x="5052" y="699"/>
                  <a:pt x="5053" y="698"/>
                  <a:pt x="5054" y="698"/>
                </a:cubicBezTo>
                <a:lnTo>
                  <a:pt x="5054" y="699"/>
                </a:lnTo>
                <a:cubicBezTo>
                  <a:pt x="5055" y="699"/>
                  <a:pt x="5055" y="698"/>
                  <a:pt x="5055" y="696"/>
                </a:cubicBezTo>
                <a:cubicBezTo>
                  <a:pt x="5055" y="693"/>
                  <a:pt x="5056" y="693"/>
                  <a:pt x="5056" y="693"/>
                </a:cubicBezTo>
                <a:cubicBezTo>
                  <a:pt x="5056" y="693"/>
                  <a:pt x="5057" y="693"/>
                  <a:pt x="5058" y="695"/>
                </a:cubicBezTo>
                <a:cubicBezTo>
                  <a:pt x="5058" y="696"/>
                  <a:pt x="5059" y="697"/>
                  <a:pt x="5059" y="697"/>
                </a:cubicBezTo>
                <a:cubicBezTo>
                  <a:pt x="5059" y="697"/>
                  <a:pt x="5060" y="696"/>
                  <a:pt x="5060" y="695"/>
                </a:cubicBezTo>
                <a:cubicBezTo>
                  <a:pt x="5060" y="694"/>
                  <a:pt x="5061" y="693"/>
                  <a:pt x="5062" y="693"/>
                </a:cubicBezTo>
                <a:lnTo>
                  <a:pt x="5063" y="694"/>
                </a:lnTo>
                <a:cubicBezTo>
                  <a:pt x="5063" y="694"/>
                  <a:pt x="5064" y="693"/>
                  <a:pt x="5064" y="691"/>
                </a:cubicBezTo>
                <a:cubicBezTo>
                  <a:pt x="5064" y="689"/>
                  <a:pt x="5064" y="688"/>
                  <a:pt x="5064" y="688"/>
                </a:cubicBezTo>
                <a:cubicBezTo>
                  <a:pt x="5065" y="688"/>
                  <a:pt x="5065" y="689"/>
                  <a:pt x="5066" y="690"/>
                </a:cubicBezTo>
                <a:cubicBezTo>
                  <a:pt x="5066" y="691"/>
                  <a:pt x="5067" y="691"/>
                  <a:pt x="5068" y="691"/>
                </a:cubicBezTo>
                <a:cubicBezTo>
                  <a:pt x="5068" y="691"/>
                  <a:pt x="5069" y="690"/>
                  <a:pt x="5071" y="689"/>
                </a:cubicBezTo>
                <a:cubicBezTo>
                  <a:pt x="5073" y="687"/>
                  <a:pt x="5074" y="686"/>
                  <a:pt x="5075" y="686"/>
                </a:cubicBezTo>
                <a:lnTo>
                  <a:pt x="5076" y="687"/>
                </a:lnTo>
                <a:cubicBezTo>
                  <a:pt x="5077" y="687"/>
                  <a:pt x="5077" y="686"/>
                  <a:pt x="5077" y="685"/>
                </a:cubicBezTo>
                <a:cubicBezTo>
                  <a:pt x="5077" y="684"/>
                  <a:pt x="5077" y="683"/>
                  <a:pt x="5078" y="683"/>
                </a:cubicBezTo>
                <a:lnTo>
                  <a:pt x="5079" y="684"/>
                </a:lnTo>
                <a:cubicBezTo>
                  <a:pt x="5081" y="684"/>
                  <a:pt x="5085" y="682"/>
                  <a:pt x="5093" y="677"/>
                </a:cubicBezTo>
                <a:cubicBezTo>
                  <a:pt x="5101" y="673"/>
                  <a:pt x="5104" y="670"/>
                  <a:pt x="5104" y="669"/>
                </a:cubicBezTo>
                <a:lnTo>
                  <a:pt x="5104" y="669"/>
                </a:lnTo>
                <a:cubicBezTo>
                  <a:pt x="5104" y="669"/>
                  <a:pt x="5104" y="669"/>
                  <a:pt x="5104" y="669"/>
                </a:cubicBezTo>
                <a:cubicBezTo>
                  <a:pt x="5104" y="669"/>
                  <a:pt x="5105" y="667"/>
                  <a:pt x="5107" y="666"/>
                </a:cubicBezTo>
                <a:cubicBezTo>
                  <a:pt x="5109" y="664"/>
                  <a:pt x="5111" y="664"/>
                  <a:pt x="5114" y="664"/>
                </a:cubicBezTo>
                <a:cubicBezTo>
                  <a:pt x="5115" y="664"/>
                  <a:pt x="5117" y="663"/>
                  <a:pt x="5119" y="660"/>
                </a:cubicBezTo>
                <a:cubicBezTo>
                  <a:pt x="5121" y="657"/>
                  <a:pt x="5122" y="656"/>
                  <a:pt x="5122" y="656"/>
                </a:cubicBezTo>
                <a:cubicBezTo>
                  <a:pt x="5123" y="656"/>
                  <a:pt x="5123" y="656"/>
                  <a:pt x="5123" y="657"/>
                </a:cubicBezTo>
                <a:cubicBezTo>
                  <a:pt x="5123" y="657"/>
                  <a:pt x="5123" y="657"/>
                  <a:pt x="5123" y="657"/>
                </a:cubicBezTo>
                <a:cubicBezTo>
                  <a:pt x="5124" y="657"/>
                  <a:pt x="5125" y="656"/>
                  <a:pt x="5126" y="654"/>
                </a:cubicBezTo>
                <a:lnTo>
                  <a:pt x="5129" y="652"/>
                </a:lnTo>
                <a:lnTo>
                  <a:pt x="5128" y="654"/>
                </a:lnTo>
                <a:cubicBezTo>
                  <a:pt x="5128" y="654"/>
                  <a:pt x="5128" y="654"/>
                  <a:pt x="5128" y="654"/>
                </a:cubicBezTo>
                <a:cubicBezTo>
                  <a:pt x="5128" y="654"/>
                  <a:pt x="5130" y="653"/>
                  <a:pt x="5132" y="650"/>
                </a:cubicBezTo>
                <a:cubicBezTo>
                  <a:pt x="5134" y="649"/>
                  <a:pt x="5135" y="647"/>
                  <a:pt x="5137" y="646"/>
                </a:cubicBezTo>
                <a:cubicBezTo>
                  <a:pt x="5139" y="645"/>
                  <a:pt x="5141" y="645"/>
                  <a:pt x="5141" y="645"/>
                </a:cubicBezTo>
                <a:cubicBezTo>
                  <a:pt x="5142" y="645"/>
                  <a:pt x="5143" y="643"/>
                  <a:pt x="5146" y="640"/>
                </a:cubicBezTo>
                <a:cubicBezTo>
                  <a:pt x="5148" y="637"/>
                  <a:pt x="5151" y="635"/>
                  <a:pt x="5153" y="634"/>
                </a:cubicBezTo>
                <a:cubicBezTo>
                  <a:pt x="5158" y="631"/>
                  <a:pt x="5161" y="628"/>
                  <a:pt x="5165" y="625"/>
                </a:cubicBezTo>
                <a:cubicBezTo>
                  <a:pt x="5171" y="620"/>
                  <a:pt x="5174" y="617"/>
                  <a:pt x="5174" y="617"/>
                </a:cubicBezTo>
                <a:cubicBezTo>
                  <a:pt x="5174" y="616"/>
                  <a:pt x="5175" y="616"/>
                  <a:pt x="5175" y="616"/>
                </a:cubicBezTo>
                <a:cubicBezTo>
                  <a:pt x="5178" y="616"/>
                  <a:pt x="5179" y="615"/>
                  <a:pt x="5179" y="613"/>
                </a:cubicBezTo>
                <a:cubicBezTo>
                  <a:pt x="5179" y="611"/>
                  <a:pt x="5180" y="610"/>
                  <a:pt x="5182" y="610"/>
                </a:cubicBezTo>
                <a:cubicBezTo>
                  <a:pt x="5184" y="610"/>
                  <a:pt x="5188" y="607"/>
                  <a:pt x="5194" y="601"/>
                </a:cubicBezTo>
                <a:lnTo>
                  <a:pt x="5216" y="580"/>
                </a:lnTo>
                <a:cubicBezTo>
                  <a:pt x="5234" y="562"/>
                  <a:pt x="5249" y="547"/>
                  <a:pt x="5260" y="535"/>
                </a:cubicBezTo>
                <a:lnTo>
                  <a:pt x="5272" y="521"/>
                </a:lnTo>
                <a:cubicBezTo>
                  <a:pt x="5272" y="521"/>
                  <a:pt x="5272" y="521"/>
                  <a:pt x="5272" y="523"/>
                </a:cubicBezTo>
                <a:cubicBezTo>
                  <a:pt x="5272" y="525"/>
                  <a:pt x="5272" y="527"/>
                  <a:pt x="5270" y="528"/>
                </a:cubicBezTo>
                <a:cubicBezTo>
                  <a:pt x="5269" y="529"/>
                  <a:pt x="5269" y="531"/>
                  <a:pt x="5269" y="533"/>
                </a:cubicBezTo>
                <a:lnTo>
                  <a:pt x="5269" y="535"/>
                </a:lnTo>
                <a:cubicBezTo>
                  <a:pt x="5269" y="535"/>
                  <a:pt x="5269" y="535"/>
                  <a:pt x="5269" y="535"/>
                </a:cubicBezTo>
                <a:lnTo>
                  <a:pt x="5269" y="535"/>
                </a:lnTo>
                <a:cubicBezTo>
                  <a:pt x="5267" y="535"/>
                  <a:pt x="5266" y="536"/>
                  <a:pt x="5265" y="538"/>
                </a:cubicBezTo>
                <a:cubicBezTo>
                  <a:pt x="5264" y="540"/>
                  <a:pt x="5263" y="543"/>
                  <a:pt x="5263" y="546"/>
                </a:cubicBezTo>
                <a:cubicBezTo>
                  <a:pt x="5262" y="551"/>
                  <a:pt x="5257" y="558"/>
                  <a:pt x="5249" y="568"/>
                </a:cubicBezTo>
                <a:cubicBezTo>
                  <a:pt x="5241" y="579"/>
                  <a:pt x="5231" y="590"/>
                  <a:pt x="5219" y="601"/>
                </a:cubicBezTo>
                <a:cubicBezTo>
                  <a:pt x="5207" y="613"/>
                  <a:pt x="5196" y="623"/>
                  <a:pt x="5185" y="632"/>
                </a:cubicBezTo>
                <a:cubicBezTo>
                  <a:pt x="5182" y="634"/>
                  <a:pt x="5178" y="637"/>
                  <a:pt x="5173" y="641"/>
                </a:cubicBezTo>
                <a:cubicBezTo>
                  <a:pt x="5133" y="674"/>
                  <a:pt x="5082" y="705"/>
                  <a:pt x="5019" y="732"/>
                </a:cubicBezTo>
                <a:cubicBezTo>
                  <a:pt x="4959" y="759"/>
                  <a:pt x="4909" y="772"/>
                  <a:pt x="4868" y="772"/>
                </a:cubicBezTo>
                <a:close/>
                <a:moveTo>
                  <a:pt x="4876" y="769"/>
                </a:moveTo>
                <a:cubicBezTo>
                  <a:pt x="4878" y="769"/>
                  <a:pt x="4878" y="769"/>
                  <a:pt x="4878" y="769"/>
                </a:cubicBezTo>
                <a:lnTo>
                  <a:pt x="4878" y="768"/>
                </a:lnTo>
                <a:lnTo>
                  <a:pt x="4875" y="768"/>
                </a:lnTo>
                <a:cubicBezTo>
                  <a:pt x="4872" y="768"/>
                  <a:pt x="4870" y="768"/>
                  <a:pt x="4870" y="769"/>
                </a:cubicBezTo>
                <a:lnTo>
                  <a:pt x="4876" y="769"/>
                </a:lnTo>
                <a:close/>
                <a:moveTo>
                  <a:pt x="4858" y="757"/>
                </a:moveTo>
                <a:cubicBezTo>
                  <a:pt x="4875" y="757"/>
                  <a:pt x="4884" y="757"/>
                  <a:pt x="4886" y="756"/>
                </a:cubicBezTo>
                <a:cubicBezTo>
                  <a:pt x="4887" y="755"/>
                  <a:pt x="4888" y="754"/>
                  <a:pt x="4888" y="754"/>
                </a:cubicBezTo>
                <a:cubicBezTo>
                  <a:pt x="4888" y="753"/>
                  <a:pt x="4888" y="752"/>
                  <a:pt x="4886" y="752"/>
                </a:cubicBezTo>
                <a:lnTo>
                  <a:pt x="4880" y="753"/>
                </a:lnTo>
                <a:cubicBezTo>
                  <a:pt x="4872" y="754"/>
                  <a:pt x="4867" y="754"/>
                  <a:pt x="4863" y="754"/>
                </a:cubicBezTo>
                <a:cubicBezTo>
                  <a:pt x="4857" y="754"/>
                  <a:pt x="4853" y="755"/>
                  <a:pt x="4852" y="756"/>
                </a:cubicBezTo>
                <a:lnTo>
                  <a:pt x="4851" y="756"/>
                </a:lnTo>
                <a:cubicBezTo>
                  <a:pt x="4851" y="757"/>
                  <a:pt x="4853" y="757"/>
                  <a:pt x="4858" y="757"/>
                </a:cubicBezTo>
                <a:close/>
                <a:moveTo>
                  <a:pt x="4845" y="759"/>
                </a:moveTo>
                <a:cubicBezTo>
                  <a:pt x="4846" y="759"/>
                  <a:pt x="4846" y="759"/>
                  <a:pt x="4846" y="758"/>
                </a:cubicBezTo>
                <a:lnTo>
                  <a:pt x="4846" y="758"/>
                </a:lnTo>
                <a:cubicBezTo>
                  <a:pt x="4846" y="757"/>
                  <a:pt x="4843" y="756"/>
                  <a:pt x="4838" y="755"/>
                </a:cubicBezTo>
                <a:lnTo>
                  <a:pt x="4833" y="755"/>
                </a:lnTo>
                <a:cubicBezTo>
                  <a:pt x="4833" y="755"/>
                  <a:pt x="4833" y="755"/>
                  <a:pt x="4833" y="755"/>
                </a:cubicBezTo>
                <a:cubicBezTo>
                  <a:pt x="4833" y="756"/>
                  <a:pt x="4833" y="756"/>
                  <a:pt x="4834" y="757"/>
                </a:cubicBezTo>
                <a:cubicBezTo>
                  <a:pt x="4835" y="757"/>
                  <a:pt x="4836" y="758"/>
                  <a:pt x="4839" y="758"/>
                </a:cubicBezTo>
                <a:cubicBezTo>
                  <a:pt x="4841" y="759"/>
                  <a:pt x="4843" y="759"/>
                  <a:pt x="4845" y="759"/>
                </a:cubicBezTo>
                <a:close/>
                <a:moveTo>
                  <a:pt x="4938" y="448"/>
                </a:moveTo>
                <a:lnTo>
                  <a:pt x="4941" y="448"/>
                </a:lnTo>
                <a:cubicBezTo>
                  <a:pt x="4943" y="447"/>
                  <a:pt x="4944" y="446"/>
                  <a:pt x="4944" y="445"/>
                </a:cubicBezTo>
                <a:lnTo>
                  <a:pt x="4943" y="445"/>
                </a:lnTo>
                <a:cubicBezTo>
                  <a:pt x="4942" y="445"/>
                  <a:pt x="4941" y="446"/>
                  <a:pt x="4940" y="446"/>
                </a:cubicBezTo>
                <a:cubicBezTo>
                  <a:pt x="4939" y="447"/>
                  <a:pt x="4938" y="448"/>
                  <a:pt x="4938" y="448"/>
                </a:cubicBezTo>
                <a:close/>
                <a:moveTo>
                  <a:pt x="4872" y="483"/>
                </a:moveTo>
                <a:cubicBezTo>
                  <a:pt x="4874" y="483"/>
                  <a:pt x="4876" y="482"/>
                  <a:pt x="4878" y="479"/>
                </a:cubicBezTo>
                <a:cubicBezTo>
                  <a:pt x="4880" y="476"/>
                  <a:pt x="4882" y="475"/>
                  <a:pt x="4882" y="475"/>
                </a:cubicBezTo>
                <a:lnTo>
                  <a:pt x="4881" y="474"/>
                </a:lnTo>
                <a:cubicBezTo>
                  <a:pt x="4881" y="474"/>
                  <a:pt x="4880" y="475"/>
                  <a:pt x="4879" y="475"/>
                </a:cubicBezTo>
                <a:cubicBezTo>
                  <a:pt x="4878" y="476"/>
                  <a:pt x="4876" y="478"/>
                  <a:pt x="4875" y="479"/>
                </a:cubicBezTo>
                <a:cubicBezTo>
                  <a:pt x="4873" y="481"/>
                  <a:pt x="4872" y="482"/>
                  <a:pt x="4872" y="483"/>
                </a:cubicBezTo>
                <a:cubicBezTo>
                  <a:pt x="4872" y="483"/>
                  <a:pt x="4872" y="483"/>
                  <a:pt x="4872" y="483"/>
                </a:cubicBezTo>
                <a:close/>
                <a:moveTo>
                  <a:pt x="4903" y="456"/>
                </a:moveTo>
                <a:cubicBezTo>
                  <a:pt x="4904" y="456"/>
                  <a:pt x="4906" y="455"/>
                  <a:pt x="4909" y="451"/>
                </a:cubicBezTo>
                <a:cubicBezTo>
                  <a:pt x="4911" y="449"/>
                  <a:pt x="4912" y="447"/>
                  <a:pt x="4912" y="447"/>
                </a:cubicBezTo>
                <a:cubicBezTo>
                  <a:pt x="4911" y="447"/>
                  <a:pt x="4910" y="448"/>
                  <a:pt x="4907" y="451"/>
                </a:cubicBezTo>
                <a:cubicBezTo>
                  <a:pt x="4905" y="454"/>
                  <a:pt x="4903" y="456"/>
                  <a:pt x="4903" y="456"/>
                </a:cubicBezTo>
                <a:close/>
                <a:moveTo>
                  <a:pt x="5014" y="339"/>
                </a:moveTo>
                <a:cubicBezTo>
                  <a:pt x="5015" y="339"/>
                  <a:pt x="5016" y="338"/>
                  <a:pt x="5018" y="334"/>
                </a:cubicBezTo>
                <a:cubicBezTo>
                  <a:pt x="5019" y="332"/>
                  <a:pt x="5020" y="331"/>
                  <a:pt x="5020" y="330"/>
                </a:cubicBezTo>
                <a:lnTo>
                  <a:pt x="5020" y="330"/>
                </a:lnTo>
                <a:lnTo>
                  <a:pt x="5017" y="332"/>
                </a:lnTo>
                <a:cubicBezTo>
                  <a:pt x="5015" y="335"/>
                  <a:pt x="5014" y="337"/>
                  <a:pt x="5014" y="339"/>
                </a:cubicBezTo>
                <a:cubicBezTo>
                  <a:pt x="5014" y="339"/>
                  <a:pt x="5014" y="339"/>
                  <a:pt x="5014" y="339"/>
                </a:cubicBezTo>
                <a:close/>
                <a:moveTo>
                  <a:pt x="5027" y="316"/>
                </a:moveTo>
                <a:cubicBezTo>
                  <a:pt x="5028" y="316"/>
                  <a:pt x="5029" y="316"/>
                  <a:pt x="5030" y="314"/>
                </a:cubicBezTo>
                <a:lnTo>
                  <a:pt x="5030" y="313"/>
                </a:lnTo>
                <a:cubicBezTo>
                  <a:pt x="5030" y="313"/>
                  <a:pt x="5030" y="313"/>
                  <a:pt x="5030" y="313"/>
                </a:cubicBezTo>
                <a:lnTo>
                  <a:pt x="5029" y="313"/>
                </a:lnTo>
                <a:cubicBezTo>
                  <a:pt x="5026" y="314"/>
                  <a:pt x="5025" y="315"/>
                  <a:pt x="5025" y="316"/>
                </a:cubicBezTo>
                <a:cubicBezTo>
                  <a:pt x="5025" y="316"/>
                  <a:pt x="5026" y="316"/>
                  <a:pt x="5027" y="316"/>
                </a:cubicBezTo>
                <a:close/>
                <a:moveTo>
                  <a:pt x="4921" y="204"/>
                </a:moveTo>
                <a:cubicBezTo>
                  <a:pt x="4922" y="204"/>
                  <a:pt x="4924" y="202"/>
                  <a:pt x="4926" y="199"/>
                </a:cubicBezTo>
                <a:cubicBezTo>
                  <a:pt x="4928" y="197"/>
                  <a:pt x="4929" y="195"/>
                  <a:pt x="4929" y="195"/>
                </a:cubicBezTo>
                <a:cubicBezTo>
                  <a:pt x="4929" y="195"/>
                  <a:pt x="4927" y="195"/>
                  <a:pt x="4925" y="197"/>
                </a:cubicBezTo>
                <a:cubicBezTo>
                  <a:pt x="4922" y="198"/>
                  <a:pt x="4921" y="200"/>
                  <a:pt x="4921" y="202"/>
                </a:cubicBezTo>
                <a:cubicBezTo>
                  <a:pt x="4921" y="203"/>
                  <a:pt x="4921" y="204"/>
                  <a:pt x="4921" y="204"/>
                </a:cubicBezTo>
                <a:close/>
                <a:moveTo>
                  <a:pt x="4882" y="249"/>
                </a:moveTo>
                <a:cubicBezTo>
                  <a:pt x="4883" y="249"/>
                  <a:pt x="4883" y="248"/>
                  <a:pt x="4883" y="246"/>
                </a:cubicBezTo>
                <a:cubicBezTo>
                  <a:pt x="4883" y="245"/>
                  <a:pt x="4883" y="244"/>
                  <a:pt x="4882" y="244"/>
                </a:cubicBezTo>
                <a:lnTo>
                  <a:pt x="4881" y="244"/>
                </a:lnTo>
                <a:cubicBezTo>
                  <a:pt x="4880" y="245"/>
                  <a:pt x="4880" y="245"/>
                  <a:pt x="4880" y="246"/>
                </a:cubicBezTo>
                <a:cubicBezTo>
                  <a:pt x="4880" y="247"/>
                  <a:pt x="4880" y="247"/>
                  <a:pt x="4881" y="248"/>
                </a:cubicBezTo>
                <a:cubicBezTo>
                  <a:pt x="4882" y="249"/>
                  <a:pt x="4882" y="249"/>
                  <a:pt x="4882" y="249"/>
                </a:cubicBezTo>
                <a:close/>
                <a:moveTo>
                  <a:pt x="4817" y="509"/>
                </a:moveTo>
                <a:cubicBezTo>
                  <a:pt x="4820" y="509"/>
                  <a:pt x="4825" y="507"/>
                  <a:pt x="4831" y="504"/>
                </a:cubicBezTo>
                <a:cubicBezTo>
                  <a:pt x="4834" y="502"/>
                  <a:pt x="4837" y="501"/>
                  <a:pt x="4840" y="499"/>
                </a:cubicBezTo>
                <a:cubicBezTo>
                  <a:pt x="4842" y="498"/>
                  <a:pt x="4844" y="496"/>
                  <a:pt x="4845" y="495"/>
                </a:cubicBezTo>
                <a:cubicBezTo>
                  <a:pt x="4846" y="494"/>
                  <a:pt x="4848" y="493"/>
                  <a:pt x="4848" y="493"/>
                </a:cubicBezTo>
                <a:cubicBezTo>
                  <a:pt x="4849" y="493"/>
                  <a:pt x="4850" y="494"/>
                  <a:pt x="4850" y="495"/>
                </a:cubicBezTo>
                <a:cubicBezTo>
                  <a:pt x="4850" y="496"/>
                  <a:pt x="4848" y="498"/>
                  <a:pt x="4843" y="500"/>
                </a:cubicBezTo>
                <a:cubicBezTo>
                  <a:pt x="4839" y="502"/>
                  <a:pt x="4836" y="504"/>
                  <a:pt x="4836" y="506"/>
                </a:cubicBezTo>
                <a:lnTo>
                  <a:pt x="4837" y="506"/>
                </a:lnTo>
                <a:cubicBezTo>
                  <a:pt x="4839" y="506"/>
                  <a:pt x="4843" y="504"/>
                  <a:pt x="4848" y="501"/>
                </a:cubicBezTo>
                <a:cubicBezTo>
                  <a:pt x="4861" y="493"/>
                  <a:pt x="4868" y="488"/>
                  <a:pt x="4868" y="486"/>
                </a:cubicBezTo>
                <a:cubicBezTo>
                  <a:pt x="4868" y="486"/>
                  <a:pt x="4867" y="486"/>
                  <a:pt x="4867" y="486"/>
                </a:cubicBezTo>
                <a:cubicBezTo>
                  <a:pt x="4866" y="486"/>
                  <a:pt x="4864" y="487"/>
                  <a:pt x="4863" y="488"/>
                </a:cubicBezTo>
                <a:cubicBezTo>
                  <a:pt x="4861" y="490"/>
                  <a:pt x="4860" y="492"/>
                  <a:pt x="4858" y="492"/>
                </a:cubicBezTo>
                <a:cubicBezTo>
                  <a:pt x="4856" y="493"/>
                  <a:pt x="4854" y="494"/>
                  <a:pt x="4853" y="494"/>
                </a:cubicBezTo>
                <a:cubicBezTo>
                  <a:pt x="4852" y="494"/>
                  <a:pt x="4851" y="494"/>
                  <a:pt x="4851" y="493"/>
                </a:cubicBezTo>
                <a:cubicBezTo>
                  <a:pt x="4851" y="492"/>
                  <a:pt x="4856" y="487"/>
                  <a:pt x="4867" y="478"/>
                </a:cubicBezTo>
                <a:cubicBezTo>
                  <a:pt x="4878" y="470"/>
                  <a:pt x="4884" y="465"/>
                  <a:pt x="4886" y="465"/>
                </a:cubicBezTo>
                <a:cubicBezTo>
                  <a:pt x="4887" y="465"/>
                  <a:pt x="4895" y="458"/>
                  <a:pt x="4910" y="442"/>
                </a:cubicBezTo>
                <a:cubicBezTo>
                  <a:pt x="4917" y="433"/>
                  <a:pt x="4924" y="426"/>
                  <a:pt x="4930" y="419"/>
                </a:cubicBezTo>
                <a:cubicBezTo>
                  <a:pt x="4935" y="412"/>
                  <a:pt x="4939" y="408"/>
                  <a:pt x="4939" y="407"/>
                </a:cubicBezTo>
                <a:cubicBezTo>
                  <a:pt x="4941" y="404"/>
                  <a:pt x="4942" y="402"/>
                  <a:pt x="4943" y="400"/>
                </a:cubicBezTo>
                <a:cubicBezTo>
                  <a:pt x="4944" y="398"/>
                  <a:pt x="4945" y="397"/>
                  <a:pt x="4946" y="397"/>
                </a:cubicBezTo>
                <a:lnTo>
                  <a:pt x="4948" y="399"/>
                </a:lnTo>
                <a:cubicBezTo>
                  <a:pt x="4948" y="399"/>
                  <a:pt x="4949" y="398"/>
                  <a:pt x="4949" y="398"/>
                </a:cubicBezTo>
                <a:lnTo>
                  <a:pt x="4947" y="396"/>
                </a:lnTo>
                <a:cubicBezTo>
                  <a:pt x="4947" y="394"/>
                  <a:pt x="4949" y="392"/>
                  <a:pt x="4953" y="389"/>
                </a:cubicBezTo>
                <a:cubicBezTo>
                  <a:pt x="4956" y="385"/>
                  <a:pt x="4958" y="383"/>
                  <a:pt x="4958" y="381"/>
                </a:cubicBezTo>
                <a:cubicBezTo>
                  <a:pt x="4958" y="380"/>
                  <a:pt x="4959" y="377"/>
                  <a:pt x="4962" y="374"/>
                </a:cubicBezTo>
                <a:cubicBezTo>
                  <a:pt x="4965" y="372"/>
                  <a:pt x="4967" y="369"/>
                  <a:pt x="4970" y="364"/>
                </a:cubicBezTo>
                <a:cubicBezTo>
                  <a:pt x="4972" y="360"/>
                  <a:pt x="4973" y="359"/>
                  <a:pt x="4974" y="359"/>
                </a:cubicBezTo>
                <a:lnTo>
                  <a:pt x="4977" y="360"/>
                </a:lnTo>
                <a:lnTo>
                  <a:pt x="4977" y="357"/>
                </a:lnTo>
                <a:cubicBezTo>
                  <a:pt x="4977" y="355"/>
                  <a:pt x="4979" y="352"/>
                  <a:pt x="4982" y="347"/>
                </a:cubicBezTo>
                <a:cubicBezTo>
                  <a:pt x="4986" y="340"/>
                  <a:pt x="4989" y="335"/>
                  <a:pt x="4990" y="332"/>
                </a:cubicBezTo>
                <a:cubicBezTo>
                  <a:pt x="4992" y="327"/>
                  <a:pt x="4994" y="325"/>
                  <a:pt x="4994" y="325"/>
                </a:cubicBezTo>
                <a:cubicBezTo>
                  <a:pt x="4995" y="325"/>
                  <a:pt x="4996" y="325"/>
                  <a:pt x="4996" y="324"/>
                </a:cubicBezTo>
                <a:lnTo>
                  <a:pt x="4996" y="323"/>
                </a:lnTo>
                <a:cubicBezTo>
                  <a:pt x="4996" y="321"/>
                  <a:pt x="4997" y="318"/>
                  <a:pt x="5000" y="316"/>
                </a:cubicBezTo>
                <a:cubicBezTo>
                  <a:pt x="5003" y="313"/>
                  <a:pt x="5004" y="311"/>
                  <a:pt x="5004" y="308"/>
                </a:cubicBezTo>
                <a:lnTo>
                  <a:pt x="5004" y="306"/>
                </a:lnTo>
                <a:cubicBezTo>
                  <a:pt x="5004" y="306"/>
                  <a:pt x="5004" y="305"/>
                  <a:pt x="5006" y="305"/>
                </a:cubicBezTo>
                <a:cubicBezTo>
                  <a:pt x="5007" y="304"/>
                  <a:pt x="5008" y="303"/>
                  <a:pt x="5009" y="301"/>
                </a:cubicBezTo>
                <a:cubicBezTo>
                  <a:pt x="5010" y="299"/>
                  <a:pt x="5011" y="296"/>
                  <a:pt x="5013" y="294"/>
                </a:cubicBezTo>
                <a:cubicBezTo>
                  <a:pt x="5015" y="291"/>
                  <a:pt x="5016" y="288"/>
                  <a:pt x="5017" y="285"/>
                </a:cubicBezTo>
                <a:cubicBezTo>
                  <a:pt x="5017" y="282"/>
                  <a:pt x="5019" y="279"/>
                  <a:pt x="5021" y="277"/>
                </a:cubicBezTo>
                <a:cubicBezTo>
                  <a:pt x="5023" y="275"/>
                  <a:pt x="5024" y="272"/>
                  <a:pt x="5024" y="270"/>
                </a:cubicBezTo>
                <a:lnTo>
                  <a:pt x="5024" y="267"/>
                </a:lnTo>
                <a:cubicBezTo>
                  <a:pt x="5024" y="267"/>
                  <a:pt x="5024" y="267"/>
                  <a:pt x="5024" y="267"/>
                </a:cubicBezTo>
                <a:lnTo>
                  <a:pt x="5026" y="267"/>
                </a:lnTo>
                <a:cubicBezTo>
                  <a:pt x="5026" y="267"/>
                  <a:pt x="5027" y="267"/>
                  <a:pt x="5027" y="265"/>
                </a:cubicBezTo>
                <a:cubicBezTo>
                  <a:pt x="5027" y="264"/>
                  <a:pt x="5027" y="263"/>
                  <a:pt x="5028" y="262"/>
                </a:cubicBezTo>
                <a:cubicBezTo>
                  <a:pt x="5028" y="261"/>
                  <a:pt x="5028" y="260"/>
                  <a:pt x="5028" y="259"/>
                </a:cubicBezTo>
                <a:cubicBezTo>
                  <a:pt x="5028" y="259"/>
                  <a:pt x="5028" y="258"/>
                  <a:pt x="5029" y="257"/>
                </a:cubicBezTo>
                <a:cubicBezTo>
                  <a:pt x="5030" y="255"/>
                  <a:pt x="5031" y="254"/>
                  <a:pt x="5031" y="253"/>
                </a:cubicBezTo>
                <a:cubicBezTo>
                  <a:pt x="5032" y="252"/>
                  <a:pt x="5033" y="251"/>
                  <a:pt x="5033" y="249"/>
                </a:cubicBezTo>
                <a:cubicBezTo>
                  <a:pt x="5033" y="249"/>
                  <a:pt x="5033" y="248"/>
                  <a:pt x="5032" y="247"/>
                </a:cubicBezTo>
                <a:cubicBezTo>
                  <a:pt x="5032" y="247"/>
                  <a:pt x="5032" y="246"/>
                  <a:pt x="5032" y="246"/>
                </a:cubicBezTo>
                <a:cubicBezTo>
                  <a:pt x="5032" y="245"/>
                  <a:pt x="5032" y="245"/>
                  <a:pt x="5032" y="245"/>
                </a:cubicBezTo>
                <a:lnTo>
                  <a:pt x="5035" y="246"/>
                </a:lnTo>
                <a:cubicBezTo>
                  <a:pt x="5035" y="246"/>
                  <a:pt x="5036" y="245"/>
                  <a:pt x="5036" y="243"/>
                </a:cubicBezTo>
                <a:cubicBezTo>
                  <a:pt x="5036" y="242"/>
                  <a:pt x="5036" y="240"/>
                  <a:pt x="5037" y="239"/>
                </a:cubicBezTo>
                <a:cubicBezTo>
                  <a:pt x="5037" y="237"/>
                  <a:pt x="5038" y="236"/>
                  <a:pt x="5039" y="234"/>
                </a:cubicBezTo>
                <a:cubicBezTo>
                  <a:pt x="5042" y="223"/>
                  <a:pt x="5045" y="212"/>
                  <a:pt x="5048" y="200"/>
                </a:cubicBezTo>
                <a:cubicBezTo>
                  <a:pt x="5050" y="188"/>
                  <a:pt x="5051" y="177"/>
                  <a:pt x="5051" y="168"/>
                </a:cubicBezTo>
                <a:cubicBezTo>
                  <a:pt x="5051" y="164"/>
                  <a:pt x="5051" y="160"/>
                  <a:pt x="5050" y="157"/>
                </a:cubicBezTo>
                <a:cubicBezTo>
                  <a:pt x="5049" y="154"/>
                  <a:pt x="5049" y="152"/>
                  <a:pt x="5048" y="151"/>
                </a:cubicBezTo>
                <a:cubicBezTo>
                  <a:pt x="5048" y="149"/>
                  <a:pt x="5047" y="149"/>
                  <a:pt x="5045" y="149"/>
                </a:cubicBezTo>
                <a:cubicBezTo>
                  <a:pt x="5041" y="149"/>
                  <a:pt x="5036" y="151"/>
                  <a:pt x="5029" y="154"/>
                </a:cubicBezTo>
                <a:cubicBezTo>
                  <a:pt x="5016" y="160"/>
                  <a:pt x="5009" y="164"/>
                  <a:pt x="5009" y="167"/>
                </a:cubicBezTo>
                <a:cubicBezTo>
                  <a:pt x="5009" y="168"/>
                  <a:pt x="5009" y="169"/>
                  <a:pt x="5008" y="169"/>
                </a:cubicBezTo>
                <a:lnTo>
                  <a:pt x="5006" y="167"/>
                </a:lnTo>
                <a:cubicBezTo>
                  <a:pt x="5005" y="167"/>
                  <a:pt x="5003" y="168"/>
                  <a:pt x="5002" y="169"/>
                </a:cubicBezTo>
                <a:cubicBezTo>
                  <a:pt x="5001" y="171"/>
                  <a:pt x="5000" y="172"/>
                  <a:pt x="5000" y="173"/>
                </a:cubicBezTo>
                <a:lnTo>
                  <a:pt x="5000" y="175"/>
                </a:lnTo>
                <a:cubicBezTo>
                  <a:pt x="5000" y="175"/>
                  <a:pt x="5000" y="176"/>
                  <a:pt x="5000" y="176"/>
                </a:cubicBezTo>
                <a:lnTo>
                  <a:pt x="4998" y="175"/>
                </a:lnTo>
                <a:cubicBezTo>
                  <a:pt x="4996" y="175"/>
                  <a:pt x="4989" y="180"/>
                  <a:pt x="4977" y="190"/>
                </a:cubicBezTo>
                <a:cubicBezTo>
                  <a:pt x="4965" y="201"/>
                  <a:pt x="4959" y="207"/>
                  <a:pt x="4957" y="210"/>
                </a:cubicBezTo>
                <a:cubicBezTo>
                  <a:pt x="4955" y="214"/>
                  <a:pt x="4952" y="218"/>
                  <a:pt x="4947" y="223"/>
                </a:cubicBezTo>
                <a:cubicBezTo>
                  <a:pt x="4936" y="236"/>
                  <a:pt x="4929" y="243"/>
                  <a:pt x="4927" y="243"/>
                </a:cubicBezTo>
                <a:cubicBezTo>
                  <a:pt x="4926" y="243"/>
                  <a:pt x="4926" y="242"/>
                  <a:pt x="4926" y="242"/>
                </a:cubicBezTo>
                <a:cubicBezTo>
                  <a:pt x="4926" y="241"/>
                  <a:pt x="4928" y="239"/>
                  <a:pt x="4931" y="236"/>
                </a:cubicBezTo>
                <a:cubicBezTo>
                  <a:pt x="4934" y="234"/>
                  <a:pt x="4936" y="232"/>
                  <a:pt x="4936" y="230"/>
                </a:cubicBezTo>
                <a:cubicBezTo>
                  <a:pt x="4936" y="228"/>
                  <a:pt x="4937" y="226"/>
                  <a:pt x="4940" y="223"/>
                </a:cubicBezTo>
                <a:cubicBezTo>
                  <a:pt x="4942" y="221"/>
                  <a:pt x="4944" y="219"/>
                  <a:pt x="4946" y="216"/>
                </a:cubicBezTo>
                <a:cubicBezTo>
                  <a:pt x="4948" y="214"/>
                  <a:pt x="4949" y="212"/>
                  <a:pt x="4949" y="211"/>
                </a:cubicBezTo>
                <a:cubicBezTo>
                  <a:pt x="4949" y="211"/>
                  <a:pt x="4948" y="210"/>
                  <a:pt x="4948" y="210"/>
                </a:cubicBezTo>
                <a:cubicBezTo>
                  <a:pt x="4948" y="210"/>
                  <a:pt x="4945" y="213"/>
                  <a:pt x="4942" y="218"/>
                </a:cubicBezTo>
                <a:cubicBezTo>
                  <a:pt x="4937" y="223"/>
                  <a:pt x="4933" y="228"/>
                  <a:pt x="4928" y="235"/>
                </a:cubicBezTo>
                <a:cubicBezTo>
                  <a:pt x="4923" y="241"/>
                  <a:pt x="4918" y="247"/>
                  <a:pt x="4914" y="252"/>
                </a:cubicBezTo>
                <a:cubicBezTo>
                  <a:pt x="4910" y="257"/>
                  <a:pt x="4908" y="260"/>
                  <a:pt x="4908" y="261"/>
                </a:cubicBezTo>
                <a:cubicBezTo>
                  <a:pt x="4908" y="261"/>
                  <a:pt x="4908" y="262"/>
                  <a:pt x="4908" y="262"/>
                </a:cubicBezTo>
                <a:cubicBezTo>
                  <a:pt x="4908" y="262"/>
                  <a:pt x="4908" y="262"/>
                  <a:pt x="4908" y="262"/>
                </a:cubicBezTo>
                <a:cubicBezTo>
                  <a:pt x="4909" y="262"/>
                  <a:pt x="4910" y="262"/>
                  <a:pt x="4912" y="261"/>
                </a:cubicBezTo>
                <a:cubicBezTo>
                  <a:pt x="4914" y="259"/>
                  <a:pt x="4916" y="259"/>
                  <a:pt x="4916" y="259"/>
                </a:cubicBezTo>
                <a:lnTo>
                  <a:pt x="4916" y="259"/>
                </a:lnTo>
                <a:cubicBezTo>
                  <a:pt x="4916" y="260"/>
                  <a:pt x="4915" y="261"/>
                  <a:pt x="4914" y="262"/>
                </a:cubicBezTo>
                <a:cubicBezTo>
                  <a:pt x="4912" y="264"/>
                  <a:pt x="4911" y="265"/>
                  <a:pt x="4909" y="265"/>
                </a:cubicBezTo>
                <a:lnTo>
                  <a:pt x="4907" y="264"/>
                </a:lnTo>
                <a:cubicBezTo>
                  <a:pt x="4905" y="264"/>
                  <a:pt x="4904" y="265"/>
                  <a:pt x="4903" y="267"/>
                </a:cubicBezTo>
                <a:cubicBezTo>
                  <a:pt x="4902" y="268"/>
                  <a:pt x="4902" y="269"/>
                  <a:pt x="4902" y="271"/>
                </a:cubicBezTo>
                <a:cubicBezTo>
                  <a:pt x="4902" y="271"/>
                  <a:pt x="4902" y="272"/>
                  <a:pt x="4902" y="273"/>
                </a:cubicBezTo>
                <a:lnTo>
                  <a:pt x="4903" y="274"/>
                </a:lnTo>
                <a:cubicBezTo>
                  <a:pt x="4903" y="274"/>
                  <a:pt x="4902" y="274"/>
                  <a:pt x="4902" y="274"/>
                </a:cubicBezTo>
                <a:lnTo>
                  <a:pt x="4901" y="274"/>
                </a:lnTo>
                <a:cubicBezTo>
                  <a:pt x="4900" y="274"/>
                  <a:pt x="4896" y="278"/>
                  <a:pt x="4890" y="287"/>
                </a:cubicBezTo>
                <a:cubicBezTo>
                  <a:pt x="4883" y="295"/>
                  <a:pt x="4880" y="300"/>
                  <a:pt x="4880" y="302"/>
                </a:cubicBezTo>
                <a:lnTo>
                  <a:pt x="4880" y="302"/>
                </a:lnTo>
                <a:cubicBezTo>
                  <a:pt x="4880" y="303"/>
                  <a:pt x="4879" y="305"/>
                  <a:pt x="4877" y="308"/>
                </a:cubicBezTo>
                <a:cubicBezTo>
                  <a:pt x="4874" y="310"/>
                  <a:pt x="4873" y="313"/>
                  <a:pt x="4873" y="315"/>
                </a:cubicBezTo>
                <a:cubicBezTo>
                  <a:pt x="4873" y="317"/>
                  <a:pt x="4872" y="318"/>
                  <a:pt x="4870" y="319"/>
                </a:cubicBezTo>
                <a:cubicBezTo>
                  <a:pt x="4868" y="320"/>
                  <a:pt x="4867" y="321"/>
                  <a:pt x="4867" y="322"/>
                </a:cubicBezTo>
                <a:lnTo>
                  <a:pt x="4868" y="324"/>
                </a:lnTo>
                <a:cubicBezTo>
                  <a:pt x="4868" y="325"/>
                  <a:pt x="4867" y="327"/>
                  <a:pt x="4864" y="329"/>
                </a:cubicBezTo>
                <a:cubicBezTo>
                  <a:pt x="4861" y="333"/>
                  <a:pt x="4860" y="335"/>
                  <a:pt x="4860" y="336"/>
                </a:cubicBezTo>
                <a:cubicBezTo>
                  <a:pt x="4860" y="337"/>
                  <a:pt x="4855" y="346"/>
                  <a:pt x="4846" y="362"/>
                </a:cubicBezTo>
                <a:cubicBezTo>
                  <a:pt x="4838" y="378"/>
                  <a:pt x="4833" y="386"/>
                  <a:pt x="4832" y="387"/>
                </a:cubicBezTo>
                <a:cubicBezTo>
                  <a:pt x="4831" y="387"/>
                  <a:pt x="4830" y="388"/>
                  <a:pt x="4830" y="388"/>
                </a:cubicBezTo>
                <a:lnTo>
                  <a:pt x="4831" y="390"/>
                </a:lnTo>
                <a:cubicBezTo>
                  <a:pt x="4831" y="391"/>
                  <a:pt x="4830" y="392"/>
                  <a:pt x="4830" y="392"/>
                </a:cubicBezTo>
                <a:cubicBezTo>
                  <a:pt x="4829" y="392"/>
                  <a:pt x="4828" y="392"/>
                  <a:pt x="4828" y="393"/>
                </a:cubicBezTo>
                <a:lnTo>
                  <a:pt x="4829" y="395"/>
                </a:lnTo>
                <a:cubicBezTo>
                  <a:pt x="4829" y="396"/>
                  <a:pt x="4828" y="397"/>
                  <a:pt x="4827" y="397"/>
                </a:cubicBezTo>
                <a:cubicBezTo>
                  <a:pt x="4826" y="397"/>
                  <a:pt x="4826" y="397"/>
                  <a:pt x="4826" y="397"/>
                </a:cubicBezTo>
                <a:lnTo>
                  <a:pt x="4826" y="399"/>
                </a:lnTo>
                <a:cubicBezTo>
                  <a:pt x="4826" y="400"/>
                  <a:pt x="4826" y="401"/>
                  <a:pt x="4825" y="401"/>
                </a:cubicBezTo>
                <a:cubicBezTo>
                  <a:pt x="4824" y="401"/>
                  <a:pt x="4823" y="401"/>
                  <a:pt x="4823" y="402"/>
                </a:cubicBezTo>
                <a:lnTo>
                  <a:pt x="4824" y="403"/>
                </a:lnTo>
                <a:cubicBezTo>
                  <a:pt x="4824" y="405"/>
                  <a:pt x="4823" y="409"/>
                  <a:pt x="4820" y="414"/>
                </a:cubicBezTo>
                <a:cubicBezTo>
                  <a:pt x="4817" y="420"/>
                  <a:pt x="4815" y="424"/>
                  <a:pt x="4815" y="427"/>
                </a:cubicBezTo>
                <a:cubicBezTo>
                  <a:pt x="4815" y="429"/>
                  <a:pt x="4816" y="430"/>
                  <a:pt x="4818" y="430"/>
                </a:cubicBezTo>
                <a:cubicBezTo>
                  <a:pt x="4819" y="430"/>
                  <a:pt x="4819" y="429"/>
                  <a:pt x="4819" y="427"/>
                </a:cubicBezTo>
                <a:lnTo>
                  <a:pt x="4819" y="422"/>
                </a:lnTo>
                <a:lnTo>
                  <a:pt x="4820" y="422"/>
                </a:lnTo>
                <a:cubicBezTo>
                  <a:pt x="4821" y="422"/>
                  <a:pt x="4822" y="422"/>
                  <a:pt x="4823" y="420"/>
                </a:cubicBezTo>
                <a:cubicBezTo>
                  <a:pt x="4824" y="419"/>
                  <a:pt x="4825" y="418"/>
                  <a:pt x="4825" y="416"/>
                </a:cubicBezTo>
                <a:cubicBezTo>
                  <a:pt x="4826" y="414"/>
                  <a:pt x="4826" y="413"/>
                  <a:pt x="4826" y="411"/>
                </a:cubicBezTo>
                <a:lnTo>
                  <a:pt x="4825" y="409"/>
                </a:lnTo>
                <a:lnTo>
                  <a:pt x="4826" y="408"/>
                </a:lnTo>
                <a:lnTo>
                  <a:pt x="4828" y="409"/>
                </a:lnTo>
                <a:cubicBezTo>
                  <a:pt x="4829" y="409"/>
                  <a:pt x="4829" y="408"/>
                  <a:pt x="4830" y="406"/>
                </a:cubicBezTo>
                <a:cubicBezTo>
                  <a:pt x="4830" y="405"/>
                  <a:pt x="4830" y="404"/>
                  <a:pt x="4830" y="404"/>
                </a:cubicBezTo>
                <a:cubicBezTo>
                  <a:pt x="4830" y="404"/>
                  <a:pt x="4831" y="404"/>
                  <a:pt x="4831" y="405"/>
                </a:cubicBezTo>
                <a:cubicBezTo>
                  <a:pt x="4831" y="407"/>
                  <a:pt x="4829" y="412"/>
                  <a:pt x="4826" y="418"/>
                </a:cubicBezTo>
                <a:cubicBezTo>
                  <a:pt x="4823" y="425"/>
                  <a:pt x="4822" y="430"/>
                  <a:pt x="4822" y="434"/>
                </a:cubicBezTo>
                <a:lnTo>
                  <a:pt x="4823" y="439"/>
                </a:lnTo>
                <a:cubicBezTo>
                  <a:pt x="4823" y="439"/>
                  <a:pt x="4822" y="439"/>
                  <a:pt x="4822" y="439"/>
                </a:cubicBezTo>
                <a:lnTo>
                  <a:pt x="4819" y="438"/>
                </a:lnTo>
                <a:cubicBezTo>
                  <a:pt x="4819" y="438"/>
                  <a:pt x="4819" y="438"/>
                  <a:pt x="4819" y="439"/>
                </a:cubicBezTo>
                <a:lnTo>
                  <a:pt x="4820" y="443"/>
                </a:lnTo>
                <a:cubicBezTo>
                  <a:pt x="4820" y="444"/>
                  <a:pt x="4819" y="445"/>
                  <a:pt x="4818" y="446"/>
                </a:cubicBezTo>
                <a:cubicBezTo>
                  <a:pt x="4816" y="447"/>
                  <a:pt x="4815" y="448"/>
                  <a:pt x="4815" y="448"/>
                </a:cubicBezTo>
                <a:lnTo>
                  <a:pt x="4815" y="451"/>
                </a:lnTo>
                <a:cubicBezTo>
                  <a:pt x="4815" y="451"/>
                  <a:pt x="4815" y="451"/>
                  <a:pt x="4814" y="451"/>
                </a:cubicBezTo>
                <a:cubicBezTo>
                  <a:pt x="4813" y="451"/>
                  <a:pt x="4813" y="452"/>
                  <a:pt x="4813" y="453"/>
                </a:cubicBezTo>
                <a:lnTo>
                  <a:pt x="4813" y="453"/>
                </a:lnTo>
                <a:cubicBezTo>
                  <a:pt x="4813" y="455"/>
                  <a:pt x="4813" y="456"/>
                  <a:pt x="4812" y="456"/>
                </a:cubicBezTo>
                <a:cubicBezTo>
                  <a:pt x="4812" y="456"/>
                  <a:pt x="4812" y="457"/>
                  <a:pt x="4812" y="458"/>
                </a:cubicBezTo>
                <a:cubicBezTo>
                  <a:pt x="4811" y="460"/>
                  <a:pt x="4811" y="462"/>
                  <a:pt x="4811" y="464"/>
                </a:cubicBezTo>
                <a:cubicBezTo>
                  <a:pt x="4810" y="469"/>
                  <a:pt x="4809" y="473"/>
                  <a:pt x="4807" y="477"/>
                </a:cubicBezTo>
                <a:cubicBezTo>
                  <a:pt x="4805" y="480"/>
                  <a:pt x="4805" y="484"/>
                  <a:pt x="4805" y="487"/>
                </a:cubicBezTo>
                <a:cubicBezTo>
                  <a:pt x="4805" y="494"/>
                  <a:pt x="4806" y="497"/>
                  <a:pt x="4808" y="497"/>
                </a:cubicBezTo>
                <a:cubicBezTo>
                  <a:pt x="4808" y="497"/>
                  <a:pt x="4809" y="497"/>
                  <a:pt x="4809" y="496"/>
                </a:cubicBezTo>
                <a:cubicBezTo>
                  <a:pt x="4810" y="495"/>
                  <a:pt x="4810" y="495"/>
                  <a:pt x="4811" y="495"/>
                </a:cubicBezTo>
                <a:cubicBezTo>
                  <a:pt x="4812" y="495"/>
                  <a:pt x="4813" y="495"/>
                  <a:pt x="4814" y="496"/>
                </a:cubicBezTo>
                <a:cubicBezTo>
                  <a:pt x="4815" y="497"/>
                  <a:pt x="4815" y="498"/>
                  <a:pt x="4815" y="499"/>
                </a:cubicBezTo>
                <a:cubicBezTo>
                  <a:pt x="4815" y="500"/>
                  <a:pt x="4814" y="500"/>
                  <a:pt x="4812" y="500"/>
                </a:cubicBezTo>
                <a:lnTo>
                  <a:pt x="4806" y="500"/>
                </a:lnTo>
                <a:cubicBezTo>
                  <a:pt x="4806" y="500"/>
                  <a:pt x="4806" y="501"/>
                  <a:pt x="4808" y="503"/>
                </a:cubicBezTo>
                <a:cubicBezTo>
                  <a:pt x="4809" y="504"/>
                  <a:pt x="4810" y="505"/>
                  <a:pt x="4811" y="505"/>
                </a:cubicBezTo>
                <a:lnTo>
                  <a:pt x="4813" y="505"/>
                </a:lnTo>
                <a:cubicBezTo>
                  <a:pt x="4814" y="505"/>
                  <a:pt x="4815" y="506"/>
                  <a:pt x="4815" y="507"/>
                </a:cubicBezTo>
                <a:cubicBezTo>
                  <a:pt x="4815" y="508"/>
                  <a:pt x="4815" y="509"/>
                  <a:pt x="4817" y="509"/>
                </a:cubicBezTo>
                <a:close/>
                <a:moveTo>
                  <a:pt x="4792" y="490"/>
                </a:moveTo>
                <a:cubicBezTo>
                  <a:pt x="4793" y="490"/>
                  <a:pt x="4793" y="490"/>
                  <a:pt x="4793" y="488"/>
                </a:cubicBezTo>
                <a:lnTo>
                  <a:pt x="4793" y="486"/>
                </a:lnTo>
                <a:cubicBezTo>
                  <a:pt x="4793" y="484"/>
                  <a:pt x="4793" y="482"/>
                  <a:pt x="4793" y="482"/>
                </a:cubicBezTo>
                <a:lnTo>
                  <a:pt x="4792" y="481"/>
                </a:lnTo>
                <a:cubicBezTo>
                  <a:pt x="4792" y="481"/>
                  <a:pt x="4791" y="482"/>
                  <a:pt x="4791" y="483"/>
                </a:cubicBezTo>
                <a:cubicBezTo>
                  <a:pt x="4789" y="485"/>
                  <a:pt x="4789" y="486"/>
                  <a:pt x="4789" y="487"/>
                </a:cubicBezTo>
                <a:cubicBezTo>
                  <a:pt x="4789" y="489"/>
                  <a:pt x="4790" y="490"/>
                  <a:pt x="4792" y="490"/>
                </a:cubicBezTo>
                <a:close/>
                <a:moveTo>
                  <a:pt x="4795" y="419"/>
                </a:moveTo>
                <a:cubicBezTo>
                  <a:pt x="4796" y="419"/>
                  <a:pt x="4797" y="418"/>
                  <a:pt x="4798" y="416"/>
                </a:cubicBezTo>
                <a:lnTo>
                  <a:pt x="4798" y="414"/>
                </a:lnTo>
                <a:cubicBezTo>
                  <a:pt x="4798" y="414"/>
                  <a:pt x="4798" y="413"/>
                  <a:pt x="4798" y="413"/>
                </a:cubicBezTo>
                <a:lnTo>
                  <a:pt x="4797" y="414"/>
                </a:lnTo>
                <a:cubicBezTo>
                  <a:pt x="4795" y="414"/>
                  <a:pt x="4795" y="416"/>
                  <a:pt x="4795" y="417"/>
                </a:cubicBezTo>
                <a:cubicBezTo>
                  <a:pt x="4795" y="419"/>
                  <a:pt x="4795" y="419"/>
                  <a:pt x="4795" y="419"/>
                </a:cubicBezTo>
                <a:close/>
                <a:moveTo>
                  <a:pt x="4788" y="435"/>
                </a:moveTo>
                <a:cubicBezTo>
                  <a:pt x="4789" y="435"/>
                  <a:pt x="4790" y="433"/>
                  <a:pt x="4791" y="431"/>
                </a:cubicBezTo>
                <a:cubicBezTo>
                  <a:pt x="4793" y="427"/>
                  <a:pt x="4794" y="424"/>
                  <a:pt x="4794" y="423"/>
                </a:cubicBezTo>
                <a:lnTo>
                  <a:pt x="4794" y="422"/>
                </a:lnTo>
                <a:cubicBezTo>
                  <a:pt x="4794" y="422"/>
                  <a:pt x="4793" y="424"/>
                  <a:pt x="4791" y="426"/>
                </a:cubicBezTo>
                <a:cubicBezTo>
                  <a:pt x="4789" y="430"/>
                  <a:pt x="4788" y="433"/>
                  <a:pt x="4788" y="434"/>
                </a:cubicBezTo>
                <a:lnTo>
                  <a:pt x="4788" y="435"/>
                </a:lnTo>
                <a:close/>
                <a:moveTo>
                  <a:pt x="4764" y="511"/>
                </a:moveTo>
                <a:cubicBezTo>
                  <a:pt x="4766" y="511"/>
                  <a:pt x="4766" y="510"/>
                  <a:pt x="4766" y="509"/>
                </a:cubicBezTo>
                <a:cubicBezTo>
                  <a:pt x="4766" y="508"/>
                  <a:pt x="4766" y="507"/>
                  <a:pt x="4766" y="507"/>
                </a:cubicBezTo>
                <a:cubicBezTo>
                  <a:pt x="4764" y="504"/>
                  <a:pt x="4763" y="503"/>
                  <a:pt x="4761" y="503"/>
                </a:cubicBezTo>
                <a:cubicBezTo>
                  <a:pt x="4760" y="503"/>
                  <a:pt x="4759" y="504"/>
                  <a:pt x="4759" y="506"/>
                </a:cubicBezTo>
                <a:cubicBezTo>
                  <a:pt x="4759" y="507"/>
                  <a:pt x="4760" y="508"/>
                  <a:pt x="4761" y="510"/>
                </a:cubicBezTo>
                <a:cubicBezTo>
                  <a:pt x="4762" y="511"/>
                  <a:pt x="4763" y="511"/>
                  <a:pt x="4764" y="511"/>
                </a:cubicBezTo>
                <a:close/>
                <a:moveTo>
                  <a:pt x="4744" y="591"/>
                </a:moveTo>
                <a:cubicBezTo>
                  <a:pt x="4744" y="591"/>
                  <a:pt x="4744" y="590"/>
                  <a:pt x="4744" y="589"/>
                </a:cubicBezTo>
                <a:lnTo>
                  <a:pt x="4744" y="586"/>
                </a:lnTo>
                <a:cubicBezTo>
                  <a:pt x="4744" y="586"/>
                  <a:pt x="4743" y="585"/>
                  <a:pt x="4743" y="585"/>
                </a:cubicBezTo>
                <a:cubicBezTo>
                  <a:pt x="4743" y="585"/>
                  <a:pt x="4742" y="586"/>
                  <a:pt x="4742" y="588"/>
                </a:cubicBezTo>
                <a:cubicBezTo>
                  <a:pt x="4742" y="590"/>
                  <a:pt x="4743" y="591"/>
                  <a:pt x="4744" y="591"/>
                </a:cubicBezTo>
                <a:close/>
                <a:moveTo>
                  <a:pt x="4742" y="602"/>
                </a:moveTo>
                <a:cubicBezTo>
                  <a:pt x="4742" y="601"/>
                  <a:pt x="4742" y="601"/>
                  <a:pt x="4742" y="600"/>
                </a:cubicBezTo>
                <a:lnTo>
                  <a:pt x="4741" y="597"/>
                </a:lnTo>
                <a:cubicBezTo>
                  <a:pt x="4741" y="597"/>
                  <a:pt x="4741" y="598"/>
                  <a:pt x="4741" y="601"/>
                </a:cubicBezTo>
                <a:cubicBezTo>
                  <a:pt x="4741" y="602"/>
                  <a:pt x="4741" y="602"/>
                  <a:pt x="4741" y="602"/>
                </a:cubicBezTo>
                <a:lnTo>
                  <a:pt x="4742" y="602"/>
                </a:lnTo>
                <a:close/>
                <a:moveTo>
                  <a:pt x="4739" y="621"/>
                </a:moveTo>
                <a:cubicBezTo>
                  <a:pt x="4739" y="621"/>
                  <a:pt x="4740" y="620"/>
                  <a:pt x="4740" y="619"/>
                </a:cubicBezTo>
                <a:lnTo>
                  <a:pt x="4740" y="616"/>
                </a:lnTo>
                <a:cubicBezTo>
                  <a:pt x="4739" y="616"/>
                  <a:pt x="4739" y="615"/>
                  <a:pt x="4739" y="615"/>
                </a:cubicBezTo>
                <a:cubicBezTo>
                  <a:pt x="4738" y="615"/>
                  <a:pt x="4738" y="616"/>
                  <a:pt x="4738" y="617"/>
                </a:cubicBezTo>
                <a:cubicBezTo>
                  <a:pt x="4738" y="619"/>
                  <a:pt x="4739" y="621"/>
                  <a:pt x="4739" y="621"/>
                </a:cubicBezTo>
                <a:close/>
                <a:moveTo>
                  <a:pt x="5238" y="540"/>
                </a:moveTo>
                <a:close/>
                <a:moveTo>
                  <a:pt x="4765" y="501"/>
                </a:moveTo>
                <a:cubicBezTo>
                  <a:pt x="4764" y="501"/>
                  <a:pt x="4764" y="501"/>
                  <a:pt x="4764" y="500"/>
                </a:cubicBezTo>
                <a:cubicBezTo>
                  <a:pt x="4764" y="498"/>
                  <a:pt x="4765" y="497"/>
                  <a:pt x="4766" y="496"/>
                </a:cubicBezTo>
                <a:lnTo>
                  <a:pt x="4768" y="495"/>
                </a:lnTo>
                <a:cubicBezTo>
                  <a:pt x="4768" y="495"/>
                  <a:pt x="4768" y="496"/>
                  <a:pt x="4768" y="497"/>
                </a:cubicBezTo>
                <a:cubicBezTo>
                  <a:pt x="4768" y="499"/>
                  <a:pt x="4768" y="500"/>
                  <a:pt x="4766" y="501"/>
                </a:cubicBezTo>
                <a:lnTo>
                  <a:pt x="4765" y="501"/>
                </a:lnTo>
                <a:close/>
                <a:moveTo>
                  <a:pt x="4793" y="408"/>
                </a:moveTo>
                <a:lnTo>
                  <a:pt x="4793" y="408"/>
                </a:lnTo>
                <a:cubicBezTo>
                  <a:pt x="4793" y="407"/>
                  <a:pt x="4793" y="406"/>
                  <a:pt x="4794" y="404"/>
                </a:cubicBezTo>
                <a:cubicBezTo>
                  <a:pt x="4794" y="403"/>
                  <a:pt x="4795" y="402"/>
                  <a:pt x="4796" y="402"/>
                </a:cubicBezTo>
                <a:lnTo>
                  <a:pt x="4796" y="402"/>
                </a:lnTo>
                <a:lnTo>
                  <a:pt x="4797" y="403"/>
                </a:lnTo>
                <a:cubicBezTo>
                  <a:pt x="4797" y="404"/>
                  <a:pt x="4796" y="405"/>
                  <a:pt x="4795" y="406"/>
                </a:cubicBezTo>
                <a:lnTo>
                  <a:pt x="4793" y="408"/>
                </a:lnTo>
                <a:close/>
                <a:moveTo>
                  <a:pt x="5104" y="662"/>
                </a:moveTo>
                <a:cubicBezTo>
                  <a:pt x="5103" y="662"/>
                  <a:pt x="5103" y="662"/>
                  <a:pt x="5103" y="660"/>
                </a:cubicBezTo>
                <a:cubicBezTo>
                  <a:pt x="5103" y="659"/>
                  <a:pt x="5104" y="658"/>
                  <a:pt x="5106" y="658"/>
                </a:cubicBezTo>
                <a:cubicBezTo>
                  <a:pt x="5106" y="658"/>
                  <a:pt x="5106" y="658"/>
                  <a:pt x="5106" y="659"/>
                </a:cubicBezTo>
                <a:cubicBezTo>
                  <a:pt x="5106" y="659"/>
                  <a:pt x="5106" y="660"/>
                  <a:pt x="5106" y="661"/>
                </a:cubicBezTo>
                <a:cubicBezTo>
                  <a:pt x="5105" y="662"/>
                  <a:pt x="5105" y="662"/>
                  <a:pt x="5104" y="662"/>
                </a:cubicBezTo>
                <a:close/>
                <a:moveTo>
                  <a:pt x="4751" y="548"/>
                </a:moveTo>
                <a:cubicBezTo>
                  <a:pt x="4750" y="548"/>
                  <a:pt x="4749" y="547"/>
                  <a:pt x="4749" y="546"/>
                </a:cubicBezTo>
                <a:cubicBezTo>
                  <a:pt x="4748" y="545"/>
                  <a:pt x="4747" y="544"/>
                  <a:pt x="4747" y="544"/>
                </a:cubicBezTo>
                <a:lnTo>
                  <a:pt x="4749" y="544"/>
                </a:lnTo>
                <a:cubicBezTo>
                  <a:pt x="4751" y="544"/>
                  <a:pt x="4751" y="544"/>
                  <a:pt x="4752" y="543"/>
                </a:cubicBezTo>
                <a:cubicBezTo>
                  <a:pt x="4752" y="542"/>
                  <a:pt x="4752" y="541"/>
                  <a:pt x="4753" y="541"/>
                </a:cubicBezTo>
                <a:cubicBezTo>
                  <a:pt x="4753" y="541"/>
                  <a:pt x="4753" y="542"/>
                  <a:pt x="4753" y="544"/>
                </a:cubicBezTo>
                <a:lnTo>
                  <a:pt x="4753" y="544"/>
                </a:lnTo>
                <a:cubicBezTo>
                  <a:pt x="4753" y="546"/>
                  <a:pt x="4753" y="548"/>
                  <a:pt x="4751" y="548"/>
                </a:cubicBezTo>
                <a:close/>
                <a:moveTo>
                  <a:pt x="4749" y="535"/>
                </a:moveTo>
                <a:lnTo>
                  <a:pt x="4748" y="535"/>
                </a:lnTo>
                <a:cubicBezTo>
                  <a:pt x="4748" y="535"/>
                  <a:pt x="4748" y="534"/>
                  <a:pt x="4748" y="534"/>
                </a:cubicBezTo>
                <a:cubicBezTo>
                  <a:pt x="4748" y="532"/>
                  <a:pt x="4748" y="531"/>
                  <a:pt x="4749" y="530"/>
                </a:cubicBezTo>
                <a:cubicBezTo>
                  <a:pt x="4750" y="529"/>
                  <a:pt x="4751" y="527"/>
                  <a:pt x="4751" y="526"/>
                </a:cubicBezTo>
                <a:lnTo>
                  <a:pt x="4750" y="522"/>
                </a:lnTo>
                <a:cubicBezTo>
                  <a:pt x="4750" y="522"/>
                  <a:pt x="4750" y="521"/>
                  <a:pt x="4750" y="521"/>
                </a:cubicBezTo>
                <a:cubicBezTo>
                  <a:pt x="4751" y="521"/>
                  <a:pt x="4751" y="522"/>
                  <a:pt x="4751" y="522"/>
                </a:cubicBezTo>
                <a:cubicBezTo>
                  <a:pt x="4752" y="522"/>
                  <a:pt x="4753" y="523"/>
                  <a:pt x="4753" y="524"/>
                </a:cubicBezTo>
                <a:cubicBezTo>
                  <a:pt x="4753" y="524"/>
                  <a:pt x="4754" y="525"/>
                  <a:pt x="4754" y="527"/>
                </a:cubicBezTo>
                <a:cubicBezTo>
                  <a:pt x="4754" y="528"/>
                  <a:pt x="4754" y="529"/>
                  <a:pt x="4754" y="529"/>
                </a:cubicBezTo>
                <a:lnTo>
                  <a:pt x="4756" y="530"/>
                </a:lnTo>
                <a:lnTo>
                  <a:pt x="4754" y="530"/>
                </a:lnTo>
                <a:cubicBezTo>
                  <a:pt x="4752" y="530"/>
                  <a:pt x="4751" y="531"/>
                  <a:pt x="4751" y="533"/>
                </a:cubicBezTo>
                <a:cubicBezTo>
                  <a:pt x="4751" y="534"/>
                  <a:pt x="4750" y="535"/>
                  <a:pt x="4749" y="535"/>
                </a:cubicBezTo>
                <a:close/>
                <a:moveTo>
                  <a:pt x="4919" y="255"/>
                </a:moveTo>
                <a:cubicBezTo>
                  <a:pt x="4918" y="255"/>
                  <a:pt x="4917" y="254"/>
                  <a:pt x="4917" y="253"/>
                </a:cubicBezTo>
                <a:cubicBezTo>
                  <a:pt x="4917" y="253"/>
                  <a:pt x="4918" y="252"/>
                  <a:pt x="4918" y="251"/>
                </a:cubicBezTo>
                <a:cubicBezTo>
                  <a:pt x="4919" y="250"/>
                  <a:pt x="4920" y="249"/>
                  <a:pt x="4921" y="248"/>
                </a:cubicBezTo>
                <a:cubicBezTo>
                  <a:pt x="4922" y="248"/>
                  <a:pt x="4922" y="247"/>
                  <a:pt x="4923" y="247"/>
                </a:cubicBezTo>
                <a:cubicBezTo>
                  <a:pt x="4924" y="248"/>
                  <a:pt x="4925" y="248"/>
                  <a:pt x="4925" y="249"/>
                </a:cubicBezTo>
                <a:cubicBezTo>
                  <a:pt x="4925" y="250"/>
                  <a:pt x="4924" y="251"/>
                  <a:pt x="4922" y="253"/>
                </a:cubicBezTo>
                <a:cubicBezTo>
                  <a:pt x="4921" y="254"/>
                  <a:pt x="4920" y="255"/>
                  <a:pt x="4919" y="255"/>
                </a:cubicBezTo>
                <a:close/>
                <a:moveTo>
                  <a:pt x="5238" y="541"/>
                </a:moveTo>
                <a:cubicBezTo>
                  <a:pt x="5238" y="541"/>
                  <a:pt x="5238" y="541"/>
                  <a:pt x="5238" y="540"/>
                </a:cubicBezTo>
                <a:cubicBezTo>
                  <a:pt x="5238" y="540"/>
                  <a:pt x="5238" y="539"/>
                  <a:pt x="5239" y="538"/>
                </a:cubicBezTo>
                <a:cubicBezTo>
                  <a:pt x="5240" y="537"/>
                  <a:pt x="5241" y="536"/>
                  <a:pt x="5243" y="535"/>
                </a:cubicBezTo>
                <a:lnTo>
                  <a:pt x="5244" y="534"/>
                </a:lnTo>
                <a:lnTo>
                  <a:pt x="5244" y="534"/>
                </a:lnTo>
                <a:lnTo>
                  <a:pt x="5243" y="537"/>
                </a:lnTo>
                <a:cubicBezTo>
                  <a:pt x="5240" y="540"/>
                  <a:pt x="5239" y="541"/>
                  <a:pt x="5238" y="541"/>
                </a:cubicBezTo>
                <a:close/>
                <a:moveTo>
                  <a:pt x="4931" y="400"/>
                </a:moveTo>
                <a:close/>
                <a:moveTo>
                  <a:pt x="4932" y="401"/>
                </a:moveTo>
                <a:cubicBezTo>
                  <a:pt x="4932" y="401"/>
                  <a:pt x="4931" y="401"/>
                  <a:pt x="4931" y="400"/>
                </a:cubicBezTo>
                <a:cubicBezTo>
                  <a:pt x="4931" y="400"/>
                  <a:pt x="4932" y="399"/>
                  <a:pt x="4933" y="398"/>
                </a:cubicBezTo>
                <a:cubicBezTo>
                  <a:pt x="4934" y="397"/>
                  <a:pt x="4935" y="396"/>
                  <a:pt x="4936" y="395"/>
                </a:cubicBezTo>
                <a:cubicBezTo>
                  <a:pt x="4937" y="394"/>
                  <a:pt x="4938" y="394"/>
                  <a:pt x="4938" y="394"/>
                </a:cubicBezTo>
                <a:lnTo>
                  <a:pt x="4938" y="394"/>
                </a:lnTo>
                <a:lnTo>
                  <a:pt x="4936" y="397"/>
                </a:lnTo>
                <a:cubicBezTo>
                  <a:pt x="4934" y="399"/>
                  <a:pt x="4933" y="401"/>
                  <a:pt x="4932" y="401"/>
                </a:cubicBezTo>
                <a:close/>
                <a:moveTo>
                  <a:pt x="5223" y="552"/>
                </a:moveTo>
                <a:cubicBezTo>
                  <a:pt x="5223" y="551"/>
                  <a:pt x="5223" y="551"/>
                  <a:pt x="5224" y="550"/>
                </a:cubicBezTo>
                <a:cubicBezTo>
                  <a:pt x="5226" y="549"/>
                  <a:pt x="5227" y="548"/>
                  <a:pt x="5227" y="548"/>
                </a:cubicBezTo>
                <a:lnTo>
                  <a:pt x="5228" y="548"/>
                </a:lnTo>
                <a:lnTo>
                  <a:pt x="5228" y="549"/>
                </a:lnTo>
                <a:cubicBezTo>
                  <a:pt x="5228" y="549"/>
                  <a:pt x="5227" y="550"/>
                  <a:pt x="5226" y="551"/>
                </a:cubicBezTo>
                <a:cubicBezTo>
                  <a:pt x="5224" y="551"/>
                  <a:pt x="5223" y="552"/>
                  <a:pt x="5223" y="552"/>
                </a:cubicBezTo>
                <a:close/>
                <a:moveTo>
                  <a:pt x="5163" y="605"/>
                </a:moveTo>
                <a:cubicBezTo>
                  <a:pt x="5162" y="605"/>
                  <a:pt x="5161" y="604"/>
                  <a:pt x="5161" y="603"/>
                </a:cubicBezTo>
                <a:cubicBezTo>
                  <a:pt x="5161" y="601"/>
                  <a:pt x="5162" y="601"/>
                  <a:pt x="5164" y="601"/>
                </a:cubicBezTo>
                <a:cubicBezTo>
                  <a:pt x="5165" y="601"/>
                  <a:pt x="5165" y="601"/>
                  <a:pt x="5165" y="602"/>
                </a:cubicBezTo>
                <a:cubicBezTo>
                  <a:pt x="5165" y="602"/>
                  <a:pt x="5165" y="603"/>
                  <a:pt x="5165" y="604"/>
                </a:cubicBezTo>
                <a:cubicBezTo>
                  <a:pt x="5164" y="605"/>
                  <a:pt x="5163" y="605"/>
                  <a:pt x="5163" y="605"/>
                </a:cubicBezTo>
                <a:close/>
                <a:moveTo>
                  <a:pt x="5111" y="658"/>
                </a:moveTo>
                <a:cubicBezTo>
                  <a:pt x="5111" y="658"/>
                  <a:pt x="5110" y="657"/>
                  <a:pt x="5109" y="656"/>
                </a:cubicBezTo>
                <a:cubicBezTo>
                  <a:pt x="5109" y="656"/>
                  <a:pt x="5108" y="656"/>
                  <a:pt x="5108" y="655"/>
                </a:cubicBezTo>
                <a:cubicBezTo>
                  <a:pt x="5108" y="654"/>
                  <a:pt x="5109" y="654"/>
                  <a:pt x="5111" y="654"/>
                </a:cubicBezTo>
                <a:cubicBezTo>
                  <a:pt x="5112" y="654"/>
                  <a:pt x="5113" y="654"/>
                  <a:pt x="5113" y="655"/>
                </a:cubicBezTo>
                <a:lnTo>
                  <a:pt x="5113" y="656"/>
                </a:lnTo>
                <a:cubicBezTo>
                  <a:pt x="5113" y="656"/>
                  <a:pt x="5112" y="656"/>
                  <a:pt x="5112" y="657"/>
                </a:cubicBezTo>
                <a:cubicBezTo>
                  <a:pt x="5112" y="657"/>
                  <a:pt x="5111" y="658"/>
                  <a:pt x="5111" y="658"/>
                </a:cubicBezTo>
                <a:close/>
                <a:moveTo>
                  <a:pt x="5138" y="623"/>
                </a:moveTo>
                <a:cubicBezTo>
                  <a:pt x="5138" y="622"/>
                  <a:pt x="5139" y="621"/>
                  <a:pt x="5141" y="619"/>
                </a:cubicBezTo>
                <a:cubicBezTo>
                  <a:pt x="5144" y="616"/>
                  <a:pt x="5146" y="614"/>
                  <a:pt x="5147" y="614"/>
                </a:cubicBezTo>
                <a:lnTo>
                  <a:pt x="5148" y="615"/>
                </a:lnTo>
                <a:cubicBezTo>
                  <a:pt x="5148" y="616"/>
                  <a:pt x="5146" y="618"/>
                  <a:pt x="5143" y="620"/>
                </a:cubicBezTo>
                <a:cubicBezTo>
                  <a:pt x="5140" y="622"/>
                  <a:pt x="5138" y="623"/>
                  <a:pt x="5138" y="623"/>
                </a:cubicBezTo>
                <a:close/>
                <a:moveTo>
                  <a:pt x="5170" y="598"/>
                </a:moveTo>
                <a:cubicBezTo>
                  <a:pt x="5170" y="598"/>
                  <a:pt x="5169" y="598"/>
                  <a:pt x="5169" y="598"/>
                </a:cubicBezTo>
                <a:cubicBezTo>
                  <a:pt x="5169" y="597"/>
                  <a:pt x="5171" y="595"/>
                  <a:pt x="5175" y="592"/>
                </a:cubicBezTo>
                <a:cubicBezTo>
                  <a:pt x="5179" y="588"/>
                  <a:pt x="5182" y="586"/>
                  <a:pt x="5184" y="586"/>
                </a:cubicBezTo>
                <a:lnTo>
                  <a:pt x="5184" y="586"/>
                </a:lnTo>
                <a:cubicBezTo>
                  <a:pt x="5185" y="586"/>
                  <a:pt x="5186" y="586"/>
                  <a:pt x="5186" y="585"/>
                </a:cubicBezTo>
                <a:lnTo>
                  <a:pt x="5187" y="583"/>
                </a:lnTo>
                <a:lnTo>
                  <a:pt x="5187" y="585"/>
                </a:lnTo>
                <a:cubicBezTo>
                  <a:pt x="5186" y="587"/>
                  <a:pt x="5185" y="588"/>
                  <a:pt x="5184" y="588"/>
                </a:cubicBezTo>
                <a:lnTo>
                  <a:pt x="5184" y="588"/>
                </a:lnTo>
                <a:cubicBezTo>
                  <a:pt x="5182" y="588"/>
                  <a:pt x="5180" y="589"/>
                  <a:pt x="5177" y="593"/>
                </a:cubicBezTo>
                <a:cubicBezTo>
                  <a:pt x="5173" y="596"/>
                  <a:pt x="5171" y="598"/>
                  <a:pt x="5170" y="598"/>
                </a:cubicBezTo>
                <a:close/>
                <a:moveTo>
                  <a:pt x="4771" y="568"/>
                </a:moveTo>
                <a:cubicBezTo>
                  <a:pt x="4771" y="568"/>
                  <a:pt x="4771" y="568"/>
                  <a:pt x="4771" y="566"/>
                </a:cubicBezTo>
                <a:cubicBezTo>
                  <a:pt x="4771" y="565"/>
                  <a:pt x="4771" y="563"/>
                  <a:pt x="4773" y="563"/>
                </a:cubicBezTo>
                <a:lnTo>
                  <a:pt x="4774" y="562"/>
                </a:lnTo>
                <a:cubicBezTo>
                  <a:pt x="4774" y="562"/>
                  <a:pt x="4774" y="563"/>
                  <a:pt x="4774" y="563"/>
                </a:cubicBezTo>
                <a:lnTo>
                  <a:pt x="4774" y="565"/>
                </a:lnTo>
                <a:cubicBezTo>
                  <a:pt x="4773" y="567"/>
                  <a:pt x="4772" y="568"/>
                  <a:pt x="4771" y="568"/>
                </a:cubicBezTo>
                <a:close/>
                <a:moveTo>
                  <a:pt x="4769" y="577"/>
                </a:moveTo>
                <a:cubicBezTo>
                  <a:pt x="4769" y="577"/>
                  <a:pt x="4768" y="577"/>
                  <a:pt x="4768" y="575"/>
                </a:cubicBezTo>
                <a:cubicBezTo>
                  <a:pt x="4768" y="575"/>
                  <a:pt x="4769" y="574"/>
                  <a:pt x="4769" y="573"/>
                </a:cubicBezTo>
                <a:cubicBezTo>
                  <a:pt x="4770" y="572"/>
                  <a:pt x="4771" y="571"/>
                  <a:pt x="4771" y="571"/>
                </a:cubicBezTo>
                <a:cubicBezTo>
                  <a:pt x="4772" y="571"/>
                  <a:pt x="4772" y="572"/>
                  <a:pt x="4772" y="572"/>
                </a:cubicBezTo>
                <a:lnTo>
                  <a:pt x="4772" y="574"/>
                </a:lnTo>
                <a:cubicBezTo>
                  <a:pt x="4771" y="576"/>
                  <a:pt x="4770" y="577"/>
                  <a:pt x="4769" y="577"/>
                </a:cubicBezTo>
                <a:close/>
                <a:moveTo>
                  <a:pt x="4870" y="511"/>
                </a:moveTo>
                <a:cubicBezTo>
                  <a:pt x="4869" y="511"/>
                  <a:pt x="4868" y="510"/>
                  <a:pt x="4868" y="509"/>
                </a:cubicBezTo>
                <a:cubicBezTo>
                  <a:pt x="4868" y="507"/>
                  <a:pt x="4869" y="507"/>
                  <a:pt x="4871" y="507"/>
                </a:cubicBezTo>
                <a:cubicBezTo>
                  <a:pt x="4872" y="507"/>
                  <a:pt x="4872" y="507"/>
                  <a:pt x="4872" y="508"/>
                </a:cubicBezTo>
                <a:lnTo>
                  <a:pt x="4872" y="509"/>
                </a:lnTo>
                <a:cubicBezTo>
                  <a:pt x="4871" y="510"/>
                  <a:pt x="4870" y="511"/>
                  <a:pt x="4870" y="511"/>
                </a:cubicBezTo>
                <a:close/>
                <a:moveTo>
                  <a:pt x="4767" y="690"/>
                </a:moveTo>
                <a:cubicBezTo>
                  <a:pt x="4767" y="689"/>
                  <a:pt x="4766" y="688"/>
                  <a:pt x="4766" y="686"/>
                </a:cubicBezTo>
                <a:cubicBezTo>
                  <a:pt x="4766" y="685"/>
                  <a:pt x="4767" y="684"/>
                  <a:pt x="4767" y="684"/>
                </a:cubicBezTo>
                <a:cubicBezTo>
                  <a:pt x="4768" y="684"/>
                  <a:pt x="4768" y="685"/>
                  <a:pt x="4768" y="687"/>
                </a:cubicBezTo>
                <a:cubicBezTo>
                  <a:pt x="4768" y="688"/>
                  <a:pt x="4768" y="689"/>
                  <a:pt x="4768" y="689"/>
                </a:cubicBezTo>
                <a:lnTo>
                  <a:pt x="4767" y="690"/>
                </a:lnTo>
                <a:close/>
                <a:moveTo>
                  <a:pt x="4765" y="598"/>
                </a:moveTo>
                <a:cubicBezTo>
                  <a:pt x="4764" y="598"/>
                  <a:pt x="4764" y="597"/>
                  <a:pt x="4764" y="595"/>
                </a:cubicBezTo>
                <a:cubicBezTo>
                  <a:pt x="4764" y="593"/>
                  <a:pt x="4765" y="592"/>
                  <a:pt x="4766" y="592"/>
                </a:cubicBezTo>
                <a:cubicBezTo>
                  <a:pt x="4767" y="592"/>
                  <a:pt x="4768" y="592"/>
                  <a:pt x="4768" y="593"/>
                </a:cubicBezTo>
                <a:lnTo>
                  <a:pt x="4767" y="595"/>
                </a:lnTo>
                <a:cubicBezTo>
                  <a:pt x="4766" y="597"/>
                  <a:pt x="4766" y="598"/>
                  <a:pt x="4765" y="598"/>
                </a:cubicBezTo>
                <a:close/>
                <a:moveTo>
                  <a:pt x="4768" y="589"/>
                </a:moveTo>
                <a:cubicBezTo>
                  <a:pt x="4767" y="589"/>
                  <a:pt x="4766" y="588"/>
                  <a:pt x="4766" y="585"/>
                </a:cubicBezTo>
                <a:cubicBezTo>
                  <a:pt x="4766" y="584"/>
                  <a:pt x="4767" y="582"/>
                  <a:pt x="4768" y="581"/>
                </a:cubicBezTo>
                <a:lnTo>
                  <a:pt x="4769" y="581"/>
                </a:lnTo>
                <a:cubicBezTo>
                  <a:pt x="4769" y="581"/>
                  <a:pt x="4769" y="581"/>
                  <a:pt x="4769" y="583"/>
                </a:cubicBezTo>
                <a:lnTo>
                  <a:pt x="4769" y="584"/>
                </a:lnTo>
                <a:cubicBezTo>
                  <a:pt x="4768" y="588"/>
                  <a:pt x="4768" y="589"/>
                  <a:pt x="4768" y="589"/>
                </a:cubicBezTo>
                <a:close/>
                <a:moveTo>
                  <a:pt x="4761" y="649"/>
                </a:moveTo>
                <a:cubicBezTo>
                  <a:pt x="4759" y="648"/>
                  <a:pt x="4758" y="648"/>
                  <a:pt x="4758" y="648"/>
                </a:cubicBezTo>
                <a:lnTo>
                  <a:pt x="4762" y="647"/>
                </a:lnTo>
                <a:cubicBezTo>
                  <a:pt x="4763" y="647"/>
                  <a:pt x="4763" y="647"/>
                  <a:pt x="4763" y="647"/>
                </a:cubicBezTo>
                <a:cubicBezTo>
                  <a:pt x="4764" y="647"/>
                  <a:pt x="4764" y="647"/>
                  <a:pt x="4764" y="648"/>
                </a:cubicBezTo>
                <a:cubicBezTo>
                  <a:pt x="4764" y="648"/>
                  <a:pt x="4763" y="649"/>
                  <a:pt x="4761" y="649"/>
                </a:cubicBezTo>
                <a:close/>
                <a:moveTo>
                  <a:pt x="4762" y="630"/>
                </a:moveTo>
                <a:lnTo>
                  <a:pt x="4762" y="630"/>
                </a:lnTo>
                <a:cubicBezTo>
                  <a:pt x="4761" y="629"/>
                  <a:pt x="4761" y="627"/>
                  <a:pt x="4761" y="625"/>
                </a:cubicBezTo>
                <a:cubicBezTo>
                  <a:pt x="4761" y="623"/>
                  <a:pt x="4761" y="621"/>
                  <a:pt x="4761" y="619"/>
                </a:cubicBezTo>
                <a:cubicBezTo>
                  <a:pt x="4761" y="616"/>
                  <a:pt x="4761" y="614"/>
                  <a:pt x="4761" y="614"/>
                </a:cubicBezTo>
                <a:cubicBezTo>
                  <a:pt x="4763" y="614"/>
                  <a:pt x="4763" y="617"/>
                  <a:pt x="4763" y="622"/>
                </a:cubicBezTo>
                <a:cubicBezTo>
                  <a:pt x="4763" y="627"/>
                  <a:pt x="4763" y="630"/>
                  <a:pt x="4762" y="630"/>
                </a:cubicBezTo>
                <a:close/>
                <a:moveTo>
                  <a:pt x="4763" y="612"/>
                </a:moveTo>
                <a:cubicBezTo>
                  <a:pt x="4763" y="612"/>
                  <a:pt x="4762" y="611"/>
                  <a:pt x="4762" y="609"/>
                </a:cubicBezTo>
                <a:cubicBezTo>
                  <a:pt x="4762" y="608"/>
                  <a:pt x="4762" y="607"/>
                  <a:pt x="4763" y="607"/>
                </a:cubicBezTo>
                <a:cubicBezTo>
                  <a:pt x="4763" y="606"/>
                  <a:pt x="4763" y="606"/>
                  <a:pt x="4764" y="605"/>
                </a:cubicBezTo>
                <a:cubicBezTo>
                  <a:pt x="4765" y="605"/>
                  <a:pt x="4765" y="606"/>
                  <a:pt x="4765" y="607"/>
                </a:cubicBezTo>
                <a:cubicBezTo>
                  <a:pt x="4765" y="607"/>
                  <a:pt x="4765" y="608"/>
                  <a:pt x="4765" y="609"/>
                </a:cubicBezTo>
                <a:cubicBezTo>
                  <a:pt x="4764" y="610"/>
                  <a:pt x="4764" y="610"/>
                  <a:pt x="4764" y="611"/>
                </a:cubicBezTo>
                <a:cubicBezTo>
                  <a:pt x="4763" y="612"/>
                  <a:pt x="4763" y="612"/>
                  <a:pt x="4763" y="612"/>
                </a:cubicBezTo>
                <a:close/>
                <a:moveTo>
                  <a:pt x="5578" y="589"/>
                </a:moveTo>
                <a:cubicBezTo>
                  <a:pt x="5578" y="589"/>
                  <a:pt x="5577" y="589"/>
                  <a:pt x="5577" y="588"/>
                </a:cubicBezTo>
                <a:cubicBezTo>
                  <a:pt x="5577" y="587"/>
                  <a:pt x="5576" y="586"/>
                  <a:pt x="5576" y="585"/>
                </a:cubicBezTo>
                <a:cubicBezTo>
                  <a:pt x="5575" y="585"/>
                  <a:pt x="5575" y="584"/>
                  <a:pt x="5575" y="583"/>
                </a:cubicBezTo>
                <a:lnTo>
                  <a:pt x="5575" y="583"/>
                </a:lnTo>
                <a:lnTo>
                  <a:pt x="5577" y="585"/>
                </a:lnTo>
                <a:cubicBezTo>
                  <a:pt x="5578" y="586"/>
                  <a:pt x="5579" y="587"/>
                  <a:pt x="5579" y="588"/>
                </a:cubicBezTo>
                <a:lnTo>
                  <a:pt x="5578" y="589"/>
                </a:lnTo>
                <a:close/>
                <a:moveTo>
                  <a:pt x="5265" y="595"/>
                </a:moveTo>
                <a:cubicBezTo>
                  <a:pt x="5264" y="595"/>
                  <a:pt x="5263" y="595"/>
                  <a:pt x="5263" y="594"/>
                </a:cubicBezTo>
                <a:cubicBezTo>
                  <a:pt x="5262" y="593"/>
                  <a:pt x="5261" y="592"/>
                  <a:pt x="5261" y="591"/>
                </a:cubicBezTo>
                <a:cubicBezTo>
                  <a:pt x="5261" y="589"/>
                  <a:pt x="5262" y="587"/>
                  <a:pt x="5264" y="584"/>
                </a:cubicBezTo>
                <a:cubicBezTo>
                  <a:pt x="5265" y="582"/>
                  <a:pt x="5266" y="580"/>
                  <a:pt x="5266" y="580"/>
                </a:cubicBezTo>
                <a:lnTo>
                  <a:pt x="5267" y="586"/>
                </a:lnTo>
                <a:lnTo>
                  <a:pt x="5267" y="588"/>
                </a:lnTo>
                <a:cubicBezTo>
                  <a:pt x="5267" y="593"/>
                  <a:pt x="5267" y="595"/>
                  <a:pt x="5265" y="595"/>
                </a:cubicBezTo>
                <a:close/>
                <a:moveTo>
                  <a:pt x="5280" y="565"/>
                </a:moveTo>
                <a:cubicBezTo>
                  <a:pt x="5280" y="565"/>
                  <a:pt x="5280" y="564"/>
                  <a:pt x="5279" y="563"/>
                </a:cubicBezTo>
                <a:cubicBezTo>
                  <a:pt x="5279" y="563"/>
                  <a:pt x="5278" y="563"/>
                  <a:pt x="5278" y="562"/>
                </a:cubicBezTo>
                <a:lnTo>
                  <a:pt x="5277" y="561"/>
                </a:lnTo>
                <a:cubicBezTo>
                  <a:pt x="5277" y="560"/>
                  <a:pt x="5278" y="560"/>
                  <a:pt x="5279" y="560"/>
                </a:cubicBezTo>
                <a:cubicBezTo>
                  <a:pt x="5280" y="560"/>
                  <a:pt x="5281" y="561"/>
                  <a:pt x="5281" y="562"/>
                </a:cubicBezTo>
                <a:cubicBezTo>
                  <a:pt x="5281" y="564"/>
                  <a:pt x="5281" y="565"/>
                  <a:pt x="5280" y="565"/>
                </a:cubicBezTo>
                <a:close/>
                <a:moveTo>
                  <a:pt x="5286" y="747"/>
                </a:moveTo>
                <a:cubicBezTo>
                  <a:pt x="5282" y="747"/>
                  <a:pt x="5277" y="747"/>
                  <a:pt x="5273" y="746"/>
                </a:cubicBezTo>
                <a:cubicBezTo>
                  <a:pt x="5261" y="743"/>
                  <a:pt x="5253" y="738"/>
                  <a:pt x="5249" y="732"/>
                </a:cubicBezTo>
                <a:cubicBezTo>
                  <a:pt x="5247" y="729"/>
                  <a:pt x="5245" y="728"/>
                  <a:pt x="5243" y="728"/>
                </a:cubicBezTo>
                <a:cubicBezTo>
                  <a:pt x="5241" y="728"/>
                  <a:pt x="5239" y="726"/>
                  <a:pt x="5236" y="722"/>
                </a:cubicBezTo>
                <a:cubicBezTo>
                  <a:pt x="5233" y="718"/>
                  <a:pt x="5230" y="714"/>
                  <a:pt x="5227" y="710"/>
                </a:cubicBezTo>
                <a:cubicBezTo>
                  <a:pt x="5225" y="705"/>
                  <a:pt x="5223" y="702"/>
                  <a:pt x="5223" y="699"/>
                </a:cubicBezTo>
                <a:lnTo>
                  <a:pt x="5224" y="696"/>
                </a:lnTo>
                <a:cubicBezTo>
                  <a:pt x="5224" y="696"/>
                  <a:pt x="5224" y="695"/>
                  <a:pt x="5223" y="695"/>
                </a:cubicBezTo>
                <a:cubicBezTo>
                  <a:pt x="5222" y="695"/>
                  <a:pt x="5221" y="689"/>
                  <a:pt x="5221" y="678"/>
                </a:cubicBezTo>
                <a:cubicBezTo>
                  <a:pt x="5221" y="667"/>
                  <a:pt x="5222" y="654"/>
                  <a:pt x="5223" y="638"/>
                </a:cubicBezTo>
                <a:cubicBezTo>
                  <a:pt x="5224" y="623"/>
                  <a:pt x="5226" y="612"/>
                  <a:pt x="5228" y="604"/>
                </a:cubicBezTo>
                <a:cubicBezTo>
                  <a:pt x="5230" y="599"/>
                  <a:pt x="5230" y="595"/>
                  <a:pt x="5230" y="592"/>
                </a:cubicBezTo>
                <a:lnTo>
                  <a:pt x="5230" y="589"/>
                </a:lnTo>
                <a:cubicBezTo>
                  <a:pt x="5230" y="588"/>
                  <a:pt x="5231" y="586"/>
                  <a:pt x="5232" y="585"/>
                </a:cubicBezTo>
                <a:cubicBezTo>
                  <a:pt x="5233" y="583"/>
                  <a:pt x="5234" y="581"/>
                  <a:pt x="5234" y="579"/>
                </a:cubicBezTo>
                <a:lnTo>
                  <a:pt x="5234" y="577"/>
                </a:lnTo>
                <a:cubicBezTo>
                  <a:pt x="5234" y="577"/>
                  <a:pt x="5234" y="576"/>
                  <a:pt x="5234" y="576"/>
                </a:cubicBezTo>
                <a:lnTo>
                  <a:pt x="5236" y="577"/>
                </a:lnTo>
                <a:cubicBezTo>
                  <a:pt x="5237" y="577"/>
                  <a:pt x="5237" y="577"/>
                  <a:pt x="5237" y="576"/>
                </a:cubicBezTo>
                <a:lnTo>
                  <a:pt x="5237" y="574"/>
                </a:lnTo>
                <a:cubicBezTo>
                  <a:pt x="5237" y="572"/>
                  <a:pt x="5239" y="566"/>
                  <a:pt x="5243" y="557"/>
                </a:cubicBezTo>
                <a:cubicBezTo>
                  <a:pt x="5247" y="549"/>
                  <a:pt x="5252" y="541"/>
                  <a:pt x="5258" y="533"/>
                </a:cubicBezTo>
                <a:cubicBezTo>
                  <a:pt x="5267" y="521"/>
                  <a:pt x="5274" y="515"/>
                  <a:pt x="5280" y="515"/>
                </a:cubicBezTo>
                <a:cubicBezTo>
                  <a:pt x="5281" y="515"/>
                  <a:pt x="5283" y="516"/>
                  <a:pt x="5284" y="516"/>
                </a:cubicBezTo>
                <a:cubicBezTo>
                  <a:pt x="5287" y="517"/>
                  <a:pt x="5290" y="518"/>
                  <a:pt x="5295" y="519"/>
                </a:cubicBezTo>
                <a:cubicBezTo>
                  <a:pt x="5299" y="520"/>
                  <a:pt x="5301" y="522"/>
                  <a:pt x="5301" y="523"/>
                </a:cubicBezTo>
                <a:lnTo>
                  <a:pt x="5299" y="529"/>
                </a:lnTo>
                <a:cubicBezTo>
                  <a:pt x="5299" y="531"/>
                  <a:pt x="5300" y="533"/>
                  <a:pt x="5302" y="533"/>
                </a:cubicBezTo>
                <a:cubicBezTo>
                  <a:pt x="5304" y="534"/>
                  <a:pt x="5305" y="535"/>
                  <a:pt x="5305" y="537"/>
                </a:cubicBezTo>
                <a:lnTo>
                  <a:pt x="5305" y="541"/>
                </a:lnTo>
                <a:cubicBezTo>
                  <a:pt x="5304" y="541"/>
                  <a:pt x="5304" y="540"/>
                  <a:pt x="5304" y="538"/>
                </a:cubicBezTo>
                <a:cubicBezTo>
                  <a:pt x="5303" y="536"/>
                  <a:pt x="5302" y="535"/>
                  <a:pt x="5301" y="535"/>
                </a:cubicBezTo>
                <a:cubicBezTo>
                  <a:pt x="5300" y="535"/>
                  <a:pt x="5299" y="537"/>
                  <a:pt x="5298" y="541"/>
                </a:cubicBezTo>
                <a:cubicBezTo>
                  <a:pt x="5297" y="546"/>
                  <a:pt x="5296" y="548"/>
                  <a:pt x="5295" y="548"/>
                </a:cubicBezTo>
                <a:lnTo>
                  <a:pt x="5293" y="547"/>
                </a:lnTo>
                <a:cubicBezTo>
                  <a:pt x="5293" y="547"/>
                  <a:pt x="5292" y="547"/>
                  <a:pt x="5292" y="548"/>
                </a:cubicBezTo>
                <a:cubicBezTo>
                  <a:pt x="5291" y="548"/>
                  <a:pt x="5290" y="549"/>
                  <a:pt x="5290" y="550"/>
                </a:cubicBezTo>
                <a:cubicBezTo>
                  <a:pt x="5290" y="550"/>
                  <a:pt x="5290" y="551"/>
                  <a:pt x="5291" y="551"/>
                </a:cubicBezTo>
                <a:lnTo>
                  <a:pt x="5293" y="550"/>
                </a:lnTo>
                <a:cubicBezTo>
                  <a:pt x="5294" y="550"/>
                  <a:pt x="5294" y="550"/>
                  <a:pt x="5294" y="551"/>
                </a:cubicBezTo>
                <a:cubicBezTo>
                  <a:pt x="5294" y="553"/>
                  <a:pt x="5293" y="555"/>
                  <a:pt x="5292" y="558"/>
                </a:cubicBezTo>
                <a:lnTo>
                  <a:pt x="5290" y="560"/>
                </a:lnTo>
                <a:lnTo>
                  <a:pt x="5292" y="554"/>
                </a:lnTo>
                <a:lnTo>
                  <a:pt x="5291" y="553"/>
                </a:lnTo>
                <a:cubicBezTo>
                  <a:pt x="5291" y="553"/>
                  <a:pt x="5290" y="554"/>
                  <a:pt x="5289" y="556"/>
                </a:cubicBezTo>
                <a:cubicBezTo>
                  <a:pt x="5287" y="558"/>
                  <a:pt x="5285" y="560"/>
                  <a:pt x="5284" y="560"/>
                </a:cubicBezTo>
                <a:cubicBezTo>
                  <a:pt x="5281" y="560"/>
                  <a:pt x="5279" y="556"/>
                  <a:pt x="5279" y="550"/>
                </a:cubicBezTo>
                <a:lnTo>
                  <a:pt x="5279" y="544"/>
                </a:lnTo>
                <a:cubicBezTo>
                  <a:pt x="5279" y="542"/>
                  <a:pt x="5278" y="541"/>
                  <a:pt x="5277" y="541"/>
                </a:cubicBezTo>
                <a:cubicBezTo>
                  <a:pt x="5277" y="541"/>
                  <a:pt x="5277" y="541"/>
                  <a:pt x="5276" y="541"/>
                </a:cubicBezTo>
                <a:cubicBezTo>
                  <a:pt x="5276" y="542"/>
                  <a:pt x="5275" y="543"/>
                  <a:pt x="5275" y="544"/>
                </a:cubicBezTo>
                <a:lnTo>
                  <a:pt x="5275" y="548"/>
                </a:lnTo>
                <a:cubicBezTo>
                  <a:pt x="5275" y="549"/>
                  <a:pt x="5275" y="551"/>
                  <a:pt x="5274" y="553"/>
                </a:cubicBezTo>
                <a:cubicBezTo>
                  <a:pt x="5274" y="556"/>
                  <a:pt x="5273" y="557"/>
                  <a:pt x="5272" y="559"/>
                </a:cubicBezTo>
                <a:cubicBezTo>
                  <a:pt x="5270" y="560"/>
                  <a:pt x="5270" y="561"/>
                  <a:pt x="5269" y="561"/>
                </a:cubicBezTo>
                <a:cubicBezTo>
                  <a:pt x="5269" y="561"/>
                  <a:pt x="5268" y="561"/>
                  <a:pt x="5268" y="561"/>
                </a:cubicBezTo>
                <a:lnTo>
                  <a:pt x="5267" y="560"/>
                </a:lnTo>
                <a:lnTo>
                  <a:pt x="5267" y="562"/>
                </a:lnTo>
                <a:cubicBezTo>
                  <a:pt x="5267" y="564"/>
                  <a:pt x="5265" y="571"/>
                  <a:pt x="5260" y="583"/>
                </a:cubicBezTo>
                <a:cubicBezTo>
                  <a:pt x="5253" y="598"/>
                  <a:pt x="5250" y="607"/>
                  <a:pt x="5250" y="611"/>
                </a:cubicBezTo>
                <a:lnTo>
                  <a:pt x="5250" y="612"/>
                </a:lnTo>
                <a:cubicBezTo>
                  <a:pt x="5250" y="612"/>
                  <a:pt x="5250" y="611"/>
                  <a:pt x="5250" y="610"/>
                </a:cubicBezTo>
                <a:cubicBezTo>
                  <a:pt x="5251" y="610"/>
                  <a:pt x="5251" y="609"/>
                  <a:pt x="5252" y="609"/>
                </a:cubicBezTo>
                <a:lnTo>
                  <a:pt x="5254" y="610"/>
                </a:lnTo>
                <a:lnTo>
                  <a:pt x="5255" y="609"/>
                </a:lnTo>
                <a:cubicBezTo>
                  <a:pt x="5255" y="608"/>
                  <a:pt x="5254" y="608"/>
                  <a:pt x="5254" y="607"/>
                </a:cubicBezTo>
                <a:cubicBezTo>
                  <a:pt x="5254" y="606"/>
                  <a:pt x="5254" y="605"/>
                  <a:pt x="5254" y="604"/>
                </a:cubicBezTo>
                <a:cubicBezTo>
                  <a:pt x="5254" y="602"/>
                  <a:pt x="5254" y="600"/>
                  <a:pt x="5255" y="598"/>
                </a:cubicBezTo>
                <a:cubicBezTo>
                  <a:pt x="5256" y="597"/>
                  <a:pt x="5257" y="596"/>
                  <a:pt x="5259" y="596"/>
                </a:cubicBezTo>
                <a:cubicBezTo>
                  <a:pt x="5259" y="596"/>
                  <a:pt x="5260" y="596"/>
                  <a:pt x="5261" y="597"/>
                </a:cubicBezTo>
                <a:cubicBezTo>
                  <a:pt x="5262" y="597"/>
                  <a:pt x="5262" y="598"/>
                  <a:pt x="5263" y="599"/>
                </a:cubicBezTo>
                <a:cubicBezTo>
                  <a:pt x="5264" y="600"/>
                  <a:pt x="5264" y="601"/>
                  <a:pt x="5264" y="602"/>
                </a:cubicBezTo>
                <a:cubicBezTo>
                  <a:pt x="5264" y="603"/>
                  <a:pt x="5264" y="603"/>
                  <a:pt x="5264" y="603"/>
                </a:cubicBezTo>
                <a:cubicBezTo>
                  <a:pt x="5263" y="603"/>
                  <a:pt x="5262" y="602"/>
                  <a:pt x="5261" y="600"/>
                </a:cubicBezTo>
                <a:lnTo>
                  <a:pt x="5258" y="597"/>
                </a:lnTo>
                <a:lnTo>
                  <a:pt x="5258" y="597"/>
                </a:lnTo>
                <a:cubicBezTo>
                  <a:pt x="5258" y="598"/>
                  <a:pt x="5259" y="599"/>
                  <a:pt x="5259" y="602"/>
                </a:cubicBezTo>
                <a:cubicBezTo>
                  <a:pt x="5260" y="604"/>
                  <a:pt x="5261" y="605"/>
                  <a:pt x="5261" y="606"/>
                </a:cubicBezTo>
                <a:cubicBezTo>
                  <a:pt x="5261" y="607"/>
                  <a:pt x="5260" y="607"/>
                  <a:pt x="5260" y="607"/>
                </a:cubicBezTo>
                <a:lnTo>
                  <a:pt x="5258" y="606"/>
                </a:lnTo>
                <a:cubicBezTo>
                  <a:pt x="5258" y="606"/>
                  <a:pt x="5258" y="607"/>
                  <a:pt x="5258" y="607"/>
                </a:cubicBezTo>
                <a:lnTo>
                  <a:pt x="5259" y="614"/>
                </a:lnTo>
                <a:cubicBezTo>
                  <a:pt x="5259" y="614"/>
                  <a:pt x="5259" y="614"/>
                  <a:pt x="5259" y="614"/>
                </a:cubicBezTo>
                <a:lnTo>
                  <a:pt x="5256" y="613"/>
                </a:lnTo>
                <a:cubicBezTo>
                  <a:pt x="5256" y="613"/>
                  <a:pt x="5255" y="614"/>
                  <a:pt x="5255" y="614"/>
                </a:cubicBezTo>
                <a:cubicBezTo>
                  <a:pt x="5255" y="615"/>
                  <a:pt x="5256" y="616"/>
                  <a:pt x="5256" y="617"/>
                </a:cubicBezTo>
                <a:cubicBezTo>
                  <a:pt x="5256" y="618"/>
                  <a:pt x="5256" y="619"/>
                  <a:pt x="5256" y="620"/>
                </a:cubicBezTo>
                <a:cubicBezTo>
                  <a:pt x="5256" y="622"/>
                  <a:pt x="5256" y="623"/>
                  <a:pt x="5255" y="623"/>
                </a:cubicBezTo>
                <a:cubicBezTo>
                  <a:pt x="5254" y="624"/>
                  <a:pt x="5254" y="625"/>
                  <a:pt x="5254" y="625"/>
                </a:cubicBezTo>
                <a:lnTo>
                  <a:pt x="5255" y="628"/>
                </a:lnTo>
                <a:cubicBezTo>
                  <a:pt x="5255" y="628"/>
                  <a:pt x="5255" y="628"/>
                  <a:pt x="5255" y="628"/>
                </a:cubicBezTo>
                <a:lnTo>
                  <a:pt x="5252" y="627"/>
                </a:lnTo>
                <a:cubicBezTo>
                  <a:pt x="5251" y="627"/>
                  <a:pt x="5251" y="628"/>
                  <a:pt x="5251" y="629"/>
                </a:cubicBezTo>
                <a:lnTo>
                  <a:pt x="5251" y="634"/>
                </a:lnTo>
                <a:cubicBezTo>
                  <a:pt x="5251" y="636"/>
                  <a:pt x="5251" y="638"/>
                  <a:pt x="5250" y="639"/>
                </a:cubicBezTo>
                <a:cubicBezTo>
                  <a:pt x="5249" y="642"/>
                  <a:pt x="5248" y="648"/>
                  <a:pt x="5247" y="657"/>
                </a:cubicBezTo>
                <a:cubicBezTo>
                  <a:pt x="5246" y="666"/>
                  <a:pt x="5246" y="674"/>
                  <a:pt x="5246" y="683"/>
                </a:cubicBezTo>
                <a:cubicBezTo>
                  <a:pt x="5246" y="690"/>
                  <a:pt x="5246" y="696"/>
                  <a:pt x="5247" y="701"/>
                </a:cubicBezTo>
                <a:cubicBezTo>
                  <a:pt x="5249" y="711"/>
                  <a:pt x="5256" y="716"/>
                  <a:pt x="5268" y="716"/>
                </a:cubicBezTo>
                <a:cubicBezTo>
                  <a:pt x="5297" y="716"/>
                  <a:pt x="5357" y="689"/>
                  <a:pt x="5448" y="637"/>
                </a:cubicBezTo>
                <a:lnTo>
                  <a:pt x="5548" y="578"/>
                </a:lnTo>
                <a:cubicBezTo>
                  <a:pt x="5573" y="563"/>
                  <a:pt x="5587" y="555"/>
                  <a:pt x="5590" y="555"/>
                </a:cubicBezTo>
                <a:lnTo>
                  <a:pt x="5591" y="555"/>
                </a:lnTo>
                <a:cubicBezTo>
                  <a:pt x="5592" y="555"/>
                  <a:pt x="5592" y="555"/>
                  <a:pt x="5592" y="554"/>
                </a:cubicBezTo>
                <a:cubicBezTo>
                  <a:pt x="5592" y="553"/>
                  <a:pt x="5592" y="552"/>
                  <a:pt x="5593" y="551"/>
                </a:cubicBezTo>
                <a:cubicBezTo>
                  <a:pt x="5594" y="551"/>
                  <a:pt x="5594" y="551"/>
                  <a:pt x="5595" y="551"/>
                </a:cubicBezTo>
                <a:cubicBezTo>
                  <a:pt x="5597" y="551"/>
                  <a:pt x="5598" y="550"/>
                  <a:pt x="5598" y="549"/>
                </a:cubicBezTo>
                <a:cubicBezTo>
                  <a:pt x="5598" y="548"/>
                  <a:pt x="5599" y="547"/>
                  <a:pt x="5599" y="547"/>
                </a:cubicBezTo>
                <a:lnTo>
                  <a:pt x="5602" y="548"/>
                </a:lnTo>
                <a:cubicBezTo>
                  <a:pt x="5602" y="548"/>
                  <a:pt x="5603" y="547"/>
                  <a:pt x="5603" y="546"/>
                </a:cubicBezTo>
                <a:cubicBezTo>
                  <a:pt x="5603" y="545"/>
                  <a:pt x="5604" y="545"/>
                  <a:pt x="5606" y="545"/>
                </a:cubicBezTo>
                <a:lnTo>
                  <a:pt x="5607" y="545"/>
                </a:lnTo>
                <a:cubicBezTo>
                  <a:pt x="5609" y="545"/>
                  <a:pt x="5612" y="543"/>
                  <a:pt x="5615" y="540"/>
                </a:cubicBezTo>
                <a:lnTo>
                  <a:pt x="5616" y="539"/>
                </a:lnTo>
                <a:cubicBezTo>
                  <a:pt x="5617" y="539"/>
                  <a:pt x="5619" y="540"/>
                  <a:pt x="5621" y="542"/>
                </a:cubicBezTo>
                <a:cubicBezTo>
                  <a:pt x="5623" y="544"/>
                  <a:pt x="5625" y="546"/>
                  <a:pt x="5627" y="548"/>
                </a:cubicBezTo>
                <a:cubicBezTo>
                  <a:pt x="5628" y="550"/>
                  <a:pt x="5629" y="551"/>
                  <a:pt x="5629" y="552"/>
                </a:cubicBezTo>
                <a:cubicBezTo>
                  <a:pt x="5629" y="555"/>
                  <a:pt x="5623" y="560"/>
                  <a:pt x="5611" y="568"/>
                </a:cubicBezTo>
                <a:cubicBezTo>
                  <a:pt x="5608" y="570"/>
                  <a:pt x="5606" y="571"/>
                  <a:pt x="5605" y="571"/>
                </a:cubicBezTo>
                <a:cubicBezTo>
                  <a:pt x="5604" y="571"/>
                  <a:pt x="5604" y="571"/>
                  <a:pt x="5604" y="570"/>
                </a:cubicBezTo>
                <a:cubicBezTo>
                  <a:pt x="5604" y="569"/>
                  <a:pt x="5604" y="568"/>
                  <a:pt x="5605" y="568"/>
                </a:cubicBezTo>
                <a:lnTo>
                  <a:pt x="5606" y="568"/>
                </a:lnTo>
                <a:cubicBezTo>
                  <a:pt x="5607" y="568"/>
                  <a:pt x="5607" y="568"/>
                  <a:pt x="5607" y="567"/>
                </a:cubicBezTo>
                <a:cubicBezTo>
                  <a:pt x="5607" y="566"/>
                  <a:pt x="5608" y="566"/>
                  <a:pt x="5609" y="565"/>
                </a:cubicBezTo>
                <a:cubicBezTo>
                  <a:pt x="5611" y="564"/>
                  <a:pt x="5612" y="563"/>
                  <a:pt x="5614" y="562"/>
                </a:cubicBezTo>
                <a:cubicBezTo>
                  <a:pt x="5616" y="561"/>
                  <a:pt x="5618" y="561"/>
                  <a:pt x="5620" y="559"/>
                </a:cubicBezTo>
                <a:cubicBezTo>
                  <a:pt x="5621" y="558"/>
                  <a:pt x="5622" y="557"/>
                  <a:pt x="5622" y="556"/>
                </a:cubicBezTo>
                <a:cubicBezTo>
                  <a:pt x="5622" y="554"/>
                  <a:pt x="5622" y="553"/>
                  <a:pt x="5621" y="553"/>
                </a:cubicBezTo>
                <a:cubicBezTo>
                  <a:pt x="5620" y="553"/>
                  <a:pt x="5618" y="554"/>
                  <a:pt x="5616" y="557"/>
                </a:cubicBezTo>
                <a:cubicBezTo>
                  <a:pt x="5613" y="560"/>
                  <a:pt x="5611" y="561"/>
                  <a:pt x="5610" y="561"/>
                </a:cubicBezTo>
                <a:lnTo>
                  <a:pt x="5609" y="561"/>
                </a:lnTo>
                <a:cubicBezTo>
                  <a:pt x="5607" y="561"/>
                  <a:pt x="5606" y="562"/>
                  <a:pt x="5604" y="564"/>
                </a:cubicBezTo>
                <a:cubicBezTo>
                  <a:pt x="5602" y="566"/>
                  <a:pt x="5600" y="568"/>
                  <a:pt x="5597" y="569"/>
                </a:cubicBezTo>
                <a:cubicBezTo>
                  <a:pt x="5594" y="571"/>
                  <a:pt x="5591" y="571"/>
                  <a:pt x="5590" y="571"/>
                </a:cubicBezTo>
                <a:lnTo>
                  <a:pt x="5588" y="571"/>
                </a:lnTo>
                <a:cubicBezTo>
                  <a:pt x="5587" y="571"/>
                  <a:pt x="5587" y="571"/>
                  <a:pt x="5586" y="573"/>
                </a:cubicBezTo>
                <a:cubicBezTo>
                  <a:pt x="5585" y="574"/>
                  <a:pt x="5584" y="576"/>
                  <a:pt x="5584" y="578"/>
                </a:cubicBezTo>
                <a:cubicBezTo>
                  <a:pt x="5583" y="580"/>
                  <a:pt x="5582" y="581"/>
                  <a:pt x="5582" y="583"/>
                </a:cubicBezTo>
                <a:lnTo>
                  <a:pt x="5582" y="586"/>
                </a:lnTo>
                <a:lnTo>
                  <a:pt x="5582" y="585"/>
                </a:lnTo>
                <a:cubicBezTo>
                  <a:pt x="5580" y="582"/>
                  <a:pt x="5579" y="580"/>
                  <a:pt x="5577" y="580"/>
                </a:cubicBezTo>
                <a:cubicBezTo>
                  <a:pt x="5575" y="580"/>
                  <a:pt x="5574" y="581"/>
                  <a:pt x="5573" y="583"/>
                </a:cubicBezTo>
                <a:cubicBezTo>
                  <a:pt x="5572" y="585"/>
                  <a:pt x="5572" y="586"/>
                  <a:pt x="5572" y="588"/>
                </a:cubicBezTo>
                <a:lnTo>
                  <a:pt x="5572" y="588"/>
                </a:lnTo>
                <a:cubicBezTo>
                  <a:pt x="5572" y="589"/>
                  <a:pt x="5571" y="589"/>
                  <a:pt x="5571" y="589"/>
                </a:cubicBezTo>
                <a:lnTo>
                  <a:pt x="5568" y="588"/>
                </a:lnTo>
                <a:cubicBezTo>
                  <a:pt x="5566" y="588"/>
                  <a:pt x="5566" y="590"/>
                  <a:pt x="5566" y="593"/>
                </a:cubicBezTo>
                <a:cubicBezTo>
                  <a:pt x="5566" y="596"/>
                  <a:pt x="5565" y="598"/>
                  <a:pt x="5563" y="598"/>
                </a:cubicBezTo>
                <a:cubicBezTo>
                  <a:pt x="5561" y="599"/>
                  <a:pt x="5560" y="600"/>
                  <a:pt x="5560" y="601"/>
                </a:cubicBezTo>
                <a:lnTo>
                  <a:pt x="5562" y="603"/>
                </a:lnTo>
                <a:lnTo>
                  <a:pt x="5561" y="604"/>
                </a:lnTo>
                <a:lnTo>
                  <a:pt x="5560" y="603"/>
                </a:lnTo>
                <a:cubicBezTo>
                  <a:pt x="5560" y="603"/>
                  <a:pt x="5560" y="603"/>
                  <a:pt x="5559" y="603"/>
                </a:cubicBezTo>
                <a:cubicBezTo>
                  <a:pt x="5558" y="603"/>
                  <a:pt x="5557" y="603"/>
                  <a:pt x="5556" y="604"/>
                </a:cubicBezTo>
                <a:cubicBezTo>
                  <a:pt x="5555" y="605"/>
                  <a:pt x="5554" y="605"/>
                  <a:pt x="5553" y="605"/>
                </a:cubicBezTo>
                <a:cubicBezTo>
                  <a:pt x="5553" y="605"/>
                  <a:pt x="5553" y="605"/>
                  <a:pt x="5553" y="604"/>
                </a:cubicBezTo>
                <a:cubicBezTo>
                  <a:pt x="5553" y="603"/>
                  <a:pt x="5554" y="601"/>
                  <a:pt x="5555" y="601"/>
                </a:cubicBezTo>
                <a:cubicBezTo>
                  <a:pt x="5556" y="600"/>
                  <a:pt x="5557" y="600"/>
                  <a:pt x="5557" y="599"/>
                </a:cubicBezTo>
                <a:cubicBezTo>
                  <a:pt x="5557" y="598"/>
                  <a:pt x="5556" y="596"/>
                  <a:pt x="5556" y="595"/>
                </a:cubicBezTo>
                <a:cubicBezTo>
                  <a:pt x="5555" y="593"/>
                  <a:pt x="5555" y="593"/>
                  <a:pt x="5554" y="593"/>
                </a:cubicBezTo>
                <a:cubicBezTo>
                  <a:pt x="5554" y="593"/>
                  <a:pt x="5553" y="593"/>
                  <a:pt x="5552" y="595"/>
                </a:cubicBezTo>
                <a:cubicBezTo>
                  <a:pt x="5549" y="598"/>
                  <a:pt x="5540" y="603"/>
                  <a:pt x="5524" y="612"/>
                </a:cubicBezTo>
                <a:cubicBezTo>
                  <a:pt x="5508" y="620"/>
                  <a:pt x="5500" y="625"/>
                  <a:pt x="5500" y="627"/>
                </a:cubicBezTo>
                <a:cubicBezTo>
                  <a:pt x="5500" y="628"/>
                  <a:pt x="5499" y="628"/>
                  <a:pt x="5497" y="628"/>
                </a:cubicBezTo>
                <a:cubicBezTo>
                  <a:pt x="5495" y="628"/>
                  <a:pt x="5494" y="629"/>
                  <a:pt x="5494" y="630"/>
                </a:cubicBezTo>
                <a:lnTo>
                  <a:pt x="5494" y="635"/>
                </a:lnTo>
                <a:cubicBezTo>
                  <a:pt x="5494" y="635"/>
                  <a:pt x="5493" y="634"/>
                  <a:pt x="5492" y="634"/>
                </a:cubicBezTo>
                <a:cubicBezTo>
                  <a:pt x="5492" y="633"/>
                  <a:pt x="5490" y="632"/>
                  <a:pt x="5490" y="632"/>
                </a:cubicBezTo>
                <a:cubicBezTo>
                  <a:pt x="5488" y="632"/>
                  <a:pt x="5486" y="633"/>
                  <a:pt x="5483" y="634"/>
                </a:cubicBezTo>
                <a:cubicBezTo>
                  <a:pt x="5481" y="635"/>
                  <a:pt x="5479" y="636"/>
                  <a:pt x="5477" y="638"/>
                </a:cubicBezTo>
                <a:cubicBezTo>
                  <a:pt x="5475" y="639"/>
                  <a:pt x="5474" y="641"/>
                  <a:pt x="5474" y="642"/>
                </a:cubicBezTo>
                <a:lnTo>
                  <a:pt x="5474" y="643"/>
                </a:lnTo>
                <a:lnTo>
                  <a:pt x="5474" y="646"/>
                </a:lnTo>
                <a:cubicBezTo>
                  <a:pt x="5472" y="648"/>
                  <a:pt x="5470" y="650"/>
                  <a:pt x="5468" y="650"/>
                </a:cubicBezTo>
                <a:cubicBezTo>
                  <a:pt x="5467" y="650"/>
                  <a:pt x="5467" y="649"/>
                  <a:pt x="5467" y="649"/>
                </a:cubicBezTo>
                <a:cubicBezTo>
                  <a:pt x="5467" y="648"/>
                  <a:pt x="5467" y="647"/>
                  <a:pt x="5468" y="646"/>
                </a:cubicBezTo>
                <a:cubicBezTo>
                  <a:pt x="5470" y="644"/>
                  <a:pt x="5470" y="643"/>
                  <a:pt x="5470" y="643"/>
                </a:cubicBezTo>
                <a:lnTo>
                  <a:pt x="5470" y="643"/>
                </a:lnTo>
                <a:cubicBezTo>
                  <a:pt x="5469" y="643"/>
                  <a:pt x="5465" y="644"/>
                  <a:pt x="5460" y="648"/>
                </a:cubicBezTo>
                <a:cubicBezTo>
                  <a:pt x="5455" y="652"/>
                  <a:pt x="5452" y="654"/>
                  <a:pt x="5452" y="655"/>
                </a:cubicBezTo>
                <a:cubicBezTo>
                  <a:pt x="5452" y="657"/>
                  <a:pt x="5451" y="658"/>
                  <a:pt x="5451" y="659"/>
                </a:cubicBezTo>
                <a:cubicBezTo>
                  <a:pt x="5450" y="660"/>
                  <a:pt x="5448" y="661"/>
                  <a:pt x="5446" y="661"/>
                </a:cubicBezTo>
                <a:cubicBezTo>
                  <a:pt x="5446" y="661"/>
                  <a:pt x="5447" y="660"/>
                  <a:pt x="5448" y="659"/>
                </a:cubicBezTo>
                <a:cubicBezTo>
                  <a:pt x="5450" y="658"/>
                  <a:pt x="5450" y="657"/>
                  <a:pt x="5450" y="656"/>
                </a:cubicBezTo>
                <a:cubicBezTo>
                  <a:pt x="5450" y="655"/>
                  <a:pt x="5450" y="655"/>
                  <a:pt x="5450" y="655"/>
                </a:cubicBezTo>
                <a:cubicBezTo>
                  <a:pt x="5448" y="655"/>
                  <a:pt x="5446" y="655"/>
                  <a:pt x="5444" y="657"/>
                </a:cubicBezTo>
                <a:cubicBezTo>
                  <a:pt x="5442" y="658"/>
                  <a:pt x="5441" y="659"/>
                  <a:pt x="5441" y="660"/>
                </a:cubicBezTo>
                <a:cubicBezTo>
                  <a:pt x="5441" y="661"/>
                  <a:pt x="5441" y="661"/>
                  <a:pt x="5442" y="661"/>
                </a:cubicBezTo>
                <a:cubicBezTo>
                  <a:pt x="5443" y="661"/>
                  <a:pt x="5443" y="661"/>
                  <a:pt x="5443" y="662"/>
                </a:cubicBezTo>
                <a:lnTo>
                  <a:pt x="5443" y="665"/>
                </a:lnTo>
                <a:cubicBezTo>
                  <a:pt x="5443" y="666"/>
                  <a:pt x="5443" y="668"/>
                  <a:pt x="5445" y="669"/>
                </a:cubicBezTo>
                <a:cubicBezTo>
                  <a:pt x="5446" y="671"/>
                  <a:pt x="5447" y="672"/>
                  <a:pt x="5447" y="673"/>
                </a:cubicBezTo>
                <a:cubicBezTo>
                  <a:pt x="5447" y="674"/>
                  <a:pt x="5446" y="674"/>
                  <a:pt x="5444" y="674"/>
                </a:cubicBezTo>
                <a:cubicBezTo>
                  <a:pt x="5441" y="674"/>
                  <a:pt x="5436" y="677"/>
                  <a:pt x="5428" y="681"/>
                </a:cubicBezTo>
                <a:cubicBezTo>
                  <a:pt x="5420" y="686"/>
                  <a:pt x="5416" y="689"/>
                  <a:pt x="5416" y="690"/>
                </a:cubicBezTo>
                <a:cubicBezTo>
                  <a:pt x="5416" y="691"/>
                  <a:pt x="5415" y="692"/>
                  <a:pt x="5413" y="692"/>
                </a:cubicBezTo>
                <a:lnTo>
                  <a:pt x="5409" y="692"/>
                </a:lnTo>
                <a:cubicBezTo>
                  <a:pt x="5406" y="692"/>
                  <a:pt x="5405" y="692"/>
                  <a:pt x="5405" y="693"/>
                </a:cubicBezTo>
                <a:cubicBezTo>
                  <a:pt x="5405" y="694"/>
                  <a:pt x="5404" y="694"/>
                  <a:pt x="5404" y="694"/>
                </a:cubicBezTo>
                <a:lnTo>
                  <a:pt x="5401" y="693"/>
                </a:lnTo>
                <a:cubicBezTo>
                  <a:pt x="5401" y="693"/>
                  <a:pt x="5401" y="693"/>
                  <a:pt x="5401" y="694"/>
                </a:cubicBezTo>
                <a:cubicBezTo>
                  <a:pt x="5401" y="695"/>
                  <a:pt x="5401" y="696"/>
                  <a:pt x="5402" y="697"/>
                </a:cubicBezTo>
                <a:cubicBezTo>
                  <a:pt x="5402" y="699"/>
                  <a:pt x="5403" y="699"/>
                  <a:pt x="5403" y="700"/>
                </a:cubicBezTo>
                <a:cubicBezTo>
                  <a:pt x="5402" y="700"/>
                  <a:pt x="5401" y="698"/>
                  <a:pt x="5399" y="696"/>
                </a:cubicBezTo>
                <a:cubicBezTo>
                  <a:pt x="5398" y="694"/>
                  <a:pt x="5396" y="693"/>
                  <a:pt x="5396" y="693"/>
                </a:cubicBezTo>
                <a:cubicBezTo>
                  <a:pt x="5396" y="693"/>
                  <a:pt x="5395" y="693"/>
                  <a:pt x="5395" y="694"/>
                </a:cubicBezTo>
                <a:cubicBezTo>
                  <a:pt x="5395" y="694"/>
                  <a:pt x="5396" y="696"/>
                  <a:pt x="5396" y="697"/>
                </a:cubicBezTo>
                <a:cubicBezTo>
                  <a:pt x="5397" y="698"/>
                  <a:pt x="5397" y="700"/>
                  <a:pt x="5397" y="701"/>
                </a:cubicBezTo>
                <a:cubicBezTo>
                  <a:pt x="5397" y="703"/>
                  <a:pt x="5396" y="704"/>
                  <a:pt x="5394" y="704"/>
                </a:cubicBezTo>
                <a:cubicBezTo>
                  <a:pt x="5393" y="704"/>
                  <a:pt x="5393" y="704"/>
                  <a:pt x="5393" y="703"/>
                </a:cubicBezTo>
                <a:lnTo>
                  <a:pt x="5393" y="700"/>
                </a:lnTo>
                <a:cubicBezTo>
                  <a:pt x="5393" y="699"/>
                  <a:pt x="5393" y="698"/>
                  <a:pt x="5391" y="698"/>
                </a:cubicBezTo>
                <a:cubicBezTo>
                  <a:pt x="5389" y="698"/>
                  <a:pt x="5388" y="700"/>
                  <a:pt x="5388" y="703"/>
                </a:cubicBezTo>
                <a:cubicBezTo>
                  <a:pt x="5388" y="706"/>
                  <a:pt x="5386" y="709"/>
                  <a:pt x="5382" y="711"/>
                </a:cubicBezTo>
                <a:cubicBezTo>
                  <a:pt x="5379" y="714"/>
                  <a:pt x="5376" y="715"/>
                  <a:pt x="5373" y="715"/>
                </a:cubicBezTo>
                <a:cubicBezTo>
                  <a:pt x="5372" y="715"/>
                  <a:pt x="5371" y="714"/>
                  <a:pt x="5370" y="713"/>
                </a:cubicBezTo>
                <a:cubicBezTo>
                  <a:pt x="5369" y="713"/>
                  <a:pt x="5368" y="712"/>
                  <a:pt x="5368" y="712"/>
                </a:cubicBezTo>
                <a:cubicBezTo>
                  <a:pt x="5368" y="713"/>
                  <a:pt x="5368" y="714"/>
                  <a:pt x="5368" y="716"/>
                </a:cubicBezTo>
                <a:lnTo>
                  <a:pt x="5368" y="716"/>
                </a:lnTo>
                <a:cubicBezTo>
                  <a:pt x="5368" y="719"/>
                  <a:pt x="5361" y="723"/>
                  <a:pt x="5348" y="729"/>
                </a:cubicBezTo>
                <a:cubicBezTo>
                  <a:pt x="5323" y="741"/>
                  <a:pt x="5302" y="747"/>
                  <a:pt x="5286" y="747"/>
                </a:cubicBezTo>
                <a:close/>
                <a:moveTo>
                  <a:pt x="5245" y="627"/>
                </a:moveTo>
                <a:cubicBezTo>
                  <a:pt x="5245" y="627"/>
                  <a:pt x="5246" y="627"/>
                  <a:pt x="5246" y="626"/>
                </a:cubicBezTo>
                <a:cubicBezTo>
                  <a:pt x="5247" y="625"/>
                  <a:pt x="5247" y="624"/>
                  <a:pt x="5248" y="622"/>
                </a:cubicBezTo>
                <a:cubicBezTo>
                  <a:pt x="5249" y="621"/>
                  <a:pt x="5249" y="620"/>
                  <a:pt x="5249" y="618"/>
                </a:cubicBezTo>
                <a:cubicBezTo>
                  <a:pt x="5249" y="618"/>
                  <a:pt x="5249" y="618"/>
                  <a:pt x="5248" y="618"/>
                </a:cubicBezTo>
                <a:cubicBezTo>
                  <a:pt x="5248" y="618"/>
                  <a:pt x="5247" y="618"/>
                  <a:pt x="5247" y="619"/>
                </a:cubicBezTo>
                <a:cubicBezTo>
                  <a:pt x="5246" y="620"/>
                  <a:pt x="5245" y="622"/>
                  <a:pt x="5245" y="623"/>
                </a:cubicBezTo>
                <a:cubicBezTo>
                  <a:pt x="5245" y="624"/>
                  <a:pt x="5244" y="625"/>
                  <a:pt x="5244" y="626"/>
                </a:cubicBezTo>
                <a:cubicBezTo>
                  <a:pt x="5244" y="627"/>
                  <a:pt x="5245" y="627"/>
                  <a:pt x="5245" y="627"/>
                </a:cubicBezTo>
                <a:close/>
                <a:moveTo>
                  <a:pt x="5269" y="734"/>
                </a:moveTo>
                <a:cubicBezTo>
                  <a:pt x="5271" y="734"/>
                  <a:pt x="5272" y="734"/>
                  <a:pt x="5272" y="733"/>
                </a:cubicBezTo>
                <a:lnTo>
                  <a:pt x="5272" y="732"/>
                </a:lnTo>
                <a:lnTo>
                  <a:pt x="5270" y="732"/>
                </a:lnTo>
                <a:cubicBezTo>
                  <a:pt x="5268" y="732"/>
                  <a:pt x="5267" y="732"/>
                  <a:pt x="5267" y="734"/>
                </a:cubicBezTo>
                <a:cubicBezTo>
                  <a:pt x="5267" y="734"/>
                  <a:pt x="5268" y="734"/>
                  <a:pt x="5269" y="734"/>
                </a:cubicBezTo>
                <a:close/>
                <a:moveTo>
                  <a:pt x="5374" y="712"/>
                </a:moveTo>
                <a:cubicBezTo>
                  <a:pt x="5376" y="712"/>
                  <a:pt x="5378" y="711"/>
                  <a:pt x="5378" y="710"/>
                </a:cubicBezTo>
                <a:cubicBezTo>
                  <a:pt x="5378" y="710"/>
                  <a:pt x="5378" y="709"/>
                  <a:pt x="5377" y="708"/>
                </a:cubicBezTo>
                <a:cubicBezTo>
                  <a:pt x="5376" y="707"/>
                  <a:pt x="5375" y="707"/>
                  <a:pt x="5375" y="707"/>
                </a:cubicBezTo>
                <a:cubicBezTo>
                  <a:pt x="5374" y="707"/>
                  <a:pt x="5374" y="708"/>
                  <a:pt x="5373" y="709"/>
                </a:cubicBezTo>
                <a:cubicBezTo>
                  <a:pt x="5371" y="710"/>
                  <a:pt x="5371" y="711"/>
                  <a:pt x="5370" y="711"/>
                </a:cubicBezTo>
                <a:lnTo>
                  <a:pt x="5374" y="712"/>
                </a:lnTo>
                <a:close/>
                <a:moveTo>
                  <a:pt x="5290" y="735"/>
                </a:moveTo>
                <a:cubicBezTo>
                  <a:pt x="5291" y="735"/>
                  <a:pt x="5297" y="733"/>
                  <a:pt x="5307" y="730"/>
                </a:cubicBezTo>
                <a:cubicBezTo>
                  <a:pt x="5310" y="730"/>
                  <a:pt x="5318" y="727"/>
                  <a:pt x="5331" y="722"/>
                </a:cubicBezTo>
                <a:cubicBezTo>
                  <a:pt x="5343" y="717"/>
                  <a:pt x="5350" y="714"/>
                  <a:pt x="5351" y="713"/>
                </a:cubicBezTo>
                <a:cubicBezTo>
                  <a:pt x="5351" y="713"/>
                  <a:pt x="5353" y="712"/>
                  <a:pt x="5357" y="712"/>
                </a:cubicBezTo>
                <a:cubicBezTo>
                  <a:pt x="5361" y="711"/>
                  <a:pt x="5365" y="709"/>
                  <a:pt x="5369" y="706"/>
                </a:cubicBezTo>
                <a:cubicBezTo>
                  <a:pt x="5374" y="704"/>
                  <a:pt x="5377" y="702"/>
                  <a:pt x="5378" y="702"/>
                </a:cubicBezTo>
                <a:cubicBezTo>
                  <a:pt x="5378" y="702"/>
                  <a:pt x="5379" y="703"/>
                  <a:pt x="5379" y="703"/>
                </a:cubicBezTo>
                <a:lnTo>
                  <a:pt x="5378" y="706"/>
                </a:lnTo>
                <a:cubicBezTo>
                  <a:pt x="5378" y="707"/>
                  <a:pt x="5378" y="708"/>
                  <a:pt x="5380" y="708"/>
                </a:cubicBezTo>
                <a:cubicBezTo>
                  <a:pt x="5381" y="708"/>
                  <a:pt x="5382" y="707"/>
                  <a:pt x="5384" y="706"/>
                </a:cubicBezTo>
                <a:cubicBezTo>
                  <a:pt x="5385" y="705"/>
                  <a:pt x="5386" y="705"/>
                  <a:pt x="5386" y="704"/>
                </a:cubicBezTo>
                <a:cubicBezTo>
                  <a:pt x="5386" y="704"/>
                  <a:pt x="5385" y="703"/>
                  <a:pt x="5384" y="702"/>
                </a:cubicBezTo>
                <a:cubicBezTo>
                  <a:pt x="5382" y="701"/>
                  <a:pt x="5381" y="701"/>
                  <a:pt x="5381" y="700"/>
                </a:cubicBezTo>
                <a:lnTo>
                  <a:pt x="5381" y="699"/>
                </a:lnTo>
                <a:cubicBezTo>
                  <a:pt x="5385" y="697"/>
                  <a:pt x="5390" y="694"/>
                  <a:pt x="5395" y="692"/>
                </a:cubicBezTo>
                <a:lnTo>
                  <a:pt x="5399" y="691"/>
                </a:lnTo>
                <a:cubicBezTo>
                  <a:pt x="5402" y="691"/>
                  <a:pt x="5403" y="690"/>
                  <a:pt x="5403" y="688"/>
                </a:cubicBezTo>
                <a:cubicBezTo>
                  <a:pt x="5403" y="687"/>
                  <a:pt x="5403" y="686"/>
                  <a:pt x="5401" y="686"/>
                </a:cubicBezTo>
                <a:cubicBezTo>
                  <a:pt x="5400" y="686"/>
                  <a:pt x="5397" y="688"/>
                  <a:pt x="5393" y="690"/>
                </a:cubicBezTo>
                <a:lnTo>
                  <a:pt x="5391" y="691"/>
                </a:lnTo>
                <a:cubicBezTo>
                  <a:pt x="5390" y="691"/>
                  <a:pt x="5390" y="690"/>
                  <a:pt x="5390" y="690"/>
                </a:cubicBezTo>
                <a:lnTo>
                  <a:pt x="5391" y="688"/>
                </a:lnTo>
                <a:cubicBezTo>
                  <a:pt x="5391" y="687"/>
                  <a:pt x="5391" y="687"/>
                  <a:pt x="5391" y="687"/>
                </a:cubicBezTo>
                <a:cubicBezTo>
                  <a:pt x="5390" y="687"/>
                  <a:pt x="5390" y="687"/>
                  <a:pt x="5389" y="688"/>
                </a:cubicBezTo>
                <a:cubicBezTo>
                  <a:pt x="5388" y="688"/>
                  <a:pt x="5387" y="688"/>
                  <a:pt x="5387" y="689"/>
                </a:cubicBezTo>
                <a:cubicBezTo>
                  <a:pt x="5386" y="690"/>
                  <a:pt x="5386" y="690"/>
                  <a:pt x="5386" y="691"/>
                </a:cubicBezTo>
                <a:lnTo>
                  <a:pt x="5386" y="691"/>
                </a:lnTo>
                <a:cubicBezTo>
                  <a:pt x="5386" y="693"/>
                  <a:pt x="5384" y="694"/>
                  <a:pt x="5381" y="694"/>
                </a:cubicBezTo>
                <a:cubicBezTo>
                  <a:pt x="5376" y="695"/>
                  <a:pt x="5366" y="699"/>
                  <a:pt x="5350" y="707"/>
                </a:cubicBezTo>
                <a:cubicBezTo>
                  <a:pt x="5338" y="713"/>
                  <a:pt x="5330" y="718"/>
                  <a:pt x="5324" y="720"/>
                </a:cubicBezTo>
                <a:cubicBezTo>
                  <a:pt x="5319" y="722"/>
                  <a:pt x="5315" y="723"/>
                  <a:pt x="5311" y="724"/>
                </a:cubicBezTo>
                <a:cubicBezTo>
                  <a:pt x="5308" y="725"/>
                  <a:pt x="5306" y="725"/>
                  <a:pt x="5306" y="727"/>
                </a:cubicBezTo>
                <a:cubicBezTo>
                  <a:pt x="5305" y="728"/>
                  <a:pt x="5304" y="728"/>
                  <a:pt x="5302" y="728"/>
                </a:cubicBezTo>
                <a:cubicBezTo>
                  <a:pt x="5302" y="728"/>
                  <a:pt x="5301" y="728"/>
                  <a:pt x="5300" y="728"/>
                </a:cubicBezTo>
                <a:cubicBezTo>
                  <a:pt x="5299" y="728"/>
                  <a:pt x="5298" y="728"/>
                  <a:pt x="5298" y="728"/>
                </a:cubicBezTo>
                <a:cubicBezTo>
                  <a:pt x="5297" y="728"/>
                  <a:pt x="5297" y="728"/>
                  <a:pt x="5297" y="728"/>
                </a:cubicBezTo>
                <a:lnTo>
                  <a:pt x="5298" y="730"/>
                </a:lnTo>
                <a:cubicBezTo>
                  <a:pt x="5298" y="731"/>
                  <a:pt x="5297" y="732"/>
                  <a:pt x="5296" y="732"/>
                </a:cubicBezTo>
                <a:lnTo>
                  <a:pt x="5287" y="730"/>
                </a:lnTo>
                <a:lnTo>
                  <a:pt x="5287" y="730"/>
                </a:lnTo>
                <a:lnTo>
                  <a:pt x="5288" y="731"/>
                </a:lnTo>
                <a:cubicBezTo>
                  <a:pt x="5289" y="732"/>
                  <a:pt x="5289" y="732"/>
                  <a:pt x="5289" y="733"/>
                </a:cubicBezTo>
                <a:lnTo>
                  <a:pt x="5289" y="735"/>
                </a:lnTo>
                <a:lnTo>
                  <a:pt x="5290" y="735"/>
                </a:lnTo>
                <a:close/>
                <a:moveTo>
                  <a:pt x="5396" y="686"/>
                </a:moveTo>
                <a:cubicBezTo>
                  <a:pt x="5398" y="686"/>
                  <a:pt x="5399" y="685"/>
                  <a:pt x="5399" y="683"/>
                </a:cubicBezTo>
                <a:lnTo>
                  <a:pt x="5400" y="683"/>
                </a:lnTo>
                <a:cubicBezTo>
                  <a:pt x="5400" y="683"/>
                  <a:pt x="5400" y="683"/>
                  <a:pt x="5399" y="683"/>
                </a:cubicBezTo>
                <a:lnTo>
                  <a:pt x="5398" y="683"/>
                </a:lnTo>
                <a:cubicBezTo>
                  <a:pt x="5395" y="684"/>
                  <a:pt x="5394" y="685"/>
                  <a:pt x="5394" y="686"/>
                </a:cubicBezTo>
                <a:cubicBezTo>
                  <a:pt x="5394" y="686"/>
                  <a:pt x="5395" y="686"/>
                  <a:pt x="5396" y="686"/>
                </a:cubicBezTo>
                <a:close/>
                <a:moveTo>
                  <a:pt x="5276" y="727"/>
                </a:moveTo>
                <a:cubicBezTo>
                  <a:pt x="5280" y="727"/>
                  <a:pt x="5285" y="726"/>
                  <a:pt x="5290" y="725"/>
                </a:cubicBezTo>
                <a:cubicBezTo>
                  <a:pt x="5293" y="724"/>
                  <a:pt x="5295" y="724"/>
                  <a:pt x="5298" y="723"/>
                </a:cubicBezTo>
                <a:cubicBezTo>
                  <a:pt x="5300" y="722"/>
                  <a:pt x="5302" y="722"/>
                  <a:pt x="5302" y="722"/>
                </a:cubicBezTo>
                <a:cubicBezTo>
                  <a:pt x="5303" y="721"/>
                  <a:pt x="5304" y="721"/>
                  <a:pt x="5305" y="721"/>
                </a:cubicBezTo>
                <a:cubicBezTo>
                  <a:pt x="5306" y="720"/>
                  <a:pt x="5306" y="720"/>
                  <a:pt x="5307" y="719"/>
                </a:cubicBezTo>
                <a:cubicBezTo>
                  <a:pt x="5307" y="718"/>
                  <a:pt x="5309" y="718"/>
                  <a:pt x="5311" y="718"/>
                </a:cubicBezTo>
                <a:cubicBezTo>
                  <a:pt x="5313" y="718"/>
                  <a:pt x="5319" y="716"/>
                  <a:pt x="5328" y="712"/>
                </a:cubicBezTo>
                <a:cubicBezTo>
                  <a:pt x="5337" y="708"/>
                  <a:pt x="5346" y="705"/>
                  <a:pt x="5355" y="700"/>
                </a:cubicBezTo>
                <a:cubicBezTo>
                  <a:pt x="5361" y="697"/>
                  <a:pt x="5366" y="695"/>
                  <a:pt x="5370" y="694"/>
                </a:cubicBezTo>
                <a:cubicBezTo>
                  <a:pt x="5372" y="694"/>
                  <a:pt x="5373" y="693"/>
                  <a:pt x="5374" y="691"/>
                </a:cubicBezTo>
                <a:cubicBezTo>
                  <a:pt x="5375" y="690"/>
                  <a:pt x="5376" y="690"/>
                  <a:pt x="5376" y="690"/>
                </a:cubicBezTo>
                <a:lnTo>
                  <a:pt x="5378" y="690"/>
                </a:lnTo>
                <a:cubicBezTo>
                  <a:pt x="5378" y="690"/>
                  <a:pt x="5379" y="689"/>
                  <a:pt x="5379" y="688"/>
                </a:cubicBezTo>
                <a:cubicBezTo>
                  <a:pt x="5379" y="687"/>
                  <a:pt x="5380" y="687"/>
                  <a:pt x="5381" y="687"/>
                </a:cubicBezTo>
                <a:cubicBezTo>
                  <a:pt x="5383" y="687"/>
                  <a:pt x="5385" y="686"/>
                  <a:pt x="5386" y="686"/>
                </a:cubicBezTo>
                <a:cubicBezTo>
                  <a:pt x="5388" y="683"/>
                  <a:pt x="5391" y="682"/>
                  <a:pt x="5393" y="681"/>
                </a:cubicBezTo>
                <a:cubicBezTo>
                  <a:pt x="5395" y="681"/>
                  <a:pt x="5396" y="680"/>
                  <a:pt x="5397" y="679"/>
                </a:cubicBezTo>
                <a:cubicBezTo>
                  <a:pt x="5398" y="678"/>
                  <a:pt x="5399" y="678"/>
                  <a:pt x="5400" y="678"/>
                </a:cubicBezTo>
                <a:cubicBezTo>
                  <a:pt x="5404" y="677"/>
                  <a:pt x="5407" y="677"/>
                  <a:pt x="5407" y="676"/>
                </a:cubicBezTo>
                <a:lnTo>
                  <a:pt x="5406" y="674"/>
                </a:lnTo>
                <a:cubicBezTo>
                  <a:pt x="5406" y="674"/>
                  <a:pt x="5408" y="674"/>
                  <a:pt x="5410" y="674"/>
                </a:cubicBezTo>
                <a:cubicBezTo>
                  <a:pt x="5412" y="674"/>
                  <a:pt x="5413" y="674"/>
                  <a:pt x="5413" y="674"/>
                </a:cubicBezTo>
                <a:cubicBezTo>
                  <a:pt x="5413" y="674"/>
                  <a:pt x="5412" y="675"/>
                  <a:pt x="5410" y="676"/>
                </a:cubicBezTo>
                <a:cubicBezTo>
                  <a:pt x="5409" y="677"/>
                  <a:pt x="5408" y="678"/>
                  <a:pt x="5408" y="679"/>
                </a:cubicBezTo>
                <a:cubicBezTo>
                  <a:pt x="5408" y="679"/>
                  <a:pt x="5409" y="680"/>
                  <a:pt x="5410" y="680"/>
                </a:cubicBezTo>
                <a:lnTo>
                  <a:pt x="5411" y="681"/>
                </a:lnTo>
                <a:cubicBezTo>
                  <a:pt x="5411" y="681"/>
                  <a:pt x="5410" y="681"/>
                  <a:pt x="5410" y="681"/>
                </a:cubicBezTo>
                <a:lnTo>
                  <a:pt x="5404" y="680"/>
                </a:lnTo>
                <a:cubicBezTo>
                  <a:pt x="5404" y="680"/>
                  <a:pt x="5404" y="681"/>
                  <a:pt x="5405" y="681"/>
                </a:cubicBezTo>
                <a:cubicBezTo>
                  <a:pt x="5406" y="681"/>
                  <a:pt x="5406" y="682"/>
                  <a:pt x="5406" y="683"/>
                </a:cubicBezTo>
                <a:lnTo>
                  <a:pt x="5406" y="685"/>
                </a:lnTo>
                <a:cubicBezTo>
                  <a:pt x="5406" y="686"/>
                  <a:pt x="5406" y="687"/>
                  <a:pt x="5408" y="687"/>
                </a:cubicBezTo>
                <a:cubicBezTo>
                  <a:pt x="5409" y="687"/>
                  <a:pt x="5410" y="685"/>
                  <a:pt x="5413" y="681"/>
                </a:cubicBezTo>
                <a:cubicBezTo>
                  <a:pt x="5413" y="679"/>
                  <a:pt x="5415" y="678"/>
                  <a:pt x="5416" y="676"/>
                </a:cubicBezTo>
                <a:cubicBezTo>
                  <a:pt x="5417" y="675"/>
                  <a:pt x="5418" y="674"/>
                  <a:pt x="5419" y="674"/>
                </a:cubicBezTo>
                <a:cubicBezTo>
                  <a:pt x="5420" y="674"/>
                  <a:pt x="5420" y="675"/>
                  <a:pt x="5420" y="675"/>
                </a:cubicBezTo>
                <a:cubicBezTo>
                  <a:pt x="5420" y="675"/>
                  <a:pt x="5420" y="676"/>
                  <a:pt x="5419" y="676"/>
                </a:cubicBezTo>
                <a:cubicBezTo>
                  <a:pt x="5417" y="677"/>
                  <a:pt x="5417" y="678"/>
                  <a:pt x="5417" y="679"/>
                </a:cubicBezTo>
                <a:cubicBezTo>
                  <a:pt x="5417" y="680"/>
                  <a:pt x="5418" y="681"/>
                  <a:pt x="5419" y="681"/>
                </a:cubicBezTo>
                <a:cubicBezTo>
                  <a:pt x="5420" y="681"/>
                  <a:pt x="5421" y="680"/>
                  <a:pt x="5421" y="679"/>
                </a:cubicBezTo>
                <a:cubicBezTo>
                  <a:pt x="5421" y="679"/>
                  <a:pt x="5421" y="678"/>
                  <a:pt x="5421" y="676"/>
                </a:cubicBezTo>
                <a:lnTo>
                  <a:pt x="5421" y="673"/>
                </a:lnTo>
                <a:cubicBezTo>
                  <a:pt x="5421" y="672"/>
                  <a:pt x="5421" y="671"/>
                  <a:pt x="5420" y="669"/>
                </a:cubicBezTo>
                <a:cubicBezTo>
                  <a:pt x="5419" y="668"/>
                  <a:pt x="5419" y="666"/>
                  <a:pt x="5419" y="666"/>
                </a:cubicBezTo>
                <a:cubicBezTo>
                  <a:pt x="5419" y="666"/>
                  <a:pt x="5419" y="665"/>
                  <a:pt x="5419" y="665"/>
                </a:cubicBezTo>
                <a:lnTo>
                  <a:pt x="5423" y="666"/>
                </a:lnTo>
                <a:cubicBezTo>
                  <a:pt x="5425" y="666"/>
                  <a:pt x="5426" y="665"/>
                  <a:pt x="5426" y="664"/>
                </a:cubicBezTo>
                <a:lnTo>
                  <a:pt x="5426" y="663"/>
                </a:lnTo>
                <a:cubicBezTo>
                  <a:pt x="5426" y="662"/>
                  <a:pt x="5429" y="661"/>
                  <a:pt x="5435" y="661"/>
                </a:cubicBezTo>
                <a:cubicBezTo>
                  <a:pt x="5435" y="662"/>
                  <a:pt x="5433" y="664"/>
                  <a:pt x="5430" y="666"/>
                </a:cubicBezTo>
                <a:cubicBezTo>
                  <a:pt x="5426" y="668"/>
                  <a:pt x="5424" y="669"/>
                  <a:pt x="5424" y="670"/>
                </a:cubicBezTo>
                <a:lnTo>
                  <a:pt x="5424" y="670"/>
                </a:lnTo>
                <a:cubicBezTo>
                  <a:pt x="5426" y="670"/>
                  <a:pt x="5426" y="671"/>
                  <a:pt x="5426" y="672"/>
                </a:cubicBezTo>
                <a:lnTo>
                  <a:pt x="5426" y="673"/>
                </a:lnTo>
                <a:cubicBezTo>
                  <a:pt x="5426" y="674"/>
                  <a:pt x="5427" y="675"/>
                  <a:pt x="5429" y="676"/>
                </a:cubicBezTo>
                <a:lnTo>
                  <a:pt x="5431" y="676"/>
                </a:lnTo>
                <a:lnTo>
                  <a:pt x="5431" y="676"/>
                </a:lnTo>
                <a:lnTo>
                  <a:pt x="5429" y="675"/>
                </a:lnTo>
                <a:cubicBezTo>
                  <a:pt x="5428" y="674"/>
                  <a:pt x="5427" y="673"/>
                  <a:pt x="5427" y="673"/>
                </a:cubicBezTo>
                <a:cubicBezTo>
                  <a:pt x="5427" y="673"/>
                  <a:pt x="5427" y="672"/>
                  <a:pt x="5428" y="672"/>
                </a:cubicBezTo>
                <a:cubicBezTo>
                  <a:pt x="5429" y="672"/>
                  <a:pt x="5430" y="672"/>
                  <a:pt x="5430" y="671"/>
                </a:cubicBezTo>
                <a:cubicBezTo>
                  <a:pt x="5430" y="671"/>
                  <a:pt x="5431" y="670"/>
                  <a:pt x="5431" y="670"/>
                </a:cubicBezTo>
                <a:cubicBezTo>
                  <a:pt x="5431" y="668"/>
                  <a:pt x="5431" y="667"/>
                  <a:pt x="5433" y="666"/>
                </a:cubicBezTo>
                <a:cubicBezTo>
                  <a:pt x="5434" y="666"/>
                  <a:pt x="5435" y="666"/>
                  <a:pt x="5435" y="667"/>
                </a:cubicBezTo>
                <a:lnTo>
                  <a:pt x="5435" y="668"/>
                </a:lnTo>
                <a:cubicBezTo>
                  <a:pt x="5435" y="668"/>
                  <a:pt x="5435" y="668"/>
                  <a:pt x="5435" y="669"/>
                </a:cubicBezTo>
                <a:cubicBezTo>
                  <a:pt x="5436" y="669"/>
                  <a:pt x="5436" y="669"/>
                  <a:pt x="5436" y="669"/>
                </a:cubicBezTo>
                <a:cubicBezTo>
                  <a:pt x="5438" y="669"/>
                  <a:pt x="5438" y="665"/>
                  <a:pt x="5438" y="660"/>
                </a:cubicBezTo>
                <a:cubicBezTo>
                  <a:pt x="5438" y="656"/>
                  <a:pt x="5438" y="654"/>
                  <a:pt x="5437" y="653"/>
                </a:cubicBezTo>
                <a:cubicBezTo>
                  <a:pt x="5435" y="653"/>
                  <a:pt x="5422" y="659"/>
                  <a:pt x="5399" y="671"/>
                </a:cubicBezTo>
                <a:cubicBezTo>
                  <a:pt x="5354" y="694"/>
                  <a:pt x="5326" y="707"/>
                  <a:pt x="5314" y="710"/>
                </a:cubicBezTo>
                <a:lnTo>
                  <a:pt x="5298" y="714"/>
                </a:lnTo>
                <a:cubicBezTo>
                  <a:pt x="5290" y="717"/>
                  <a:pt x="5281" y="718"/>
                  <a:pt x="5269" y="718"/>
                </a:cubicBezTo>
                <a:cubicBezTo>
                  <a:pt x="5260" y="718"/>
                  <a:pt x="5255" y="718"/>
                  <a:pt x="5255" y="720"/>
                </a:cubicBezTo>
                <a:cubicBezTo>
                  <a:pt x="5255" y="721"/>
                  <a:pt x="5257" y="722"/>
                  <a:pt x="5262" y="724"/>
                </a:cubicBezTo>
                <a:cubicBezTo>
                  <a:pt x="5267" y="726"/>
                  <a:pt x="5271" y="727"/>
                  <a:pt x="5276" y="727"/>
                </a:cubicBezTo>
                <a:close/>
                <a:moveTo>
                  <a:pt x="5444" y="652"/>
                </a:moveTo>
                <a:cubicBezTo>
                  <a:pt x="5446" y="652"/>
                  <a:pt x="5446" y="651"/>
                  <a:pt x="5446" y="650"/>
                </a:cubicBezTo>
                <a:cubicBezTo>
                  <a:pt x="5446" y="649"/>
                  <a:pt x="5446" y="648"/>
                  <a:pt x="5446" y="648"/>
                </a:cubicBezTo>
                <a:lnTo>
                  <a:pt x="5444" y="647"/>
                </a:lnTo>
                <a:cubicBezTo>
                  <a:pt x="5443" y="647"/>
                  <a:pt x="5443" y="647"/>
                  <a:pt x="5442" y="648"/>
                </a:cubicBezTo>
                <a:cubicBezTo>
                  <a:pt x="5441" y="649"/>
                  <a:pt x="5440" y="649"/>
                  <a:pt x="5440" y="650"/>
                </a:cubicBezTo>
                <a:cubicBezTo>
                  <a:pt x="5440" y="650"/>
                  <a:pt x="5441" y="651"/>
                  <a:pt x="5442" y="652"/>
                </a:cubicBezTo>
                <a:lnTo>
                  <a:pt x="5444" y="652"/>
                </a:lnTo>
                <a:close/>
                <a:moveTo>
                  <a:pt x="5450" y="650"/>
                </a:moveTo>
                <a:cubicBezTo>
                  <a:pt x="5451" y="650"/>
                  <a:pt x="5452" y="650"/>
                  <a:pt x="5453" y="649"/>
                </a:cubicBezTo>
                <a:cubicBezTo>
                  <a:pt x="5455" y="648"/>
                  <a:pt x="5456" y="647"/>
                  <a:pt x="5456" y="645"/>
                </a:cubicBezTo>
                <a:lnTo>
                  <a:pt x="5456" y="644"/>
                </a:lnTo>
                <a:cubicBezTo>
                  <a:pt x="5455" y="643"/>
                  <a:pt x="5455" y="643"/>
                  <a:pt x="5453" y="643"/>
                </a:cubicBezTo>
                <a:cubicBezTo>
                  <a:pt x="5453" y="643"/>
                  <a:pt x="5452" y="643"/>
                  <a:pt x="5451" y="644"/>
                </a:cubicBezTo>
                <a:cubicBezTo>
                  <a:pt x="5450" y="645"/>
                  <a:pt x="5450" y="647"/>
                  <a:pt x="5450" y="649"/>
                </a:cubicBezTo>
                <a:cubicBezTo>
                  <a:pt x="5450" y="649"/>
                  <a:pt x="5450" y="650"/>
                  <a:pt x="5450" y="650"/>
                </a:cubicBezTo>
                <a:close/>
                <a:moveTo>
                  <a:pt x="5561" y="597"/>
                </a:moveTo>
                <a:cubicBezTo>
                  <a:pt x="5562" y="597"/>
                  <a:pt x="5563" y="595"/>
                  <a:pt x="5563" y="593"/>
                </a:cubicBezTo>
                <a:cubicBezTo>
                  <a:pt x="5563" y="592"/>
                  <a:pt x="5562" y="591"/>
                  <a:pt x="5562" y="591"/>
                </a:cubicBezTo>
                <a:lnTo>
                  <a:pt x="5560" y="592"/>
                </a:lnTo>
                <a:cubicBezTo>
                  <a:pt x="5560" y="592"/>
                  <a:pt x="5560" y="593"/>
                  <a:pt x="5560" y="595"/>
                </a:cubicBezTo>
                <a:cubicBezTo>
                  <a:pt x="5560" y="595"/>
                  <a:pt x="5560" y="595"/>
                  <a:pt x="5560" y="595"/>
                </a:cubicBezTo>
                <a:cubicBezTo>
                  <a:pt x="5560" y="596"/>
                  <a:pt x="5560" y="596"/>
                  <a:pt x="5561" y="597"/>
                </a:cubicBezTo>
                <a:close/>
                <a:moveTo>
                  <a:pt x="5270" y="576"/>
                </a:moveTo>
                <a:cubicBezTo>
                  <a:pt x="5270" y="576"/>
                  <a:pt x="5269" y="576"/>
                  <a:pt x="5269" y="575"/>
                </a:cubicBezTo>
                <a:cubicBezTo>
                  <a:pt x="5269" y="575"/>
                  <a:pt x="5270" y="574"/>
                  <a:pt x="5271" y="573"/>
                </a:cubicBezTo>
                <a:cubicBezTo>
                  <a:pt x="5272" y="572"/>
                  <a:pt x="5273" y="571"/>
                  <a:pt x="5274" y="570"/>
                </a:cubicBezTo>
                <a:cubicBezTo>
                  <a:pt x="5275" y="570"/>
                  <a:pt x="5276" y="569"/>
                  <a:pt x="5276" y="569"/>
                </a:cubicBezTo>
                <a:cubicBezTo>
                  <a:pt x="5276" y="569"/>
                  <a:pt x="5277" y="570"/>
                  <a:pt x="5277" y="570"/>
                </a:cubicBezTo>
                <a:cubicBezTo>
                  <a:pt x="5277" y="570"/>
                  <a:pt x="5276" y="571"/>
                  <a:pt x="5274" y="573"/>
                </a:cubicBezTo>
                <a:cubicBezTo>
                  <a:pt x="5273" y="575"/>
                  <a:pt x="5271" y="576"/>
                  <a:pt x="5270" y="576"/>
                </a:cubicBezTo>
                <a:close/>
                <a:moveTo>
                  <a:pt x="5593" y="578"/>
                </a:moveTo>
                <a:cubicBezTo>
                  <a:pt x="5593" y="578"/>
                  <a:pt x="5593" y="578"/>
                  <a:pt x="5593" y="578"/>
                </a:cubicBezTo>
                <a:cubicBezTo>
                  <a:pt x="5593" y="577"/>
                  <a:pt x="5594" y="576"/>
                  <a:pt x="5595" y="575"/>
                </a:cubicBezTo>
                <a:cubicBezTo>
                  <a:pt x="5597" y="573"/>
                  <a:pt x="5599" y="572"/>
                  <a:pt x="5599" y="572"/>
                </a:cubicBezTo>
                <a:cubicBezTo>
                  <a:pt x="5600" y="572"/>
                  <a:pt x="5600" y="573"/>
                  <a:pt x="5600" y="573"/>
                </a:cubicBezTo>
                <a:lnTo>
                  <a:pt x="5601" y="573"/>
                </a:lnTo>
                <a:cubicBezTo>
                  <a:pt x="5601" y="574"/>
                  <a:pt x="5600" y="575"/>
                  <a:pt x="5599" y="576"/>
                </a:cubicBezTo>
                <a:cubicBezTo>
                  <a:pt x="5599" y="576"/>
                  <a:pt x="5597" y="577"/>
                  <a:pt x="5596" y="578"/>
                </a:cubicBezTo>
                <a:cubicBezTo>
                  <a:pt x="5595" y="578"/>
                  <a:pt x="5594" y="578"/>
                  <a:pt x="5593" y="578"/>
                </a:cubicBezTo>
                <a:close/>
                <a:moveTo>
                  <a:pt x="5250" y="679"/>
                </a:moveTo>
                <a:cubicBezTo>
                  <a:pt x="5250" y="679"/>
                  <a:pt x="5249" y="678"/>
                  <a:pt x="5249" y="676"/>
                </a:cubicBezTo>
                <a:cubicBezTo>
                  <a:pt x="5249" y="674"/>
                  <a:pt x="5250" y="674"/>
                  <a:pt x="5250" y="674"/>
                </a:cubicBezTo>
                <a:cubicBezTo>
                  <a:pt x="5250" y="674"/>
                  <a:pt x="5251" y="674"/>
                  <a:pt x="5252" y="674"/>
                </a:cubicBezTo>
                <a:cubicBezTo>
                  <a:pt x="5252" y="674"/>
                  <a:pt x="5252" y="675"/>
                  <a:pt x="5252" y="676"/>
                </a:cubicBezTo>
                <a:cubicBezTo>
                  <a:pt x="5252" y="676"/>
                  <a:pt x="5252" y="677"/>
                  <a:pt x="5252" y="678"/>
                </a:cubicBezTo>
                <a:cubicBezTo>
                  <a:pt x="5251" y="679"/>
                  <a:pt x="5250" y="679"/>
                  <a:pt x="5250" y="679"/>
                </a:cubicBezTo>
                <a:close/>
                <a:moveTo>
                  <a:pt x="5458" y="656"/>
                </a:moveTo>
                <a:cubicBezTo>
                  <a:pt x="5457" y="656"/>
                  <a:pt x="5457" y="656"/>
                  <a:pt x="5457" y="654"/>
                </a:cubicBezTo>
                <a:cubicBezTo>
                  <a:pt x="5457" y="654"/>
                  <a:pt x="5458" y="653"/>
                  <a:pt x="5458" y="652"/>
                </a:cubicBezTo>
                <a:cubicBezTo>
                  <a:pt x="5459" y="652"/>
                  <a:pt x="5460" y="652"/>
                  <a:pt x="5461" y="651"/>
                </a:cubicBezTo>
                <a:cubicBezTo>
                  <a:pt x="5462" y="650"/>
                  <a:pt x="5463" y="650"/>
                  <a:pt x="5463" y="650"/>
                </a:cubicBezTo>
                <a:lnTo>
                  <a:pt x="5463" y="650"/>
                </a:lnTo>
                <a:lnTo>
                  <a:pt x="5462" y="653"/>
                </a:lnTo>
                <a:cubicBezTo>
                  <a:pt x="5460" y="655"/>
                  <a:pt x="5459" y="656"/>
                  <a:pt x="5458" y="656"/>
                </a:cubicBezTo>
                <a:close/>
                <a:moveTo>
                  <a:pt x="5508" y="633"/>
                </a:moveTo>
                <a:lnTo>
                  <a:pt x="5505" y="633"/>
                </a:lnTo>
                <a:cubicBezTo>
                  <a:pt x="5505" y="633"/>
                  <a:pt x="5506" y="632"/>
                  <a:pt x="5507" y="632"/>
                </a:cubicBezTo>
                <a:cubicBezTo>
                  <a:pt x="5510" y="631"/>
                  <a:pt x="5512" y="630"/>
                  <a:pt x="5514" y="627"/>
                </a:cubicBezTo>
                <a:cubicBezTo>
                  <a:pt x="5516" y="626"/>
                  <a:pt x="5518" y="625"/>
                  <a:pt x="5520" y="625"/>
                </a:cubicBezTo>
                <a:cubicBezTo>
                  <a:pt x="5521" y="625"/>
                  <a:pt x="5522" y="625"/>
                  <a:pt x="5522" y="626"/>
                </a:cubicBezTo>
                <a:lnTo>
                  <a:pt x="5519" y="626"/>
                </a:lnTo>
                <a:cubicBezTo>
                  <a:pt x="5517" y="626"/>
                  <a:pt x="5515" y="627"/>
                  <a:pt x="5513" y="630"/>
                </a:cubicBezTo>
                <a:cubicBezTo>
                  <a:pt x="5512" y="632"/>
                  <a:pt x="5510" y="633"/>
                  <a:pt x="5508" y="633"/>
                </a:cubicBezTo>
                <a:close/>
                <a:moveTo>
                  <a:pt x="5491" y="644"/>
                </a:moveTo>
                <a:cubicBezTo>
                  <a:pt x="5490" y="644"/>
                  <a:pt x="5490" y="643"/>
                  <a:pt x="5490" y="643"/>
                </a:cubicBezTo>
                <a:cubicBezTo>
                  <a:pt x="5490" y="642"/>
                  <a:pt x="5492" y="640"/>
                  <a:pt x="5497" y="638"/>
                </a:cubicBezTo>
                <a:cubicBezTo>
                  <a:pt x="5499" y="637"/>
                  <a:pt x="5501" y="637"/>
                  <a:pt x="5502" y="637"/>
                </a:cubicBezTo>
                <a:lnTo>
                  <a:pt x="5502" y="637"/>
                </a:lnTo>
                <a:cubicBezTo>
                  <a:pt x="5502" y="637"/>
                  <a:pt x="5502" y="638"/>
                  <a:pt x="5500" y="639"/>
                </a:cubicBezTo>
                <a:cubicBezTo>
                  <a:pt x="5499" y="640"/>
                  <a:pt x="5498" y="641"/>
                  <a:pt x="5496" y="642"/>
                </a:cubicBezTo>
                <a:cubicBezTo>
                  <a:pt x="5494" y="643"/>
                  <a:pt x="5492" y="644"/>
                  <a:pt x="5491" y="644"/>
                </a:cubicBezTo>
                <a:close/>
                <a:moveTo>
                  <a:pt x="5451" y="669"/>
                </a:moveTo>
                <a:cubicBezTo>
                  <a:pt x="5450" y="669"/>
                  <a:pt x="5449" y="669"/>
                  <a:pt x="5447" y="669"/>
                </a:cubicBezTo>
                <a:cubicBezTo>
                  <a:pt x="5446" y="669"/>
                  <a:pt x="5445" y="668"/>
                  <a:pt x="5445" y="667"/>
                </a:cubicBezTo>
                <a:cubicBezTo>
                  <a:pt x="5445" y="666"/>
                  <a:pt x="5446" y="665"/>
                  <a:pt x="5450" y="665"/>
                </a:cubicBezTo>
                <a:cubicBezTo>
                  <a:pt x="5452" y="665"/>
                  <a:pt x="5454" y="665"/>
                  <a:pt x="5454" y="664"/>
                </a:cubicBezTo>
                <a:lnTo>
                  <a:pt x="5453" y="662"/>
                </a:lnTo>
                <a:cubicBezTo>
                  <a:pt x="5453" y="661"/>
                  <a:pt x="5453" y="661"/>
                  <a:pt x="5454" y="661"/>
                </a:cubicBezTo>
                <a:lnTo>
                  <a:pt x="5454" y="661"/>
                </a:lnTo>
                <a:cubicBezTo>
                  <a:pt x="5456" y="661"/>
                  <a:pt x="5458" y="660"/>
                  <a:pt x="5462" y="659"/>
                </a:cubicBezTo>
                <a:cubicBezTo>
                  <a:pt x="5465" y="657"/>
                  <a:pt x="5469" y="655"/>
                  <a:pt x="5473" y="653"/>
                </a:cubicBezTo>
                <a:cubicBezTo>
                  <a:pt x="5476" y="651"/>
                  <a:pt x="5479" y="649"/>
                  <a:pt x="5481" y="647"/>
                </a:cubicBezTo>
                <a:cubicBezTo>
                  <a:pt x="5483" y="646"/>
                  <a:pt x="5485" y="645"/>
                  <a:pt x="5486" y="645"/>
                </a:cubicBezTo>
                <a:cubicBezTo>
                  <a:pt x="5487" y="645"/>
                  <a:pt x="5488" y="646"/>
                  <a:pt x="5488" y="647"/>
                </a:cubicBezTo>
                <a:cubicBezTo>
                  <a:pt x="5488" y="649"/>
                  <a:pt x="5487" y="649"/>
                  <a:pt x="5485" y="649"/>
                </a:cubicBezTo>
                <a:cubicBezTo>
                  <a:pt x="5483" y="649"/>
                  <a:pt x="5482" y="650"/>
                  <a:pt x="5482" y="651"/>
                </a:cubicBezTo>
                <a:lnTo>
                  <a:pt x="5483" y="653"/>
                </a:lnTo>
                <a:cubicBezTo>
                  <a:pt x="5483" y="654"/>
                  <a:pt x="5483" y="654"/>
                  <a:pt x="5482" y="654"/>
                </a:cubicBezTo>
                <a:lnTo>
                  <a:pt x="5481" y="653"/>
                </a:lnTo>
                <a:cubicBezTo>
                  <a:pt x="5479" y="653"/>
                  <a:pt x="5477" y="654"/>
                  <a:pt x="5476" y="656"/>
                </a:cubicBezTo>
                <a:cubicBezTo>
                  <a:pt x="5474" y="658"/>
                  <a:pt x="5473" y="659"/>
                  <a:pt x="5471" y="659"/>
                </a:cubicBezTo>
                <a:cubicBezTo>
                  <a:pt x="5470" y="659"/>
                  <a:pt x="5468" y="660"/>
                  <a:pt x="5465" y="661"/>
                </a:cubicBezTo>
                <a:cubicBezTo>
                  <a:pt x="5458" y="665"/>
                  <a:pt x="5455" y="667"/>
                  <a:pt x="5455" y="668"/>
                </a:cubicBezTo>
                <a:cubicBezTo>
                  <a:pt x="5455" y="669"/>
                  <a:pt x="5454" y="669"/>
                  <a:pt x="5451" y="669"/>
                </a:cubicBezTo>
                <a:close/>
                <a:moveTo>
                  <a:pt x="5445" y="667"/>
                </a:moveTo>
                <a:close/>
                <a:moveTo>
                  <a:pt x="5527" y="623"/>
                </a:moveTo>
                <a:cubicBezTo>
                  <a:pt x="5527" y="623"/>
                  <a:pt x="5527" y="623"/>
                  <a:pt x="5527" y="623"/>
                </a:cubicBezTo>
                <a:cubicBezTo>
                  <a:pt x="5527" y="622"/>
                  <a:pt x="5528" y="620"/>
                  <a:pt x="5529" y="618"/>
                </a:cubicBezTo>
                <a:cubicBezTo>
                  <a:pt x="5533" y="614"/>
                  <a:pt x="5535" y="611"/>
                  <a:pt x="5537" y="611"/>
                </a:cubicBezTo>
                <a:cubicBezTo>
                  <a:pt x="5538" y="611"/>
                  <a:pt x="5541" y="610"/>
                  <a:pt x="5544" y="608"/>
                </a:cubicBezTo>
                <a:cubicBezTo>
                  <a:pt x="5547" y="606"/>
                  <a:pt x="5549" y="605"/>
                  <a:pt x="5550" y="605"/>
                </a:cubicBezTo>
                <a:cubicBezTo>
                  <a:pt x="5550" y="605"/>
                  <a:pt x="5550" y="605"/>
                  <a:pt x="5550" y="606"/>
                </a:cubicBezTo>
                <a:cubicBezTo>
                  <a:pt x="5550" y="608"/>
                  <a:pt x="5550" y="610"/>
                  <a:pt x="5550" y="610"/>
                </a:cubicBezTo>
                <a:lnTo>
                  <a:pt x="5548" y="609"/>
                </a:lnTo>
                <a:cubicBezTo>
                  <a:pt x="5547" y="609"/>
                  <a:pt x="5544" y="610"/>
                  <a:pt x="5541" y="613"/>
                </a:cubicBezTo>
                <a:cubicBezTo>
                  <a:pt x="5538" y="616"/>
                  <a:pt x="5535" y="617"/>
                  <a:pt x="5534" y="617"/>
                </a:cubicBezTo>
                <a:cubicBezTo>
                  <a:pt x="5532" y="617"/>
                  <a:pt x="5530" y="619"/>
                  <a:pt x="5529" y="621"/>
                </a:cubicBezTo>
                <a:cubicBezTo>
                  <a:pt x="5528" y="623"/>
                  <a:pt x="5528" y="623"/>
                  <a:pt x="5527" y="623"/>
                </a:cubicBezTo>
                <a:close/>
                <a:moveTo>
                  <a:pt x="5362" y="362"/>
                </a:moveTo>
                <a:close/>
                <a:moveTo>
                  <a:pt x="5347" y="383"/>
                </a:moveTo>
                <a:cubicBezTo>
                  <a:pt x="5347" y="383"/>
                  <a:pt x="5346" y="383"/>
                  <a:pt x="5346" y="382"/>
                </a:cubicBezTo>
                <a:lnTo>
                  <a:pt x="5353" y="377"/>
                </a:lnTo>
                <a:cubicBezTo>
                  <a:pt x="5353" y="377"/>
                  <a:pt x="5352" y="378"/>
                  <a:pt x="5351" y="379"/>
                </a:cubicBezTo>
                <a:cubicBezTo>
                  <a:pt x="5349" y="382"/>
                  <a:pt x="5348" y="383"/>
                  <a:pt x="5347" y="383"/>
                </a:cubicBezTo>
                <a:close/>
                <a:moveTo>
                  <a:pt x="5336" y="394"/>
                </a:moveTo>
                <a:close/>
                <a:moveTo>
                  <a:pt x="5362" y="362"/>
                </a:moveTo>
                <a:cubicBezTo>
                  <a:pt x="5362" y="362"/>
                  <a:pt x="5362" y="362"/>
                  <a:pt x="5362" y="362"/>
                </a:cubicBezTo>
                <a:cubicBezTo>
                  <a:pt x="5362" y="361"/>
                  <a:pt x="5363" y="360"/>
                  <a:pt x="5365" y="358"/>
                </a:cubicBezTo>
                <a:lnTo>
                  <a:pt x="5368" y="356"/>
                </a:lnTo>
                <a:lnTo>
                  <a:pt x="5366" y="359"/>
                </a:lnTo>
                <a:cubicBezTo>
                  <a:pt x="5364" y="361"/>
                  <a:pt x="5363" y="362"/>
                  <a:pt x="5362" y="362"/>
                </a:cubicBezTo>
                <a:close/>
                <a:moveTo>
                  <a:pt x="5346" y="382"/>
                </a:moveTo>
                <a:close/>
                <a:moveTo>
                  <a:pt x="5311" y="458"/>
                </a:moveTo>
                <a:cubicBezTo>
                  <a:pt x="5309" y="458"/>
                  <a:pt x="5308" y="457"/>
                  <a:pt x="5308" y="455"/>
                </a:cubicBezTo>
                <a:lnTo>
                  <a:pt x="5308" y="455"/>
                </a:lnTo>
                <a:cubicBezTo>
                  <a:pt x="5308" y="453"/>
                  <a:pt x="5309" y="451"/>
                  <a:pt x="5310" y="451"/>
                </a:cubicBezTo>
                <a:cubicBezTo>
                  <a:pt x="5310" y="451"/>
                  <a:pt x="5310" y="452"/>
                  <a:pt x="5311" y="452"/>
                </a:cubicBezTo>
                <a:cubicBezTo>
                  <a:pt x="5312" y="453"/>
                  <a:pt x="5312" y="453"/>
                  <a:pt x="5313" y="453"/>
                </a:cubicBezTo>
                <a:cubicBezTo>
                  <a:pt x="5314" y="453"/>
                  <a:pt x="5315" y="453"/>
                  <a:pt x="5316" y="451"/>
                </a:cubicBezTo>
                <a:cubicBezTo>
                  <a:pt x="5317" y="451"/>
                  <a:pt x="5317" y="450"/>
                  <a:pt x="5318" y="450"/>
                </a:cubicBezTo>
                <a:lnTo>
                  <a:pt x="5317" y="453"/>
                </a:lnTo>
                <a:cubicBezTo>
                  <a:pt x="5316" y="456"/>
                  <a:pt x="5314" y="458"/>
                  <a:pt x="5311" y="458"/>
                </a:cubicBezTo>
                <a:close/>
                <a:moveTo>
                  <a:pt x="5336" y="394"/>
                </a:moveTo>
                <a:cubicBezTo>
                  <a:pt x="5336" y="394"/>
                  <a:pt x="5336" y="394"/>
                  <a:pt x="5336" y="394"/>
                </a:cubicBezTo>
                <a:cubicBezTo>
                  <a:pt x="5336" y="394"/>
                  <a:pt x="5336" y="393"/>
                  <a:pt x="5337" y="392"/>
                </a:cubicBezTo>
                <a:cubicBezTo>
                  <a:pt x="5338" y="391"/>
                  <a:pt x="5340" y="390"/>
                  <a:pt x="5342" y="389"/>
                </a:cubicBezTo>
                <a:cubicBezTo>
                  <a:pt x="5344" y="387"/>
                  <a:pt x="5345" y="387"/>
                  <a:pt x="5346" y="387"/>
                </a:cubicBezTo>
                <a:lnTo>
                  <a:pt x="5346" y="387"/>
                </a:lnTo>
                <a:cubicBezTo>
                  <a:pt x="5346" y="388"/>
                  <a:pt x="5345" y="389"/>
                  <a:pt x="5343" y="390"/>
                </a:cubicBezTo>
                <a:cubicBezTo>
                  <a:pt x="5339" y="393"/>
                  <a:pt x="5337" y="394"/>
                  <a:pt x="5336" y="394"/>
                </a:cubicBezTo>
                <a:close/>
                <a:moveTo>
                  <a:pt x="5296" y="482"/>
                </a:moveTo>
                <a:cubicBezTo>
                  <a:pt x="5296" y="482"/>
                  <a:pt x="5294" y="481"/>
                  <a:pt x="5292" y="479"/>
                </a:cubicBezTo>
                <a:cubicBezTo>
                  <a:pt x="5292" y="478"/>
                  <a:pt x="5290" y="474"/>
                  <a:pt x="5289" y="468"/>
                </a:cubicBezTo>
                <a:cubicBezTo>
                  <a:pt x="5288" y="463"/>
                  <a:pt x="5287" y="459"/>
                  <a:pt x="5285" y="457"/>
                </a:cubicBezTo>
                <a:lnTo>
                  <a:pt x="5284" y="455"/>
                </a:lnTo>
                <a:lnTo>
                  <a:pt x="5287" y="457"/>
                </a:lnTo>
                <a:cubicBezTo>
                  <a:pt x="5287" y="457"/>
                  <a:pt x="5287" y="456"/>
                  <a:pt x="5287" y="456"/>
                </a:cubicBezTo>
                <a:lnTo>
                  <a:pt x="5287" y="453"/>
                </a:lnTo>
                <a:cubicBezTo>
                  <a:pt x="5287" y="453"/>
                  <a:pt x="5287" y="452"/>
                  <a:pt x="5288" y="452"/>
                </a:cubicBezTo>
                <a:cubicBezTo>
                  <a:pt x="5289" y="452"/>
                  <a:pt x="5290" y="451"/>
                  <a:pt x="5290" y="449"/>
                </a:cubicBezTo>
                <a:cubicBezTo>
                  <a:pt x="5290" y="447"/>
                  <a:pt x="5292" y="442"/>
                  <a:pt x="5295" y="434"/>
                </a:cubicBezTo>
                <a:cubicBezTo>
                  <a:pt x="5298" y="428"/>
                  <a:pt x="5299" y="424"/>
                  <a:pt x="5299" y="423"/>
                </a:cubicBezTo>
                <a:cubicBezTo>
                  <a:pt x="5299" y="422"/>
                  <a:pt x="5299" y="422"/>
                  <a:pt x="5299" y="422"/>
                </a:cubicBezTo>
                <a:cubicBezTo>
                  <a:pt x="5298" y="422"/>
                  <a:pt x="5297" y="424"/>
                  <a:pt x="5295" y="427"/>
                </a:cubicBezTo>
                <a:cubicBezTo>
                  <a:pt x="5293" y="431"/>
                  <a:pt x="5292" y="434"/>
                  <a:pt x="5290" y="438"/>
                </a:cubicBezTo>
                <a:cubicBezTo>
                  <a:pt x="5289" y="442"/>
                  <a:pt x="5288" y="444"/>
                  <a:pt x="5288" y="445"/>
                </a:cubicBezTo>
                <a:cubicBezTo>
                  <a:pt x="5288" y="446"/>
                  <a:pt x="5287" y="448"/>
                  <a:pt x="5286" y="450"/>
                </a:cubicBezTo>
                <a:cubicBezTo>
                  <a:pt x="5285" y="452"/>
                  <a:pt x="5283" y="453"/>
                  <a:pt x="5282" y="455"/>
                </a:cubicBezTo>
                <a:cubicBezTo>
                  <a:pt x="5280" y="456"/>
                  <a:pt x="5279" y="457"/>
                  <a:pt x="5278" y="457"/>
                </a:cubicBezTo>
                <a:cubicBezTo>
                  <a:pt x="5277" y="457"/>
                  <a:pt x="5277" y="456"/>
                  <a:pt x="5277" y="453"/>
                </a:cubicBezTo>
                <a:cubicBezTo>
                  <a:pt x="5277" y="441"/>
                  <a:pt x="5285" y="421"/>
                  <a:pt x="5302" y="394"/>
                </a:cubicBezTo>
                <a:cubicBezTo>
                  <a:pt x="5320" y="366"/>
                  <a:pt x="5331" y="349"/>
                  <a:pt x="5338" y="342"/>
                </a:cubicBezTo>
                <a:cubicBezTo>
                  <a:pt x="5338" y="341"/>
                  <a:pt x="5341" y="338"/>
                  <a:pt x="5345" y="333"/>
                </a:cubicBezTo>
                <a:cubicBezTo>
                  <a:pt x="5352" y="322"/>
                  <a:pt x="5357" y="317"/>
                  <a:pt x="5360" y="317"/>
                </a:cubicBezTo>
                <a:cubicBezTo>
                  <a:pt x="5363" y="317"/>
                  <a:pt x="5365" y="319"/>
                  <a:pt x="5365" y="322"/>
                </a:cubicBezTo>
                <a:cubicBezTo>
                  <a:pt x="5365" y="324"/>
                  <a:pt x="5364" y="326"/>
                  <a:pt x="5363" y="329"/>
                </a:cubicBezTo>
                <a:cubicBezTo>
                  <a:pt x="5361" y="332"/>
                  <a:pt x="5361" y="333"/>
                  <a:pt x="5361" y="334"/>
                </a:cubicBezTo>
                <a:cubicBezTo>
                  <a:pt x="5361" y="335"/>
                  <a:pt x="5361" y="335"/>
                  <a:pt x="5363" y="335"/>
                </a:cubicBezTo>
                <a:cubicBezTo>
                  <a:pt x="5364" y="335"/>
                  <a:pt x="5365" y="337"/>
                  <a:pt x="5365" y="341"/>
                </a:cubicBezTo>
                <a:cubicBezTo>
                  <a:pt x="5365" y="348"/>
                  <a:pt x="5364" y="352"/>
                  <a:pt x="5361" y="355"/>
                </a:cubicBezTo>
                <a:cubicBezTo>
                  <a:pt x="5355" y="360"/>
                  <a:pt x="5347" y="372"/>
                  <a:pt x="5337" y="390"/>
                </a:cubicBezTo>
                <a:cubicBezTo>
                  <a:pt x="5333" y="397"/>
                  <a:pt x="5331" y="401"/>
                  <a:pt x="5331" y="403"/>
                </a:cubicBezTo>
                <a:lnTo>
                  <a:pt x="5331" y="404"/>
                </a:lnTo>
                <a:cubicBezTo>
                  <a:pt x="5331" y="405"/>
                  <a:pt x="5331" y="406"/>
                  <a:pt x="5331" y="406"/>
                </a:cubicBezTo>
                <a:lnTo>
                  <a:pt x="5329" y="405"/>
                </a:lnTo>
                <a:cubicBezTo>
                  <a:pt x="5328" y="405"/>
                  <a:pt x="5326" y="406"/>
                  <a:pt x="5324" y="408"/>
                </a:cubicBezTo>
                <a:lnTo>
                  <a:pt x="5323" y="411"/>
                </a:lnTo>
                <a:cubicBezTo>
                  <a:pt x="5324" y="411"/>
                  <a:pt x="5324" y="411"/>
                  <a:pt x="5326" y="410"/>
                </a:cubicBezTo>
                <a:lnTo>
                  <a:pt x="5329" y="409"/>
                </a:lnTo>
                <a:cubicBezTo>
                  <a:pt x="5329" y="410"/>
                  <a:pt x="5328" y="411"/>
                  <a:pt x="5327" y="411"/>
                </a:cubicBezTo>
                <a:cubicBezTo>
                  <a:pt x="5325" y="413"/>
                  <a:pt x="5324" y="415"/>
                  <a:pt x="5323" y="419"/>
                </a:cubicBezTo>
                <a:cubicBezTo>
                  <a:pt x="5322" y="422"/>
                  <a:pt x="5320" y="426"/>
                  <a:pt x="5317" y="429"/>
                </a:cubicBezTo>
                <a:cubicBezTo>
                  <a:pt x="5306" y="447"/>
                  <a:pt x="5301" y="456"/>
                  <a:pt x="5301" y="458"/>
                </a:cubicBezTo>
                <a:cubicBezTo>
                  <a:pt x="5301" y="458"/>
                  <a:pt x="5301" y="459"/>
                  <a:pt x="5301" y="459"/>
                </a:cubicBezTo>
                <a:lnTo>
                  <a:pt x="5303" y="458"/>
                </a:lnTo>
                <a:cubicBezTo>
                  <a:pt x="5304" y="458"/>
                  <a:pt x="5305" y="459"/>
                  <a:pt x="5307" y="460"/>
                </a:cubicBezTo>
                <a:cubicBezTo>
                  <a:pt x="5307" y="461"/>
                  <a:pt x="5308" y="462"/>
                  <a:pt x="5308" y="463"/>
                </a:cubicBezTo>
                <a:cubicBezTo>
                  <a:pt x="5308" y="464"/>
                  <a:pt x="5308" y="464"/>
                  <a:pt x="5307" y="465"/>
                </a:cubicBezTo>
                <a:cubicBezTo>
                  <a:pt x="5307" y="465"/>
                  <a:pt x="5307" y="465"/>
                  <a:pt x="5306" y="465"/>
                </a:cubicBezTo>
                <a:cubicBezTo>
                  <a:pt x="5306" y="465"/>
                  <a:pt x="5305" y="465"/>
                  <a:pt x="5305" y="464"/>
                </a:cubicBezTo>
                <a:cubicBezTo>
                  <a:pt x="5305" y="463"/>
                  <a:pt x="5304" y="462"/>
                  <a:pt x="5302" y="462"/>
                </a:cubicBezTo>
                <a:cubicBezTo>
                  <a:pt x="5301" y="462"/>
                  <a:pt x="5300" y="463"/>
                  <a:pt x="5300" y="463"/>
                </a:cubicBezTo>
                <a:cubicBezTo>
                  <a:pt x="5300" y="463"/>
                  <a:pt x="5300" y="464"/>
                  <a:pt x="5301" y="464"/>
                </a:cubicBezTo>
                <a:cubicBezTo>
                  <a:pt x="5301" y="465"/>
                  <a:pt x="5301" y="466"/>
                  <a:pt x="5301" y="467"/>
                </a:cubicBezTo>
                <a:cubicBezTo>
                  <a:pt x="5301" y="469"/>
                  <a:pt x="5301" y="471"/>
                  <a:pt x="5301" y="473"/>
                </a:cubicBezTo>
                <a:cubicBezTo>
                  <a:pt x="5300" y="476"/>
                  <a:pt x="5299" y="478"/>
                  <a:pt x="5298" y="479"/>
                </a:cubicBezTo>
                <a:cubicBezTo>
                  <a:pt x="5297" y="481"/>
                  <a:pt x="5297" y="482"/>
                  <a:pt x="5296" y="482"/>
                </a:cubicBezTo>
                <a:close/>
                <a:moveTo>
                  <a:pt x="5344" y="353"/>
                </a:moveTo>
                <a:cubicBezTo>
                  <a:pt x="5345" y="353"/>
                  <a:pt x="5347" y="352"/>
                  <a:pt x="5349" y="349"/>
                </a:cubicBezTo>
                <a:cubicBezTo>
                  <a:pt x="5352" y="346"/>
                  <a:pt x="5353" y="345"/>
                  <a:pt x="5353" y="344"/>
                </a:cubicBezTo>
                <a:cubicBezTo>
                  <a:pt x="5352" y="344"/>
                  <a:pt x="5350" y="346"/>
                  <a:pt x="5347" y="349"/>
                </a:cubicBezTo>
                <a:cubicBezTo>
                  <a:pt x="5346" y="352"/>
                  <a:pt x="5344" y="353"/>
                  <a:pt x="5344" y="353"/>
                </a:cubicBezTo>
                <a:close/>
                <a:moveTo>
                  <a:pt x="5336" y="365"/>
                </a:moveTo>
                <a:cubicBezTo>
                  <a:pt x="5337" y="365"/>
                  <a:pt x="5338" y="364"/>
                  <a:pt x="5341" y="361"/>
                </a:cubicBezTo>
                <a:cubicBezTo>
                  <a:pt x="5343" y="358"/>
                  <a:pt x="5344" y="356"/>
                  <a:pt x="5344" y="356"/>
                </a:cubicBezTo>
                <a:cubicBezTo>
                  <a:pt x="5343" y="356"/>
                  <a:pt x="5342" y="357"/>
                  <a:pt x="5339" y="360"/>
                </a:cubicBezTo>
                <a:cubicBezTo>
                  <a:pt x="5337" y="363"/>
                  <a:pt x="5336" y="365"/>
                  <a:pt x="5336" y="365"/>
                </a:cubicBezTo>
                <a:close/>
                <a:moveTo>
                  <a:pt x="5308" y="408"/>
                </a:moveTo>
                <a:cubicBezTo>
                  <a:pt x="5309" y="408"/>
                  <a:pt x="5314" y="401"/>
                  <a:pt x="5324" y="386"/>
                </a:cubicBezTo>
                <a:cubicBezTo>
                  <a:pt x="5331" y="375"/>
                  <a:pt x="5334" y="368"/>
                  <a:pt x="5334" y="368"/>
                </a:cubicBezTo>
                <a:cubicBezTo>
                  <a:pt x="5334" y="368"/>
                  <a:pt x="5331" y="372"/>
                  <a:pt x="5326" y="379"/>
                </a:cubicBezTo>
                <a:cubicBezTo>
                  <a:pt x="5321" y="387"/>
                  <a:pt x="5317" y="392"/>
                  <a:pt x="5315" y="392"/>
                </a:cubicBezTo>
                <a:cubicBezTo>
                  <a:pt x="5315" y="392"/>
                  <a:pt x="5315" y="393"/>
                  <a:pt x="5314" y="394"/>
                </a:cubicBezTo>
                <a:cubicBezTo>
                  <a:pt x="5314" y="394"/>
                  <a:pt x="5314" y="395"/>
                  <a:pt x="5314" y="396"/>
                </a:cubicBezTo>
                <a:cubicBezTo>
                  <a:pt x="5314" y="397"/>
                  <a:pt x="5314" y="398"/>
                  <a:pt x="5313" y="398"/>
                </a:cubicBezTo>
                <a:cubicBezTo>
                  <a:pt x="5312" y="399"/>
                  <a:pt x="5311" y="399"/>
                  <a:pt x="5310" y="399"/>
                </a:cubicBezTo>
                <a:cubicBezTo>
                  <a:pt x="5309" y="399"/>
                  <a:pt x="5308" y="401"/>
                  <a:pt x="5308" y="404"/>
                </a:cubicBezTo>
                <a:lnTo>
                  <a:pt x="5308" y="408"/>
                </a:lnTo>
                <a:close/>
                <a:moveTo>
                  <a:pt x="5301" y="420"/>
                </a:moveTo>
                <a:cubicBezTo>
                  <a:pt x="5302" y="420"/>
                  <a:pt x="5304" y="419"/>
                  <a:pt x="5305" y="416"/>
                </a:cubicBezTo>
                <a:cubicBezTo>
                  <a:pt x="5306" y="414"/>
                  <a:pt x="5306" y="413"/>
                  <a:pt x="5306" y="412"/>
                </a:cubicBezTo>
                <a:cubicBezTo>
                  <a:pt x="5306" y="411"/>
                  <a:pt x="5306" y="411"/>
                  <a:pt x="5306" y="411"/>
                </a:cubicBezTo>
                <a:cubicBezTo>
                  <a:pt x="5304" y="411"/>
                  <a:pt x="5303" y="413"/>
                  <a:pt x="5301" y="416"/>
                </a:cubicBezTo>
                <a:cubicBezTo>
                  <a:pt x="5301" y="417"/>
                  <a:pt x="5300" y="419"/>
                  <a:pt x="5300" y="419"/>
                </a:cubicBezTo>
                <a:cubicBezTo>
                  <a:pt x="5300" y="420"/>
                  <a:pt x="5300" y="420"/>
                  <a:pt x="5301" y="420"/>
                </a:cubicBezTo>
                <a:close/>
                <a:moveTo>
                  <a:pt x="5313" y="449"/>
                </a:moveTo>
                <a:cubicBezTo>
                  <a:pt x="5313" y="449"/>
                  <a:pt x="5312" y="449"/>
                  <a:pt x="5312" y="448"/>
                </a:cubicBezTo>
                <a:lnTo>
                  <a:pt x="5312" y="447"/>
                </a:lnTo>
                <a:cubicBezTo>
                  <a:pt x="5313" y="446"/>
                  <a:pt x="5314" y="445"/>
                  <a:pt x="5315" y="445"/>
                </a:cubicBezTo>
                <a:lnTo>
                  <a:pt x="5316" y="445"/>
                </a:lnTo>
                <a:cubicBezTo>
                  <a:pt x="5317" y="445"/>
                  <a:pt x="5317" y="445"/>
                  <a:pt x="5317" y="444"/>
                </a:cubicBezTo>
                <a:lnTo>
                  <a:pt x="5317" y="441"/>
                </a:lnTo>
                <a:cubicBezTo>
                  <a:pt x="5317" y="439"/>
                  <a:pt x="5317" y="438"/>
                  <a:pt x="5319" y="436"/>
                </a:cubicBezTo>
                <a:cubicBezTo>
                  <a:pt x="5320" y="434"/>
                  <a:pt x="5321" y="433"/>
                  <a:pt x="5322" y="433"/>
                </a:cubicBezTo>
                <a:lnTo>
                  <a:pt x="5324" y="433"/>
                </a:lnTo>
                <a:cubicBezTo>
                  <a:pt x="5324" y="433"/>
                  <a:pt x="5324" y="433"/>
                  <a:pt x="5324" y="433"/>
                </a:cubicBezTo>
                <a:lnTo>
                  <a:pt x="5324" y="430"/>
                </a:lnTo>
                <a:cubicBezTo>
                  <a:pt x="5324" y="429"/>
                  <a:pt x="5324" y="427"/>
                  <a:pt x="5325" y="425"/>
                </a:cubicBezTo>
                <a:cubicBezTo>
                  <a:pt x="5326" y="424"/>
                  <a:pt x="5326" y="422"/>
                  <a:pt x="5327" y="421"/>
                </a:cubicBezTo>
                <a:cubicBezTo>
                  <a:pt x="5329" y="419"/>
                  <a:pt x="5330" y="419"/>
                  <a:pt x="5331" y="419"/>
                </a:cubicBezTo>
                <a:lnTo>
                  <a:pt x="5332" y="419"/>
                </a:lnTo>
                <a:cubicBezTo>
                  <a:pt x="5333" y="419"/>
                  <a:pt x="5334" y="419"/>
                  <a:pt x="5335" y="418"/>
                </a:cubicBezTo>
                <a:cubicBezTo>
                  <a:pt x="5335" y="417"/>
                  <a:pt x="5336" y="416"/>
                  <a:pt x="5336" y="416"/>
                </a:cubicBezTo>
                <a:lnTo>
                  <a:pt x="5332" y="417"/>
                </a:lnTo>
                <a:cubicBezTo>
                  <a:pt x="5332" y="417"/>
                  <a:pt x="5332" y="417"/>
                  <a:pt x="5332" y="417"/>
                </a:cubicBezTo>
                <a:cubicBezTo>
                  <a:pt x="5332" y="415"/>
                  <a:pt x="5334" y="410"/>
                  <a:pt x="5339" y="403"/>
                </a:cubicBezTo>
                <a:cubicBezTo>
                  <a:pt x="5343" y="397"/>
                  <a:pt x="5346" y="393"/>
                  <a:pt x="5348" y="393"/>
                </a:cubicBezTo>
                <a:cubicBezTo>
                  <a:pt x="5348" y="394"/>
                  <a:pt x="5349" y="394"/>
                  <a:pt x="5349" y="394"/>
                </a:cubicBezTo>
                <a:cubicBezTo>
                  <a:pt x="5350" y="394"/>
                  <a:pt x="5351" y="393"/>
                  <a:pt x="5352" y="392"/>
                </a:cubicBezTo>
                <a:cubicBezTo>
                  <a:pt x="5354" y="392"/>
                  <a:pt x="5354" y="391"/>
                  <a:pt x="5355" y="391"/>
                </a:cubicBezTo>
                <a:cubicBezTo>
                  <a:pt x="5355" y="391"/>
                  <a:pt x="5355" y="391"/>
                  <a:pt x="5355" y="391"/>
                </a:cubicBezTo>
                <a:cubicBezTo>
                  <a:pt x="5355" y="393"/>
                  <a:pt x="5353" y="395"/>
                  <a:pt x="5350" y="399"/>
                </a:cubicBezTo>
                <a:cubicBezTo>
                  <a:pt x="5349" y="400"/>
                  <a:pt x="5348" y="400"/>
                  <a:pt x="5347" y="400"/>
                </a:cubicBezTo>
                <a:lnTo>
                  <a:pt x="5347" y="400"/>
                </a:lnTo>
                <a:lnTo>
                  <a:pt x="5348" y="398"/>
                </a:lnTo>
                <a:cubicBezTo>
                  <a:pt x="5348" y="398"/>
                  <a:pt x="5348" y="397"/>
                  <a:pt x="5348" y="397"/>
                </a:cubicBezTo>
                <a:lnTo>
                  <a:pt x="5346" y="399"/>
                </a:lnTo>
                <a:cubicBezTo>
                  <a:pt x="5346" y="399"/>
                  <a:pt x="5346" y="400"/>
                  <a:pt x="5346" y="401"/>
                </a:cubicBezTo>
                <a:lnTo>
                  <a:pt x="5346" y="404"/>
                </a:lnTo>
                <a:cubicBezTo>
                  <a:pt x="5346" y="405"/>
                  <a:pt x="5346" y="406"/>
                  <a:pt x="5344" y="407"/>
                </a:cubicBezTo>
                <a:cubicBezTo>
                  <a:pt x="5343" y="409"/>
                  <a:pt x="5342" y="409"/>
                  <a:pt x="5340" y="409"/>
                </a:cubicBezTo>
                <a:lnTo>
                  <a:pt x="5338" y="409"/>
                </a:lnTo>
                <a:lnTo>
                  <a:pt x="5339" y="411"/>
                </a:lnTo>
                <a:cubicBezTo>
                  <a:pt x="5339" y="413"/>
                  <a:pt x="5338" y="414"/>
                  <a:pt x="5337" y="417"/>
                </a:cubicBezTo>
                <a:cubicBezTo>
                  <a:pt x="5336" y="419"/>
                  <a:pt x="5335" y="422"/>
                  <a:pt x="5333" y="425"/>
                </a:cubicBezTo>
                <a:cubicBezTo>
                  <a:pt x="5331" y="429"/>
                  <a:pt x="5329" y="432"/>
                  <a:pt x="5327" y="435"/>
                </a:cubicBezTo>
                <a:cubicBezTo>
                  <a:pt x="5325" y="438"/>
                  <a:pt x="5324" y="441"/>
                  <a:pt x="5323" y="442"/>
                </a:cubicBezTo>
                <a:cubicBezTo>
                  <a:pt x="5322" y="444"/>
                  <a:pt x="5321" y="446"/>
                  <a:pt x="5319" y="447"/>
                </a:cubicBezTo>
                <a:cubicBezTo>
                  <a:pt x="5316" y="448"/>
                  <a:pt x="5315" y="449"/>
                  <a:pt x="5313" y="449"/>
                </a:cubicBezTo>
                <a:close/>
                <a:moveTo>
                  <a:pt x="5349" y="391"/>
                </a:moveTo>
                <a:cubicBezTo>
                  <a:pt x="5349" y="391"/>
                  <a:pt x="5349" y="391"/>
                  <a:pt x="5349" y="391"/>
                </a:cubicBezTo>
                <a:cubicBezTo>
                  <a:pt x="5349" y="389"/>
                  <a:pt x="5353" y="384"/>
                  <a:pt x="5360" y="373"/>
                </a:cubicBezTo>
                <a:cubicBezTo>
                  <a:pt x="5367" y="365"/>
                  <a:pt x="5370" y="359"/>
                  <a:pt x="5370" y="356"/>
                </a:cubicBezTo>
                <a:cubicBezTo>
                  <a:pt x="5370" y="355"/>
                  <a:pt x="5370" y="355"/>
                  <a:pt x="5370" y="354"/>
                </a:cubicBezTo>
                <a:cubicBezTo>
                  <a:pt x="5369" y="353"/>
                  <a:pt x="5369" y="353"/>
                  <a:pt x="5369" y="351"/>
                </a:cubicBezTo>
                <a:cubicBezTo>
                  <a:pt x="5369" y="350"/>
                  <a:pt x="5370" y="349"/>
                  <a:pt x="5371" y="347"/>
                </a:cubicBezTo>
                <a:cubicBezTo>
                  <a:pt x="5373" y="345"/>
                  <a:pt x="5374" y="344"/>
                  <a:pt x="5374" y="344"/>
                </a:cubicBezTo>
                <a:lnTo>
                  <a:pt x="5374" y="345"/>
                </a:lnTo>
                <a:lnTo>
                  <a:pt x="5371" y="353"/>
                </a:lnTo>
                <a:cubicBezTo>
                  <a:pt x="5372" y="353"/>
                  <a:pt x="5373" y="352"/>
                  <a:pt x="5376" y="348"/>
                </a:cubicBezTo>
                <a:cubicBezTo>
                  <a:pt x="5378" y="346"/>
                  <a:pt x="5379" y="345"/>
                  <a:pt x="5380" y="345"/>
                </a:cubicBezTo>
                <a:cubicBezTo>
                  <a:pt x="5381" y="345"/>
                  <a:pt x="5381" y="345"/>
                  <a:pt x="5381" y="346"/>
                </a:cubicBezTo>
                <a:cubicBezTo>
                  <a:pt x="5381" y="348"/>
                  <a:pt x="5380" y="350"/>
                  <a:pt x="5378" y="353"/>
                </a:cubicBezTo>
                <a:lnTo>
                  <a:pt x="5377" y="355"/>
                </a:lnTo>
                <a:lnTo>
                  <a:pt x="5380" y="354"/>
                </a:lnTo>
                <a:cubicBezTo>
                  <a:pt x="5380" y="354"/>
                  <a:pt x="5381" y="354"/>
                  <a:pt x="5381" y="355"/>
                </a:cubicBezTo>
                <a:cubicBezTo>
                  <a:pt x="5381" y="356"/>
                  <a:pt x="5377" y="362"/>
                  <a:pt x="5370" y="372"/>
                </a:cubicBezTo>
                <a:cubicBezTo>
                  <a:pt x="5361" y="384"/>
                  <a:pt x="5356" y="389"/>
                  <a:pt x="5355" y="389"/>
                </a:cubicBezTo>
                <a:cubicBezTo>
                  <a:pt x="5354" y="389"/>
                  <a:pt x="5353" y="390"/>
                  <a:pt x="5352" y="390"/>
                </a:cubicBezTo>
                <a:cubicBezTo>
                  <a:pt x="5351" y="391"/>
                  <a:pt x="5350" y="391"/>
                  <a:pt x="5349" y="391"/>
                </a:cubicBezTo>
                <a:close/>
                <a:moveTo>
                  <a:pt x="5364" y="374"/>
                </a:moveTo>
                <a:cubicBezTo>
                  <a:pt x="5365" y="374"/>
                  <a:pt x="5366" y="373"/>
                  <a:pt x="5368" y="370"/>
                </a:cubicBezTo>
                <a:lnTo>
                  <a:pt x="5370" y="368"/>
                </a:lnTo>
                <a:lnTo>
                  <a:pt x="5370" y="367"/>
                </a:lnTo>
                <a:cubicBezTo>
                  <a:pt x="5370" y="367"/>
                  <a:pt x="5369" y="368"/>
                  <a:pt x="5368" y="369"/>
                </a:cubicBezTo>
                <a:cubicBezTo>
                  <a:pt x="5367" y="370"/>
                  <a:pt x="5366" y="370"/>
                  <a:pt x="5365" y="371"/>
                </a:cubicBezTo>
                <a:cubicBezTo>
                  <a:pt x="5364" y="372"/>
                  <a:pt x="5364" y="373"/>
                  <a:pt x="5364" y="373"/>
                </a:cubicBezTo>
                <a:cubicBezTo>
                  <a:pt x="5364" y="374"/>
                  <a:pt x="5364" y="374"/>
                  <a:pt x="5364" y="374"/>
                </a:cubicBezTo>
                <a:close/>
                <a:moveTo>
                  <a:pt x="5371" y="365"/>
                </a:moveTo>
                <a:cubicBezTo>
                  <a:pt x="5372" y="365"/>
                  <a:pt x="5372" y="365"/>
                  <a:pt x="5373" y="364"/>
                </a:cubicBezTo>
                <a:cubicBezTo>
                  <a:pt x="5374" y="363"/>
                  <a:pt x="5374" y="362"/>
                  <a:pt x="5375" y="361"/>
                </a:cubicBezTo>
                <a:lnTo>
                  <a:pt x="5377" y="359"/>
                </a:lnTo>
                <a:lnTo>
                  <a:pt x="5377" y="358"/>
                </a:lnTo>
                <a:lnTo>
                  <a:pt x="5374" y="360"/>
                </a:lnTo>
                <a:cubicBezTo>
                  <a:pt x="5372" y="362"/>
                  <a:pt x="5370" y="364"/>
                  <a:pt x="5370" y="365"/>
                </a:cubicBezTo>
                <a:cubicBezTo>
                  <a:pt x="5370" y="365"/>
                  <a:pt x="5371" y="365"/>
                  <a:pt x="5371" y="365"/>
                </a:cubicBezTo>
                <a:close/>
                <a:moveTo>
                  <a:pt x="5304" y="475"/>
                </a:moveTo>
                <a:cubicBezTo>
                  <a:pt x="5303" y="475"/>
                  <a:pt x="5303" y="474"/>
                  <a:pt x="5303" y="472"/>
                </a:cubicBezTo>
                <a:cubicBezTo>
                  <a:pt x="5303" y="469"/>
                  <a:pt x="5304" y="468"/>
                  <a:pt x="5305" y="468"/>
                </a:cubicBezTo>
                <a:cubicBezTo>
                  <a:pt x="5306" y="468"/>
                  <a:pt x="5306" y="469"/>
                  <a:pt x="5306" y="470"/>
                </a:cubicBezTo>
                <a:cubicBezTo>
                  <a:pt x="5306" y="470"/>
                  <a:pt x="5306" y="471"/>
                  <a:pt x="5306" y="472"/>
                </a:cubicBezTo>
                <a:cubicBezTo>
                  <a:pt x="5306" y="473"/>
                  <a:pt x="5305" y="474"/>
                  <a:pt x="5305" y="474"/>
                </a:cubicBezTo>
                <a:cubicBezTo>
                  <a:pt x="5305" y="475"/>
                  <a:pt x="5304" y="475"/>
                  <a:pt x="5304" y="475"/>
                </a:cubicBezTo>
                <a:close/>
                <a:moveTo>
                  <a:pt x="5743" y="218"/>
                </a:moveTo>
                <a:lnTo>
                  <a:pt x="5742" y="218"/>
                </a:lnTo>
                <a:cubicBezTo>
                  <a:pt x="5741" y="218"/>
                  <a:pt x="5741" y="217"/>
                  <a:pt x="5740" y="215"/>
                </a:cubicBezTo>
                <a:lnTo>
                  <a:pt x="5739" y="212"/>
                </a:lnTo>
                <a:lnTo>
                  <a:pt x="5739" y="212"/>
                </a:lnTo>
                <a:lnTo>
                  <a:pt x="5741" y="213"/>
                </a:lnTo>
                <a:cubicBezTo>
                  <a:pt x="5742" y="215"/>
                  <a:pt x="5743" y="216"/>
                  <a:pt x="5743" y="216"/>
                </a:cubicBezTo>
                <a:lnTo>
                  <a:pt x="5743" y="218"/>
                </a:lnTo>
                <a:close/>
                <a:moveTo>
                  <a:pt x="5670" y="355"/>
                </a:moveTo>
                <a:cubicBezTo>
                  <a:pt x="5669" y="355"/>
                  <a:pt x="5669" y="355"/>
                  <a:pt x="5669" y="355"/>
                </a:cubicBezTo>
                <a:cubicBezTo>
                  <a:pt x="5669" y="354"/>
                  <a:pt x="5669" y="353"/>
                  <a:pt x="5670" y="351"/>
                </a:cubicBezTo>
                <a:cubicBezTo>
                  <a:pt x="5670" y="350"/>
                  <a:pt x="5671" y="350"/>
                  <a:pt x="5671" y="349"/>
                </a:cubicBezTo>
                <a:cubicBezTo>
                  <a:pt x="5671" y="348"/>
                  <a:pt x="5672" y="348"/>
                  <a:pt x="5672" y="348"/>
                </a:cubicBezTo>
                <a:cubicBezTo>
                  <a:pt x="5673" y="348"/>
                  <a:pt x="5673" y="348"/>
                  <a:pt x="5673" y="350"/>
                </a:cubicBezTo>
                <a:cubicBezTo>
                  <a:pt x="5673" y="352"/>
                  <a:pt x="5673" y="354"/>
                  <a:pt x="5671" y="355"/>
                </a:cubicBezTo>
                <a:lnTo>
                  <a:pt x="5670" y="355"/>
                </a:lnTo>
                <a:close/>
                <a:moveTo>
                  <a:pt x="5805" y="307"/>
                </a:moveTo>
                <a:lnTo>
                  <a:pt x="5808" y="301"/>
                </a:lnTo>
                <a:cubicBezTo>
                  <a:pt x="5810" y="298"/>
                  <a:pt x="5812" y="295"/>
                  <a:pt x="5812" y="294"/>
                </a:cubicBezTo>
                <a:cubicBezTo>
                  <a:pt x="5813" y="292"/>
                  <a:pt x="5814" y="292"/>
                  <a:pt x="5814" y="292"/>
                </a:cubicBezTo>
                <a:lnTo>
                  <a:pt x="5814" y="293"/>
                </a:lnTo>
                <a:cubicBezTo>
                  <a:pt x="5814" y="295"/>
                  <a:pt x="5812" y="298"/>
                  <a:pt x="5808" y="302"/>
                </a:cubicBezTo>
                <a:lnTo>
                  <a:pt x="5805" y="307"/>
                </a:lnTo>
                <a:close/>
                <a:moveTo>
                  <a:pt x="5654" y="686"/>
                </a:moveTo>
                <a:cubicBezTo>
                  <a:pt x="5654" y="685"/>
                  <a:pt x="5656" y="682"/>
                  <a:pt x="5660" y="676"/>
                </a:cubicBezTo>
                <a:cubicBezTo>
                  <a:pt x="5667" y="665"/>
                  <a:pt x="5671" y="659"/>
                  <a:pt x="5672" y="659"/>
                </a:cubicBezTo>
                <a:cubicBezTo>
                  <a:pt x="5672" y="660"/>
                  <a:pt x="5670" y="664"/>
                  <a:pt x="5666" y="670"/>
                </a:cubicBezTo>
                <a:cubicBezTo>
                  <a:pt x="5659" y="681"/>
                  <a:pt x="5655" y="686"/>
                  <a:pt x="5654" y="686"/>
                </a:cubicBezTo>
                <a:close/>
                <a:moveTo>
                  <a:pt x="5634" y="718"/>
                </a:moveTo>
                <a:cubicBezTo>
                  <a:pt x="5632" y="718"/>
                  <a:pt x="5632" y="718"/>
                  <a:pt x="5632" y="718"/>
                </a:cubicBezTo>
                <a:lnTo>
                  <a:pt x="5633" y="717"/>
                </a:lnTo>
                <a:cubicBezTo>
                  <a:pt x="5635" y="716"/>
                  <a:pt x="5636" y="714"/>
                  <a:pt x="5636" y="712"/>
                </a:cubicBezTo>
                <a:cubicBezTo>
                  <a:pt x="5636" y="710"/>
                  <a:pt x="5637" y="709"/>
                  <a:pt x="5639" y="709"/>
                </a:cubicBezTo>
                <a:cubicBezTo>
                  <a:pt x="5639" y="709"/>
                  <a:pt x="5639" y="710"/>
                  <a:pt x="5639" y="710"/>
                </a:cubicBezTo>
                <a:cubicBezTo>
                  <a:pt x="5639" y="711"/>
                  <a:pt x="5639" y="712"/>
                  <a:pt x="5639" y="713"/>
                </a:cubicBezTo>
                <a:cubicBezTo>
                  <a:pt x="5638" y="715"/>
                  <a:pt x="5637" y="716"/>
                  <a:pt x="5636" y="717"/>
                </a:cubicBezTo>
                <a:cubicBezTo>
                  <a:pt x="5635" y="718"/>
                  <a:pt x="5634" y="718"/>
                  <a:pt x="5634" y="718"/>
                </a:cubicBezTo>
                <a:close/>
                <a:moveTo>
                  <a:pt x="5854" y="677"/>
                </a:moveTo>
                <a:cubicBezTo>
                  <a:pt x="5851" y="677"/>
                  <a:pt x="5848" y="676"/>
                  <a:pt x="5846" y="674"/>
                </a:cubicBezTo>
                <a:cubicBezTo>
                  <a:pt x="5844" y="672"/>
                  <a:pt x="5843" y="671"/>
                  <a:pt x="5843" y="671"/>
                </a:cubicBezTo>
                <a:cubicBezTo>
                  <a:pt x="5843" y="671"/>
                  <a:pt x="5843" y="670"/>
                  <a:pt x="5844" y="670"/>
                </a:cubicBezTo>
                <a:cubicBezTo>
                  <a:pt x="5845" y="670"/>
                  <a:pt x="5847" y="671"/>
                  <a:pt x="5851" y="674"/>
                </a:cubicBezTo>
                <a:cubicBezTo>
                  <a:pt x="5854" y="675"/>
                  <a:pt x="5855" y="676"/>
                  <a:pt x="5855" y="676"/>
                </a:cubicBezTo>
                <a:cubicBezTo>
                  <a:pt x="5855" y="677"/>
                  <a:pt x="5854" y="677"/>
                  <a:pt x="5854" y="677"/>
                </a:cubicBezTo>
                <a:close/>
                <a:moveTo>
                  <a:pt x="5668" y="644"/>
                </a:moveTo>
                <a:lnTo>
                  <a:pt x="5668" y="642"/>
                </a:lnTo>
                <a:cubicBezTo>
                  <a:pt x="5669" y="640"/>
                  <a:pt x="5671" y="638"/>
                  <a:pt x="5672" y="636"/>
                </a:cubicBezTo>
                <a:cubicBezTo>
                  <a:pt x="5673" y="634"/>
                  <a:pt x="5675" y="633"/>
                  <a:pt x="5676" y="632"/>
                </a:cubicBezTo>
                <a:cubicBezTo>
                  <a:pt x="5678" y="631"/>
                  <a:pt x="5679" y="630"/>
                  <a:pt x="5679" y="630"/>
                </a:cubicBezTo>
                <a:cubicBezTo>
                  <a:pt x="5679" y="630"/>
                  <a:pt x="5680" y="630"/>
                  <a:pt x="5680" y="630"/>
                </a:cubicBezTo>
                <a:cubicBezTo>
                  <a:pt x="5680" y="631"/>
                  <a:pt x="5678" y="634"/>
                  <a:pt x="5673" y="639"/>
                </a:cubicBezTo>
                <a:cubicBezTo>
                  <a:pt x="5670" y="642"/>
                  <a:pt x="5669" y="644"/>
                  <a:pt x="5668" y="644"/>
                </a:cubicBezTo>
                <a:close/>
                <a:moveTo>
                  <a:pt x="5612" y="767"/>
                </a:moveTo>
                <a:cubicBezTo>
                  <a:pt x="5611" y="767"/>
                  <a:pt x="5610" y="766"/>
                  <a:pt x="5609" y="764"/>
                </a:cubicBezTo>
                <a:lnTo>
                  <a:pt x="5609" y="763"/>
                </a:lnTo>
                <a:cubicBezTo>
                  <a:pt x="5609" y="762"/>
                  <a:pt x="5609" y="761"/>
                  <a:pt x="5610" y="760"/>
                </a:cubicBezTo>
                <a:cubicBezTo>
                  <a:pt x="5611" y="758"/>
                  <a:pt x="5611" y="758"/>
                  <a:pt x="5612" y="758"/>
                </a:cubicBezTo>
                <a:cubicBezTo>
                  <a:pt x="5612" y="758"/>
                  <a:pt x="5613" y="758"/>
                  <a:pt x="5613" y="759"/>
                </a:cubicBezTo>
                <a:cubicBezTo>
                  <a:pt x="5614" y="760"/>
                  <a:pt x="5614" y="761"/>
                  <a:pt x="5614" y="761"/>
                </a:cubicBezTo>
                <a:cubicBezTo>
                  <a:pt x="5614" y="762"/>
                  <a:pt x="5613" y="762"/>
                  <a:pt x="5612" y="762"/>
                </a:cubicBezTo>
                <a:cubicBezTo>
                  <a:pt x="5611" y="762"/>
                  <a:pt x="5611" y="762"/>
                  <a:pt x="5611" y="763"/>
                </a:cubicBezTo>
                <a:lnTo>
                  <a:pt x="5612" y="766"/>
                </a:lnTo>
                <a:lnTo>
                  <a:pt x="5612" y="767"/>
                </a:lnTo>
                <a:close/>
                <a:moveTo>
                  <a:pt x="5641" y="707"/>
                </a:moveTo>
                <a:cubicBezTo>
                  <a:pt x="5641" y="706"/>
                  <a:pt x="5641" y="705"/>
                  <a:pt x="5642" y="704"/>
                </a:cubicBezTo>
                <a:cubicBezTo>
                  <a:pt x="5643" y="702"/>
                  <a:pt x="5644" y="700"/>
                  <a:pt x="5645" y="698"/>
                </a:cubicBezTo>
                <a:cubicBezTo>
                  <a:pt x="5646" y="697"/>
                  <a:pt x="5647" y="695"/>
                  <a:pt x="5649" y="693"/>
                </a:cubicBezTo>
                <a:cubicBezTo>
                  <a:pt x="5650" y="691"/>
                  <a:pt x="5651" y="691"/>
                  <a:pt x="5651" y="691"/>
                </a:cubicBezTo>
                <a:cubicBezTo>
                  <a:pt x="5651" y="691"/>
                  <a:pt x="5651" y="692"/>
                  <a:pt x="5650" y="694"/>
                </a:cubicBezTo>
                <a:cubicBezTo>
                  <a:pt x="5649" y="696"/>
                  <a:pt x="5647" y="699"/>
                  <a:pt x="5644" y="703"/>
                </a:cubicBezTo>
                <a:cubicBezTo>
                  <a:pt x="5642" y="705"/>
                  <a:pt x="5641" y="707"/>
                  <a:pt x="5641" y="707"/>
                </a:cubicBezTo>
                <a:close/>
                <a:moveTo>
                  <a:pt x="5622" y="743"/>
                </a:moveTo>
                <a:cubicBezTo>
                  <a:pt x="5621" y="743"/>
                  <a:pt x="5621" y="742"/>
                  <a:pt x="5621" y="742"/>
                </a:cubicBezTo>
                <a:lnTo>
                  <a:pt x="5620" y="740"/>
                </a:lnTo>
                <a:cubicBezTo>
                  <a:pt x="5620" y="739"/>
                  <a:pt x="5621" y="738"/>
                  <a:pt x="5621" y="737"/>
                </a:cubicBezTo>
                <a:lnTo>
                  <a:pt x="5623" y="737"/>
                </a:lnTo>
                <a:cubicBezTo>
                  <a:pt x="5624" y="737"/>
                  <a:pt x="5624" y="737"/>
                  <a:pt x="5625" y="738"/>
                </a:cubicBezTo>
                <a:cubicBezTo>
                  <a:pt x="5625" y="739"/>
                  <a:pt x="5624" y="740"/>
                  <a:pt x="5624" y="741"/>
                </a:cubicBezTo>
                <a:cubicBezTo>
                  <a:pt x="5623" y="742"/>
                  <a:pt x="5622" y="743"/>
                  <a:pt x="5622" y="743"/>
                </a:cubicBezTo>
                <a:close/>
                <a:moveTo>
                  <a:pt x="5616" y="757"/>
                </a:moveTo>
                <a:cubicBezTo>
                  <a:pt x="5616" y="757"/>
                  <a:pt x="5615" y="757"/>
                  <a:pt x="5614" y="756"/>
                </a:cubicBezTo>
                <a:cubicBezTo>
                  <a:pt x="5613" y="755"/>
                  <a:pt x="5613" y="755"/>
                  <a:pt x="5613" y="754"/>
                </a:cubicBezTo>
                <a:cubicBezTo>
                  <a:pt x="5613" y="753"/>
                  <a:pt x="5614" y="752"/>
                  <a:pt x="5614" y="751"/>
                </a:cubicBezTo>
                <a:cubicBezTo>
                  <a:pt x="5615" y="749"/>
                  <a:pt x="5616" y="748"/>
                  <a:pt x="5617" y="747"/>
                </a:cubicBezTo>
                <a:cubicBezTo>
                  <a:pt x="5617" y="746"/>
                  <a:pt x="5619" y="746"/>
                  <a:pt x="5619" y="746"/>
                </a:cubicBezTo>
                <a:lnTo>
                  <a:pt x="5621" y="746"/>
                </a:lnTo>
                <a:cubicBezTo>
                  <a:pt x="5621" y="747"/>
                  <a:pt x="5620" y="747"/>
                  <a:pt x="5619" y="747"/>
                </a:cubicBezTo>
                <a:cubicBezTo>
                  <a:pt x="5618" y="747"/>
                  <a:pt x="5617" y="748"/>
                  <a:pt x="5617" y="750"/>
                </a:cubicBezTo>
                <a:lnTo>
                  <a:pt x="5618" y="751"/>
                </a:lnTo>
                <a:cubicBezTo>
                  <a:pt x="5618" y="752"/>
                  <a:pt x="5618" y="753"/>
                  <a:pt x="5617" y="753"/>
                </a:cubicBezTo>
                <a:cubicBezTo>
                  <a:pt x="5616" y="753"/>
                  <a:pt x="5616" y="753"/>
                  <a:pt x="5616" y="754"/>
                </a:cubicBezTo>
                <a:lnTo>
                  <a:pt x="5616" y="757"/>
                </a:lnTo>
                <a:close/>
                <a:moveTo>
                  <a:pt x="5625" y="734"/>
                </a:moveTo>
                <a:cubicBezTo>
                  <a:pt x="5624" y="734"/>
                  <a:pt x="5623" y="734"/>
                  <a:pt x="5623" y="734"/>
                </a:cubicBezTo>
                <a:lnTo>
                  <a:pt x="5625" y="732"/>
                </a:lnTo>
                <a:cubicBezTo>
                  <a:pt x="5626" y="732"/>
                  <a:pt x="5627" y="731"/>
                  <a:pt x="5627" y="730"/>
                </a:cubicBezTo>
                <a:lnTo>
                  <a:pt x="5627" y="730"/>
                </a:lnTo>
                <a:cubicBezTo>
                  <a:pt x="5627" y="728"/>
                  <a:pt x="5628" y="726"/>
                  <a:pt x="5630" y="724"/>
                </a:cubicBezTo>
                <a:cubicBezTo>
                  <a:pt x="5632" y="722"/>
                  <a:pt x="5633" y="721"/>
                  <a:pt x="5633" y="721"/>
                </a:cubicBezTo>
                <a:lnTo>
                  <a:pt x="5634" y="721"/>
                </a:lnTo>
                <a:cubicBezTo>
                  <a:pt x="5634" y="722"/>
                  <a:pt x="5633" y="724"/>
                  <a:pt x="5631" y="727"/>
                </a:cubicBezTo>
                <a:cubicBezTo>
                  <a:pt x="5629" y="732"/>
                  <a:pt x="5627" y="734"/>
                  <a:pt x="5625" y="734"/>
                </a:cubicBezTo>
                <a:close/>
                <a:moveTo>
                  <a:pt x="5597" y="750"/>
                </a:moveTo>
                <a:lnTo>
                  <a:pt x="5596" y="750"/>
                </a:lnTo>
                <a:cubicBezTo>
                  <a:pt x="5596" y="750"/>
                  <a:pt x="5595" y="750"/>
                  <a:pt x="5595" y="750"/>
                </a:cubicBezTo>
                <a:lnTo>
                  <a:pt x="5595" y="749"/>
                </a:lnTo>
                <a:cubicBezTo>
                  <a:pt x="5598" y="743"/>
                  <a:pt x="5600" y="738"/>
                  <a:pt x="5603" y="733"/>
                </a:cubicBezTo>
                <a:cubicBezTo>
                  <a:pt x="5605" y="729"/>
                  <a:pt x="5607" y="727"/>
                  <a:pt x="5608" y="727"/>
                </a:cubicBezTo>
                <a:cubicBezTo>
                  <a:pt x="5609" y="727"/>
                  <a:pt x="5609" y="727"/>
                  <a:pt x="5609" y="728"/>
                </a:cubicBezTo>
                <a:cubicBezTo>
                  <a:pt x="5609" y="728"/>
                  <a:pt x="5609" y="729"/>
                  <a:pt x="5608" y="730"/>
                </a:cubicBezTo>
                <a:cubicBezTo>
                  <a:pt x="5607" y="730"/>
                  <a:pt x="5606" y="732"/>
                  <a:pt x="5605" y="735"/>
                </a:cubicBezTo>
                <a:cubicBezTo>
                  <a:pt x="5604" y="738"/>
                  <a:pt x="5603" y="740"/>
                  <a:pt x="5601" y="743"/>
                </a:cubicBezTo>
                <a:cubicBezTo>
                  <a:pt x="5600" y="745"/>
                  <a:pt x="5599" y="747"/>
                  <a:pt x="5599" y="747"/>
                </a:cubicBezTo>
                <a:lnTo>
                  <a:pt x="5599" y="748"/>
                </a:lnTo>
                <a:cubicBezTo>
                  <a:pt x="5599" y="749"/>
                  <a:pt x="5598" y="750"/>
                  <a:pt x="5597" y="750"/>
                </a:cubicBezTo>
                <a:close/>
                <a:moveTo>
                  <a:pt x="5597" y="789"/>
                </a:moveTo>
                <a:lnTo>
                  <a:pt x="5597" y="788"/>
                </a:lnTo>
                <a:cubicBezTo>
                  <a:pt x="5597" y="786"/>
                  <a:pt x="5598" y="784"/>
                  <a:pt x="5600" y="781"/>
                </a:cubicBezTo>
                <a:cubicBezTo>
                  <a:pt x="5601" y="778"/>
                  <a:pt x="5603" y="775"/>
                  <a:pt x="5605" y="772"/>
                </a:cubicBezTo>
                <a:cubicBezTo>
                  <a:pt x="5607" y="769"/>
                  <a:pt x="5608" y="768"/>
                  <a:pt x="5608" y="768"/>
                </a:cubicBezTo>
                <a:cubicBezTo>
                  <a:pt x="5609" y="768"/>
                  <a:pt x="5609" y="769"/>
                  <a:pt x="5609" y="770"/>
                </a:cubicBezTo>
                <a:cubicBezTo>
                  <a:pt x="5609" y="771"/>
                  <a:pt x="5609" y="771"/>
                  <a:pt x="5608" y="771"/>
                </a:cubicBezTo>
                <a:cubicBezTo>
                  <a:pt x="5607" y="771"/>
                  <a:pt x="5607" y="771"/>
                  <a:pt x="5607" y="772"/>
                </a:cubicBezTo>
                <a:lnTo>
                  <a:pt x="5607" y="774"/>
                </a:lnTo>
                <a:cubicBezTo>
                  <a:pt x="5607" y="775"/>
                  <a:pt x="5607" y="776"/>
                  <a:pt x="5606" y="776"/>
                </a:cubicBezTo>
                <a:cubicBezTo>
                  <a:pt x="5605" y="776"/>
                  <a:pt x="5603" y="778"/>
                  <a:pt x="5601" y="783"/>
                </a:cubicBezTo>
                <a:cubicBezTo>
                  <a:pt x="5599" y="787"/>
                  <a:pt x="5598" y="789"/>
                  <a:pt x="5597" y="789"/>
                </a:cubicBezTo>
                <a:close/>
                <a:moveTo>
                  <a:pt x="5717" y="383"/>
                </a:moveTo>
                <a:cubicBezTo>
                  <a:pt x="5717" y="382"/>
                  <a:pt x="5718" y="381"/>
                  <a:pt x="5720" y="378"/>
                </a:cubicBezTo>
                <a:cubicBezTo>
                  <a:pt x="5722" y="375"/>
                  <a:pt x="5724" y="374"/>
                  <a:pt x="5725" y="374"/>
                </a:cubicBezTo>
                <a:lnTo>
                  <a:pt x="5725" y="375"/>
                </a:lnTo>
                <a:cubicBezTo>
                  <a:pt x="5725" y="375"/>
                  <a:pt x="5724" y="376"/>
                  <a:pt x="5722" y="379"/>
                </a:cubicBezTo>
                <a:cubicBezTo>
                  <a:pt x="5720" y="382"/>
                  <a:pt x="5718" y="383"/>
                  <a:pt x="5717" y="383"/>
                </a:cubicBezTo>
                <a:close/>
                <a:moveTo>
                  <a:pt x="5609" y="722"/>
                </a:moveTo>
                <a:cubicBezTo>
                  <a:pt x="5609" y="722"/>
                  <a:pt x="5609" y="722"/>
                  <a:pt x="5609" y="721"/>
                </a:cubicBezTo>
                <a:lnTo>
                  <a:pt x="5610" y="718"/>
                </a:lnTo>
                <a:cubicBezTo>
                  <a:pt x="5612" y="715"/>
                  <a:pt x="5612" y="714"/>
                  <a:pt x="5613" y="714"/>
                </a:cubicBezTo>
                <a:cubicBezTo>
                  <a:pt x="5614" y="714"/>
                  <a:pt x="5614" y="715"/>
                  <a:pt x="5614" y="717"/>
                </a:cubicBezTo>
                <a:cubicBezTo>
                  <a:pt x="5614" y="719"/>
                  <a:pt x="5613" y="721"/>
                  <a:pt x="5611" y="721"/>
                </a:cubicBezTo>
                <a:lnTo>
                  <a:pt x="5609" y="722"/>
                </a:lnTo>
                <a:close/>
                <a:moveTo>
                  <a:pt x="5585" y="839"/>
                </a:moveTo>
                <a:cubicBezTo>
                  <a:pt x="5582" y="839"/>
                  <a:pt x="5579" y="838"/>
                  <a:pt x="5574" y="835"/>
                </a:cubicBezTo>
                <a:cubicBezTo>
                  <a:pt x="5561" y="826"/>
                  <a:pt x="5552" y="813"/>
                  <a:pt x="5546" y="795"/>
                </a:cubicBezTo>
                <a:cubicBezTo>
                  <a:pt x="5545" y="791"/>
                  <a:pt x="5544" y="785"/>
                  <a:pt x="5544" y="777"/>
                </a:cubicBezTo>
                <a:cubicBezTo>
                  <a:pt x="5544" y="760"/>
                  <a:pt x="5547" y="738"/>
                  <a:pt x="5551" y="710"/>
                </a:cubicBezTo>
                <a:cubicBezTo>
                  <a:pt x="5556" y="683"/>
                  <a:pt x="5562" y="655"/>
                  <a:pt x="5570" y="628"/>
                </a:cubicBezTo>
                <a:cubicBezTo>
                  <a:pt x="5585" y="577"/>
                  <a:pt x="5601" y="529"/>
                  <a:pt x="5618" y="484"/>
                </a:cubicBezTo>
                <a:cubicBezTo>
                  <a:pt x="5623" y="470"/>
                  <a:pt x="5626" y="463"/>
                  <a:pt x="5626" y="461"/>
                </a:cubicBezTo>
                <a:cubicBezTo>
                  <a:pt x="5627" y="456"/>
                  <a:pt x="5636" y="436"/>
                  <a:pt x="5651" y="400"/>
                </a:cubicBezTo>
                <a:cubicBezTo>
                  <a:pt x="5657" y="385"/>
                  <a:pt x="5660" y="376"/>
                  <a:pt x="5660" y="373"/>
                </a:cubicBezTo>
                <a:cubicBezTo>
                  <a:pt x="5660" y="371"/>
                  <a:pt x="5661" y="370"/>
                  <a:pt x="5662" y="370"/>
                </a:cubicBezTo>
                <a:cubicBezTo>
                  <a:pt x="5663" y="370"/>
                  <a:pt x="5664" y="369"/>
                  <a:pt x="5664" y="369"/>
                </a:cubicBezTo>
                <a:lnTo>
                  <a:pt x="5664" y="368"/>
                </a:lnTo>
                <a:cubicBezTo>
                  <a:pt x="5664" y="366"/>
                  <a:pt x="5664" y="365"/>
                  <a:pt x="5665" y="364"/>
                </a:cubicBezTo>
                <a:cubicBezTo>
                  <a:pt x="5666" y="360"/>
                  <a:pt x="5668" y="358"/>
                  <a:pt x="5669" y="358"/>
                </a:cubicBezTo>
                <a:lnTo>
                  <a:pt x="5669" y="359"/>
                </a:lnTo>
                <a:cubicBezTo>
                  <a:pt x="5669" y="360"/>
                  <a:pt x="5668" y="364"/>
                  <a:pt x="5666" y="370"/>
                </a:cubicBezTo>
                <a:cubicBezTo>
                  <a:pt x="5664" y="377"/>
                  <a:pt x="5661" y="383"/>
                  <a:pt x="5659" y="390"/>
                </a:cubicBezTo>
                <a:cubicBezTo>
                  <a:pt x="5656" y="397"/>
                  <a:pt x="5653" y="403"/>
                  <a:pt x="5651" y="407"/>
                </a:cubicBezTo>
                <a:cubicBezTo>
                  <a:pt x="5651" y="409"/>
                  <a:pt x="5650" y="410"/>
                  <a:pt x="5650" y="411"/>
                </a:cubicBezTo>
                <a:cubicBezTo>
                  <a:pt x="5650" y="412"/>
                  <a:pt x="5650" y="413"/>
                  <a:pt x="5651" y="413"/>
                </a:cubicBezTo>
                <a:cubicBezTo>
                  <a:pt x="5651" y="414"/>
                  <a:pt x="5651" y="414"/>
                  <a:pt x="5651" y="415"/>
                </a:cubicBezTo>
                <a:cubicBezTo>
                  <a:pt x="5651" y="415"/>
                  <a:pt x="5651" y="416"/>
                  <a:pt x="5649" y="416"/>
                </a:cubicBezTo>
                <a:cubicBezTo>
                  <a:pt x="5648" y="416"/>
                  <a:pt x="5648" y="419"/>
                  <a:pt x="5648" y="424"/>
                </a:cubicBezTo>
                <a:lnTo>
                  <a:pt x="5648" y="430"/>
                </a:lnTo>
                <a:cubicBezTo>
                  <a:pt x="5648" y="430"/>
                  <a:pt x="5649" y="428"/>
                  <a:pt x="5651" y="423"/>
                </a:cubicBezTo>
                <a:lnTo>
                  <a:pt x="5651" y="421"/>
                </a:lnTo>
                <a:cubicBezTo>
                  <a:pt x="5655" y="411"/>
                  <a:pt x="5657" y="406"/>
                  <a:pt x="5659" y="404"/>
                </a:cubicBezTo>
                <a:cubicBezTo>
                  <a:pt x="5662" y="401"/>
                  <a:pt x="5663" y="398"/>
                  <a:pt x="5664" y="396"/>
                </a:cubicBezTo>
                <a:cubicBezTo>
                  <a:pt x="5664" y="392"/>
                  <a:pt x="5666" y="387"/>
                  <a:pt x="5669" y="383"/>
                </a:cubicBezTo>
                <a:lnTo>
                  <a:pt x="5671" y="376"/>
                </a:lnTo>
                <a:lnTo>
                  <a:pt x="5672" y="372"/>
                </a:lnTo>
                <a:lnTo>
                  <a:pt x="5672" y="371"/>
                </a:lnTo>
                <a:cubicBezTo>
                  <a:pt x="5672" y="370"/>
                  <a:pt x="5672" y="370"/>
                  <a:pt x="5673" y="370"/>
                </a:cubicBezTo>
                <a:cubicBezTo>
                  <a:pt x="5674" y="370"/>
                  <a:pt x="5675" y="369"/>
                  <a:pt x="5675" y="368"/>
                </a:cubicBezTo>
                <a:lnTo>
                  <a:pt x="5674" y="365"/>
                </a:lnTo>
                <a:cubicBezTo>
                  <a:pt x="5674" y="362"/>
                  <a:pt x="5675" y="361"/>
                  <a:pt x="5676" y="361"/>
                </a:cubicBezTo>
                <a:cubicBezTo>
                  <a:pt x="5677" y="360"/>
                  <a:pt x="5677" y="360"/>
                  <a:pt x="5677" y="360"/>
                </a:cubicBezTo>
                <a:lnTo>
                  <a:pt x="5676" y="357"/>
                </a:lnTo>
                <a:cubicBezTo>
                  <a:pt x="5676" y="357"/>
                  <a:pt x="5677" y="356"/>
                  <a:pt x="5678" y="356"/>
                </a:cubicBezTo>
                <a:cubicBezTo>
                  <a:pt x="5679" y="356"/>
                  <a:pt x="5679" y="356"/>
                  <a:pt x="5679" y="355"/>
                </a:cubicBezTo>
                <a:cubicBezTo>
                  <a:pt x="5679" y="355"/>
                  <a:pt x="5679" y="354"/>
                  <a:pt x="5678" y="353"/>
                </a:cubicBezTo>
                <a:cubicBezTo>
                  <a:pt x="5677" y="352"/>
                  <a:pt x="5676" y="351"/>
                  <a:pt x="5676" y="350"/>
                </a:cubicBezTo>
                <a:cubicBezTo>
                  <a:pt x="5676" y="350"/>
                  <a:pt x="5677" y="350"/>
                  <a:pt x="5679" y="350"/>
                </a:cubicBezTo>
                <a:lnTo>
                  <a:pt x="5681" y="350"/>
                </a:lnTo>
                <a:cubicBezTo>
                  <a:pt x="5683" y="350"/>
                  <a:pt x="5683" y="350"/>
                  <a:pt x="5683" y="349"/>
                </a:cubicBezTo>
                <a:lnTo>
                  <a:pt x="5682" y="345"/>
                </a:lnTo>
                <a:cubicBezTo>
                  <a:pt x="5682" y="345"/>
                  <a:pt x="5682" y="345"/>
                  <a:pt x="5683" y="345"/>
                </a:cubicBezTo>
                <a:lnTo>
                  <a:pt x="5686" y="347"/>
                </a:lnTo>
                <a:lnTo>
                  <a:pt x="5686" y="346"/>
                </a:lnTo>
                <a:cubicBezTo>
                  <a:pt x="5686" y="346"/>
                  <a:pt x="5686" y="345"/>
                  <a:pt x="5685" y="345"/>
                </a:cubicBezTo>
                <a:cubicBezTo>
                  <a:pt x="5684" y="344"/>
                  <a:pt x="5684" y="343"/>
                  <a:pt x="5684" y="342"/>
                </a:cubicBezTo>
                <a:cubicBezTo>
                  <a:pt x="5684" y="335"/>
                  <a:pt x="5689" y="321"/>
                  <a:pt x="5700" y="299"/>
                </a:cubicBezTo>
                <a:cubicBezTo>
                  <a:pt x="5700" y="299"/>
                  <a:pt x="5701" y="299"/>
                  <a:pt x="5701" y="299"/>
                </a:cubicBezTo>
                <a:lnTo>
                  <a:pt x="5704" y="291"/>
                </a:lnTo>
                <a:lnTo>
                  <a:pt x="5705" y="285"/>
                </a:lnTo>
                <a:cubicBezTo>
                  <a:pt x="5705" y="280"/>
                  <a:pt x="5706" y="278"/>
                  <a:pt x="5707" y="278"/>
                </a:cubicBezTo>
                <a:lnTo>
                  <a:pt x="5708" y="279"/>
                </a:lnTo>
                <a:cubicBezTo>
                  <a:pt x="5709" y="279"/>
                  <a:pt x="5714" y="272"/>
                  <a:pt x="5720" y="260"/>
                </a:cubicBezTo>
                <a:cubicBezTo>
                  <a:pt x="5727" y="247"/>
                  <a:pt x="5730" y="240"/>
                  <a:pt x="5730" y="239"/>
                </a:cubicBezTo>
                <a:cubicBezTo>
                  <a:pt x="5730" y="236"/>
                  <a:pt x="5731" y="235"/>
                  <a:pt x="5733" y="235"/>
                </a:cubicBezTo>
                <a:cubicBezTo>
                  <a:pt x="5734" y="235"/>
                  <a:pt x="5735" y="234"/>
                  <a:pt x="5735" y="233"/>
                </a:cubicBezTo>
                <a:cubicBezTo>
                  <a:pt x="5735" y="231"/>
                  <a:pt x="5736" y="230"/>
                  <a:pt x="5736" y="229"/>
                </a:cubicBezTo>
                <a:lnTo>
                  <a:pt x="5736" y="226"/>
                </a:lnTo>
                <a:cubicBezTo>
                  <a:pt x="5736" y="224"/>
                  <a:pt x="5737" y="223"/>
                  <a:pt x="5739" y="223"/>
                </a:cubicBezTo>
                <a:cubicBezTo>
                  <a:pt x="5741" y="223"/>
                  <a:pt x="5742" y="222"/>
                  <a:pt x="5743" y="220"/>
                </a:cubicBezTo>
                <a:cubicBezTo>
                  <a:pt x="5744" y="218"/>
                  <a:pt x="5745" y="215"/>
                  <a:pt x="5745" y="213"/>
                </a:cubicBezTo>
                <a:cubicBezTo>
                  <a:pt x="5745" y="211"/>
                  <a:pt x="5746" y="208"/>
                  <a:pt x="5748" y="205"/>
                </a:cubicBezTo>
                <a:cubicBezTo>
                  <a:pt x="5753" y="196"/>
                  <a:pt x="5757" y="191"/>
                  <a:pt x="5759" y="191"/>
                </a:cubicBezTo>
                <a:cubicBezTo>
                  <a:pt x="5760" y="191"/>
                  <a:pt x="5761" y="191"/>
                  <a:pt x="5761" y="190"/>
                </a:cubicBezTo>
                <a:cubicBezTo>
                  <a:pt x="5761" y="190"/>
                  <a:pt x="5763" y="189"/>
                  <a:pt x="5764" y="187"/>
                </a:cubicBezTo>
                <a:cubicBezTo>
                  <a:pt x="5764" y="187"/>
                  <a:pt x="5764" y="187"/>
                  <a:pt x="5764" y="187"/>
                </a:cubicBezTo>
                <a:lnTo>
                  <a:pt x="5761" y="188"/>
                </a:lnTo>
                <a:lnTo>
                  <a:pt x="5761" y="187"/>
                </a:lnTo>
                <a:lnTo>
                  <a:pt x="5765" y="184"/>
                </a:lnTo>
                <a:lnTo>
                  <a:pt x="5767" y="180"/>
                </a:lnTo>
                <a:lnTo>
                  <a:pt x="5766" y="181"/>
                </a:lnTo>
                <a:lnTo>
                  <a:pt x="5766" y="181"/>
                </a:lnTo>
                <a:lnTo>
                  <a:pt x="5769" y="178"/>
                </a:lnTo>
                <a:cubicBezTo>
                  <a:pt x="5771" y="176"/>
                  <a:pt x="5772" y="174"/>
                  <a:pt x="5772" y="174"/>
                </a:cubicBezTo>
                <a:lnTo>
                  <a:pt x="5771" y="174"/>
                </a:lnTo>
                <a:lnTo>
                  <a:pt x="5770" y="174"/>
                </a:lnTo>
                <a:cubicBezTo>
                  <a:pt x="5770" y="174"/>
                  <a:pt x="5770" y="174"/>
                  <a:pt x="5770" y="174"/>
                </a:cubicBezTo>
                <a:cubicBezTo>
                  <a:pt x="5770" y="173"/>
                  <a:pt x="5771" y="172"/>
                  <a:pt x="5773" y="171"/>
                </a:cubicBezTo>
                <a:cubicBezTo>
                  <a:pt x="5776" y="167"/>
                  <a:pt x="5778" y="165"/>
                  <a:pt x="5778" y="164"/>
                </a:cubicBezTo>
                <a:cubicBezTo>
                  <a:pt x="5778" y="163"/>
                  <a:pt x="5781" y="159"/>
                  <a:pt x="5786" y="152"/>
                </a:cubicBezTo>
                <a:cubicBezTo>
                  <a:pt x="5792" y="145"/>
                  <a:pt x="5797" y="139"/>
                  <a:pt x="5801" y="133"/>
                </a:cubicBezTo>
                <a:cubicBezTo>
                  <a:pt x="5804" y="127"/>
                  <a:pt x="5807" y="125"/>
                  <a:pt x="5808" y="125"/>
                </a:cubicBezTo>
                <a:cubicBezTo>
                  <a:pt x="5808" y="125"/>
                  <a:pt x="5811" y="122"/>
                  <a:pt x="5814" y="116"/>
                </a:cubicBezTo>
                <a:cubicBezTo>
                  <a:pt x="5815" y="113"/>
                  <a:pt x="5817" y="111"/>
                  <a:pt x="5818" y="110"/>
                </a:cubicBezTo>
                <a:cubicBezTo>
                  <a:pt x="5819" y="108"/>
                  <a:pt x="5820" y="107"/>
                  <a:pt x="5821" y="107"/>
                </a:cubicBezTo>
                <a:cubicBezTo>
                  <a:pt x="5822" y="107"/>
                  <a:pt x="5822" y="107"/>
                  <a:pt x="5823" y="106"/>
                </a:cubicBezTo>
                <a:cubicBezTo>
                  <a:pt x="5823" y="106"/>
                  <a:pt x="5823" y="105"/>
                  <a:pt x="5823" y="104"/>
                </a:cubicBezTo>
                <a:lnTo>
                  <a:pt x="5823" y="103"/>
                </a:lnTo>
                <a:cubicBezTo>
                  <a:pt x="5823" y="101"/>
                  <a:pt x="5824" y="99"/>
                  <a:pt x="5826" y="98"/>
                </a:cubicBezTo>
                <a:cubicBezTo>
                  <a:pt x="5827" y="96"/>
                  <a:pt x="5829" y="96"/>
                  <a:pt x="5831" y="96"/>
                </a:cubicBezTo>
                <a:cubicBezTo>
                  <a:pt x="5831" y="96"/>
                  <a:pt x="5832" y="95"/>
                  <a:pt x="5832" y="95"/>
                </a:cubicBezTo>
                <a:cubicBezTo>
                  <a:pt x="5833" y="94"/>
                  <a:pt x="5833" y="93"/>
                  <a:pt x="5833" y="92"/>
                </a:cubicBezTo>
                <a:cubicBezTo>
                  <a:pt x="5833" y="91"/>
                  <a:pt x="5834" y="89"/>
                  <a:pt x="5837" y="86"/>
                </a:cubicBezTo>
                <a:cubicBezTo>
                  <a:pt x="5840" y="82"/>
                  <a:pt x="5844" y="78"/>
                  <a:pt x="5848" y="74"/>
                </a:cubicBezTo>
                <a:cubicBezTo>
                  <a:pt x="5855" y="68"/>
                  <a:pt x="5859" y="64"/>
                  <a:pt x="5859" y="64"/>
                </a:cubicBezTo>
                <a:cubicBezTo>
                  <a:pt x="5858" y="64"/>
                  <a:pt x="5858" y="64"/>
                  <a:pt x="5857" y="65"/>
                </a:cubicBezTo>
                <a:cubicBezTo>
                  <a:pt x="5854" y="68"/>
                  <a:pt x="5852" y="69"/>
                  <a:pt x="5852" y="69"/>
                </a:cubicBezTo>
                <a:cubicBezTo>
                  <a:pt x="5852" y="68"/>
                  <a:pt x="5854" y="67"/>
                  <a:pt x="5857" y="63"/>
                </a:cubicBezTo>
                <a:lnTo>
                  <a:pt x="5861" y="59"/>
                </a:lnTo>
                <a:lnTo>
                  <a:pt x="5865" y="57"/>
                </a:lnTo>
                <a:cubicBezTo>
                  <a:pt x="5867" y="57"/>
                  <a:pt x="5869" y="56"/>
                  <a:pt x="5871" y="54"/>
                </a:cubicBezTo>
                <a:cubicBezTo>
                  <a:pt x="5875" y="50"/>
                  <a:pt x="5880" y="47"/>
                  <a:pt x="5884" y="44"/>
                </a:cubicBezTo>
                <a:cubicBezTo>
                  <a:pt x="5889" y="41"/>
                  <a:pt x="5892" y="39"/>
                  <a:pt x="5893" y="39"/>
                </a:cubicBezTo>
                <a:cubicBezTo>
                  <a:pt x="5895" y="39"/>
                  <a:pt x="5896" y="38"/>
                  <a:pt x="5897" y="37"/>
                </a:cubicBezTo>
                <a:cubicBezTo>
                  <a:pt x="5900" y="35"/>
                  <a:pt x="5902" y="34"/>
                  <a:pt x="5902" y="33"/>
                </a:cubicBezTo>
                <a:lnTo>
                  <a:pt x="5897" y="34"/>
                </a:lnTo>
                <a:cubicBezTo>
                  <a:pt x="5897" y="32"/>
                  <a:pt x="5900" y="30"/>
                  <a:pt x="5904" y="29"/>
                </a:cubicBezTo>
                <a:cubicBezTo>
                  <a:pt x="5907" y="28"/>
                  <a:pt x="5911" y="27"/>
                  <a:pt x="5914" y="27"/>
                </a:cubicBezTo>
                <a:cubicBezTo>
                  <a:pt x="5919" y="27"/>
                  <a:pt x="5924" y="30"/>
                  <a:pt x="5929" y="34"/>
                </a:cubicBezTo>
                <a:cubicBezTo>
                  <a:pt x="5932" y="36"/>
                  <a:pt x="5933" y="38"/>
                  <a:pt x="5933" y="40"/>
                </a:cubicBezTo>
                <a:lnTo>
                  <a:pt x="5932" y="41"/>
                </a:lnTo>
                <a:lnTo>
                  <a:pt x="5932" y="41"/>
                </a:lnTo>
                <a:cubicBezTo>
                  <a:pt x="5930" y="41"/>
                  <a:pt x="5929" y="40"/>
                  <a:pt x="5928" y="38"/>
                </a:cubicBezTo>
                <a:cubicBezTo>
                  <a:pt x="5927" y="36"/>
                  <a:pt x="5926" y="35"/>
                  <a:pt x="5926" y="35"/>
                </a:cubicBezTo>
                <a:cubicBezTo>
                  <a:pt x="5926" y="39"/>
                  <a:pt x="5930" y="43"/>
                  <a:pt x="5937" y="47"/>
                </a:cubicBezTo>
                <a:cubicBezTo>
                  <a:pt x="5942" y="48"/>
                  <a:pt x="5944" y="50"/>
                  <a:pt x="5946" y="53"/>
                </a:cubicBezTo>
                <a:cubicBezTo>
                  <a:pt x="5948" y="56"/>
                  <a:pt x="5949" y="59"/>
                  <a:pt x="5949" y="64"/>
                </a:cubicBezTo>
                <a:cubicBezTo>
                  <a:pt x="5949" y="74"/>
                  <a:pt x="5947" y="86"/>
                  <a:pt x="5943" y="101"/>
                </a:cubicBezTo>
                <a:cubicBezTo>
                  <a:pt x="5940" y="110"/>
                  <a:pt x="5937" y="117"/>
                  <a:pt x="5935" y="122"/>
                </a:cubicBezTo>
                <a:cubicBezTo>
                  <a:pt x="5933" y="124"/>
                  <a:pt x="5933" y="125"/>
                  <a:pt x="5933" y="126"/>
                </a:cubicBezTo>
                <a:cubicBezTo>
                  <a:pt x="5933" y="126"/>
                  <a:pt x="5933" y="127"/>
                  <a:pt x="5933" y="127"/>
                </a:cubicBezTo>
                <a:cubicBezTo>
                  <a:pt x="5934" y="127"/>
                  <a:pt x="5934" y="127"/>
                  <a:pt x="5934" y="127"/>
                </a:cubicBezTo>
                <a:cubicBezTo>
                  <a:pt x="5934" y="127"/>
                  <a:pt x="5933" y="128"/>
                  <a:pt x="5932" y="129"/>
                </a:cubicBezTo>
                <a:cubicBezTo>
                  <a:pt x="5930" y="130"/>
                  <a:pt x="5929" y="133"/>
                  <a:pt x="5929" y="136"/>
                </a:cubicBezTo>
                <a:cubicBezTo>
                  <a:pt x="5929" y="139"/>
                  <a:pt x="5928" y="142"/>
                  <a:pt x="5927" y="142"/>
                </a:cubicBezTo>
                <a:lnTo>
                  <a:pt x="5926" y="141"/>
                </a:lnTo>
                <a:cubicBezTo>
                  <a:pt x="5926" y="141"/>
                  <a:pt x="5926" y="142"/>
                  <a:pt x="5926" y="142"/>
                </a:cubicBezTo>
                <a:lnTo>
                  <a:pt x="5926" y="144"/>
                </a:lnTo>
                <a:cubicBezTo>
                  <a:pt x="5926" y="146"/>
                  <a:pt x="5926" y="147"/>
                  <a:pt x="5924" y="148"/>
                </a:cubicBezTo>
                <a:cubicBezTo>
                  <a:pt x="5922" y="149"/>
                  <a:pt x="5922" y="150"/>
                  <a:pt x="5922" y="152"/>
                </a:cubicBezTo>
                <a:lnTo>
                  <a:pt x="5922" y="157"/>
                </a:lnTo>
                <a:cubicBezTo>
                  <a:pt x="5922" y="158"/>
                  <a:pt x="5922" y="158"/>
                  <a:pt x="5922" y="158"/>
                </a:cubicBezTo>
                <a:lnTo>
                  <a:pt x="5919" y="157"/>
                </a:lnTo>
                <a:cubicBezTo>
                  <a:pt x="5919" y="157"/>
                  <a:pt x="5919" y="157"/>
                  <a:pt x="5919" y="158"/>
                </a:cubicBezTo>
                <a:lnTo>
                  <a:pt x="5920" y="162"/>
                </a:lnTo>
                <a:lnTo>
                  <a:pt x="5917" y="161"/>
                </a:lnTo>
                <a:lnTo>
                  <a:pt x="5918" y="166"/>
                </a:lnTo>
                <a:cubicBezTo>
                  <a:pt x="5918" y="167"/>
                  <a:pt x="5918" y="167"/>
                  <a:pt x="5917" y="167"/>
                </a:cubicBezTo>
                <a:lnTo>
                  <a:pt x="5915" y="166"/>
                </a:lnTo>
                <a:cubicBezTo>
                  <a:pt x="5915" y="166"/>
                  <a:pt x="5914" y="166"/>
                  <a:pt x="5914" y="167"/>
                </a:cubicBezTo>
                <a:lnTo>
                  <a:pt x="5916" y="171"/>
                </a:lnTo>
                <a:cubicBezTo>
                  <a:pt x="5916" y="171"/>
                  <a:pt x="5915" y="171"/>
                  <a:pt x="5915" y="171"/>
                </a:cubicBezTo>
                <a:lnTo>
                  <a:pt x="5913" y="171"/>
                </a:lnTo>
                <a:cubicBezTo>
                  <a:pt x="5913" y="171"/>
                  <a:pt x="5912" y="171"/>
                  <a:pt x="5912" y="172"/>
                </a:cubicBezTo>
                <a:lnTo>
                  <a:pt x="5914" y="179"/>
                </a:lnTo>
                <a:lnTo>
                  <a:pt x="5912" y="178"/>
                </a:lnTo>
                <a:cubicBezTo>
                  <a:pt x="5912" y="177"/>
                  <a:pt x="5911" y="176"/>
                  <a:pt x="5911" y="176"/>
                </a:cubicBezTo>
                <a:cubicBezTo>
                  <a:pt x="5910" y="176"/>
                  <a:pt x="5909" y="178"/>
                  <a:pt x="5909" y="182"/>
                </a:cubicBezTo>
                <a:cubicBezTo>
                  <a:pt x="5909" y="183"/>
                  <a:pt x="5909" y="184"/>
                  <a:pt x="5909" y="185"/>
                </a:cubicBezTo>
                <a:cubicBezTo>
                  <a:pt x="5910" y="186"/>
                  <a:pt x="5910" y="186"/>
                  <a:pt x="5910" y="187"/>
                </a:cubicBezTo>
                <a:cubicBezTo>
                  <a:pt x="5910" y="188"/>
                  <a:pt x="5909" y="188"/>
                  <a:pt x="5909" y="188"/>
                </a:cubicBezTo>
                <a:lnTo>
                  <a:pt x="5907" y="188"/>
                </a:lnTo>
                <a:cubicBezTo>
                  <a:pt x="5906" y="188"/>
                  <a:pt x="5905" y="189"/>
                  <a:pt x="5905" y="191"/>
                </a:cubicBezTo>
                <a:cubicBezTo>
                  <a:pt x="5905" y="193"/>
                  <a:pt x="5905" y="194"/>
                  <a:pt x="5904" y="194"/>
                </a:cubicBezTo>
                <a:lnTo>
                  <a:pt x="5903" y="194"/>
                </a:lnTo>
                <a:cubicBezTo>
                  <a:pt x="5902" y="194"/>
                  <a:pt x="5901" y="195"/>
                  <a:pt x="5900" y="197"/>
                </a:cubicBezTo>
                <a:cubicBezTo>
                  <a:pt x="5900" y="199"/>
                  <a:pt x="5899" y="201"/>
                  <a:pt x="5899" y="201"/>
                </a:cubicBezTo>
                <a:cubicBezTo>
                  <a:pt x="5899" y="202"/>
                  <a:pt x="5899" y="202"/>
                  <a:pt x="5900" y="202"/>
                </a:cubicBezTo>
                <a:lnTo>
                  <a:pt x="5903" y="200"/>
                </a:lnTo>
                <a:cubicBezTo>
                  <a:pt x="5903" y="201"/>
                  <a:pt x="5903" y="201"/>
                  <a:pt x="5902" y="202"/>
                </a:cubicBezTo>
                <a:cubicBezTo>
                  <a:pt x="5902" y="203"/>
                  <a:pt x="5901" y="204"/>
                  <a:pt x="5900" y="204"/>
                </a:cubicBezTo>
                <a:lnTo>
                  <a:pt x="5899" y="203"/>
                </a:lnTo>
                <a:cubicBezTo>
                  <a:pt x="5897" y="203"/>
                  <a:pt x="5896" y="205"/>
                  <a:pt x="5895" y="208"/>
                </a:cubicBezTo>
                <a:lnTo>
                  <a:pt x="5894" y="213"/>
                </a:lnTo>
                <a:lnTo>
                  <a:pt x="5896" y="212"/>
                </a:lnTo>
                <a:cubicBezTo>
                  <a:pt x="5897" y="212"/>
                  <a:pt x="5897" y="212"/>
                  <a:pt x="5897" y="213"/>
                </a:cubicBezTo>
                <a:cubicBezTo>
                  <a:pt x="5897" y="213"/>
                  <a:pt x="5896" y="213"/>
                  <a:pt x="5896" y="215"/>
                </a:cubicBezTo>
                <a:cubicBezTo>
                  <a:pt x="5895" y="216"/>
                  <a:pt x="5895" y="216"/>
                  <a:pt x="5893" y="216"/>
                </a:cubicBezTo>
                <a:lnTo>
                  <a:pt x="5892" y="216"/>
                </a:lnTo>
                <a:cubicBezTo>
                  <a:pt x="5891" y="216"/>
                  <a:pt x="5891" y="218"/>
                  <a:pt x="5891" y="220"/>
                </a:cubicBezTo>
                <a:lnTo>
                  <a:pt x="5891" y="222"/>
                </a:lnTo>
                <a:cubicBezTo>
                  <a:pt x="5891" y="222"/>
                  <a:pt x="5891" y="222"/>
                  <a:pt x="5891" y="222"/>
                </a:cubicBezTo>
                <a:lnTo>
                  <a:pt x="5890" y="222"/>
                </a:lnTo>
                <a:cubicBezTo>
                  <a:pt x="5889" y="222"/>
                  <a:pt x="5887" y="224"/>
                  <a:pt x="5885" y="228"/>
                </a:cubicBezTo>
                <a:lnTo>
                  <a:pt x="5882" y="234"/>
                </a:lnTo>
                <a:cubicBezTo>
                  <a:pt x="5883" y="234"/>
                  <a:pt x="5884" y="233"/>
                  <a:pt x="5886" y="230"/>
                </a:cubicBezTo>
                <a:lnTo>
                  <a:pt x="5890" y="227"/>
                </a:lnTo>
                <a:lnTo>
                  <a:pt x="5889" y="228"/>
                </a:lnTo>
                <a:cubicBezTo>
                  <a:pt x="5888" y="229"/>
                  <a:pt x="5886" y="232"/>
                  <a:pt x="5884" y="237"/>
                </a:cubicBezTo>
                <a:cubicBezTo>
                  <a:pt x="5881" y="242"/>
                  <a:pt x="5878" y="247"/>
                  <a:pt x="5874" y="253"/>
                </a:cubicBezTo>
                <a:cubicBezTo>
                  <a:pt x="5871" y="259"/>
                  <a:pt x="5868" y="264"/>
                  <a:pt x="5865" y="267"/>
                </a:cubicBezTo>
                <a:cubicBezTo>
                  <a:pt x="5863" y="272"/>
                  <a:pt x="5861" y="274"/>
                  <a:pt x="5861" y="274"/>
                </a:cubicBezTo>
                <a:cubicBezTo>
                  <a:pt x="5860" y="274"/>
                  <a:pt x="5860" y="273"/>
                  <a:pt x="5860" y="273"/>
                </a:cubicBezTo>
                <a:lnTo>
                  <a:pt x="5862" y="269"/>
                </a:lnTo>
                <a:cubicBezTo>
                  <a:pt x="5862" y="269"/>
                  <a:pt x="5861" y="269"/>
                  <a:pt x="5860" y="270"/>
                </a:cubicBezTo>
                <a:cubicBezTo>
                  <a:pt x="5859" y="271"/>
                  <a:pt x="5859" y="272"/>
                  <a:pt x="5859" y="275"/>
                </a:cubicBezTo>
                <a:lnTo>
                  <a:pt x="5859" y="276"/>
                </a:lnTo>
                <a:cubicBezTo>
                  <a:pt x="5859" y="277"/>
                  <a:pt x="5859" y="277"/>
                  <a:pt x="5858" y="278"/>
                </a:cubicBezTo>
                <a:cubicBezTo>
                  <a:pt x="5857" y="279"/>
                  <a:pt x="5856" y="280"/>
                  <a:pt x="5855" y="281"/>
                </a:cubicBezTo>
                <a:cubicBezTo>
                  <a:pt x="5855" y="282"/>
                  <a:pt x="5854" y="283"/>
                  <a:pt x="5854" y="283"/>
                </a:cubicBezTo>
                <a:cubicBezTo>
                  <a:pt x="5854" y="282"/>
                  <a:pt x="5854" y="281"/>
                  <a:pt x="5855" y="279"/>
                </a:cubicBezTo>
                <a:cubicBezTo>
                  <a:pt x="5857" y="278"/>
                  <a:pt x="5857" y="277"/>
                  <a:pt x="5857" y="277"/>
                </a:cubicBezTo>
                <a:cubicBezTo>
                  <a:pt x="5857" y="276"/>
                  <a:pt x="5857" y="276"/>
                  <a:pt x="5857" y="276"/>
                </a:cubicBezTo>
                <a:lnTo>
                  <a:pt x="5856" y="277"/>
                </a:lnTo>
                <a:cubicBezTo>
                  <a:pt x="5855" y="277"/>
                  <a:pt x="5855" y="278"/>
                  <a:pt x="5854" y="279"/>
                </a:cubicBezTo>
                <a:cubicBezTo>
                  <a:pt x="5853" y="280"/>
                  <a:pt x="5852" y="281"/>
                  <a:pt x="5851" y="283"/>
                </a:cubicBezTo>
                <a:cubicBezTo>
                  <a:pt x="5850" y="285"/>
                  <a:pt x="5850" y="286"/>
                  <a:pt x="5850" y="286"/>
                </a:cubicBezTo>
                <a:cubicBezTo>
                  <a:pt x="5850" y="286"/>
                  <a:pt x="5850" y="287"/>
                  <a:pt x="5850" y="287"/>
                </a:cubicBezTo>
                <a:lnTo>
                  <a:pt x="5852" y="286"/>
                </a:lnTo>
                <a:cubicBezTo>
                  <a:pt x="5852" y="286"/>
                  <a:pt x="5851" y="288"/>
                  <a:pt x="5848" y="291"/>
                </a:cubicBezTo>
                <a:cubicBezTo>
                  <a:pt x="5840" y="299"/>
                  <a:pt x="5833" y="308"/>
                  <a:pt x="5828" y="318"/>
                </a:cubicBezTo>
                <a:cubicBezTo>
                  <a:pt x="5825" y="322"/>
                  <a:pt x="5824" y="324"/>
                  <a:pt x="5823" y="324"/>
                </a:cubicBezTo>
                <a:cubicBezTo>
                  <a:pt x="5822" y="324"/>
                  <a:pt x="5821" y="325"/>
                  <a:pt x="5821" y="326"/>
                </a:cubicBezTo>
                <a:cubicBezTo>
                  <a:pt x="5821" y="328"/>
                  <a:pt x="5819" y="331"/>
                  <a:pt x="5814" y="337"/>
                </a:cubicBezTo>
                <a:cubicBezTo>
                  <a:pt x="5812" y="339"/>
                  <a:pt x="5810" y="342"/>
                  <a:pt x="5808" y="345"/>
                </a:cubicBezTo>
                <a:cubicBezTo>
                  <a:pt x="5784" y="375"/>
                  <a:pt x="5760" y="402"/>
                  <a:pt x="5733" y="427"/>
                </a:cubicBezTo>
                <a:cubicBezTo>
                  <a:pt x="5721" y="438"/>
                  <a:pt x="5714" y="445"/>
                  <a:pt x="5710" y="446"/>
                </a:cubicBezTo>
                <a:cubicBezTo>
                  <a:pt x="5709" y="446"/>
                  <a:pt x="5707" y="447"/>
                  <a:pt x="5704" y="450"/>
                </a:cubicBezTo>
                <a:cubicBezTo>
                  <a:pt x="5702" y="451"/>
                  <a:pt x="5701" y="451"/>
                  <a:pt x="5699" y="451"/>
                </a:cubicBezTo>
                <a:lnTo>
                  <a:pt x="5695" y="451"/>
                </a:lnTo>
                <a:cubicBezTo>
                  <a:pt x="5693" y="451"/>
                  <a:pt x="5693" y="451"/>
                  <a:pt x="5693" y="452"/>
                </a:cubicBezTo>
                <a:cubicBezTo>
                  <a:pt x="5693" y="453"/>
                  <a:pt x="5691" y="454"/>
                  <a:pt x="5687" y="454"/>
                </a:cubicBezTo>
                <a:lnTo>
                  <a:pt x="5684" y="453"/>
                </a:lnTo>
                <a:cubicBezTo>
                  <a:pt x="5683" y="453"/>
                  <a:pt x="5682" y="454"/>
                  <a:pt x="5681" y="456"/>
                </a:cubicBezTo>
                <a:cubicBezTo>
                  <a:pt x="5679" y="458"/>
                  <a:pt x="5678" y="461"/>
                  <a:pt x="5676" y="465"/>
                </a:cubicBezTo>
                <a:cubicBezTo>
                  <a:pt x="5659" y="508"/>
                  <a:pt x="5639" y="563"/>
                  <a:pt x="5619" y="629"/>
                </a:cubicBezTo>
                <a:cubicBezTo>
                  <a:pt x="5610" y="656"/>
                  <a:pt x="5606" y="672"/>
                  <a:pt x="5605" y="679"/>
                </a:cubicBezTo>
                <a:cubicBezTo>
                  <a:pt x="5605" y="684"/>
                  <a:pt x="5604" y="687"/>
                  <a:pt x="5603" y="687"/>
                </a:cubicBezTo>
                <a:lnTo>
                  <a:pt x="5597" y="709"/>
                </a:lnTo>
                <a:cubicBezTo>
                  <a:pt x="5594" y="722"/>
                  <a:pt x="5592" y="729"/>
                  <a:pt x="5591" y="729"/>
                </a:cubicBezTo>
                <a:lnTo>
                  <a:pt x="5590" y="728"/>
                </a:lnTo>
                <a:cubicBezTo>
                  <a:pt x="5589" y="728"/>
                  <a:pt x="5589" y="731"/>
                  <a:pt x="5589" y="736"/>
                </a:cubicBezTo>
                <a:lnTo>
                  <a:pt x="5590" y="742"/>
                </a:lnTo>
                <a:cubicBezTo>
                  <a:pt x="5589" y="742"/>
                  <a:pt x="5589" y="742"/>
                  <a:pt x="5589" y="740"/>
                </a:cubicBezTo>
                <a:cubicBezTo>
                  <a:pt x="5588" y="739"/>
                  <a:pt x="5588" y="738"/>
                  <a:pt x="5587" y="738"/>
                </a:cubicBezTo>
                <a:cubicBezTo>
                  <a:pt x="5587" y="738"/>
                  <a:pt x="5587" y="739"/>
                  <a:pt x="5587" y="740"/>
                </a:cubicBezTo>
                <a:lnTo>
                  <a:pt x="5588" y="753"/>
                </a:lnTo>
                <a:cubicBezTo>
                  <a:pt x="5588" y="755"/>
                  <a:pt x="5588" y="755"/>
                  <a:pt x="5587" y="755"/>
                </a:cubicBezTo>
                <a:cubicBezTo>
                  <a:pt x="5587" y="755"/>
                  <a:pt x="5587" y="755"/>
                  <a:pt x="5586" y="753"/>
                </a:cubicBezTo>
                <a:cubicBezTo>
                  <a:pt x="5586" y="752"/>
                  <a:pt x="5585" y="751"/>
                  <a:pt x="5585" y="751"/>
                </a:cubicBezTo>
                <a:cubicBezTo>
                  <a:pt x="5585" y="751"/>
                  <a:pt x="5584" y="753"/>
                  <a:pt x="5584" y="758"/>
                </a:cubicBezTo>
                <a:cubicBezTo>
                  <a:pt x="5584" y="763"/>
                  <a:pt x="5585" y="766"/>
                  <a:pt x="5586" y="766"/>
                </a:cubicBezTo>
                <a:cubicBezTo>
                  <a:pt x="5587" y="766"/>
                  <a:pt x="5589" y="764"/>
                  <a:pt x="5591" y="759"/>
                </a:cubicBezTo>
                <a:cubicBezTo>
                  <a:pt x="5591" y="758"/>
                  <a:pt x="5592" y="757"/>
                  <a:pt x="5592" y="756"/>
                </a:cubicBezTo>
                <a:cubicBezTo>
                  <a:pt x="5593" y="756"/>
                  <a:pt x="5594" y="755"/>
                  <a:pt x="5595" y="754"/>
                </a:cubicBezTo>
                <a:cubicBezTo>
                  <a:pt x="5596" y="754"/>
                  <a:pt x="5597" y="755"/>
                  <a:pt x="5597" y="755"/>
                </a:cubicBezTo>
                <a:cubicBezTo>
                  <a:pt x="5597" y="756"/>
                  <a:pt x="5596" y="757"/>
                  <a:pt x="5595" y="757"/>
                </a:cubicBezTo>
                <a:cubicBezTo>
                  <a:pt x="5594" y="757"/>
                  <a:pt x="5594" y="758"/>
                  <a:pt x="5594" y="759"/>
                </a:cubicBezTo>
                <a:lnTo>
                  <a:pt x="5594" y="760"/>
                </a:lnTo>
                <a:cubicBezTo>
                  <a:pt x="5594" y="761"/>
                  <a:pt x="5594" y="762"/>
                  <a:pt x="5593" y="762"/>
                </a:cubicBezTo>
                <a:cubicBezTo>
                  <a:pt x="5592" y="762"/>
                  <a:pt x="5592" y="762"/>
                  <a:pt x="5592" y="764"/>
                </a:cubicBezTo>
                <a:lnTo>
                  <a:pt x="5592" y="765"/>
                </a:lnTo>
                <a:cubicBezTo>
                  <a:pt x="5592" y="766"/>
                  <a:pt x="5592" y="767"/>
                  <a:pt x="5591" y="767"/>
                </a:cubicBezTo>
                <a:cubicBezTo>
                  <a:pt x="5590" y="767"/>
                  <a:pt x="5589" y="768"/>
                  <a:pt x="5588" y="770"/>
                </a:cubicBezTo>
                <a:cubicBezTo>
                  <a:pt x="5585" y="775"/>
                  <a:pt x="5583" y="781"/>
                  <a:pt x="5582" y="789"/>
                </a:cubicBezTo>
                <a:cubicBezTo>
                  <a:pt x="5582" y="791"/>
                  <a:pt x="5583" y="792"/>
                  <a:pt x="5583" y="792"/>
                </a:cubicBezTo>
                <a:cubicBezTo>
                  <a:pt x="5584" y="792"/>
                  <a:pt x="5586" y="786"/>
                  <a:pt x="5591" y="776"/>
                </a:cubicBezTo>
                <a:cubicBezTo>
                  <a:pt x="5597" y="763"/>
                  <a:pt x="5602" y="752"/>
                  <a:pt x="5607" y="742"/>
                </a:cubicBezTo>
                <a:cubicBezTo>
                  <a:pt x="5612" y="732"/>
                  <a:pt x="5616" y="726"/>
                  <a:pt x="5617" y="725"/>
                </a:cubicBezTo>
                <a:lnTo>
                  <a:pt x="5619" y="723"/>
                </a:lnTo>
                <a:cubicBezTo>
                  <a:pt x="5619" y="723"/>
                  <a:pt x="5618" y="723"/>
                  <a:pt x="5618" y="723"/>
                </a:cubicBezTo>
                <a:cubicBezTo>
                  <a:pt x="5618" y="723"/>
                  <a:pt x="5617" y="723"/>
                  <a:pt x="5617" y="723"/>
                </a:cubicBezTo>
                <a:cubicBezTo>
                  <a:pt x="5617" y="722"/>
                  <a:pt x="5618" y="721"/>
                  <a:pt x="5619" y="720"/>
                </a:cubicBezTo>
                <a:cubicBezTo>
                  <a:pt x="5621" y="718"/>
                  <a:pt x="5622" y="717"/>
                  <a:pt x="5622" y="717"/>
                </a:cubicBezTo>
                <a:lnTo>
                  <a:pt x="5622" y="716"/>
                </a:lnTo>
                <a:cubicBezTo>
                  <a:pt x="5622" y="714"/>
                  <a:pt x="5622" y="714"/>
                  <a:pt x="5624" y="714"/>
                </a:cubicBezTo>
                <a:cubicBezTo>
                  <a:pt x="5625" y="714"/>
                  <a:pt x="5625" y="713"/>
                  <a:pt x="5625" y="713"/>
                </a:cubicBezTo>
                <a:cubicBezTo>
                  <a:pt x="5625" y="713"/>
                  <a:pt x="5625" y="712"/>
                  <a:pt x="5625" y="712"/>
                </a:cubicBezTo>
                <a:cubicBezTo>
                  <a:pt x="5624" y="712"/>
                  <a:pt x="5624" y="712"/>
                  <a:pt x="5624" y="711"/>
                </a:cubicBezTo>
                <a:cubicBezTo>
                  <a:pt x="5624" y="710"/>
                  <a:pt x="5625" y="709"/>
                  <a:pt x="5626" y="708"/>
                </a:cubicBezTo>
                <a:cubicBezTo>
                  <a:pt x="5628" y="707"/>
                  <a:pt x="5629" y="707"/>
                  <a:pt x="5629" y="706"/>
                </a:cubicBezTo>
                <a:cubicBezTo>
                  <a:pt x="5629" y="706"/>
                  <a:pt x="5628" y="706"/>
                  <a:pt x="5627" y="706"/>
                </a:cubicBezTo>
                <a:cubicBezTo>
                  <a:pt x="5621" y="706"/>
                  <a:pt x="5618" y="705"/>
                  <a:pt x="5618" y="705"/>
                </a:cubicBezTo>
                <a:cubicBezTo>
                  <a:pt x="5618" y="704"/>
                  <a:pt x="5619" y="703"/>
                  <a:pt x="5619" y="702"/>
                </a:cubicBezTo>
                <a:cubicBezTo>
                  <a:pt x="5620" y="701"/>
                  <a:pt x="5621" y="701"/>
                  <a:pt x="5622" y="701"/>
                </a:cubicBezTo>
                <a:cubicBezTo>
                  <a:pt x="5622" y="701"/>
                  <a:pt x="5623" y="701"/>
                  <a:pt x="5624" y="702"/>
                </a:cubicBezTo>
                <a:cubicBezTo>
                  <a:pt x="5624" y="703"/>
                  <a:pt x="5624" y="704"/>
                  <a:pt x="5625" y="704"/>
                </a:cubicBezTo>
                <a:cubicBezTo>
                  <a:pt x="5626" y="704"/>
                  <a:pt x="5627" y="703"/>
                  <a:pt x="5628" y="701"/>
                </a:cubicBezTo>
                <a:cubicBezTo>
                  <a:pt x="5629" y="700"/>
                  <a:pt x="5629" y="698"/>
                  <a:pt x="5629" y="696"/>
                </a:cubicBezTo>
                <a:cubicBezTo>
                  <a:pt x="5629" y="694"/>
                  <a:pt x="5630" y="693"/>
                  <a:pt x="5631" y="693"/>
                </a:cubicBezTo>
                <a:cubicBezTo>
                  <a:pt x="5633" y="693"/>
                  <a:pt x="5634" y="692"/>
                  <a:pt x="5635" y="689"/>
                </a:cubicBezTo>
                <a:cubicBezTo>
                  <a:pt x="5636" y="686"/>
                  <a:pt x="5637" y="683"/>
                  <a:pt x="5640" y="681"/>
                </a:cubicBezTo>
                <a:cubicBezTo>
                  <a:pt x="5641" y="679"/>
                  <a:pt x="5641" y="678"/>
                  <a:pt x="5641" y="676"/>
                </a:cubicBezTo>
                <a:cubicBezTo>
                  <a:pt x="5641" y="672"/>
                  <a:pt x="5639" y="670"/>
                  <a:pt x="5636" y="670"/>
                </a:cubicBezTo>
                <a:lnTo>
                  <a:pt x="5635" y="670"/>
                </a:lnTo>
                <a:cubicBezTo>
                  <a:pt x="5634" y="670"/>
                  <a:pt x="5634" y="671"/>
                  <a:pt x="5634" y="671"/>
                </a:cubicBezTo>
                <a:lnTo>
                  <a:pt x="5636" y="671"/>
                </a:lnTo>
                <a:cubicBezTo>
                  <a:pt x="5637" y="672"/>
                  <a:pt x="5638" y="673"/>
                  <a:pt x="5638" y="674"/>
                </a:cubicBezTo>
                <a:cubicBezTo>
                  <a:pt x="5638" y="677"/>
                  <a:pt x="5637" y="679"/>
                  <a:pt x="5635" y="681"/>
                </a:cubicBezTo>
                <a:cubicBezTo>
                  <a:pt x="5634" y="684"/>
                  <a:pt x="5632" y="685"/>
                  <a:pt x="5629" y="685"/>
                </a:cubicBezTo>
                <a:lnTo>
                  <a:pt x="5626" y="685"/>
                </a:lnTo>
                <a:lnTo>
                  <a:pt x="5627" y="687"/>
                </a:lnTo>
                <a:cubicBezTo>
                  <a:pt x="5627" y="688"/>
                  <a:pt x="5626" y="689"/>
                  <a:pt x="5626" y="690"/>
                </a:cubicBezTo>
                <a:cubicBezTo>
                  <a:pt x="5625" y="690"/>
                  <a:pt x="5624" y="689"/>
                  <a:pt x="5624" y="688"/>
                </a:cubicBezTo>
                <a:cubicBezTo>
                  <a:pt x="5624" y="684"/>
                  <a:pt x="5626" y="683"/>
                  <a:pt x="5629" y="683"/>
                </a:cubicBezTo>
                <a:cubicBezTo>
                  <a:pt x="5630" y="683"/>
                  <a:pt x="5631" y="683"/>
                  <a:pt x="5631" y="682"/>
                </a:cubicBezTo>
                <a:lnTo>
                  <a:pt x="5631" y="679"/>
                </a:lnTo>
                <a:cubicBezTo>
                  <a:pt x="5631" y="678"/>
                  <a:pt x="5631" y="676"/>
                  <a:pt x="5632" y="674"/>
                </a:cubicBezTo>
                <a:cubicBezTo>
                  <a:pt x="5632" y="672"/>
                  <a:pt x="5633" y="671"/>
                  <a:pt x="5634" y="669"/>
                </a:cubicBezTo>
                <a:cubicBezTo>
                  <a:pt x="5634" y="668"/>
                  <a:pt x="5635" y="667"/>
                  <a:pt x="5636" y="667"/>
                </a:cubicBezTo>
                <a:lnTo>
                  <a:pt x="5637" y="667"/>
                </a:lnTo>
                <a:cubicBezTo>
                  <a:pt x="5637" y="667"/>
                  <a:pt x="5638" y="667"/>
                  <a:pt x="5638" y="666"/>
                </a:cubicBezTo>
                <a:lnTo>
                  <a:pt x="5637" y="664"/>
                </a:lnTo>
                <a:cubicBezTo>
                  <a:pt x="5637" y="663"/>
                  <a:pt x="5638" y="662"/>
                  <a:pt x="5639" y="661"/>
                </a:cubicBezTo>
                <a:cubicBezTo>
                  <a:pt x="5639" y="661"/>
                  <a:pt x="5640" y="660"/>
                  <a:pt x="5640" y="659"/>
                </a:cubicBezTo>
                <a:lnTo>
                  <a:pt x="5639" y="657"/>
                </a:lnTo>
                <a:cubicBezTo>
                  <a:pt x="5639" y="655"/>
                  <a:pt x="5640" y="654"/>
                  <a:pt x="5641" y="654"/>
                </a:cubicBezTo>
                <a:cubicBezTo>
                  <a:pt x="5642" y="654"/>
                  <a:pt x="5644" y="652"/>
                  <a:pt x="5646" y="647"/>
                </a:cubicBezTo>
                <a:cubicBezTo>
                  <a:pt x="5651" y="637"/>
                  <a:pt x="5659" y="625"/>
                  <a:pt x="5671" y="612"/>
                </a:cubicBezTo>
                <a:cubicBezTo>
                  <a:pt x="5683" y="598"/>
                  <a:pt x="5694" y="587"/>
                  <a:pt x="5707" y="576"/>
                </a:cubicBezTo>
                <a:cubicBezTo>
                  <a:pt x="5719" y="566"/>
                  <a:pt x="5727" y="561"/>
                  <a:pt x="5733" y="561"/>
                </a:cubicBezTo>
                <a:cubicBezTo>
                  <a:pt x="5733" y="561"/>
                  <a:pt x="5734" y="561"/>
                  <a:pt x="5734" y="561"/>
                </a:cubicBezTo>
                <a:cubicBezTo>
                  <a:pt x="5735" y="561"/>
                  <a:pt x="5735" y="562"/>
                  <a:pt x="5735" y="562"/>
                </a:cubicBezTo>
                <a:cubicBezTo>
                  <a:pt x="5736" y="562"/>
                  <a:pt x="5736" y="561"/>
                  <a:pt x="5736" y="559"/>
                </a:cubicBezTo>
                <a:cubicBezTo>
                  <a:pt x="5736" y="558"/>
                  <a:pt x="5739" y="557"/>
                  <a:pt x="5743" y="557"/>
                </a:cubicBezTo>
                <a:cubicBezTo>
                  <a:pt x="5748" y="557"/>
                  <a:pt x="5755" y="558"/>
                  <a:pt x="5762" y="559"/>
                </a:cubicBezTo>
                <a:cubicBezTo>
                  <a:pt x="5770" y="561"/>
                  <a:pt x="5777" y="563"/>
                  <a:pt x="5783" y="566"/>
                </a:cubicBezTo>
                <a:cubicBezTo>
                  <a:pt x="5790" y="568"/>
                  <a:pt x="5794" y="570"/>
                  <a:pt x="5796" y="572"/>
                </a:cubicBezTo>
                <a:lnTo>
                  <a:pt x="5799" y="575"/>
                </a:lnTo>
                <a:cubicBezTo>
                  <a:pt x="5799" y="576"/>
                  <a:pt x="5799" y="576"/>
                  <a:pt x="5798" y="576"/>
                </a:cubicBezTo>
                <a:lnTo>
                  <a:pt x="5795" y="574"/>
                </a:lnTo>
                <a:lnTo>
                  <a:pt x="5796" y="575"/>
                </a:lnTo>
                <a:cubicBezTo>
                  <a:pt x="5797" y="577"/>
                  <a:pt x="5798" y="577"/>
                  <a:pt x="5799" y="578"/>
                </a:cubicBezTo>
                <a:cubicBezTo>
                  <a:pt x="5800" y="578"/>
                  <a:pt x="5802" y="578"/>
                  <a:pt x="5803" y="578"/>
                </a:cubicBezTo>
                <a:cubicBezTo>
                  <a:pt x="5805" y="579"/>
                  <a:pt x="5807" y="582"/>
                  <a:pt x="5811" y="587"/>
                </a:cubicBezTo>
                <a:cubicBezTo>
                  <a:pt x="5814" y="591"/>
                  <a:pt x="5815" y="593"/>
                  <a:pt x="5815" y="593"/>
                </a:cubicBezTo>
                <a:cubicBezTo>
                  <a:pt x="5815" y="593"/>
                  <a:pt x="5813" y="591"/>
                  <a:pt x="5809" y="587"/>
                </a:cubicBezTo>
                <a:cubicBezTo>
                  <a:pt x="5805" y="583"/>
                  <a:pt x="5803" y="581"/>
                  <a:pt x="5802" y="581"/>
                </a:cubicBezTo>
                <a:cubicBezTo>
                  <a:pt x="5802" y="582"/>
                  <a:pt x="5804" y="584"/>
                  <a:pt x="5807" y="588"/>
                </a:cubicBezTo>
                <a:cubicBezTo>
                  <a:pt x="5812" y="594"/>
                  <a:pt x="5815" y="597"/>
                  <a:pt x="5817" y="597"/>
                </a:cubicBezTo>
                <a:cubicBezTo>
                  <a:pt x="5820" y="597"/>
                  <a:pt x="5821" y="597"/>
                  <a:pt x="5821" y="597"/>
                </a:cubicBezTo>
                <a:cubicBezTo>
                  <a:pt x="5821" y="598"/>
                  <a:pt x="5820" y="598"/>
                  <a:pt x="5819" y="598"/>
                </a:cubicBezTo>
                <a:cubicBezTo>
                  <a:pt x="5818" y="599"/>
                  <a:pt x="5817" y="600"/>
                  <a:pt x="5817" y="601"/>
                </a:cubicBezTo>
                <a:cubicBezTo>
                  <a:pt x="5817" y="602"/>
                  <a:pt x="5818" y="603"/>
                  <a:pt x="5820" y="604"/>
                </a:cubicBezTo>
                <a:cubicBezTo>
                  <a:pt x="5822" y="606"/>
                  <a:pt x="5823" y="608"/>
                  <a:pt x="5824" y="611"/>
                </a:cubicBezTo>
                <a:cubicBezTo>
                  <a:pt x="5825" y="614"/>
                  <a:pt x="5826" y="616"/>
                  <a:pt x="5827" y="617"/>
                </a:cubicBezTo>
                <a:cubicBezTo>
                  <a:pt x="5828" y="618"/>
                  <a:pt x="5829" y="619"/>
                  <a:pt x="5829" y="619"/>
                </a:cubicBezTo>
                <a:cubicBezTo>
                  <a:pt x="5829" y="620"/>
                  <a:pt x="5829" y="620"/>
                  <a:pt x="5829" y="620"/>
                </a:cubicBezTo>
                <a:cubicBezTo>
                  <a:pt x="5828" y="620"/>
                  <a:pt x="5828" y="620"/>
                  <a:pt x="5828" y="620"/>
                </a:cubicBezTo>
                <a:cubicBezTo>
                  <a:pt x="5828" y="621"/>
                  <a:pt x="5829" y="623"/>
                  <a:pt x="5831" y="625"/>
                </a:cubicBezTo>
                <a:cubicBezTo>
                  <a:pt x="5831" y="625"/>
                  <a:pt x="5831" y="626"/>
                  <a:pt x="5831" y="626"/>
                </a:cubicBezTo>
                <a:lnTo>
                  <a:pt x="5837" y="635"/>
                </a:lnTo>
                <a:cubicBezTo>
                  <a:pt x="5840" y="642"/>
                  <a:pt x="5843" y="647"/>
                  <a:pt x="5847" y="652"/>
                </a:cubicBezTo>
                <a:cubicBezTo>
                  <a:pt x="5850" y="657"/>
                  <a:pt x="5854" y="661"/>
                  <a:pt x="5857" y="662"/>
                </a:cubicBezTo>
                <a:cubicBezTo>
                  <a:pt x="5860" y="664"/>
                  <a:pt x="5862" y="665"/>
                  <a:pt x="5863" y="665"/>
                </a:cubicBezTo>
                <a:cubicBezTo>
                  <a:pt x="5864" y="665"/>
                  <a:pt x="5864" y="665"/>
                  <a:pt x="5864" y="665"/>
                </a:cubicBezTo>
                <a:cubicBezTo>
                  <a:pt x="5864" y="664"/>
                  <a:pt x="5863" y="662"/>
                  <a:pt x="5861" y="660"/>
                </a:cubicBezTo>
                <a:cubicBezTo>
                  <a:pt x="5860" y="659"/>
                  <a:pt x="5859" y="659"/>
                  <a:pt x="5859" y="658"/>
                </a:cubicBezTo>
                <a:cubicBezTo>
                  <a:pt x="5860" y="658"/>
                  <a:pt x="5861" y="659"/>
                  <a:pt x="5864" y="662"/>
                </a:cubicBezTo>
                <a:cubicBezTo>
                  <a:pt x="5869" y="666"/>
                  <a:pt x="5876" y="668"/>
                  <a:pt x="5884" y="668"/>
                </a:cubicBezTo>
                <a:cubicBezTo>
                  <a:pt x="5907" y="668"/>
                  <a:pt x="5937" y="654"/>
                  <a:pt x="5974" y="627"/>
                </a:cubicBezTo>
                <a:cubicBezTo>
                  <a:pt x="5989" y="615"/>
                  <a:pt x="6004" y="604"/>
                  <a:pt x="6018" y="594"/>
                </a:cubicBezTo>
                <a:cubicBezTo>
                  <a:pt x="6035" y="583"/>
                  <a:pt x="6045" y="578"/>
                  <a:pt x="6048" y="578"/>
                </a:cubicBezTo>
                <a:cubicBezTo>
                  <a:pt x="6050" y="578"/>
                  <a:pt x="6050" y="578"/>
                  <a:pt x="6050" y="580"/>
                </a:cubicBezTo>
                <a:lnTo>
                  <a:pt x="6050" y="580"/>
                </a:lnTo>
                <a:cubicBezTo>
                  <a:pt x="6048" y="580"/>
                  <a:pt x="6043" y="584"/>
                  <a:pt x="6035" y="592"/>
                </a:cubicBezTo>
                <a:cubicBezTo>
                  <a:pt x="5983" y="646"/>
                  <a:pt x="5938" y="672"/>
                  <a:pt x="5900" y="672"/>
                </a:cubicBezTo>
                <a:lnTo>
                  <a:pt x="5897" y="672"/>
                </a:lnTo>
                <a:cubicBezTo>
                  <a:pt x="5890" y="672"/>
                  <a:pt x="5887" y="673"/>
                  <a:pt x="5887" y="674"/>
                </a:cubicBezTo>
                <a:lnTo>
                  <a:pt x="5894" y="675"/>
                </a:lnTo>
                <a:cubicBezTo>
                  <a:pt x="5897" y="676"/>
                  <a:pt x="5900" y="676"/>
                  <a:pt x="5904" y="676"/>
                </a:cubicBezTo>
                <a:cubicBezTo>
                  <a:pt x="5922" y="676"/>
                  <a:pt x="5943" y="669"/>
                  <a:pt x="5966" y="655"/>
                </a:cubicBezTo>
                <a:cubicBezTo>
                  <a:pt x="5973" y="651"/>
                  <a:pt x="5978" y="649"/>
                  <a:pt x="5980" y="649"/>
                </a:cubicBezTo>
                <a:lnTo>
                  <a:pt x="5981" y="649"/>
                </a:lnTo>
                <a:lnTo>
                  <a:pt x="5981" y="648"/>
                </a:lnTo>
                <a:cubicBezTo>
                  <a:pt x="5981" y="645"/>
                  <a:pt x="5994" y="634"/>
                  <a:pt x="6018" y="613"/>
                </a:cubicBezTo>
                <a:cubicBezTo>
                  <a:pt x="6022" y="610"/>
                  <a:pt x="6025" y="607"/>
                  <a:pt x="6028" y="605"/>
                </a:cubicBezTo>
                <a:lnTo>
                  <a:pt x="6033" y="603"/>
                </a:lnTo>
                <a:cubicBezTo>
                  <a:pt x="6033" y="603"/>
                  <a:pt x="6033" y="602"/>
                  <a:pt x="6033" y="600"/>
                </a:cubicBezTo>
                <a:cubicBezTo>
                  <a:pt x="6033" y="599"/>
                  <a:pt x="6034" y="598"/>
                  <a:pt x="6036" y="598"/>
                </a:cubicBezTo>
                <a:cubicBezTo>
                  <a:pt x="6037" y="598"/>
                  <a:pt x="6038" y="598"/>
                  <a:pt x="6038" y="596"/>
                </a:cubicBezTo>
                <a:cubicBezTo>
                  <a:pt x="6038" y="595"/>
                  <a:pt x="6039" y="593"/>
                  <a:pt x="6041" y="591"/>
                </a:cubicBezTo>
                <a:cubicBezTo>
                  <a:pt x="6044" y="590"/>
                  <a:pt x="6045" y="588"/>
                  <a:pt x="6045" y="586"/>
                </a:cubicBezTo>
                <a:cubicBezTo>
                  <a:pt x="6045" y="584"/>
                  <a:pt x="6046" y="583"/>
                  <a:pt x="6047" y="583"/>
                </a:cubicBezTo>
                <a:cubicBezTo>
                  <a:pt x="6048" y="583"/>
                  <a:pt x="6049" y="583"/>
                  <a:pt x="6049" y="585"/>
                </a:cubicBezTo>
                <a:cubicBezTo>
                  <a:pt x="6049" y="588"/>
                  <a:pt x="6047" y="593"/>
                  <a:pt x="6042" y="600"/>
                </a:cubicBezTo>
                <a:cubicBezTo>
                  <a:pt x="6038" y="607"/>
                  <a:pt x="6030" y="616"/>
                  <a:pt x="6018" y="627"/>
                </a:cubicBezTo>
                <a:lnTo>
                  <a:pt x="6006" y="639"/>
                </a:lnTo>
                <a:cubicBezTo>
                  <a:pt x="6001" y="643"/>
                  <a:pt x="5998" y="645"/>
                  <a:pt x="5997" y="645"/>
                </a:cubicBezTo>
                <a:cubicBezTo>
                  <a:pt x="5995" y="645"/>
                  <a:pt x="5994" y="646"/>
                  <a:pt x="5993" y="648"/>
                </a:cubicBezTo>
                <a:cubicBezTo>
                  <a:pt x="5990" y="652"/>
                  <a:pt x="5987" y="655"/>
                  <a:pt x="5983" y="658"/>
                </a:cubicBezTo>
                <a:cubicBezTo>
                  <a:pt x="5977" y="662"/>
                  <a:pt x="5974" y="664"/>
                  <a:pt x="5973" y="665"/>
                </a:cubicBezTo>
                <a:cubicBezTo>
                  <a:pt x="5973" y="666"/>
                  <a:pt x="5972" y="666"/>
                  <a:pt x="5970" y="666"/>
                </a:cubicBezTo>
                <a:lnTo>
                  <a:pt x="5966" y="666"/>
                </a:lnTo>
                <a:lnTo>
                  <a:pt x="5965" y="667"/>
                </a:lnTo>
                <a:lnTo>
                  <a:pt x="5965" y="668"/>
                </a:lnTo>
                <a:cubicBezTo>
                  <a:pt x="5965" y="669"/>
                  <a:pt x="5964" y="670"/>
                  <a:pt x="5963" y="672"/>
                </a:cubicBezTo>
                <a:lnTo>
                  <a:pt x="5961" y="674"/>
                </a:lnTo>
                <a:cubicBezTo>
                  <a:pt x="5960" y="674"/>
                  <a:pt x="5960" y="674"/>
                  <a:pt x="5960" y="674"/>
                </a:cubicBezTo>
                <a:lnTo>
                  <a:pt x="5959" y="674"/>
                </a:lnTo>
                <a:cubicBezTo>
                  <a:pt x="5958" y="674"/>
                  <a:pt x="5956" y="674"/>
                  <a:pt x="5952" y="676"/>
                </a:cubicBezTo>
                <a:cubicBezTo>
                  <a:pt x="5938" y="684"/>
                  <a:pt x="5923" y="688"/>
                  <a:pt x="5907" y="688"/>
                </a:cubicBezTo>
                <a:cubicBezTo>
                  <a:pt x="5897" y="688"/>
                  <a:pt x="5887" y="686"/>
                  <a:pt x="5876" y="683"/>
                </a:cubicBezTo>
                <a:cubicBezTo>
                  <a:pt x="5864" y="680"/>
                  <a:pt x="5859" y="678"/>
                  <a:pt x="5858" y="677"/>
                </a:cubicBezTo>
                <a:cubicBezTo>
                  <a:pt x="5858" y="676"/>
                  <a:pt x="5854" y="673"/>
                  <a:pt x="5849" y="668"/>
                </a:cubicBezTo>
                <a:cubicBezTo>
                  <a:pt x="5843" y="663"/>
                  <a:pt x="5839" y="661"/>
                  <a:pt x="5837" y="661"/>
                </a:cubicBezTo>
                <a:cubicBezTo>
                  <a:pt x="5837" y="661"/>
                  <a:pt x="5836" y="661"/>
                  <a:pt x="5836" y="662"/>
                </a:cubicBezTo>
                <a:cubicBezTo>
                  <a:pt x="5836" y="663"/>
                  <a:pt x="5837" y="664"/>
                  <a:pt x="5837" y="665"/>
                </a:cubicBezTo>
                <a:cubicBezTo>
                  <a:pt x="5838" y="666"/>
                  <a:pt x="5838" y="666"/>
                  <a:pt x="5838" y="667"/>
                </a:cubicBezTo>
                <a:cubicBezTo>
                  <a:pt x="5838" y="667"/>
                  <a:pt x="5838" y="667"/>
                  <a:pt x="5837" y="667"/>
                </a:cubicBezTo>
                <a:cubicBezTo>
                  <a:pt x="5837" y="667"/>
                  <a:pt x="5836" y="666"/>
                  <a:pt x="5835" y="665"/>
                </a:cubicBezTo>
                <a:cubicBezTo>
                  <a:pt x="5833" y="664"/>
                  <a:pt x="5833" y="662"/>
                  <a:pt x="5833" y="660"/>
                </a:cubicBezTo>
                <a:cubicBezTo>
                  <a:pt x="5833" y="658"/>
                  <a:pt x="5832" y="657"/>
                  <a:pt x="5832" y="657"/>
                </a:cubicBezTo>
                <a:lnTo>
                  <a:pt x="5831" y="657"/>
                </a:lnTo>
                <a:cubicBezTo>
                  <a:pt x="5830" y="657"/>
                  <a:pt x="5828" y="655"/>
                  <a:pt x="5827" y="652"/>
                </a:cubicBezTo>
                <a:cubicBezTo>
                  <a:pt x="5825" y="650"/>
                  <a:pt x="5824" y="648"/>
                  <a:pt x="5822" y="646"/>
                </a:cubicBezTo>
                <a:cubicBezTo>
                  <a:pt x="5820" y="643"/>
                  <a:pt x="5817" y="637"/>
                  <a:pt x="5812" y="629"/>
                </a:cubicBezTo>
                <a:cubicBezTo>
                  <a:pt x="5807" y="622"/>
                  <a:pt x="5803" y="615"/>
                  <a:pt x="5800" y="609"/>
                </a:cubicBezTo>
                <a:cubicBezTo>
                  <a:pt x="5793" y="598"/>
                  <a:pt x="5788" y="590"/>
                  <a:pt x="5784" y="586"/>
                </a:cubicBezTo>
                <a:cubicBezTo>
                  <a:pt x="5779" y="581"/>
                  <a:pt x="5775" y="579"/>
                  <a:pt x="5770" y="579"/>
                </a:cubicBezTo>
                <a:lnTo>
                  <a:pt x="5768" y="579"/>
                </a:lnTo>
                <a:cubicBezTo>
                  <a:pt x="5755" y="583"/>
                  <a:pt x="5740" y="591"/>
                  <a:pt x="5722" y="605"/>
                </a:cubicBezTo>
                <a:cubicBezTo>
                  <a:pt x="5704" y="619"/>
                  <a:pt x="5691" y="634"/>
                  <a:pt x="5682" y="648"/>
                </a:cubicBezTo>
                <a:cubicBezTo>
                  <a:pt x="5680" y="652"/>
                  <a:pt x="5678" y="654"/>
                  <a:pt x="5676" y="655"/>
                </a:cubicBezTo>
                <a:cubicBezTo>
                  <a:pt x="5675" y="655"/>
                  <a:pt x="5675" y="655"/>
                  <a:pt x="5675" y="655"/>
                </a:cubicBezTo>
                <a:cubicBezTo>
                  <a:pt x="5675" y="653"/>
                  <a:pt x="5678" y="649"/>
                  <a:pt x="5684" y="642"/>
                </a:cubicBezTo>
                <a:cubicBezTo>
                  <a:pt x="5714" y="605"/>
                  <a:pt x="5741" y="583"/>
                  <a:pt x="5764" y="576"/>
                </a:cubicBezTo>
                <a:cubicBezTo>
                  <a:pt x="5768" y="575"/>
                  <a:pt x="5770" y="574"/>
                  <a:pt x="5770" y="573"/>
                </a:cubicBezTo>
                <a:cubicBezTo>
                  <a:pt x="5770" y="572"/>
                  <a:pt x="5769" y="571"/>
                  <a:pt x="5768" y="571"/>
                </a:cubicBezTo>
                <a:cubicBezTo>
                  <a:pt x="5768" y="571"/>
                  <a:pt x="5766" y="570"/>
                  <a:pt x="5765" y="570"/>
                </a:cubicBezTo>
                <a:cubicBezTo>
                  <a:pt x="5761" y="570"/>
                  <a:pt x="5754" y="573"/>
                  <a:pt x="5744" y="580"/>
                </a:cubicBezTo>
                <a:cubicBezTo>
                  <a:pt x="5735" y="586"/>
                  <a:pt x="5725" y="593"/>
                  <a:pt x="5716" y="602"/>
                </a:cubicBezTo>
                <a:cubicBezTo>
                  <a:pt x="5705" y="612"/>
                  <a:pt x="5699" y="617"/>
                  <a:pt x="5698" y="617"/>
                </a:cubicBezTo>
                <a:cubicBezTo>
                  <a:pt x="5698" y="617"/>
                  <a:pt x="5700" y="614"/>
                  <a:pt x="5704" y="610"/>
                </a:cubicBezTo>
                <a:cubicBezTo>
                  <a:pt x="5711" y="601"/>
                  <a:pt x="5718" y="593"/>
                  <a:pt x="5727" y="587"/>
                </a:cubicBezTo>
                <a:cubicBezTo>
                  <a:pt x="5731" y="583"/>
                  <a:pt x="5734" y="581"/>
                  <a:pt x="5734" y="580"/>
                </a:cubicBezTo>
                <a:cubicBezTo>
                  <a:pt x="5734" y="580"/>
                  <a:pt x="5734" y="579"/>
                  <a:pt x="5733" y="579"/>
                </a:cubicBezTo>
                <a:cubicBezTo>
                  <a:pt x="5733" y="579"/>
                  <a:pt x="5731" y="581"/>
                  <a:pt x="5727" y="583"/>
                </a:cubicBezTo>
                <a:cubicBezTo>
                  <a:pt x="5718" y="590"/>
                  <a:pt x="5711" y="596"/>
                  <a:pt x="5707" y="601"/>
                </a:cubicBezTo>
                <a:cubicBezTo>
                  <a:pt x="5706" y="602"/>
                  <a:pt x="5705" y="603"/>
                  <a:pt x="5704" y="604"/>
                </a:cubicBezTo>
                <a:cubicBezTo>
                  <a:pt x="5702" y="605"/>
                  <a:pt x="5701" y="606"/>
                  <a:pt x="5700" y="606"/>
                </a:cubicBezTo>
                <a:cubicBezTo>
                  <a:pt x="5698" y="606"/>
                  <a:pt x="5695" y="609"/>
                  <a:pt x="5692" y="614"/>
                </a:cubicBezTo>
                <a:cubicBezTo>
                  <a:pt x="5689" y="620"/>
                  <a:pt x="5685" y="624"/>
                  <a:pt x="5681" y="627"/>
                </a:cubicBezTo>
                <a:cubicBezTo>
                  <a:pt x="5676" y="629"/>
                  <a:pt x="5672" y="634"/>
                  <a:pt x="5667" y="640"/>
                </a:cubicBezTo>
                <a:lnTo>
                  <a:pt x="5662" y="648"/>
                </a:lnTo>
                <a:lnTo>
                  <a:pt x="5667" y="646"/>
                </a:lnTo>
                <a:cubicBezTo>
                  <a:pt x="5667" y="647"/>
                  <a:pt x="5663" y="653"/>
                  <a:pt x="5656" y="662"/>
                </a:cubicBezTo>
                <a:cubicBezTo>
                  <a:pt x="5643" y="680"/>
                  <a:pt x="5637" y="690"/>
                  <a:pt x="5637" y="692"/>
                </a:cubicBezTo>
                <a:cubicBezTo>
                  <a:pt x="5637" y="692"/>
                  <a:pt x="5637" y="693"/>
                  <a:pt x="5637" y="693"/>
                </a:cubicBezTo>
                <a:lnTo>
                  <a:pt x="5641" y="691"/>
                </a:lnTo>
                <a:cubicBezTo>
                  <a:pt x="5641" y="691"/>
                  <a:pt x="5640" y="692"/>
                  <a:pt x="5640" y="692"/>
                </a:cubicBezTo>
                <a:cubicBezTo>
                  <a:pt x="5639" y="693"/>
                  <a:pt x="5639" y="693"/>
                  <a:pt x="5638" y="694"/>
                </a:cubicBezTo>
                <a:cubicBezTo>
                  <a:pt x="5638" y="694"/>
                  <a:pt x="5637" y="695"/>
                  <a:pt x="5637" y="696"/>
                </a:cubicBezTo>
                <a:cubicBezTo>
                  <a:pt x="5636" y="696"/>
                  <a:pt x="5635" y="697"/>
                  <a:pt x="5635" y="697"/>
                </a:cubicBezTo>
                <a:lnTo>
                  <a:pt x="5633" y="696"/>
                </a:lnTo>
                <a:cubicBezTo>
                  <a:pt x="5632" y="696"/>
                  <a:pt x="5632" y="697"/>
                  <a:pt x="5632" y="698"/>
                </a:cubicBezTo>
                <a:cubicBezTo>
                  <a:pt x="5632" y="700"/>
                  <a:pt x="5632" y="702"/>
                  <a:pt x="5632" y="704"/>
                </a:cubicBezTo>
                <a:cubicBezTo>
                  <a:pt x="5631" y="709"/>
                  <a:pt x="5629" y="712"/>
                  <a:pt x="5627" y="714"/>
                </a:cubicBezTo>
                <a:cubicBezTo>
                  <a:pt x="5627" y="715"/>
                  <a:pt x="5625" y="719"/>
                  <a:pt x="5621" y="727"/>
                </a:cubicBezTo>
                <a:cubicBezTo>
                  <a:pt x="5610" y="750"/>
                  <a:pt x="5602" y="768"/>
                  <a:pt x="5597" y="779"/>
                </a:cubicBezTo>
                <a:cubicBezTo>
                  <a:pt x="5591" y="794"/>
                  <a:pt x="5588" y="804"/>
                  <a:pt x="5588" y="808"/>
                </a:cubicBezTo>
                <a:lnTo>
                  <a:pt x="5589" y="809"/>
                </a:lnTo>
                <a:cubicBezTo>
                  <a:pt x="5590" y="807"/>
                  <a:pt x="5591" y="806"/>
                  <a:pt x="5591" y="803"/>
                </a:cubicBezTo>
                <a:cubicBezTo>
                  <a:pt x="5591" y="801"/>
                  <a:pt x="5591" y="799"/>
                  <a:pt x="5593" y="797"/>
                </a:cubicBezTo>
                <a:lnTo>
                  <a:pt x="5593" y="797"/>
                </a:lnTo>
                <a:cubicBezTo>
                  <a:pt x="5593" y="797"/>
                  <a:pt x="5594" y="799"/>
                  <a:pt x="5594" y="801"/>
                </a:cubicBezTo>
                <a:lnTo>
                  <a:pt x="5593" y="804"/>
                </a:lnTo>
                <a:cubicBezTo>
                  <a:pt x="5593" y="805"/>
                  <a:pt x="5593" y="805"/>
                  <a:pt x="5594" y="805"/>
                </a:cubicBezTo>
                <a:lnTo>
                  <a:pt x="5594" y="804"/>
                </a:lnTo>
                <a:cubicBezTo>
                  <a:pt x="5597" y="801"/>
                  <a:pt x="5599" y="799"/>
                  <a:pt x="5600" y="798"/>
                </a:cubicBezTo>
                <a:lnTo>
                  <a:pt x="5603" y="796"/>
                </a:lnTo>
                <a:cubicBezTo>
                  <a:pt x="5603" y="797"/>
                  <a:pt x="5603" y="798"/>
                  <a:pt x="5602" y="800"/>
                </a:cubicBezTo>
                <a:cubicBezTo>
                  <a:pt x="5600" y="804"/>
                  <a:pt x="5598" y="806"/>
                  <a:pt x="5595" y="808"/>
                </a:cubicBezTo>
                <a:cubicBezTo>
                  <a:pt x="5592" y="810"/>
                  <a:pt x="5591" y="812"/>
                  <a:pt x="5591" y="813"/>
                </a:cubicBezTo>
                <a:cubicBezTo>
                  <a:pt x="5591" y="814"/>
                  <a:pt x="5591" y="815"/>
                  <a:pt x="5592" y="815"/>
                </a:cubicBezTo>
                <a:cubicBezTo>
                  <a:pt x="5592" y="816"/>
                  <a:pt x="5593" y="816"/>
                  <a:pt x="5593" y="816"/>
                </a:cubicBezTo>
                <a:lnTo>
                  <a:pt x="5590" y="816"/>
                </a:lnTo>
                <a:cubicBezTo>
                  <a:pt x="5589" y="816"/>
                  <a:pt x="5588" y="816"/>
                  <a:pt x="5588" y="817"/>
                </a:cubicBezTo>
                <a:cubicBezTo>
                  <a:pt x="5588" y="818"/>
                  <a:pt x="5587" y="818"/>
                  <a:pt x="5586" y="818"/>
                </a:cubicBezTo>
                <a:lnTo>
                  <a:pt x="5585" y="818"/>
                </a:lnTo>
                <a:lnTo>
                  <a:pt x="5586" y="821"/>
                </a:lnTo>
                <a:cubicBezTo>
                  <a:pt x="5587" y="824"/>
                  <a:pt x="5588" y="826"/>
                  <a:pt x="5590" y="826"/>
                </a:cubicBezTo>
                <a:cubicBezTo>
                  <a:pt x="5590" y="826"/>
                  <a:pt x="5590" y="826"/>
                  <a:pt x="5590" y="826"/>
                </a:cubicBezTo>
                <a:cubicBezTo>
                  <a:pt x="5590" y="825"/>
                  <a:pt x="5590" y="824"/>
                  <a:pt x="5590" y="823"/>
                </a:cubicBezTo>
                <a:cubicBezTo>
                  <a:pt x="5589" y="823"/>
                  <a:pt x="5589" y="822"/>
                  <a:pt x="5589" y="821"/>
                </a:cubicBezTo>
                <a:lnTo>
                  <a:pt x="5590" y="822"/>
                </a:lnTo>
                <a:cubicBezTo>
                  <a:pt x="5591" y="824"/>
                  <a:pt x="5592" y="827"/>
                  <a:pt x="5592" y="830"/>
                </a:cubicBezTo>
                <a:cubicBezTo>
                  <a:pt x="5592" y="833"/>
                  <a:pt x="5591" y="835"/>
                  <a:pt x="5590" y="837"/>
                </a:cubicBezTo>
                <a:cubicBezTo>
                  <a:pt x="5589" y="838"/>
                  <a:pt x="5587" y="839"/>
                  <a:pt x="5585" y="839"/>
                </a:cubicBezTo>
                <a:close/>
                <a:moveTo>
                  <a:pt x="5564" y="732"/>
                </a:moveTo>
                <a:lnTo>
                  <a:pt x="5564" y="730"/>
                </a:lnTo>
                <a:lnTo>
                  <a:pt x="5564" y="726"/>
                </a:lnTo>
                <a:cubicBezTo>
                  <a:pt x="5563" y="726"/>
                  <a:pt x="5562" y="727"/>
                  <a:pt x="5562" y="728"/>
                </a:cubicBezTo>
                <a:cubicBezTo>
                  <a:pt x="5562" y="730"/>
                  <a:pt x="5563" y="732"/>
                  <a:pt x="5564" y="732"/>
                </a:cubicBezTo>
                <a:close/>
                <a:moveTo>
                  <a:pt x="5565" y="723"/>
                </a:moveTo>
                <a:lnTo>
                  <a:pt x="5566" y="719"/>
                </a:lnTo>
                <a:cubicBezTo>
                  <a:pt x="5567" y="717"/>
                  <a:pt x="5568" y="715"/>
                  <a:pt x="5568" y="713"/>
                </a:cubicBezTo>
                <a:cubicBezTo>
                  <a:pt x="5568" y="711"/>
                  <a:pt x="5569" y="710"/>
                  <a:pt x="5569" y="709"/>
                </a:cubicBezTo>
                <a:lnTo>
                  <a:pt x="5569" y="707"/>
                </a:lnTo>
                <a:cubicBezTo>
                  <a:pt x="5568" y="707"/>
                  <a:pt x="5568" y="708"/>
                  <a:pt x="5567" y="709"/>
                </a:cubicBezTo>
                <a:cubicBezTo>
                  <a:pt x="5565" y="711"/>
                  <a:pt x="5565" y="714"/>
                  <a:pt x="5565" y="718"/>
                </a:cubicBezTo>
                <a:cubicBezTo>
                  <a:pt x="5565" y="721"/>
                  <a:pt x="5565" y="723"/>
                  <a:pt x="5565" y="723"/>
                </a:cubicBezTo>
                <a:close/>
                <a:moveTo>
                  <a:pt x="5947" y="676"/>
                </a:moveTo>
                <a:cubicBezTo>
                  <a:pt x="5948" y="676"/>
                  <a:pt x="5949" y="675"/>
                  <a:pt x="5952" y="674"/>
                </a:cubicBezTo>
                <a:cubicBezTo>
                  <a:pt x="5954" y="673"/>
                  <a:pt x="5956" y="672"/>
                  <a:pt x="5956" y="671"/>
                </a:cubicBezTo>
                <a:lnTo>
                  <a:pt x="5955" y="671"/>
                </a:lnTo>
                <a:cubicBezTo>
                  <a:pt x="5954" y="671"/>
                  <a:pt x="5953" y="671"/>
                  <a:pt x="5951" y="672"/>
                </a:cubicBezTo>
                <a:cubicBezTo>
                  <a:pt x="5948" y="674"/>
                  <a:pt x="5947" y="675"/>
                  <a:pt x="5947" y="676"/>
                </a:cubicBezTo>
                <a:close/>
                <a:moveTo>
                  <a:pt x="5934" y="681"/>
                </a:moveTo>
                <a:cubicBezTo>
                  <a:pt x="5937" y="681"/>
                  <a:pt x="5939" y="681"/>
                  <a:pt x="5939" y="679"/>
                </a:cubicBezTo>
                <a:lnTo>
                  <a:pt x="5940" y="678"/>
                </a:lnTo>
                <a:cubicBezTo>
                  <a:pt x="5940" y="677"/>
                  <a:pt x="5939" y="677"/>
                  <a:pt x="5939" y="677"/>
                </a:cubicBezTo>
                <a:cubicBezTo>
                  <a:pt x="5937" y="677"/>
                  <a:pt x="5936" y="678"/>
                  <a:pt x="5934" y="679"/>
                </a:cubicBezTo>
                <a:cubicBezTo>
                  <a:pt x="5933" y="680"/>
                  <a:pt x="5932" y="681"/>
                  <a:pt x="5932" y="681"/>
                </a:cubicBezTo>
                <a:cubicBezTo>
                  <a:pt x="5932" y="681"/>
                  <a:pt x="5933" y="681"/>
                  <a:pt x="5934" y="681"/>
                </a:cubicBezTo>
                <a:close/>
                <a:moveTo>
                  <a:pt x="5925" y="683"/>
                </a:moveTo>
                <a:cubicBezTo>
                  <a:pt x="5927" y="683"/>
                  <a:pt x="5928" y="683"/>
                  <a:pt x="5928" y="683"/>
                </a:cubicBezTo>
                <a:cubicBezTo>
                  <a:pt x="5928" y="683"/>
                  <a:pt x="5928" y="682"/>
                  <a:pt x="5928" y="682"/>
                </a:cubicBezTo>
                <a:cubicBezTo>
                  <a:pt x="5927" y="682"/>
                  <a:pt x="5926" y="681"/>
                  <a:pt x="5926" y="681"/>
                </a:cubicBezTo>
                <a:cubicBezTo>
                  <a:pt x="5925" y="681"/>
                  <a:pt x="5924" y="682"/>
                  <a:pt x="5922" y="683"/>
                </a:cubicBezTo>
                <a:cubicBezTo>
                  <a:pt x="5922" y="683"/>
                  <a:pt x="5922" y="683"/>
                  <a:pt x="5922" y="683"/>
                </a:cubicBezTo>
                <a:cubicBezTo>
                  <a:pt x="5922" y="683"/>
                  <a:pt x="5923" y="683"/>
                  <a:pt x="5925" y="683"/>
                </a:cubicBezTo>
                <a:close/>
                <a:moveTo>
                  <a:pt x="5916" y="686"/>
                </a:moveTo>
                <a:cubicBezTo>
                  <a:pt x="5917" y="686"/>
                  <a:pt x="5918" y="686"/>
                  <a:pt x="5918" y="685"/>
                </a:cubicBezTo>
                <a:lnTo>
                  <a:pt x="5918" y="685"/>
                </a:lnTo>
                <a:lnTo>
                  <a:pt x="5916" y="684"/>
                </a:lnTo>
                <a:lnTo>
                  <a:pt x="5914" y="685"/>
                </a:lnTo>
                <a:cubicBezTo>
                  <a:pt x="5913" y="685"/>
                  <a:pt x="5913" y="685"/>
                  <a:pt x="5913" y="686"/>
                </a:cubicBezTo>
                <a:cubicBezTo>
                  <a:pt x="5913" y="686"/>
                  <a:pt x="5914" y="686"/>
                  <a:pt x="5916" y="686"/>
                </a:cubicBezTo>
                <a:close/>
                <a:moveTo>
                  <a:pt x="5884" y="679"/>
                </a:moveTo>
                <a:cubicBezTo>
                  <a:pt x="5886" y="679"/>
                  <a:pt x="5888" y="679"/>
                  <a:pt x="5888" y="679"/>
                </a:cubicBezTo>
                <a:cubicBezTo>
                  <a:pt x="5888" y="678"/>
                  <a:pt x="5886" y="677"/>
                  <a:pt x="5882" y="675"/>
                </a:cubicBezTo>
                <a:cubicBezTo>
                  <a:pt x="5879" y="673"/>
                  <a:pt x="5874" y="672"/>
                  <a:pt x="5870" y="672"/>
                </a:cubicBezTo>
                <a:cubicBezTo>
                  <a:pt x="5867" y="672"/>
                  <a:pt x="5865" y="673"/>
                  <a:pt x="5865" y="674"/>
                </a:cubicBezTo>
                <a:cubicBezTo>
                  <a:pt x="5865" y="674"/>
                  <a:pt x="5867" y="674"/>
                  <a:pt x="5871" y="676"/>
                </a:cubicBezTo>
                <a:cubicBezTo>
                  <a:pt x="5877" y="678"/>
                  <a:pt x="5881" y="679"/>
                  <a:pt x="5884" y="679"/>
                </a:cubicBezTo>
                <a:close/>
                <a:moveTo>
                  <a:pt x="5737" y="578"/>
                </a:moveTo>
                <a:cubicBezTo>
                  <a:pt x="5739" y="578"/>
                  <a:pt x="5741" y="578"/>
                  <a:pt x="5742" y="577"/>
                </a:cubicBezTo>
                <a:cubicBezTo>
                  <a:pt x="5744" y="576"/>
                  <a:pt x="5745" y="575"/>
                  <a:pt x="5745" y="574"/>
                </a:cubicBezTo>
                <a:cubicBezTo>
                  <a:pt x="5745" y="574"/>
                  <a:pt x="5744" y="574"/>
                  <a:pt x="5744" y="574"/>
                </a:cubicBezTo>
                <a:cubicBezTo>
                  <a:pt x="5743" y="574"/>
                  <a:pt x="5741" y="574"/>
                  <a:pt x="5738" y="576"/>
                </a:cubicBezTo>
                <a:cubicBezTo>
                  <a:pt x="5737" y="577"/>
                  <a:pt x="5737" y="578"/>
                  <a:pt x="5737" y="578"/>
                </a:cubicBezTo>
                <a:cubicBezTo>
                  <a:pt x="5737" y="578"/>
                  <a:pt x="5737" y="578"/>
                  <a:pt x="5737" y="578"/>
                </a:cubicBezTo>
                <a:close/>
                <a:moveTo>
                  <a:pt x="5644" y="674"/>
                </a:moveTo>
                <a:cubicBezTo>
                  <a:pt x="5644" y="674"/>
                  <a:pt x="5645" y="674"/>
                  <a:pt x="5646" y="673"/>
                </a:cubicBezTo>
                <a:cubicBezTo>
                  <a:pt x="5647" y="672"/>
                  <a:pt x="5647" y="670"/>
                  <a:pt x="5647" y="668"/>
                </a:cubicBezTo>
                <a:cubicBezTo>
                  <a:pt x="5647" y="666"/>
                  <a:pt x="5648" y="665"/>
                  <a:pt x="5650" y="664"/>
                </a:cubicBezTo>
                <a:cubicBezTo>
                  <a:pt x="5653" y="663"/>
                  <a:pt x="5655" y="661"/>
                  <a:pt x="5655" y="659"/>
                </a:cubicBezTo>
                <a:cubicBezTo>
                  <a:pt x="5655" y="658"/>
                  <a:pt x="5655" y="658"/>
                  <a:pt x="5654" y="658"/>
                </a:cubicBezTo>
                <a:cubicBezTo>
                  <a:pt x="5654" y="658"/>
                  <a:pt x="5652" y="659"/>
                  <a:pt x="5650" y="662"/>
                </a:cubicBezTo>
                <a:cubicBezTo>
                  <a:pt x="5645" y="666"/>
                  <a:pt x="5643" y="670"/>
                  <a:pt x="5643" y="673"/>
                </a:cubicBezTo>
                <a:cubicBezTo>
                  <a:pt x="5643" y="674"/>
                  <a:pt x="5643" y="674"/>
                  <a:pt x="5644" y="674"/>
                </a:cubicBezTo>
                <a:close/>
                <a:moveTo>
                  <a:pt x="5583" y="775"/>
                </a:moveTo>
                <a:cubicBezTo>
                  <a:pt x="5584" y="774"/>
                  <a:pt x="5584" y="773"/>
                  <a:pt x="5584" y="772"/>
                </a:cubicBezTo>
                <a:lnTo>
                  <a:pt x="5584" y="770"/>
                </a:lnTo>
                <a:lnTo>
                  <a:pt x="5582" y="769"/>
                </a:lnTo>
                <a:cubicBezTo>
                  <a:pt x="5582" y="769"/>
                  <a:pt x="5582" y="770"/>
                  <a:pt x="5582" y="772"/>
                </a:cubicBezTo>
                <a:cubicBezTo>
                  <a:pt x="5582" y="774"/>
                  <a:pt x="5582" y="775"/>
                  <a:pt x="5583" y="775"/>
                </a:cubicBezTo>
                <a:close/>
                <a:moveTo>
                  <a:pt x="5627" y="574"/>
                </a:moveTo>
                <a:cubicBezTo>
                  <a:pt x="5628" y="574"/>
                  <a:pt x="5629" y="574"/>
                  <a:pt x="5629" y="573"/>
                </a:cubicBezTo>
                <a:cubicBezTo>
                  <a:pt x="5630" y="572"/>
                  <a:pt x="5631" y="571"/>
                  <a:pt x="5631" y="569"/>
                </a:cubicBezTo>
                <a:cubicBezTo>
                  <a:pt x="5632" y="567"/>
                  <a:pt x="5633" y="565"/>
                  <a:pt x="5633" y="563"/>
                </a:cubicBezTo>
                <a:lnTo>
                  <a:pt x="5633" y="561"/>
                </a:lnTo>
                <a:cubicBezTo>
                  <a:pt x="5633" y="561"/>
                  <a:pt x="5633" y="561"/>
                  <a:pt x="5633" y="561"/>
                </a:cubicBezTo>
                <a:lnTo>
                  <a:pt x="5634" y="560"/>
                </a:lnTo>
                <a:cubicBezTo>
                  <a:pt x="5635" y="560"/>
                  <a:pt x="5636" y="559"/>
                  <a:pt x="5636" y="557"/>
                </a:cubicBezTo>
                <a:cubicBezTo>
                  <a:pt x="5636" y="556"/>
                  <a:pt x="5636" y="556"/>
                  <a:pt x="5636" y="556"/>
                </a:cubicBezTo>
                <a:lnTo>
                  <a:pt x="5634" y="557"/>
                </a:lnTo>
                <a:cubicBezTo>
                  <a:pt x="5633" y="557"/>
                  <a:pt x="5632" y="556"/>
                  <a:pt x="5630" y="555"/>
                </a:cubicBezTo>
                <a:lnTo>
                  <a:pt x="5628" y="553"/>
                </a:lnTo>
                <a:lnTo>
                  <a:pt x="5627" y="553"/>
                </a:lnTo>
                <a:lnTo>
                  <a:pt x="5629" y="556"/>
                </a:lnTo>
                <a:cubicBezTo>
                  <a:pt x="5629" y="557"/>
                  <a:pt x="5629" y="558"/>
                  <a:pt x="5627" y="558"/>
                </a:cubicBezTo>
                <a:cubicBezTo>
                  <a:pt x="5626" y="558"/>
                  <a:pt x="5626" y="558"/>
                  <a:pt x="5626" y="559"/>
                </a:cubicBezTo>
                <a:lnTo>
                  <a:pt x="5627" y="560"/>
                </a:lnTo>
                <a:cubicBezTo>
                  <a:pt x="5628" y="561"/>
                  <a:pt x="5629" y="563"/>
                  <a:pt x="5629" y="565"/>
                </a:cubicBezTo>
                <a:cubicBezTo>
                  <a:pt x="5629" y="568"/>
                  <a:pt x="5628" y="570"/>
                  <a:pt x="5625" y="570"/>
                </a:cubicBezTo>
                <a:lnTo>
                  <a:pt x="5621" y="569"/>
                </a:lnTo>
                <a:cubicBezTo>
                  <a:pt x="5621" y="570"/>
                  <a:pt x="5622" y="571"/>
                  <a:pt x="5624" y="572"/>
                </a:cubicBezTo>
                <a:cubicBezTo>
                  <a:pt x="5625" y="573"/>
                  <a:pt x="5627" y="574"/>
                  <a:pt x="5627" y="574"/>
                </a:cubicBezTo>
                <a:close/>
                <a:moveTo>
                  <a:pt x="5619" y="539"/>
                </a:moveTo>
                <a:lnTo>
                  <a:pt x="5621" y="539"/>
                </a:lnTo>
                <a:cubicBezTo>
                  <a:pt x="5621" y="538"/>
                  <a:pt x="5622" y="536"/>
                  <a:pt x="5622" y="534"/>
                </a:cubicBezTo>
                <a:cubicBezTo>
                  <a:pt x="5623" y="533"/>
                  <a:pt x="5624" y="531"/>
                  <a:pt x="5624" y="529"/>
                </a:cubicBezTo>
                <a:cubicBezTo>
                  <a:pt x="5624" y="528"/>
                  <a:pt x="5625" y="527"/>
                  <a:pt x="5625" y="526"/>
                </a:cubicBezTo>
                <a:cubicBezTo>
                  <a:pt x="5625" y="525"/>
                  <a:pt x="5624" y="525"/>
                  <a:pt x="5624" y="525"/>
                </a:cubicBezTo>
                <a:cubicBezTo>
                  <a:pt x="5624" y="525"/>
                  <a:pt x="5622" y="528"/>
                  <a:pt x="5620" y="535"/>
                </a:cubicBezTo>
                <a:lnTo>
                  <a:pt x="5619" y="539"/>
                </a:lnTo>
                <a:close/>
                <a:moveTo>
                  <a:pt x="5680" y="435"/>
                </a:moveTo>
                <a:cubicBezTo>
                  <a:pt x="5681" y="435"/>
                  <a:pt x="5682" y="434"/>
                  <a:pt x="5683" y="431"/>
                </a:cubicBezTo>
                <a:cubicBezTo>
                  <a:pt x="5685" y="427"/>
                  <a:pt x="5686" y="425"/>
                  <a:pt x="5686" y="424"/>
                </a:cubicBezTo>
                <a:cubicBezTo>
                  <a:pt x="5686" y="424"/>
                  <a:pt x="5686" y="424"/>
                  <a:pt x="5685" y="424"/>
                </a:cubicBezTo>
                <a:cubicBezTo>
                  <a:pt x="5684" y="424"/>
                  <a:pt x="5683" y="424"/>
                  <a:pt x="5682" y="425"/>
                </a:cubicBezTo>
                <a:cubicBezTo>
                  <a:pt x="5680" y="426"/>
                  <a:pt x="5679" y="428"/>
                  <a:pt x="5679" y="430"/>
                </a:cubicBezTo>
                <a:lnTo>
                  <a:pt x="5679" y="432"/>
                </a:lnTo>
                <a:cubicBezTo>
                  <a:pt x="5679" y="434"/>
                  <a:pt x="5680" y="435"/>
                  <a:pt x="5680" y="435"/>
                </a:cubicBezTo>
                <a:close/>
                <a:moveTo>
                  <a:pt x="5687" y="418"/>
                </a:moveTo>
                <a:cubicBezTo>
                  <a:pt x="5688" y="418"/>
                  <a:pt x="5689" y="416"/>
                  <a:pt x="5691" y="413"/>
                </a:cubicBezTo>
                <a:lnTo>
                  <a:pt x="5692" y="409"/>
                </a:lnTo>
                <a:lnTo>
                  <a:pt x="5692" y="409"/>
                </a:lnTo>
                <a:cubicBezTo>
                  <a:pt x="5691" y="409"/>
                  <a:pt x="5691" y="409"/>
                  <a:pt x="5690" y="410"/>
                </a:cubicBezTo>
                <a:cubicBezTo>
                  <a:pt x="5690" y="411"/>
                  <a:pt x="5689" y="412"/>
                  <a:pt x="5688" y="414"/>
                </a:cubicBezTo>
                <a:cubicBezTo>
                  <a:pt x="5688" y="415"/>
                  <a:pt x="5687" y="416"/>
                  <a:pt x="5687" y="417"/>
                </a:cubicBezTo>
                <a:lnTo>
                  <a:pt x="5687" y="418"/>
                </a:lnTo>
                <a:close/>
                <a:moveTo>
                  <a:pt x="5695" y="402"/>
                </a:moveTo>
                <a:cubicBezTo>
                  <a:pt x="5696" y="402"/>
                  <a:pt x="5697" y="401"/>
                  <a:pt x="5697" y="399"/>
                </a:cubicBezTo>
                <a:cubicBezTo>
                  <a:pt x="5697" y="399"/>
                  <a:pt x="5697" y="398"/>
                  <a:pt x="5696" y="397"/>
                </a:cubicBezTo>
                <a:cubicBezTo>
                  <a:pt x="5696" y="397"/>
                  <a:pt x="5695" y="397"/>
                  <a:pt x="5695" y="397"/>
                </a:cubicBezTo>
                <a:cubicBezTo>
                  <a:pt x="5694" y="397"/>
                  <a:pt x="5694" y="397"/>
                  <a:pt x="5694" y="399"/>
                </a:cubicBezTo>
                <a:cubicBezTo>
                  <a:pt x="5694" y="401"/>
                  <a:pt x="5694" y="402"/>
                  <a:pt x="5695" y="402"/>
                </a:cubicBezTo>
                <a:close/>
                <a:moveTo>
                  <a:pt x="5710" y="442"/>
                </a:moveTo>
                <a:cubicBezTo>
                  <a:pt x="5711" y="441"/>
                  <a:pt x="5711" y="441"/>
                  <a:pt x="5711" y="440"/>
                </a:cubicBezTo>
                <a:cubicBezTo>
                  <a:pt x="5711" y="439"/>
                  <a:pt x="5711" y="438"/>
                  <a:pt x="5710" y="438"/>
                </a:cubicBezTo>
                <a:cubicBezTo>
                  <a:pt x="5709" y="437"/>
                  <a:pt x="5709" y="436"/>
                  <a:pt x="5708" y="436"/>
                </a:cubicBezTo>
                <a:cubicBezTo>
                  <a:pt x="5707" y="436"/>
                  <a:pt x="5706" y="437"/>
                  <a:pt x="5706" y="439"/>
                </a:cubicBezTo>
                <a:cubicBezTo>
                  <a:pt x="5706" y="440"/>
                  <a:pt x="5706" y="440"/>
                  <a:pt x="5707" y="441"/>
                </a:cubicBezTo>
                <a:cubicBezTo>
                  <a:pt x="5708" y="442"/>
                  <a:pt x="5709" y="442"/>
                  <a:pt x="5709" y="442"/>
                </a:cubicBezTo>
                <a:lnTo>
                  <a:pt x="5710" y="442"/>
                </a:lnTo>
                <a:close/>
                <a:moveTo>
                  <a:pt x="5720" y="431"/>
                </a:moveTo>
                <a:cubicBezTo>
                  <a:pt x="5722" y="431"/>
                  <a:pt x="5723" y="429"/>
                  <a:pt x="5723" y="427"/>
                </a:cubicBezTo>
                <a:lnTo>
                  <a:pt x="5723" y="426"/>
                </a:lnTo>
                <a:cubicBezTo>
                  <a:pt x="5723" y="425"/>
                  <a:pt x="5723" y="425"/>
                  <a:pt x="5722" y="425"/>
                </a:cubicBezTo>
                <a:lnTo>
                  <a:pt x="5722" y="426"/>
                </a:lnTo>
                <a:cubicBezTo>
                  <a:pt x="5721" y="428"/>
                  <a:pt x="5720" y="428"/>
                  <a:pt x="5719" y="428"/>
                </a:cubicBezTo>
                <a:lnTo>
                  <a:pt x="5717" y="427"/>
                </a:lnTo>
                <a:lnTo>
                  <a:pt x="5718" y="429"/>
                </a:lnTo>
                <a:cubicBezTo>
                  <a:pt x="5718" y="430"/>
                  <a:pt x="5719" y="431"/>
                  <a:pt x="5720" y="431"/>
                </a:cubicBezTo>
                <a:close/>
                <a:moveTo>
                  <a:pt x="5733" y="419"/>
                </a:moveTo>
                <a:cubicBezTo>
                  <a:pt x="5734" y="419"/>
                  <a:pt x="5734" y="419"/>
                  <a:pt x="5734" y="419"/>
                </a:cubicBezTo>
                <a:cubicBezTo>
                  <a:pt x="5734" y="417"/>
                  <a:pt x="5733" y="417"/>
                  <a:pt x="5731" y="417"/>
                </a:cubicBezTo>
                <a:cubicBezTo>
                  <a:pt x="5729" y="417"/>
                  <a:pt x="5729" y="417"/>
                  <a:pt x="5729" y="418"/>
                </a:cubicBezTo>
                <a:cubicBezTo>
                  <a:pt x="5729" y="419"/>
                  <a:pt x="5730" y="419"/>
                  <a:pt x="5731" y="419"/>
                </a:cubicBezTo>
                <a:lnTo>
                  <a:pt x="5733" y="419"/>
                </a:lnTo>
                <a:close/>
                <a:moveTo>
                  <a:pt x="5745" y="404"/>
                </a:moveTo>
                <a:cubicBezTo>
                  <a:pt x="5746" y="404"/>
                  <a:pt x="5747" y="403"/>
                  <a:pt x="5750" y="402"/>
                </a:cubicBezTo>
                <a:cubicBezTo>
                  <a:pt x="5752" y="400"/>
                  <a:pt x="5753" y="398"/>
                  <a:pt x="5753" y="397"/>
                </a:cubicBezTo>
                <a:cubicBezTo>
                  <a:pt x="5753" y="396"/>
                  <a:pt x="5753" y="395"/>
                  <a:pt x="5753" y="395"/>
                </a:cubicBezTo>
                <a:cubicBezTo>
                  <a:pt x="5752" y="395"/>
                  <a:pt x="5751" y="397"/>
                  <a:pt x="5748" y="399"/>
                </a:cubicBezTo>
                <a:cubicBezTo>
                  <a:pt x="5746" y="402"/>
                  <a:pt x="5745" y="404"/>
                  <a:pt x="5745" y="404"/>
                </a:cubicBezTo>
                <a:close/>
                <a:moveTo>
                  <a:pt x="5756" y="392"/>
                </a:moveTo>
                <a:cubicBezTo>
                  <a:pt x="5756" y="392"/>
                  <a:pt x="5757" y="392"/>
                  <a:pt x="5759" y="391"/>
                </a:cubicBezTo>
                <a:cubicBezTo>
                  <a:pt x="5761" y="389"/>
                  <a:pt x="5762" y="388"/>
                  <a:pt x="5763" y="387"/>
                </a:cubicBezTo>
                <a:cubicBezTo>
                  <a:pt x="5764" y="387"/>
                  <a:pt x="5765" y="386"/>
                  <a:pt x="5765" y="385"/>
                </a:cubicBezTo>
                <a:cubicBezTo>
                  <a:pt x="5765" y="384"/>
                  <a:pt x="5764" y="384"/>
                  <a:pt x="5764" y="384"/>
                </a:cubicBezTo>
                <a:cubicBezTo>
                  <a:pt x="5763" y="384"/>
                  <a:pt x="5761" y="385"/>
                  <a:pt x="5759" y="388"/>
                </a:cubicBezTo>
                <a:cubicBezTo>
                  <a:pt x="5756" y="390"/>
                  <a:pt x="5755" y="392"/>
                  <a:pt x="5755" y="392"/>
                </a:cubicBezTo>
                <a:lnTo>
                  <a:pt x="5756" y="392"/>
                </a:lnTo>
                <a:close/>
                <a:moveTo>
                  <a:pt x="5783" y="367"/>
                </a:moveTo>
                <a:cubicBezTo>
                  <a:pt x="5783" y="367"/>
                  <a:pt x="5785" y="366"/>
                  <a:pt x="5786" y="364"/>
                </a:cubicBezTo>
                <a:lnTo>
                  <a:pt x="5788" y="362"/>
                </a:lnTo>
                <a:lnTo>
                  <a:pt x="5788" y="361"/>
                </a:lnTo>
                <a:lnTo>
                  <a:pt x="5786" y="362"/>
                </a:lnTo>
                <a:cubicBezTo>
                  <a:pt x="5783" y="363"/>
                  <a:pt x="5782" y="364"/>
                  <a:pt x="5782" y="366"/>
                </a:cubicBezTo>
                <a:cubicBezTo>
                  <a:pt x="5782" y="367"/>
                  <a:pt x="5782" y="367"/>
                  <a:pt x="5783" y="367"/>
                </a:cubicBezTo>
                <a:close/>
                <a:moveTo>
                  <a:pt x="5852" y="267"/>
                </a:moveTo>
                <a:cubicBezTo>
                  <a:pt x="5853" y="267"/>
                  <a:pt x="5854" y="265"/>
                  <a:pt x="5856" y="262"/>
                </a:cubicBezTo>
                <a:lnTo>
                  <a:pt x="5858" y="260"/>
                </a:lnTo>
                <a:lnTo>
                  <a:pt x="5858" y="259"/>
                </a:lnTo>
                <a:lnTo>
                  <a:pt x="5855" y="262"/>
                </a:lnTo>
                <a:cubicBezTo>
                  <a:pt x="5853" y="264"/>
                  <a:pt x="5851" y="265"/>
                  <a:pt x="5851" y="266"/>
                </a:cubicBezTo>
                <a:cubicBezTo>
                  <a:pt x="5851" y="266"/>
                  <a:pt x="5852" y="267"/>
                  <a:pt x="5852" y="267"/>
                </a:cubicBezTo>
                <a:close/>
                <a:moveTo>
                  <a:pt x="5858" y="231"/>
                </a:moveTo>
                <a:cubicBezTo>
                  <a:pt x="5860" y="231"/>
                  <a:pt x="5862" y="228"/>
                  <a:pt x="5866" y="220"/>
                </a:cubicBezTo>
                <a:cubicBezTo>
                  <a:pt x="5869" y="216"/>
                  <a:pt x="5870" y="214"/>
                  <a:pt x="5870" y="213"/>
                </a:cubicBezTo>
                <a:lnTo>
                  <a:pt x="5869" y="213"/>
                </a:lnTo>
                <a:cubicBezTo>
                  <a:pt x="5869" y="213"/>
                  <a:pt x="5868" y="213"/>
                  <a:pt x="5867" y="215"/>
                </a:cubicBezTo>
                <a:cubicBezTo>
                  <a:pt x="5865" y="218"/>
                  <a:pt x="5864" y="219"/>
                  <a:pt x="5864" y="220"/>
                </a:cubicBezTo>
                <a:lnTo>
                  <a:pt x="5864" y="222"/>
                </a:lnTo>
                <a:cubicBezTo>
                  <a:pt x="5864" y="223"/>
                  <a:pt x="5864" y="223"/>
                  <a:pt x="5863" y="223"/>
                </a:cubicBezTo>
                <a:cubicBezTo>
                  <a:pt x="5862" y="223"/>
                  <a:pt x="5862" y="223"/>
                  <a:pt x="5861" y="224"/>
                </a:cubicBezTo>
                <a:cubicBezTo>
                  <a:pt x="5860" y="225"/>
                  <a:pt x="5860" y="225"/>
                  <a:pt x="5860" y="226"/>
                </a:cubicBezTo>
                <a:cubicBezTo>
                  <a:pt x="5860" y="227"/>
                  <a:pt x="5860" y="228"/>
                  <a:pt x="5859" y="229"/>
                </a:cubicBezTo>
                <a:cubicBezTo>
                  <a:pt x="5859" y="230"/>
                  <a:pt x="5859" y="230"/>
                  <a:pt x="5858" y="231"/>
                </a:cubicBezTo>
                <a:lnTo>
                  <a:pt x="5857" y="231"/>
                </a:lnTo>
                <a:lnTo>
                  <a:pt x="5858" y="231"/>
                </a:lnTo>
                <a:close/>
                <a:moveTo>
                  <a:pt x="5871" y="209"/>
                </a:moveTo>
                <a:cubicBezTo>
                  <a:pt x="5872" y="209"/>
                  <a:pt x="5873" y="208"/>
                  <a:pt x="5874" y="206"/>
                </a:cubicBezTo>
                <a:cubicBezTo>
                  <a:pt x="5875" y="203"/>
                  <a:pt x="5877" y="201"/>
                  <a:pt x="5879" y="197"/>
                </a:cubicBezTo>
                <a:cubicBezTo>
                  <a:pt x="5881" y="192"/>
                  <a:pt x="5882" y="189"/>
                  <a:pt x="5882" y="188"/>
                </a:cubicBezTo>
                <a:lnTo>
                  <a:pt x="5882" y="188"/>
                </a:lnTo>
                <a:lnTo>
                  <a:pt x="5880" y="190"/>
                </a:lnTo>
                <a:cubicBezTo>
                  <a:pt x="5877" y="193"/>
                  <a:pt x="5876" y="195"/>
                  <a:pt x="5876" y="195"/>
                </a:cubicBezTo>
                <a:cubicBezTo>
                  <a:pt x="5876" y="199"/>
                  <a:pt x="5874" y="203"/>
                  <a:pt x="5872" y="206"/>
                </a:cubicBezTo>
                <a:cubicBezTo>
                  <a:pt x="5870" y="207"/>
                  <a:pt x="5870" y="208"/>
                  <a:pt x="5870" y="208"/>
                </a:cubicBezTo>
                <a:cubicBezTo>
                  <a:pt x="5870" y="209"/>
                  <a:pt x="5870" y="209"/>
                  <a:pt x="5871" y="209"/>
                </a:cubicBezTo>
                <a:close/>
                <a:moveTo>
                  <a:pt x="5876" y="246"/>
                </a:moveTo>
                <a:cubicBezTo>
                  <a:pt x="5877" y="246"/>
                  <a:pt x="5878" y="244"/>
                  <a:pt x="5879" y="241"/>
                </a:cubicBezTo>
                <a:cubicBezTo>
                  <a:pt x="5880" y="239"/>
                  <a:pt x="5881" y="238"/>
                  <a:pt x="5881" y="237"/>
                </a:cubicBezTo>
                <a:lnTo>
                  <a:pt x="5881" y="237"/>
                </a:lnTo>
                <a:cubicBezTo>
                  <a:pt x="5880" y="237"/>
                  <a:pt x="5879" y="238"/>
                  <a:pt x="5878" y="240"/>
                </a:cubicBezTo>
                <a:cubicBezTo>
                  <a:pt x="5877" y="243"/>
                  <a:pt x="5876" y="245"/>
                  <a:pt x="5876" y="245"/>
                </a:cubicBezTo>
                <a:lnTo>
                  <a:pt x="5876" y="246"/>
                </a:lnTo>
                <a:close/>
                <a:moveTo>
                  <a:pt x="5871" y="236"/>
                </a:moveTo>
                <a:cubicBezTo>
                  <a:pt x="5872" y="236"/>
                  <a:pt x="5872" y="236"/>
                  <a:pt x="5872" y="235"/>
                </a:cubicBezTo>
                <a:cubicBezTo>
                  <a:pt x="5874" y="232"/>
                  <a:pt x="5875" y="228"/>
                  <a:pt x="5878" y="224"/>
                </a:cubicBezTo>
                <a:cubicBezTo>
                  <a:pt x="5880" y="221"/>
                  <a:pt x="5885" y="211"/>
                  <a:pt x="5894" y="195"/>
                </a:cubicBezTo>
                <a:cubicBezTo>
                  <a:pt x="5902" y="179"/>
                  <a:pt x="5907" y="171"/>
                  <a:pt x="5908" y="171"/>
                </a:cubicBezTo>
                <a:lnTo>
                  <a:pt x="5910" y="171"/>
                </a:lnTo>
                <a:lnTo>
                  <a:pt x="5909" y="167"/>
                </a:lnTo>
                <a:cubicBezTo>
                  <a:pt x="5909" y="163"/>
                  <a:pt x="5910" y="159"/>
                  <a:pt x="5912" y="155"/>
                </a:cubicBezTo>
                <a:cubicBezTo>
                  <a:pt x="5915" y="148"/>
                  <a:pt x="5919" y="139"/>
                  <a:pt x="5922" y="129"/>
                </a:cubicBezTo>
                <a:cubicBezTo>
                  <a:pt x="5931" y="104"/>
                  <a:pt x="5935" y="87"/>
                  <a:pt x="5935" y="80"/>
                </a:cubicBezTo>
                <a:cubicBezTo>
                  <a:pt x="5935" y="78"/>
                  <a:pt x="5935" y="78"/>
                  <a:pt x="5934" y="78"/>
                </a:cubicBezTo>
                <a:cubicBezTo>
                  <a:pt x="5933" y="78"/>
                  <a:pt x="5932" y="81"/>
                  <a:pt x="5931" y="88"/>
                </a:cubicBezTo>
                <a:cubicBezTo>
                  <a:pt x="5930" y="93"/>
                  <a:pt x="5928" y="101"/>
                  <a:pt x="5925" y="112"/>
                </a:cubicBezTo>
                <a:cubicBezTo>
                  <a:pt x="5922" y="122"/>
                  <a:pt x="5919" y="131"/>
                  <a:pt x="5915" y="140"/>
                </a:cubicBezTo>
                <a:cubicBezTo>
                  <a:pt x="5911" y="148"/>
                  <a:pt x="5904" y="164"/>
                  <a:pt x="5893" y="188"/>
                </a:cubicBezTo>
                <a:cubicBezTo>
                  <a:pt x="5882" y="212"/>
                  <a:pt x="5875" y="225"/>
                  <a:pt x="5874" y="227"/>
                </a:cubicBezTo>
                <a:cubicBezTo>
                  <a:pt x="5872" y="229"/>
                  <a:pt x="5871" y="232"/>
                  <a:pt x="5871" y="234"/>
                </a:cubicBezTo>
                <a:lnTo>
                  <a:pt x="5871" y="236"/>
                </a:lnTo>
                <a:close/>
                <a:moveTo>
                  <a:pt x="5922" y="38"/>
                </a:moveTo>
                <a:cubicBezTo>
                  <a:pt x="5922" y="38"/>
                  <a:pt x="5923" y="38"/>
                  <a:pt x="5923" y="38"/>
                </a:cubicBezTo>
                <a:cubicBezTo>
                  <a:pt x="5923" y="37"/>
                  <a:pt x="5922" y="36"/>
                  <a:pt x="5921" y="34"/>
                </a:cubicBezTo>
                <a:cubicBezTo>
                  <a:pt x="5920" y="33"/>
                  <a:pt x="5916" y="32"/>
                  <a:pt x="5911" y="32"/>
                </a:cubicBezTo>
                <a:lnTo>
                  <a:pt x="5909" y="32"/>
                </a:lnTo>
                <a:cubicBezTo>
                  <a:pt x="5906" y="32"/>
                  <a:pt x="5905" y="32"/>
                  <a:pt x="5905" y="32"/>
                </a:cubicBezTo>
                <a:cubicBezTo>
                  <a:pt x="5905" y="34"/>
                  <a:pt x="5908" y="35"/>
                  <a:pt x="5914" y="37"/>
                </a:cubicBezTo>
                <a:cubicBezTo>
                  <a:pt x="5917" y="38"/>
                  <a:pt x="5920" y="38"/>
                  <a:pt x="5922" y="38"/>
                </a:cubicBezTo>
                <a:close/>
                <a:moveTo>
                  <a:pt x="5844" y="113"/>
                </a:moveTo>
                <a:cubicBezTo>
                  <a:pt x="5844" y="113"/>
                  <a:pt x="5845" y="112"/>
                  <a:pt x="5847" y="109"/>
                </a:cubicBezTo>
                <a:lnTo>
                  <a:pt x="5849" y="106"/>
                </a:lnTo>
                <a:cubicBezTo>
                  <a:pt x="5849" y="106"/>
                  <a:pt x="5848" y="107"/>
                  <a:pt x="5847" y="108"/>
                </a:cubicBezTo>
                <a:cubicBezTo>
                  <a:pt x="5844" y="110"/>
                  <a:pt x="5843" y="111"/>
                  <a:pt x="5843" y="112"/>
                </a:cubicBezTo>
                <a:cubicBezTo>
                  <a:pt x="5843" y="113"/>
                  <a:pt x="5843" y="113"/>
                  <a:pt x="5844" y="113"/>
                </a:cubicBezTo>
                <a:close/>
                <a:moveTo>
                  <a:pt x="5835" y="143"/>
                </a:moveTo>
                <a:cubicBezTo>
                  <a:pt x="5836" y="143"/>
                  <a:pt x="5837" y="141"/>
                  <a:pt x="5839" y="139"/>
                </a:cubicBezTo>
                <a:lnTo>
                  <a:pt x="5841" y="136"/>
                </a:lnTo>
                <a:lnTo>
                  <a:pt x="5840" y="136"/>
                </a:lnTo>
                <a:lnTo>
                  <a:pt x="5838" y="138"/>
                </a:lnTo>
                <a:cubicBezTo>
                  <a:pt x="5835" y="140"/>
                  <a:pt x="5834" y="141"/>
                  <a:pt x="5834" y="142"/>
                </a:cubicBezTo>
                <a:cubicBezTo>
                  <a:pt x="5834" y="142"/>
                  <a:pt x="5834" y="143"/>
                  <a:pt x="5835" y="143"/>
                </a:cubicBezTo>
                <a:close/>
                <a:moveTo>
                  <a:pt x="5826" y="136"/>
                </a:moveTo>
                <a:cubicBezTo>
                  <a:pt x="5827" y="136"/>
                  <a:pt x="5827" y="136"/>
                  <a:pt x="5828" y="134"/>
                </a:cubicBezTo>
                <a:cubicBezTo>
                  <a:pt x="5833" y="127"/>
                  <a:pt x="5835" y="123"/>
                  <a:pt x="5835" y="122"/>
                </a:cubicBezTo>
                <a:cubicBezTo>
                  <a:pt x="5835" y="122"/>
                  <a:pt x="5833" y="124"/>
                  <a:pt x="5830" y="129"/>
                </a:cubicBezTo>
                <a:cubicBezTo>
                  <a:pt x="5827" y="133"/>
                  <a:pt x="5826" y="135"/>
                  <a:pt x="5826" y="136"/>
                </a:cubicBezTo>
                <a:close/>
                <a:moveTo>
                  <a:pt x="5811" y="155"/>
                </a:moveTo>
                <a:cubicBezTo>
                  <a:pt x="5811" y="155"/>
                  <a:pt x="5812" y="155"/>
                  <a:pt x="5813" y="154"/>
                </a:cubicBezTo>
                <a:cubicBezTo>
                  <a:pt x="5814" y="154"/>
                  <a:pt x="5815" y="152"/>
                  <a:pt x="5817" y="151"/>
                </a:cubicBezTo>
                <a:cubicBezTo>
                  <a:pt x="5818" y="149"/>
                  <a:pt x="5819" y="148"/>
                  <a:pt x="5820" y="146"/>
                </a:cubicBezTo>
                <a:cubicBezTo>
                  <a:pt x="5820" y="144"/>
                  <a:pt x="5821" y="144"/>
                  <a:pt x="5821" y="143"/>
                </a:cubicBezTo>
                <a:lnTo>
                  <a:pt x="5821" y="143"/>
                </a:lnTo>
                <a:cubicBezTo>
                  <a:pt x="5820" y="143"/>
                  <a:pt x="5817" y="145"/>
                  <a:pt x="5814" y="150"/>
                </a:cubicBezTo>
                <a:cubicBezTo>
                  <a:pt x="5812" y="153"/>
                  <a:pt x="5811" y="155"/>
                  <a:pt x="5811" y="155"/>
                </a:cubicBezTo>
                <a:close/>
                <a:moveTo>
                  <a:pt x="5795" y="178"/>
                </a:moveTo>
                <a:cubicBezTo>
                  <a:pt x="5795" y="178"/>
                  <a:pt x="5796" y="178"/>
                  <a:pt x="5797" y="177"/>
                </a:cubicBezTo>
                <a:cubicBezTo>
                  <a:pt x="5798" y="176"/>
                  <a:pt x="5799" y="175"/>
                  <a:pt x="5800" y="173"/>
                </a:cubicBezTo>
                <a:cubicBezTo>
                  <a:pt x="5801" y="172"/>
                  <a:pt x="5802" y="170"/>
                  <a:pt x="5803" y="169"/>
                </a:cubicBezTo>
                <a:cubicBezTo>
                  <a:pt x="5804" y="168"/>
                  <a:pt x="5805" y="167"/>
                  <a:pt x="5805" y="166"/>
                </a:cubicBezTo>
                <a:cubicBezTo>
                  <a:pt x="5804" y="166"/>
                  <a:pt x="5802" y="167"/>
                  <a:pt x="5800" y="170"/>
                </a:cubicBezTo>
                <a:cubicBezTo>
                  <a:pt x="5797" y="172"/>
                  <a:pt x="5796" y="174"/>
                  <a:pt x="5796" y="175"/>
                </a:cubicBezTo>
                <a:lnTo>
                  <a:pt x="5796" y="175"/>
                </a:lnTo>
                <a:cubicBezTo>
                  <a:pt x="5797" y="175"/>
                  <a:pt x="5797" y="175"/>
                  <a:pt x="5797" y="176"/>
                </a:cubicBezTo>
                <a:lnTo>
                  <a:pt x="5796" y="178"/>
                </a:lnTo>
                <a:lnTo>
                  <a:pt x="5795" y="178"/>
                </a:lnTo>
                <a:close/>
                <a:moveTo>
                  <a:pt x="5800" y="193"/>
                </a:moveTo>
                <a:cubicBezTo>
                  <a:pt x="5801" y="193"/>
                  <a:pt x="5802" y="192"/>
                  <a:pt x="5804" y="189"/>
                </a:cubicBezTo>
                <a:lnTo>
                  <a:pt x="5806" y="187"/>
                </a:lnTo>
                <a:lnTo>
                  <a:pt x="5806" y="186"/>
                </a:lnTo>
                <a:lnTo>
                  <a:pt x="5803" y="188"/>
                </a:lnTo>
                <a:cubicBezTo>
                  <a:pt x="5800" y="191"/>
                  <a:pt x="5799" y="192"/>
                  <a:pt x="5799" y="193"/>
                </a:cubicBezTo>
                <a:cubicBezTo>
                  <a:pt x="5799" y="193"/>
                  <a:pt x="5799" y="193"/>
                  <a:pt x="5800" y="193"/>
                </a:cubicBezTo>
                <a:close/>
                <a:moveTo>
                  <a:pt x="5784" y="221"/>
                </a:moveTo>
                <a:cubicBezTo>
                  <a:pt x="5785" y="221"/>
                  <a:pt x="5785" y="220"/>
                  <a:pt x="5785" y="220"/>
                </a:cubicBezTo>
                <a:cubicBezTo>
                  <a:pt x="5786" y="219"/>
                  <a:pt x="5787" y="218"/>
                  <a:pt x="5788" y="216"/>
                </a:cubicBezTo>
                <a:cubicBezTo>
                  <a:pt x="5788" y="214"/>
                  <a:pt x="5790" y="213"/>
                  <a:pt x="5790" y="210"/>
                </a:cubicBezTo>
                <a:cubicBezTo>
                  <a:pt x="5791" y="209"/>
                  <a:pt x="5792" y="207"/>
                  <a:pt x="5793" y="205"/>
                </a:cubicBezTo>
                <a:cubicBezTo>
                  <a:pt x="5794" y="204"/>
                  <a:pt x="5794" y="203"/>
                  <a:pt x="5794" y="202"/>
                </a:cubicBezTo>
                <a:cubicBezTo>
                  <a:pt x="5793" y="202"/>
                  <a:pt x="5792" y="205"/>
                  <a:pt x="5789" y="210"/>
                </a:cubicBezTo>
                <a:cubicBezTo>
                  <a:pt x="5786" y="215"/>
                  <a:pt x="5784" y="218"/>
                  <a:pt x="5784" y="220"/>
                </a:cubicBezTo>
                <a:lnTo>
                  <a:pt x="5784" y="221"/>
                </a:lnTo>
                <a:close/>
                <a:moveTo>
                  <a:pt x="5776" y="209"/>
                </a:moveTo>
                <a:lnTo>
                  <a:pt x="5781" y="203"/>
                </a:lnTo>
                <a:cubicBezTo>
                  <a:pt x="5788" y="193"/>
                  <a:pt x="5791" y="187"/>
                  <a:pt x="5791" y="185"/>
                </a:cubicBezTo>
                <a:lnTo>
                  <a:pt x="5791" y="185"/>
                </a:lnTo>
                <a:lnTo>
                  <a:pt x="5786" y="190"/>
                </a:lnTo>
                <a:cubicBezTo>
                  <a:pt x="5782" y="195"/>
                  <a:pt x="5780" y="198"/>
                  <a:pt x="5780" y="198"/>
                </a:cubicBezTo>
                <a:cubicBezTo>
                  <a:pt x="5780" y="198"/>
                  <a:pt x="5780" y="201"/>
                  <a:pt x="5778" y="205"/>
                </a:cubicBezTo>
                <a:lnTo>
                  <a:pt x="5776" y="209"/>
                </a:lnTo>
                <a:close/>
                <a:moveTo>
                  <a:pt x="5764" y="230"/>
                </a:moveTo>
                <a:cubicBezTo>
                  <a:pt x="5764" y="230"/>
                  <a:pt x="5766" y="227"/>
                  <a:pt x="5770" y="220"/>
                </a:cubicBezTo>
                <a:cubicBezTo>
                  <a:pt x="5773" y="216"/>
                  <a:pt x="5774" y="213"/>
                  <a:pt x="5774" y="212"/>
                </a:cubicBezTo>
                <a:lnTo>
                  <a:pt x="5774" y="211"/>
                </a:lnTo>
                <a:cubicBezTo>
                  <a:pt x="5772" y="211"/>
                  <a:pt x="5771" y="213"/>
                  <a:pt x="5769" y="217"/>
                </a:cubicBezTo>
                <a:cubicBezTo>
                  <a:pt x="5767" y="221"/>
                  <a:pt x="5766" y="223"/>
                  <a:pt x="5765" y="223"/>
                </a:cubicBezTo>
                <a:cubicBezTo>
                  <a:pt x="5764" y="223"/>
                  <a:pt x="5763" y="224"/>
                  <a:pt x="5763" y="227"/>
                </a:cubicBezTo>
                <a:cubicBezTo>
                  <a:pt x="5763" y="228"/>
                  <a:pt x="5763" y="229"/>
                  <a:pt x="5764" y="230"/>
                </a:cubicBezTo>
                <a:close/>
                <a:moveTo>
                  <a:pt x="5755" y="243"/>
                </a:moveTo>
                <a:cubicBezTo>
                  <a:pt x="5757" y="242"/>
                  <a:pt x="5759" y="240"/>
                  <a:pt x="5760" y="237"/>
                </a:cubicBezTo>
                <a:cubicBezTo>
                  <a:pt x="5761" y="235"/>
                  <a:pt x="5762" y="233"/>
                  <a:pt x="5762" y="233"/>
                </a:cubicBezTo>
                <a:lnTo>
                  <a:pt x="5762" y="232"/>
                </a:lnTo>
                <a:cubicBezTo>
                  <a:pt x="5761" y="232"/>
                  <a:pt x="5759" y="234"/>
                  <a:pt x="5757" y="238"/>
                </a:cubicBezTo>
                <a:cubicBezTo>
                  <a:pt x="5756" y="240"/>
                  <a:pt x="5755" y="242"/>
                  <a:pt x="5755" y="242"/>
                </a:cubicBezTo>
                <a:lnTo>
                  <a:pt x="5755" y="243"/>
                </a:lnTo>
                <a:close/>
                <a:moveTo>
                  <a:pt x="5746" y="286"/>
                </a:moveTo>
                <a:lnTo>
                  <a:pt x="5749" y="283"/>
                </a:lnTo>
                <a:cubicBezTo>
                  <a:pt x="5750" y="281"/>
                  <a:pt x="5751" y="279"/>
                  <a:pt x="5752" y="278"/>
                </a:cubicBezTo>
                <a:cubicBezTo>
                  <a:pt x="5753" y="276"/>
                  <a:pt x="5753" y="275"/>
                  <a:pt x="5753" y="275"/>
                </a:cubicBezTo>
                <a:lnTo>
                  <a:pt x="5753" y="274"/>
                </a:lnTo>
                <a:cubicBezTo>
                  <a:pt x="5753" y="274"/>
                  <a:pt x="5753" y="274"/>
                  <a:pt x="5753" y="274"/>
                </a:cubicBezTo>
                <a:cubicBezTo>
                  <a:pt x="5752" y="274"/>
                  <a:pt x="5750" y="277"/>
                  <a:pt x="5747" y="284"/>
                </a:cubicBezTo>
                <a:lnTo>
                  <a:pt x="5746" y="286"/>
                </a:lnTo>
                <a:close/>
                <a:moveTo>
                  <a:pt x="5717" y="301"/>
                </a:moveTo>
                <a:cubicBezTo>
                  <a:pt x="5718" y="301"/>
                  <a:pt x="5719" y="300"/>
                  <a:pt x="5719" y="297"/>
                </a:cubicBezTo>
                <a:lnTo>
                  <a:pt x="5720" y="296"/>
                </a:lnTo>
                <a:cubicBezTo>
                  <a:pt x="5720" y="295"/>
                  <a:pt x="5720" y="295"/>
                  <a:pt x="5719" y="295"/>
                </a:cubicBezTo>
                <a:lnTo>
                  <a:pt x="5719" y="295"/>
                </a:lnTo>
                <a:cubicBezTo>
                  <a:pt x="5717" y="296"/>
                  <a:pt x="5717" y="297"/>
                  <a:pt x="5717" y="299"/>
                </a:cubicBezTo>
                <a:cubicBezTo>
                  <a:pt x="5717" y="300"/>
                  <a:pt x="5717" y="301"/>
                  <a:pt x="5717" y="301"/>
                </a:cubicBezTo>
                <a:close/>
                <a:moveTo>
                  <a:pt x="5702" y="333"/>
                </a:moveTo>
                <a:cubicBezTo>
                  <a:pt x="5702" y="333"/>
                  <a:pt x="5703" y="332"/>
                  <a:pt x="5703" y="331"/>
                </a:cubicBezTo>
                <a:cubicBezTo>
                  <a:pt x="5704" y="330"/>
                  <a:pt x="5704" y="330"/>
                  <a:pt x="5705" y="330"/>
                </a:cubicBezTo>
                <a:lnTo>
                  <a:pt x="5708" y="330"/>
                </a:lnTo>
                <a:lnTo>
                  <a:pt x="5707" y="328"/>
                </a:lnTo>
                <a:cubicBezTo>
                  <a:pt x="5707" y="326"/>
                  <a:pt x="5707" y="324"/>
                  <a:pt x="5708" y="321"/>
                </a:cubicBezTo>
                <a:cubicBezTo>
                  <a:pt x="5709" y="319"/>
                  <a:pt x="5710" y="316"/>
                  <a:pt x="5711" y="314"/>
                </a:cubicBezTo>
                <a:cubicBezTo>
                  <a:pt x="5713" y="312"/>
                  <a:pt x="5714" y="311"/>
                  <a:pt x="5714" y="311"/>
                </a:cubicBezTo>
                <a:lnTo>
                  <a:pt x="5715" y="311"/>
                </a:lnTo>
                <a:cubicBezTo>
                  <a:pt x="5716" y="311"/>
                  <a:pt x="5716" y="311"/>
                  <a:pt x="5716" y="311"/>
                </a:cubicBezTo>
                <a:cubicBezTo>
                  <a:pt x="5716" y="310"/>
                  <a:pt x="5715" y="309"/>
                  <a:pt x="5715" y="308"/>
                </a:cubicBezTo>
                <a:cubicBezTo>
                  <a:pt x="5714" y="307"/>
                  <a:pt x="5714" y="306"/>
                  <a:pt x="5714" y="306"/>
                </a:cubicBezTo>
                <a:cubicBezTo>
                  <a:pt x="5713" y="306"/>
                  <a:pt x="5712" y="308"/>
                  <a:pt x="5711" y="310"/>
                </a:cubicBezTo>
                <a:cubicBezTo>
                  <a:pt x="5709" y="313"/>
                  <a:pt x="5708" y="314"/>
                  <a:pt x="5708" y="315"/>
                </a:cubicBezTo>
                <a:cubicBezTo>
                  <a:pt x="5707" y="316"/>
                  <a:pt x="5706" y="316"/>
                  <a:pt x="5706" y="317"/>
                </a:cubicBezTo>
                <a:lnTo>
                  <a:pt x="5707" y="318"/>
                </a:lnTo>
                <a:cubicBezTo>
                  <a:pt x="5707" y="318"/>
                  <a:pt x="5706" y="321"/>
                  <a:pt x="5705" y="324"/>
                </a:cubicBezTo>
                <a:cubicBezTo>
                  <a:pt x="5703" y="328"/>
                  <a:pt x="5702" y="330"/>
                  <a:pt x="5702" y="332"/>
                </a:cubicBezTo>
                <a:lnTo>
                  <a:pt x="5702" y="333"/>
                </a:lnTo>
                <a:close/>
                <a:moveTo>
                  <a:pt x="5702" y="383"/>
                </a:moveTo>
                <a:cubicBezTo>
                  <a:pt x="5703" y="383"/>
                  <a:pt x="5703" y="383"/>
                  <a:pt x="5704" y="382"/>
                </a:cubicBezTo>
                <a:cubicBezTo>
                  <a:pt x="5705" y="381"/>
                  <a:pt x="5705" y="380"/>
                  <a:pt x="5705" y="380"/>
                </a:cubicBezTo>
                <a:cubicBezTo>
                  <a:pt x="5705" y="379"/>
                  <a:pt x="5704" y="379"/>
                  <a:pt x="5704" y="379"/>
                </a:cubicBezTo>
                <a:cubicBezTo>
                  <a:pt x="5702" y="379"/>
                  <a:pt x="5702" y="380"/>
                  <a:pt x="5701" y="381"/>
                </a:cubicBezTo>
                <a:cubicBezTo>
                  <a:pt x="5701" y="383"/>
                  <a:pt x="5702" y="383"/>
                  <a:pt x="5702" y="383"/>
                </a:cubicBezTo>
                <a:close/>
                <a:moveTo>
                  <a:pt x="5695" y="420"/>
                </a:moveTo>
                <a:cubicBezTo>
                  <a:pt x="5697" y="420"/>
                  <a:pt x="5704" y="413"/>
                  <a:pt x="5716" y="400"/>
                </a:cubicBezTo>
                <a:lnTo>
                  <a:pt x="5721" y="396"/>
                </a:lnTo>
                <a:cubicBezTo>
                  <a:pt x="5733" y="383"/>
                  <a:pt x="5741" y="376"/>
                  <a:pt x="5743" y="376"/>
                </a:cubicBezTo>
                <a:cubicBezTo>
                  <a:pt x="5744" y="376"/>
                  <a:pt x="5745" y="377"/>
                  <a:pt x="5745" y="379"/>
                </a:cubicBezTo>
                <a:cubicBezTo>
                  <a:pt x="5745" y="379"/>
                  <a:pt x="5745" y="380"/>
                  <a:pt x="5744" y="381"/>
                </a:cubicBezTo>
                <a:cubicBezTo>
                  <a:pt x="5743" y="382"/>
                  <a:pt x="5742" y="384"/>
                  <a:pt x="5741" y="385"/>
                </a:cubicBezTo>
                <a:cubicBezTo>
                  <a:pt x="5740" y="387"/>
                  <a:pt x="5739" y="388"/>
                  <a:pt x="5739" y="388"/>
                </a:cubicBezTo>
                <a:lnTo>
                  <a:pt x="5740" y="379"/>
                </a:lnTo>
                <a:cubicBezTo>
                  <a:pt x="5740" y="379"/>
                  <a:pt x="5739" y="380"/>
                  <a:pt x="5738" y="382"/>
                </a:cubicBezTo>
                <a:cubicBezTo>
                  <a:pt x="5738" y="383"/>
                  <a:pt x="5737" y="385"/>
                  <a:pt x="5736" y="386"/>
                </a:cubicBezTo>
                <a:cubicBezTo>
                  <a:pt x="5735" y="387"/>
                  <a:pt x="5734" y="388"/>
                  <a:pt x="5733" y="389"/>
                </a:cubicBezTo>
                <a:cubicBezTo>
                  <a:pt x="5732" y="389"/>
                  <a:pt x="5732" y="389"/>
                  <a:pt x="5732" y="390"/>
                </a:cubicBezTo>
                <a:cubicBezTo>
                  <a:pt x="5732" y="390"/>
                  <a:pt x="5732" y="390"/>
                  <a:pt x="5733" y="390"/>
                </a:cubicBezTo>
                <a:cubicBezTo>
                  <a:pt x="5734" y="390"/>
                  <a:pt x="5734" y="391"/>
                  <a:pt x="5734" y="391"/>
                </a:cubicBezTo>
                <a:cubicBezTo>
                  <a:pt x="5734" y="393"/>
                  <a:pt x="5731" y="398"/>
                  <a:pt x="5723" y="406"/>
                </a:cubicBezTo>
                <a:lnTo>
                  <a:pt x="5720" y="409"/>
                </a:lnTo>
                <a:cubicBezTo>
                  <a:pt x="5720" y="409"/>
                  <a:pt x="5726" y="404"/>
                  <a:pt x="5736" y="393"/>
                </a:cubicBezTo>
                <a:cubicBezTo>
                  <a:pt x="5764" y="363"/>
                  <a:pt x="5784" y="340"/>
                  <a:pt x="5796" y="324"/>
                </a:cubicBezTo>
                <a:lnTo>
                  <a:pt x="5800" y="320"/>
                </a:lnTo>
                <a:cubicBezTo>
                  <a:pt x="5805" y="313"/>
                  <a:pt x="5813" y="303"/>
                  <a:pt x="5822" y="290"/>
                </a:cubicBezTo>
                <a:cubicBezTo>
                  <a:pt x="5845" y="257"/>
                  <a:pt x="5857" y="238"/>
                  <a:pt x="5857" y="235"/>
                </a:cubicBezTo>
                <a:cubicBezTo>
                  <a:pt x="5857" y="235"/>
                  <a:pt x="5856" y="235"/>
                  <a:pt x="5855" y="235"/>
                </a:cubicBezTo>
                <a:cubicBezTo>
                  <a:pt x="5855" y="235"/>
                  <a:pt x="5854" y="235"/>
                  <a:pt x="5854" y="236"/>
                </a:cubicBezTo>
                <a:cubicBezTo>
                  <a:pt x="5853" y="237"/>
                  <a:pt x="5852" y="237"/>
                  <a:pt x="5852" y="238"/>
                </a:cubicBezTo>
                <a:lnTo>
                  <a:pt x="5853" y="240"/>
                </a:lnTo>
                <a:cubicBezTo>
                  <a:pt x="5853" y="241"/>
                  <a:pt x="5852" y="241"/>
                  <a:pt x="5851" y="241"/>
                </a:cubicBezTo>
                <a:cubicBezTo>
                  <a:pt x="5850" y="241"/>
                  <a:pt x="5849" y="242"/>
                  <a:pt x="5849" y="244"/>
                </a:cubicBezTo>
                <a:cubicBezTo>
                  <a:pt x="5849" y="246"/>
                  <a:pt x="5849" y="247"/>
                  <a:pt x="5847" y="249"/>
                </a:cubicBezTo>
                <a:cubicBezTo>
                  <a:pt x="5845" y="250"/>
                  <a:pt x="5844" y="251"/>
                  <a:pt x="5844" y="252"/>
                </a:cubicBezTo>
                <a:lnTo>
                  <a:pt x="5844" y="254"/>
                </a:lnTo>
                <a:cubicBezTo>
                  <a:pt x="5844" y="255"/>
                  <a:pt x="5844" y="255"/>
                  <a:pt x="5842" y="255"/>
                </a:cubicBezTo>
                <a:cubicBezTo>
                  <a:pt x="5841" y="255"/>
                  <a:pt x="5841" y="256"/>
                  <a:pt x="5841" y="257"/>
                </a:cubicBezTo>
                <a:cubicBezTo>
                  <a:pt x="5841" y="259"/>
                  <a:pt x="5840" y="261"/>
                  <a:pt x="5837" y="263"/>
                </a:cubicBezTo>
                <a:cubicBezTo>
                  <a:pt x="5835" y="264"/>
                  <a:pt x="5835" y="264"/>
                  <a:pt x="5835" y="266"/>
                </a:cubicBezTo>
                <a:lnTo>
                  <a:pt x="5835" y="267"/>
                </a:lnTo>
                <a:cubicBezTo>
                  <a:pt x="5835" y="267"/>
                  <a:pt x="5834" y="269"/>
                  <a:pt x="5832" y="271"/>
                </a:cubicBezTo>
                <a:cubicBezTo>
                  <a:pt x="5830" y="273"/>
                  <a:pt x="5829" y="275"/>
                  <a:pt x="5827" y="277"/>
                </a:cubicBezTo>
                <a:cubicBezTo>
                  <a:pt x="5825" y="278"/>
                  <a:pt x="5824" y="279"/>
                  <a:pt x="5823" y="279"/>
                </a:cubicBezTo>
                <a:cubicBezTo>
                  <a:pt x="5822" y="279"/>
                  <a:pt x="5821" y="279"/>
                  <a:pt x="5821" y="280"/>
                </a:cubicBezTo>
                <a:cubicBezTo>
                  <a:pt x="5820" y="281"/>
                  <a:pt x="5820" y="281"/>
                  <a:pt x="5819" y="282"/>
                </a:cubicBezTo>
                <a:cubicBezTo>
                  <a:pt x="5819" y="283"/>
                  <a:pt x="5819" y="284"/>
                  <a:pt x="5819" y="284"/>
                </a:cubicBezTo>
                <a:lnTo>
                  <a:pt x="5819" y="285"/>
                </a:lnTo>
                <a:lnTo>
                  <a:pt x="5820" y="283"/>
                </a:lnTo>
                <a:cubicBezTo>
                  <a:pt x="5821" y="282"/>
                  <a:pt x="5822" y="281"/>
                  <a:pt x="5822" y="281"/>
                </a:cubicBezTo>
                <a:cubicBezTo>
                  <a:pt x="5823" y="281"/>
                  <a:pt x="5824" y="282"/>
                  <a:pt x="5824" y="283"/>
                </a:cubicBezTo>
                <a:cubicBezTo>
                  <a:pt x="5824" y="284"/>
                  <a:pt x="5823" y="285"/>
                  <a:pt x="5822" y="286"/>
                </a:cubicBezTo>
                <a:cubicBezTo>
                  <a:pt x="5821" y="287"/>
                  <a:pt x="5820" y="288"/>
                  <a:pt x="5818" y="289"/>
                </a:cubicBezTo>
                <a:cubicBezTo>
                  <a:pt x="5817" y="290"/>
                  <a:pt x="5815" y="290"/>
                  <a:pt x="5814" y="291"/>
                </a:cubicBezTo>
                <a:cubicBezTo>
                  <a:pt x="5813" y="291"/>
                  <a:pt x="5811" y="293"/>
                  <a:pt x="5809" y="296"/>
                </a:cubicBezTo>
                <a:cubicBezTo>
                  <a:pt x="5806" y="299"/>
                  <a:pt x="5804" y="303"/>
                  <a:pt x="5802" y="306"/>
                </a:cubicBezTo>
                <a:cubicBezTo>
                  <a:pt x="5799" y="310"/>
                  <a:pt x="5798" y="313"/>
                  <a:pt x="5798" y="314"/>
                </a:cubicBezTo>
                <a:lnTo>
                  <a:pt x="5798" y="315"/>
                </a:lnTo>
                <a:cubicBezTo>
                  <a:pt x="5798" y="316"/>
                  <a:pt x="5798" y="318"/>
                  <a:pt x="5796" y="319"/>
                </a:cubicBezTo>
                <a:cubicBezTo>
                  <a:pt x="5795" y="321"/>
                  <a:pt x="5794" y="321"/>
                  <a:pt x="5793" y="321"/>
                </a:cubicBezTo>
                <a:cubicBezTo>
                  <a:pt x="5793" y="321"/>
                  <a:pt x="5793" y="321"/>
                  <a:pt x="5793" y="321"/>
                </a:cubicBezTo>
                <a:cubicBezTo>
                  <a:pt x="5793" y="320"/>
                  <a:pt x="5793" y="320"/>
                  <a:pt x="5792" y="320"/>
                </a:cubicBezTo>
                <a:cubicBezTo>
                  <a:pt x="5792" y="320"/>
                  <a:pt x="5790" y="321"/>
                  <a:pt x="5787" y="324"/>
                </a:cubicBezTo>
                <a:cubicBezTo>
                  <a:pt x="5784" y="326"/>
                  <a:pt x="5782" y="327"/>
                  <a:pt x="5781" y="327"/>
                </a:cubicBezTo>
                <a:cubicBezTo>
                  <a:pt x="5780" y="327"/>
                  <a:pt x="5780" y="327"/>
                  <a:pt x="5780" y="326"/>
                </a:cubicBezTo>
                <a:cubicBezTo>
                  <a:pt x="5780" y="325"/>
                  <a:pt x="5780" y="324"/>
                  <a:pt x="5779" y="324"/>
                </a:cubicBezTo>
                <a:lnTo>
                  <a:pt x="5778" y="325"/>
                </a:lnTo>
                <a:cubicBezTo>
                  <a:pt x="5778" y="326"/>
                  <a:pt x="5778" y="326"/>
                  <a:pt x="5778" y="327"/>
                </a:cubicBezTo>
                <a:cubicBezTo>
                  <a:pt x="5778" y="329"/>
                  <a:pt x="5779" y="330"/>
                  <a:pt x="5781" y="330"/>
                </a:cubicBezTo>
                <a:cubicBezTo>
                  <a:pt x="5781" y="330"/>
                  <a:pt x="5782" y="329"/>
                  <a:pt x="5783" y="328"/>
                </a:cubicBezTo>
                <a:cubicBezTo>
                  <a:pt x="5784" y="328"/>
                  <a:pt x="5785" y="327"/>
                  <a:pt x="5786" y="327"/>
                </a:cubicBezTo>
                <a:cubicBezTo>
                  <a:pt x="5786" y="327"/>
                  <a:pt x="5787" y="328"/>
                  <a:pt x="5787" y="329"/>
                </a:cubicBezTo>
                <a:cubicBezTo>
                  <a:pt x="5787" y="331"/>
                  <a:pt x="5786" y="332"/>
                  <a:pt x="5785" y="333"/>
                </a:cubicBezTo>
                <a:cubicBezTo>
                  <a:pt x="5784" y="334"/>
                  <a:pt x="5783" y="335"/>
                  <a:pt x="5782" y="335"/>
                </a:cubicBezTo>
                <a:cubicBezTo>
                  <a:pt x="5782" y="335"/>
                  <a:pt x="5782" y="335"/>
                  <a:pt x="5782" y="334"/>
                </a:cubicBezTo>
                <a:cubicBezTo>
                  <a:pt x="5782" y="334"/>
                  <a:pt x="5781" y="334"/>
                  <a:pt x="5781" y="334"/>
                </a:cubicBezTo>
                <a:cubicBezTo>
                  <a:pt x="5781" y="334"/>
                  <a:pt x="5779" y="335"/>
                  <a:pt x="5777" y="336"/>
                </a:cubicBezTo>
                <a:cubicBezTo>
                  <a:pt x="5775" y="338"/>
                  <a:pt x="5773" y="339"/>
                  <a:pt x="5772" y="339"/>
                </a:cubicBezTo>
                <a:lnTo>
                  <a:pt x="5770" y="339"/>
                </a:lnTo>
                <a:cubicBezTo>
                  <a:pt x="5770" y="339"/>
                  <a:pt x="5769" y="339"/>
                  <a:pt x="5768" y="339"/>
                </a:cubicBezTo>
                <a:cubicBezTo>
                  <a:pt x="5768" y="340"/>
                  <a:pt x="5767" y="340"/>
                  <a:pt x="5767" y="341"/>
                </a:cubicBezTo>
                <a:cubicBezTo>
                  <a:pt x="5767" y="342"/>
                  <a:pt x="5767" y="342"/>
                  <a:pt x="5767" y="342"/>
                </a:cubicBezTo>
                <a:lnTo>
                  <a:pt x="5771" y="340"/>
                </a:lnTo>
                <a:cubicBezTo>
                  <a:pt x="5771" y="341"/>
                  <a:pt x="5769" y="343"/>
                  <a:pt x="5766" y="346"/>
                </a:cubicBezTo>
                <a:cubicBezTo>
                  <a:pt x="5764" y="348"/>
                  <a:pt x="5763" y="348"/>
                  <a:pt x="5763" y="348"/>
                </a:cubicBezTo>
                <a:lnTo>
                  <a:pt x="5764" y="346"/>
                </a:lnTo>
                <a:cubicBezTo>
                  <a:pt x="5766" y="344"/>
                  <a:pt x="5766" y="343"/>
                  <a:pt x="5766" y="342"/>
                </a:cubicBezTo>
                <a:cubicBezTo>
                  <a:pt x="5765" y="342"/>
                  <a:pt x="5759" y="348"/>
                  <a:pt x="5747" y="361"/>
                </a:cubicBezTo>
                <a:cubicBezTo>
                  <a:pt x="5738" y="370"/>
                  <a:pt x="5734" y="375"/>
                  <a:pt x="5733" y="375"/>
                </a:cubicBezTo>
                <a:lnTo>
                  <a:pt x="5734" y="373"/>
                </a:lnTo>
                <a:cubicBezTo>
                  <a:pt x="5735" y="372"/>
                  <a:pt x="5736" y="371"/>
                  <a:pt x="5737" y="370"/>
                </a:cubicBezTo>
                <a:cubicBezTo>
                  <a:pt x="5738" y="368"/>
                  <a:pt x="5738" y="367"/>
                  <a:pt x="5738" y="367"/>
                </a:cubicBezTo>
                <a:lnTo>
                  <a:pt x="5737" y="365"/>
                </a:lnTo>
                <a:cubicBezTo>
                  <a:pt x="5737" y="363"/>
                  <a:pt x="5738" y="362"/>
                  <a:pt x="5739" y="362"/>
                </a:cubicBezTo>
                <a:cubicBezTo>
                  <a:pt x="5741" y="360"/>
                  <a:pt x="5744" y="359"/>
                  <a:pt x="5747" y="359"/>
                </a:cubicBezTo>
                <a:cubicBezTo>
                  <a:pt x="5749" y="359"/>
                  <a:pt x="5751" y="355"/>
                  <a:pt x="5755" y="348"/>
                </a:cubicBezTo>
                <a:cubicBezTo>
                  <a:pt x="5759" y="343"/>
                  <a:pt x="5763" y="338"/>
                  <a:pt x="5767" y="333"/>
                </a:cubicBezTo>
                <a:cubicBezTo>
                  <a:pt x="5771" y="330"/>
                  <a:pt x="5773" y="327"/>
                  <a:pt x="5773" y="325"/>
                </a:cubicBezTo>
                <a:cubicBezTo>
                  <a:pt x="5773" y="323"/>
                  <a:pt x="5775" y="321"/>
                  <a:pt x="5778" y="319"/>
                </a:cubicBezTo>
                <a:cubicBezTo>
                  <a:pt x="5781" y="316"/>
                  <a:pt x="5783" y="314"/>
                  <a:pt x="5783" y="313"/>
                </a:cubicBezTo>
                <a:lnTo>
                  <a:pt x="5783" y="313"/>
                </a:lnTo>
                <a:cubicBezTo>
                  <a:pt x="5783" y="311"/>
                  <a:pt x="5785" y="308"/>
                  <a:pt x="5787" y="304"/>
                </a:cubicBezTo>
                <a:cubicBezTo>
                  <a:pt x="5790" y="301"/>
                  <a:pt x="5791" y="298"/>
                  <a:pt x="5791" y="296"/>
                </a:cubicBezTo>
                <a:lnTo>
                  <a:pt x="5790" y="294"/>
                </a:lnTo>
                <a:lnTo>
                  <a:pt x="5793" y="295"/>
                </a:lnTo>
                <a:cubicBezTo>
                  <a:pt x="5794" y="295"/>
                  <a:pt x="5796" y="294"/>
                  <a:pt x="5797" y="293"/>
                </a:cubicBezTo>
                <a:cubicBezTo>
                  <a:pt x="5798" y="291"/>
                  <a:pt x="5799" y="290"/>
                  <a:pt x="5799" y="289"/>
                </a:cubicBezTo>
                <a:lnTo>
                  <a:pt x="5798" y="287"/>
                </a:lnTo>
                <a:cubicBezTo>
                  <a:pt x="5798" y="285"/>
                  <a:pt x="5799" y="283"/>
                  <a:pt x="5801" y="281"/>
                </a:cubicBezTo>
                <a:cubicBezTo>
                  <a:pt x="5803" y="280"/>
                  <a:pt x="5805" y="279"/>
                  <a:pt x="5807" y="279"/>
                </a:cubicBezTo>
                <a:cubicBezTo>
                  <a:pt x="5809" y="279"/>
                  <a:pt x="5811" y="278"/>
                  <a:pt x="5812" y="277"/>
                </a:cubicBezTo>
                <a:cubicBezTo>
                  <a:pt x="5812" y="274"/>
                  <a:pt x="5812" y="272"/>
                  <a:pt x="5813" y="269"/>
                </a:cubicBezTo>
                <a:cubicBezTo>
                  <a:pt x="5815" y="266"/>
                  <a:pt x="5816" y="265"/>
                  <a:pt x="5817" y="265"/>
                </a:cubicBezTo>
                <a:lnTo>
                  <a:pt x="5819" y="266"/>
                </a:lnTo>
                <a:cubicBezTo>
                  <a:pt x="5820" y="266"/>
                  <a:pt x="5821" y="265"/>
                  <a:pt x="5822" y="265"/>
                </a:cubicBezTo>
                <a:cubicBezTo>
                  <a:pt x="5822" y="264"/>
                  <a:pt x="5823" y="264"/>
                  <a:pt x="5823" y="263"/>
                </a:cubicBezTo>
                <a:lnTo>
                  <a:pt x="5822" y="262"/>
                </a:lnTo>
                <a:lnTo>
                  <a:pt x="5820" y="264"/>
                </a:lnTo>
                <a:cubicBezTo>
                  <a:pt x="5819" y="264"/>
                  <a:pt x="5819" y="263"/>
                  <a:pt x="5819" y="263"/>
                </a:cubicBezTo>
                <a:cubicBezTo>
                  <a:pt x="5819" y="262"/>
                  <a:pt x="5822" y="256"/>
                  <a:pt x="5829" y="245"/>
                </a:cubicBezTo>
                <a:cubicBezTo>
                  <a:pt x="5836" y="233"/>
                  <a:pt x="5840" y="226"/>
                  <a:pt x="5842" y="224"/>
                </a:cubicBezTo>
                <a:cubicBezTo>
                  <a:pt x="5844" y="222"/>
                  <a:pt x="5845" y="220"/>
                  <a:pt x="5845" y="219"/>
                </a:cubicBezTo>
                <a:cubicBezTo>
                  <a:pt x="5845" y="217"/>
                  <a:pt x="5849" y="211"/>
                  <a:pt x="5859" y="200"/>
                </a:cubicBezTo>
                <a:cubicBezTo>
                  <a:pt x="5860" y="199"/>
                  <a:pt x="5860" y="197"/>
                  <a:pt x="5860" y="196"/>
                </a:cubicBezTo>
                <a:lnTo>
                  <a:pt x="5860" y="196"/>
                </a:lnTo>
                <a:cubicBezTo>
                  <a:pt x="5860" y="195"/>
                  <a:pt x="5861" y="193"/>
                  <a:pt x="5863" y="191"/>
                </a:cubicBezTo>
                <a:cubicBezTo>
                  <a:pt x="5864" y="188"/>
                  <a:pt x="5865" y="186"/>
                  <a:pt x="5866" y="184"/>
                </a:cubicBezTo>
                <a:cubicBezTo>
                  <a:pt x="5867" y="182"/>
                  <a:pt x="5868" y="180"/>
                  <a:pt x="5870" y="178"/>
                </a:cubicBezTo>
                <a:cubicBezTo>
                  <a:pt x="5872" y="177"/>
                  <a:pt x="5872" y="176"/>
                  <a:pt x="5872" y="176"/>
                </a:cubicBezTo>
                <a:lnTo>
                  <a:pt x="5870" y="176"/>
                </a:lnTo>
                <a:lnTo>
                  <a:pt x="5870" y="176"/>
                </a:lnTo>
                <a:cubicBezTo>
                  <a:pt x="5870" y="176"/>
                  <a:pt x="5871" y="174"/>
                  <a:pt x="5873" y="171"/>
                </a:cubicBezTo>
                <a:cubicBezTo>
                  <a:pt x="5876" y="167"/>
                  <a:pt x="5878" y="164"/>
                  <a:pt x="5878" y="162"/>
                </a:cubicBezTo>
                <a:cubicBezTo>
                  <a:pt x="5878" y="160"/>
                  <a:pt x="5879" y="157"/>
                  <a:pt x="5882" y="152"/>
                </a:cubicBezTo>
                <a:cubicBezTo>
                  <a:pt x="5884" y="146"/>
                  <a:pt x="5885" y="142"/>
                  <a:pt x="5885" y="140"/>
                </a:cubicBezTo>
                <a:lnTo>
                  <a:pt x="5885" y="137"/>
                </a:lnTo>
                <a:cubicBezTo>
                  <a:pt x="5885" y="137"/>
                  <a:pt x="5885" y="137"/>
                  <a:pt x="5885" y="137"/>
                </a:cubicBezTo>
                <a:lnTo>
                  <a:pt x="5886" y="137"/>
                </a:lnTo>
                <a:cubicBezTo>
                  <a:pt x="5887" y="137"/>
                  <a:pt x="5887" y="136"/>
                  <a:pt x="5888" y="134"/>
                </a:cubicBezTo>
                <a:cubicBezTo>
                  <a:pt x="5889" y="133"/>
                  <a:pt x="5890" y="131"/>
                  <a:pt x="5892" y="128"/>
                </a:cubicBezTo>
                <a:cubicBezTo>
                  <a:pt x="5893" y="125"/>
                  <a:pt x="5894" y="122"/>
                  <a:pt x="5895" y="119"/>
                </a:cubicBezTo>
                <a:cubicBezTo>
                  <a:pt x="5897" y="115"/>
                  <a:pt x="5898" y="113"/>
                  <a:pt x="5899" y="111"/>
                </a:cubicBezTo>
                <a:cubicBezTo>
                  <a:pt x="5899" y="109"/>
                  <a:pt x="5900" y="107"/>
                  <a:pt x="5901" y="105"/>
                </a:cubicBezTo>
                <a:cubicBezTo>
                  <a:pt x="5901" y="103"/>
                  <a:pt x="5902" y="102"/>
                  <a:pt x="5902" y="100"/>
                </a:cubicBezTo>
                <a:cubicBezTo>
                  <a:pt x="5902" y="99"/>
                  <a:pt x="5902" y="98"/>
                  <a:pt x="5903" y="98"/>
                </a:cubicBezTo>
                <a:lnTo>
                  <a:pt x="5905" y="99"/>
                </a:lnTo>
                <a:cubicBezTo>
                  <a:pt x="5905" y="98"/>
                  <a:pt x="5905" y="98"/>
                  <a:pt x="5905" y="98"/>
                </a:cubicBezTo>
                <a:cubicBezTo>
                  <a:pt x="5905" y="97"/>
                  <a:pt x="5904" y="97"/>
                  <a:pt x="5904" y="96"/>
                </a:cubicBezTo>
                <a:cubicBezTo>
                  <a:pt x="5904" y="90"/>
                  <a:pt x="5906" y="83"/>
                  <a:pt x="5910" y="76"/>
                </a:cubicBezTo>
                <a:lnTo>
                  <a:pt x="5911" y="73"/>
                </a:lnTo>
                <a:cubicBezTo>
                  <a:pt x="5909" y="73"/>
                  <a:pt x="5904" y="77"/>
                  <a:pt x="5896" y="85"/>
                </a:cubicBezTo>
                <a:cubicBezTo>
                  <a:pt x="5887" y="94"/>
                  <a:pt x="5879" y="103"/>
                  <a:pt x="5871" y="113"/>
                </a:cubicBezTo>
                <a:lnTo>
                  <a:pt x="5861" y="125"/>
                </a:lnTo>
                <a:cubicBezTo>
                  <a:pt x="5852" y="136"/>
                  <a:pt x="5843" y="149"/>
                  <a:pt x="5833" y="162"/>
                </a:cubicBezTo>
                <a:cubicBezTo>
                  <a:pt x="5824" y="176"/>
                  <a:pt x="5816" y="188"/>
                  <a:pt x="5810" y="198"/>
                </a:cubicBezTo>
                <a:cubicBezTo>
                  <a:pt x="5804" y="206"/>
                  <a:pt x="5801" y="210"/>
                  <a:pt x="5800" y="210"/>
                </a:cubicBezTo>
                <a:lnTo>
                  <a:pt x="5799" y="210"/>
                </a:lnTo>
                <a:cubicBezTo>
                  <a:pt x="5798" y="210"/>
                  <a:pt x="5798" y="211"/>
                  <a:pt x="5798" y="213"/>
                </a:cubicBezTo>
                <a:lnTo>
                  <a:pt x="5798" y="215"/>
                </a:lnTo>
                <a:cubicBezTo>
                  <a:pt x="5798" y="216"/>
                  <a:pt x="5797" y="216"/>
                  <a:pt x="5796" y="217"/>
                </a:cubicBezTo>
                <a:cubicBezTo>
                  <a:pt x="5795" y="217"/>
                  <a:pt x="5794" y="217"/>
                  <a:pt x="5793" y="218"/>
                </a:cubicBezTo>
                <a:cubicBezTo>
                  <a:pt x="5792" y="219"/>
                  <a:pt x="5791" y="220"/>
                  <a:pt x="5791" y="220"/>
                </a:cubicBezTo>
                <a:lnTo>
                  <a:pt x="5794" y="219"/>
                </a:lnTo>
                <a:cubicBezTo>
                  <a:pt x="5795" y="219"/>
                  <a:pt x="5795" y="219"/>
                  <a:pt x="5795" y="220"/>
                </a:cubicBezTo>
                <a:cubicBezTo>
                  <a:pt x="5795" y="221"/>
                  <a:pt x="5793" y="224"/>
                  <a:pt x="5791" y="228"/>
                </a:cubicBezTo>
                <a:cubicBezTo>
                  <a:pt x="5788" y="233"/>
                  <a:pt x="5786" y="235"/>
                  <a:pt x="5784" y="235"/>
                </a:cubicBezTo>
                <a:lnTo>
                  <a:pt x="5783" y="235"/>
                </a:lnTo>
                <a:cubicBezTo>
                  <a:pt x="5782" y="235"/>
                  <a:pt x="5782" y="235"/>
                  <a:pt x="5782" y="235"/>
                </a:cubicBezTo>
                <a:lnTo>
                  <a:pt x="5783" y="237"/>
                </a:lnTo>
                <a:cubicBezTo>
                  <a:pt x="5783" y="240"/>
                  <a:pt x="5778" y="250"/>
                  <a:pt x="5769" y="266"/>
                </a:cubicBezTo>
                <a:cubicBezTo>
                  <a:pt x="5761" y="280"/>
                  <a:pt x="5749" y="303"/>
                  <a:pt x="5733" y="335"/>
                </a:cubicBezTo>
                <a:cubicBezTo>
                  <a:pt x="5718" y="367"/>
                  <a:pt x="5710" y="384"/>
                  <a:pt x="5710" y="386"/>
                </a:cubicBezTo>
                <a:cubicBezTo>
                  <a:pt x="5710" y="387"/>
                  <a:pt x="5710" y="387"/>
                  <a:pt x="5711" y="387"/>
                </a:cubicBezTo>
                <a:lnTo>
                  <a:pt x="5713" y="386"/>
                </a:lnTo>
                <a:cubicBezTo>
                  <a:pt x="5714" y="386"/>
                  <a:pt x="5714" y="387"/>
                  <a:pt x="5714" y="387"/>
                </a:cubicBezTo>
                <a:cubicBezTo>
                  <a:pt x="5714" y="388"/>
                  <a:pt x="5713" y="390"/>
                  <a:pt x="5713" y="391"/>
                </a:cubicBezTo>
                <a:cubicBezTo>
                  <a:pt x="5712" y="393"/>
                  <a:pt x="5711" y="394"/>
                  <a:pt x="5710" y="396"/>
                </a:cubicBezTo>
                <a:cubicBezTo>
                  <a:pt x="5709" y="397"/>
                  <a:pt x="5708" y="397"/>
                  <a:pt x="5708" y="397"/>
                </a:cubicBezTo>
                <a:cubicBezTo>
                  <a:pt x="5708" y="397"/>
                  <a:pt x="5709" y="396"/>
                  <a:pt x="5710" y="394"/>
                </a:cubicBezTo>
                <a:cubicBezTo>
                  <a:pt x="5711" y="393"/>
                  <a:pt x="5711" y="392"/>
                  <a:pt x="5711" y="391"/>
                </a:cubicBezTo>
                <a:cubicBezTo>
                  <a:pt x="5711" y="390"/>
                  <a:pt x="5711" y="389"/>
                  <a:pt x="5709" y="389"/>
                </a:cubicBezTo>
                <a:cubicBezTo>
                  <a:pt x="5708" y="389"/>
                  <a:pt x="5707" y="390"/>
                  <a:pt x="5706" y="393"/>
                </a:cubicBezTo>
                <a:cubicBezTo>
                  <a:pt x="5704" y="398"/>
                  <a:pt x="5702" y="404"/>
                  <a:pt x="5698" y="411"/>
                </a:cubicBezTo>
                <a:cubicBezTo>
                  <a:pt x="5696" y="415"/>
                  <a:pt x="5695" y="418"/>
                  <a:pt x="5695" y="419"/>
                </a:cubicBezTo>
                <a:lnTo>
                  <a:pt x="5695" y="420"/>
                </a:lnTo>
                <a:close/>
                <a:moveTo>
                  <a:pt x="5693" y="353"/>
                </a:moveTo>
                <a:cubicBezTo>
                  <a:pt x="5694" y="353"/>
                  <a:pt x="5696" y="350"/>
                  <a:pt x="5698" y="344"/>
                </a:cubicBezTo>
                <a:cubicBezTo>
                  <a:pt x="5699" y="340"/>
                  <a:pt x="5700" y="338"/>
                  <a:pt x="5700" y="336"/>
                </a:cubicBezTo>
                <a:cubicBezTo>
                  <a:pt x="5700" y="334"/>
                  <a:pt x="5699" y="333"/>
                  <a:pt x="5698" y="333"/>
                </a:cubicBezTo>
                <a:cubicBezTo>
                  <a:pt x="5698" y="333"/>
                  <a:pt x="5698" y="333"/>
                  <a:pt x="5698" y="334"/>
                </a:cubicBezTo>
                <a:lnTo>
                  <a:pt x="5698" y="336"/>
                </a:lnTo>
                <a:cubicBezTo>
                  <a:pt x="5698" y="337"/>
                  <a:pt x="5698" y="338"/>
                  <a:pt x="5698" y="338"/>
                </a:cubicBezTo>
                <a:cubicBezTo>
                  <a:pt x="5697" y="338"/>
                  <a:pt x="5697" y="338"/>
                  <a:pt x="5696" y="338"/>
                </a:cubicBezTo>
                <a:cubicBezTo>
                  <a:pt x="5696" y="338"/>
                  <a:pt x="5696" y="340"/>
                  <a:pt x="5695" y="342"/>
                </a:cubicBezTo>
                <a:cubicBezTo>
                  <a:pt x="5695" y="345"/>
                  <a:pt x="5694" y="347"/>
                  <a:pt x="5694" y="349"/>
                </a:cubicBezTo>
                <a:cubicBezTo>
                  <a:pt x="5693" y="351"/>
                  <a:pt x="5693" y="352"/>
                  <a:pt x="5693" y="353"/>
                </a:cubicBezTo>
                <a:cubicBezTo>
                  <a:pt x="5693" y="353"/>
                  <a:pt x="5693" y="353"/>
                  <a:pt x="5693" y="353"/>
                </a:cubicBezTo>
                <a:close/>
                <a:moveTo>
                  <a:pt x="5689" y="337"/>
                </a:moveTo>
                <a:lnTo>
                  <a:pt x="5693" y="333"/>
                </a:lnTo>
                <a:cubicBezTo>
                  <a:pt x="5694" y="330"/>
                  <a:pt x="5695" y="328"/>
                  <a:pt x="5695" y="328"/>
                </a:cubicBezTo>
                <a:cubicBezTo>
                  <a:pt x="5695" y="327"/>
                  <a:pt x="5695" y="326"/>
                  <a:pt x="5695" y="326"/>
                </a:cubicBezTo>
                <a:cubicBezTo>
                  <a:pt x="5694" y="326"/>
                  <a:pt x="5693" y="328"/>
                  <a:pt x="5691" y="333"/>
                </a:cubicBezTo>
                <a:lnTo>
                  <a:pt x="5689" y="337"/>
                </a:lnTo>
                <a:close/>
                <a:moveTo>
                  <a:pt x="5672" y="402"/>
                </a:moveTo>
                <a:cubicBezTo>
                  <a:pt x="5673" y="402"/>
                  <a:pt x="5676" y="395"/>
                  <a:pt x="5682" y="382"/>
                </a:cubicBezTo>
                <a:cubicBezTo>
                  <a:pt x="5687" y="370"/>
                  <a:pt x="5690" y="363"/>
                  <a:pt x="5690" y="362"/>
                </a:cubicBezTo>
                <a:cubicBezTo>
                  <a:pt x="5690" y="362"/>
                  <a:pt x="5690" y="362"/>
                  <a:pt x="5689" y="362"/>
                </a:cubicBezTo>
                <a:lnTo>
                  <a:pt x="5688" y="362"/>
                </a:lnTo>
                <a:cubicBezTo>
                  <a:pt x="5686" y="362"/>
                  <a:pt x="5684" y="362"/>
                  <a:pt x="5684" y="363"/>
                </a:cubicBezTo>
                <a:lnTo>
                  <a:pt x="5684" y="364"/>
                </a:lnTo>
                <a:cubicBezTo>
                  <a:pt x="5684" y="367"/>
                  <a:pt x="5683" y="372"/>
                  <a:pt x="5680" y="379"/>
                </a:cubicBezTo>
                <a:cubicBezTo>
                  <a:pt x="5674" y="392"/>
                  <a:pt x="5672" y="400"/>
                  <a:pt x="5672" y="402"/>
                </a:cubicBezTo>
                <a:close/>
                <a:moveTo>
                  <a:pt x="5633" y="555"/>
                </a:moveTo>
                <a:cubicBezTo>
                  <a:pt x="5634" y="555"/>
                  <a:pt x="5634" y="554"/>
                  <a:pt x="5636" y="554"/>
                </a:cubicBezTo>
                <a:cubicBezTo>
                  <a:pt x="5637" y="553"/>
                  <a:pt x="5638" y="552"/>
                  <a:pt x="5638" y="552"/>
                </a:cubicBezTo>
                <a:lnTo>
                  <a:pt x="5638" y="551"/>
                </a:lnTo>
                <a:cubicBezTo>
                  <a:pt x="5638" y="550"/>
                  <a:pt x="5639" y="548"/>
                  <a:pt x="5640" y="547"/>
                </a:cubicBezTo>
                <a:cubicBezTo>
                  <a:pt x="5641" y="545"/>
                  <a:pt x="5642" y="544"/>
                  <a:pt x="5642" y="541"/>
                </a:cubicBezTo>
                <a:lnTo>
                  <a:pt x="5641" y="539"/>
                </a:lnTo>
                <a:cubicBezTo>
                  <a:pt x="5641" y="538"/>
                  <a:pt x="5642" y="537"/>
                  <a:pt x="5643" y="537"/>
                </a:cubicBezTo>
                <a:cubicBezTo>
                  <a:pt x="5644" y="537"/>
                  <a:pt x="5645" y="536"/>
                  <a:pt x="5645" y="534"/>
                </a:cubicBezTo>
                <a:cubicBezTo>
                  <a:pt x="5645" y="533"/>
                  <a:pt x="5655" y="506"/>
                  <a:pt x="5674" y="453"/>
                </a:cubicBezTo>
                <a:lnTo>
                  <a:pt x="5675" y="452"/>
                </a:lnTo>
                <a:cubicBezTo>
                  <a:pt x="5675" y="451"/>
                  <a:pt x="5674" y="450"/>
                  <a:pt x="5672" y="450"/>
                </a:cubicBezTo>
                <a:cubicBezTo>
                  <a:pt x="5670" y="450"/>
                  <a:pt x="5669" y="451"/>
                  <a:pt x="5669" y="452"/>
                </a:cubicBezTo>
                <a:lnTo>
                  <a:pt x="5670" y="456"/>
                </a:lnTo>
                <a:cubicBezTo>
                  <a:pt x="5670" y="456"/>
                  <a:pt x="5670" y="457"/>
                  <a:pt x="5669" y="457"/>
                </a:cubicBezTo>
                <a:cubicBezTo>
                  <a:pt x="5668" y="457"/>
                  <a:pt x="5666" y="462"/>
                  <a:pt x="5661" y="473"/>
                </a:cubicBezTo>
                <a:cubicBezTo>
                  <a:pt x="5657" y="484"/>
                  <a:pt x="5654" y="490"/>
                  <a:pt x="5654" y="492"/>
                </a:cubicBezTo>
                <a:lnTo>
                  <a:pt x="5655" y="493"/>
                </a:lnTo>
                <a:cubicBezTo>
                  <a:pt x="5655" y="494"/>
                  <a:pt x="5654" y="495"/>
                  <a:pt x="5652" y="497"/>
                </a:cubicBezTo>
                <a:cubicBezTo>
                  <a:pt x="5651" y="499"/>
                  <a:pt x="5650" y="501"/>
                  <a:pt x="5650" y="503"/>
                </a:cubicBezTo>
                <a:lnTo>
                  <a:pt x="5651" y="506"/>
                </a:lnTo>
                <a:cubicBezTo>
                  <a:pt x="5651" y="507"/>
                  <a:pt x="5650" y="507"/>
                  <a:pt x="5649" y="507"/>
                </a:cubicBezTo>
                <a:cubicBezTo>
                  <a:pt x="5648" y="507"/>
                  <a:pt x="5647" y="510"/>
                  <a:pt x="5645" y="516"/>
                </a:cubicBezTo>
                <a:cubicBezTo>
                  <a:pt x="5643" y="522"/>
                  <a:pt x="5641" y="525"/>
                  <a:pt x="5639" y="525"/>
                </a:cubicBezTo>
                <a:lnTo>
                  <a:pt x="5638" y="524"/>
                </a:lnTo>
                <a:lnTo>
                  <a:pt x="5637" y="525"/>
                </a:lnTo>
                <a:cubicBezTo>
                  <a:pt x="5637" y="526"/>
                  <a:pt x="5637" y="527"/>
                  <a:pt x="5638" y="528"/>
                </a:cubicBezTo>
                <a:cubicBezTo>
                  <a:pt x="5639" y="529"/>
                  <a:pt x="5639" y="530"/>
                  <a:pt x="5639" y="532"/>
                </a:cubicBezTo>
                <a:cubicBezTo>
                  <a:pt x="5639" y="535"/>
                  <a:pt x="5637" y="537"/>
                  <a:pt x="5634" y="537"/>
                </a:cubicBezTo>
                <a:cubicBezTo>
                  <a:pt x="5633" y="537"/>
                  <a:pt x="5632" y="537"/>
                  <a:pt x="5632" y="537"/>
                </a:cubicBezTo>
                <a:cubicBezTo>
                  <a:pt x="5632" y="538"/>
                  <a:pt x="5633" y="538"/>
                  <a:pt x="5634" y="539"/>
                </a:cubicBezTo>
                <a:cubicBezTo>
                  <a:pt x="5635" y="540"/>
                  <a:pt x="5635" y="541"/>
                  <a:pt x="5635" y="542"/>
                </a:cubicBezTo>
                <a:cubicBezTo>
                  <a:pt x="5635" y="544"/>
                  <a:pt x="5635" y="545"/>
                  <a:pt x="5634" y="547"/>
                </a:cubicBezTo>
                <a:cubicBezTo>
                  <a:pt x="5633" y="551"/>
                  <a:pt x="5632" y="553"/>
                  <a:pt x="5632" y="554"/>
                </a:cubicBezTo>
                <a:cubicBezTo>
                  <a:pt x="5632" y="554"/>
                  <a:pt x="5632" y="555"/>
                  <a:pt x="5633" y="555"/>
                </a:cubicBezTo>
                <a:close/>
                <a:moveTo>
                  <a:pt x="5626" y="521"/>
                </a:moveTo>
                <a:cubicBezTo>
                  <a:pt x="5626" y="521"/>
                  <a:pt x="5631" y="509"/>
                  <a:pt x="5641" y="485"/>
                </a:cubicBezTo>
                <a:cubicBezTo>
                  <a:pt x="5649" y="464"/>
                  <a:pt x="5653" y="452"/>
                  <a:pt x="5653" y="448"/>
                </a:cubicBezTo>
                <a:cubicBezTo>
                  <a:pt x="5652" y="449"/>
                  <a:pt x="5647" y="461"/>
                  <a:pt x="5638" y="483"/>
                </a:cubicBezTo>
                <a:cubicBezTo>
                  <a:pt x="5630" y="506"/>
                  <a:pt x="5625" y="518"/>
                  <a:pt x="5625" y="520"/>
                </a:cubicBezTo>
                <a:cubicBezTo>
                  <a:pt x="5625" y="520"/>
                  <a:pt x="5625" y="521"/>
                  <a:pt x="5626" y="521"/>
                </a:cubicBezTo>
                <a:close/>
                <a:moveTo>
                  <a:pt x="5604" y="537"/>
                </a:moveTo>
                <a:cubicBezTo>
                  <a:pt x="5604" y="537"/>
                  <a:pt x="5610" y="524"/>
                  <a:pt x="5620" y="498"/>
                </a:cubicBezTo>
                <a:cubicBezTo>
                  <a:pt x="5629" y="476"/>
                  <a:pt x="5635" y="460"/>
                  <a:pt x="5639" y="452"/>
                </a:cubicBezTo>
                <a:cubicBezTo>
                  <a:pt x="5643" y="443"/>
                  <a:pt x="5645" y="437"/>
                  <a:pt x="5645" y="433"/>
                </a:cubicBezTo>
                <a:cubicBezTo>
                  <a:pt x="5645" y="431"/>
                  <a:pt x="5645" y="430"/>
                  <a:pt x="5644" y="430"/>
                </a:cubicBezTo>
                <a:cubicBezTo>
                  <a:pt x="5643" y="430"/>
                  <a:pt x="5639" y="437"/>
                  <a:pt x="5635" y="451"/>
                </a:cubicBezTo>
                <a:cubicBezTo>
                  <a:pt x="5614" y="505"/>
                  <a:pt x="5604" y="533"/>
                  <a:pt x="5604" y="536"/>
                </a:cubicBezTo>
                <a:cubicBezTo>
                  <a:pt x="5604" y="537"/>
                  <a:pt x="5604" y="537"/>
                  <a:pt x="5604" y="537"/>
                </a:cubicBezTo>
                <a:close/>
                <a:moveTo>
                  <a:pt x="5606" y="577"/>
                </a:moveTo>
                <a:cubicBezTo>
                  <a:pt x="5606" y="577"/>
                  <a:pt x="5609" y="572"/>
                  <a:pt x="5613" y="563"/>
                </a:cubicBezTo>
                <a:cubicBezTo>
                  <a:pt x="5617" y="552"/>
                  <a:pt x="5619" y="546"/>
                  <a:pt x="5619" y="544"/>
                </a:cubicBezTo>
                <a:lnTo>
                  <a:pt x="5619" y="544"/>
                </a:lnTo>
                <a:cubicBezTo>
                  <a:pt x="5617" y="544"/>
                  <a:pt x="5615" y="549"/>
                  <a:pt x="5612" y="558"/>
                </a:cubicBezTo>
                <a:cubicBezTo>
                  <a:pt x="5608" y="569"/>
                  <a:pt x="5606" y="575"/>
                  <a:pt x="5606" y="577"/>
                </a:cubicBezTo>
                <a:close/>
                <a:moveTo>
                  <a:pt x="5603" y="589"/>
                </a:moveTo>
                <a:cubicBezTo>
                  <a:pt x="5603" y="589"/>
                  <a:pt x="5604" y="588"/>
                  <a:pt x="5604" y="588"/>
                </a:cubicBezTo>
                <a:cubicBezTo>
                  <a:pt x="5605" y="587"/>
                  <a:pt x="5605" y="585"/>
                  <a:pt x="5605" y="584"/>
                </a:cubicBezTo>
                <a:cubicBezTo>
                  <a:pt x="5605" y="583"/>
                  <a:pt x="5605" y="582"/>
                  <a:pt x="5605" y="582"/>
                </a:cubicBezTo>
                <a:cubicBezTo>
                  <a:pt x="5604" y="582"/>
                  <a:pt x="5604" y="583"/>
                  <a:pt x="5603" y="585"/>
                </a:cubicBezTo>
                <a:lnTo>
                  <a:pt x="5603" y="589"/>
                </a:lnTo>
                <a:close/>
                <a:moveTo>
                  <a:pt x="5582" y="730"/>
                </a:moveTo>
                <a:cubicBezTo>
                  <a:pt x="5584" y="730"/>
                  <a:pt x="5586" y="722"/>
                  <a:pt x="5590" y="707"/>
                </a:cubicBezTo>
                <a:cubicBezTo>
                  <a:pt x="5591" y="700"/>
                  <a:pt x="5595" y="687"/>
                  <a:pt x="5600" y="668"/>
                </a:cubicBezTo>
                <a:cubicBezTo>
                  <a:pt x="5615" y="620"/>
                  <a:pt x="5624" y="592"/>
                  <a:pt x="5627" y="583"/>
                </a:cubicBezTo>
                <a:cubicBezTo>
                  <a:pt x="5628" y="581"/>
                  <a:pt x="5629" y="580"/>
                  <a:pt x="5629" y="579"/>
                </a:cubicBezTo>
                <a:cubicBezTo>
                  <a:pt x="5629" y="578"/>
                  <a:pt x="5628" y="578"/>
                  <a:pt x="5627" y="577"/>
                </a:cubicBezTo>
                <a:cubicBezTo>
                  <a:pt x="5625" y="576"/>
                  <a:pt x="5622" y="575"/>
                  <a:pt x="5621" y="575"/>
                </a:cubicBezTo>
                <a:cubicBezTo>
                  <a:pt x="5619" y="575"/>
                  <a:pt x="5619" y="575"/>
                  <a:pt x="5619" y="576"/>
                </a:cubicBezTo>
                <a:cubicBezTo>
                  <a:pt x="5619" y="577"/>
                  <a:pt x="5619" y="579"/>
                  <a:pt x="5621" y="580"/>
                </a:cubicBezTo>
                <a:lnTo>
                  <a:pt x="5623" y="583"/>
                </a:lnTo>
                <a:lnTo>
                  <a:pt x="5623" y="583"/>
                </a:lnTo>
                <a:lnTo>
                  <a:pt x="5619" y="581"/>
                </a:lnTo>
                <a:cubicBezTo>
                  <a:pt x="5619" y="581"/>
                  <a:pt x="5619" y="581"/>
                  <a:pt x="5619" y="582"/>
                </a:cubicBezTo>
                <a:lnTo>
                  <a:pt x="5619" y="584"/>
                </a:lnTo>
                <a:cubicBezTo>
                  <a:pt x="5619" y="586"/>
                  <a:pt x="5619" y="589"/>
                  <a:pt x="5617" y="591"/>
                </a:cubicBezTo>
                <a:cubicBezTo>
                  <a:pt x="5614" y="594"/>
                  <a:pt x="5612" y="600"/>
                  <a:pt x="5609" y="610"/>
                </a:cubicBezTo>
                <a:lnTo>
                  <a:pt x="5604" y="632"/>
                </a:lnTo>
                <a:cubicBezTo>
                  <a:pt x="5604" y="633"/>
                  <a:pt x="5603" y="635"/>
                  <a:pt x="5602" y="639"/>
                </a:cubicBezTo>
                <a:cubicBezTo>
                  <a:pt x="5600" y="644"/>
                  <a:pt x="5599" y="647"/>
                  <a:pt x="5599" y="648"/>
                </a:cubicBezTo>
                <a:cubicBezTo>
                  <a:pt x="5599" y="648"/>
                  <a:pt x="5599" y="648"/>
                  <a:pt x="5599" y="648"/>
                </a:cubicBezTo>
                <a:lnTo>
                  <a:pt x="5602" y="647"/>
                </a:lnTo>
                <a:lnTo>
                  <a:pt x="5602" y="648"/>
                </a:lnTo>
                <a:lnTo>
                  <a:pt x="5600" y="650"/>
                </a:lnTo>
                <a:cubicBezTo>
                  <a:pt x="5599" y="651"/>
                  <a:pt x="5598" y="653"/>
                  <a:pt x="5598" y="656"/>
                </a:cubicBezTo>
                <a:lnTo>
                  <a:pt x="5598" y="659"/>
                </a:lnTo>
                <a:cubicBezTo>
                  <a:pt x="5598" y="660"/>
                  <a:pt x="5598" y="661"/>
                  <a:pt x="5597" y="661"/>
                </a:cubicBezTo>
                <a:cubicBezTo>
                  <a:pt x="5596" y="661"/>
                  <a:pt x="5595" y="664"/>
                  <a:pt x="5595" y="669"/>
                </a:cubicBezTo>
                <a:cubicBezTo>
                  <a:pt x="5594" y="672"/>
                  <a:pt x="5593" y="680"/>
                  <a:pt x="5590" y="693"/>
                </a:cubicBezTo>
                <a:lnTo>
                  <a:pt x="5588" y="702"/>
                </a:lnTo>
                <a:cubicBezTo>
                  <a:pt x="5584" y="717"/>
                  <a:pt x="5582" y="726"/>
                  <a:pt x="5582" y="728"/>
                </a:cubicBezTo>
                <a:cubicBezTo>
                  <a:pt x="5582" y="729"/>
                  <a:pt x="5582" y="730"/>
                  <a:pt x="5582" y="730"/>
                </a:cubicBezTo>
                <a:close/>
                <a:moveTo>
                  <a:pt x="5578" y="752"/>
                </a:moveTo>
                <a:cubicBezTo>
                  <a:pt x="5579" y="752"/>
                  <a:pt x="5579" y="750"/>
                  <a:pt x="5580" y="747"/>
                </a:cubicBezTo>
                <a:cubicBezTo>
                  <a:pt x="5581" y="742"/>
                  <a:pt x="5582" y="738"/>
                  <a:pt x="5582" y="736"/>
                </a:cubicBezTo>
                <a:cubicBezTo>
                  <a:pt x="5582" y="734"/>
                  <a:pt x="5581" y="733"/>
                  <a:pt x="5581" y="733"/>
                </a:cubicBezTo>
                <a:cubicBezTo>
                  <a:pt x="5581" y="733"/>
                  <a:pt x="5580" y="734"/>
                  <a:pt x="5580" y="737"/>
                </a:cubicBezTo>
                <a:cubicBezTo>
                  <a:pt x="5579" y="740"/>
                  <a:pt x="5578" y="743"/>
                  <a:pt x="5578" y="748"/>
                </a:cubicBezTo>
                <a:lnTo>
                  <a:pt x="5578" y="752"/>
                </a:lnTo>
                <a:close/>
                <a:moveTo>
                  <a:pt x="5577" y="761"/>
                </a:moveTo>
                <a:cubicBezTo>
                  <a:pt x="5577" y="761"/>
                  <a:pt x="5577" y="760"/>
                  <a:pt x="5577" y="759"/>
                </a:cubicBezTo>
                <a:lnTo>
                  <a:pt x="5577" y="757"/>
                </a:lnTo>
                <a:lnTo>
                  <a:pt x="5576" y="756"/>
                </a:lnTo>
                <a:cubicBezTo>
                  <a:pt x="5576" y="756"/>
                  <a:pt x="5576" y="757"/>
                  <a:pt x="5575" y="758"/>
                </a:cubicBezTo>
                <a:cubicBezTo>
                  <a:pt x="5575" y="760"/>
                  <a:pt x="5576" y="761"/>
                  <a:pt x="5576" y="761"/>
                </a:cubicBezTo>
                <a:lnTo>
                  <a:pt x="5577" y="761"/>
                </a:lnTo>
                <a:close/>
                <a:moveTo>
                  <a:pt x="5754" y="368"/>
                </a:moveTo>
                <a:cubicBezTo>
                  <a:pt x="5754" y="368"/>
                  <a:pt x="5753" y="367"/>
                  <a:pt x="5753" y="367"/>
                </a:cubicBezTo>
                <a:cubicBezTo>
                  <a:pt x="5753" y="366"/>
                  <a:pt x="5754" y="366"/>
                  <a:pt x="5755" y="365"/>
                </a:cubicBezTo>
                <a:cubicBezTo>
                  <a:pt x="5756" y="364"/>
                  <a:pt x="5756" y="363"/>
                  <a:pt x="5758" y="362"/>
                </a:cubicBezTo>
                <a:lnTo>
                  <a:pt x="5760" y="360"/>
                </a:lnTo>
                <a:lnTo>
                  <a:pt x="5760" y="360"/>
                </a:lnTo>
                <a:lnTo>
                  <a:pt x="5758" y="364"/>
                </a:lnTo>
                <a:cubicBezTo>
                  <a:pt x="5756" y="366"/>
                  <a:pt x="5755" y="368"/>
                  <a:pt x="5754" y="368"/>
                </a:cubicBezTo>
                <a:close/>
                <a:moveTo>
                  <a:pt x="5728" y="371"/>
                </a:moveTo>
                <a:close/>
                <a:moveTo>
                  <a:pt x="5753" y="367"/>
                </a:moveTo>
                <a:close/>
                <a:moveTo>
                  <a:pt x="5758" y="357"/>
                </a:moveTo>
                <a:close/>
                <a:moveTo>
                  <a:pt x="5758" y="359"/>
                </a:moveTo>
                <a:cubicBezTo>
                  <a:pt x="5758" y="359"/>
                  <a:pt x="5758" y="358"/>
                  <a:pt x="5758" y="357"/>
                </a:cubicBezTo>
                <a:cubicBezTo>
                  <a:pt x="5758" y="357"/>
                  <a:pt x="5758" y="357"/>
                  <a:pt x="5759" y="356"/>
                </a:cubicBezTo>
                <a:cubicBezTo>
                  <a:pt x="5760" y="355"/>
                  <a:pt x="5761" y="354"/>
                  <a:pt x="5762" y="353"/>
                </a:cubicBezTo>
                <a:lnTo>
                  <a:pt x="5764" y="351"/>
                </a:lnTo>
                <a:lnTo>
                  <a:pt x="5765" y="351"/>
                </a:lnTo>
                <a:lnTo>
                  <a:pt x="5763" y="355"/>
                </a:lnTo>
                <a:cubicBezTo>
                  <a:pt x="5760" y="357"/>
                  <a:pt x="5759" y="359"/>
                  <a:pt x="5758" y="359"/>
                </a:cubicBezTo>
                <a:close/>
                <a:moveTo>
                  <a:pt x="5745" y="356"/>
                </a:moveTo>
                <a:cubicBezTo>
                  <a:pt x="5745" y="356"/>
                  <a:pt x="5745" y="356"/>
                  <a:pt x="5745" y="355"/>
                </a:cubicBezTo>
                <a:cubicBezTo>
                  <a:pt x="5745" y="355"/>
                  <a:pt x="5745" y="354"/>
                  <a:pt x="5746" y="353"/>
                </a:cubicBezTo>
                <a:cubicBezTo>
                  <a:pt x="5747" y="352"/>
                  <a:pt x="5748" y="351"/>
                  <a:pt x="5750" y="350"/>
                </a:cubicBezTo>
                <a:lnTo>
                  <a:pt x="5751" y="349"/>
                </a:lnTo>
                <a:lnTo>
                  <a:pt x="5752" y="350"/>
                </a:lnTo>
                <a:lnTo>
                  <a:pt x="5750" y="352"/>
                </a:lnTo>
                <a:cubicBezTo>
                  <a:pt x="5748" y="355"/>
                  <a:pt x="5746" y="356"/>
                  <a:pt x="5745" y="356"/>
                </a:cubicBezTo>
                <a:close/>
                <a:moveTo>
                  <a:pt x="5745" y="355"/>
                </a:moveTo>
                <a:close/>
                <a:moveTo>
                  <a:pt x="5728" y="372"/>
                </a:moveTo>
                <a:cubicBezTo>
                  <a:pt x="5728" y="372"/>
                  <a:pt x="5728" y="372"/>
                  <a:pt x="5728" y="371"/>
                </a:cubicBezTo>
                <a:cubicBezTo>
                  <a:pt x="5728" y="370"/>
                  <a:pt x="5729" y="369"/>
                  <a:pt x="5731" y="367"/>
                </a:cubicBezTo>
                <a:lnTo>
                  <a:pt x="5734" y="365"/>
                </a:lnTo>
                <a:cubicBezTo>
                  <a:pt x="5734" y="365"/>
                  <a:pt x="5733" y="367"/>
                  <a:pt x="5732" y="368"/>
                </a:cubicBezTo>
                <a:cubicBezTo>
                  <a:pt x="5730" y="371"/>
                  <a:pt x="5729" y="372"/>
                  <a:pt x="5728" y="372"/>
                </a:cubicBezTo>
                <a:close/>
                <a:moveTo>
                  <a:pt x="6050" y="800"/>
                </a:moveTo>
                <a:cubicBezTo>
                  <a:pt x="6046" y="800"/>
                  <a:pt x="6042" y="799"/>
                  <a:pt x="6038" y="798"/>
                </a:cubicBezTo>
                <a:lnTo>
                  <a:pt x="6038" y="798"/>
                </a:lnTo>
                <a:cubicBezTo>
                  <a:pt x="6036" y="797"/>
                  <a:pt x="6035" y="796"/>
                  <a:pt x="6034" y="795"/>
                </a:cubicBezTo>
                <a:lnTo>
                  <a:pt x="6033" y="793"/>
                </a:lnTo>
                <a:lnTo>
                  <a:pt x="6033" y="793"/>
                </a:lnTo>
                <a:cubicBezTo>
                  <a:pt x="6031" y="794"/>
                  <a:pt x="6030" y="794"/>
                  <a:pt x="6030" y="794"/>
                </a:cubicBezTo>
                <a:cubicBezTo>
                  <a:pt x="6029" y="795"/>
                  <a:pt x="6028" y="795"/>
                  <a:pt x="6027" y="795"/>
                </a:cubicBezTo>
                <a:cubicBezTo>
                  <a:pt x="6026" y="795"/>
                  <a:pt x="6024" y="794"/>
                  <a:pt x="6021" y="794"/>
                </a:cubicBezTo>
                <a:cubicBezTo>
                  <a:pt x="6019" y="793"/>
                  <a:pt x="6016" y="792"/>
                  <a:pt x="6014" y="790"/>
                </a:cubicBezTo>
                <a:cubicBezTo>
                  <a:pt x="6011" y="788"/>
                  <a:pt x="6010" y="786"/>
                  <a:pt x="6010" y="784"/>
                </a:cubicBezTo>
                <a:lnTo>
                  <a:pt x="6009" y="783"/>
                </a:lnTo>
                <a:lnTo>
                  <a:pt x="6007" y="784"/>
                </a:lnTo>
                <a:cubicBezTo>
                  <a:pt x="6006" y="784"/>
                  <a:pt x="6005" y="783"/>
                  <a:pt x="6003" y="781"/>
                </a:cubicBezTo>
                <a:cubicBezTo>
                  <a:pt x="6001" y="779"/>
                  <a:pt x="5999" y="776"/>
                  <a:pt x="5997" y="772"/>
                </a:cubicBezTo>
                <a:cubicBezTo>
                  <a:pt x="5991" y="760"/>
                  <a:pt x="5988" y="747"/>
                  <a:pt x="5988" y="730"/>
                </a:cubicBezTo>
                <a:cubicBezTo>
                  <a:pt x="5988" y="715"/>
                  <a:pt x="5990" y="697"/>
                  <a:pt x="5996" y="676"/>
                </a:cubicBezTo>
                <a:cubicBezTo>
                  <a:pt x="5999" y="664"/>
                  <a:pt x="6001" y="658"/>
                  <a:pt x="6001" y="657"/>
                </a:cubicBezTo>
                <a:cubicBezTo>
                  <a:pt x="6001" y="656"/>
                  <a:pt x="6001" y="655"/>
                  <a:pt x="6002" y="653"/>
                </a:cubicBezTo>
                <a:cubicBezTo>
                  <a:pt x="6003" y="651"/>
                  <a:pt x="6004" y="648"/>
                  <a:pt x="6005" y="645"/>
                </a:cubicBezTo>
                <a:cubicBezTo>
                  <a:pt x="6007" y="640"/>
                  <a:pt x="6008" y="636"/>
                  <a:pt x="6008" y="634"/>
                </a:cubicBezTo>
                <a:lnTo>
                  <a:pt x="6008" y="632"/>
                </a:lnTo>
                <a:cubicBezTo>
                  <a:pt x="6008" y="631"/>
                  <a:pt x="6008" y="631"/>
                  <a:pt x="6008" y="630"/>
                </a:cubicBezTo>
                <a:cubicBezTo>
                  <a:pt x="6008" y="630"/>
                  <a:pt x="6008" y="630"/>
                  <a:pt x="6009" y="630"/>
                </a:cubicBezTo>
                <a:cubicBezTo>
                  <a:pt x="6010" y="630"/>
                  <a:pt x="6011" y="630"/>
                  <a:pt x="6011" y="628"/>
                </a:cubicBezTo>
                <a:cubicBezTo>
                  <a:pt x="6012" y="627"/>
                  <a:pt x="6013" y="625"/>
                  <a:pt x="6013" y="624"/>
                </a:cubicBezTo>
                <a:cubicBezTo>
                  <a:pt x="6013" y="622"/>
                  <a:pt x="6012" y="621"/>
                  <a:pt x="6011" y="620"/>
                </a:cubicBezTo>
                <a:cubicBezTo>
                  <a:pt x="6011" y="619"/>
                  <a:pt x="6011" y="619"/>
                  <a:pt x="6011" y="618"/>
                </a:cubicBezTo>
                <a:cubicBezTo>
                  <a:pt x="6011" y="617"/>
                  <a:pt x="6012" y="616"/>
                  <a:pt x="6014" y="615"/>
                </a:cubicBezTo>
                <a:cubicBezTo>
                  <a:pt x="6016" y="615"/>
                  <a:pt x="6017" y="613"/>
                  <a:pt x="6017" y="611"/>
                </a:cubicBezTo>
                <a:lnTo>
                  <a:pt x="6016" y="608"/>
                </a:lnTo>
                <a:lnTo>
                  <a:pt x="6016" y="605"/>
                </a:lnTo>
                <a:cubicBezTo>
                  <a:pt x="6016" y="603"/>
                  <a:pt x="6017" y="602"/>
                  <a:pt x="6019" y="602"/>
                </a:cubicBezTo>
                <a:cubicBezTo>
                  <a:pt x="6021" y="602"/>
                  <a:pt x="6022" y="602"/>
                  <a:pt x="6022" y="602"/>
                </a:cubicBezTo>
                <a:cubicBezTo>
                  <a:pt x="6022" y="601"/>
                  <a:pt x="6021" y="601"/>
                  <a:pt x="6020" y="600"/>
                </a:cubicBezTo>
                <a:cubicBezTo>
                  <a:pt x="6019" y="599"/>
                  <a:pt x="6019" y="598"/>
                  <a:pt x="6019" y="598"/>
                </a:cubicBezTo>
                <a:cubicBezTo>
                  <a:pt x="6019" y="597"/>
                  <a:pt x="6019" y="595"/>
                  <a:pt x="6020" y="594"/>
                </a:cubicBezTo>
                <a:cubicBezTo>
                  <a:pt x="6021" y="592"/>
                  <a:pt x="6021" y="591"/>
                  <a:pt x="6022" y="590"/>
                </a:cubicBezTo>
                <a:cubicBezTo>
                  <a:pt x="6022" y="589"/>
                  <a:pt x="6021" y="588"/>
                  <a:pt x="6021" y="588"/>
                </a:cubicBezTo>
                <a:cubicBezTo>
                  <a:pt x="6021" y="587"/>
                  <a:pt x="6023" y="584"/>
                  <a:pt x="6027" y="579"/>
                </a:cubicBezTo>
                <a:lnTo>
                  <a:pt x="6032" y="571"/>
                </a:lnTo>
                <a:cubicBezTo>
                  <a:pt x="6032" y="571"/>
                  <a:pt x="6032" y="571"/>
                  <a:pt x="6032" y="571"/>
                </a:cubicBezTo>
                <a:lnTo>
                  <a:pt x="6031" y="571"/>
                </a:lnTo>
                <a:cubicBezTo>
                  <a:pt x="6031" y="570"/>
                  <a:pt x="6032" y="568"/>
                  <a:pt x="6035" y="565"/>
                </a:cubicBezTo>
                <a:cubicBezTo>
                  <a:pt x="6038" y="560"/>
                  <a:pt x="6039" y="557"/>
                  <a:pt x="6039" y="557"/>
                </a:cubicBezTo>
                <a:cubicBezTo>
                  <a:pt x="6039" y="556"/>
                  <a:pt x="6039" y="556"/>
                  <a:pt x="6039" y="556"/>
                </a:cubicBezTo>
                <a:cubicBezTo>
                  <a:pt x="6039" y="555"/>
                  <a:pt x="6040" y="553"/>
                  <a:pt x="6043" y="549"/>
                </a:cubicBezTo>
                <a:cubicBezTo>
                  <a:pt x="6046" y="545"/>
                  <a:pt x="6047" y="542"/>
                  <a:pt x="6047" y="541"/>
                </a:cubicBezTo>
                <a:cubicBezTo>
                  <a:pt x="6047" y="541"/>
                  <a:pt x="6045" y="539"/>
                  <a:pt x="6041" y="538"/>
                </a:cubicBezTo>
                <a:cubicBezTo>
                  <a:pt x="6039" y="537"/>
                  <a:pt x="6037" y="536"/>
                  <a:pt x="6036" y="535"/>
                </a:cubicBezTo>
                <a:cubicBezTo>
                  <a:pt x="6035" y="534"/>
                  <a:pt x="6034" y="534"/>
                  <a:pt x="6034" y="533"/>
                </a:cubicBezTo>
                <a:cubicBezTo>
                  <a:pt x="6034" y="532"/>
                  <a:pt x="6033" y="531"/>
                  <a:pt x="6032" y="531"/>
                </a:cubicBezTo>
                <a:cubicBezTo>
                  <a:pt x="6031" y="531"/>
                  <a:pt x="6030" y="531"/>
                  <a:pt x="6029" y="531"/>
                </a:cubicBezTo>
                <a:cubicBezTo>
                  <a:pt x="6028" y="531"/>
                  <a:pt x="6027" y="531"/>
                  <a:pt x="6026" y="530"/>
                </a:cubicBezTo>
                <a:lnTo>
                  <a:pt x="6026" y="530"/>
                </a:lnTo>
                <a:lnTo>
                  <a:pt x="6026" y="529"/>
                </a:lnTo>
                <a:cubicBezTo>
                  <a:pt x="6026" y="529"/>
                  <a:pt x="6028" y="527"/>
                  <a:pt x="6031" y="526"/>
                </a:cubicBezTo>
                <a:cubicBezTo>
                  <a:pt x="6034" y="524"/>
                  <a:pt x="6038" y="523"/>
                  <a:pt x="6042" y="521"/>
                </a:cubicBezTo>
                <a:cubicBezTo>
                  <a:pt x="6046" y="519"/>
                  <a:pt x="6050" y="518"/>
                  <a:pt x="6053" y="517"/>
                </a:cubicBezTo>
                <a:cubicBezTo>
                  <a:pt x="6056" y="515"/>
                  <a:pt x="6058" y="515"/>
                  <a:pt x="6059" y="515"/>
                </a:cubicBezTo>
                <a:cubicBezTo>
                  <a:pt x="6060" y="515"/>
                  <a:pt x="6061" y="514"/>
                  <a:pt x="6062" y="513"/>
                </a:cubicBezTo>
                <a:cubicBezTo>
                  <a:pt x="6063" y="512"/>
                  <a:pt x="6064" y="512"/>
                  <a:pt x="6064" y="510"/>
                </a:cubicBezTo>
                <a:cubicBezTo>
                  <a:pt x="6065" y="509"/>
                  <a:pt x="6065" y="508"/>
                  <a:pt x="6065" y="508"/>
                </a:cubicBezTo>
                <a:cubicBezTo>
                  <a:pt x="6065" y="507"/>
                  <a:pt x="6065" y="507"/>
                  <a:pt x="6064" y="507"/>
                </a:cubicBezTo>
                <a:lnTo>
                  <a:pt x="6063" y="507"/>
                </a:lnTo>
                <a:cubicBezTo>
                  <a:pt x="6062" y="507"/>
                  <a:pt x="6059" y="508"/>
                  <a:pt x="6054" y="511"/>
                </a:cubicBezTo>
                <a:cubicBezTo>
                  <a:pt x="6049" y="514"/>
                  <a:pt x="6046" y="515"/>
                  <a:pt x="6045" y="515"/>
                </a:cubicBezTo>
                <a:cubicBezTo>
                  <a:pt x="6044" y="515"/>
                  <a:pt x="6043" y="515"/>
                  <a:pt x="6043" y="515"/>
                </a:cubicBezTo>
                <a:lnTo>
                  <a:pt x="6043" y="517"/>
                </a:lnTo>
                <a:cubicBezTo>
                  <a:pt x="6043" y="517"/>
                  <a:pt x="6043" y="518"/>
                  <a:pt x="6041" y="519"/>
                </a:cubicBezTo>
                <a:cubicBezTo>
                  <a:pt x="6038" y="520"/>
                  <a:pt x="6034" y="521"/>
                  <a:pt x="6028" y="521"/>
                </a:cubicBezTo>
                <a:cubicBezTo>
                  <a:pt x="6025" y="521"/>
                  <a:pt x="6024" y="520"/>
                  <a:pt x="6024" y="519"/>
                </a:cubicBezTo>
                <a:cubicBezTo>
                  <a:pt x="6024" y="519"/>
                  <a:pt x="6024" y="518"/>
                  <a:pt x="6025" y="518"/>
                </a:cubicBezTo>
                <a:cubicBezTo>
                  <a:pt x="6025" y="518"/>
                  <a:pt x="6026" y="518"/>
                  <a:pt x="6027" y="518"/>
                </a:cubicBezTo>
                <a:cubicBezTo>
                  <a:pt x="6036" y="518"/>
                  <a:pt x="6040" y="517"/>
                  <a:pt x="6040" y="515"/>
                </a:cubicBezTo>
                <a:cubicBezTo>
                  <a:pt x="6040" y="513"/>
                  <a:pt x="6038" y="512"/>
                  <a:pt x="6035" y="511"/>
                </a:cubicBezTo>
                <a:cubicBezTo>
                  <a:pt x="6033" y="510"/>
                  <a:pt x="6033" y="509"/>
                  <a:pt x="6033" y="509"/>
                </a:cubicBezTo>
                <a:cubicBezTo>
                  <a:pt x="6034" y="508"/>
                  <a:pt x="6041" y="505"/>
                  <a:pt x="6053" y="500"/>
                </a:cubicBezTo>
                <a:cubicBezTo>
                  <a:pt x="6070" y="493"/>
                  <a:pt x="6079" y="490"/>
                  <a:pt x="6081" y="490"/>
                </a:cubicBezTo>
                <a:cubicBezTo>
                  <a:pt x="6083" y="490"/>
                  <a:pt x="6085" y="488"/>
                  <a:pt x="6087" y="486"/>
                </a:cubicBezTo>
                <a:cubicBezTo>
                  <a:pt x="6089" y="484"/>
                  <a:pt x="6090" y="482"/>
                  <a:pt x="6091" y="482"/>
                </a:cubicBezTo>
                <a:cubicBezTo>
                  <a:pt x="6092" y="482"/>
                  <a:pt x="6093" y="482"/>
                  <a:pt x="6094" y="481"/>
                </a:cubicBezTo>
                <a:cubicBezTo>
                  <a:pt x="6098" y="479"/>
                  <a:pt x="6105" y="477"/>
                  <a:pt x="6115" y="473"/>
                </a:cubicBezTo>
                <a:cubicBezTo>
                  <a:pt x="6135" y="466"/>
                  <a:pt x="6150" y="462"/>
                  <a:pt x="6158" y="460"/>
                </a:cubicBezTo>
                <a:cubicBezTo>
                  <a:pt x="6160" y="460"/>
                  <a:pt x="6162" y="460"/>
                  <a:pt x="6164" y="459"/>
                </a:cubicBezTo>
                <a:cubicBezTo>
                  <a:pt x="6171" y="457"/>
                  <a:pt x="6175" y="456"/>
                  <a:pt x="6177" y="456"/>
                </a:cubicBezTo>
                <a:cubicBezTo>
                  <a:pt x="6179" y="456"/>
                  <a:pt x="6180" y="456"/>
                  <a:pt x="6180" y="456"/>
                </a:cubicBezTo>
                <a:cubicBezTo>
                  <a:pt x="6181" y="456"/>
                  <a:pt x="6181" y="456"/>
                  <a:pt x="6182" y="456"/>
                </a:cubicBezTo>
                <a:cubicBezTo>
                  <a:pt x="6183" y="456"/>
                  <a:pt x="6183" y="455"/>
                  <a:pt x="6184" y="454"/>
                </a:cubicBezTo>
                <a:cubicBezTo>
                  <a:pt x="6184" y="453"/>
                  <a:pt x="6185" y="453"/>
                  <a:pt x="6187" y="453"/>
                </a:cubicBezTo>
                <a:lnTo>
                  <a:pt x="6190" y="453"/>
                </a:lnTo>
                <a:cubicBezTo>
                  <a:pt x="6192" y="453"/>
                  <a:pt x="6194" y="453"/>
                  <a:pt x="6195" y="452"/>
                </a:cubicBezTo>
                <a:cubicBezTo>
                  <a:pt x="6196" y="452"/>
                  <a:pt x="6198" y="451"/>
                  <a:pt x="6199" y="451"/>
                </a:cubicBezTo>
                <a:cubicBezTo>
                  <a:pt x="6200" y="452"/>
                  <a:pt x="6200" y="453"/>
                  <a:pt x="6201" y="455"/>
                </a:cubicBezTo>
                <a:cubicBezTo>
                  <a:pt x="6202" y="458"/>
                  <a:pt x="6203" y="459"/>
                  <a:pt x="6205" y="459"/>
                </a:cubicBezTo>
                <a:cubicBezTo>
                  <a:pt x="6205" y="459"/>
                  <a:pt x="6206" y="459"/>
                  <a:pt x="6206" y="459"/>
                </a:cubicBezTo>
                <a:lnTo>
                  <a:pt x="6206" y="458"/>
                </a:lnTo>
                <a:lnTo>
                  <a:pt x="6205" y="456"/>
                </a:lnTo>
                <a:cubicBezTo>
                  <a:pt x="6205" y="456"/>
                  <a:pt x="6205" y="456"/>
                  <a:pt x="6206" y="456"/>
                </a:cubicBezTo>
                <a:lnTo>
                  <a:pt x="6207" y="456"/>
                </a:lnTo>
                <a:lnTo>
                  <a:pt x="6210" y="456"/>
                </a:lnTo>
                <a:cubicBezTo>
                  <a:pt x="6211" y="456"/>
                  <a:pt x="6211" y="455"/>
                  <a:pt x="6211" y="454"/>
                </a:cubicBezTo>
                <a:cubicBezTo>
                  <a:pt x="6211" y="453"/>
                  <a:pt x="6212" y="453"/>
                  <a:pt x="6215" y="453"/>
                </a:cubicBezTo>
                <a:lnTo>
                  <a:pt x="6224" y="453"/>
                </a:lnTo>
                <a:cubicBezTo>
                  <a:pt x="6225" y="453"/>
                  <a:pt x="6226" y="453"/>
                  <a:pt x="6226" y="452"/>
                </a:cubicBezTo>
                <a:cubicBezTo>
                  <a:pt x="6226" y="451"/>
                  <a:pt x="6228" y="451"/>
                  <a:pt x="6231" y="451"/>
                </a:cubicBezTo>
                <a:cubicBezTo>
                  <a:pt x="6234" y="451"/>
                  <a:pt x="6236" y="451"/>
                  <a:pt x="6236" y="450"/>
                </a:cubicBezTo>
                <a:lnTo>
                  <a:pt x="6236" y="448"/>
                </a:lnTo>
                <a:cubicBezTo>
                  <a:pt x="6236" y="447"/>
                  <a:pt x="6237" y="446"/>
                  <a:pt x="6238" y="446"/>
                </a:cubicBezTo>
                <a:cubicBezTo>
                  <a:pt x="6240" y="446"/>
                  <a:pt x="6241" y="446"/>
                  <a:pt x="6241" y="447"/>
                </a:cubicBezTo>
                <a:cubicBezTo>
                  <a:pt x="6241" y="448"/>
                  <a:pt x="6242" y="448"/>
                  <a:pt x="6243" y="448"/>
                </a:cubicBezTo>
                <a:cubicBezTo>
                  <a:pt x="6251" y="448"/>
                  <a:pt x="6254" y="447"/>
                  <a:pt x="6254" y="443"/>
                </a:cubicBezTo>
                <a:cubicBezTo>
                  <a:pt x="6254" y="442"/>
                  <a:pt x="6255" y="441"/>
                  <a:pt x="6255" y="441"/>
                </a:cubicBezTo>
                <a:cubicBezTo>
                  <a:pt x="6255" y="441"/>
                  <a:pt x="6256" y="442"/>
                  <a:pt x="6257" y="443"/>
                </a:cubicBezTo>
                <a:cubicBezTo>
                  <a:pt x="6257" y="445"/>
                  <a:pt x="6261" y="446"/>
                  <a:pt x="6268" y="446"/>
                </a:cubicBezTo>
                <a:cubicBezTo>
                  <a:pt x="6285" y="446"/>
                  <a:pt x="6293" y="447"/>
                  <a:pt x="6293" y="449"/>
                </a:cubicBezTo>
                <a:lnTo>
                  <a:pt x="6293" y="450"/>
                </a:lnTo>
                <a:cubicBezTo>
                  <a:pt x="6293" y="451"/>
                  <a:pt x="6294" y="451"/>
                  <a:pt x="6296" y="451"/>
                </a:cubicBezTo>
                <a:cubicBezTo>
                  <a:pt x="6299" y="451"/>
                  <a:pt x="6300" y="451"/>
                  <a:pt x="6300" y="448"/>
                </a:cubicBezTo>
                <a:lnTo>
                  <a:pt x="6300" y="448"/>
                </a:lnTo>
                <a:cubicBezTo>
                  <a:pt x="6299" y="446"/>
                  <a:pt x="6298" y="445"/>
                  <a:pt x="6297" y="445"/>
                </a:cubicBezTo>
                <a:lnTo>
                  <a:pt x="6296" y="445"/>
                </a:lnTo>
                <a:cubicBezTo>
                  <a:pt x="6295" y="445"/>
                  <a:pt x="6295" y="445"/>
                  <a:pt x="6295" y="444"/>
                </a:cubicBezTo>
                <a:cubicBezTo>
                  <a:pt x="6295" y="444"/>
                  <a:pt x="6295" y="443"/>
                  <a:pt x="6296" y="443"/>
                </a:cubicBezTo>
                <a:cubicBezTo>
                  <a:pt x="6296" y="442"/>
                  <a:pt x="6296" y="442"/>
                  <a:pt x="6297" y="442"/>
                </a:cubicBezTo>
                <a:cubicBezTo>
                  <a:pt x="6299" y="442"/>
                  <a:pt x="6300" y="443"/>
                  <a:pt x="6301" y="444"/>
                </a:cubicBezTo>
                <a:cubicBezTo>
                  <a:pt x="6302" y="446"/>
                  <a:pt x="6303" y="448"/>
                  <a:pt x="6303" y="450"/>
                </a:cubicBezTo>
                <a:lnTo>
                  <a:pt x="6302" y="454"/>
                </a:lnTo>
                <a:cubicBezTo>
                  <a:pt x="6302" y="457"/>
                  <a:pt x="6304" y="459"/>
                  <a:pt x="6306" y="459"/>
                </a:cubicBezTo>
                <a:cubicBezTo>
                  <a:pt x="6309" y="459"/>
                  <a:pt x="6310" y="460"/>
                  <a:pt x="6310" y="461"/>
                </a:cubicBezTo>
                <a:lnTo>
                  <a:pt x="6310" y="463"/>
                </a:lnTo>
                <a:lnTo>
                  <a:pt x="6310" y="463"/>
                </a:lnTo>
                <a:cubicBezTo>
                  <a:pt x="6310" y="463"/>
                  <a:pt x="6311" y="464"/>
                  <a:pt x="6312" y="464"/>
                </a:cubicBezTo>
                <a:cubicBezTo>
                  <a:pt x="6313" y="464"/>
                  <a:pt x="6314" y="465"/>
                  <a:pt x="6314" y="468"/>
                </a:cubicBezTo>
                <a:cubicBezTo>
                  <a:pt x="6314" y="470"/>
                  <a:pt x="6315" y="472"/>
                  <a:pt x="6317" y="473"/>
                </a:cubicBezTo>
                <a:cubicBezTo>
                  <a:pt x="6319" y="473"/>
                  <a:pt x="6320" y="475"/>
                  <a:pt x="6320" y="478"/>
                </a:cubicBezTo>
                <a:cubicBezTo>
                  <a:pt x="6320" y="479"/>
                  <a:pt x="6320" y="480"/>
                  <a:pt x="6321" y="481"/>
                </a:cubicBezTo>
                <a:cubicBezTo>
                  <a:pt x="6321" y="482"/>
                  <a:pt x="6322" y="483"/>
                  <a:pt x="6323" y="484"/>
                </a:cubicBezTo>
                <a:cubicBezTo>
                  <a:pt x="6324" y="485"/>
                  <a:pt x="6324" y="487"/>
                  <a:pt x="6324" y="490"/>
                </a:cubicBezTo>
                <a:lnTo>
                  <a:pt x="6324" y="495"/>
                </a:lnTo>
                <a:lnTo>
                  <a:pt x="6323" y="502"/>
                </a:lnTo>
                <a:cubicBezTo>
                  <a:pt x="6323" y="502"/>
                  <a:pt x="6323" y="502"/>
                  <a:pt x="6324" y="502"/>
                </a:cubicBezTo>
                <a:cubicBezTo>
                  <a:pt x="6324" y="502"/>
                  <a:pt x="6325" y="502"/>
                  <a:pt x="6326" y="500"/>
                </a:cubicBezTo>
                <a:cubicBezTo>
                  <a:pt x="6327" y="500"/>
                  <a:pt x="6328" y="499"/>
                  <a:pt x="6329" y="499"/>
                </a:cubicBezTo>
                <a:cubicBezTo>
                  <a:pt x="6329" y="499"/>
                  <a:pt x="6329" y="499"/>
                  <a:pt x="6329" y="500"/>
                </a:cubicBezTo>
                <a:cubicBezTo>
                  <a:pt x="6329" y="502"/>
                  <a:pt x="6326" y="510"/>
                  <a:pt x="6319" y="523"/>
                </a:cubicBezTo>
                <a:cubicBezTo>
                  <a:pt x="6311" y="541"/>
                  <a:pt x="6305" y="556"/>
                  <a:pt x="6299" y="571"/>
                </a:cubicBezTo>
                <a:cubicBezTo>
                  <a:pt x="6293" y="589"/>
                  <a:pt x="6289" y="598"/>
                  <a:pt x="6288" y="601"/>
                </a:cubicBezTo>
                <a:cubicBezTo>
                  <a:pt x="6287" y="603"/>
                  <a:pt x="6286" y="605"/>
                  <a:pt x="6286" y="607"/>
                </a:cubicBezTo>
                <a:lnTo>
                  <a:pt x="6279" y="628"/>
                </a:lnTo>
                <a:lnTo>
                  <a:pt x="6277" y="637"/>
                </a:lnTo>
                <a:cubicBezTo>
                  <a:pt x="6275" y="642"/>
                  <a:pt x="6274" y="645"/>
                  <a:pt x="6274" y="645"/>
                </a:cubicBezTo>
                <a:cubicBezTo>
                  <a:pt x="6273" y="646"/>
                  <a:pt x="6273" y="647"/>
                  <a:pt x="6273" y="647"/>
                </a:cubicBezTo>
                <a:cubicBezTo>
                  <a:pt x="6273" y="647"/>
                  <a:pt x="6273" y="648"/>
                  <a:pt x="6273" y="648"/>
                </a:cubicBezTo>
                <a:cubicBezTo>
                  <a:pt x="6273" y="649"/>
                  <a:pt x="6272" y="649"/>
                  <a:pt x="6272" y="649"/>
                </a:cubicBezTo>
                <a:cubicBezTo>
                  <a:pt x="6272" y="650"/>
                  <a:pt x="6272" y="650"/>
                  <a:pt x="6271" y="651"/>
                </a:cubicBezTo>
                <a:cubicBezTo>
                  <a:pt x="6271" y="652"/>
                  <a:pt x="6271" y="652"/>
                  <a:pt x="6271" y="653"/>
                </a:cubicBezTo>
                <a:cubicBezTo>
                  <a:pt x="6269" y="664"/>
                  <a:pt x="6266" y="671"/>
                  <a:pt x="6261" y="676"/>
                </a:cubicBezTo>
                <a:lnTo>
                  <a:pt x="6260" y="677"/>
                </a:lnTo>
                <a:lnTo>
                  <a:pt x="6260" y="678"/>
                </a:lnTo>
                <a:lnTo>
                  <a:pt x="6262" y="677"/>
                </a:lnTo>
                <a:cubicBezTo>
                  <a:pt x="6263" y="677"/>
                  <a:pt x="6264" y="679"/>
                  <a:pt x="6264" y="682"/>
                </a:cubicBezTo>
                <a:cubicBezTo>
                  <a:pt x="6264" y="686"/>
                  <a:pt x="6263" y="688"/>
                  <a:pt x="6262" y="688"/>
                </a:cubicBezTo>
                <a:cubicBezTo>
                  <a:pt x="6261" y="688"/>
                  <a:pt x="6261" y="689"/>
                  <a:pt x="6261" y="690"/>
                </a:cubicBezTo>
                <a:lnTo>
                  <a:pt x="6261" y="698"/>
                </a:lnTo>
                <a:cubicBezTo>
                  <a:pt x="6261" y="701"/>
                  <a:pt x="6261" y="702"/>
                  <a:pt x="6260" y="702"/>
                </a:cubicBezTo>
                <a:cubicBezTo>
                  <a:pt x="6259" y="702"/>
                  <a:pt x="6258" y="703"/>
                  <a:pt x="6257" y="705"/>
                </a:cubicBezTo>
                <a:cubicBezTo>
                  <a:pt x="6257" y="707"/>
                  <a:pt x="6257" y="709"/>
                  <a:pt x="6257" y="712"/>
                </a:cubicBezTo>
                <a:cubicBezTo>
                  <a:pt x="6257" y="719"/>
                  <a:pt x="6257" y="723"/>
                  <a:pt x="6258" y="723"/>
                </a:cubicBezTo>
                <a:cubicBezTo>
                  <a:pt x="6260" y="723"/>
                  <a:pt x="6266" y="720"/>
                  <a:pt x="6276" y="713"/>
                </a:cubicBezTo>
                <a:cubicBezTo>
                  <a:pt x="6286" y="708"/>
                  <a:pt x="6292" y="704"/>
                  <a:pt x="6292" y="703"/>
                </a:cubicBezTo>
                <a:cubicBezTo>
                  <a:pt x="6292" y="702"/>
                  <a:pt x="6293" y="702"/>
                  <a:pt x="6295" y="702"/>
                </a:cubicBezTo>
                <a:cubicBezTo>
                  <a:pt x="6297" y="702"/>
                  <a:pt x="6306" y="695"/>
                  <a:pt x="6321" y="682"/>
                </a:cubicBezTo>
                <a:cubicBezTo>
                  <a:pt x="6337" y="670"/>
                  <a:pt x="6345" y="662"/>
                  <a:pt x="6345" y="659"/>
                </a:cubicBezTo>
                <a:cubicBezTo>
                  <a:pt x="6345" y="659"/>
                  <a:pt x="6344" y="659"/>
                  <a:pt x="6344" y="659"/>
                </a:cubicBezTo>
                <a:lnTo>
                  <a:pt x="6343" y="659"/>
                </a:lnTo>
                <a:cubicBezTo>
                  <a:pt x="6343" y="659"/>
                  <a:pt x="6341" y="660"/>
                  <a:pt x="6338" y="662"/>
                </a:cubicBezTo>
                <a:lnTo>
                  <a:pt x="6342" y="657"/>
                </a:lnTo>
                <a:cubicBezTo>
                  <a:pt x="6347" y="652"/>
                  <a:pt x="6350" y="649"/>
                  <a:pt x="6351" y="649"/>
                </a:cubicBezTo>
                <a:lnTo>
                  <a:pt x="6349" y="652"/>
                </a:lnTo>
                <a:lnTo>
                  <a:pt x="6353" y="650"/>
                </a:lnTo>
                <a:cubicBezTo>
                  <a:pt x="6356" y="647"/>
                  <a:pt x="6357" y="645"/>
                  <a:pt x="6357" y="643"/>
                </a:cubicBezTo>
                <a:cubicBezTo>
                  <a:pt x="6357" y="643"/>
                  <a:pt x="6357" y="643"/>
                  <a:pt x="6357" y="643"/>
                </a:cubicBezTo>
                <a:lnTo>
                  <a:pt x="6353" y="644"/>
                </a:lnTo>
                <a:cubicBezTo>
                  <a:pt x="6353" y="644"/>
                  <a:pt x="6353" y="643"/>
                  <a:pt x="6355" y="640"/>
                </a:cubicBezTo>
                <a:cubicBezTo>
                  <a:pt x="6356" y="638"/>
                  <a:pt x="6358" y="636"/>
                  <a:pt x="6360" y="634"/>
                </a:cubicBezTo>
                <a:cubicBezTo>
                  <a:pt x="6361" y="633"/>
                  <a:pt x="6362" y="632"/>
                  <a:pt x="6363" y="632"/>
                </a:cubicBezTo>
                <a:cubicBezTo>
                  <a:pt x="6363" y="632"/>
                  <a:pt x="6363" y="632"/>
                  <a:pt x="6363" y="632"/>
                </a:cubicBezTo>
                <a:cubicBezTo>
                  <a:pt x="6364" y="632"/>
                  <a:pt x="6364" y="631"/>
                  <a:pt x="6364" y="631"/>
                </a:cubicBezTo>
                <a:lnTo>
                  <a:pt x="6363" y="628"/>
                </a:lnTo>
                <a:cubicBezTo>
                  <a:pt x="6363" y="628"/>
                  <a:pt x="6364" y="628"/>
                  <a:pt x="6365" y="628"/>
                </a:cubicBezTo>
                <a:cubicBezTo>
                  <a:pt x="6365" y="628"/>
                  <a:pt x="6366" y="628"/>
                  <a:pt x="6366" y="627"/>
                </a:cubicBezTo>
                <a:lnTo>
                  <a:pt x="6366" y="626"/>
                </a:lnTo>
                <a:lnTo>
                  <a:pt x="6366" y="625"/>
                </a:lnTo>
                <a:cubicBezTo>
                  <a:pt x="6366" y="623"/>
                  <a:pt x="6366" y="621"/>
                  <a:pt x="6368" y="619"/>
                </a:cubicBezTo>
                <a:cubicBezTo>
                  <a:pt x="6370" y="615"/>
                  <a:pt x="6371" y="607"/>
                  <a:pt x="6371" y="595"/>
                </a:cubicBezTo>
                <a:lnTo>
                  <a:pt x="6371" y="581"/>
                </a:lnTo>
                <a:cubicBezTo>
                  <a:pt x="6371" y="573"/>
                  <a:pt x="6370" y="563"/>
                  <a:pt x="6367" y="550"/>
                </a:cubicBezTo>
                <a:cubicBezTo>
                  <a:pt x="6365" y="539"/>
                  <a:pt x="6364" y="530"/>
                  <a:pt x="6364" y="525"/>
                </a:cubicBezTo>
                <a:cubicBezTo>
                  <a:pt x="6364" y="525"/>
                  <a:pt x="6364" y="523"/>
                  <a:pt x="6365" y="520"/>
                </a:cubicBezTo>
                <a:cubicBezTo>
                  <a:pt x="6365" y="517"/>
                  <a:pt x="6367" y="514"/>
                  <a:pt x="6371" y="512"/>
                </a:cubicBezTo>
                <a:cubicBezTo>
                  <a:pt x="6373" y="511"/>
                  <a:pt x="6375" y="510"/>
                  <a:pt x="6377" y="509"/>
                </a:cubicBezTo>
                <a:cubicBezTo>
                  <a:pt x="6378" y="507"/>
                  <a:pt x="6380" y="506"/>
                  <a:pt x="6381" y="505"/>
                </a:cubicBezTo>
                <a:cubicBezTo>
                  <a:pt x="6381" y="505"/>
                  <a:pt x="6382" y="505"/>
                  <a:pt x="6383" y="504"/>
                </a:cubicBezTo>
                <a:cubicBezTo>
                  <a:pt x="6383" y="504"/>
                  <a:pt x="6383" y="504"/>
                  <a:pt x="6384" y="504"/>
                </a:cubicBezTo>
                <a:cubicBezTo>
                  <a:pt x="6384" y="504"/>
                  <a:pt x="6384" y="504"/>
                  <a:pt x="6384" y="505"/>
                </a:cubicBezTo>
                <a:cubicBezTo>
                  <a:pt x="6386" y="505"/>
                  <a:pt x="6389" y="504"/>
                  <a:pt x="6391" y="503"/>
                </a:cubicBezTo>
                <a:cubicBezTo>
                  <a:pt x="6393" y="502"/>
                  <a:pt x="6395" y="501"/>
                  <a:pt x="6397" y="501"/>
                </a:cubicBezTo>
                <a:cubicBezTo>
                  <a:pt x="6398" y="501"/>
                  <a:pt x="6399" y="502"/>
                  <a:pt x="6400" y="503"/>
                </a:cubicBezTo>
                <a:cubicBezTo>
                  <a:pt x="6400" y="505"/>
                  <a:pt x="6398" y="508"/>
                  <a:pt x="6395" y="511"/>
                </a:cubicBezTo>
                <a:cubicBezTo>
                  <a:pt x="6391" y="513"/>
                  <a:pt x="6390" y="516"/>
                  <a:pt x="6390" y="517"/>
                </a:cubicBezTo>
                <a:cubicBezTo>
                  <a:pt x="6390" y="517"/>
                  <a:pt x="6390" y="518"/>
                  <a:pt x="6390" y="518"/>
                </a:cubicBezTo>
                <a:lnTo>
                  <a:pt x="6390" y="518"/>
                </a:lnTo>
                <a:cubicBezTo>
                  <a:pt x="6390" y="519"/>
                  <a:pt x="6390" y="519"/>
                  <a:pt x="6388" y="519"/>
                </a:cubicBezTo>
                <a:cubicBezTo>
                  <a:pt x="6386" y="519"/>
                  <a:pt x="6385" y="519"/>
                  <a:pt x="6385" y="521"/>
                </a:cubicBezTo>
                <a:lnTo>
                  <a:pt x="6386" y="522"/>
                </a:lnTo>
                <a:cubicBezTo>
                  <a:pt x="6386" y="523"/>
                  <a:pt x="6385" y="524"/>
                  <a:pt x="6385" y="524"/>
                </a:cubicBezTo>
                <a:cubicBezTo>
                  <a:pt x="6384" y="524"/>
                  <a:pt x="6383" y="525"/>
                  <a:pt x="6383" y="526"/>
                </a:cubicBezTo>
                <a:cubicBezTo>
                  <a:pt x="6383" y="528"/>
                  <a:pt x="6383" y="530"/>
                  <a:pt x="6384" y="531"/>
                </a:cubicBezTo>
                <a:cubicBezTo>
                  <a:pt x="6386" y="532"/>
                  <a:pt x="6386" y="532"/>
                  <a:pt x="6386" y="532"/>
                </a:cubicBezTo>
                <a:cubicBezTo>
                  <a:pt x="6386" y="532"/>
                  <a:pt x="6387" y="532"/>
                  <a:pt x="6388" y="534"/>
                </a:cubicBezTo>
                <a:lnTo>
                  <a:pt x="6395" y="573"/>
                </a:lnTo>
                <a:cubicBezTo>
                  <a:pt x="6397" y="585"/>
                  <a:pt x="6398" y="598"/>
                  <a:pt x="6398" y="613"/>
                </a:cubicBezTo>
                <a:cubicBezTo>
                  <a:pt x="6398" y="629"/>
                  <a:pt x="6398" y="640"/>
                  <a:pt x="6397" y="646"/>
                </a:cubicBezTo>
                <a:lnTo>
                  <a:pt x="6397" y="649"/>
                </a:lnTo>
                <a:cubicBezTo>
                  <a:pt x="6397" y="649"/>
                  <a:pt x="6398" y="649"/>
                  <a:pt x="6399" y="649"/>
                </a:cubicBezTo>
                <a:cubicBezTo>
                  <a:pt x="6400" y="649"/>
                  <a:pt x="6401" y="649"/>
                  <a:pt x="6401" y="650"/>
                </a:cubicBezTo>
                <a:lnTo>
                  <a:pt x="6401" y="652"/>
                </a:lnTo>
                <a:cubicBezTo>
                  <a:pt x="6401" y="652"/>
                  <a:pt x="6400" y="654"/>
                  <a:pt x="6398" y="656"/>
                </a:cubicBezTo>
                <a:cubicBezTo>
                  <a:pt x="6396" y="657"/>
                  <a:pt x="6396" y="659"/>
                  <a:pt x="6396" y="661"/>
                </a:cubicBezTo>
                <a:lnTo>
                  <a:pt x="6396" y="664"/>
                </a:lnTo>
                <a:cubicBezTo>
                  <a:pt x="6395" y="664"/>
                  <a:pt x="6395" y="663"/>
                  <a:pt x="6393" y="661"/>
                </a:cubicBezTo>
                <a:cubicBezTo>
                  <a:pt x="6392" y="659"/>
                  <a:pt x="6391" y="658"/>
                  <a:pt x="6390" y="658"/>
                </a:cubicBezTo>
                <a:lnTo>
                  <a:pt x="6390" y="661"/>
                </a:lnTo>
                <a:cubicBezTo>
                  <a:pt x="6390" y="664"/>
                  <a:pt x="6390" y="667"/>
                  <a:pt x="6388" y="671"/>
                </a:cubicBezTo>
                <a:cubicBezTo>
                  <a:pt x="6386" y="675"/>
                  <a:pt x="6385" y="679"/>
                  <a:pt x="6382" y="683"/>
                </a:cubicBezTo>
                <a:cubicBezTo>
                  <a:pt x="6380" y="686"/>
                  <a:pt x="6378" y="688"/>
                  <a:pt x="6377" y="688"/>
                </a:cubicBezTo>
                <a:cubicBezTo>
                  <a:pt x="6376" y="688"/>
                  <a:pt x="6375" y="689"/>
                  <a:pt x="6375" y="692"/>
                </a:cubicBezTo>
                <a:cubicBezTo>
                  <a:pt x="6375" y="694"/>
                  <a:pt x="6368" y="702"/>
                  <a:pt x="6352" y="716"/>
                </a:cubicBezTo>
                <a:cubicBezTo>
                  <a:pt x="6337" y="730"/>
                  <a:pt x="6328" y="737"/>
                  <a:pt x="6325" y="737"/>
                </a:cubicBezTo>
                <a:cubicBezTo>
                  <a:pt x="6324" y="737"/>
                  <a:pt x="6323" y="737"/>
                  <a:pt x="6322" y="739"/>
                </a:cubicBezTo>
                <a:cubicBezTo>
                  <a:pt x="6321" y="740"/>
                  <a:pt x="6317" y="742"/>
                  <a:pt x="6310" y="746"/>
                </a:cubicBezTo>
                <a:cubicBezTo>
                  <a:pt x="6303" y="749"/>
                  <a:pt x="6296" y="752"/>
                  <a:pt x="6288" y="755"/>
                </a:cubicBezTo>
                <a:cubicBezTo>
                  <a:pt x="6280" y="758"/>
                  <a:pt x="6275" y="759"/>
                  <a:pt x="6272" y="759"/>
                </a:cubicBezTo>
                <a:cubicBezTo>
                  <a:pt x="6266" y="759"/>
                  <a:pt x="6262" y="758"/>
                  <a:pt x="6257" y="755"/>
                </a:cubicBezTo>
                <a:cubicBezTo>
                  <a:pt x="6252" y="752"/>
                  <a:pt x="6250" y="750"/>
                  <a:pt x="6250" y="747"/>
                </a:cubicBezTo>
                <a:cubicBezTo>
                  <a:pt x="6250" y="746"/>
                  <a:pt x="6249" y="745"/>
                  <a:pt x="6248" y="743"/>
                </a:cubicBezTo>
                <a:cubicBezTo>
                  <a:pt x="6247" y="742"/>
                  <a:pt x="6245" y="741"/>
                  <a:pt x="6243" y="740"/>
                </a:cubicBezTo>
                <a:cubicBezTo>
                  <a:pt x="6238" y="738"/>
                  <a:pt x="6234" y="735"/>
                  <a:pt x="6229" y="730"/>
                </a:cubicBezTo>
                <a:cubicBezTo>
                  <a:pt x="6224" y="725"/>
                  <a:pt x="6221" y="720"/>
                  <a:pt x="6220" y="717"/>
                </a:cubicBezTo>
                <a:cubicBezTo>
                  <a:pt x="6218" y="713"/>
                  <a:pt x="6217" y="708"/>
                  <a:pt x="6217" y="702"/>
                </a:cubicBezTo>
                <a:cubicBezTo>
                  <a:pt x="6217" y="682"/>
                  <a:pt x="6225" y="648"/>
                  <a:pt x="6241" y="598"/>
                </a:cubicBezTo>
                <a:cubicBezTo>
                  <a:pt x="6243" y="593"/>
                  <a:pt x="6245" y="589"/>
                  <a:pt x="6246" y="585"/>
                </a:cubicBezTo>
                <a:lnTo>
                  <a:pt x="6246" y="579"/>
                </a:lnTo>
                <a:cubicBezTo>
                  <a:pt x="6246" y="579"/>
                  <a:pt x="6246" y="579"/>
                  <a:pt x="6246" y="579"/>
                </a:cubicBezTo>
                <a:cubicBezTo>
                  <a:pt x="6246" y="579"/>
                  <a:pt x="6246" y="578"/>
                  <a:pt x="6247" y="577"/>
                </a:cubicBezTo>
                <a:cubicBezTo>
                  <a:pt x="6248" y="577"/>
                  <a:pt x="6250" y="572"/>
                  <a:pt x="6253" y="563"/>
                </a:cubicBezTo>
                <a:cubicBezTo>
                  <a:pt x="6254" y="559"/>
                  <a:pt x="6256" y="556"/>
                  <a:pt x="6257" y="553"/>
                </a:cubicBezTo>
                <a:cubicBezTo>
                  <a:pt x="6258" y="550"/>
                  <a:pt x="6259" y="549"/>
                  <a:pt x="6260" y="549"/>
                </a:cubicBezTo>
                <a:cubicBezTo>
                  <a:pt x="6261" y="549"/>
                  <a:pt x="6261" y="547"/>
                  <a:pt x="6261" y="544"/>
                </a:cubicBezTo>
                <a:cubicBezTo>
                  <a:pt x="6261" y="542"/>
                  <a:pt x="6261" y="540"/>
                  <a:pt x="6262" y="539"/>
                </a:cubicBezTo>
                <a:cubicBezTo>
                  <a:pt x="6262" y="538"/>
                  <a:pt x="6263" y="537"/>
                  <a:pt x="6264" y="537"/>
                </a:cubicBezTo>
                <a:cubicBezTo>
                  <a:pt x="6265" y="537"/>
                  <a:pt x="6266" y="536"/>
                  <a:pt x="6266" y="535"/>
                </a:cubicBezTo>
                <a:lnTo>
                  <a:pt x="6265" y="534"/>
                </a:lnTo>
                <a:lnTo>
                  <a:pt x="6265" y="530"/>
                </a:lnTo>
                <a:cubicBezTo>
                  <a:pt x="6265" y="528"/>
                  <a:pt x="6266" y="525"/>
                  <a:pt x="6267" y="524"/>
                </a:cubicBezTo>
                <a:cubicBezTo>
                  <a:pt x="6268" y="523"/>
                  <a:pt x="6269" y="523"/>
                  <a:pt x="6270" y="523"/>
                </a:cubicBezTo>
                <a:lnTo>
                  <a:pt x="6271" y="523"/>
                </a:lnTo>
                <a:cubicBezTo>
                  <a:pt x="6271" y="523"/>
                  <a:pt x="6272" y="523"/>
                  <a:pt x="6272" y="522"/>
                </a:cubicBezTo>
                <a:lnTo>
                  <a:pt x="6271" y="515"/>
                </a:lnTo>
                <a:cubicBezTo>
                  <a:pt x="6271" y="513"/>
                  <a:pt x="6271" y="512"/>
                  <a:pt x="6273" y="512"/>
                </a:cubicBezTo>
                <a:cubicBezTo>
                  <a:pt x="6274" y="512"/>
                  <a:pt x="6275" y="512"/>
                  <a:pt x="6276" y="511"/>
                </a:cubicBezTo>
                <a:cubicBezTo>
                  <a:pt x="6278" y="510"/>
                  <a:pt x="6278" y="508"/>
                  <a:pt x="6278" y="505"/>
                </a:cubicBezTo>
                <a:cubicBezTo>
                  <a:pt x="6278" y="504"/>
                  <a:pt x="6278" y="504"/>
                  <a:pt x="6278" y="504"/>
                </a:cubicBezTo>
                <a:lnTo>
                  <a:pt x="6274" y="505"/>
                </a:lnTo>
                <a:cubicBezTo>
                  <a:pt x="6274" y="505"/>
                  <a:pt x="6274" y="504"/>
                  <a:pt x="6275" y="504"/>
                </a:cubicBezTo>
                <a:cubicBezTo>
                  <a:pt x="6275" y="504"/>
                  <a:pt x="6276" y="503"/>
                  <a:pt x="6278" y="501"/>
                </a:cubicBezTo>
                <a:lnTo>
                  <a:pt x="6278" y="502"/>
                </a:lnTo>
                <a:cubicBezTo>
                  <a:pt x="6280" y="502"/>
                  <a:pt x="6281" y="501"/>
                  <a:pt x="6283" y="499"/>
                </a:cubicBezTo>
                <a:cubicBezTo>
                  <a:pt x="6284" y="498"/>
                  <a:pt x="6284" y="497"/>
                  <a:pt x="6284" y="496"/>
                </a:cubicBezTo>
                <a:lnTo>
                  <a:pt x="6284" y="496"/>
                </a:lnTo>
                <a:lnTo>
                  <a:pt x="6284" y="495"/>
                </a:lnTo>
                <a:cubicBezTo>
                  <a:pt x="6284" y="495"/>
                  <a:pt x="6285" y="492"/>
                  <a:pt x="6288" y="487"/>
                </a:cubicBezTo>
                <a:cubicBezTo>
                  <a:pt x="6290" y="483"/>
                  <a:pt x="6291" y="480"/>
                  <a:pt x="6291" y="479"/>
                </a:cubicBezTo>
                <a:cubicBezTo>
                  <a:pt x="6291" y="478"/>
                  <a:pt x="6291" y="478"/>
                  <a:pt x="6290" y="478"/>
                </a:cubicBezTo>
                <a:cubicBezTo>
                  <a:pt x="6278" y="478"/>
                  <a:pt x="6245" y="485"/>
                  <a:pt x="6191" y="498"/>
                </a:cubicBezTo>
                <a:cubicBezTo>
                  <a:pt x="6177" y="502"/>
                  <a:pt x="6168" y="504"/>
                  <a:pt x="6164" y="505"/>
                </a:cubicBezTo>
                <a:lnTo>
                  <a:pt x="6163" y="505"/>
                </a:lnTo>
                <a:cubicBezTo>
                  <a:pt x="6163" y="504"/>
                  <a:pt x="6167" y="503"/>
                  <a:pt x="6176" y="500"/>
                </a:cubicBezTo>
                <a:cubicBezTo>
                  <a:pt x="6185" y="497"/>
                  <a:pt x="6190" y="495"/>
                  <a:pt x="6190" y="493"/>
                </a:cubicBezTo>
                <a:lnTo>
                  <a:pt x="6189" y="492"/>
                </a:lnTo>
                <a:lnTo>
                  <a:pt x="6191" y="492"/>
                </a:lnTo>
                <a:cubicBezTo>
                  <a:pt x="6197" y="492"/>
                  <a:pt x="6203" y="492"/>
                  <a:pt x="6209" y="490"/>
                </a:cubicBezTo>
                <a:cubicBezTo>
                  <a:pt x="6217" y="488"/>
                  <a:pt x="6222" y="486"/>
                  <a:pt x="6222" y="485"/>
                </a:cubicBezTo>
                <a:cubicBezTo>
                  <a:pt x="6222" y="483"/>
                  <a:pt x="6220" y="482"/>
                  <a:pt x="6215" y="481"/>
                </a:cubicBezTo>
                <a:cubicBezTo>
                  <a:pt x="6208" y="481"/>
                  <a:pt x="6204" y="482"/>
                  <a:pt x="6203" y="485"/>
                </a:cubicBezTo>
                <a:lnTo>
                  <a:pt x="6202" y="486"/>
                </a:lnTo>
                <a:cubicBezTo>
                  <a:pt x="6202" y="487"/>
                  <a:pt x="6202" y="487"/>
                  <a:pt x="6203" y="487"/>
                </a:cubicBezTo>
                <a:cubicBezTo>
                  <a:pt x="6203" y="487"/>
                  <a:pt x="6204" y="487"/>
                  <a:pt x="6206" y="486"/>
                </a:cubicBezTo>
                <a:lnTo>
                  <a:pt x="6209" y="485"/>
                </a:lnTo>
                <a:cubicBezTo>
                  <a:pt x="6209" y="486"/>
                  <a:pt x="6208" y="487"/>
                  <a:pt x="6207" y="487"/>
                </a:cubicBezTo>
                <a:cubicBezTo>
                  <a:pt x="6206" y="488"/>
                  <a:pt x="6205" y="489"/>
                  <a:pt x="6204" y="489"/>
                </a:cubicBezTo>
                <a:cubicBezTo>
                  <a:pt x="6204" y="489"/>
                  <a:pt x="6203" y="488"/>
                  <a:pt x="6201" y="487"/>
                </a:cubicBezTo>
                <a:cubicBezTo>
                  <a:pt x="6200" y="485"/>
                  <a:pt x="6199" y="485"/>
                  <a:pt x="6197" y="485"/>
                </a:cubicBezTo>
                <a:lnTo>
                  <a:pt x="6197" y="485"/>
                </a:lnTo>
                <a:cubicBezTo>
                  <a:pt x="6196" y="485"/>
                  <a:pt x="6196" y="485"/>
                  <a:pt x="6196" y="486"/>
                </a:cubicBezTo>
                <a:lnTo>
                  <a:pt x="6197" y="490"/>
                </a:lnTo>
                <a:cubicBezTo>
                  <a:pt x="6197" y="491"/>
                  <a:pt x="6196" y="492"/>
                  <a:pt x="6195" y="492"/>
                </a:cubicBezTo>
                <a:cubicBezTo>
                  <a:pt x="6194" y="491"/>
                  <a:pt x="6193" y="490"/>
                  <a:pt x="6191" y="487"/>
                </a:cubicBezTo>
                <a:cubicBezTo>
                  <a:pt x="6189" y="484"/>
                  <a:pt x="6187" y="482"/>
                  <a:pt x="6186" y="482"/>
                </a:cubicBezTo>
                <a:cubicBezTo>
                  <a:pt x="6186" y="482"/>
                  <a:pt x="6185" y="483"/>
                  <a:pt x="6185" y="484"/>
                </a:cubicBezTo>
                <a:lnTo>
                  <a:pt x="6186" y="487"/>
                </a:lnTo>
                <a:cubicBezTo>
                  <a:pt x="6186" y="490"/>
                  <a:pt x="6184" y="490"/>
                  <a:pt x="6180" y="490"/>
                </a:cubicBezTo>
                <a:cubicBezTo>
                  <a:pt x="6176" y="490"/>
                  <a:pt x="6174" y="490"/>
                  <a:pt x="6174" y="489"/>
                </a:cubicBezTo>
                <a:cubicBezTo>
                  <a:pt x="6174" y="488"/>
                  <a:pt x="6173" y="488"/>
                  <a:pt x="6173" y="488"/>
                </a:cubicBezTo>
                <a:lnTo>
                  <a:pt x="6171" y="491"/>
                </a:lnTo>
                <a:cubicBezTo>
                  <a:pt x="6170" y="494"/>
                  <a:pt x="6168" y="496"/>
                  <a:pt x="6164" y="496"/>
                </a:cubicBezTo>
                <a:cubicBezTo>
                  <a:pt x="6159" y="496"/>
                  <a:pt x="6156" y="497"/>
                  <a:pt x="6155" y="499"/>
                </a:cubicBezTo>
                <a:cubicBezTo>
                  <a:pt x="6155" y="499"/>
                  <a:pt x="6154" y="499"/>
                  <a:pt x="6152" y="499"/>
                </a:cubicBezTo>
                <a:lnTo>
                  <a:pt x="6149" y="499"/>
                </a:lnTo>
                <a:cubicBezTo>
                  <a:pt x="6149" y="499"/>
                  <a:pt x="6148" y="499"/>
                  <a:pt x="6148" y="499"/>
                </a:cubicBezTo>
                <a:cubicBezTo>
                  <a:pt x="6147" y="499"/>
                  <a:pt x="6147" y="500"/>
                  <a:pt x="6147" y="500"/>
                </a:cubicBezTo>
                <a:cubicBezTo>
                  <a:pt x="6147" y="501"/>
                  <a:pt x="6147" y="502"/>
                  <a:pt x="6147" y="502"/>
                </a:cubicBezTo>
                <a:lnTo>
                  <a:pt x="6143" y="502"/>
                </a:lnTo>
                <a:cubicBezTo>
                  <a:pt x="6143" y="502"/>
                  <a:pt x="6142" y="502"/>
                  <a:pt x="6142" y="503"/>
                </a:cubicBezTo>
                <a:cubicBezTo>
                  <a:pt x="6142" y="504"/>
                  <a:pt x="6141" y="504"/>
                  <a:pt x="6140" y="504"/>
                </a:cubicBezTo>
                <a:lnTo>
                  <a:pt x="6138" y="504"/>
                </a:lnTo>
                <a:lnTo>
                  <a:pt x="6138" y="504"/>
                </a:lnTo>
                <a:cubicBezTo>
                  <a:pt x="6136" y="504"/>
                  <a:pt x="6135" y="504"/>
                  <a:pt x="6133" y="505"/>
                </a:cubicBezTo>
                <a:cubicBezTo>
                  <a:pt x="6132" y="507"/>
                  <a:pt x="6131" y="507"/>
                  <a:pt x="6130" y="508"/>
                </a:cubicBezTo>
                <a:cubicBezTo>
                  <a:pt x="6129" y="508"/>
                  <a:pt x="6128" y="509"/>
                  <a:pt x="6128" y="509"/>
                </a:cubicBezTo>
                <a:cubicBezTo>
                  <a:pt x="6127" y="509"/>
                  <a:pt x="6127" y="509"/>
                  <a:pt x="6127" y="511"/>
                </a:cubicBezTo>
                <a:lnTo>
                  <a:pt x="6127" y="512"/>
                </a:lnTo>
                <a:cubicBezTo>
                  <a:pt x="6128" y="515"/>
                  <a:pt x="6129" y="517"/>
                  <a:pt x="6129" y="517"/>
                </a:cubicBezTo>
                <a:cubicBezTo>
                  <a:pt x="6130" y="517"/>
                  <a:pt x="6130" y="516"/>
                  <a:pt x="6130" y="514"/>
                </a:cubicBezTo>
                <a:cubicBezTo>
                  <a:pt x="6130" y="513"/>
                  <a:pt x="6130" y="512"/>
                  <a:pt x="6130" y="511"/>
                </a:cubicBezTo>
                <a:lnTo>
                  <a:pt x="6131" y="511"/>
                </a:lnTo>
                <a:cubicBezTo>
                  <a:pt x="6132" y="511"/>
                  <a:pt x="6133" y="511"/>
                  <a:pt x="6133" y="513"/>
                </a:cubicBezTo>
                <a:cubicBezTo>
                  <a:pt x="6133" y="514"/>
                  <a:pt x="6133" y="514"/>
                  <a:pt x="6133" y="515"/>
                </a:cubicBezTo>
                <a:lnTo>
                  <a:pt x="6133" y="516"/>
                </a:lnTo>
                <a:cubicBezTo>
                  <a:pt x="6133" y="516"/>
                  <a:pt x="6134" y="516"/>
                  <a:pt x="6135" y="514"/>
                </a:cubicBezTo>
                <a:cubicBezTo>
                  <a:pt x="6137" y="513"/>
                  <a:pt x="6137" y="513"/>
                  <a:pt x="6138" y="513"/>
                </a:cubicBezTo>
                <a:cubicBezTo>
                  <a:pt x="6138" y="513"/>
                  <a:pt x="6138" y="513"/>
                  <a:pt x="6138" y="513"/>
                </a:cubicBezTo>
                <a:lnTo>
                  <a:pt x="6137" y="515"/>
                </a:lnTo>
                <a:cubicBezTo>
                  <a:pt x="6136" y="518"/>
                  <a:pt x="6135" y="519"/>
                  <a:pt x="6132" y="519"/>
                </a:cubicBezTo>
                <a:cubicBezTo>
                  <a:pt x="6129" y="519"/>
                  <a:pt x="6128" y="520"/>
                  <a:pt x="6128" y="521"/>
                </a:cubicBezTo>
                <a:lnTo>
                  <a:pt x="6128" y="522"/>
                </a:lnTo>
                <a:cubicBezTo>
                  <a:pt x="6128" y="523"/>
                  <a:pt x="6129" y="524"/>
                  <a:pt x="6131" y="524"/>
                </a:cubicBezTo>
                <a:cubicBezTo>
                  <a:pt x="6133" y="525"/>
                  <a:pt x="6134" y="527"/>
                  <a:pt x="6134" y="527"/>
                </a:cubicBezTo>
                <a:lnTo>
                  <a:pt x="6133" y="530"/>
                </a:lnTo>
                <a:cubicBezTo>
                  <a:pt x="6133" y="530"/>
                  <a:pt x="6133" y="530"/>
                  <a:pt x="6135" y="530"/>
                </a:cubicBezTo>
                <a:lnTo>
                  <a:pt x="6136" y="530"/>
                </a:lnTo>
                <a:cubicBezTo>
                  <a:pt x="6136" y="530"/>
                  <a:pt x="6137" y="531"/>
                  <a:pt x="6138" y="532"/>
                </a:cubicBezTo>
                <a:cubicBezTo>
                  <a:pt x="6138" y="534"/>
                  <a:pt x="6138" y="536"/>
                  <a:pt x="6139" y="536"/>
                </a:cubicBezTo>
                <a:lnTo>
                  <a:pt x="6140" y="537"/>
                </a:lnTo>
                <a:cubicBezTo>
                  <a:pt x="6140" y="537"/>
                  <a:pt x="6140" y="537"/>
                  <a:pt x="6140" y="536"/>
                </a:cubicBezTo>
                <a:cubicBezTo>
                  <a:pt x="6140" y="536"/>
                  <a:pt x="6139" y="535"/>
                  <a:pt x="6139" y="534"/>
                </a:cubicBezTo>
                <a:lnTo>
                  <a:pt x="6139" y="534"/>
                </a:lnTo>
                <a:cubicBezTo>
                  <a:pt x="6139" y="533"/>
                  <a:pt x="6140" y="533"/>
                  <a:pt x="6140" y="533"/>
                </a:cubicBezTo>
                <a:cubicBezTo>
                  <a:pt x="6142" y="533"/>
                  <a:pt x="6143" y="534"/>
                  <a:pt x="6144" y="537"/>
                </a:cubicBezTo>
                <a:cubicBezTo>
                  <a:pt x="6145" y="539"/>
                  <a:pt x="6148" y="544"/>
                  <a:pt x="6152" y="550"/>
                </a:cubicBezTo>
                <a:cubicBezTo>
                  <a:pt x="6175" y="573"/>
                  <a:pt x="6186" y="600"/>
                  <a:pt x="6186" y="628"/>
                </a:cubicBezTo>
                <a:cubicBezTo>
                  <a:pt x="6186" y="654"/>
                  <a:pt x="6176" y="683"/>
                  <a:pt x="6157" y="713"/>
                </a:cubicBezTo>
                <a:cubicBezTo>
                  <a:pt x="6138" y="742"/>
                  <a:pt x="6117" y="765"/>
                  <a:pt x="6095" y="781"/>
                </a:cubicBezTo>
                <a:cubicBezTo>
                  <a:pt x="6078" y="794"/>
                  <a:pt x="6063" y="800"/>
                  <a:pt x="6050" y="800"/>
                </a:cubicBezTo>
                <a:close/>
                <a:moveTo>
                  <a:pt x="6396" y="615"/>
                </a:moveTo>
                <a:cubicBezTo>
                  <a:pt x="6396" y="615"/>
                  <a:pt x="6397" y="614"/>
                  <a:pt x="6397" y="611"/>
                </a:cubicBezTo>
                <a:cubicBezTo>
                  <a:pt x="6397" y="608"/>
                  <a:pt x="6396" y="607"/>
                  <a:pt x="6396" y="607"/>
                </a:cubicBezTo>
                <a:cubicBezTo>
                  <a:pt x="6395" y="607"/>
                  <a:pt x="6395" y="609"/>
                  <a:pt x="6395" y="615"/>
                </a:cubicBezTo>
                <a:lnTo>
                  <a:pt x="6396" y="615"/>
                </a:lnTo>
                <a:close/>
                <a:moveTo>
                  <a:pt x="6274" y="752"/>
                </a:moveTo>
                <a:cubicBezTo>
                  <a:pt x="6276" y="752"/>
                  <a:pt x="6278" y="752"/>
                  <a:pt x="6279" y="751"/>
                </a:cubicBezTo>
                <a:cubicBezTo>
                  <a:pt x="6281" y="750"/>
                  <a:pt x="6282" y="750"/>
                  <a:pt x="6282" y="749"/>
                </a:cubicBezTo>
                <a:cubicBezTo>
                  <a:pt x="6282" y="749"/>
                  <a:pt x="6281" y="748"/>
                  <a:pt x="6278" y="748"/>
                </a:cubicBezTo>
                <a:cubicBezTo>
                  <a:pt x="6270" y="748"/>
                  <a:pt x="6266" y="749"/>
                  <a:pt x="6266" y="751"/>
                </a:cubicBezTo>
                <a:cubicBezTo>
                  <a:pt x="6266" y="752"/>
                  <a:pt x="6267" y="752"/>
                  <a:pt x="6270" y="752"/>
                </a:cubicBezTo>
                <a:lnTo>
                  <a:pt x="6274" y="752"/>
                </a:lnTo>
                <a:close/>
                <a:moveTo>
                  <a:pt x="6343" y="718"/>
                </a:moveTo>
                <a:cubicBezTo>
                  <a:pt x="6343" y="718"/>
                  <a:pt x="6344" y="718"/>
                  <a:pt x="6345" y="717"/>
                </a:cubicBezTo>
                <a:cubicBezTo>
                  <a:pt x="6346" y="716"/>
                  <a:pt x="6348" y="715"/>
                  <a:pt x="6350" y="713"/>
                </a:cubicBezTo>
                <a:cubicBezTo>
                  <a:pt x="6352" y="711"/>
                  <a:pt x="6355" y="709"/>
                  <a:pt x="6356" y="706"/>
                </a:cubicBezTo>
                <a:cubicBezTo>
                  <a:pt x="6359" y="703"/>
                  <a:pt x="6360" y="701"/>
                  <a:pt x="6360" y="701"/>
                </a:cubicBezTo>
                <a:cubicBezTo>
                  <a:pt x="6360" y="701"/>
                  <a:pt x="6357" y="703"/>
                  <a:pt x="6353" y="708"/>
                </a:cubicBezTo>
                <a:cubicBezTo>
                  <a:pt x="6346" y="713"/>
                  <a:pt x="6342" y="717"/>
                  <a:pt x="6342" y="718"/>
                </a:cubicBezTo>
                <a:cubicBezTo>
                  <a:pt x="6342" y="718"/>
                  <a:pt x="6342" y="718"/>
                  <a:pt x="6343" y="718"/>
                </a:cubicBezTo>
                <a:close/>
                <a:moveTo>
                  <a:pt x="6365" y="699"/>
                </a:moveTo>
                <a:cubicBezTo>
                  <a:pt x="6365" y="699"/>
                  <a:pt x="6367" y="698"/>
                  <a:pt x="6369" y="696"/>
                </a:cubicBezTo>
                <a:cubicBezTo>
                  <a:pt x="6371" y="693"/>
                  <a:pt x="6372" y="691"/>
                  <a:pt x="6372" y="690"/>
                </a:cubicBezTo>
                <a:cubicBezTo>
                  <a:pt x="6371" y="690"/>
                  <a:pt x="6370" y="691"/>
                  <a:pt x="6368" y="694"/>
                </a:cubicBezTo>
                <a:cubicBezTo>
                  <a:pt x="6366" y="696"/>
                  <a:pt x="6365" y="698"/>
                  <a:pt x="6365" y="699"/>
                </a:cubicBezTo>
                <a:close/>
                <a:moveTo>
                  <a:pt x="6378" y="681"/>
                </a:moveTo>
                <a:lnTo>
                  <a:pt x="6382" y="677"/>
                </a:lnTo>
                <a:cubicBezTo>
                  <a:pt x="6384" y="674"/>
                  <a:pt x="6386" y="672"/>
                  <a:pt x="6386" y="671"/>
                </a:cubicBezTo>
                <a:lnTo>
                  <a:pt x="6386" y="671"/>
                </a:lnTo>
                <a:lnTo>
                  <a:pt x="6385" y="671"/>
                </a:lnTo>
                <a:cubicBezTo>
                  <a:pt x="6384" y="671"/>
                  <a:pt x="6383" y="672"/>
                  <a:pt x="6381" y="675"/>
                </a:cubicBezTo>
                <a:cubicBezTo>
                  <a:pt x="6379" y="679"/>
                  <a:pt x="6378" y="680"/>
                  <a:pt x="6378" y="681"/>
                </a:cubicBezTo>
                <a:close/>
                <a:moveTo>
                  <a:pt x="6382" y="612"/>
                </a:moveTo>
                <a:cubicBezTo>
                  <a:pt x="6383" y="612"/>
                  <a:pt x="6383" y="611"/>
                  <a:pt x="6384" y="610"/>
                </a:cubicBezTo>
                <a:cubicBezTo>
                  <a:pt x="6385" y="609"/>
                  <a:pt x="6385" y="608"/>
                  <a:pt x="6385" y="608"/>
                </a:cubicBezTo>
                <a:cubicBezTo>
                  <a:pt x="6385" y="606"/>
                  <a:pt x="6384" y="606"/>
                  <a:pt x="6383" y="606"/>
                </a:cubicBezTo>
                <a:cubicBezTo>
                  <a:pt x="6382" y="606"/>
                  <a:pt x="6381" y="607"/>
                  <a:pt x="6381" y="608"/>
                </a:cubicBezTo>
                <a:cubicBezTo>
                  <a:pt x="6381" y="611"/>
                  <a:pt x="6381" y="612"/>
                  <a:pt x="6382" y="612"/>
                </a:cubicBezTo>
                <a:close/>
                <a:moveTo>
                  <a:pt x="6380" y="517"/>
                </a:moveTo>
                <a:cubicBezTo>
                  <a:pt x="6381" y="517"/>
                  <a:pt x="6383" y="516"/>
                  <a:pt x="6387" y="514"/>
                </a:cubicBezTo>
                <a:cubicBezTo>
                  <a:pt x="6392" y="510"/>
                  <a:pt x="6396" y="507"/>
                  <a:pt x="6397" y="506"/>
                </a:cubicBezTo>
                <a:cubicBezTo>
                  <a:pt x="6396" y="506"/>
                  <a:pt x="6396" y="506"/>
                  <a:pt x="6394" y="507"/>
                </a:cubicBezTo>
                <a:cubicBezTo>
                  <a:pt x="6393" y="507"/>
                  <a:pt x="6391" y="508"/>
                  <a:pt x="6388" y="510"/>
                </a:cubicBezTo>
                <a:cubicBezTo>
                  <a:pt x="6386" y="511"/>
                  <a:pt x="6384" y="513"/>
                  <a:pt x="6382" y="514"/>
                </a:cubicBezTo>
                <a:cubicBezTo>
                  <a:pt x="6380" y="516"/>
                  <a:pt x="6379" y="517"/>
                  <a:pt x="6379" y="517"/>
                </a:cubicBezTo>
                <a:lnTo>
                  <a:pt x="6380" y="517"/>
                </a:lnTo>
                <a:close/>
                <a:moveTo>
                  <a:pt x="6376" y="634"/>
                </a:moveTo>
                <a:cubicBezTo>
                  <a:pt x="6376" y="634"/>
                  <a:pt x="6377" y="633"/>
                  <a:pt x="6378" y="629"/>
                </a:cubicBezTo>
                <a:cubicBezTo>
                  <a:pt x="6380" y="623"/>
                  <a:pt x="6381" y="619"/>
                  <a:pt x="6381" y="617"/>
                </a:cubicBezTo>
                <a:lnTo>
                  <a:pt x="6381" y="616"/>
                </a:lnTo>
                <a:cubicBezTo>
                  <a:pt x="6381" y="616"/>
                  <a:pt x="6380" y="619"/>
                  <a:pt x="6378" y="623"/>
                </a:cubicBezTo>
                <a:cubicBezTo>
                  <a:pt x="6376" y="630"/>
                  <a:pt x="6375" y="633"/>
                  <a:pt x="6375" y="634"/>
                </a:cubicBezTo>
                <a:lnTo>
                  <a:pt x="6376" y="634"/>
                </a:lnTo>
                <a:close/>
                <a:moveTo>
                  <a:pt x="6366" y="665"/>
                </a:moveTo>
                <a:cubicBezTo>
                  <a:pt x="6367" y="665"/>
                  <a:pt x="6368" y="664"/>
                  <a:pt x="6368" y="663"/>
                </a:cubicBezTo>
                <a:cubicBezTo>
                  <a:pt x="6369" y="662"/>
                  <a:pt x="6370" y="661"/>
                  <a:pt x="6370" y="661"/>
                </a:cubicBezTo>
                <a:cubicBezTo>
                  <a:pt x="6370" y="658"/>
                  <a:pt x="6371" y="655"/>
                  <a:pt x="6373" y="653"/>
                </a:cubicBezTo>
                <a:cubicBezTo>
                  <a:pt x="6375" y="648"/>
                  <a:pt x="6378" y="645"/>
                  <a:pt x="6380" y="645"/>
                </a:cubicBezTo>
                <a:cubicBezTo>
                  <a:pt x="6381" y="645"/>
                  <a:pt x="6381" y="645"/>
                  <a:pt x="6382" y="646"/>
                </a:cubicBezTo>
                <a:cubicBezTo>
                  <a:pt x="6383" y="646"/>
                  <a:pt x="6383" y="646"/>
                  <a:pt x="6384" y="646"/>
                </a:cubicBezTo>
                <a:cubicBezTo>
                  <a:pt x="6384" y="646"/>
                  <a:pt x="6383" y="645"/>
                  <a:pt x="6382" y="644"/>
                </a:cubicBezTo>
                <a:cubicBezTo>
                  <a:pt x="6381" y="642"/>
                  <a:pt x="6381" y="641"/>
                  <a:pt x="6381" y="639"/>
                </a:cubicBezTo>
                <a:lnTo>
                  <a:pt x="6381" y="637"/>
                </a:lnTo>
                <a:cubicBezTo>
                  <a:pt x="6381" y="637"/>
                  <a:pt x="6381" y="637"/>
                  <a:pt x="6380" y="637"/>
                </a:cubicBezTo>
                <a:cubicBezTo>
                  <a:pt x="6378" y="637"/>
                  <a:pt x="6377" y="638"/>
                  <a:pt x="6377" y="641"/>
                </a:cubicBezTo>
                <a:cubicBezTo>
                  <a:pt x="6377" y="643"/>
                  <a:pt x="6376" y="644"/>
                  <a:pt x="6375" y="644"/>
                </a:cubicBezTo>
                <a:cubicBezTo>
                  <a:pt x="6374" y="645"/>
                  <a:pt x="6372" y="645"/>
                  <a:pt x="6371" y="645"/>
                </a:cubicBezTo>
                <a:cubicBezTo>
                  <a:pt x="6370" y="646"/>
                  <a:pt x="6369" y="646"/>
                  <a:pt x="6368" y="646"/>
                </a:cubicBezTo>
                <a:lnTo>
                  <a:pt x="6367" y="646"/>
                </a:lnTo>
                <a:cubicBezTo>
                  <a:pt x="6367" y="647"/>
                  <a:pt x="6368" y="648"/>
                  <a:pt x="6369" y="650"/>
                </a:cubicBezTo>
                <a:cubicBezTo>
                  <a:pt x="6370" y="651"/>
                  <a:pt x="6370" y="652"/>
                  <a:pt x="6370" y="653"/>
                </a:cubicBezTo>
                <a:cubicBezTo>
                  <a:pt x="6370" y="653"/>
                  <a:pt x="6370" y="653"/>
                  <a:pt x="6369" y="653"/>
                </a:cubicBezTo>
                <a:cubicBezTo>
                  <a:pt x="6368" y="653"/>
                  <a:pt x="6367" y="654"/>
                  <a:pt x="6366" y="654"/>
                </a:cubicBezTo>
                <a:lnTo>
                  <a:pt x="6365" y="662"/>
                </a:lnTo>
                <a:cubicBezTo>
                  <a:pt x="6365" y="664"/>
                  <a:pt x="6365" y="665"/>
                  <a:pt x="6366" y="665"/>
                </a:cubicBezTo>
                <a:close/>
                <a:moveTo>
                  <a:pt x="6346" y="658"/>
                </a:moveTo>
                <a:cubicBezTo>
                  <a:pt x="6348" y="658"/>
                  <a:pt x="6349" y="657"/>
                  <a:pt x="6349" y="656"/>
                </a:cubicBezTo>
                <a:cubicBezTo>
                  <a:pt x="6349" y="654"/>
                  <a:pt x="6348" y="653"/>
                  <a:pt x="6348" y="653"/>
                </a:cubicBezTo>
                <a:cubicBezTo>
                  <a:pt x="6347" y="653"/>
                  <a:pt x="6346" y="654"/>
                  <a:pt x="6346" y="655"/>
                </a:cubicBezTo>
                <a:cubicBezTo>
                  <a:pt x="6345" y="656"/>
                  <a:pt x="6345" y="657"/>
                  <a:pt x="6345" y="657"/>
                </a:cubicBezTo>
                <a:cubicBezTo>
                  <a:pt x="6345" y="658"/>
                  <a:pt x="6346" y="658"/>
                  <a:pt x="6346" y="658"/>
                </a:cubicBezTo>
                <a:close/>
                <a:moveTo>
                  <a:pt x="6299" y="719"/>
                </a:moveTo>
                <a:cubicBezTo>
                  <a:pt x="6301" y="718"/>
                  <a:pt x="6302" y="717"/>
                  <a:pt x="6302" y="715"/>
                </a:cubicBezTo>
                <a:cubicBezTo>
                  <a:pt x="6302" y="715"/>
                  <a:pt x="6301" y="714"/>
                  <a:pt x="6301" y="713"/>
                </a:cubicBezTo>
                <a:cubicBezTo>
                  <a:pt x="6301" y="713"/>
                  <a:pt x="6300" y="712"/>
                  <a:pt x="6299" y="712"/>
                </a:cubicBezTo>
                <a:cubicBezTo>
                  <a:pt x="6298" y="712"/>
                  <a:pt x="6297" y="714"/>
                  <a:pt x="6297" y="717"/>
                </a:cubicBezTo>
                <a:cubicBezTo>
                  <a:pt x="6297" y="718"/>
                  <a:pt x="6298" y="719"/>
                  <a:pt x="6298" y="719"/>
                </a:cubicBezTo>
                <a:lnTo>
                  <a:pt x="6299" y="719"/>
                </a:lnTo>
                <a:close/>
                <a:moveTo>
                  <a:pt x="6291" y="720"/>
                </a:moveTo>
                <a:cubicBezTo>
                  <a:pt x="6291" y="720"/>
                  <a:pt x="6292" y="720"/>
                  <a:pt x="6293" y="719"/>
                </a:cubicBezTo>
                <a:cubicBezTo>
                  <a:pt x="6293" y="718"/>
                  <a:pt x="6293" y="717"/>
                  <a:pt x="6293" y="716"/>
                </a:cubicBezTo>
                <a:cubicBezTo>
                  <a:pt x="6293" y="715"/>
                  <a:pt x="6292" y="714"/>
                  <a:pt x="6291" y="714"/>
                </a:cubicBezTo>
                <a:cubicBezTo>
                  <a:pt x="6291" y="714"/>
                  <a:pt x="6290" y="715"/>
                  <a:pt x="6290" y="717"/>
                </a:cubicBezTo>
                <a:cubicBezTo>
                  <a:pt x="6290" y="719"/>
                  <a:pt x="6291" y="720"/>
                  <a:pt x="6291" y="720"/>
                </a:cubicBezTo>
                <a:close/>
                <a:moveTo>
                  <a:pt x="6286" y="727"/>
                </a:moveTo>
                <a:cubicBezTo>
                  <a:pt x="6286" y="727"/>
                  <a:pt x="6287" y="726"/>
                  <a:pt x="6289" y="725"/>
                </a:cubicBezTo>
                <a:cubicBezTo>
                  <a:pt x="6290" y="725"/>
                  <a:pt x="6291" y="724"/>
                  <a:pt x="6291" y="723"/>
                </a:cubicBezTo>
                <a:lnTo>
                  <a:pt x="6290" y="723"/>
                </a:lnTo>
                <a:cubicBezTo>
                  <a:pt x="6289" y="723"/>
                  <a:pt x="6288" y="723"/>
                  <a:pt x="6287" y="724"/>
                </a:cubicBezTo>
                <a:cubicBezTo>
                  <a:pt x="6286" y="725"/>
                  <a:pt x="6286" y="726"/>
                  <a:pt x="6286" y="727"/>
                </a:cubicBezTo>
                <a:close/>
                <a:moveTo>
                  <a:pt x="6274" y="730"/>
                </a:moveTo>
                <a:cubicBezTo>
                  <a:pt x="6275" y="730"/>
                  <a:pt x="6276" y="729"/>
                  <a:pt x="6276" y="728"/>
                </a:cubicBezTo>
                <a:cubicBezTo>
                  <a:pt x="6277" y="728"/>
                  <a:pt x="6278" y="727"/>
                  <a:pt x="6278" y="726"/>
                </a:cubicBezTo>
                <a:lnTo>
                  <a:pt x="6278" y="726"/>
                </a:lnTo>
                <a:cubicBezTo>
                  <a:pt x="6277" y="726"/>
                  <a:pt x="6276" y="726"/>
                  <a:pt x="6275" y="727"/>
                </a:cubicBezTo>
                <a:cubicBezTo>
                  <a:pt x="6273" y="727"/>
                  <a:pt x="6273" y="728"/>
                  <a:pt x="6273" y="728"/>
                </a:cubicBezTo>
                <a:cubicBezTo>
                  <a:pt x="6272" y="728"/>
                  <a:pt x="6272" y="729"/>
                  <a:pt x="6272" y="729"/>
                </a:cubicBezTo>
                <a:cubicBezTo>
                  <a:pt x="6272" y="729"/>
                  <a:pt x="6273" y="730"/>
                  <a:pt x="6274" y="730"/>
                </a:cubicBezTo>
                <a:close/>
                <a:moveTo>
                  <a:pt x="6271" y="745"/>
                </a:moveTo>
                <a:cubicBezTo>
                  <a:pt x="6277" y="745"/>
                  <a:pt x="6283" y="743"/>
                  <a:pt x="6288" y="740"/>
                </a:cubicBezTo>
                <a:cubicBezTo>
                  <a:pt x="6290" y="738"/>
                  <a:pt x="6292" y="737"/>
                  <a:pt x="6293" y="737"/>
                </a:cubicBezTo>
                <a:lnTo>
                  <a:pt x="6295" y="739"/>
                </a:lnTo>
                <a:cubicBezTo>
                  <a:pt x="6296" y="739"/>
                  <a:pt x="6296" y="738"/>
                  <a:pt x="6296" y="736"/>
                </a:cubicBezTo>
                <a:cubicBezTo>
                  <a:pt x="6296" y="735"/>
                  <a:pt x="6297" y="734"/>
                  <a:pt x="6299" y="734"/>
                </a:cubicBezTo>
                <a:cubicBezTo>
                  <a:pt x="6300" y="734"/>
                  <a:pt x="6305" y="731"/>
                  <a:pt x="6313" y="726"/>
                </a:cubicBezTo>
                <a:cubicBezTo>
                  <a:pt x="6321" y="720"/>
                  <a:pt x="6330" y="714"/>
                  <a:pt x="6339" y="706"/>
                </a:cubicBezTo>
                <a:cubicBezTo>
                  <a:pt x="6348" y="699"/>
                  <a:pt x="6355" y="693"/>
                  <a:pt x="6360" y="688"/>
                </a:cubicBezTo>
                <a:cubicBezTo>
                  <a:pt x="6369" y="679"/>
                  <a:pt x="6377" y="668"/>
                  <a:pt x="6383" y="657"/>
                </a:cubicBezTo>
                <a:cubicBezTo>
                  <a:pt x="6389" y="648"/>
                  <a:pt x="6392" y="640"/>
                  <a:pt x="6392" y="636"/>
                </a:cubicBezTo>
                <a:lnTo>
                  <a:pt x="6392" y="632"/>
                </a:lnTo>
                <a:cubicBezTo>
                  <a:pt x="6392" y="631"/>
                  <a:pt x="6392" y="630"/>
                  <a:pt x="6393" y="630"/>
                </a:cubicBezTo>
                <a:cubicBezTo>
                  <a:pt x="6394" y="630"/>
                  <a:pt x="6394" y="628"/>
                  <a:pt x="6394" y="625"/>
                </a:cubicBezTo>
                <a:cubicBezTo>
                  <a:pt x="6393" y="621"/>
                  <a:pt x="6393" y="619"/>
                  <a:pt x="6392" y="619"/>
                </a:cubicBezTo>
                <a:cubicBezTo>
                  <a:pt x="6391" y="619"/>
                  <a:pt x="6391" y="619"/>
                  <a:pt x="6391" y="620"/>
                </a:cubicBezTo>
                <a:lnTo>
                  <a:pt x="6392" y="625"/>
                </a:lnTo>
                <a:cubicBezTo>
                  <a:pt x="6391" y="625"/>
                  <a:pt x="6391" y="625"/>
                  <a:pt x="6390" y="625"/>
                </a:cubicBezTo>
                <a:cubicBezTo>
                  <a:pt x="6389" y="625"/>
                  <a:pt x="6389" y="626"/>
                  <a:pt x="6388" y="627"/>
                </a:cubicBezTo>
                <a:lnTo>
                  <a:pt x="6388" y="630"/>
                </a:lnTo>
                <a:lnTo>
                  <a:pt x="6389" y="632"/>
                </a:lnTo>
                <a:cubicBezTo>
                  <a:pt x="6389" y="634"/>
                  <a:pt x="6388" y="635"/>
                  <a:pt x="6387" y="635"/>
                </a:cubicBezTo>
                <a:cubicBezTo>
                  <a:pt x="6385" y="636"/>
                  <a:pt x="6384" y="638"/>
                  <a:pt x="6384" y="640"/>
                </a:cubicBezTo>
                <a:lnTo>
                  <a:pt x="6385" y="644"/>
                </a:lnTo>
                <a:cubicBezTo>
                  <a:pt x="6385" y="649"/>
                  <a:pt x="6384" y="652"/>
                  <a:pt x="6383" y="654"/>
                </a:cubicBezTo>
                <a:cubicBezTo>
                  <a:pt x="6381" y="656"/>
                  <a:pt x="6380" y="658"/>
                  <a:pt x="6380" y="658"/>
                </a:cubicBezTo>
                <a:lnTo>
                  <a:pt x="6380" y="657"/>
                </a:lnTo>
                <a:lnTo>
                  <a:pt x="6383" y="650"/>
                </a:lnTo>
                <a:cubicBezTo>
                  <a:pt x="6383" y="649"/>
                  <a:pt x="6383" y="649"/>
                  <a:pt x="6382" y="649"/>
                </a:cubicBezTo>
                <a:cubicBezTo>
                  <a:pt x="6380" y="649"/>
                  <a:pt x="6378" y="650"/>
                  <a:pt x="6377" y="652"/>
                </a:cubicBezTo>
                <a:cubicBezTo>
                  <a:pt x="6375" y="654"/>
                  <a:pt x="6375" y="657"/>
                  <a:pt x="6374" y="660"/>
                </a:cubicBezTo>
                <a:cubicBezTo>
                  <a:pt x="6374" y="661"/>
                  <a:pt x="6374" y="662"/>
                  <a:pt x="6374" y="662"/>
                </a:cubicBezTo>
                <a:cubicBezTo>
                  <a:pt x="6374" y="662"/>
                  <a:pt x="6373" y="663"/>
                  <a:pt x="6373" y="663"/>
                </a:cubicBezTo>
                <a:cubicBezTo>
                  <a:pt x="6371" y="663"/>
                  <a:pt x="6367" y="666"/>
                  <a:pt x="6363" y="673"/>
                </a:cubicBezTo>
                <a:cubicBezTo>
                  <a:pt x="6355" y="681"/>
                  <a:pt x="6345" y="691"/>
                  <a:pt x="6331" y="702"/>
                </a:cubicBezTo>
                <a:cubicBezTo>
                  <a:pt x="6325" y="706"/>
                  <a:pt x="6321" y="709"/>
                  <a:pt x="6320" y="709"/>
                </a:cubicBezTo>
                <a:cubicBezTo>
                  <a:pt x="6318" y="709"/>
                  <a:pt x="6316" y="710"/>
                  <a:pt x="6313" y="713"/>
                </a:cubicBezTo>
                <a:cubicBezTo>
                  <a:pt x="6311" y="715"/>
                  <a:pt x="6309" y="716"/>
                  <a:pt x="6308" y="716"/>
                </a:cubicBezTo>
                <a:lnTo>
                  <a:pt x="6307" y="716"/>
                </a:lnTo>
                <a:lnTo>
                  <a:pt x="6307" y="716"/>
                </a:lnTo>
                <a:cubicBezTo>
                  <a:pt x="6307" y="714"/>
                  <a:pt x="6308" y="713"/>
                  <a:pt x="6311" y="711"/>
                </a:cubicBezTo>
                <a:cubicBezTo>
                  <a:pt x="6316" y="709"/>
                  <a:pt x="6319" y="706"/>
                  <a:pt x="6321" y="703"/>
                </a:cubicBezTo>
                <a:lnTo>
                  <a:pt x="6324" y="701"/>
                </a:lnTo>
                <a:cubicBezTo>
                  <a:pt x="6324" y="701"/>
                  <a:pt x="6325" y="701"/>
                  <a:pt x="6325" y="701"/>
                </a:cubicBezTo>
                <a:cubicBezTo>
                  <a:pt x="6325" y="701"/>
                  <a:pt x="6326" y="701"/>
                  <a:pt x="6327" y="700"/>
                </a:cubicBezTo>
                <a:cubicBezTo>
                  <a:pt x="6328" y="699"/>
                  <a:pt x="6329" y="698"/>
                  <a:pt x="6331" y="696"/>
                </a:cubicBezTo>
                <a:cubicBezTo>
                  <a:pt x="6333" y="694"/>
                  <a:pt x="6334" y="692"/>
                  <a:pt x="6335" y="691"/>
                </a:cubicBezTo>
                <a:lnTo>
                  <a:pt x="6337" y="688"/>
                </a:lnTo>
                <a:cubicBezTo>
                  <a:pt x="6337" y="686"/>
                  <a:pt x="6338" y="684"/>
                  <a:pt x="6340" y="682"/>
                </a:cubicBezTo>
                <a:cubicBezTo>
                  <a:pt x="6343" y="680"/>
                  <a:pt x="6344" y="679"/>
                  <a:pt x="6345" y="679"/>
                </a:cubicBezTo>
                <a:cubicBezTo>
                  <a:pt x="6345" y="679"/>
                  <a:pt x="6344" y="680"/>
                  <a:pt x="6342" y="682"/>
                </a:cubicBezTo>
                <a:cubicBezTo>
                  <a:pt x="6340" y="684"/>
                  <a:pt x="6339" y="686"/>
                  <a:pt x="6339" y="688"/>
                </a:cubicBezTo>
                <a:cubicBezTo>
                  <a:pt x="6339" y="688"/>
                  <a:pt x="6340" y="689"/>
                  <a:pt x="6341" y="689"/>
                </a:cubicBezTo>
                <a:cubicBezTo>
                  <a:pt x="6342" y="689"/>
                  <a:pt x="6343" y="688"/>
                  <a:pt x="6343" y="688"/>
                </a:cubicBezTo>
                <a:cubicBezTo>
                  <a:pt x="6344" y="687"/>
                  <a:pt x="6345" y="686"/>
                  <a:pt x="6345" y="684"/>
                </a:cubicBezTo>
                <a:cubicBezTo>
                  <a:pt x="6346" y="683"/>
                  <a:pt x="6346" y="682"/>
                  <a:pt x="6346" y="681"/>
                </a:cubicBezTo>
                <a:lnTo>
                  <a:pt x="6345" y="677"/>
                </a:lnTo>
                <a:cubicBezTo>
                  <a:pt x="6345" y="677"/>
                  <a:pt x="6345" y="677"/>
                  <a:pt x="6346" y="677"/>
                </a:cubicBezTo>
                <a:lnTo>
                  <a:pt x="6349" y="677"/>
                </a:lnTo>
                <a:cubicBezTo>
                  <a:pt x="6350" y="677"/>
                  <a:pt x="6350" y="676"/>
                  <a:pt x="6352" y="674"/>
                </a:cubicBezTo>
                <a:lnTo>
                  <a:pt x="6355" y="672"/>
                </a:lnTo>
                <a:cubicBezTo>
                  <a:pt x="6355" y="672"/>
                  <a:pt x="6354" y="674"/>
                  <a:pt x="6352" y="676"/>
                </a:cubicBezTo>
                <a:cubicBezTo>
                  <a:pt x="6350" y="679"/>
                  <a:pt x="6349" y="681"/>
                  <a:pt x="6349" y="683"/>
                </a:cubicBezTo>
                <a:cubicBezTo>
                  <a:pt x="6350" y="683"/>
                  <a:pt x="6352" y="680"/>
                  <a:pt x="6355" y="675"/>
                </a:cubicBezTo>
                <a:cubicBezTo>
                  <a:pt x="6357" y="673"/>
                  <a:pt x="6358" y="671"/>
                  <a:pt x="6359" y="670"/>
                </a:cubicBezTo>
                <a:lnTo>
                  <a:pt x="6363" y="668"/>
                </a:lnTo>
                <a:cubicBezTo>
                  <a:pt x="6363" y="668"/>
                  <a:pt x="6364" y="668"/>
                  <a:pt x="6364" y="667"/>
                </a:cubicBezTo>
                <a:cubicBezTo>
                  <a:pt x="6364" y="666"/>
                  <a:pt x="6363" y="665"/>
                  <a:pt x="6362" y="665"/>
                </a:cubicBezTo>
                <a:lnTo>
                  <a:pt x="6355" y="666"/>
                </a:lnTo>
                <a:cubicBezTo>
                  <a:pt x="6355" y="666"/>
                  <a:pt x="6356" y="665"/>
                  <a:pt x="6357" y="664"/>
                </a:cubicBezTo>
                <a:cubicBezTo>
                  <a:pt x="6359" y="663"/>
                  <a:pt x="6360" y="662"/>
                  <a:pt x="6361" y="661"/>
                </a:cubicBezTo>
                <a:cubicBezTo>
                  <a:pt x="6362" y="659"/>
                  <a:pt x="6363" y="658"/>
                  <a:pt x="6363" y="657"/>
                </a:cubicBezTo>
                <a:cubicBezTo>
                  <a:pt x="6364" y="656"/>
                  <a:pt x="6364" y="656"/>
                  <a:pt x="6365" y="655"/>
                </a:cubicBezTo>
                <a:cubicBezTo>
                  <a:pt x="6359" y="660"/>
                  <a:pt x="6351" y="668"/>
                  <a:pt x="6340" y="679"/>
                </a:cubicBezTo>
                <a:cubicBezTo>
                  <a:pt x="6324" y="696"/>
                  <a:pt x="6315" y="705"/>
                  <a:pt x="6312" y="705"/>
                </a:cubicBezTo>
                <a:cubicBezTo>
                  <a:pt x="6311" y="705"/>
                  <a:pt x="6310" y="706"/>
                  <a:pt x="6309" y="708"/>
                </a:cubicBezTo>
                <a:cubicBezTo>
                  <a:pt x="6308" y="709"/>
                  <a:pt x="6307" y="711"/>
                  <a:pt x="6306" y="713"/>
                </a:cubicBezTo>
                <a:cubicBezTo>
                  <a:pt x="6304" y="719"/>
                  <a:pt x="6302" y="722"/>
                  <a:pt x="6300" y="722"/>
                </a:cubicBezTo>
                <a:cubicBezTo>
                  <a:pt x="6298" y="723"/>
                  <a:pt x="6296" y="724"/>
                  <a:pt x="6296" y="725"/>
                </a:cubicBezTo>
                <a:cubicBezTo>
                  <a:pt x="6296" y="725"/>
                  <a:pt x="6294" y="727"/>
                  <a:pt x="6290" y="728"/>
                </a:cubicBezTo>
                <a:cubicBezTo>
                  <a:pt x="6288" y="729"/>
                  <a:pt x="6286" y="729"/>
                  <a:pt x="6285" y="730"/>
                </a:cubicBezTo>
                <a:cubicBezTo>
                  <a:pt x="6284" y="731"/>
                  <a:pt x="6283" y="731"/>
                  <a:pt x="6283" y="731"/>
                </a:cubicBezTo>
                <a:cubicBezTo>
                  <a:pt x="6283" y="732"/>
                  <a:pt x="6282" y="732"/>
                  <a:pt x="6280" y="734"/>
                </a:cubicBezTo>
                <a:cubicBezTo>
                  <a:pt x="6278" y="735"/>
                  <a:pt x="6275" y="736"/>
                  <a:pt x="6272" y="737"/>
                </a:cubicBezTo>
                <a:cubicBezTo>
                  <a:pt x="6266" y="740"/>
                  <a:pt x="6263" y="741"/>
                  <a:pt x="6263" y="742"/>
                </a:cubicBezTo>
                <a:cubicBezTo>
                  <a:pt x="6263" y="744"/>
                  <a:pt x="6266" y="745"/>
                  <a:pt x="6271" y="745"/>
                </a:cubicBezTo>
                <a:close/>
                <a:moveTo>
                  <a:pt x="6201" y="482"/>
                </a:moveTo>
                <a:cubicBezTo>
                  <a:pt x="6201" y="482"/>
                  <a:pt x="6202" y="482"/>
                  <a:pt x="6202" y="481"/>
                </a:cubicBezTo>
                <a:cubicBezTo>
                  <a:pt x="6203" y="480"/>
                  <a:pt x="6204" y="480"/>
                  <a:pt x="6204" y="479"/>
                </a:cubicBezTo>
                <a:cubicBezTo>
                  <a:pt x="6204" y="478"/>
                  <a:pt x="6203" y="478"/>
                  <a:pt x="6202" y="478"/>
                </a:cubicBezTo>
                <a:cubicBezTo>
                  <a:pt x="6201" y="478"/>
                  <a:pt x="6200" y="478"/>
                  <a:pt x="6200" y="480"/>
                </a:cubicBezTo>
                <a:cubicBezTo>
                  <a:pt x="6200" y="482"/>
                  <a:pt x="6200" y="482"/>
                  <a:pt x="6201" y="482"/>
                </a:cubicBezTo>
                <a:close/>
                <a:moveTo>
                  <a:pt x="6232" y="484"/>
                </a:moveTo>
                <a:cubicBezTo>
                  <a:pt x="6235" y="484"/>
                  <a:pt x="6238" y="483"/>
                  <a:pt x="6241" y="482"/>
                </a:cubicBezTo>
                <a:cubicBezTo>
                  <a:pt x="6242" y="482"/>
                  <a:pt x="6242" y="481"/>
                  <a:pt x="6242" y="481"/>
                </a:cubicBezTo>
                <a:cubicBezTo>
                  <a:pt x="6242" y="480"/>
                  <a:pt x="6242" y="480"/>
                  <a:pt x="6241" y="480"/>
                </a:cubicBezTo>
                <a:lnTo>
                  <a:pt x="6237" y="481"/>
                </a:lnTo>
                <a:cubicBezTo>
                  <a:pt x="6231" y="481"/>
                  <a:pt x="6228" y="480"/>
                  <a:pt x="6228" y="479"/>
                </a:cubicBezTo>
                <a:cubicBezTo>
                  <a:pt x="6228" y="478"/>
                  <a:pt x="6227" y="478"/>
                  <a:pt x="6225" y="478"/>
                </a:cubicBezTo>
                <a:cubicBezTo>
                  <a:pt x="6223" y="478"/>
                  <a:pt x="6222" y="478"/>
                  <a:pt x="6222" y="480"/>
                </a:cubicBezTo>
                <a:cubicBezTo>
                  <a:pt x="6222" y="481"/>
                  <a:pt x="6223" y="482"/>
                  <a:pt x="6225" y="483"/>
                </a:cubicBezTo>
                <a:cubicBezTo>
                  <a:pt x="6227" y="484"/>
                  <a:pt x="6229" y="484"/>
                  <a:pt x="6231" y="484"/>
                </a:cubicBezTo>
                <a:lnTo>
                  <a:pt x="6232" y="484"/>
                </a:lnTo>
                <a:close/>
                <a:moveTo>
                  <a:pt x="6231" y="479"/>
                </a:moveTo>
                <a:cubicBezTo>
                  <a:pt x="6232" y="479"/>
                  <a:pt x="6233" y="478"/>
                  <a:pt x="6234" y="478"/>
                </a:cubicBezTo>
                <a:cubicBezTo>
                  <a:pt x="6235" y="478"/>
                  <a:pt x="6236" y="478"/>
                  <a:pt x="6236" y="477"/>
                </a:cubicBezTo>
                <a:cubicBezTo>
                  <a:pt x="6237" y="477"/>
                  <a:pt x="6237" y="477"/>
                  <a:pt x="6237" y="476"/>
                </a:cubicBezTo>
                <a:cubicBezTo>
                  <a:pt x="6237" y="475"/>
                  <a:pt x="6236" y="475"/>
                  <a:pt x="6234" y="475"/>
                </a:cubicBezTo>
                <a:cubicBezTo>
                  <a:pt x="6232" y="475"/>
                  <a:pt x="6231" y="476"/>
                  <a:pt x="6231" y="478"/>
                </a:cubicBezTo>
                <a:cubicBezTo>
                  <a:pt x="6231" y="478"/>
                  <a:pt x="6231" y="478"/>
                  <a:pt x="6231" y="479"/>
                </a:cubicBezTo>
                <a:close/>
                <a:moveTo>
                  <a:pt x="6291" y="492"/>
                </a:moveTo>
                <a:lnTo>
                  <a:pt x="6293" y="486"/>
                </a:lnTo>
                <a:lnTo>
                  <a:pt x="6293" y="485"/>
                </a:lnTo>
                <a:cubicBezTo>
                  <a:pt x="6293" y="485"/>
                  <a:pt x="6292" y="485"/>
                  <a:pt x="6292" y="486"/>
                </a:cubicBezTo>
                <a:cubicBezTo>
                  <a:pt x="6291" y="486"/>
                  <a:pt x="6291" y="487"/>
                  <a:pt x="6290" y="487"/>
                </a:cubicBezTo>
                <a:cubicBezTo>
                  <a:pt x="6290" y="488"/>
                  <a:pt x="6289" y="489"/>
                  <a:pt x="6289" y="490"/>
                </a:cubicBezTo>
                <a:cubicBezTo>
                  <a:pt x="6289" y="491"/>
                  <a:pt x="6289" y="492"/>
                  <a:pt x="6290" y="492"/>
                </a:cubicBezTo>
                <a:lnTo>
                  <a:pt x="6291" y="492"/>
                </a:lnTo>
                <a:close/>
                <a:moveTo>
                  <a:pt x="6268" y="572"/>
                </a:moveTo>
                <a:cubicBezTo>
                  <a:pt x="6269" y="572"/>
                  <a:pt x="6270" y="571"/>
                  <a:pt x="6270" y="569"/>
                </a:cubicBezTo>
                <a:lnTo>
                  <a:pt x="6269" y="565"/>
                </a:lnTo>
                <a:cubicBezTo>
                  <a:pt x="6269" y="565"/>
                  <a:pt x="6269" y="566"/>
                  <a:pt x="6268" y="567"/>
                </a:cubicBezTo>
                <a:cubicBezTo>
                  <a:pt x="6267" y="568"/>
                  <a:pt x="6267" y="569"/>
                  <a:pt x="6267" y="570"/>
                </a:cubicBezTo>
                <a:cubicBezTo>
                  <a:pt x="6267" y="572"/>
                  <a:pt x="6267" y="572"/>
                  <a:pt x="6268" y="572"/>
                </a:cubicBezTo>
                <a:close/>
                <a:moveTo>
                  <a:pt x="6264" y="583"/>
                </a:moveTo>
                <a:cubicBezTo>
                  <a:pt x="6264" y="583"/>
                  <a:pt x="6264" y="583"/>
                  <a:pt x="6265" y="582"/>
                </a:cubicBezTo>
                <a:cubicBezTo>
                  <a:pt x="6266" y="580"/>
                  <a:pt x="6267" y="579"/>
                  <a:pt x="6267" y="578"/>
                </a:cubicBezTo>
                <a:cubicBezTo>
                  <a:pt x="6267" y="578"/>
                  <a:pt x="6268" y="577"/>
                  <a:pt x="6268" y="576"/>
                </a:cubicBezTo>
                <a:cubicBezTo>
                  <a:pt x="6268" y="575"/>
                  <a:pt x="6267" y="575"/>
                  <a:pt x="6267" y="575"/>
                </a:cubicBezTo>
                <a:cubicBezTo>
                  <a:pt x="6267" y="575"/>
                  <a:pt x="6266" y="576"/>
                  <a:pt x="6265" y="577"/>
                </a:cubicBezTo>
                <a:cubicBezTo>
                  <a:pt x="6264" y="579"/>
                  <a:pt x="6264" y="581"/>
                  <a:pt x="6264" y="583"/>
                </a:cubicBezTo>
                <a:close/>
                <a:moveTo>
                  <a:pt x="6262" y="604"/>
                </a:moveTo>
                <a:cubicBezTo>
                  <a:pt x="6262" y="604"/>
                  <a:pt x="6263" y="603"/>
                  <a:pt x="6265" y="602"/>
                </a:cubicBezTo>
                <a:cubicBezTo>
                  <a:pt x="6266" y="601"/>
                  <a:pt x="6267" y="600"/>
                  <a:pt x="6267" y="599"/>
                </a:cubicBezTo>
                <a:lnTo>
                  <a:pt x="6267" y="599"/>
                </a:lnTo>
                <a:cubicBezTo>
                  <a:pt x="6267" y="598"/>
                  <a:pt x="6266" y="598"/>
                  <a:pt x="6266" y="598"/>
                </a:cubicBezTo>
                <a:cubicBezTo>
                  <a:pt x="6264" y="598"/>
                  <a:pt x="6263" y="599"/>
                  <a:pt x="6262" y="600"/>
                </a:cubicBezTo>
                <a:cubicBezTo>
                  <a:pt x="6262" y="601"/>
                  <a:pt x="6261" y="602"/>
                  <a:pt x="6261" y="603"/>
                </a:cubicBezTo>
                <a:cubicBezTo>
                  <a:pt x="6261" y="603"/>
                  <a:pt x="6261" y="604"/>
                  <a:pt x="6262" y="604"/>
                </a:cubicBezTo>
                <a:close/>
                <a:moveTo>
                  <a:pt x="6258" y="600"/>
                </a:moveTo>
                <a:cubicBezTo>
                  <a:pt x="6258" y="600"/>
                  <a:pt x="6259" y="600"/>
                  <a:pt x="6259" y="598"/>
                </a:cubicBezTo>
                <a:cubicBezTo>
                  <a:pt x="6260" y="597"/>
                  <a:pt x="6261" y="596"/>
                  <a:pt x="6261" y="595"/>
                </a:cubicBezTo>
                <a:cubicBezTo>
                  <a:pt x="6261" y="594"/>
                  <a:pt x="6261" y="594"/>
                  <a:pt x="6260" y="594"/>
                </a:cubicBezTo>
                <a:cubicBezTo>
                  <a:pt x="6260" y="594"/>
                  <a:pt x="6259" y="594"/>
                  <a:pt x="6259" y="595"/>
                </a:cubicBezTo>
                <a:cubicBezTo>
                  <a:pt x="6259" y="595"/>
                  <a:pt x="6258" y="596"/>
                  <a:pt x="6258" y="597"/>
                </a:cubicBezTo>
                <a:cubicBezTo>
                  <a:pt x="6257" y="598"/>
                  <a:pt x="6257" y="599"/>
                  <a:pt x="6257" y="600"/>
                </a:cubicBezTo>
                <a:cubicBezTo>
                  <a:pt x="6257" y="600"/>
                  <a:pt x="6257" y="600"/>
                  <a:pt x="6258" y="600"/>
                </a:cubicBezTo>
                <a:close/>
                <a:moveTo>
                  <a:pt x="6266" y="655"/>
                </a:moveTo>
                <a:cubicBezTo>
                  <a:pt x="6266" y="655"/>
                  <a:pt x="6267" y="653"/>
                  <a:pt x="6269" y="649"/>
                </a:cubicBezTo>
                <a:cubicBezTo>
                  <a:pt x="6271" y="645"/>
                  <a:pt x="6272" y="642"/>
                  <a:pt x="6272" y="639"/>
                </a:cubicBezTo>
                <a:lnTo>
                  <a:pt x="6272" y="639"/>
                </a:lnTo>
                <a:cubicBezTo>
                  <a:pt x="6271" y="639"/>
                  <a:pt x="6270" y="640"/>
                  <a:pt x="6269" y="644"/>
                </a:cubicBezTo>
                <a:cubicBezTo>
                  <a:pt x="6267" y="649"/>
                  <a:pt x="6266" y="653"/>
                  <a:pt x="6266" y="654"/>
                </a:cubicBezTo>
                <a:lnTo>
                  <a:pt x="6266" y="655"/>
                </a:lnTo>
                <a:close/>
                <a:moveTo>
                  <a:pt x="6274" y="635"/>
                </a:moveTo>
                <a:cubicBezTo>
                  <a:pt x="6275" y="635"/>
                  <a:pt x="6275" y="635"/>
                  <a:pt x="6276" y="634"/>
                </a:cubicBezTo>
                <a:cubicBezTo>
                  <a:pt x="6276" y="633"/>
                  <a:pt x="6275" y="632"/>
                  <a:pt x="6275" y="632"/>
                </a:cubicBezTo>
                <a:cubicBezTo>
                  <a:pt x="6275" y="631"/>
                  <a:pt x="6274" y="630"/>
                  <a:pt x="6274" y="629"/>
                </a:cubicBezTo>
                <a:lnTo>
                  <a:pt x="6273" y="628"/>
                </a:lnTo>
                <a:cubicBezTo>
                  <a:pt x="6273" y="628"/>
                  <a:pt x="6272" y="629"/>
                  <a:pt x="6272" y="632"/>
                </a:cubicBezTo>
                <a:cubicBezTo>
                  <a:pt x="6272" y="634"/>
                  <a:pt x="6273" y="635"/>
                  <a:pt x="6274" y="635"/>
                </a:cubicBezTo>
                <a:close/>
                <a:moveTo>
                  <a:pt x="6277" y="618"/>
                </a:moveTo>
                <a:cubicBezTo>
                  <a:pt x="6277" y="618"/>
                  <a:pt x="6278" y="616"/>
                  <a:pt x="6280" y="612"/>
                </a:cubicBezTo>
                <a:cubicBezTo>
                  <a:pt x="6282" y="608"/>
                  <a:pt x="6283" y="605"/>
                  <a:pt x="6283" y="603"/>
                </a:cubicBezTo>
                <a:cubicBezTo>
                  <a:pt x="6283" y="602"/>
                  <a:pt x="6283" y="602"/>
                  <a:pt x="6282" y="602"/>
                </a:cubicBezTo>
                <a:cubicBezTo>
                  <a:pt x="6281" y="602"/>
                  <a:pt x="6281" y="603"/>
                  <a:pt x="6280" y="607"/>
                </a:cubicBezTo>
                <a:cubicBezTo>
                  <a:pt x="6278" y="613"/>
                  <a:pt x="6277" y="616"/>
                  <a:pt x="6277" y="617"/>
                </a:cubicBezTo>
                <a:lnTo>
                  <a:pt x="6277" y="618"/>
                </a:lnTo>
                <a:close/>
                <a:moveTo>
                  <a:pt x="6293" y="575"/>
                </a:moveTo>
                <a:cubicBezTo>
                  <a:pt x="6293" y="575"/>
                  <a:pt x="6294" y="574"/>
                  <a:pt x="6294" y="573"/>
                </a:cubicBezTo>
                <a:cubicBezTo>
                  <a:pt x="6295" y="573"/>
                  <a:pt x="6296" y="572"/>
                  <a:pt x="6296" y="571"/>
                </a:cubicBezTo>
                <a:cubicBezTo>
                  <a:pt x="6296" y="571"/>
                  <a:pt x="6295" y="570"/>
                  <a:pt x="6294" y="570"/>
                </a:cubicBezTo>
                <a:cubicBezTo>
                  <a:pt x="6293" y="570"/>
                  <a:pt x="6292" y="571"/>
                  <a:pt x="6292" y="572"/>
                </a:cubicBezTo>
                <a:cubicBezTo>
                  <a:pt x="6292" y="574"/>
                  <a:pt x="6292" y="575"/>
                  <a:pt x="6293" y="575"/>
                </a:cubicBezTo>
                <a:close/>
                <a:moveTo>
                  <a:pt x="6298" y="562"/>
                </a:moveTo>
                <a:lnTo>
                  <a:pt x="6299" y="561"/>
                </a:lnTo>
                <a:cubicBezTo>
                  <a:pt x="6300" y="561"/>
                  <a:pt x="6300" y="559"/>
                  <a:pt x="6300" y="557"/>
                </a:cubicBezTo>
                <a:cubicBezTo>
                  <a:pt x="6300" y="556"/>
                  <a:pt x="6300" y="555"/>
                  <a:pt x="6299" y="555"/>
                </a:cubicBezTo>
                <a:cubicBezTo>
                  <a:pt x="6299" y="555"/>
                  <a:pt x="6298" y="556"/>
                  <a:pt x="6298" y="558"/>
                </a:cubicBezTo>
                <a:cubicBezTo>
                  <a:pt x="6297" y="560"/>
                  <a:pt x="6297" y="561"/>
                  <a:pt x="6297" y="562"/>
                </a:cubicBezTo>
                <a:cubicBezTo>
                  <a:pt x="6297" y="562"/>
                  <a:pt x="6297" y="562"/>
                  <a:pt x="6298" y="562"/>
                </a:cubicBezTo>
                <a:close/>
                <a:moveTo>
                  <a:pt x="6303" y="546"/>
                </a:moveTo>
                <a:cubicBezTo>
                  <a:pt x="6303" y="546"/>
                  <a:pt x="6304" y="545"/>
                  <a:pt x="6305" y="544"/>
                </a:cubicBezTo>
                <a:cubicBezTo>
                  <a:pt x="6306" y="542"/>
                  <a:pt x="6308" y="539"/>
                  <a:pt x="6309" y="535"/>
                </a:cubicBezTo>
                <a:cubicBezTo>
                  <a:pt x="6311" y="531"/>
                  <a:pt x="6313" y="528"/>
                  <a:pt x="6314" y="525"/>
                </a:cubicBezTo>
                <a:cubicBezTo>
                  <a:pt x="6315" y="523"/>
                  <a:pt x="6316" y="521"/>
                  <a:pt x="6316" y="520"/>
                </a:cubicBezTo>
                <a:lnTo>
                  <a:pt x="6316" y="520"/>
                </a:lnTo>
                <a:cubicBezTo>
                  <a:pt x="6315" y="520"/>
                  <a:pt x="6313" y="524"/>
                  <a:pt x="6309" y="531"/>
                </a:cubicBezTo>
                <a:cubicBezTo>
                  <a:pt x="6305" y="540"/>
                  <a:pt x="6303" y="545"/>
                  <a:pt x="6303" y="546"/>
                </a:cubicBezTo>
                <a:close/>
                <a:moveTo>
                  <a:pt x="6317" y="517"/>
                </a:moveTo>
                <a:cubicBezTo>
                  <a:pt x="6317" y="517"/>
                  <a:pt x="6318" y="516"/>
                  <a:pt x="6319" y="514"/>
                </a:cubicBezTo>
                <a:cubicBezTo>
                  <a:pt x="6320" y="512"/>
                  <a:pt x="6321" y="511"/>
                  <a:pt x="6321" y="510"/>
                </a:cubicBezTo>
                <a:cubicBezTo>
                  <a:pt x="6322" y="509"/>
                  <a:pt x="6322" y="508"/>
                  <a:pt x="6322" y="507"/>
                </a:cubicBezTo>
                <a:cubicBezTo>
                  <a:pt x="6322" y="506"/>
                  <a:pt x="6322" y="506"/>
                  <a:pt x="6322" y="506"/>
                </a:cubicBezTo>
                <a:cubicBezTo>
                  <a:pt x="6321" y="506"/>
                  <a:pt x="6320" y="507"/>
                  <a:pt x="6319" y="508"/>
                </a:cubicBezTo>
                <a:cubicBezTo>
                  <a:pt x="6318" y="511"/>
                  <a:pt x="6317" y="514"/>
                  <a:pt x="6317" y="516"/>
                </a:cubicBezTo>
                <a:lnTo>
                  <a:pt x="6317" y="517"/>
                </a:lnTo>
                <a:close/>
                <a:moveTo>
                  <a:pt x="6246" y="723"/>
                </a:moveTo>
                <a:cubicBezTo>
                  <a:pt x="6247" y="723"/>
                  <a:pt x="6247" y="721"/>
                  <a:pt x="6247" y="718"/>
                </a:cubicBezTo>
                <a:cubicBezTo>
                  <a:pt x="6247" y="711"/>
                  <a:pt x="6249" y="700"/>
                  <a:pt x="6253" y="683"/>
                </a:cubicBezTo>
                <a:cubicBezTo>
                  <a:pt x="6264" y="640"/>
                  <a:pt x="6275" y="602"/>
                  <a:pt x="6288" y="568"/>
                </a:cubicBezTo>
                <a:cubicBezTo>
                  <a:pt x="6289" y="563"/>
                  <a:pt x="6290" y="560"/>
                  <a:pt x="6290" y="558"/>
                </a:cubicBezTo>
                <a:cubicBezTo>
                  <a:pt x="6290" y="555"/>
                  <a:pt x="6290" y="554"/>
                  <a:pt x="6289" y="553"/>
                </a:cubicBezTo>
                <a:cubicBezTo>
                  <a:pt x="6288" y="553"/>
                  <a:pt x="6288" y="552"/>
                  <a:pt x="6288" y="552"/>
                </a:cubicBezTo>
                <a:cubicBezTo>
                  <a:pt x="6288" y="552"/>
                  <a:pt x="6289" y="551"/>
                  <a:pt x="6291" y="551"/>
                </a:cubicBezTo>
                <a:cubicBezTo>
                  <a:pt x="6292" y="551"/>
                  <a:pt x="6298" y="542"/>
                  <a:pt x="6307" y="524"/>
                </a:cubicBezTo>
                <a:cubicBezTo>
                  <a:pt x="6316" y="506"/>
                  <a:pt x="6320" y="494"/>
                  <a:pt x="6320" y="490"/>
                </a:cubicBezTo>
                <a:cubicBezTo>
                  <a:pt x="6320" y="487"/>
                  <a:pt x="6320" y="485"/>
                  <a:pt x="6319" y="485"/>
                </a:cubicBezTo>
                <a:cubicBezTo>
                  <a:pt x="6319" y="485"/>
                  <a:pt x="6318" y="487"/>
                  <a:pt x="6317" y="492"/>
                </a:cubicBezTo>
                <a:cubicBezTo>
                  <a:pt x="6317" y="494"/>
                  <a:pt x="6316" y="497"/>
                  <a:pt x="6314" y="500"/>
                </a:cubicBezTo>
                <a:cubicBezTo>
                  <a:pt x="6313" y="504"/>
                  <a:pt x="6312" y="507"/>
                  <a:pt x="6310" y="509"/>
                </a:cubicBezTo>
                <a:cubicBezTo>
                  <a:pt x="6309" y="512"/>
                  <a:pt x="6308" y="514"/>
                  <a:pt x="6307" y="514"/>
                </a:cubicBezTo>
                <a:cubicBezTo>
                  <a:pt x="6306" y="514"/>
                  <a:pt x="6306" y="515"/>
                  <a:pt x="6306" y="515"/>
                </a:cubicBezTo>
                <a:cubicBezTo>
                  <a:pt x="6306" y="516"/>
                  <a:pt x="6306" y="517"/>
                  <a:pt x="6306" y="517"/>
                </a:cubicBezTo>
                <a:cubicBezTo>
                  <a:pt x="6306" y="517"/>
                  <a:pt x="6307" y="518"/>
                  <a:pt x="6307" y="518"/>
                </a:cubicBezTo>
                <a:lnTo>
                  <a:pt x="6307" y="519"/>
                </a:lnTo>
                <a:cubicBezTo>
                  <a:pt x="6306" y="519"/>
                  <a:pt x="6306" y="519"/>
                  <a:pt x="6305" y="519"/>
                </a:cubicBezTo>
                <a:cubicBezTo>
                  <a:pt x="6304" y="519"/>
                  <a:pt x="6304" y="519"/>
                  <a:pt x="6304" y="520"/>
                </a:cubicBezTo>
                <a:cubicBezTo>
                  <a:pt x="6303" y="521"/>
                  <a:pt x="6303" y="522"/>
                  <a:pt x="6303" y="524"/>
                </a:cubicBezTo>
                <a:cubicBezTo>
                  <a:pt x="6303" y="525"/>
                  <a:pt x="6303" y="526"/>
                  <a:pt x="6302" y="527"/>
                </a:cubicBezTo>
                <a:cubicBezTo>
                  <a:pt x="6302" y="528"/>
                  <a:pt x="6301" y="528"/>
                  <a:pt x="6301" y="528"/>
                </a:cubicBezTo>
                <a:cubicBezTo>
                  <a:pt x="6300" y="528"/>
                  <a:pt x="6299" y="529"/>
                  <a:pt x="6299" y="529"/>
                </a:cubicBezTo>
                <a:cubicBezTo>
                  <a:pt x="6299" y="529"/>
                  <a:pt x="6299" y="529"/>
                  <a:pt x="6299" y="530"/>
                </a:cubicBezTo>
                <a:lnTo>
                  <a:pt x="6300" y="532"/>
                </a:lnTo>
                <a:cubicBezTo>
                  <a:pt x="6300" y="533"/>
                  <a:pt x="6299" y="533"/>
                  <a:pt x="6299" y="533"/>
                </a:cubicBezTo>
                <a:cubicBezTo>
                  <a:pt x="6298" y="533"/>
                  <a:pt x="6297" y="533"/>
                  <a:pt x="6297" y="534"/>
                </a:cubicBezTo>
                <a:lnTo>
                  <a:pt x="6298" y="537"/>
                </a:lnTo>
                <a:cubicBezTo>
                  <a:pt x="6297" y="538"/>
                  <a:pt x="6296" y="538"/>
                  <a:pt x="6296" y="538"/>
                </a:cubicBezTo>
                <a:cubicBezTo>
                  <a:pt x="6295" y="538"/>
                  <a:pt x="6294" y="539"/>
                  <a:pt x="6294" y="539"/>
                </a:cubicBezTo>
                <a:cubicBezTo>
                  <a:pt x="6294" y="543"/>
                  <a:pt x="6294" y="544"/>
                  <a:pt x="6294" y="544"/>
                </a:cubicBezTo>
                <a:cubicBezTo>
                  <a:pt x="6293" y="544"/>
                  <a:pt x="6293" y="544"/>
                  <a:pt x="6292" y="542"/>
                </a:cubicBezTo>
                <a:cubicBezTo>
                  <a:pt x="6291" y="541"/>
                  <a:pt x="6290" y="541"/>
                  <a:pt x="6290" y="541"/>
                </a:cubicBezTo>
                <a:lnTo>
                  <a:pt x="6290" y="544"/>
                </a:lnTo>
                <a:cubicBezTo>
                  <a:pt x="6290" y="546"/>
                  <a:pt x="6289" y="549"/>
                  <a:pt x="6288" y="550"/>
                </a:cubicBezTo>
                <a:cubicBezTo>
                  <a:pt x="6286" y="552"/>
                  <a:pt x="6286" y="553"/>
                  <a:pt x="6286" y="554"/>
                </a:cubicBezTo>
                <a:lnTo>
                  <a:pt x="6286" y="554"/>
                </a:lnTo>
                <a:cubicBezTo>
                  <a:pt x="6286" y="554"/>
                  <a:pt x="6286" y="555"/>
                  <a:pt x="6287" y="556"/>
                </a:cubicBezTo>
                <a:cubicBezTo>
                  <a:pt x="6288" y="556"/>
                  <a:pt x="6288" y="557"/>
                  <a:pt x="6288" y="558"/>
                </a:cubicBezTo>
                <a:lnTo>
                  <a:pt x="6288" y="558"/>
                </a:lnTo>
                <a:cubicBezTo>
                  <a:pt x="6288" y="558"/>
                  <a:pt x="6288" y="559"/>
                  <a:pt x="6286" y="559"/>
                </a:cubicBezTo>
                <a:cubicBezTo>
                  <a:pt x="6285" y="560"/>
                  <a:pt x="6284" y="560"/>
                  <a:pt x="6284" y="561"/>
                </a:cubicBezTo>
                <a:cubicBezTo>
                  <a:pt x="6284" y="561"/>
                  <a:pt x="6284" y="561"/>
                  <a:pt x="6284" y="562"/>
                </a:cubicBezTo>
                <a:lnTo>
                  <a:pt x="6284" y="563"/>
                </a:lnTo>
                <a:cubicBezTo>
                  <a:pt x="6284" y="564"/>
                  <a:pt x="6283" y="566"/>
                  <a:pt x="6281" y="570"/>
                </a:cubicBezTo>
                <a:cubicBezTo>
                  <a:pt x="6279" y="572"/>
                  <a:pt x="6279" y="574"/>
                  <a:pt x="6278" y="576"/>
                </a:cubicBezTo>
                <a:cubicBezTo>
                  <a:pt x="6277" y="578"/>
                  <a:pt x="6276" y="579"/>
                  <a:pt x="6276" y="580"/>
                </a:cubicBezTo>
                <a:cubicBezTo>
                  <a:pt x="6276" y="581"/>
                  <a:pt x="6276" y="583"/>
                  <a:pt x="6275" y="585"/>
                </a:cubicBezTo>
                <a:cubicBezTo>
                  <a:pt x="6274" y="586"/>
                  <a:pt x="6273" y="587"/>
                  <a:pt x="6273" y="588"/>
                </a:cubicBezTo>
                <a:cubicBezTo>
                  <a:pt x="6273" y="590"/>
                  <a:pt x="6271" y="595"/>
                  <a:pt x="6268" y="605"/>
                </a:cubicBezTo>
                <a:lnTo>
                  <a:pt x="6264" y="615"/>
                </a:lnTo>
                <a:cubicBezTo>
                  <a:pt x="6262" y="628"/>
                  <a:pt x="6259" y="634"/>
                  <a:pt x="6257" y="634"/>
                </a:cubicBezTo>
                <a:cubicBezTo>
                  <a:pt x="6256" y="634"/>
                  <a:pt x="6256" y="632"/>
                  <a:pt x="6255" y="628"/>
                </a:cubicBezTo>
                <a:cubicBezTo>
                  <a:pt x="6256" y="623"/>
                  <a:pt x="6257" y="621"/>
                  <a:pt x="6258" y="621"/>
                </a:cubicBezTo>
                <a:cubicBezTo>
                  <a:pt x="6260" y="621"/>
                  <a:pt x="6260" y="620"/>
                  <a:pt x="6260" y="617"/>
                </a:cubicBezTo>
                <a:lnTo>
                  <a:pt x="6260" y="613"/>
                </a:lnTo>
                <a:cubicBezTo>
                  <a:pt x="6261" y="612"/>
                  <a:pt x="6261" y="612"/>
                  <a:pt x="6261" y="611"/>
                </a:cubicBezTo>
                <a:cubicBezTo>
                  <a:pt x="6261" y="610"/>
                  <a:pt x="6262" y="609"/>
                  <a:pt x="6262" y="607"/>
                </a:cubicBezTo>
                <a:cubicBezTo>
                  <a:pt x="6261" y="607"/>
                  <a:pt x="6261" y="606"/>
                  <a:pt x="6259" y="605"/>
                </a:cubicBezTo>
                <a:cubicBezTo>
                  <a:pt x="6258" y="604"/>
                  <a:pt x="6257" y="603"/>
                  <a:pt x="6257" y="603"/>
                </a:cubicBezTo>
                <a:cubicBezTo>
                  <a:pt x="6257" y="603"/>
                  <a:pt x="6257" y="603"/>
                  <a:pt x="6257" y="604"/>
                </a:cubicBezTo>
                <a:lnTo>
                  <a:pt x="6258" y="610"/>
                </a:lnTo>
                <a:cubicBezTo>
                  <a:pt x="6258" y="611"/>
                  <a:pt x="6258" y="611"/>
                  <a:pt x="6258" y="611"/>
                </a:cubicBezTo>
                <a:cubicBezTo>
                  <a:pt x="6257" y="611"/>
                  <a:pt x="6257" y="611"/>
                  <a:pt x="6256" y="610"/>
                </a:cubicBezTo>
                <a:cubicBezTo>
                  <a:pt x="6256" y="610"/>
                  <a:pt x="6255" y="609"/>
                  <a:pt x="6255" y="609"/>
                </a:cubicBezTo>
                <a:cubicBezTo>
                  <a:pt x="6255" y="610"/>
                  <a:pt x="6256" y="610"/>
                  <a:pt x="6256" y="612"/>
                </a:cubicBezTo>
                <a:cubicBezTo>
                  <a:pt x="6257" y="613"/>
                  <a:pt x="6258" y="615"/>
                  <a:pt x="6258" y="616"/>
                </a:cubicBezTo>
                <a:cubicBezTo>
                  <a:pt x="6258" y="617"/>
                  <a:pt x="6257" y="618"/>
                  <a:pt x="6255" y="618"/>
                </a:cubicBezTo>
                <a:cubicBezTo>
                  <a:pt x="6255" y="618"/>
                  <a:pt x="6254" y="617"/>
                  <a:pt x="6254" y="617"/>
                </a:cubicBezTo>
                <a:cubicBezTo>
                  <a:pt x="6254" y="617"/>
                  <a:pt x="6254" y="616"/>
                  <a:pt x="6253" y="616"/>
                </a:cubicBezTo>
                <a:lnTo>
                  <a:pt x="6253" y="618"/>
                </a:lnTo>
                <a:lnTo>
                  <a:pt x="6254" y="619"/>
                </a:lnTo>
                <a:cubicBezTo>
                  <a:pt x="6254" y="619"/>
                  <a:pt x="6254" y="620"/>
                  <a:pt x="6254" y="620"/>
                </a:cubicBezTo>
                <a:cubicBezTo>
                  <a:pt x="6253" y="621"/>
                  <a:pt x="6252" y="622"/>
                  <a:pt x="6250" y="625"/>
                </a:cubicBezTo>
                <a:lnTo>
                  <a:pt x="6250" y="625"/>
                </a:lnTo>
                <a:lnTo>
                  <a:pt x="6254" y="624"/>
                </a:lnTo>
                <a:cubicBezTo>
                  <a:pt x="6254" y="624"/>
                  <a:pt x="6254" y="624"/>
                  <a:pt x="6254" y="625"/>
                </a:cubicBezTo>
                <a:lnTo>
                  <a:pt x="6254" y="625"/>
                </a:lnTo>
                <a:cubicBezTo>
                  <a:pt x="6254" y="626"/>
                  <a:pt x="6253" y="627"/>
                  <a:pt x="6251" y="629"/>
                </a:cubicBezTo>
                <a:cubicBezTo>
                  <a:pt x="6249" y="631"/>
                  <a:pt x="6248" y="632"/>
                  <a:pt x="6248" y="632"/>
                </a:cubicBezTo>
                <a:lnTo>
                  <a:pt x="6254" y="630"/>
                </a:lnTo>
                <a:cubicBezTo>
                  <a:pt x="6254" y="631"/>
                  <a:pt x="6253" y="633"/>
                  <a:pt x="6250" y="635"/>
                </a:cubicBezTo>
                <a:cubicBezTo>
                  <a:pt x="6248" y="638"/>
                  <a:pt x="6247" y="640"/>
                  <a:pt x="6247" y="642"/>
                </a:cubicBezTo>
                <a:cubicBezTo>
                  <a:pt x="6247" y="642"/>
                  <a:pt x="6247" y="642"/>
                  <a:pt x="6247" y="642"/>
                </a:cubicBezTo>
                <a:lnTo>
                  <a:pt x="6247" y="643"/>
                </a:lnTo>
                <a:cubicBezTo>
                  <a:pt x="6247" y="643"/>
                  <a:pt x="6247" y="644"/>
                  <a:pt x="6246" y="645"/>
                </a:cubicBezTo>
                <a:cubicBezTo>
                  <a:pt x="6245" y="646"/>
                  <a:pt x="6245" y="647"/>
                  <a:pt x="6245" y="649"/>
                </a:cubicBezTo>
                <a:lnTo>
                  <a:pt x="6245" y="651"/>
                </a:lnTo>
                <a:lnTo>
                  <a:pt x="6245" y="652"/>
                </a:lnTo>
                <a:cubicBezTo>
                  <a:pt x="6245" y="652"/>
                  <a:pt x="6244" y="653"/>
                  <a:pt x="6244" y="654"/>
                </a:cubicBezTo>
                <a:cubicBezTo>
                  <a:pt x="6243" y="655"/>
                  <a:pt x="6243" y="656"/>
                  <a:pt x="6243" y="657"/>
                </a:cubicBezTo>
                <a:lnTo>
                  <a:pt x="6243" y="660"/>
                </a:lnTo>
                <a:cubicBezTo>
                  <a:pt x="6243" y="661"/>
                  <a:pt x="6243" y="661"/>
                  <a:pt x="6242" y="662"/>
                </a:cubicBezTo>
                <a:cubicBezTo>
                  <a:pt x="6242" y="663"/>
                  <a:pt x="6241" y="667"/>
                  <a:pt x="6240" y="672"/>
                </a:cubicBezTo>
                <a:cubicBezTo>
                  <a:pt x="6239" y="678"/>
                  <a:pt x="6239" y="682"/>
                  <a:pt x="6238" y="683"/>
                </a:cubicBezTo>
                <a:cubicBezTo>
                  <a:pt x="6237" y="686"/>
                  <a:pt x="6236" y="688"/>
                  <a:pt x="6236" y="692"/>
                </a:cubicBezTo>
                <a:cubicBezTo>
                  <a:pt x="6236" y="702"/>
                  <a:pt x="6237" y="710"/>
                  <a:pt x="6240" y="715"/>
                </a:cubicBezTo>
                <a:cubicBezTo>
                  <a:pt x="6242" y="719"/>
                  <a:pt x="6244" y="722"/>
                  <a:pt x="6245" y="723"/>
                </a:cubicBezTo>
                <a:lnTo>
                  <a:pt x="6246" y="723"/>
                </a:lnTo>
                <a:close/>
                <a:moveTo>
                  <a:pt x="6284" y="463"/>
                </a:moveTo>
                <a:lnTo>
                  <a:pt x="6284" y="463"/>
                </a:lnTo>
                <a:cubicBezTo>
                  <a:pt x="6284" y="462"/>
                  <a:pt x="6283" y="462"/>
                  <a:pt x="6281" y="462"/>
                </a:cubicBezTo>
                <a:cubicBezTo>
                  <a:pt x="6278" y="462"/>
                  <a:pt x="6276" y="462"/>
                  <a:pt x="6276" y="463"/>
                </a:cubicBezTo>
                <a:cubicBezTo>
                  <a:pt x="6276" y="463"/>
                  <a:pt x="6278" y="463"/>
                  <a:pt x="6282" y="463"/>
                </a:cubicBezTo>
                <a:lnTo>
                  <a:pt x="6284" y="463"/>
                </a:lnTo>
                <a:close/>
                <a:moveTo>
                  <a:pt x="6270" y="457"/>
                </a:moveTo>
                <a:cubicBezTo>
                  <a:pt x="6271" y="457"/>
                  <a:pt x="6271" y="457"/>
                  <a:pt x="6271" y="456"/>
                </a:cubicBezTo>
                <a:cubicBezTo>
                  <a:pt x="6272" y="456"/>
                  <a:pt x="6272" y="455"/>
                  <a:pt x="6272" y="455"/>
                </a:cubicBezTo>
                <a:cubicBezTo>
                  <a:pt x="6272" y="454"/>
                  <a:pt x="6272" y="453"/>
                  <a:pt x="6272" y="453"/>
                </a:cubicBezTo>
                <a:lnTo>
                  <a:pt x="6269" y="453"/>
                </a:lnTo>
                <a:cubicBezTo>
                  <a:pt x="6268" y="453"/>
                  <a:pt x="6268" y="453"/>
                  <a:pt x="6268" y="452"/>
                </a:cubicBezTo>
                <a:cubicBezTo>
                  <a:pt x="6268" y="451"/>
                  <a:pt x="6267" y="450"/>
                  <a:pt x="6267" y="450"/>
                </a:cubicBezTo>
                <a:cubicBezTo>
                  <a:pt x="6266" y="450"/>
                  <a:pt x="6266" y="451"/>
                  <a:pt x="6266" y="452"/>
                </a:cubicBezTo>
                <a:cubicBezTo>
                  <a:pt x="6266" y="452"/>
                  <a:pt x="6266" y="453"/>
                  <a:pt x="6266" y="453"/>
                </a:cubicBezTo>
                <a:cubicBezTo>
                  <a:pt x="6266" y="454"/>
                  <a:pt x="6267" y="455"/>
                  <a:pt x="6268" y="456"/>
                </a:cubicBezTo>
                <a:cubicBezTo>
                  <a:pt x="6269" y="457"/>
                  <a:pt x="6269" y="457"/>
                  <a:pt x="6270" y="457"/>
                </a:cubicBezTo>
                <a:close/>
                <a:moveTo>
                  <a:pt x="6262" y="466"/>
                </a:moveTo>
                <a:cubicBezTo>
                  <a:pt x="6264" y="466"/>
                  <a:pt x="6265" y="466"/>
                  <a:pt x="6265" y="465"/>
                </a:cubicBezTo>
                <a:lnTo>
                  <a:pt x="6265" y="465"/>
                </a:lnTo>
                <a:cubicBezTo>
                  <a:pt x="6265" y="464"/>
                  <a:pt x="6264" y="464"/>
                  <a:pt x="6263" y="464"/>
                </a:cubicBezTo>
                <a:cubicBezTo>
                  <a:pt x="6261" y="464"/>
                  <a:pt x="6260" y="465"/>
                  <a:pt x="6260" y="465"/>
                </a:cubicBezTo>
                <a:cubicBezTo>
                  <a:pt x="6260" y="465"/>
                  <a:pt x="6261" y="466"/>
                  <a:pt x="6262" y="466"/>
                </a:cubicBezTo>
                <a:close/>
                <a:moveTo>
                  <a:pt x="6258" y="458"/>
                </a:moveTo>
                <a:cubicBezTo>
                  <a:pt x="6259" y="458"/>
                  <a:pt x="6260" y="458"/>
                  <a:pt x="6261" y="457"/>
                </a:cubicBezTo>
                <a:cubicBezTo>
                  <a:pt x="6262" y="456"/>
                  <a:pt x="6263" y="454"/>
                  <a:pt x="6263" y="451"/>
                </a:cubicBezTo>
                <a:lnTo>
                  <a:pt x="6263" y="450"/>
                </a:lnTo>
                <a:cubicBezTo>
                  <a:pt x="6263" y="450"/>
                  <a:pt x="6262" y="451"/>
                  <a:pt x="6261" y="453"/>
                </a:cubicBezTo>
                <a:cubicBezTo>
                  <a:pt x="6261" y="456"/>
                  <a:pt x="6260" y="457"/>
                  <a:pt x="6260" y="457"/>
                </a:cubicBezTo>
                <a:cubicBezTo>
                  <a:pt x="6259" y="457"/>
                  <a:pt x="6259" y="456"/>
                  <a:pt x="6259" y="453"/>
                </a:cubicBezTo>
                <a:cubicBezTo>
                  <a:pt x="6259" y="451"/>
                  <a:pt x="6258" y="450"/>
                  <a:pt x="6257" y="450"/>
                </a:cubicBezTo>
                <a:cubicBezTo>
                  <a:pt x="6256" y="450"/>
                  <a:pt x="6255" y="452"/>
                  <a:pt x="6255" y="456"/>
                </a:cubicBezTo>
                <a:cubicBezTo>
                  <a:pt x="6255" y="457"/>
                  <a:pt x="6256" y="458"/>
                  <a:pt x="6258" y="458"/>
                </a:cubicBezTo>
                <a:close/>
                <a:moveTo>
                  <a:pt x="6248" y="481"/>
                </a:moveTo>
                <a:lnTo>
                  <a:pt x="6256" y="479"/>
                </a:lnTo>
                <a:lnTo>
                  <a:pt x="6278" y="475"/>
                </a:lnTo>
                <a:cubicBezTo>
                  <a:pt x="6281" y="475"/>
                  <a:pt x="6284" y="474"/>
                  <a:pt x="6288" y="473"/>
                </a:cubicBezTo>
                <a:cubicBezTo>
                  <a:pt x="6292" y="473"/>
                  <a:pt x="6294" y="473"/>
                  <a:pt x="6294" y="471"/>
                </a:cubicBezTo>
                <a:cubicBezTo>
                  <a:pt x="6294" y="470"/>
                  <a:pt x="6294" y="469"/>
                  <a:pt x="6293" y="469"/>
                </a:cubicBezTo>
                <a:cubicBezTo>
                  <a:pt x="6293" y="469"/>
                  <a:pt x="6291" y="470"/>
                  <a:pt x="6290" y="470"/>
                </a:cubicBezTo>
                <a:cubicBezTo>
                  <a:pt x="6288" y="471"/>
                  <a:pt x="6286" y="472"/>
                  <a:pt x="6283" y="472"/>
                </a:cubicBezTo>
                <a:cubicBezTo>
                  <a:pt x="6278" y="472"/>
                  <a:pt x="6275" y="471"/>
                  <a:pt x="6273" y="470"/>
                </a:cubicBezTo>
                <a:cubicBezTo>
                  <a:pt x="6272" y="470"/>
                  <a:pt x="6272" y="470"/>
                  <a:pt x="6271" y="470"/>
                </a:cubicBezTo>
                <a:cubicBezTo>
                  <a:pt x="6270" y="470"/>
                  <a:pt x="6269" y="470"/>
                  <a:pt x="6268" y="472"/>
                </a:cubicBezTo>
                <a:cubicBezTo>
                  <a:pt x="6267" y="474"/>
                  <a:pt x="6266" y="475"/>
                  <a:pt x="6264" y="475"/>
                </a:cubicBezTo>
                <a:cubicBezTo>
                  <a:pt x="6264" y="475"/>
                  <a:pt x="6263" y="475"/>
                  <a:pt x="6261" y="474"/>
                </a:cubicBezTo>
                <a:cubicBezTo>
                  <a:pt x="6258" y="472"/>
                  <a:pt x="6256" y="471"/>
                  <a:pt x="6254" y="471"/>
                </a:cubicBezTo>
                <a:cubicBezTo>
                  <a:pt x="6254" y="471"/>
                  <a:pt x="6253" y="471"/>
                  <a:pt x="6253" y="472"/>
                </a:cubicBezTo>
                <a:lnTo>
                  <a:pt x="6254" y="474"/>
                </a:lnTo>
                <a:cubicBezTo>
                  <a:pt x="6254" y="475"/>
                  <a:pt x="6253" y="475"/>
                  <a:pt x="6252" y="475"/>
                </a:cubicBezTo>
                <a:cubicBezTo>
                  <a:pt x="6252" y="475"/>
                  <a:pt x="6251" y="475"/>
                  <a:pt x="6249" y="474"/>
                </a:cubicBezTo>
                <a:cubicBezTo>
                  <a:pt x="6248" y="474"/>
                  <a:pt x="6247" y="474"/>
                  <a:pt x="6245" y="474"/>
                </a:cubicBezTo>
                <a:cubicBezTo>
                  <a:pt x="6244" y="474"/>
                  <a:pt x="6243" y="474"/>
                  <a:pt x="6243" y="475"/>
                </a:cubicBezTo>
                <a:lnTo>
                  <a:pt x="6243" y="475"/>
                </a:lnTo>
                <a:cubicBezTo>
                  <a:pt x="6243" y="477"/>
                  <a:pt x="6244" y="478"/>
                  <a:pt x="6246" y="480"/>
                </a:cubicBezTo>
                <a:cubicBezTo>
                  <a:pt x="6246" y="481"/>
                  <a:pt x="6247" y="481"/>
                  <a:pt x="6248" y="481"/>
                </a:cubicBezTo>
                <a:close/>
                <a:moveTo>
                  <a:pt x="6252" y="468"/>
                </a:moveTo>
                <a:lnTo>
                  <a:pt x="6252" y="467"/>
                </a:lnTo>
                <a:lnTo>
                  <a:pt x="6250" y="466"/>
                </a:lnTo>
                <a:cubicBezTo>
                  <a:pt x="6249" y="466"/>
                  <a:pt x="6248" y="466"/>
                  <a:pt x="6248" y="467"/>
                </a:cubicBezTo>
                <a:cubicBezTo>
                  <a:pt x="6247" y="467"/>
                  <a:pt x="6247" y="468"/>
                  <a:pt x="6247" y="468"/>
                </a:cubicBezTo>
                <a:cubicBezTo>
                  <a:pt x="6247" y="468"/>
                  <a:pt x="6248" y="468"/>
                  <a:pt x="6252" y="468"/>
                </a:cubicBezTo>
                <a:close/>
                <a:moveTo>
                  <a:pt x="6222" y="465"/>
                </a:moveTo>
                <a:cubicBezTo>
                  <a:pt x="6226" y="465"/>
                  <a:pt x="6229" y="464"/>
                  <a:pt x="6231" y="462"/>
                </a:cubicBezTo>
                <a:cubicBezTo>
                  <a:pt x="6234" y="461"/>
                  <a:pt x="6235" y="460"/>
                  <a:pt x="6235" y="459"/>
                </a:cubicBezTo>
                <a:cubicBezTo>
                  <a:pt x="6235" y="458"/>
                  <a:pt x="6235" y="458"/>
                  <a:pt x="6235" y="458"/>
                </a:cubicBezTo>
                <a:cubicBezTo>
                  <a:pt x="6236" y="458"/>
                  <a:pt x="6236" y="458"/>
                  <a:pt x="6237" y="460"/>
                </a:cubicBezTo>
                <a:cubicBezTo>
                  <a:pt x="6238" y="461"/>
                  <a:pt x="6238" y="462"/>
                  <a:pt x="6239" y="462"/>
                </a:cubicBezTo>
                <a:cubicBezTo>
                  <a:pt x="6240" y="462"/>
                  <a:pt x="6241" y="461"/>
                  <a:pt x="6241" y="460"/>
                </a:cubicBezTo>
                <a:cubicBezTo>
                  <a:pt x="6242" y="458"/>
                  <a:pt x="6243" y="458"/>
                  <a:pt x="6243" y="458"/>
                </a:cubicBezTo>
                <a:cubicBezTo>
                  <a:pt x="6243" y="458"/>
                  <a:pt x="6243" y="458"/>
                  <a:pt x="6243" y="458"/>
                </a:cubicBezTo>
                <a:cubicBezTo>
                  <a:pt x="6243" y="459"/>
                  <a:pt x="6244" y="460"/>
                  <a:pt x="6245" y="460"/>
                </a:cubicBezTo>
                <a:lnTo>
                  <a:pt x="6248" y="460"/>
                </a:lnTo>
                <a:cubicBezTo>
                  <a:pt x="6250" y="459"/>
                  <a:pt x="6251" y="458"/>
                  <a:pt x="6251" y="456"/>
                </a:cubicBezTo>
                <a:cubicBezTo>
                  <a:pt x="6250" y="454"/>
                  <a:pt x="6249" y="453"/>
                  <a:pt x="6249" y="453"/>
                </a:cubicBezTo>
                <a:cubicBezTo>
                  <a:pt x="6248" y="453"/>
                  <a:pt x="6248" y="454"/>
                  <a:pt x="6247" y="454"/>
                </a:cubicBezTo>
                <a:cubicBezTo>
                  <a:pt x="6247" y="455"/>
                  <a:pt x="6246" y="455"/>
                  <a:pt x="6244" y="456"/>
                </a:cubicBezTo>
                <a:lnTo>
                  <a:pt x="6239" y="456"/>
                </a:lnTo>
                <a:cubicBezTo>
                  <a:pt x="6236" y="456"/>
                  <a:pt x="6233" y="457"/>
                  <a:pt x="6231" y="459"/>
                </a:cubicBezTo>
                <a:lnTo>
                  <a:pt x="6229" y="460"/>
                </a:lnTo>
                <a:lnTo>
                  <a:pt x="6229" y="460"/>
                </a:lnTo>
                <a:cubicBezTo>
                  <a:pt x="6229" y="458"/>
                  <a:pt x="6228" y="457"/>
                  <a:pt x="6226" y="457"/>
                </a:cubicBezTo>
                <a:cubicBezTo>
                  <a:pt x="6223" y="457"/>
                  <a:pt x="6222" y="458"/>
                  <a:pt x="6222" y="459"/>
                </a:cubicBezTo>
                <a:cubicBezTo>
                  <a:pt x="6222" y="460"/>
                  <a:pt x="6222" y="460"/>
                  <a:pt x="6221" y="460"/>
                </a:cubicBezTo>
                <a:cubicBezTo>
                  <a:pt x="6221" y="460"/>
                  <a:pt x="6220" y="460"/>
                  <a:pt x="6219" y="459"/>
                </a:cubicBezTo>
                <a:cubicBezTo>
                  <a:pt x="6218" y="458"/>
                  <a:pt x="6217" y="458"/>
                  <a:pt x="6216" y="458"/>
                </a:cubicBezTo>
                <a:cubicBezTo>
                  <a:pt x="6215" y="458"/>
                  <a:pt x="6214" y="458"/>
                  <a:pt x="6214" y="459"/>
                </a:cubicBezTo>
                <a:cubicBezTo>
                  <a:pt x="6214" y="460"/>
                  <a:pt x="6213" y="460"/>
                  <a:pt x="6211" y="460"/>
                </a:cubicBezTo>
                <a:cubicBezTo>
                  <a:pt x="6211" y="460"/>
                  <a:pt x="6211" y="460"/>
                  <a:pt x="6211" y="460"/>
                </a:cubicBezTo>
                <a:cubicBezTo>
                  <a:pt x="6210" y="460"/>
                  <a:pt x="6210" y="460"/>
                  <a:pt x="6209" y="460"/>
                </a:cubicBezTo>
                <a:cubicBezTo>
                  <a:pt x="6209" y="460"/>
                  <a:pt x="6209" y="461"/>
                  <a:pt x="6211" y="463"/>
                </a:cubicBezTo>
                <a:cubicBezTo>
                  <a:pt x="6212" y="464"/>
                  <a:pt x="6212" y="465"/>
                  <a:pt x="6213" y="465"/>
                </a:cubicBezTo>
                <a:cubicBezTo>
                  <a:pt x="6214" y="465"/>
                  <a:pt x="6215" y="464"/>
                  <a:pt x="6216" y="462"/>
                </a:cubicBezTo>
                <a:lnTo>
                  <a:pt x="6217" y="460"/>
                </a:lnTo>
                <a:cubicBezTo>
                  <a:pt x="6217" y="460"/>
                  <a:pt x="6218" y="460"/>
                  <a:pt x="6218" y="462"/>
                </a:cubicBezTo>
                <a:cubicBezTo>
                  <a:pt x="6219" y="463"/>
                  <a:pt x="6219" y="464"/>
                  <a:pt x="6220" y="464"/>
                </a:cubicBezTo>
                <a:cubicBezTo>
                  <a:pt x="6221" y="465"/>
                  <a:pt x="6222" y="465"/>
                  <a:pt x="6222" y="465"/>
                </a:cubicBezTo>
                <a:close/>
                <a:moveTo>
                  <a:pt x="6199" y="459"/>
                </a:moveTo>
                <a:cubicBezTo>
                  <a:pt x="6200" y="459"/>
                  <a:pt x="6200" y="458"/>
                  <a:pt x="6200" y="457"/>
                </a:cubicBezTo>
                <a:cubicBezTo>
                  <a:pt x="6200" y="456"/>
                  <a:pt x="6199" y="455"/>
                  <a:pt x="6197" y="455"/>
                </a:cubicBezTo>
                <a:cubicBezTo>
                  <a:pt x="6197" y="455"/>
                  <a:pt x="6196" y="455"/>
                  <a:pt x="6196" y="455"/>
                </a:cubicBezTo>
                <a:cubicBezTo>
                  <a:pt x="6196" y="455"/>
                  <a:pt x="6196" y="456"/>
                  <a:pt x="6196" y="456"/>
                </a:cubicBezTo>
                <a:cubicBezTo>
                  <a:pt x="6196" y="456"/>
                  <a:pt x="6197" y="457"/>
                  <a:pt x="6197" y="458"/>
                </a:cubicBezTo>
                <a:cubicBezTo>
                  <a:pt x="6197" y="459"/>
                  <a:pt x="6198" y="459"/>
                  <a:pt x="6199" y="459"/>
                </a:cubicBezTo>
                <a:close/>
                <a:moveTo>
                  <a:pt x="6194" y="462"/>
                </a:moveTo>
                <a:cubicBezTo>
                  <a:pt x="6194" y="462"/>
                  <a:pt x="6195" y="461"/>
                  <a:pt x="6195" y="460"/>
                </a:cubicBezTo>
                <a:lnTo>
                  <a:pt x="6195" y="460"/>
                </a:lnTo>
                <a:cubicBezTo>
                  <a:pt x="6195" y="460"/>
                  <a:pt x="6195" y="459"/>
                  <a:pt x="6194" y="459"/>
                </a:cubicBezTo>
                <a:cubicBezTo>
                  <a:pt x="6194" y="458"/>
                  <a:pt x="6193" y="458"/>
                  <a:pt x="6193" y="458"/>
                </a:cubicBezTo>
                <a:cubicBezTo>
                  <a:pt x="6192" y="457"/>
                  <a:pt x="6191" y="457"/>
                  <a:pt x="6191" y="457"/>
                </a:cubicBezTo>
                <a:cubicBezTo>
                  <a:pt x="6190" y="457"/>
                  <a:pt x="6190" y="457"/>
                  <a:pt x="6190" y="457"/>
                </a:cubicBezTo>
                <a:cubicBezTo>
                  <a:pt x="6190" y="458"/>
                  <a:pt x="6190" y="458"/>
                  <a:pt x="6190" y="458"/>
                </a:cubicBezTo>
                <a:cubicBezTo>
                  <a:pt x="6190" y="458"/>
                  <a:pt x="6190" y="459"/>
                  <a:pt x="6191" y="460"/>
                </a:cubicBezTo>
                <a:cubicBezTo>
                  <a:pt x="6191" y="461"/>
                  <a:pt x="6192" y="462"/>
                  <a:pt x="6194" y="462"/>
                </a:cubicBezTo>
                <a:close/>
                <a:moveTo>
                  <a:pt x="6184" y="463"/>
                </a:moveTo>
                <a:cubicBezTo>
                  <a:pt x="6184" y="463"/>
                  <a:pt x="6185" y="462"/>
                  <a:pt x="6186" y="461"/>
                </a:cubicBezTo>
                <a:cubicBezTo>
                  <a:pt x="6187" y="461"/>
                  <a:pt x="6187" y="460"/>
                  <a:pt x="6187" y="459"/>
                </a:cubicBezTo>
                <a:cubicBezTo>
                  <a:pt x="6187" y="458"/>
                  <a:pt x="6187" y="458"/>
                  <a:pt x="6186" y="458"/>
                </a:cubicBezTo>
                <a:lnTo>
                  <a:pt x="6185" y="458"/>
                </a:lnTo>
                <a:cubicBezTo>
                  <a:pt x="6185" y="458"/>
                  <a:pt x="6184" y="458"/>
                  <a:pt x="6183" y="458"/>
                </a:cubicBezTo>
                <a:cubicBezTo>
                  <a:pt x="6182" y="459"/>
                  <a:pt x="6182" y="460"/>
                  <a:pt x="6182" y="461"/>
                </a:cubicBezTo>
                <a:cubicBezTo>
                  <a:pt x="6182" y="462"/>
                  <a:pt x="6182" y="463"/>
                  <a:pt x="6183" y="463"/>
                </a:cubicBezTo>
                <a:lnTo>
                  <a:pt x="6184" y="463"/>
                </a:lnTo>
                <a:close/>
                <a:moveTo>
                  <a:pt x="6177" y="465"/>
                </a:moveTo>
                <a:lnTo>
                  <a:pt x="6178" y="464"/>
                </a:lnTo>
                <a:cubicBezTo>
                  <a:pt x="6178" y="463"/>
                  <a:pt x="6177" y="462"/>
                  <a:pt x="6176" y="461"/>
                </a:cubicBezTo>
                <a:lnTo>
                  <a:pt x="6174" y="460"/>
                </a:lnTo>
                <a:lnTo>
                  <a:pt x="6174" y="460"/>
                </a:lnTo>
                <a:cubicBezTo>
                  <a:pt x="6174" y="460"/>
                  <a:pt x="6174" y="461"/>
                  <a:pt x="6175" y="462"/>
                </a:cubicBezTo>
                <a:cubicBezTo>
                  <a:pt x="6175" y="464"/>
                  <a:pt x="6176" y="464"/>
                  <a:pt x="6176" y="465"/>
                </a:cubicBezTo>
                <a:lnTo>
                  <a:pt x="6177" y="465"/>
                </a:lnTo>
                <a:close/>
                <a:moveTo>
                  <a:pt x="6159" y="481"/>
                </a:moveTo>
                <a:cubicBezTo>
                  <a:pt x="6159" y="481"/>
                  <a:pt x="6160" y="480"/>
                  <a:pt x="6161" y="479"/>
                </a:cubicBezTo>
                <a:cubicBezTo>
                  <a:pt x="6162" y="478"/>
                  <a:pt x="6163" y="477"/>
                  <a:pt x="6164" y="477"/>
                </a:cubicBezTo>
                <a:cubicBezTo>
                  <a:pt x="6165" y="477"/>
                  <a:pt x="6165" y="477"/>
                  <a:pt x="6165" y="478"/>
                </a:cubicBezTo>
                <a:cubicBezTo>
                  <a:pt x="6166" y="479"/>
                  <a:pt x="6166" y="479"/>
                  <a:pt x="6167" y="479"/>
                </a:cubicBezTo>
                <a:cubicBezTo>
                  <a:pt x="6168" y="479"/>
                  <a:pt x="6169" y="478"/>
                  <a:pt x="6170" y="476"/>
                </a:cubicBezTo>
                <a:cubicBezTo>
                  <a:pt x="6172" y="475"/>
                  <a:pt x="6173" y="474"/>
                  <a:pt x="6173" y="474"/>
                </a:cubicBezTo>
                <a:cubicBezTo>
                  <a:pt x="6173" y="474"/>
                  <a:pt x="6174" y="474"/>
                  <a:pt x="6174" y="475"/>
                </a:cubicBezTo>
                <a:lnTo>
                  <a:pt x="6174" y="475"/>
                </a:lnTo>
                <a:cubicBezTo>
                  <a:pt x="6174" y="477"/>
                  <a:pt x="6174" y="477"/>
                  <a:pt x="6174" y="477"/>
                </a:cubicBezTo>
                <a:cubicBezTo>
                  <a:pt x="6175" y="477"/>
                  <a:pt x="6175" y="476"/>
                  <a:pt x="6177" y="474"/>
                </a:cubicBezTo>
                <a:cubicBezTo>
                  <a:pt x="6178" y="473"/>
                  <a:pt x="6179" y="472"/>
                  <a:pt x="6180" y="472"/>
                </a:cubicBezTo>
                <a:cubicBezTo>
                  <a:pt x="6180" y="472"/>
                  <a:pt x="6180" y="472"/>
                  <a:pt x="6180" y="473"/>
                </a:cubicBezTo>
                <a:cubicBezTo>
                  <a:pt x="6180" y="474"/>
                  <a:pt x="6181" y="474"/>
                  <a:pt x="6182" y="474"/>
                </a:cubicBezTo>
                <a:cubicBezTo>
                  <a:pt x="6186" y="474"/>
                  <a:pt x="6190" y="473"/>
                  <a:pt x="6193" y="469"/>
                </a:cubicBezTo>
                <a:cubicBezTo>
                  <a:pt x="6194" y="467"/>
                  <a:pt x="6194" y="466"/>
                  <a:pt x="6195" y="466"/>
                </a:cubicBezTo>
                <a:lnTo>
                  <a:pt x="6195" y="467"/>
                </a:lnTo>
                <a:cubicBezTo>
                  <a:pt x="6195" y="468"/>
                  <a:pt x="6194" y="468"/>
                  <a:pt x="6194" y="470"/>
                </a:cubicBezTo>
                <a:cubicBezTo>
                  <a:pt x="6193" y="471"/>
                  <a:pt x="6193" y="472"/>
                  <a:pt x="6193" y="472"/>
                </a:cubicBezTo>
                <a:cubicBezTo>
                  <a:pt x="6193" y="473"/>
                  <a:pt x="6193" y="473"/>
                  <a:pt x="6194" y="473"/>
                </a:cubicBezTo>
                <a:cubicBezTo>
                  <a:pt x="6194" y="473"/>
                  <a:pt x="6195" y="472"/>
                  <a:pt x="6197" y="471"/>
                </a:cubicBezTo>
                <a:cubicBezTo>
                  <a:pt x="6199" y="469"/>
                  <a:pt x="6200" y="469"/>
                  <a:pt x="6201" y="469"/>
                </a:cubicBezTo>
                <a:cubicBezTo>
                  <a:pt x="6202" y="469"/>
                  <a:pt x="6203" y="469"/>
                  <a:pt x="6204" y="469"/>
                </a:cubicBezTo>
                <a:cubicBezTo>
                  <a:pt x="6204" y="469"/>
                  <a:pt x="6205" y="470"/>
                  <a:pt x="6206" y="470"/>
                </a:cubicBezTo>
                <a:cubicBezTo>
                  <a:pt x="6207" y="470"/>
                  <a:pt x="6208" y="469"/>
                  <a:pt x="6209" y="469"/>
                </a:cubicBezTo>
                <a:cubicBezTo>
                  <a:pt x="6209" y="468"/>
                  <a:pt x="6209" y="468"/>
                  <a:pt x="6209" y="467"/>
                </a:cubicBezTo>
                <a:cubicBezTo>
                  <a:pt x="6209" y="466"/>
                  <a:pt x="6209" y="465"/>
                  <a:pt x="6207" y="464"/>
                </a:cubicBezTo>
                <a:cubicBezTo>
                  <a:pt x="6206" y="462"/>
                  <a:pt x="6205" y="462"/>
                  <a:pt x="6204" y="462"/>
                </a:cubicBezTo>
                <a:cubicBezTo>
                  <a:pt x="6204" y="462"/>
                  <a:pt x="6203" y="462"/>
                  <a:pt x="6202" y="463"/>
                </a:cubicBezTo>
                <a:cubicBezTo>
                  <a:pt x="6202" y="465"/>
                  <a:pt x="6201" y="465"/>
                  <a:pt x="6200" y="465"/>
                </a:cubicBezTo>
                <a:cubicBezTo>
                  <a:pt x="6200" y="465"/>
                  <a:pt x="6199" y="465"/>
                  <a:pt x="6199" y="464"/>
                </a:cubicBezTo>
                <a:cubicBezTo>
                  <a:pt x="6198" y="463"/>
                  <a:pt x="6197" y="463"/>
                  <a:pt x="6196" y="463"/>
                </a:cubicBezTo>
                <a:cubicBezTo>
                  <a:pt x="6194" y="463"/>
                  <a:pt x="6190" y="464"/>
                  <a:pt x="6187" y="468"/>
                </a:cubicBezTo>
                <a:cubicBezTo>
                  <a:pt x="6186" y="470"/>
                  <a:pt x="6185" y="470"/>
                  <a:pt x="6185" y="470"/>
                </a:cubicBezTo>
                <a:lnTo>
                  <a:pt x="6186" y="468"/>
                </a:lnTo>
                <a:cubicBezTo>
                  <a:pt x="6186" y="467"/>
                  <a:pt x="6186" y="467"/>
                  <a:pt x="6185" y="466"/>
                </a:cubicBezTo>
                <a:cubicBezTo>
                  <a:pt x="6185" y="466"/>
                  <a:pt x="6185" y="466"/>
                  <a:pt x="6184" y="466"/>
                </a:cubicBezTo>
                <a:cubicBezTo>
                  <a:pt x="6182" y="466"/>
                  <a:pt x="6177" y="468"/>
                  <a:pt x="6169" y="470"/>
                </a:cubicBezTo>
                <a:cubicBezTo>
                  <a:pt x="6160" y="473"/>
                  <a:pt x="6155" y="475"/>
                  <a:pt x="6155" y="477"/>
                </a:cubicBezTo>
                <a:cubicBezTo>
                  <a:pt x="6155" y="478"/>
                  <a:pt x="6156" y="478"/>
                  <a:pt x="6159" y="478"/>
                </a:cubicBezTo>
                <a:lnTo>
                  <a:pt x="6160" y="479"/>
                </a:lnTo>
                <a:cubicBezTo>
                  <a:pt x="6160" y="480"/>
                  <a:pt x="6159" y="480"/>
                  <a:pt x="6159" y="480"/>
                </a:cubicBezTo>
                <a:lnTo>
                  <a:pt x="6159" y="481"/>
                </a:lnTo>
                <a:close/>
                <a:moveTo>
                  <a:pt x="6123" y="493"/>
                </a:moveTo>
                <a:cubicBezTo>
                  <a:pt x="6126" y="492"/>
                  <a:pt x="6127" y="492"/>
                  <a:pt x="6128" y="492"/>
                </a:cubicBezTo>
                <a:cubicBezTo>
                  <a:pt x="6129" y="492"/>
                  <a:pt x="6129" y="491"/>
                  <a:pt x="6129" y="491"/>
                </a:cubicBezTo>
                <a:lnTo>
                  <a:pt x="6129" y="490"/>
                </a:lnTo>
                <a:cubicBezTo>
                  <a:pt x="6129" y="490"/>
                  <a:pt x="6129" y="489"/>
                  <a:pt x="6128" y="489"/>
                </a:cubicBezTo>
                <a:cubicBezTo>
                  <a:pt x="6128" y="489"/>
                  <a:pt x="6128" y="488"/>
                  <a:pt x="6128" y="488"/>
                </a:cubicBezTo>
                <a:cubicBezTo>
                  <a:pt x="6128" y="487"/>
                  <a:pt x="6128" y="487"/>
                  <a:pt x="6129" y="487"/>
                </a:cubicBezTo>
                <a:lnTo>
                  <a:pt x="6135" y="489"/>
                </a:lnTo>
                <a:cubicBezTo>
                  <a:pt x="6135" y="489"/>
                  <a:pt x="6136" y="489"/>
                  <a:pt x="6136" y="488"/>
                </a:cubicBezTo>
                <a:lnTo>
                  <a:pt x="6135" y="485"/>
                </a:lnTo>
                <a:cubicBezTo>
                  <a:pt x="6135" y="485"/>
                  <a:pt x="6135" y="485"/>
                  <a:pt x="6135" y="485"/>
                </a:cubicBezTo>
                <a:cubicBezTo>
                  <a:pt x="6135" y="485"/>
                  <a:pt x="6136" y="485"/>
                  <a:pt x="6137" y="485"/>
                </a:cubicBezTo>
                <a:cubicBezTo>
                  <a:pt x="6138" y="486"/>
                  <a:pt x="6140" y="486"/>
                  <a:pt x="6141" y="486"/>
                </a:cubicBezTo>
                <a:cubicBezTo>
                  <a:pt x="6145" y="486"/>
                  <a:pt x="6147" y="485"/>
                  <a:pt x="6148" y="485"/>
                </a:cubicBezTo>
                <a:cubicBezTo>
                  <a:pt x="6150" y="484"/>
                  <a:pt x="6150" y="483"/>
                  <a:pt x="6150" y="482"/>
                </a:cubicBezTo>
                <a:lnTo>
                  <a:pt x="6150" y="481"/>
                </a:lnTo>
                <a:cubicBezTo>
                  <a:pt x="6150" y="481"/>
                  <a:pt x="6151" y="481"/>
                  <a:pt x="6151" y="481"/>
                </a:cubicBezTo>
                <a:lnTo>
                  <a:pt x="6155" y="482"/>
                </a:lnTo>
                <a:cubicBezTo>
                  <a:pt x="6155" y="482"/>
                  <a:pt x="6156" y="482"/>
                  <a:pt x="6156" y="481"/>
                </a:cubicBezTo>
                <a:cubicBezTo>
                  <a:pt x="6156" y="478"/>
                  <a:pt x="6154" y="477"/>
                  <a:pt x="6151" y="477"/>
                </a:cubicBezTo>
                <a:cubicBezTo>
                  <a:pt x="6147" y="477"/>
                  <a:pt x="6140" y="479"/>
                  <a:pt x="6129" y="482"/>
                </a:cubicBezTo>
                <a:cubicBezTo>
                  <a:pt x="6123" y="485"/>
                  <a:pt x="6120" y="486"/>
                  <a:pt x="6118" y="487"/>
                </a:cubicBezTo>
                <a:cubicBezTo>
                  <a:pt x="6117" y="487"/>
                  <a:pt x="6116" y="488"/>
                  <a:pt x="6116" y="489"/>
                </a:cubicBezTo>
                <a:cubicBezTo>
                  <a:pt x="6116" y="490"/>
                  <a:pt x="6117" y="490"/>
                  <a:pt x="6118" y="491"/>
                </a:cubicBezTo>
                <a:cubicBezTo>
                  <a:pt x="6119" y="492"/>
                  <a:pt x="6120" y="493"/>
                  <a:pt x="6121" y="493"/>
                </a:cubicBezTo>
                <a:lnTo>
                  <a:pt x="6123" y="493"/>
                </a:lnTo>
                <a:close/>
                <a:moveTo>
                  <a:pt x="6085" y="504"/>
                </a:moveTo>
                <a:cubicBezTo>
                  <a:pt x="6086" y="504"/>
                  <a:pt x="6086" y="504"/>
                  <a:pt x="6087" y="504"/>
                </a:cubicBezTo>
                <a:cubicBezTo>
                  <a:pt x="6089" y="503"/>
                  <a:pt x="6091" y="502"/>
                  <a:pt x="6093" y="502"/>
                </a:cubicBezTo>
                <a:cubicBezTo>
                  <a:pt x="6096" y="502"/>
                  <a:pt x="6098" y="501"/>
                  <a:pt x="6101" y="500"/>
                </a:cubicBezTo>
                <a:cubicBezTo>
                  <a:pt x="6108" y="497"/>
                  <a:pt x="6111" y="495"/>
                  <a:pt x="6111" y="493"/>
                </a:cubicBezTo>
                <a:cubicBezTo>
                  <a:pt x="6111" y="492"/>
                  <a:pt x="6110" y="492"/>
                  <a:pt x="6109" y="492"/>
                </a:cubicBezTo>
                <a:cubicBezTo>
                  <a:pt x="6109" y="492"/>
                  <a:pt x="6108" y="492"/>
                  <a:pt x="6108" y="494"/>
                </a:cubicBezTo>
                <a:cubicBezTo>
                  <a:pt x="6108" y="495"/>
                  <a:pt x="6107" y="495"/>
                  <a:pt x="6107" y="495"/>
                </a:cubicBezTo>
                <a:lnTo>
                  <a:pt x="6105" y="495"/>
                </a:lnTo>
                <a:cubicBezTo>
                  <a:pt x="6103" y="495"/>
                  <a:pt x="6101" y="495"/>
                  <a:pt x="6099" y="497"/>
                </a:cubicBezTo>
                <a:cubicBezTo>
                  <a:pt x="6096" y="500"/>
                  <a:pt x="6093" y="501"/>
                  <a:pt x="6092" y="501"/>
                </a:cubicBezTo>
                <a:cubicBezTo>
                  <a:pt x="6091" y="501"/>
                  <a:pt x="6091" y="500"/>
                  <a:pt x="6091" y="500"/>
                </a:cubicBezTo>
                <a:cubicBezTo>
                  <a:pt x="6091" y="499"/>
                  <a:pt x="6092" y="498"/>
                  <a:pt x="6093" y="497"/>
                </a:cubicBezTo>
                <a:cubicBezTo>
                  <a:pt x="6094" y="496"/>
                  <a:pt x="6095" y="495"/>
                  <a:pt x="6095" y="495"/>
                </a:cubicBezTo>
                <a:lnTo>
                  <a:pt x="6092" y="495"/>
                </a:lnTo>
                <a:cubicBezTo>
                  <a:pt x="6089" y="497"/>
                  <a:pt x="6087" y="499"/>
                  <a:pt x="6087" y="500"/>
                </a:cubicBezTo>
                <a:cubicBezTo>
                  <a:pt x="6086" y="502"/>
                  <a:pt x="6086" y="502"/>
                  <a:pt x="6085" y="502"/>
                </a:cubicBezTo>
                <a:cubicBezTo>
                  <a:pt x="6084" y="502"/>
                  <a:pt x="6084" y="502"/>
                  <a:pt x="6083" y="502"/>
                </a:cubicBezTo>
                <a:cubicBezTo>
                  <a:pt x="6083" y="501"/>
                  <a:pt x="6082" y="501"/>
                  <a:pt x="6082" y="501"/>
                </a:cubicBezTo>
                <a:cubicBezTo>
                  <a:pt x="6082" y="501"/>
                  <a:pt x="6082" y="502"/>
                  <a:pt x="6083" y="503"/>
                </a:cubicBezTo>
                <a:cubicBezTo>
                  <a:pt x="6083" y="504"/>
                  <a:pt x="6084" y="504"/>
                  <a:pt x="6085" y="504"/>
                </a:cubicBezTo>
                <a:close/>
                <a:moveTo>
                  <a:pt x="6045" y="512"/>
                </a:moveTo>
                <a:cubicBezTo>
                  <a:pt x="6047" y="512"/>
                  <a:pt x="6049" y="511"/>
                  <a:pt x="6052" y="509"/>
                </a:cubicBezTo>
                <a:lnTo>
                  <a:pt x="6056" y="506"/>
                </a:lnTo>
                <a:lnTo>
                  <a:pt x="6055" y="506"/>
                </a:lnTo>
                <a:cubicBezTo>
                  <a:pt x="6055" y="506"/>
                  <a:pt x="6054" y="506"/>
                  <a:pt x="6052" y="507"/>
                </a:cubicBezTo>
                <a:cubicBezTo>
                  <a:pt x="6050" y="508"/>
                  <a:pt x="6048" y="509"/>
                  <a:pt x="6046" y="509"/>
                </a:cubicBezTo>
                <a:lnTo>
                  <a:pt x="6044" y="509"/>
                </a:lnTo>
                <a:cubicBezTo>
                  <a:pt x="6043" y="509"/>
                  <a:pt x="6042" y="509"/>
                  <a:pt x="6042" y="509"/>
                </a:cubicBezTo>
                <a:cubicBezTo>
                  <a:pt x="6041" y="509"/>
                  <a:pt x="6041" y="509"/>
                  <a:pt x="6041" y="510"/>
                </a:cubicBezTo>
                <a:lnTo>
                  <a:pt x="6041" y="510"/>
                </a:lnTo>
                <a:cubicBezTo>
                  <a:pt x="6042" y="512"/>
                  <a:pt x="6044" y="512"/>
                  <a:pt x="6045" y="512"/>
                </a:cubicBezTo>
                <a:close/>
                <a:moveTo>
                  <a:pt x="6065" y="503"/>
                </a:moveTo>
                <a:cubicBezTo>
                  <a:pt x="6066" y="503"/>
                  <a:pt x="6068" y="503"/>
                  <a:pt x="6070" y="502"/>
                </a:cubicBezTo>
                <a:cubicBezTo>
                  <a:pt x="6071" y="501"/>
                  <a:pt x="6072" y="500"/>
                  <a:pt x="6072" y="497"/>
                </a:cubicBezTo>
                <a:cubicBezTo>
                  <a:pt x="6072" y="497"/>
                  <a:pt x="6072" y="497"/>
                  <a:pt x="6072" y="497"/>
                </a:cubicBezTo>
                <a:cubicBezTo>
                  <a:pt x="6072" y="497"/>
                  <a:pt x="6071" y="497"/>
                  <a:pt x="6071" y="498"/>
                </a:cubicBezTo>
                <a:cubicBezTo>
                  <a:pt x="6070" y="499"/>
                  <a:pt x="6068" y="499"/>
                  <a:pt x="6066" y="499"/>
                </a:cubicBezTo>
                <a:lnTo>
                  <a:pt x="6064" y="499"/>
                </a:lnTo>
                <a:cubicBezTo>
                  <a:pt x="6062" y="499"/>
                  <a:pt x="6062" y="499"/>
                  <a:pt x="6062" y="501"/>
                </a:cubicBezTo>
                <a:cubicBezTo>
                  <a:pt x="6062" y="502"/>
                  <a:pt x="6063" y="503"/>
                  <a:pt x="6065" y="503"/>
                </a:cubicBezTo>
                <a:close/>
                <a:moveTo>
                  <a:pt x="6025" y="768"/>
                </a:moveTo>
                <a:cubicBezTo>
                  <a:pt x="6025" y="768"/>
                  <a:pt x="6026" y="768"/>
                  <a:pt x="6026" y="768"/>
                </a:cubicBezTo>
                <a:lnTo>
                  <a:pt x="6025" y="765"/>
                </a:lnTo>
                <a:cubicBezTo>
                  <a:pt x="6025" y="764"/>
                  <a:pt x="6025" y="764"/>
                  <a:pt x="6026" y="764"/>
                </a:cubicBezTo>
                <a:cubicBezTo>
                  <a:pt x="6026" y="764"/>
                  <a:pt x="6026" y="764"/>
                  <a:pt x="6027" y="765"/>
                </a:cubicBezTo>
                <a:cubicBezTo>
                  <a:pt x="6028" y="765"/>
                  <a:pt x="6028" y="765"/>
                  <a:pt x="6030" y="765"/>
                </a:cubicBezTo>
                <a:cubicBezTo>
                  <a:pt x="6033" y="765"/>
                  <a:pt x="6036" y="764"/>
                  <a:pt x="6039" y="762"/>
                </a:cubicBezTo>
                <a:cubicBezTo>
                  <a:pt x="6041" y="762"/>
                  <a:pt x="6042" y="760"/>
                  <a:pt x="6042" y="759"/>
                </a:cubicBezTo>
                <a:cubicBezTo>
                  <a:pt x="6042" y="758"/>
                  <a:pt x="6043" y="757"/>
                  <a:pt x="6045" y="757"/>
                </a:cubicBezTo>
                <a:cubicBezTo>
                  <a:pt x="6047" y="757"/>
                  <a:pt x="6050" y="755"/>
                  <a:pt x="6054" y="751"/>
                </a:cubicBezTo>
                <a:cubicBezTo>
                  <a:pt x="6056" y="750"/>
                  <a:pt x="6057" y="748"/>
                  <a:pt x="6059" y="747"/>
                </a:cubicBezTo>
                <a:cubicBezTo>
                  <a:pt x="6060" y="746"/>
                  <a:pt x="6061" y="746"/>
                  <a:pt x="6061" y="746"/>
                </a:cubicBezTo>
                <a:cubicBezTo>
                  <a:pt x="6063" y="746"/>
                  <a:pt x="6069" y="741"/>
                  <a:pt x="6078" y="732"/>
                </a:cubicBezTo>
                <a:cubicBezTo>
                  <a:pt x="6086" y="723"/>
                  <a:pt x="6095" y="713"/>
                  <a:pt x="6104" y="703"/>
                </a:cubicBezTo>
                <a:cubicBezTo>
                  <a:pt x="6112" y="692"/>
                  <a:pt x="6118" y="684"/>
                  <a:pt x="6121" y="679"/>
                </a:cubicBezTo>
                <a:cubicBezTo>
                  <a:pt x="6122" y="676"/>
                  <a:pt x="6123" y="674"/>
                  <a:pt x="6125" y="672"/>
                </a:cubicBezTo>
                <a:cubicBezTo>
                  <a:pt x="6132" y="666"/>
                  <a:pt x="6139" y="651"/>
                  <a:pt x="6144" y="627"/>
                </a:cubicBezTo>
                <a:cubicBezTo>
                  <a:pt x="6146" y="618"/>
                  <a:pt x="6147" y="610"/>
                  <a:pt x="6147" y="602"/>
                </a:cubicBezTo>
                <a:cubicBezTo>
                  <a:pt x="6145" y="590"/>
                  <a:pt x="6142" y="579"/>
                  <a:pt x="6138" y="570"/>
                </a:cubicBezTo>
                <a:cubicBezTo>
                  <a:pt x="6137" y="566"/>
                  <a:pt x="6135" y="565"/>
                  <a:pt x="6134" y="565"/>
                </a:cubicBezTo>
                <a:lnTo>
                  <a:pt x="6133" y="565"/>
                </a:lnTo>
                <a:cubicBezTo>
                  <a:pt x="6132" y="565"/>
                  <a:pt x="6132" y="565"/>
                  <a:pt x="6132" y="565"/>
                </a:cubicBezTo>
                <a:lnTo>
                  <a:pt x="6133" y="563"/>
                </a:lnTo>
                <a:cubicBezTo>
                  <a:pt x="6133" y="560"/>
                  <a:pt x="6131" y="557"/>
                  <a:pt x="6127" y="553"/>
                </a:cubicBezTo>
                <a:cubicBezTo>
                  <a:pt x="6124" y="549"/>
                  <a:pt x="6122" y="548"/>
                  <a:pt x="6121" y="548"/>
                </a:cubicBezTo>
                <a:cubicBezTo>
                  <a:pt x="6121" y="548"/>
                  <a:pt x="6121" y="548"/>
                  <a:pt x="6121" y="548"/>
                </a:cubicBezTo>
                <a:cubicBezTo>
                  <a:pt x="6121" y="549"/>
                  <a:pt x="6121" y="551"/>
                  <a:pt x="6122" y="552"/>
                </a:cubicBezTo>
                <a:cubicBezTo>
                  <a:pt x="6122" y="556"/>
                  <a:pt x="6121" y="558"/>
                  <a:pt x="6120" y="558"/>
                </a:cubicBezTo>
                <a:cubicBezTo>
                  <a:pt x="6119" y="558"/>
                  <a:pt x="6118" y="558"/>
                  <a:pt x="6118" y="560"/>
                </a:cubicBezTo>
                <a:lnTo>
                  <a:pt x="6118" y="562"/>
                </a:lnTo>
                <a:cubicBezTo>
                  <a:pt x="6118" y="563"/>
                  <a:pt x="6118" y="563"/>
                  <a:pt x="6117" y="563"/>
                </a:cubicBezTo>
                <a:cubicBezTo>
                  <a:pt x="6116" y="563"/>
                  <a:pt x="6115" y="565"/>
                  <a:pt x="6113" y="567"/>
                </a:cubicBezTo>
                <a:cubicBezTo>
                  <a:pt x="6112" y="570"/>
                  <a:pt x="6111" y="574"/>
                  <a:pt x="6110" y="578"/>
                </a:cubicBezTo>
                <a:cubicBezTo>
                  <a:pt x="6108" y="581"/>
                  <a:pt x="6108" y="585"/>
                  <a:pt x="6107" y="588"/>
                </a:cubicBezTo>
                <a:cubicBezTo>
                  <a:pt x="6107" y="589"/>
                  <a:pt x="6107" y="589"/>
                  <a:pt x="6106" y="590"/>
                </a:cubicBezTo>
                <a:cubicBezTo>
                  <a:pt x="6105" y="591"/>
                  <a:pt x="6104" y="591"/>
                  <a:pt x="6102" y="591"/>
                </a:cubicBezTo>
                <a:cubicBezTo>
                  <a:pt x="6100" y="591"/>
                  <a:pt x="6099" y="591"/>
                  <a:pt x="6099" y="592"/>
                </a:cubicBezTo>
                <a:lnTo>
                  <a:pt x="6103" y="593"/>
                </a:lnTo>
                <a:cubicBezTo>
                  <a:pt x="6105" y="593"/>
                  <a:pt x="6105" y="594"/>
                  <a:pt x="6105" y="595"/>
                </a:cubicBezTo>
                <a:cubicBezTo>
                  <a:pt x="6105" y="595"/>
                  <a:pt x="6104" y="595"/>
                  <a:pt x="6102" y="595"/>
                </a:cubicBezTo>
                <a:cubicBezTo>
                  <a:pt x="6099" y="595"/>
                  <a:pt x="6098" y="596"/>
                  <a:pt x="6098" y="596"/>
                </a:cubicBezTo>
                <a:cubicBezTo>
                  <a:pt x="6098" y="597"/>
                  <a:pt x="6097" y="599"/>
                  <a:pt x="6097" y="602"/>
                </a:cubicBezTo>
                <a:lnTo>
                  <a:pt x="6098" y="605"/>
                </a:lnTo>
                <a:cubicBezTo>
                  <a:pt x="6098" y="606"/>
                  <a:pt x="6097" y="607"/>
                  <a:pt x="6096" y="607"/>
                </a:cubicBezTo>
                <a:cubicBezTo>
                  <a:pt x="6096" y="607"/>
                  <a:pt x="6096" y="606"/>
                  <a:pt x="6095" y="606"/>
                </a:cubicBezTo>
                <a:cubicBezTo>
                  <a:pt x="6095" y="606"/>
                  <a:pt x="6094" y="606"/>
                  <a:pt x="6093" y="606"/>
                </a:cubicBezTo>
                <a:cubicBezTo>
                  <a:pt x="6093" y="606"/>
                  <a:pt x="6093" y="607"/>
                  <a:pt x="6092" y="607"/>
                </a:cubicBezTo>
                <a:cubicBezTo>
                  <a:pt x="6092" y="608"/>
                  <a:pt x="6092" y="608"/>
                  <a:pt x="6092" y="609"/>
                </a:cubicBezTo>
                <a:cubicBezTo>
                  <a:pt x="6092" y="615"/>
                  <a:pt x="6089" y="618"/>
                  <a:pt x="6082" y="618"/>
                </a:cubicBezTo>
                <a:cubicBezTo>
                  <a:pt x="6081" y="618"/>
                  <a:pt x="6079" y="617"/>
                  <a:pt x="6078" y="617"/>
                </a:cubicBezTo>
                <a:cubicBezTo>
                  <a:pt x="6077" y="617"/>
                  <a:pt x="6077" y="616"/>
                  <a:pt x="6077" y="615"/>
                </a:cubicBezTo>
                <a:cubicBezTo>
                  <a:pt x="6077" y="612"/>
                  <a:pt x="6079" y="607"/>
                  <a:pt x="6082" y="599"/>
                </a:cubicBezTo>
                <a:cubicBezTo>
                  <a:pt x="6087" y="588"/>
                  <a:pt x="6091" y="581"/>
                  <a:pt x="6093" y="579"/>
                </a:cubicBezTo>
                <a:lnTo>
                  <a:pt x="6095" y="577"/>
                </a:lnTo>
                <a:cubicBezTo>
                  <a:pt x="6095" y="577"/>
                  <a:pt x="6095" y="577"/>
                  <a:pt x="6095" y="577"/>
                </a:cubicBezTo>
                <a:cubicBezTo>
                  <a:pt x="6095" y="577"/>
                  <a:pt x="6095" y="575"/>
                  <a:pt x="6096" y="573"/>
                </a:cubicBezTo>
                <a:cubicBezTo>
                  <a:pt x="6097" y="571"/>
                  <a:pt x="6097" y="568"/>
                  <a:pt x="6099" y="565"/>
                </a:cubicBezTo>
                <a:cubicBezTo>
                  <a:pt x="6102" y="556"/>
                  <a:pt x="6103" y="551"/>
                  <a:pt x="6103" y="550"/>
                </a:cubicBezTo>
                <a:cubicBezTo>
                  <a:pt x="6103" y="549"/>
                  <a:pt x="6104" y="548"/>
                  <a:pt x="6105" y="546"/>
                </a:cubicBezTo>
                <a:cubicBezTo>
                  <a:pt x="6106" y="545"/>
                  <a:pt x="6107" y="543"/>
                  <a:pt x="6107" y="541"/>
                </a:cubicBezTo>
                <a:cubicBezTo>
                  <a:pt x="6107" y="539"/>
                  <a:pt x="6107" y="538"/>
                  <a:pt x="6107" y="538"/>
                </a:cubicBezTo>
                <a:cubicBezTo>
                  <a:pt x="6105" y="538"/>
                  <a:pt x="6103" y="540"/>
                  <a:pt x="6099" y="545"/>
                </a:cubicBezTo>
                <a:cubicBezTo>
                  <a:pt x="6096" y="548"/>
                  <a:pt x="6094" y="550"/>
                  <a:pt x="6094" y="550"/>
                </a:cubicBezTo>
                <a:cubicBezTo>
                  <a:pt x="6094" y="550"/>
                  <a:pt x="6095" y="549"/>
                  <a:pt x="6097" y="546"/>
                </a:cubicBezTo>
                <a:cubicBezTo>
                  <a:pt x="6098" y="544"/>
                  <a:pt x="6099" y="542"/>
                  <a:pt x="6100" y="540"/>
                </a:cubicBezTo>
                <a:cubicBezTo>
                  <a:pt x="6101" y="539"/>
                  <a:pt x="6101" y="538"/>
                  <a:pt x="6101" y="537"/>
                </a:cubicBezTo>
                <a:cubicBezTo>
                  <a:pt x="6101" y="536"/>
                  <a:pt x="6100" y="535"/>
                  <a:pt x="6098" y="535"/>
                </a:cubicBezTo>
                <a:cubicBezTo>
                  <a:pt x="6096" y="536"/>
                  <a:pt x="6093" y="536"/>
                  <a:pt x="6091" y="537"/>
                </a:cubicBezTo>
                <a:cubicBezTo>
                  <a:pt x="6088" y="538"/>
                  <a:pt x="6085" y="540"/>
                  <a:pt x="6083" y="542"/>
                </a:cubicBezTo>
                <a:cubicBezTo>
                  <a:pt x="6080" y="544"/>
                  <a:pt x="6079" y="545"/>
                  <a:pt x="6079" y="546"/>
                </a:cubicBezTo>
                <a:lnTo>
                  <a:pt x="6081" y="546"/>
                </a:lnTo>
                <a:cubicBezTo>
                  <a:pt x="6081" y="546"/>
                  <a:pt x="6080" y="547"/>
                  <a:pt x="6078" y="549"/>
                </a:cubicBezTo>
                <a:cubicBezTo>
                  <a:pt x="6075" y="553"/>
                  <a:pt x="6074" y="555"/>
                  <a:pt x="6073" y="556"/>
                </a:cubicBezTo>
                <a:cubicBezTo>
                  <a:pt x="6073" y="559"/>
                  <a:pt x="6071" y="560"/>
                  <a:pt x="6070" y="561"/>
                </a:cubicBezTo>
                <a:cubicBezTo>
                  <a:pt x="6069" y="561"/>
                  <a:pt x="6069" y="562"/>
                  <a:pt x="6069" y="565"/>
                </a:cubicBezTo>
                <a:cubicBezTo>
                  <a:pt x="6069" y="566"/>
                  <a:pt x="6068" y="566"/>
                  <a:pt x="6068" y="567"/>
                </a:cubicBezTo>
                <a:lnTo>
                  <a:pt x="6066" y="567"/>
                </a:lnTo>
                <a:cubicBezTo>
                  <a:pt x="6065" y="567"/>
                  <a:pt x="6064" y="568"/>
                  <a:pt x="6064" y="572"/>
                </a:cubicBezTo>
                <a:cubicBezTo>
                  <a:pt x="6064" y="576"/>
                  <a:pt x="6063" y="578"/>
                  <a:pt x="6061" y="578"/>
                </a:cubicBezTo>
                <a:cubicBezTo>
                  <a:pt x="6060" y="579"/>
                  <a:pt x="6059" y="579"/>
                  <a:pt x="6059" y="580"/>
                </a:cubicBezTo>
                <a:lnTo>
                  <a:pt x="6059" y="583"/>
                </a:lnTo>
                <a:lnTo>
                  <a:pt x="6060" y="583"/>
                </a:lnTo>
                <a:lnTo>
                  <a:pt x="6059" y="583"/>
                </a:lnTo>
                <a:lnTo>
                  <a:pt x="6054" y="583"/>
                </a:lnTo>
                <a:cubicBezTo>
                  <a:pt x="6054" y="583"/>
                  <a:pt x="6054" y="583"/>
                  <a:pt x="6054" y="583"/>
                </a:cubicBezTo>
                <a:cubicBezTo>
                  <a:pt x="6054" y="583"/>
                  <a:pt x="6054" y="584"/>
                  <a:pt x="6056" y="585"/>
                </a:cubicBezTo>
                <a:cubicBezTo>
                  <a:pt x="6057" y="587"/>
                  <a:pt x="6058" y="588"/>
                  <a:pt x="6058" y="588"/>
                </a:cubicBezTo>
                <a:cubicBezTo>
                  <a:pt x="6057" y="589"/>
                  <a:pt x="6056" y="590"/>
                  <a:pt x="6055" y="592"/>
                </a:cubicBezTo>
                <a:cubicBezTo>
                  <a:pt x="6053" y="594"/>
                  <a:pt x="6052" y="596"/>
                  <a:pt x="6052" y="597"/>
                </a:cubicBezTo>
                <a:cubicBezTo>
                  <a:pt x="6051" y="602"/>
                  <a:pt x="6051" y="604"/>
                  <a:pt x="6050" y="604"/>
                </a:cubicBezTo>
                <a:lnTo>
                  <a:pt x="6048" y="603"/>
                </a:lnTo>
                <a:cubicBezTo>
                  <a:pt x="6048" y="603"/>
                  <a:pt x="6047" y="604"/>
                  <a:pt x="6047" y="605"/>
                </a:cubicBezTo>
                <a:cubicBezTo>
                  <a:pt x="6046" y="606"/>
                  <a:pt x="6046" y="607"/>
                  <a:pt x="6046" y="609"/>
                </a:cubicBezTo>
                <a:lnTo>
                  <a:pt x="6046" y="613"/>
                </a:lnTo>
                <a:cubicBezTo>
                  <a:pt x="6046" y="613"/>
                  <a:pt x="6046" y="614"/>
                  <a:pt x="6046" y="615"/>
                </a:cubicBezTo>
                <a:cubicBezTo>
                  <a:pt x="6045" y="616"/>
                  <a:pt x="6044" y="617"/>
                  <a:pt x="6043" y="619"/>
                </a:cubicBezTo>
                <a:cubicBezTo>
                  <a:pt x="6043" y="620"/>
                  <a:pt x="6042" y="621"/>
                  <a:pt x="6041" y="622"/>
                </a:cubicBezTo>
                <a:lnTo>
                  <a:pt x="6041" y="624"/>
                </a:lnTo>
                <a:lnTo>
                  <a:pt x="6042" y="625"/>
                </a:lnTo>
                <a:cubicBezTo>
                  <a:pt x="6042" y="625"/>
                  <a:pt x="6041" y="625"/>
                  <a:pt x="6040" y="625"/>
                </a:cubicBezTo>
                <a:cubicBezTo>
                  <a:pt x="6039" y="625"/>
                  <a:pt x="6038" y="626"/>
                  <a:pt x="6038" y="628"/>
                </a:cubicBezTo>
                <a:lnTo>
                  <a:pt x="6039" y="632"/>
                </a:lnTo>
                <a:cubicBezTo>
                  <a:pt x="6039" y="634"/>
                  <a:pt x="6038" y="636"/>
                  <a:pt x="6037" y="637"/>
                </a:cubicBezTo>
                <a:cubicBezTo>
                  <a:pt x="6036" y="637"/>
                  <a:pt x="6035" y="639"/>
                  <a:pt x="6035" y="640"/>
                </a:cubicBezTo>
                <a:lnTo>
                  <a:pt x="6035" y="644"/>
                </a:lnTo>
                <a:lnTo>
                  <a:pt x="6036" y="645"/>
                </a:lnTo>
                <a:cubicBezTo>
                  <a:pt x="6036" y="645"/>
                  <a:pt x="6035" y="646"/>
                  <a:pt x="6035" y="646"/>
                </a:cubicBezTo>
                <a:lnTo>
                  <a:pt x="6032" y="644"/>
                </a:lnTo>
                <a:cubicBezTo>
                  <a:pt x="6032" y="644"/>
                  <a:pt x="6032" y="645"/>
                  <a:pt x="6032" y="646"/>
                </a:cubicBezTo>
                <a:lnTo>
                  <a:pt x="6033" y="652"/>
                </a:lnTo>
                <a:cubicBezTo>
                  <a:pt x="6033" y="652"/>
                  <a:pt x="6033" y="653"/>
                  <a:pt x="6032" y="653"/>
                </a:cubicBezTo>
                <a:lnTo>
                  <a:pt x="6030" y="652"/>
                </a:lnTo>
                <a:cubicBezTo>
                  <a:pt x="6030" y="652"/>
                  <a:pt x="6029" y="652"/>
                  <a:pt x="6029" y="652"/>
                </a:cubicBezTo>
                <a:lnTo>
                  <a:pt x="6030" y="657"/>
                </a:lnTo>
                <a:cubicBezTo>
                  <a:pt x="6030" y="658"/>
                  <a:pt x="6030" y="659"/>
                  <a:pt x="6029" y="659"/>
                </a:cubicBezTo>
                <a:cubicBezTo>
                  <a:pt x="6028" y="659"/>
                  <a:pt x="6028" y="660"/>
                  <a:pt x="6028" y="662"/>
                </a:cubicBezTo>
                <a:lnTo>
                  <a:pt x="6028" y="664"/>
                </a:lnTo>
                <a:cubicBezTo>
                  <a:pt x="6028" y="665"/>
                  <a:pt x="6028" y="666"/>
                  <a:pt x="6027" y="666"/>
                </a:cubicBezTo>
                <a:cubicBezTo>
                  <a:pt x="6026" y="666"/>
                  <a:pt x="6026" y="667"/>
                  <a:pt x="6026" y="668"/>
                </a:cubicBezTo>
                <a:lnTo>
                  <a:pt x="6026" y="670"/>
                </a:lnTo>
                <a:lnTo>
                  <a:pt x="6026" y="671"/>
                </a:lnTo>
                <a:cubicBezTo>
                  <a:pt x="6026" y="673"/>
                  <a:pt x="6026" y="674"/>
                  <a:pt x="6025" y="675"/>
                </a:cubicBezTo>
                <a:cubicBezTo>
                  <a:pt x="6024" y="676"/>
                  <a:pt x="6024" y="677"/>
                  <a:pt x="6024" y="677"/>
                </a:cubicBezTo>
                <a:lnTo>
                  <a:pt x="6024" y="678"/>
                </a:lnTo>
                <a:lnTo>
                  <a:pt x="6024" y="679"/>
                </a:lnTo>
                <a:lnTo>
                  <a:pt x="6024" y="680"/>
                </a:lnTo>
                <a:cubicBezTo>
                  <a:pt x="6024" y="680"/>
                  <a:pt x="6024" y="681"/>
                  <a:pt x="6023" y="682"/>
                </a:cubicBezTo>
                <a:cubicBezTo>
                  <a:pt x="6022" y="683"/>
                  <a:pt x="6022" y="683"/>
                  <a:pt x="6022" y="685"/>
                </a:cubicBezTo>
                <a:lnTo>
                  <a:pt x="6022" y="686"/>
                </a:lnTo>
                <a:cubicBezTo>
                  <a:pt x="6022" y="687"/>
                  <a:pt x="6022" y="687"/>
                  <a:pt x="6022" y="688"/>
                </a:cubicBezTo>
                <a:cubicBezTo>
                  <a:pt x="6022" y="689"/>
                  <a:pt x="6021" y="690"/>
                  <a:pt x="6021" y="691"/>
                </a:cubicBezTo>
                <a:cubicBezTo>
                  <a:pt x="6020" y="692"/>
                  <a:pt x="6019" y="693"/>
                  <a:pt x="6019" y="695"/>
                </a:cubicBezTo>
                <a:lnTo>
                  <a:pt x="6019" y="699"/>
                </a:lnTo>
                <a:lnTo>
                  <a:pt x="6020" y="701"/>
                </a:lnTo>
                <a:cubicBezTo>
                  <a:pt x="6020" y="703"/>
                  <a:pt x="6019" y="704"/>
                  <a:pt x="6018" y="704"/>
                </a:cubicBezTo>
                <a:cubicBezTo>
                  <a:pt x="6018" y="704"/>
                  <a:pt x="6017" y="704"/>
                  <a:pt x="6017" y="705"/>
                </a:cubicBezTo>
                <a:lnTo>
                  <a:pt x="6017" y="705"/>
                </a:lnTo>
                <a:lnTo>
                  <a:pt x="6018" y="707"/>
                </a:lnTo>
                <a:cubicBezTo>
                  <a:pt x="6018" y="709"/>
                  <a:pt x="6017" y="710"/>
                  <a:pt x="6016" y="711"/>
                </a:cubicBezTo>
                <a:cubicBezTo>
                  <a:pt x="6015" y="713"/>
                  <a:pt x="6014" y="717"/>
                  <a:pt x="6014" y="723"/>
                </a:cubicBezTo>
                <a:lnTo>
                  <a:pt x="6014" y="732"/>
                </a:lnTo>
                <a:lnTo>
                  <a:pt x="6013" y="740"/>
                </a:lnTo>
                <a:cubicBezTo>
                  <a:pt x="6013" y="742"/>
                  <a:pt x="6013" y="744"/>
                  <a:pt x="6014" y="746"/>
                </a:cubicBezTo>
                <a:cubicBezTo>
                  <a:pt x="6015" y="747"/>
                  <a:pt x="6015" y="749"/>
                  <a:pt x="6015" y="749"/>
                </a:cubicBezTo>
                <a:cubicBezTo>
                  <a:pt x="6015" y="750"/>
                  <a:pt x="6014" y="750"/>
                  <a:pt x="6014" y="750"/>
                </a:cubicBezTo>
                <a:cubicBezTo>
                  <a:pt x="6013" y="750"/>
                  <a:pt x="6012" y="750"/>
                  <a:pt x="6012" y="751"/>
                </a:cubicBezTo>
                <a:cubicBezTo>
                  <a:pt x="6012" y="751"/>
                  <a:pt x="6013" y="752"/>
                  <a:pt x="6014" y="752"/>
                </a:cubicBezTo>
                <a:cubicBezTo>
                  <a:pt x="6015" y="753"/>
                  <a:pt x="6016" y="754"/>
                  <a:pt x="6016" y="754"/>
                </a:cubicBezTo>
                <a:cubicBezTo>
                  <a:pt x="6016" y="754"/>
                  <a:pt x="6015" y="755"/>
                  <a:pt x="6014" y="755"/>
                </a:cubicBezTo>
                <a:cubicBezTo>
                  <a:pt x="6013" y="755"/>
                  <a:pt x="6012" y="755"/>
                  <a:pt x="6012" y="755"/>
                </a:cubicBezTo>
                <a:cubicBezTo>
                  <a:pt x="6012" y="756"/>
                  <a:pt x="6012" y="756"/>
                  <a:pt x="6013" y="757"/>
                </a:cubicBezTo>
                <a:cubicBezTo>
                  <a:pt x="6014" y="757"/>
                  <a:pt x="6015" y="758"/>
                  <a:pt x="6016" y="759"/>
                </a:cubicBezTo>
                <a:cubicBezTo>
                  <a:pt x="6016" y="759"/>
                  <a:pt x="6016" y="760"/>
                  <a:pt x="6016" y="760"/>
                </a:cubicBezTo>
                <a:lnTo>
                  <a:pt x="6015" y="761"/>
                </a:lnTo>
                <a:cubicBezTo>
                  <a:pt x="6015" y="761"/>
                  <a:pt x="6015" y="762"/>
                  <a:pt x="6015" y="762"/>
                </a:cubicBezTo>
                <a:cubicBezTo>
                  <a:pt x="6015" y="763"/>
                  <a:pt x="6015" y="763"/>
                  <a:pt x="6016" y="764"/>
                </a:cubicBezTo>
                <a:cubicBezTo>
                  <a:pt x="6017" y="765"/>
                  <a:pt x="6018" y="766"/>
                  <a:pt x="6020" y="767"/>
                </a:cubicBezTo>
                <a:cubicBezTo>
                  <a:pt x="6021" y="768"/>
                  <a:pt x="6023" y="768"/>
                  <a:pt x="6025" y="768"/>
                </a:cubicBezTo>
                <a:close/>
                <a:moveTo>
                  <a:pt x="6137" y="703"/>
                </a:moveTo>
                <a:cubicBezTo>
                  <a:pt x="6137" y="703"/>
                  <a:pt x="6138" y="702"/>
                  <a:pt x="6138" y="701"/>
                </a:cubicBezTo>
                <a:cubicBezTo>
                  <a:pt x="6138" y="700"/>
                  <a:pt x="6137" y="699"/>
                  <a:pt x="6137" y="697"/>
                </a:cubicBezTo>
                <a:cubicBezTo>
                  <a:pt x="6136" y="696"/>
                  <a:pt x="6135" y="695"/>
                  <a:pt x="6135" y="695"/>
                </a:cubicBezTo>
                <a:cubicBezTo>
                  <a:pt x="6135" y="695"/>
                  <a:pt x="6135" y="696"/>
                  <a:pt x="6135" y="697"/>
                </a:cubicBezTo>
                <a:cubicBezTo>
                  <a:pt x="6135" y="698"/>
                  <a:pt x="6135" y="699"/>
                  <a:pt x="6135" y="700"/>
                </a:cubicBezTo>
                <a:cubicBezTo>
                  <a:pt x="6135" y="701"/>
                  <a:pt x="6135" y="701"/>
                  <a:pt x="6136" y="702"/>
                </a:cubicBezTo>
                <a:lnTo>
                  <a:pt x="6136" y="703"/>
                </a:lnTo>
                <a:lnTo>
                  <a:pt x="6137" y="703"/>
                </a:lnTo>
                <a:close/>
                <a:moveTo>
                  <a:pt x="6125" y="711"/>
                </a:moveTo>
                <a:cubicBezTo>
                  <a:pt x="6125" y="711"/>
                  <a:pt x="6126" y="710"/>
                  <a:pt x="6127" y="710"/>
                </a:cubicBezTo>
                <a:cubicBezTo>
                  <a:pt x="6128" y="709"/>
                  <a:pt x="6129" y="708"/>
                  <a:pt x="6130" y="708"/>
                </a:cubicBezTo>
                <a:cubicBezTo>
                  <a:pt x="6130" y="707"/>
                  <a:pt x="6131" y="706"/>
                  <a:pt x="6131" y="705"/>
                </a:cubicBezTo>
                <a:cubicBezTo>
                  <a:pt x="6131" y="705"/>
                  <a:pt x="6131" y="704"/>
                  <a:pt x="6130" y="704"/>
                </a:cubicBezTo>
                <a:cubicBezTo>
                  <a:pt x="6130" y="704"/>
                  <a:pt x="6129" y="705"/>
                  <a:pt x="6128" y="705"/>
                </a:cubicBezTo>
                <a:cubicBezTo>
                  <a:pt x="6127" y="706"/>
                  <a:pt x="6126" y="707"/>
                  <a:pt x="6125" y="708"/>
                </a:cubicBezTo>
                <a:cubicBezTo>
                  <a:pt x="6125" y="708"/>
                  <a:pt x="6124" y="709"/>
                  <a:pt x="6124" y="710"/>
                </a:cubicBezTo>
                <a:cubicBezTo>
                  <a:pt x="6124" y="710"/>
                  <a:pt x="6124" y="711"/>
                  <a:pt x="6125" y="711"/>
                </a:cubicBezTo>
                <a:close/>
                <a:moveTo>
                  <a:pt x="6107" y="725"/>
                </a:moveTo>
                <a:cubicBezTo>
                  <a:pt x="6107" y="725"/>
                  <a:pt x="6109" y="724"/>
                  <a:pt x="6110" y="722"/>
                </a:cubicBezTo>
                <a:cubicBezTo>
                  <a:pt x="6112" y="720"/>
                  <a:pt x="6112" y="718"/>
                  <a:pt x="6112" y="718"/>
                </a:cubicBezTo>
                <a:lnTo>
                  <a:pt x="6110" y="720"/>
                </a:lnTo>
                <a:cubicBezTo>
                  <a:pt x="6107" y="722"/>
                  <a:pt x="6106" y="724"/>
                  <a:pt x="6106" y="725"/>
                </a:cubicBezTo>
                <a:cubicBezTo>
                  <a:pt x="6106" y="725"/>
                  <a:pt x="6106" y="725"/>
                  <a:pt x="6107" y="725"/>
                </a:cubicBezTo>
                <a:close/>
                <a:moveTo>
                  <a:pt x="6060" y="766"/>
                </a:moveTo>
                <a:cubicBezTo>
                  <a:pt x="6060" y="766"/>
                  <a:pt x="6063" y="764"/>
                  <a:pt x="6067" y="761"/>
                </a:cubicBezTo>
                <a:cubicBezTo>
                  <a:pt x="6071" y="758"/>
                  <a:pt x="6074" y="757"/>
                  <a:pt x="6076" y="756"/>
                </a:cubicBezTo>
                <a:cubicBezTo>
                  <a:pt x="6079" y="756"/>
                  <a:pt x="6080" y="755"/>
                  <a:pt x="6080" y="755"/>
                </a:cubicBezTo>
                <a:lnTo>
                  <a:pt x="6080" y="754"/>
                </a:lnTo>
                <a:cubicBezTo>
                  <a:pt x="6080" y="752"/>
                  <a:pt x="6083" y="749"/>
                  <a:pt x="6087" y="744"/>
                </a:cubicBezTo>
                <a:lnTo>
                  <a:pt x="6093" y="739"/>
                </a:lnTo>
                <a:cubicBezTo>
                  <a:pt x="6092" y="739"/>
                  <a:pt x="6091" y="739"/>
                  <a:pt x="6090" y="740"/>
                </a:cubicBezTo>
                <a:cubicBezTo>
                  <a:pt x="6088" y="741"/>
                  <a:pt x="6084" y="745"/>
                  <a:pt x="6077" y="751"/>
                </a:cubicBezTo>
                <a:cubicBezTo>
                  <a:pt x="6075" y="753"/>
                  <a:pt x="6072" y="755"/>
                  <a:pt x="6070" y="757"/>
                </a:cubicBezTo>
                <a:cubicBezTo>
                  <a:pt x="6068" y="758"/>
                  <a:pt x="6066" y="758"/>
                  <a:pt x="6065" y="758"/>
                </a:cubicBezTo>
                <a:lnTo>
                  <a:pt x="6064" y="758"/>
                </a:lnTo>
                <a:cubicBezTo>
                  <a:pt x="6063" y="758"/>
                  <a:pt x="6061" y="759"/>
                  <a:pt x="6060" y="761"/>
                </a:cubicBezTo>
                <a:cubicBezTo>
                  <a:pt x="6059" y="763"/>
                  <a:pt x="6058" y="765"/>
                  <a:pt x="6058" y="765"/>
                </a:cubicBezTo>
                <a:cubicBezTo>
                  <a:pt x="6058" y="766"/>
                  <a:pt x="6059" y="766"/>
                  <a:pt x="6060" y="766"/>
                </a:cubicBezTo>
                <a:close/>
                <a:moveTo>
                  <a:pt x="6066" y="769"/>
                </a:moveTo>
                <a:cubicBezTo>
                  <a:pt x="6068" y="769"/>
                  <a:pt x="6068" y="768"/>
                  <a:pt x="6069" y="768"/>
                </a:cubicBezTo>
                <a:cubicBezTo>
                  <a:pt x="6069" y="767"/>
                  <a:pt x="6068" y="767"/>
                  <a:pt x="6067" y="766"/>
                </a:cubicBezTo>
                <a:cubicBezTo>
                  <a:pt x="6066" y="765"/>
                  <a:pt x="6065" y="765"/>
                  <a:pt x="6065" y="765"/>
                </a:cubicBezTo>
                <a:cubicBezTo>
                  <a:pt x="6065" y="765"/>
                  <a:pt x="6064" y="766"/>
                  <a:pt x="6064" y="767"/>
                </a:cubicBezTo>
                <a:cubicBezTo>
                  <a:pt x="6064" y="768"/>
                  <a:pt x="6065" y="769"/>
                  <a:pt x="6066" y="769"/>
                </a:cubicBezTo>
                <a:close/>
                <a:moveTo>
                  <a:pt x="6031" y="780"/>
                </a:moveTo>
                <a:cubicBezTo>
                  <a:pt x="6032" y="780"/>
                  <a:pt x="6033" y="780"/>
                  <a:pt x="6033" y="779"/>
                </a:cubicBezTo>
                <a:lnTo>
                  <a:pt x="6033" y="778"/>
                </a:lnTo>
                <a:lnTo>
                  <a:pt x="6033" y="777"/>
                </a:lnTo>
                <a:lnTo>
                  <a:pt x="6038" y="778"/>
                </a:lnTo>
                <a:cubicBezTo>
                  <a:pt x="6039" y="778"/>
                  <a:pt x="6040" y="778"/>
                  <a:pt x="6040" y="777"/>
                </a:cubicBezTo>
                <a:lnTo>
                  <a:pt x="6039" y="774"/>
                </a:lnTo>
                <a:cubicBezTo>
                  <a:pt x="6039" y="774"/>
                  <a:pt x="6040" y="775"/>
                  <a:pt x="6042" y="777"/>
                </a:cubicBezTo>
                <a:cubicBezTo>
                  <a:pt x="6044" y="778"/>
                  <a:pt x="6045" y="779"/>
                  <a:pt x="6046" y="779"/>
                </a:cubicBezTo>
                <a:lnTo>
                  <a:pt x="6045" y="778"/>
                </a:lnTo>
                <a:cubicBezTo>
                  <a:pt x="6045" y="776"/>
                  <a:pt x="6047" y="774"/>
                  <a:pt x="6051" y="773"/>
                </a:cubicBezTo>
                <a:cubicBezTo>
                  <a:pt x="6056" y="771"/>
                  <a:pt x="6058" y="770"/>
                  <a:pt x="6058" y="768"/>
                </a:cubicBezTo>
                <a:cubicBezTo>
                  <a:pt x="6058" y="767"/>
                  <a:pt x="6057" y="766"/>
                  <a:pt x="6056" y="764"/>
                </a:cubicBezTo>
                <a:cubicBezTo>
                  <a:pt x="6055" y="763"/>
                  <a:pt x="6054" y="762"/>
                  <a:pt x="6054" y="762"/>
                </a:cubicBezTo>
                <a:cubicBezTo>
                  <a:pt x="6053" y="762"/>
                  <a:pt x="6053" y="762"/>
                  <a:pt x="6053" y="763"/>
                </a:cubicBezTo>
                <a:lnTo>
                  <a:pt x="6053" y="764"/>
                </a:lnTo>
                <a:cubicBezTo>
                  <a:pt x="6053" y="766"/>
                  <a:pt x="6053" y="767"/>
                  <a:pt x="6052" y="768"/>
                </a:cubicBezTo>
                <a:cubicBezTo>
                  <a:pt x="6052" y="770"/>
                  <a:pt x="6051" y="770"/>
                  <a:pt x="6050" y="770"/>
                </a:cubicBezTo>
                <a:lnTo>
                  <a:pt x="6050" y="767"/>
                </a:lnTo>
                <a:cubicBezTo>
                  <a:pt x="6050" y="767"/>
                  <a:pt x="6050" y="767"/>
                  <a:pt x="6050" y="767"/>
                </a:cubicBezTo>
                <a:lnTo>
                  <a:pt x="6035" y="770"/>
                </a:lnTo>
                <a:cubicBezTo>
                  <a:pt x="6026" y="774"/>
                  <a:pt x="6021" y="776"/>
                  <a:pt x="6020" y="777"/>
                </a:cubicBezTo>
                <a:lnTo>
                  <a:pt x="6028" y="776"/>
                </a:lnTo>
                <a:cubicBezTo>
                  <a:pt x="6029" y="776"/>
                  <a:pt x="6029" y="777"/>
                  <a:pt x="6029" y="778"/>
                </a:cubicBezTo>
                <a:cubicBezTo>
                  <a:pt x="6029" y="779"/>
                  <a:pt x="6030" y="780"/>
                  <a:pt x="6031" y="780"/>
                </a:cubicBezTo>
                <a:close/>
                <a:moveTo>
                  <a:pt x="6054" y="795"/>
                </a:moveTo>
                <a:cubicBezTo>
                  <a:pt x="6057" y="795"/>
                  <a:pt x="6060" y="794"/>
                  <a:pt x="6062" y="793"/>
                </a:cubicBezTo>
                <a:cubicBezTo>
                  <a:pt x="6063" y="792"/>
                  <a:pt x="6064" y="792"/>
                  <a:pt x="6065" y="791"/>
                </a:cubicBezTo>
                <a:cubicBezTo>
                  <a:pt x="6066" y="791"/>
                  <a:pt x="6067" y="791"/>
                  <a:pt x="6068" y="791"/>
                </a:cubicBezTo>
                <a:cubicBezTo>
                  <a:pt x="6069" y="790"/>
                  <a:pt x="6071" y="790"/>
                  <a:pt x="6073" y="789"/>
                </a:cubicBezTo>
                <a:cubicBezTo>
                  <a:pt x="6075" y="788"/>
                  <a:pt x="6077" y="787"/>
                  <a:pt x="6079" y="786"/>
                </a:cubicBezTo>
                <a:cubicBezTo>
                  <a:pt x="6081" y="785"/>
                  <a:pt x="6081" y="784"/>
                  <a:pt x="6081" y="784"/>
                </a:cubicBezTo>
                <a:cubicBezTo>
                  <a:pt x="6081" y="784"/>
                  <a:pt x="6081" y="784"/>
                  <a:pt x="6081" y="784"/>
                </a:cubicBezTo>
                <a:lnTo>
                  <a:pt x="6077" y="785"/>
                </a:lnTo>
                <a:cubicBezTo>
                  <a:pt x="6076" y="785"/>
                  <a:pt x="6076" y="784"/>
                  <a:pt x="6076" y="784"/>
                </a:cubicBezTo>
                <a:lnTo>
                  <a:pt x="6076" y="782"/>
                </a:lnTo>
                <a:cubicBezTo>
                  <a:pt x="6077" y="780"/>
                  <a:pt x="6080" y="779"/>
                  <a:pt x="6083" y="779"/>
                </a:cubicBezTo>
                <a:cubicBezTo>
                  <a:pt x="6087" y="779"/>
                  <a:pt x="6089" y="779"/>
                  <a:pt x="6090" y="778"/>
                </a:cubicBezTo>
                <a:lnTo>
                  <a:pt x="6090" y="777"/>
                </a:lnTo>
                <a:lnTo>
                  <a:pt x="6090" y="776"/>
                </a:lnTo>
                <a:lnTo>
                  <a:pt x="6087" y="778"/>
                </a:lnTo>
                <a:cubicBezTo>
                  <a:pt x="6086" y="778"/>
                  <a:pt x="6086" y="777"/>
                  <a:pt x="6086" y="777"/>
                </a:cubicBezTo>
                <a:lnTo>
                  <a:pt x="6087" y="776"/>
                </a:lnTo>
                <a:cubicBezTo>
                  <a:pt x="6088" y="774"/>
                  <a:pt x="6089" y="774"/>
                  <a:pt x="6092" y="774"/>
                </a:cubicBezTo>
                <a:lnTo>
                  <a:pt x="6093" y="774"/>
                </a:lnTo>
                <a:cubicBezTo>
                  <a:pt x="6094" y="774"/>
                  <a:pt x="6094" y="774"/>
                  <a:pt x="6094" y="774"/>
                </a:cubicBezTo>
                <a:lnTo>
                  <a:pt x="6093" y="772"/>
                </a:lnTo>
                <a:cubicBezTo>
                  <a:pt x="6093" y="769"/>
                  <a:pt x="6097" y="765"/>
                  <a:pt x="6105" y="759"/>
                </a:cubicBezTo>
                <a:cubicBezTo>
                  <a:pt x="6129" y="738"/>
                  <a:pt x="6148" y="715"/>
                  <a:pt x="6162" y="689"/>
                </a:cubicBezTo>
                <a:cubicBezTo>
                  <a:pt x="6175" y="666"/>
                  <a:pt x="6182" y="645"/>
                  <a:pt x="6182" y="627"/>
                </a:cubicBezTo>
                <a:cubicBezTo>
                  <a:pt x="6182" y="621"/>
                  <a:pt x="6181" y="613"/>
                  <a:pt x="6178" y="604"/>
                </a:cubicBezTo>
                <a:cubicBezTo>
                  <a:pt x="6174" y="590"/>
                  <a:pt x="6171" y="583"/>
                  <a:pt x="6169" y="583"/>
                </a:cubicBezTo>
                <a:cubicBezTo>
                  <a:pt x="6168" y="583"/>
                  <a:pt x="6168" y="583"/>
                  <a:pt x="6168" y="583"/>
                </a:cubicBezTo>
                <a:lnTo>
                  <a:pt x="6168" y="582"/>
                </a:lnTo>
                <a:cubicBezTo>
                  <a:pt x="6168" y="579"/>
                  <a:pt x="6167" y="577"/>
                  <a:pt x="6166" y="575"/>
                </a:cubicBezTo>
                <a:cubicBezTo>
                  <a:pt x="6164" y="573"/>
                  <a:pt x="6163" y="572"/>
                  <a:pt x="6162" y="572"/>
                </a:cubicBezTo>
                <a:lnTo>
                  <a:pt x="6162" y="573"/>
                </a:lnTo>
                <a:lnTo>
                  <a:pt x="6164" y="576"/>
                </a:lnTo>
                <a:cubicBezTo>
                  <a:pt x="6167" y="585"/>
                  <a:pt x="6168" y="597"/>
                  <a:pt x="6168" y="609"/>
                </a:cubicBezTo>
                <a:cubicBezTo>
                  <a:pt x="6168" y="615"/>
                  <a:pt x="6168" y="623"/>
                  <a:pt x="6167" y="634"/>
                </a:cubicBezTo>
                <a:lnTo>
                  <a:pt x="6167" y="640"/>
                </a:lnTo>
                <a:cubicBezTo>
                  <a:pt x="6167" y="641"/>
                  <a:pt x="6166" y="642"/>
                  <a:pt x="6165" y="642"/>
                </a:cubicBezTo>
                <a:cubicBezTo>
                  <a:pt x="6164" y="642"/>
                  <a:pt x="6164" y="642"/>
                  <a:pt x="6164" y="643"/>
                </a:cubicBezTo>
                <a:lnTo>
                  <a:pt x="6164" y="645"/>
                </a:lnTo>
                <a:lnTo>
                  <a:pt x="6164" y="646"/>
                </a:lnTo>
                <a:cubicBezTo>
                  <a:pt x="6164" y="648"/>
                  <a:pt x="6164" y="649"/>
                  <a:pt x="6163" y="649"/>
                </a:cubicBezTo>
                <a:cubicBezTo>
                  <a:pt x="6162" y="650"/>
                  <a:pt x="6162" y="651"/>
                  <a:pt x="6162" y="653"/>
                </a:cubicBezTo>
                <a:lnTo>
                  <a:pt x="6162" y="656"/>
                </a:lnTo>
                <a:cubicBezTo>
                  <a:pt x="6162" y="656"/>
                  <a:pt x="6162" y="656"/>
                  <a:pt x="6162" y="657"/>
                </a:cubicBezTo>
                <a:cubicBezTo>
                  <a:pt x="6162" y="657"/>
                  <a:pt x="6161" y="658"/>
                  <a:pt x="6161" y="658"/>
                </a:cubicBezTo>
                <a:cubicBezTo>
                  <a:pt x="6160" y="658"/>
                  <a:pt x="6160" y="658"/>
                  <a:pt x="6160" y="659"/>
                </a:cubicBezTo>
                <a:lnTo>
                  <a:pt x="6160" y="662"/>
                </a:lnTo>
                <a:lnTo>
                  <a:pt x="6160" y="664"/>
                </a:lnTo>
                <a:cubicBezTo>
                  <a:pt x="6160" y="664"/>
                  <a:pt x="6160" y="664"/>
                  <a:pt x="6160" y="664"/>
                </a:cubicBezTo>
                <a:lnTo>
                  <a:pt x="6157" y="663"/>
                </a:lnTo>
                <a:cubicBezTo>
                  <a:pt x="6156" y="663"/>
                  <a:pt x="6156" y="663"/>
                  <a:pt x="6156" y="663"/>
                </a:cubicBezTo>
                <a:lnTo>
                  <a:pt x="6157" y="668"/>
                </a:lnTo>
                <a:cubicBezTo>
                  <a:pt x="6157" y="669"/>
                  <a:pt x="6156" y="669"/>
                  <a:pt x="6156" y="669"/>
                </a:cubicBezTo>
                <a:cubicBezTo>
                  <a:pt x="6155" y="669"/>
                  <a:pt x="6155" y="670"/>
                  <a:pt x="6155" y="670"/>
                </a:cubicBezTo>
                <a:lnTo>
                  <a:pt x="6155" y="672"/>
                </a:lnTo>
                <a:lnTo>
                  <a:pt x="6155" y="674"/>
                </a:lnTo>
                <a:cubicBezTo>
                  <a:pt x="6155" y="674"/>
                  <a:pt x="6155" y="674"/>
                  <a:pt x="6154" y="674"/>
                </a:cubicBezTo>
                <a:cubicBezTo>
                  <a:pt x="6153" y="674"/>
                  <a:pt x="6153" y="674"/>
                  <a:pt x="6152" y="674"/>
                </a:cubicBezTo>
                <a:lnTo>
                  <a:pt x="6153" y="678"/>
                </a:lnTo>
                <a:cubicBezTo>
                  <a:pt x="6153" y="679"/>
                  <a:pt x="6153" y="680"/>
                  <a:pt x="6152" y="681"/>
                </a:cubicBezTo>
                <a:cubicBezTo>
                  <a:pt x="6151" y="682"/>
                  <a:pt x="6150" y="683"/>
                  <a:pt x="6149" y="684"/>
                </a:cubicBezTo>
                <a:cubicBezTo>
                  <a:pt x="6148" y="684"/>
                  <a:pt x="6147" y="685"/>
                  <a:pt x="6147" y="685"/>
                </a:cubicBezTo>
                <a:cubicBezTo>
                  <a:pt x="6147" y="685"/>
                  <a:pt x="6146" y="684"/>
                  <a:pt x="6145" y="683"/>
                </a:cubicBezTo>
                <a:cubicBezTo>
                  <a:pt x="6145" y="682"/>
                  <a:pt x="6144" y="682"/>
                  <a:pt x="6143" y="682"/>
                </a:cubicBezTo>
                <a:cubicBezTo>
                  <a:pt x="6143" y="682"/>
                  <a:pt x="6143" y="682"/>
                  <a:pt x="6142" y="683"/>
                </a:cubicBezTo>
                <a:cubicBezTo>
                  <a:pt x="6142" y="683"/>
                  <a:pt x="6142" y="684"/>
                  <a:pt x="6142" y="684"/>
                </a:cubicBezTo>
                <a:cubicBezTo>
                  <a:pt x="6142" y="685"/>
                  <a:pt x="6143" y="686"/>
                  <a:pt x="6144" y="686"/>
                </a:cubicBezTo>
                <a:cubicBezTo>
                  <a:pt x="6146" y="687"/>
                  <a:pt x="6147" y="688"/>
                  <a:pt x="6147" y="688"/>
                </a:cubicBezTo>
                <a:cubicBezTo>
                  <a:pt x="6147" y="689"/>
                  <a:pt x="6146" y="690"/>
                  <a:pt x="6144" y="691"/>
                </a:cubicBezTo>
                <a:cubicBezTo>
                  <a:pt x="6143" y="693"/>
                  <a:pt x="6142" y="693"/>
                  <a:pt x="6142" y="694"/>
                </a:cubicBezTo>
                <a:lnTo>
                  <a:pt x="6144" y="693"/>
                </a:lnTo>
                <a:lnTo>
                  <a:pt x="6144" y="694"/>
                </a:lnTo>
                <a:cubicBezTo>
                  <a:pt x="6144" y="695"/>
                  <a:pt x="6141" y="699"/>
                  <a:pt x="6133" y="708"/>
                </a:cubicBezTo>
                <a:cubicBezTo>
                  <a:pt x="6128" y="713"/>
                  <a:pt x="6124" y="718"/>
                  <a:pt x="6123" y="721"/>
                </a:cubicBezTo>
                <a:cubicBezTo>
                  <a:pt x="6120" y="725"/>
                  <a:pt x="6118" y="727"/>
                  <a:pt x="6115" y="727"/>
                </a:cubicBezTo>
                <a:lnTo>
                  <a:pt x="6115" y="727"/>
                </a:lnTo>
                <a:cubicBezTo>
                  <a:pt x="6113" y="727"/>
                  <a:pt x="6107" y="731"/>
                  <a:pt x="6098" y="739"/>
                </a:cubicBezTo>
                <a:cubicBezTo>
                  <a:pt x="6089" y="748"/>
                  <a:pt x="6085" y="753"/>
                  <a:pt x="6085" y="755"/>
                </a:cubicBezTo>
                <a:lnTo>
                  <a:pt x="6085" y="756"/>
                </a:lnTo>
                <a:cubicBezTo>
                  <a:pt x="6085" y="758"/>
                  <a:pt x="6083" y="761"/>
                  <a:pt x="6079" y="764"/>
                </a:cubicBezTo>
                <a:cubicBezTo>
                  <a:pt x="6075" y="769"/>
                  <a:pt x="6071" y="771"/>
                  <a:pt x="6069" y="771"/>
                </a:cubicBezTo>
                <a:cubicBezTo>
                  <a:pt x="6067" y="771"/>
                  <a:pt x="6066" y="772"/>
                  <a:pt x="6066" y="773"/>
                </a:cubicBezTo>
                <a:cubicBezTo>
                  <a:pt x="6066" y="775"/>
                  <a:pt x="6064" y="777"/>
                  <a:pt x="6059" y="778"/>
                </a:cubicBezTo>
                <a:cubicBezTo>
                  <a:pt x="6058" y="778"/>
                  <a:pt x="6057" y="779"/>
                  <a:pt x="6055" y="779"/>
                </a:cubicBezTo>
                <a:lnTo>
                  <a:pt x="6054" y="779"/>
                </a:lnTo>
                <a:lnTo>
                  <a:pt x="6054" y="781"/>
                </a:lnTo>
                <a:cubicBezTo>
                  <a:pt x="6054" y="782"/>
                  <a:pt x="6053" y="783"/>
                  <a:pt x="6050" y="783"/>
                </a:cubicBezTo>
                <a:lnTo>
                  <a:pt x="6049" y="783"/>
                </a:lnTo>
                <a:cubicBezTo>
                  <a:pt x="6048" y="783"/>
                  <a:pt x="6048" y="783"/>
                  <a:pt x="6048" y="784"/>
                </a:cubicBezTo>
                <a:lnTo>
                  <a:pt x="6048" y="785"/>
                </a:lnTo>
                <a:cubicBezTo>
                  <a:pt x="6048" y="787"/>
                  <a:pt x="6047" y="789"/>
                  <a:pt x="6045" y="791"/>
                </a:cubicBezTo>
                <a:cubicBezTo>
                  <a:pt x="6043" y="792"/>
                  <a:pt x="6041" y="793"/>
                  <a:pt x="6041" y="793"/>
                </a:cubicBezTo>
                <a:cubicBezTo>
                  <a:pt x="6040" y="793"/>
                  <a:pt x="6040" y="793"/>
                  <a:pt x="6040" y="791"/>
                </a:cubicBezTo>
                <a:cubicBezTo>
                  <a:pt x="6039" y="790"/>
                  <a:pt x="6039" y="789"/>
                  <a:pt x="6039" y="789"/>
                </a:cubicBezTo>
                <a:cubicBezTo>
                  <a:pt x="6039" y="788"/>
                  <a:pt x="6039" y="788"/>
                  <a:pt x="6039" y="788"/>
                </a:cubicBezTo>
                <a:lnTo>
                  <a:pt x="6041" y="788"/>
                </a:lnTo>
                <a:cubicBezTo>
                  <a:pt x="6043" y="788"/>
                  <a:pt x="6044" y="788"/>
                  <a:pt x="6044" y="786"/>
                </a:cubicBezTo>
                <a:cubicBezTo>
                  <a:pt x="6044" y="785"/>
                  <a:pt x="6043" y="784"/>
                  <a:pt x="6042" y="783"/>
                </a:cubicBezTo>
                <a:cubicBezTo>
                  <a:pt x="6041" y="782"/>
                  <a:pt x="6040" y="781"/>
                  <a:pt x="6039" y="781"/>
                </a:cubicBezTo>
                <a:cubicBezTo>
                  <a:pt x="6039" y="781"/>
                  <a:pt x="6039" y="782"/>
                  <a:pt x="6039" y="783"/>
                </a:cubicBezTo>
                <a:lnTo>
                  <a:pt x="6039" y="784"/>
                </a:lnTo>
                <a:cubicBezTo>
                  <a:pt x="6039" y="785"/>
                  <a:pt x="6039" y="785"/>
                  <a:pt x="6038" y="785"/>
                </a:cubicBezTo>
                <a:cubicBezTo>
                  <a:pt x="6036" y="785"/>
                  <a:pt x="6033" y="785"/>
                  <a:pt x="6029" y="786"/>
                </a:cubicBezTo>
                <a:lnTo>
                  <a:pt x="6024" y="787"/>
                </a:lnTo>
                <a:cubicBezTo>
                  <a:pt x="6024" y="786"/>
                  <a:pt x="6025" y="786"/>
                  <a:pt x="6027" y="785"/>
                </a:cubicBezTo>
                <a:cubicBezTo>
                  <a:pt x="6028" y="784"/>
                  <a:pt x="6029" y="783"/>
                  <a:pt x="6029" y="783"/>
                </a:cubicBezTo>
                <a:cubicBezTo>
                  <a:pt x="6025" y="783"/>
                  <a:pt x="6021" y="782"/>
                  <a:pt x="6018" y="779"/>
                </a:cubicBezTo>
                <a:cubicBezTo>
                  <a:pt x="6014" y="777"/>
                  <a:pt x="6013" y="776"/>
                  <a:pt x="6011" y="776"/>
                </a:cubicBezTo>
                <a:cubicBezTo>
                  <a:pt x="6010" y="776"/>
                  <a:pt x="6009" y="777"/>
                  <a:pt x="6009" y="779"/>
                </a:cubicBezTo>
                <a:cubicBezTo>
                  <a:pt x="6009" y="780"/>
                  <a:pt x="6011" y="781"/>
                  <a:pt x="6014" y="783"/>
                </a:cubicBezTo>
                <a:cubicBezTo>
                  <a:pt x="6019" y="787"/>
                  <a:pt x="6025" y="789"/>
                  <a:pt x="6031" y="789"/>
                </a:cubicBezTo>
                <a:lnTo>
                  <a:pt x="6033" y="788"/>
                </a:lnTo>
                <a:cubicBezTo>
                  <a:pt x="6035" y="788"/>
                  <a:pt x="6036" y="789"/>
                  <a:pt x="6038" y="792"/>
                </a:cubicBezTo>
                <a:cubicBezTo>
                  <a:pt x="6039" y="794"/>
                  <a:pt x="6043" y="795"/>
                  <a:pt x="6050" y="795"/>
                </a:cubicBezTo>
                <a:lnTo>
                  <a:pt x="6054" y="795"/>
                </a:lnTo>
                <a:close/>
                <a:moveTo>
                  <a:pt x="6009" y="741"/>
                </a:moveTo>
                <a:lnTo>
                  <a:pt x="6009" y="739"/>
                </a:lnTo>
                <a:cubicBezTo>
                  <a:pt x="6009" y="738"/>
                  <a:pt x="6009" y="737"/>
                  <a:pt x="6009" y="736"/>
                </a:cubicBezTo>
                <a:lnTo>
                  <a:pt x="6008" y="735"/>
                </a:lnTo>
                <a:cubicBezTo>
                  <a:pt x="6008" y="735"/>
                  <a:pt x="6008" y="736"/>
                  <a:pt x="6007" y="737"/>
                </a:cubicBezTo>
                <a:cubicBezTo>
                  <a:pt x="6007" y="740"/>
                  <a:pt x="6008" y="741"/>
                  <a:pt x="6008" y="741"/>
                </a:cubicBezTo>
                <a:lnTo>
                  <a:pt x="6009" y="741"/>
                </a:lnTo>
                <a:close/>
                <a:moveTo>
                  <a:pt x="6207" y="453"/>
                </a:moveTo>
                <a:lnTo>
                  <a:pt x="6205" y="453"/>
                </a:lnTo>
                <a:cubicBezTo>
                  <a:pt x="6203" y="453"/>
                  <a:pt x="6202" y="453"/>
                  <a:pt x="6202" y="453"/>
                </a:cubicBezTo>
                <a:cubicBezTo>
                  <a:pt x="6202" y="452"/>
                  <a:pt x="6203" y="451"/>
                  <a:pt x="6204" y="451"/>
                </a:cubicBezTo>
                <a:cubicBezTo>
                  <a:pt x="6204" y="450"/>
                  <a:pt x="6205" y="449"/>
                  <a:pt x="6207" y="448"/>
                </a:cubicBezTo>
                <a:cubicBezTo>
                  <a:pt x="6208" y="448"/>
                  <a:pt x="6209" y="448"/>
                  <a:pt x="6210" y="448"/>
                </a:cubicBezTo>
                <a:cubicBezTo>
                  <a:pt x="6211" y="448"/>
                  <a:pt x="6211" y="448"/>
                  <a:pt x="6211" y="448"/>
                </a:cubicBezTo>
                <a:cubicBezTo>
                  <a:pt x="6211" y="451"/>
                  <a:pt x="6209" y="452"/>
                  <a:pt x="6207" y="453"/>
                </a:cubicBezTo>
                <a:close/>
                <a:moveTo>
                  <a:pt x="6088" y="754"/>
                </a:moveTo>
                <a:cubicBezTo>
                  <a:pt x="6087" y="754"/>
                  <a:pt x="6087" y="754"/>
                  <a:pt x="6087" y="754"/>
                </a:cubicBezTo>
                <a:cubicBezTo>
                  <a:pt x="6087" y="752"/>
                  <a:pt x="6091" y="748"/>
                  <a:pt x="6099" y="741"/>
                </a:cubicBezTo>
                <a:cubicBezTo>
                  <a:pt x="6108" y="732"/>
                  <a:pt x="6113" y="728"/>
                  <a:pt x="6113" y="728"/>
                </a:cubicBezTo>
                <a:cubicBezTo>
                  <a:pt x="6113" y="728"/>
                  <a:pt x="6113" y="730"/>
                  <a:pt x="6111" y="733"/>
                </a:cubicBezTo>
                <a:cubicBezTo>
                  <a:pt x="6108" y="738"/>
                  <a:pt x="6104" y="742"/>
                  <a:pt x="6100" y="746"/>
                </a:cubicBezTo>
                <a:cubicBezTo>
                  <a:pt x="6094" y="751"/>
                  <a:pt x="6090" y="754"/>
                  <a:pt x="6088" y="754"/>
                </a:cubicBezTo>
                <a:close/>
                <a:moveTo>
                  <a:pt x="6175" y="620"/>
                </a:moveTo>
                <a:lnTo>
                  <a:pt x="6175" y="620"/>
                </a:lnTo>
                <a:cubicBezTo>
                  <a:pt x="6175" y="620"/>
                  <a:pt x="6174" y="620"/>
                  <a:pt x="6174" y="619"/>
                </a:cubicBezTo>
                <a:cubicBezTo>
                  <a:pt x="6174" y="617"/>
                  <a:pt x="6175" y="616"/>
                  <a:pt x="6175" y="614"/>
                </a:cubicBezTo>
                <a:cubicBezTo>
                  <a:pt x="6176" y="613"/>
                  <a:pt x="6177" y="612"/>
                  <a:pt x="6177" y="612"/>
                </a:cubicBezTo>
                <a:cubicBezTo>
                  <a:pt x="6177" y="612"/>
                  <a:pt x="6177" y="613"/>
                  <a:pt x="6177" y="615"/>
                </a:cubicBezTo>
                <a:cubicBezTo>
                  <a:pt x="6176" y="618"/>
                  <a:pt x="6176" y="620"/>
                  <a:pt x="6175" y="620"/>
                </a:cubicBezTo>
                <a:close/>
                <a:moveTo>
                  <a:pt x="6216" y="450"/>
                </a:moveTo>
                <a:cubicBezTo>
                  <a:pt x="6214" y="450"/>
                  <a:pt x="6214" y="449"/>
                  <a:pt x="6214" y="449"/>
                </a:cubicBezTo>
                <a:cubicBezTo>
                  <a:pt x="6214" y="448"/>
                  <a:pt x="6215" y="448"/>
                  <a:pt x="6217" y="448"/>
                </a:cubicBezTo>
                <a:cubicBezTo>
                  <a:pt x="6218" y="448"/>
                  <a:pt x="6219" y="448"/>
                  <a:pt x="6219" y="449"/>
                </a:cubicBezTo>
                <a:cubicBezTo>
                  <a:pt x="6219" y="450"/>
                  <a:pt x="6218" y="450"/>
                  <a:pt x="6216" y="450"/>
                </a:cubicBezTo>
                <a:close/>
                <a:moveTo>
                  <a:pt x="6051" y="644"/>
                </a:moveTo>
                <a:cubicBezTo>
                  <a:pt x="6051" y="644"/>
                  <a:pt x="6051" y="643"/>
                  <a:pt x="6051" y="643"/>
                </a:cubicBezTo>
                <a:cubicBezTo>
                  <a:pt x="6051" y="642"/>
                  <a:pt x="6051" y="642"/>
                  <a:pt x="6052" y="640"/>
                </a:cubicBezTo>
                <a:cubicBezTo>
                  <a:pt x="6052" y="639"/>
                  <a:pt x="6053" y="638"/>
                  <a:pt x="6053" y="637"/>
                </a:cubicBezTo>
                <a:cubicBezTo>
                  <a:pt x="6054" y="636"/>
                  <a:pt x="6055" y="635"/>
                  <a:pt x="6055" y="635"/>
                </a:cubicBezTo>
                <a:cubicBezTo>
                  <a:pt x="6055" y="635"/>
                  <a:pt x="6055" y="635"/>
                  <a:pt x="6055" y="636"/>
                </a:cubicBezTo>
                <a:cubicBezTo>
                  <a:pt x="6055" y="638"/>
                  <a:pt x="6055" y="639"/>
                  <a:pt x="6053" y="641"/>
                </a:cubicBezTo>
                <a:cubicBezTo>
                  <a:pt x="6052" y="643"/>
                  <a:pt x="6052" y="644"/>
                  <a:pt x="6051" y="644"/>
                </a:cubicBezTo>
                <a:close/>
                <a:moveTo>
                  <a:pt x="6264" y="442"/>
                </a:moveTo>
                <a:cubicBezTo>
                  <a:pt x="6262" y="442"/>
                  <a:pt x="6261" y="442"/>
                  <a:pt x="6261" y="442"/>
                </a:cubicBezTo>
                <a:cubicBezTo>
                  <a:pt x="6261" y="441"/>
                  <a:pt x="6262" y="441"/>
                  <a:pt x="6266" y="441"/>
                </a:cubicBezTo>
                <a:cubicBezTo>
                  <a:pt x="6268" y="441"/>
                  <a:pt x="6269" y="441"/>
                  <a:pt x="6269" y="442"/>
                </a:cubicBezTo>
                <a:cubicBezTo>
                  <a:pt x="6269" y="442"/>
                  <a:pt x="6267" y="442"/>
                  <a:pt x="6264" y="442"/>
                </a:cubicBezTo>
                <a:close/>
                <a:moveTo>
                  <a:pt x="6319" y="461"/>
                </a:moveTo>
                <a:lnTo>
                  <a:pt x="6319" y="461"/>
                </a:lnTo>
                <a:cubicBezTo>
                  <a:pt x="6316" y="461"/>
                  <a:pt x="6314" y="461"/>
                  <a:pt x="6314" y="460"/>
                </a:cubicBezTo>
                <a:cubicBezTo>
                  <a:pt x="6314" y="460"/>
                  <a:pt x="6315" y="460"/>
                  <a:pt x="6318" y="460"/>
                </a:cubicBezTo>
                <a:cubicBezTo>
                  <a:pt x="6319" y="460"/>
                  <a:pt x="6320" y="460"/>
                  <a:pt x="6320" y="460"/>
                </a:cubicBezTo>
                <a:lnTo>
                  <a:pt x="6319" y="461"/>
                </a:lnTo>
                <a:close/>
                <a:moveTo>
                  <a:pt x="6329" y="496"/>
                </a:moveTo>
                <a:cubicBezTo>
                  <a:pt x="6328" y="496"/>
                  <a:pt x="6327" y="495"/>
                  <a:pt x="6327" y="494"/>
                </a:cubicBezTo>
                <a:cubicBezTo>
                  <a:pt x="6327" y="493"/>
                  <a:pt x="6327" y="492"/>
                  <a:pt x="6328" y="492"/>
                </a:cubicBezTo>
                <a:cubicBezTo>
                  <a:pt x="6328" y="491"/>
                  <a:pt x="6329" y="490"/>
                  <a:pt x="6330" y="490"/>
                </a:cubicBezTo>
                <a:cubicBezTo>
                  <a:pt x="6331" y="490"/>
                  <a:pt x="6331" y="491"/>
                  <a:pt x="6331" y="492"/>
                </a:cubicBezTo>
                <a:cubicBezTo>
                  <a:pt x="6331" y="495"/>
                  <a:pt x="6330" y="496"/>
                  <a:pt x="6329" y="496"/>
                </a:cubicBezTo>
                <a:close/>
                <a:moveTo>
                  <a:pt x="6286" y="442"/>
                </a:moveTo>
                <a:cubicBezTo>
                  <a:pt x="6282" y="442"/>
                  <a:pt x="6280" y="441"/>
                  <a:pt x="6280" y="440"/>
                </a:cubicBezTo>
                <a:cubicBezTo>
                  <a:pt x="6280" y="440"/>
                  <a:pt x="6281" y="439"/>
                  <a:pt x="6283" y="439"/>
                </a:cubicBezTo>
                <a:cubicBezTo>
                  <a:pt x="6288" y="439"/>
                  <a:pt x="6290" y="440"/>
                  <a:pt x="6290" y="441"/>
                </a:cubicBezTo>
                <a:lnTo>
                  <a:pt x="6290" y="441"/>
                </a:lnTo>
                <a:cubicBezTo>
                  <a:pt x="6289" y="442"/>
                  <a:pt x="6288" y="442"/>
                  <a:pt x="6286" y="442"/>
                </a:cubicBezTo>
                <a:close/>
                <a:moveTo>
                  <a:pt x="6076" y="584"/>
                </a:moveTo>
                <a:lnTo>
                  <a:pt x="6076" y="584"/>
                </a:lnTo>
                <a:cubicBezTo>
                  <a:pt x="6075" y="584"/>
                  <a:pt x="6075" y="583"/>
                  <a:pt x="6075" y="582"/>
                </a:cubicBezTo>
                <a:cubicBezTo>
                  <a:pt x="6075" y="581"/>
                  <a:pt x="6076" y="580"/>
                  <a:pt x="6076" y="579"/>
                </a:cubicBezTo>
                <a:cubicBezTo>
                  <a:pt x="6076" y="578"/>
                  <a:pt x="6077" y="578"/>
                  <a:pt x="6078" y="578"/>
                </a:cubicBezTo>
                <a:lnTo>
                  <a:pt x="6079" y="578"/>
                </a:lnTo>
                <a:cubicBezTo>
                  <a:pt x="6079" y="579"/>
                  <a:pt x="6078" y="580"/>
                  <a:pt x="6078" y="581"/>
                </a:cubicBezTo>
                <a:cubicBezTo>
                  <a:pt x="6078" y="583"/>
                  <a:pt x="6077" y="584"/>
                  <a:pt x="6076" y="584"/>
                </a:cubicBezTo>
                <a:close/>
                <a:moveTo>
                  <a:pt x="6254" y="644"/>
                </a:moveTo>
                <a:cubicBezTo>
                  <a:pt x="6254" y="644"/>
                  <a:pt x="6253" y="644"/>
                  <a:pt x="6253" y="643"/>
                </a:cubicBezTo>
                <a:cubicBezTo>
                  <a:pt x="6253" y="642"/>
                  <a:pt x="6254" y="642"/>
                  <a:pt x="6254" y="641"/>
                </a:cubicBezTo>
                <a:cubicBezTo>
                  <a:pt x="6254" y="640"/>
                  <a:pt x="6255" y="639"/>
                  <a:pt x="6256" y="638"/>
                </a:cubicBezTo>
                <a:cubicBezTo>
                  <a:pt x="6256" y="637"/>
                  <a:pt x="6256" y="637"/>
                  <a:pt x="6257" y="637"/>
                </a:cubicBezTo>
                <a:cubicBezTo>
                  <a:pt x="6257" y="637"/>
                  <a:pt x="6258" y="637"/>
                  <a:pt x="6258" y="638"/>
                </a:cubicBezTo>
                <a:cubicBezTo>
                  <a:pt x="6258" y="638"/>
                  <a:pt x="6258" y="639"/>
                  <a:pt x="6258" y="639"/>
                </a:cubicBezTo>
                <a:cubicBezTo>
                  <a:pt x="6258" y="639"/>
                  <a:pt x="6258" y="640"/>
                  <a:pt x="6257" y="641"/>
                </a:cubicBezTo>
                <a:cubicBezTo>
                  <a:pt x="6257" y="642"/>
                  <a:pt x="6256" y="642"/>
                  <a:pt x="6256" y="643"/>
                </a:cubicBezTo>
                <a:cubicBezTo>
                  <a:pt x="6256" y="644"/>
                  <a:pt x="6255" y="644"/>
                  <a:pt x="6254" y="644"/>
                </a:cubicBezTo>
                <a:close/>
                <a:moveTo>
                  <a:pt x="6244" y="674"/>
                </a:moveTo>
                <a:cubicBezTo>
                  <a:pt x="6244" y="674"/>
                  <a:pt x="6244" y="674"/>
                  <a:pt x="6244" y="674"/>
                </a:cubicBezTo>
                <a:lnTo>
                  <a:pt x="6245" y="672"/>
                </a:lnTo>
                <a:cubicBezTo>
                  <a:pt x="6246" y="671"/>
                  <a:pt x="6247" y="669"/>
                  <a:pt x="6247" y="668"/>
                </a:cubicBezTo>
                <a:lnTo>
                  <a:pt x="6247" y="663"/>
                </a:lnTo>
                <a:lnTo>
                  <a:pt x="6249" y="664"/>
                </a:lnTo>
                <a:cubicBezTo>
                  <a:pt x="6249" y="664"/>
                  <a:pt x="6250" y="662"/>
                  <a:pt x="6250" y="660"/>
                </a:cubicBezTo>
                <a:lnTo>
                  <a:pt x="6250" y="658"/>
                </a:lnTo>
                <a:cubicBezTo>
                  <a:pt x="6250" y="655"/>
                  <a:pt x="6250" y="653"/>
                  <a:pt x="6251" y="650"/>
                </a:cubicBezTo>
                <a:cubicBezTo>
                  <a:pt x="6252" y="647"/>
                  <a:pt x="6254" y="646"/>
                  <a:pt x="6255" y="646"/>
                </a:cubicBezTo>
                <a:cubicBezTo>
                  <a:pt x="6256" y="646"/>
                  <a:pt x="6256" y="647"/>
                  <a:pt x="6256" y="647"/>
                </a:cubicBezTo>
                <a:cubicBezTo>
                  <a:pt x="6256" y="648"/>
                  <a:pt x="6256" y="649"/>
                  <a:pt x="6255" y="650"/>
                </a:cubicBezTo>
                <a:cubicBezTo>
                  <a:pt x="6255" y="651"/>
                  <a:pt x="6254" y="654"/>
                  <a:pt x="6252" y="661"/>
                </a:cubicBezTo>
                <a:lnTo>
                  <a:pt x="6251" y="665"/>
                </a:lnTo>
                <a:cubicBezTo>
                  <a:pt x="6250" y="667"/>
                  <a:pt x="6249" y="669"/>
                  <a:pt x="6249" y="670"/>
                </a:cubicBezTo>
                <a:cubicBezTo>
                  <a:pt x="6249" y="671"/>
                  <a:pt x="6249" y="672"/>
                  <a:pt x="6248" y="673"/>
                </a:cubicBezTo>
                <a:cubicBezTo>
                  <a:pt x="6247" y="674"/>
                  <a:pt x="6246" y="674"/>
                  <a:pt x="6244" y="674"/>
                </a:cubicBezTo>
                <a:close/>
                <a:moveTo>
                  <a:pt x="6347" y="697"/>
                </a:moveTo>
                <a:cubicBezTo>
                  <a:pt x="6346" y="697"/>
                  <a:pt x="6346" y="697"/>
                  <a:pt x="6346" y="696"/>
                </a:cubicBezTo>
                <a:cubicBezTo>
                  <a:pt x="6346" y="696"/>
                  <a:pt x="6347" y="695"/>
                  <a:pt x="6348" y="695"/>
                </a:cubicBezTo>
                <a:cubicBezTo>
                  <a:pt x="6348" y="694"/>
                  <a:pt x="6349" y="693"/>
                  <a:pt x="6351" y="692"/>
                </a:cubicBezTo>
                <a:cubicBezTo>
                  <a:pt x="6352" y="691"/>
                  <a:pt x="6353" y="690"/>
                  <a:pt x="6353" y="690"/>
                </a:cubicBezTo>
                <a:cubicBezTo>
                  <a:pt x="6353" y="691"/>
                  <a:pt x="6353" y="691"/>
                  <a:pt x="6351" y="693"/>
                </a:cubicBezTo>
                <a:cubicBezTo>
                  <a:pt x="6349" y="696"/>
                  <a:pt x="6348" y="697"/>
                  <a:pt x="6347" y="697"/>
                </a:cubicBezTo>
                <a:close/>
                <a:moveTo>
                  <a:pt x="6082" y="569"/>
                </a:moveTo>
                <a:close/>
                <a:moveTo>
                  <a:pt x="6365" y="676"/>
                </a:moveTo>
                <a:lnTo>
                  <a:pt x="6364" y="676"/>
                </a:lnTo>
                <a:cubicBezTo>
                  <a:pt x="6364" y="674"/>
                  <a:pt x="6365" y="673"/>
                  <a:pt x="6368" y="672"/>
                </a:cubicBezTo>
                <a:cubicBezTo>
                  <a:pt x="6370" y="671"/>
                  <a:pt x="6372" y="670"/>
                  <a:pt x="6372" y="670"/>
                </a:cubicBezTo>
                <a:lnTo>
                  <a:pt x="6373" y="670"/>
                </a:lnTo>
                <a:cubicBezTo>
                  <a:pt x="6373" y="671"/>
                  <a:pt x="6372" y="671"/>
                  <a:pt x="6371" y="672"/>
                </a:cubicBezTo>
                <a:cubicBezTo>
                  <a:pt x="6370" y="673"/>
                  <a:pt x="6368" y="674"/>
                  <a:pt x="6365" y="676"/>
                </a:cubicBezTo>
                <a:close/>
                <a:moveTo>
                  <a:pt x="6058" y="625"/>
                </a:moveTo>
                <a:cubicBezTo>
                  <a:pt x="6058" y="625"/>
                  <a:pt x="6058" y="625"/>
                  <a:pt x="6058" y="625"/>
                </a:cubicBezTo>
                <a:cubicBezTo>
                  <a:pt x="6058" y="622"/>
                  <a:pt x="6058" y="620"/>
                  <a:pt x="6060" y="619"/>
                </a:cubicBezTo>
                <a:lnTo>
                  <a:pt x="6061" y="617"/>
                </a:lnTo>
                <a:cubicBezTo>
                  <a:pt x="6062" y="617"/>
                  <a:pt x="6062" y="617"/>
                  <a:pt x="6062" y="617"/>
                </a:cubicBezTo>
                <a:cubicBezTo>
                  <a:pt x="6062" y="618"/>
                  <a:pt x="6061" y="619"/>
                  <a:pt x="6061" y="620"/>
                </a:cubicBezTo>
                <a:cubicBezTo>
                  <a:pt x="6061" y="621"/>
                  <a:pt x="6060" y="622"/>
                  <a:pt x="6060" y="624"/>
                </a:cubicBezTo>
                <a:cubicBezTo>
                  <a:pt x="6059" y="625"/>
                  <a:pt x="6058" y="625"/>
                  <a:pt x="6058" y="625"/>
                </a:cubicBezTo>
                <a:close/>
                <a:moveTo>
                  <a:pt x="6062" y="613"/>
                </a:moveTo>
                <a:cubicBezTo>
                  <a:pt x="6062" y="613"/>
                  <a:pt x="6062" y="613"/>
                  <a:pt x="6062" y="613"/>
                </a:cubicBezTo>
                <a:cubicBezTo>
                  <a:pt x="6062" y="611"/>
                  <a:pt x="6063" y="609"/>
                  <a:pt x="6065" y="605"/>
                </a:cubicBezTo>
                <a:cubicBezTo>
                  <a:pt x="6067" y="602"/>
                  <a:pt x="6068" y="601"/>
                  <a:pt x="6069" y="601"/>
                </a:cubicBezTo>
                <a:lnTo>
                  <a:pt x="6069" y="601"/>
                </a:lnTo>
                <a:cubicBezTo>
                  <a:pt x="6069" y="603"/>
                  <a:pt x="6068" y="605"/>
                  <a:pt x="6065" y="609"/>
                </a:cubicBezTo>
                <a:cubicBezTo>
                  <a:pt x="6064" y="612"/>
                  <a:pt x="6063" y="613"/>
                  <a:pt x="6062" y="613"/>
                </a:cubicBezTo>
                <a:close/>
                <a:moveTo>
                  <a:pt x="6081" y="574"/>
                </a:moveTo>
                <a:cubicBezTo>
                  <a:pt x="6081" y="572"/>
                  <a:pt x="6082" y="568"/>
                  <a:pt x="6086" y="562"/>
                </a:cubicBezTo>
                <a:cubicBezTo>
                  <a:pt x="6088" y="558"/>
                  <a:pt x="6090" y="556"/>
                  <a:pt x="6090" y="556"/>
                </a:cubicBezTo>
                <a:lnTo>
                  <a:pt x="6091" y="557"/>
                </a:lnTo>
                <a:lnTo>
                  <a:pt x="6088" y="562"/>
                </a:lnTo>
                <a:cubicBezTo>
                  <a:pt x="6084" y="570"/>
                  <a:pt x="6081" y="574"/>
                  <a:pt x="6081" y="574"/>
                </a:cubicBezTo>
                <a:close/>
                <a:moveTo>
                  <a:pt x="6070" y="598"/>
                </a:moveTo>
                <a:lnTo>
                  <a:pt x="6069" y="598"/>
                </a:lnTo>
                <a:cubicBezTo>
                  <a:pt x="6069" y="598"/>
                  <a:pt x="6069" y="597"/>
                  <a:pt x="6069" y="595"/>
                </a:cubicBezTo>
                <a:cubicBezTo>
                  <a:pt x="6069" y="595"/>
                  <a:pt x="6069" y="594"/>
                  <a:pt x="6070" y="593"/>
                </a:cubicBezTo>
                <a:cubicBezTo>
                  <a:pt x="6070" y="592"/>
                  <a:pt x="6071" y="592"/>
                  <a:pt x="6071" y="592"/>
                </a:cubicBezTo>
                <a:lnTo>
                  <a:pt x="6072" y="593"/>
                </a:lnTo>
                <a:lnTo>
                  <a:pt x="6071" y="594"/>
                </a:lnTo>
                <a:cubicBezTo>
                  <a:pt x="6071" y="596"/>
                  <a:pt x="6070" y="597"/>
                  <a:pt x="6070" y="598"/>
                </a:cubicBezTo>
                <a:close/>
                <a:moveTo>
                  <a:pt x="6314" y="683"/>
                </a:moveTo>
                <a:cubicBezTo>
                  <a:pt x="6314" y="683"/>
                  <a:pt x="6314" y="683"/>
                  <a:pt x="6314" y="683"/>
                </a:cubicBezTo>
                <a:lnTo>
                  <a:pt x="6323" y="674"/>
                </a:lnTo>
                <a:lnTo>
                  <a:pt x="6329" y="669"/>
                </a:lnTo>
                <a:lnTo>
                  <a:pt x="6329" y="669"/>
                </a:lnTo>
                <a:cubicBezTo>
                  <a:pt x="6329" y="670"/>
                  <a:pt x="6326" y="673"/>
                  <a:pt x="6321" y="679"/>
                </a:cubicBezTo>
                <a:cubicBezTo>
                  <a:pt x="6317" y="681"/>
                  <a:pt x="6315" y="683"/>
                  <a:pt x="6314" y="683"/>
                </a:cubicBezTo>
                <a:close/>
                <a:moveTo>
                  <a:pt x="6416" y="627"/>
                </a:moveTo>
                <a:lnTo>
                  <a:pt x="6415" y="627"/>
                </a:lnTo>
                <a:cubicBezTo>
                  <a:pt x="6415" y="627"/>
                  <a:pt x="6414" y="627"/>
                  <a:pt x="6414" y="625"/>
                </a:cubicBezTo>
                <a:cubicBezTo>
                  <a:pt x="6415" y="623"/>
                  <a:pt x="6415" y="622"/>
                  <a:pt x="6415" y="622"/>
                </a:cubicBezTo>
                <a:lnTo>
                  <a:pt x="6416" y="623"/>
                </a:lnTo>
                <a:cubicBezTo>
                  <a:pt x="6416" y="624"/>
                  <a:pt x="6416" y="625"/>
                  <a:pt x="6416" y="625"/>
                </a:cubicBezTo>
                <a:lnTo>
                  <a:pt x="6416" y="627"/>
                </a:lnTo>
                <a:close/>
                <a:moveTo>
                  <a:pt x="6142" y="531"/>
                </a:moveTo>
                <a:cubicBezTo>
                  <a:pt x="6142" y="531"/>
                  <a:pt x="6141" y="530"/>
                  <a:pt x="6140" y="529"/>
                </a:cubicBezTo>
                <a:cubicBezTo>
                  <a:pt x="6139" y="527"/>
                  <a:pt x="6139" y="526"/>
                  <a:pt x="6139" y="525"/>
                </a:cubicBezTo>
                <a:cubicBezTo>
                  <a:pt x="6139" y="525"/>
                  <a:pt x="6139" y="525"/>
                  <a:pt x="6139" y="525"/>
                </a:cubicBezTo>
                <a:cubicBezTo>
                  <a:pt x="6140" y="525"/>
                  <a:pt x="6140" y="525"/>
                  <a:pt x="6141" y="526"/>
                </a:cubicBezTo>
                <a:cubicBezTo>
                  <a:pt x="6142" y="527"/>
                  <a:pt x="6142" y="528"/>
                  <a:pt x="6142" y="530"/>
                </a:cubicBezTo>
                <a:lnTo>
                  <a:pt x="6142" y="531"/>
                </a:lnTo>
                <a:close/>
                <a:moveTo>
                  <a:pt x="6405" y="639"/>
                </a:moveTo>
                <a:cubicBezTo>
                  <a:pt x="6405" y="639"/>
                  <a:pt x="6404" y="639"/>
                  <a:pt x="6404" y="638"/>
                </a:cubicBezTo>
                <a:cubicBezTo>
                  <a:pt x="6403" y="637"/>
                  <a:pt x="6403" y="636"/>
                  <a:pt x="6402" y="635"/>
                </a:cubicBezTo>
                <a:cubicBezTo>
                  <a:pt x="6402" y="634"/>
                  <a:pt x="6402" y="632"/>
                  <a:pt x="6402" y="631"/>
                </a:cubicBezTo>
                <a:cubicBezTo>
                  <a:pt x="6402" y="629"/>
                  <a:pt x="6402" y="628"/>
                  <a:pt x="6403" y="627"/>
                </a:cubicBezTo>
                <a:cubicBezTo>
                  <a:pt x="6403" y="625"/>
                  <a:pt x="6404" y="622"/>
                  <a:pt x="6404" y="617"/>
                </a:cubicBezTo>
                <a:lnTo>
                  <a:pt x="6402" y="599"/>
                </a:lnTo>
                <a:lnTo>
                  <a:pt x="6403" y="599"/>
                </a:lnTo>
                <a:cubicBezTo>
                  <a:pt x="6403" y="599"/>
                  <a:pt x="6403" y="599"/>
                  <a:pt x="6403" y="599"/>
                </a:cubicBezTo>
                <a:lnTo>
                  <a:pt x="6404" y="599"/>
                </a:lnTo>
                <a:cubicBezTo>
                  <a:pt x="6405" y="599"/>
                  <a:pt x="6406" y="598"/>
                  <a:pt x="6406" y="595"/>
                </a:cubicBezTo>
                <a:cubicBezTo>
                  <a:pt x="6406" y="593"/>
                  <a:pt x="6405" y="592"/>
                  <a:pt x="6405" y="592"/>
                </a:cubicBezTo>
                <a:lnTo>
                  <a:pt x="6403" y="593"/>
                </a:lnTo>
                <a:cubicBezTo>
                  <a:pt x="6403" y="593"/>
                  <a:pt x="6402" y="593"/>
                  <a:pt x="6402" y="592"/>
                </a:cubicBezTo>
                <a:cubicBezTo>
                  <a:pt x="6401" y="590"/>
                  <a:pt x="6400" y="586"/>
                  <a:pt x="6400" y="579"/>
                </a:cubicBezTo>
                <a:cubicBezTo>
                  <a:pt x="6400" y="576"/>
                  <a:pt x="6400" y="574"/>
                  <a:pt x="6401" y="573"/>
                </a:cubicBezTo>
                <a:cubicBezTo>
                  <a:pt x="6401" y="572"/>
                  <a:pt x="6401" y="572"/>
                  <a:pt x="6401" y="571"/>
                </a:cubicBezTo>
                <a:cubicBezTo>
                  <a:pt x="6401" y="571"/>
                  <a:pt x="6401" y="570"/>
                  <a:pt x="6400" y="570"/>
                </a:cubicBezTo>
                <a:lnTo>
                  <a:pt x="6399" y="571"/>
                </a:lnTo>
                <a:cubicBezTo>
                  <a:pt x="6399" y="571"/>
                  <a:pt x="6398" y="570"/>
                  <a:pt x="6398" y="569"/>
                </a:cubicBezTo>
                <a:cubicBezTo>
                  <a:pt x="6397" y="568"/>
                  <a:pt x="6396" y="566"/>
                  <a:pt x="6396" y="564"/>
                </a:cubicBezTo>
                <a:cubicBezTo>
                  <a:pt x="6395" y="562"/>
                  <a:pt x="6395" y="560"/>
                  <a:pt x="6395" y="558"/>
                </a:cubicBezTo>
                <a:cubicBezTo>
                  <a:pt x="6395" y="556"/>
                  <a:pt x="6395" y="555"/>
                  <a:pt x="6396" y="554"/>
                </a:cubicBezTo>
                <a:lnTo>
                  <a:pt x="6397" y="553"/>
                </a:lnTo>
                <a:cubicBezTo>
                  <a:pt x="6397" y="552"/>
                  <a:pt x="6397" y="552"/>
                  <a:pt x="6396" y="552"/>
                </a:cubicBezTo>
                <a:lnTo>
                  <a:pt x="6393" y="554"/>
                </a:lnTo>
                <a:cubicBezTo>
                  <a:pt x="6393" y="554"/>
                  <a:pt x="6393" y="553"/>
                  <a:pt x="6393" y="552"/>
                </a:cubicBezTo>
                <a:lnTo>
                  <a:pt x="6394" y="543"/>
                </a:lnTo>
                <a:cubicBezTo>
                  <a:pt x="6394" y="541"/>
                  <a:pt x="6393" y="541"/>
                  <a:pt x="6393" y="541"/>
                </a:cubicBezTo>
                <a:lnTo>
                  <a:pt x="6392" y="541"/>
                </a:lnTo>
                <a:cubicBezTo>
                  <a:pt x="6392" y="541"/>
                  <a:pt x="6391" y="541"/>
                  <a:pt x="6391" y="540"/>
                </a:cubicBezTo>
                <a:cubicBezTo>
                  <a:pt x="6390" y="540"/>
                  <a:pt x="6390" y="537"/>
                  <a:pt x="6390" y="532"/>
                </a:cubicBezTo>
                <a:lnTo>
                  <a:pt x="6390" y="528"/>
                </a:lnTo>
                <a:cubicBezTo>
                  <a:pt x="6390" y="527"/>
                  <a:pt x="6390" y="526"/>
                  <a:pt x="6391" y="525"/>
                </a:cubicBezTo>
                <a:cubicBezTo>
                  <a:pt x="6391" y="524"/>
                  <a:pt x="6392" y="524"/>
                  <a:pt x="6394" y="524"/>
                </a:cubicBezTo>
                <a:cubicBezTo>
                  <a:pt x="6395" y="524"/>
                  <a:pt x="6395" y="524"/>
                  <a:pt x="6395" y="524"/>
                </a:cubicBezTo>
                <a:cubicBezTo>
                  <a:pt x="6395" y="525"/>
                  <a:pt x="6394" y="525"/>
                  <a:pt x="6393" y="527"/>
                </a:cubicBezTo>
                <a:cubicBezTo>
                  <a:pt x="6392" y="528"/>
                  <a:pt x="6392" y="529"/>
                  <a:pt x="6392" y="530"/>
                </a:cubicBezTo>
                <a:cubicBezTo>
                  <a:pt x="6392" y="531"/>
                  <a:pt x="6392" y="532"/>
                  <a:pt x="6393" y="534"/>
                </a:cubicBezTo>
                <a:cubicBezTo>
                  <a:pt x="6395" y="535"/>
                  <a:pt x="6395" y="536"/>
                  <a:pt x="6396" y="536"/>
                </a:cubicBezTo>
                <a:lnTo>
                  <a:pt x="6397" y="536"/>
                </a:lnTo>
                <a:lnTo>
                  <a:pt x="6397" y="536"/>
                </a:lnTo>
                <a:cubicBezTo>
                  <a:pt x="6397" y="535"/>
                  <a:pt x="6397" y="535"/>
                  <a:pt x="6396" y="534"/>
                </a:cubicBezTo>
                <a:cubicBezTo>
                  <a:pt x="6396" y="533"/>
                  <a:pt x="6395" y="533"/>
                  <a:pt x="6395" y="532"/>
                </a:cubicBezTo>
                <a:cubicBezTo>
                  <a:pt x="6395" y="532"/>
                  <a:pt x="6394" y="531"/>
                  <a:pt x="6394" y="530"/>
                </a:cubicBezTo>
                <a:cubicBezTo>
                  <a:pt x="6394" y="527"/>
                  <a:pt x="6396" y="524"/>
                  <a:pt x="6398" y="519"/>
                </a:cubicBezTo>
                <a:cubicBezTo>
                  <a:pt x="6400" y="516"/>
                  <a:pt x="6402" y="514"/>
                  <a:pt x="6403" y="512"/>
                </a:cubicBezTo>
                <a:cubicBezTo>
                  <a:pt x="6405" y="511"/>
                  <a:pt x="6405" y="509"/>
                  <a:pt x="6406" y="509"/>
                </a:cubicBezTo>
                <a:cubicBezTo>
                  <a:pt x="6406" y="508"/>
                  <a:pt x="6407" y="507"/>
                  <a:pt x="6407" y="506"/>
                </a:cubicBezTo>
                <a:lnTo>
                  <a:pt x="6407" y="505"/>
                </a:lnTo>
                <a:cubicBezTo>
                  <a:pt x="6407" y="504"/>
                  <a:pt x="6407" y="504"/>
                  <a:pt x="6407" y="503"/>
                </a:cubicBezTo>
                <a:cubicBezTo>
                  <a:pt x="6407" y="503"/>
                  <a:pt x="6407" y="502"/>
                  <a:pt x="6408" y="502"/>
                </a:cubicBezTo>
                <a:lnTo>
                  <a:pt x="6408" y="502"/>
                </a:lnTo>
                <a:cubicBezTo>
                  <a:pt x="6408" y="502"/>
                  <a:pt x="6409" y="502"/>
                  <a:pt x="6410" y="502"/>
                </a:cubicBezTo>
                <a:cubicBezTo>
                  <a:pt x="6410" y="503"/>
                  <a:pt x="6410" y="503"/>
                  <a:pt x="6411" y="504"/>
                </a:cubicBezTo>
                <a:cubicBezTo>
                  <a:pt x="6411" y="505"/>
                  <a:pt x="6412" y="505"/>
                  <a:pt x="6412" y="506"/>
                </a:cubicBezTo>
                <a:cubicBezTo>
                  <a:pt x="6412" y="508"/>
                  <a:pt x="6411" y="509"/>
                  <a:pt x="6410" y="509"/>
                </a:cubicBezTo>
                <a:cubicBezTo>
                  <a:pt x="6409" y="510"/>
                  <a:pt x="6408" y="511"/>
                  <a:pt x="6408" y="512"/>
                </a:cubicBezTo>
                <a:cubicBezTo>
                  <a:pt x="6407" y="512"/>
                  <a:pt x="6407" y="513"/>
                  <a:pt x="6407" y="514"/>
                </a:cubicBezTo>
                <a:cubicBezTo>
                  <a:pt x="6407" y="514"/>
                  <a:pt x="6407" y="515"/>
                  <a:pt x="6407" y="515"/>
                </a:cubicBezTo>
                <a:cubicBezTo>
                  <a:pt x="6407" y="515"/>
                  <a:pt x="6406" y="515"/>
                  <a:pt x="6405" y="515"/>
                </a:cubicBezTo>
                <a:cubicBezTo>
                  <a:pt x="6404" y="515"/>
                  <a:pt x="6404" y="515"/>
                  <a:pt x="6404" y="516"/>
                </a:cubicBezTo>
                <a:cubicBezTo>
                  <a:pt x="6404" y="516"/>
                  <a:pt x="6404" y="517"/>
                  <a:pt x="6404" y="517"/>
                </a:cubicBezTo>
                <a:cubicBezTo>
                  <a:pt x="6405" y="517"/>
                  <a:pt x="6405" y="518"/>
                  <a:pt x="6405" y="519"/>
                </a:cubicBezTo>
                <a:cubicBezTo>
                  <a:pt x="6405" y="521"/>
                  <a:pt x="6404" y="522"/>
                  <a:pt x="6403" y="523"/>
                </a:cubicBezTo>
                <a:cubicBezTo>
                  <a:pt x="6403" y="524"/>
                  <a:pt x="6402" y="526"/>
                  <a:pt x="6402" y="528"/>
                </a:cubicBezTo>
                <a:cubicBezTo>
                  <a:pt x="6402" y="532"/>
                  <a:pt x="6403" y="538"/>
                  <a:pt x="6406" y="546"/>
                </a:cubicBezTo>
                <a:cubicBezTo>
                  <a:pt x="6408" y="555"/>
                  <a:pt x="6409" y="561"/>
                  <a:pt x="6409" y="565"/>
                </a:cubicBezTo>
                <a:lnTo>
                  <a:pt x="6409" y="568"/>
                </a:lnTo>
                <a:cubicBezTo>
                  <a:pt x="6409" y="570"/>
                  <a:pt x="6409" y="570"/>
                  <a:pt x="6410" y="570"/>
                </a:cubicBezTo>
                <a:cubicBezTo>
                  <a:pt x="6411" y="570"/>
                  <a:pt x="6411" y="571"/>
                  <a:pt x="6412" y="571"/>
                </a:cubicBezTo>
                <a:cubicBezTo>
                  <a:pt x="6412" y="571"/>
                  <a:pt x="6412" y="571"/>
                  <a:pt x="6412" y="572"/>
                </a:cubicBezTo>
                <a:cubicBezTo>
                  <a:pt x="6412" y="572"/>
                  <a:pt x="6412" y="573"/>
                  <a:pt x="6412" y="573"/>
                </a:cubicBezTo>
                <a:cubicBezTo>
                  <a:pt x="6411" y="574"/>
                  <a:pt x="6411" y="576"/>
                  <a:pt x="6411" y="576"/>
                </a:cubicBezTo>
                <a:cubicBezTo>
                  <a:pt x="6411" y="577"/>
                  <a:pt x="6411" y="578"/>
                  <a:pt x="6412" y="578"/>
                </a:cubicBezTo>
                <a:cubicBezTo>
                  <a:pt x="6413" y="578"/>
                  <a:pt x="6413" y="579"/>
                  <a:pt x="6413" y="580"/>
                </a:cubicBezTo>
                <a:cubicBezTo>
                  <a:pt x="6413" y="581"/>
                  <a:pt x="6413" y="582"/>
                  <a:pt x="6413" y="583"/>
                </a:cubicBezTo>
                <a:lnTo>
                  <a:pt x="6413" y="585"/>
                </a:lnTo>
                <a:cubicBezTo>
                  <a:pt x="6413" y="590"/>
                  <a:pt x="6413" y="595"/>
                  <a:pt x="6414" y="598"/>
                </a:cubicBezTo>
                <a:cubicBezTo>
                  <a:pt x="6415" y="600"/>
                  <a:pt x="6415" y="602"/>
                  <a:pt x="6415" y="603"/>
                </a:cubicBezTo>
                <a:cubicBezTo>
                  <a:pt x="6415" y="604"/>
                  <a:pt x="6414" y="605"/>
                  <a:pt x="6413" y="605"/>
                </a:cubicBezTo>
                <a:cubicBezTo>
                  <a:pt x="6412" y="605"/>
                  <a:pt x="6411" y="604"/>
                  <a:pt x="6411" y="603"/>
                </a:cubicBezTo>
                <a:lnTo>
                  <a:pt x="6412" y="600"/>
                </a:lnTo>
                <a:cubicBezTo>
                  <a:pt x="6412" y="599"/>
                  <a:pt x="6412" y="599"/>
                  <a:pt x="6412" y="598"/>
                </a:cubicBezTo>
                <a:cubicBezTo>
                  <a:pt x="6412" y="598"/>
                  <a:pt x="6411" y="598"/>
                  <a:pt x="6410" y="598"/>
                </a:cubicBezTo>
                <a:cubicBezTo>
                  <a:pt x="6409" y="598"/>
                  <a:pt x="6409" y="598"/>
                  <a:pt x="6409" y="600"/>
                </a:cubicBezTo>
                <a:cubicBezTo>
                  <a:pt x="6409" y="601"/>
                  <a:pt x="6409" y="602"/>
                  <a:pt x="6410" y="604"/>
                </a:cubicBezTo>
                <a:cubicBezTo>
                  <a:pt x="6410" y="605"/>
                  <a:pt x="6411" y="606"/>
                  <a:pt x="6412" y="607"/>
                </a:cubicBezTo>
                <a:cubicBezTo>
                  <a:pt x="6413" y="608"/>
                  <a:pt x="6414" y="608"/>
                  <a:pt x="6414" y="609"/>
                </a:cubicBezTo>
                <a:cubicBezTo>
                  <a:pt x="6414" y="609"/>
                  <a:pt x="6413" y="609"/>
                  <a:pt x="6412" y="610"/>
                </a:cubicBezTo>
                <a:cubicBezTo>
                  <a:pt x="6412" y="610"/>
                  <a:pt x="6411" y="610"/>
                  <a:pt x="6410" y="612"/>
                </a:cubicBezTo>
                <a:cubicBezTo>
                  <a:pt x="6409" y="613"/>
                  <a:pt x="6409" y="615"/>
                  <a:pt x="6409" y="616"/>
                </a:cubicBezTo>
                <a:cubicBezTo>
                  <a:pt x="6409" y="618"/>
                  <a:pt x="6410" y="620"/>
                  <a:pt x="6411" y="621"/>
                </a:cubicBezTo>
                <a:cubicBezTo>
                  <a:pt x="6412" y="622"/>
                  <a:pt x="6412" y="622"/>
                  <a:pt x="6412" y="623"/>
                </a:cubicBezTo>
                <a:cubicBezTo>
                  <a:pt x="6412" y="623"/>
                  <a:pt x="6411" y="622"/>
                  <a:pt x="6411" y="622"/>
                </a:cubicBezTo>
                <a:cubicBezTo>
                  <a:pt x="6410" y="622"/>
                  <a:pt x="6410" y="622"/>
                  <a:pt x="6409" y="622"/>
                </a:cubicBezTo>
                <a:cubicBezTo>
                  <a:pt x="6408" y="622"/>
                  <a:pt x="6408" y="623"/>
                  <a:pt x="6408" y="625"/>
                </a:cubicBezTo>
                <a:cubicBezTo>
                  <a:pt x="6408" y="628"/>
                  <a:pt x="6408" y="629"/>
                  <a:pt x="6410" y="629"/>
                </a:cubicBezTo>
                <a:lnTo>
                  <a:pt x="6412" y="628"/>
                </a:lnTo>
                <a:cubicBezTo>
                  <a:pt x="6412" y="628"/>
                  <a:pt x="6412" y="629"/>
                  <a:pt x="6412" y="629"/>
                </a:cubicBezTo>
                <a:lnTo>
                  <a:pt x="6412" y="630"/>
                </a:lnTo>
                <a:cubicBezTo>
                  <a:pt x="6411" y="631"/>
                  <a:pt x="6410" y="631"/>
                  <a:pt x="6409" y="632"/>
                </a:cubicBezTo>
                <a:cubicBezTo>
                  <a:pt x="6408" y="632"/>
                  <a:pt x="6407" y="632"/>
                  <a:pt x="6406" y="632"/>
                </a:cubicBezTo>
                <a:cubicBezTo>
                  <a:pt x="6405" y="632"/>
                  <a:pt x="6405" y="634"/>
                  <a:pt x="6405" y="636"/>
                </a:cubicBezTo>
                <a:lnTo>
                  <a:pt x="6405" y="639"/>
                </a:lnTo>
                <a:cubicBezTo>
                  <a:pt x="6405" y="639"/>
                  <a:pt x="6405" y="639"/>
                  <a:pt x="6405" y="639"/>
                </a:cubicBezTo>
                <a:close/>
                <a:moveTo>
                  <a:pt x="6409" y="595"/>
                </a:moveTo>
                <a:cubicBezTo>
                  <a:pt x="6409" y="595"/>
                  <a:pt x="6410" y="595"/>
                  <a:pt x="6410" y="593"/>
                </a:cubicBezTo>
                <a:cubicBezTo>
                  <a:pt x="6410" y="590"/>
                  <a:pt x="6409" y="589"/>
                  <a:pt x="6408" y="587"/>
                </a:cubicBezTo>
                <a:cubicBezTo>
                  <a:pt x="6407" y="585"/>
                  <a:pt x="6406" y="584"/>
                  <a:pt x="6406" y="584"/>
                </a:cubicBezTo>
                <a:cubicBezTo>
                  <a:pt x="6406" y="584"/>
                  <a:pt x="6406" y="585"/>
                  <a:pt x="6407" y="587"/>
                </a:cubicBezTo>
                <a:cubicBezTo>
                  <a:pt x="6407" y="588"/>
                  <a:pt x="6407" y="590"/>
                  <a:pt x="6407" y="591"/>
                </a:cubicBezTo>
                <a:cubicBezTo>
                  <a:pt x="6408" y="592"/>
                  <a:pt x="6408" y="593"/>
                  <a:pt x="6408" y="594"/>
                </a:cubicBezTo>
                <a:cubicBezTo>
                  <a:pt x="6408" y="595"/>
                  <a:pt x="6408" y="595"/>
                  <a:pt x="6409" y="595"/>
                </a:cubicBezTo>
                <a:close/>
                <a:moveTo>
                  <a:pt x="6405" y="572"/>
                </a:moveTo>
                <a:cubicBezTo>
                  <a:pt x="6405" y="571"/>
                  <a:pt x="6405" y="571"/>
                  <a:pt x="6405" y="570"/>
                </a:cubicBezTo>
                <a:lnTo>
                  <a:pt x="6405" y="567"/>
                </a:lnTo>
                <a:lnTo>
                  <a:pt x="6404" y="566"/>
                </a:lnTo>
                <a:cubicBezTo>
                  <a:pt x="6404" y="566"/>
                  <a:pt x="6404" y="567"/>
                  <a:pt x="6403" y="569"/>
                </a:cubicBezTo>
                <a:cubicBezTo>
                  <a:pt x="6403" y="571"/>
                  <a:pt x="6404" y="572"/>
                  <a:pt x="6404" y="572"/>
                </a:cubicBezTo>
                <a:lnTo>
                  <a:pt x="6405" y="572"/>
                </a:lnTo>
                <a:close/>
                <a:moveTo>
                  <a:pt x="6402" y="562"/>
                </a:moveTo>
                <a:cubicBezTo>
                  <a:pt x="6403" y="562"/>
                  <a:pt x="6403" y="562"/>
                  <a:pt x="6403" y="561"/>
                </a:cubicBezTo>
                <a:cubicBezTo>
                  <a:pt x="6403" y="560"/>
                  <a:pt x="6403" y="558"/>
                  <a:pt x="6402" y="556"/>
                </a:cubicBezTo>
                <a:cubicBezTo>
                  <a:pt x="6402" y="554"/>
                  <a:pt x="6401" y="551"/>
                  <a:pt x="6401" y="549"/>
                </a:cubicBezTo>
                <a:cubicBezTo>
                  <a:pt x="6401" y="547"/>
                  <a:pt x="6400" y="546"/>
                  <a:pt x="6400" y="544"/>
                </a:cubicBezTo>
                <a:cubicBezTo>
                  <a:pt x="6400" y="543"/>
                  <a:pt x="6400" y="542"/>
                  <a:pt x="6400" y="541"/>
                </a:cubicBezTo>
                <a:cubicBezTo>
                  <a:pt x="6400" y="540"/>
                  <a:pt x="6399" y="540"/>
                  <a:pt x="6398" y="540"/>
                </a:cubicBezTo>
                <a:cubicBezTo>
                  <a:pt x="6398" y="540"/>
                  <a:pt x="6398" y="541"/>
                  <a:pt x="6398" y="543"/>
                </a:cubicBezTo>
                <a:cubicBezTo>
                  <a:pt x="6398" y="545"/>
                  <a:pt x="6398" y="548"/>
                  <a:pt x="6398" y="552"/>
                </a:cubicBezTo>
                <a:cubicBezTo>
                  <a:pt x="6398" y="558"/>
                  <a:pt x="6398" y="561"/>
                  <a:pt x="6398" y="561"/>
                </a:cubicBezTo>
                <a:cubicBezTo>
                  <a:pt x="6399" y="560"/>
                  <a:pt x="6399" y="560"/>
                  <a:pt x="6400" y="560"/>
                </a:cubicBezTo>
                <a:cubicBezTo>
                  <a:pt x="6400" y="560"/>
                  <a:pt x="6401" y="560"/>
                  <a:pt x="6402" y="561"/>
                </a:cubicBezTo>
                <a:cubicBezTo>
                  <a:pt x="6402" y="562"/>
                  <a:pt x="6402" y="562"/>
                  <a:pt x="6402" y="562"/>
                </a:cubicBezTo>
                <a:close/>
                <a:moveTo>
                  <a:pt x="6333" y="487"/>
                </a:moveTo>
                <a:cubicBezTo>
                  <a:pt x="6333" y="487"/>
                  <a:pt x="6332" y="486"/>
                  <a:pt x="6331" y="485"/>
                </a:cubicBezTo>
                <a:cubicBezTo>
                  <a:pt x="6330" y="485"/>
                  <a:pt x="6329" y="484"/>
                  <a:pt x="6327" y="482"/>
                </a:cubicBezTo>
                <a:lnTo>
                  <a:pt x="6325" y="480"/>
                </a:lnTo>
                <a:lnTo>
                  <a:pt x="6326" y="481"/>
                </a:lnTo>
                <a:cubicBezTo>
                  <a:pt x="6326" y="481"/>
                  <a:pt x="6327" y="481"/>
                  <a:pt x="6328" y="481"/>
                </a:cubicBezTo>
                <a:cubicBezTo>
                  <a:pt x="6329" y="481"/>
                  <a:pt x="6329" y="481"/>
                  <a:pt x="6329" y="481"/>
                </a:cubicBezTo>
                <a:lnTo>
                  <a:pt x="6330" y="480"/>
                </a:lnTo>
                <a:cubicBezTo>
                  <a:pt x="6331" y="480"/>
                  <a:pt x="6331" y="481"/>
                  <a:pt x="6331" y="482"/>
                </a:cubicBezTo>
                <a:cubicBezTo>
                  <a:pt x="6331" y="484"/>
                  <a:pt x="6331" y="484"/>
                  <a:pt x="6331" y="484"/>
                </a:cubicBezTo>
                <a:cubicBezTo>
                  <a:pt x="6332" y="484"/>
                  <a:pt x="6333" y="484"/>
                  <a:pt x="6334" y="482"/>
                </a:cubicBezTo>
                <a:cubicBezTo>
                  <a:pt x="6334" y="481"/>
                  <a:pt x="6334" y="480"/>
                  <a:pt x="6335" y="480"/>
                </a:cubicBezTo>
                <a:cubicBezTo>
                  <a:pt x="6335" y="480"/>
                  <a:pt x="6335" y="481"/>
                  <a:pt x="6335" y="481"/>
                </a:cubicBezTo>
                <a:cubicBezTo>
                  <a:pt x="6335" y="485"/>
                  <a:pt x="6335" y="487"/>
                  <a:pt x="6333" y="487"/>
                </a:cubicBezTo>
                <a:close/>
                <a:moveTo>
                  <a:pt x="6302" y="692"/>
                </a:moveTo>
                <a:lnTo>
                  <a:pt x="6300" y="692"/>
                </a:lnTo>
                <a:cubicBezTo>
                  <a:pt x="6300" y="691"/>
                  <a:pt x="6302" y="690"/>
                  <a:pt x="6304" y="688"/>
                </a:cubicBezTo>
                <a:cubicBezTo>
                  <a:pt x="6307" y="687"/>
                  <a:pt x="6308" y="686"/>
                  <a:pt x="6309" y="686"/>
                </a:cubicBezTo>
                <a:lnTo>
                  <a:pt x="6309" y="686"/>
                </a:lnTo>
                <a:cubicBezTo>
                  <a:pt x="6309" y="687"/>
                  <a:pt x="6309" y="687"/>
                  <a:pt x="6308" y="688"/>
                </a:cubicBezTo>
                <a:cubicBezTo>
                  <a:pt x="6307" y="689"/>
                  <a:pt x="6306" y="689"/>
                  <a:pt x="6305" y="690"/>
                </a:cubicBezTo>
                <a:cubicBezTo>
                  <a:pt x="6304" y="691"/>
                  <a:pt x="6303" y="691"/>
                  <a:pt x="6302" y="692"/>
                </a:cubicBezTo>
                <a:close/>
                <a:moveTo>
                  <a:pt x="6397" y="648"/>
                </a:moveTo>
                <a:lnTo>
                  <a:pt x="6397" y="648"/>
                </a:lnTo>
                <a:cubicBezTo>
                  <a:pt x="6397" y="647"/>
                  <a:pt x="6397" y="647"/>
                  <a:pt x="6398" y="646"/>
                </a:cubicBezTo>
                <a:cubicBezTo>
                  <a:pt x="6399" y="645"/>
                  <a:pt x="6400" y="644"/>
                  <a:pt x="6400" y="643"/>
                </a:cubicBezTo>
                <a:cubicBezTo>
                  <a:pt x="6400" y="642"/>
                  <a:pt x="6400" y="640"/>
                  <a:pt x="6400" y="639"/>
                </a:cubicBezTo>
                <a:cubicBezTo>
                  <a:pt x="6399" y="639"/>
                  <a:pt x="6399" y="638"/>
                  <a:pt x="6399" y="637"/>
                </a:cubicBezTo>
                <a:lnTo>
                  <a:pt x="6399" y="637"/>
                </a:lnTo>
                <a:cubicBezTo>
                  <a:pt x="6399" y="637"/>
                  <a:pt x="6400" y="638"/>
                  <a:pt x="6402" y="640"/>
                </a:cubicBezTo>
                <a:cubicBezTo>
                  <a:pt x="6403" y="642"/>
                  <a:pt x="6403" y="644"/>
                  <a:pt x="6403" y="644"/>
                </a:cubicBezTo>
                <a:cubicBezTo>
                  <a:pt x="6403" y="646"/>
                  <a:pt x="6402" y="647"/>
                  <a:pt x="6400" y="647"/>
                </a:cubicBezTo>
                <a:cubicBezTo>
                  <a:pt x="6398" y="648"/>
                  <a:pt x="6397" y="648"/>
                  <a:pt x="6397" y="648"/>
                </a:cubicBezTo>
                <a:close/>
                <a:moveTo>
                  <a:pt x="6150" y="510"/>
                </a:moveTo>
                <a:cubicBezTo>
                  <a:pt x="6148" y="510"/>
                  <a:pt x="6148" y="509"/>
                  <a:pt x="6148" y="509"/>
                </a:cubicBezTo>
                <a:cubicBezTo>
                  <a:pt x="6148" y="509"/>
                  <a:pt x="6149" y="508"/>
                  <a:pt x="6150" y="508"/>
                </a:cubicBezTo>
                <a:cubicBezTo>
                  <a:pt x="6152" y="507"/>
                  <a:pt x="6153" y="507"/>
                  <a:pt x="6155" y="506"/>
                </a:cubicBezTo>
                <a:cubicBezTo>
                  <a:pt x="6156" y="506"/>
                  <a:pt x="6157" y="506"/>
                  <a:pt x="6158" y="506"/>
                </a:cubicBezTo>
                <a:cubicBezTo>
                  <a:pt x="6159" y="506"/>
                  <a:pt x="6160" y="506"/>
                  <a:pt x="6160" y="506"/>
                </a:cubicBezTo>
                <a:cubicBezTo>
                  <a:pt x="6160" y="506"/>
                  <a:pt x="6159" y="507"/>
                  <a:pt x="6157" y="508"/>
                </a:cubicBezTo>
                <a:cubicBezTo>
                  <a:pt x="6154" y="509"/>
                  <a:pt x="6152" y="510"/>
                  <a:pt x="6150" y="510"/>
                </a:cubicBezTo>
                <a:close/>
                <a:moveTo>
                  <a:pt x="7030" y="585"/>
                </a:moveTo>
                <a:cubicBezTo>
                  <a:pt x="7029" y="585"/>
                  <a:pt x="7028" y="585"/>
                  <a:pt x="7028" y="584"/>
                </a:cubicBezTo>
                <a:lnTo>
                  <a:pt x="7028" y="583"/>
                </a:lnTo>
                <a:cubicBezTo>
                  <a:pt x="7028" y="583"/>
                  <a:pt x="7028" y="582"/>
                  <a:pt x="7029" y="581"/>
                </a:cubicBezTo>
                <a:cubicBezTo>
                  <a:pt x="7030" y="581"/>
                  <a:pt x="7031" y="580"/>
                  <a:pt x="7031" y="580"/>
                </a:cubicBezTo>
                <a:cubicBezTo>
                  <a:pt x="7032" y="580"/>
                  <a:pt x="7032" y="580"/>
                  <a:pt x="7032" y="581"/>
                </a:cubicBezTo>
                <a:lnTo>
                  <a:pt x="7032" y="583"/>
                </a:lnTo>
                <a:cubicBezTo>
                  <a:pt x="7031" y="585"/>
                  <a:pt x="7030" y="585"/>
                  <a:pt x="7030" y="585"/>
                </a:cubicBezTo>
                <a:close/>
                <a:moveTo>
                  <a:pt x="6810" y="813"/>
                </a:moveTo>
                <a:cubicBezTo>
                  <a:pt x="6809" y="813"/>
                  <a:pt x="6808" y="812"/>
                  <a:pt x="6806" y="810"/>
                </a:cubicBezTo>
                <a:cubicBezTo>
                  <a:pt x="6805" y="809"/>
                  <a:pt x="6804" y="808"/>
                  <a:pt x="6804" y="807"/>
                </a:cubicBezTo>
                <a:cubicBezTo>
                  <a:pt x="6804" y="804"/>
                  <a:pt x="6805" y="803"/>
                  <a:pt x="6807" y="803"/>
                </a:cubicBezTo>
                <a:lnTo>
                  <a:pt x="6811" y="804"/>
                </a:lnTo>
                <a:cubicBezTo>
                  <a:pt x="6811" y="804"/>
                  <a:pt x="6811" y="804"/>
                  <a:pt x="6811" y="803"/>
                </a:cubicBezTo>
                <a:lnTo>
                  <a:pt x="6810" y="799"/>
                </a:lnTo>
                <a:cubicBezTo>
                  <a:pt x="6810" y="799"/>
                  <a:pt x="6811" y="800"/>
                  <a:pt x="6811" y="800"/>
                </a:cubicBezTo>
                <a:cubicBezTo>
                  <a:pt x="6812" y="800"/>
                  <a:pt x="6812" y="800"/>
                  <a:pt x="6813" y="800"/>
                </a:cubicBezTo>
                <a:cubicBezTo>
                  <a:pt x="6815" y="800"/>
                  <a:pt x="6818" y="800"/>
                  <a:pt x="6821" y="798"/>
                </a:cubicBezTo>
                <a:cubicBezTo>
                  <a:pt x="6824" y="797"/>
                  <a:pt x="6827" y="796"/>
                  <a:pt x="6828" y="796"/>
                </a:cubicBezTo>
                <a:cubicBezTo>
                  <a:pt x="6829" y="796"/>
                  <a:pt x="6830" y="796"/>
                  <a:pt x="6831" y="797"/>
                </a:cubicBezTo>
                <a:cubicBezTo>
                  <a:pt x="6832" y="798"/>
                  <a:pt x="6832" y="798"/>
                  <a:pt x="6833" y="798"/>
                </a:cubicBezTo>
                <a:cubicBezTo>
                  <a:pt x="6834" y="798"/>
                  <a:pt x="6836" y="798"/>
                  <a:pt x="6837" y="797"/>
                </a:cubicBezTo>
                <a:cubicBezTo>
                  <a:pt x="6839" y="796"/>
                  <a:pt x="6840" y="795"/>
                  <a:pt x="6840" y="795"/>
                </a:cubicBezTo>
                <a:lnTo>
                  <a:pt x="6835" y="796"/>
                </a:lnTo>
                <a:cubicBezTo>
                  <a:pt x="6833" y="796"/>
                  <a:pt x="6832" y="795"/>
                  <a:pt x="6832" y="794"/>
                </a:cubicBezTo>
                <a:cubicBezTo>
                  <a:pt x="6832" y="793"/>
                  <a:pt x="6833" y="792"/>
                  <a:pt x="6834" y="792"/>
                </a:cubicBezTo>
                <a:cubicBezTo>
                  <a:pt x="6835" y="791"/>
                  <a:pt x="6835" y="791"/>
                  <a:pt x="6836" y="791"/>
                </a:cubicBezTo>
                <a:cubicBezTo>
                  <a:pt x="6836" y="791"/>
                  <a:pt x="6837" y="791"/>
                  <a:pt x="6838" y="792"/>
                </a:cubicBezTo>
                <a:cubicBezTo>
                  <a:pt x="6838" y="792"/>
                  <a:pt x="6839" y="792"/>
                  <a:pt x="6839" y="793"/>
                </a:cubicBezTo>
                <a:cubicBezTo>
                  <a:pt x="6840" y="794"/>
                  <a:pt x="6841" y="794"/>
                  <a:pt x="6841" y="794"/>
                </a:cubicBezTo>
                <a:cubicBezTo>
                  <a:pt x="6842" y="794"/>
                  <a:pt x="6843" y="792"/>
                  <a:pt x="6844" y="789"/>
                </a:cubicBezTo>
                <a:cubicBezTo>
                  <a:pt x="6845" y="786"/>
                  <a:pt x="6846" y="784"/>
                  <a:pt x="6847" y="784"/>
                </a:cubicBezTo>
                <a:cubicBezTo>
                  <a:pt x="6848" y="784"/>
                  <a:pt x="6849" y="784"/>
                  <a:pt x="6849" y="785"/>
                </a:cubicBezTo>
                <a:cubicBezTo>
                  <a:pt x="6851" y="787"/>
                  <a:pt x="6852" y="788"/>
                  <a:pt x="6853" y="788"/>
                </a:cubicBezTo>
                <a:cubicBezTo>
                  <a:pt x="6854" y="788"/>
                  <a:pt x="6855" y="786"/>
                  <a:pt x="6855" y="784"/>
                </a:cubicBezTo>
                <a:cubicBezTo>
                  <a:pt x="6855" y="782"/>
                  <a:pt x="6855" y="781"/>
                  <a:pt x="6856" y="781"/>
                </a:cubicBezTo>
                <a:cubicBezTo>
                  <a:pt x="6856" y="781"/>
                  <a:pt x="6856" y="782"/>
                  <a:pt x="6857" y="783"/>
                </a:cubicBezTo>
                <a:cubicBezTo>
                  <a:pt x="6857" y="784"/>
                  <a:pt x="6858" y="785"/>
                  <a:pt x="6859" y="785"/>
                </a:cubicBezTo>
                <a:cubicBezTo>
                  <a:pt x="6859" y="785"/>
                  <a:pt x="6860" y="784"/>
                  <a:pt x="6861" y="782"/>
                </a:cubicBezTo>
                <a:cubicBezTo>
                  <a:pt x="6861" y="780"/>
                  <a:pt x="6862" y="778"/>
                  <a:pt x="6862" y="778"/>
                </a:cubicBezTo>
                <a:cubicBezTo>
                  <a:pt x="6862" y="777"/>
                  <a:pt x="6861" y="777"/>
                  <a:pt x="6861" y="777"/>
                </a:cubicBezTo>
                <a:cubicBezTo>
                  <a:pt x="6861" y="777"/>
                  <a:pt x="6860" y="777"/>
                  <a:pt x="6859" y="778"/>
                </a:cubicBezTo>
                <a:cubicBezTo>
                  <a:pt x="6858" y="778"/>
                  <a:pt x="6858" y="779"/>
                  <a:pt x="6857" y="779"/>
                </a:cubicBezTo>
                <a:lnTo>
                  <a:pt x="6857" y="778"/>
                </a:lnTo>
                <a:cubicBezTo>
                  <a:pt x="6857" y="778"/>
                  <a:pt x="6858" y="777"/>
                  <a:pt x="6859" y="776"/>
                </a:cubicBezTo>
                <a:cubicBezTo>
                  <a:pt x="6860" y="774"/>
                  <a:pt x="6861" y="773"/>
                  <a:pt x="6861" y="772"/>
                </a:cubicBezTo>
                <a:cubicBezTo>
                  <a:pt x="6861" y="772"/>
                  <a:pt x="6860" y="771"/>
                  <a:pt x="6859" y="771"/>
                </a:cubicBezTo>
                <a:cubicBezTo>
                  <a:pt x="6858" y="771"/>
                  <a:pt x="6857" y="770"/>
                  <a:pt x="6857" y="770"/>
                </a:cubicBezTo>
                <a:cubicBezTo>
                  <a:pt x="6857" y="770"/>
                  <a:pt x="6858" y="769"/>
                  <a:pt x="6859" y="769"/>
                </a:cubicBezTo>
                <a:cubicBezTo>
                  <a:pt x="6859" y="768"/>
                  <a:pt x="6860" y="768"/>
                  <a:pt x="6860" y="768"/>
                </a:cubicBezTo>
                <a:cubicBezTo>
                  <a:pt x="6861" y="768"/>
                  <a:pt x="6862" y="768"/>
                  <a:pt x="6862" y="769"/>
                </a:cubicBezTo>
                <a:cubicBezTo>
                  <a:pt x="6862" y="770"/>
                  <a:pt x="6862" y="770"/>
                  <a:pt x="6862" y="771"/>
                </a:cubicBezTo>
                <a:cubicBezTo>
                  <a:pt x="6863" y="771"/>
                  <a:pt x="6863" y="772"/>
                  <a:pt x="6864" y="772"/>
                </a:cubicBezTo>
                <a:cubicBezTo>
                  <a:pt x="6864" y="772"/>
                  <a:pt x="6865" y="771"/>
                  <a:pt x="6865" y="770"/>
                </a:cubicBezTo>
                <a:lnTo>
                  <a:pt x="6864" y="768"/>
                </a:lnTo>
                <a:cubicBezTo>
                  <a:pt x="6864" y="766"/>
                  <a:pt x="6865" y="764"/>
                  <a:pt x="6866" y="764"/>
                </a:cubicBezTo>
                <a:cubicBezTo>
                  <a:pt x="6866" y="764"/>
                  <a:pt x="6867" y="763"/>
                  <a:pt x="6867" y="763"/>
                </a:cubicBezTo>
                <a:cubicBezTo>
                  <a:pt x="6867" y="763"/>
                  <a:pt x="6867" y="764"/>
                  <a:pt x="6867" y="765"/>
                </a:cubicBezTo>
                <a:lnTo>
                  <a:pt x="6867" y="772"/>
                </a:lnTo>
                <a:cubicBezTo>
                  <a:pt x="6867" y="773"/>
                  <a:pt x="6866" y="774"/>
                  <a:pt x="6866" y="775"/>
                </a:cubicBezTo>
                <a:cubicBezTo>
                  <a:pt x="6866" y="775"/>
                  <a:pt x="6866" y="776"/>
                  <a:pt x="6865" y="776"/>
                </a:cubicBezTo>
                <a:lnTo>
                  <a:pt x="6862" y="774"/>
                </a:lnTo>
                <a:cubicBezTo>
                  <a:pt x="6862" y="776"/>
                  <a:pt x="6863" y="777"/>
                  <a:pt x="6864" y="777"/>
                </a:cubicBezTo>
                <a:cubicBezTo>
                  <a:pt x="6867" y="777"/>
                  <a:pt x="6872" y="774"/>
                  <a:pt x="6879" y="769"/>
                </a:cubicBezTo>
                <a:cubicBezTo>
                  <a:pt x="6885" y="763"/>
                  <a:pt x="6897" y="752"/>
                  <a:pt x="6914" y="737"/>
                </a:cubicBezTo>
                <a:lnTo>
                  <a:pt x="6936" y="715"/>
                </a:lnTo>
                <a:cubicBezTo>
                  <a:pt x="6943" y="709"/>
                  <a:pt x="6946" y="705"/>
                  <a:pt x="6946" y="703"/>
                </a:cubicBezTo>
                <a:cubicBezTo>
                  <a:pt x="6946" y="702"/>
                  <a:pt x="6947" y="700"/>
                  <a:pt x="6949" y="699"/>
                </a:cubicBezTo>
                <a:cubicBezTo>
                  <a:pt x="6951" y="697"/>
                  <a:pt x="6952" y="696"/>
                  <a:pt x="6952" y="695"/>
                </a:cubicBezTo>
                <a:cubicBezTo>
                  <a:pt x="6952" y="694"/>
                  <a:pt x="6951" y="694"/>
                  <a:pt x="6951" y="693"/>
                </a:cubicBezTo>
                <a:cubicBezTo>
                  <a:pt x="6951" y="692"/>
                  <a:pt x="6950" y="691"/>
                  <a:pt x="6950" y="691"/>
                </a:cubicBezTo>
                <a:cubicBezTo>
                  <a:pt x="6950" y="689"/>
                  <a:pt x="6951" y="688"/>
                  <a:pt x="6952" y="687"/>
                </a:cubicBezTo>
                <a:cubicBezTo>
                  <a:pt x="6953" y="686"/>
                  <a:pt x="6954" y="685"/>
                  <a:pt x="6955" y="685"/>
                </a:cubicBezTo>
                <a:cubicBezTo>
                  <a:pt x="6956" y="685"/>
                  <a:pt x="6956" y="685"/>
                  <a:pt x="6957" y="686"/>
                </a:cubicBezTo>
                <a:cubicBezTo>
                  <a:pt x="6957" y="686"/>
                  <a:pt x="6958" y="686"/>
                  <a:pt x="6958" y="686"/>
                </a:cubicBezTo>
                <a:cubicBezTo>
                  <a:pt x="6960" y="686"/>
                  <a:pt x="6960" y="686"/>
                  <a:pt x="6961" y="685"/>
                </a:cubicBezTo>
                <a:cubicBezTo>
                  <a:pt x="6961" y="684"/>
                  <a:pt x="6961" y="684"/>
                  <a:pt x="6961" y="683"/>
                </a:cubicBezTo>
                <a:cubicBezTo>
                  <a:pt x="6961" y="682"/>
                  <a:pt x="6960" y="681"/>
                  <a:pt x="6958" y="681"/>
                </a:cubicBezTo>
                <a:cubicBezTo>
                  <a:pt x="6956" y="681"/>
                  <a:pt x="6953" y="683"/>
                  <a:pt x="6951" y="685"/>
                </a:cubicBezTo>
                <a:cubicBezTo>
                  <a:pt x="6949" y="687"/>
                  <a:pt x="6948" y="689"/>
                  <a:pt x="6948" y="691"/>
                </a:cubicBezTo>
                <a:cubicBezTo>
                  <a:pt x="6948" y="691"/>
                  <a:pt x="6948" y="692"/>
                  <a:pt x="6949" y="693"/>
                </a:cubicBezTo>
                <a:cubicBezTo>
                  <a:pt x="6950" y="694"/>
                  <a:pt x="6950" y="694"/>
                  <a:pt x="6950" y="695"/>
                </a:cubicBezTo>
                <a:cubicBezTo>
                  <a:pt x="6950" y="696"/>
                  <a:pt x="6949" y="697"/>
                  <a:pt x="6947" y="698"/>
                </a:cubicBezTo>
                <a:cubicBezTo>
                  <a:pt x="6945" y="698"/>
                  <a:pt x="6943" y="700"/>
                  <a:pt x="6941" y="701"/>
                </a:cubicBezTo>
                <a:cubicBezTo>
                  <a:pt x="6939" y="703"/>
                  <a:pt x="6937" y="705"/>
                  <a:pt x="6935" y="706"/>
                </a:cubicBezTo>
                <a:cubicBezTo>
                  <a:pt x="6933" y="708"/>
                  <a:pt x="6933" y="709"/>
                  <a:pt x="6933" y="710"/>
                </a:cubicBezTo>
                <a:lnTo>
                  <a:pt x="6933" y="711"/>
                </a:lnTo>
                <a:cubicBezTo>
                  <a:pt x="6933" y="712"/>
                  <a:pt x="6931" y="713"/>
                  <a:pt x="6929" y="714"/>
                </a:cubicBezTo>
                <a:cubicBezTo>
                  <a:pt x="6928" y="715"/>
                  <a:pt x="6926" y="716"/>
                  <a:pt x="6924" y="718"/>
                </a:cubicBezTo>
                <a:cubicBezTo>
                  <a:pt x="6922" y="720"/>
                  <a:pt x="6920" y="722"/>
                  <a:pt x="6918" y="724"/>
                </a:cubicBezTo>
                <a:cubicBezTo>
                  <a:pt x="6916" y="726"/>
                  <a:pt x="6915" y="727"/>
                  <a:pt x="6914" y="727"/>
                </a:cubicBezTo>
                <a:cubicBezTo>
                  <a:pt x="6914" y="727"/>
                  <a:pt x="6914" y="727"/>
                  <a:pt x="6914" y="727"/>
                </a:cubicBezTo>
                <a:cubicBezTo>
                  <a:pt x="6914" y="725"/>
                  <a:pt x="6918" y="720"/>
                  <a:pt x="6925" y="712"/>
                </a:cubicBezTo>
                <a:lnTo>
                  <a:pt x="6944" y="691"/>
                </a:lnTo>
                <a:cubicBezTo>
                  <a:pt x="6959" y="673"/>
                  <a:pt x="6967" y="663"/>
                  <a:pt x="6967" y="661"/>
                </a:cubicBezTo>
                <a:cubicBezTo>
                  <a:pt x="6967" y="660"/>
                  <a:pt x="6970" y="657"/>
                  <a:pt x="6975" y="653"/>
                </a:cubicBezTo>
                <a:cubicBezTo>
                  <a:pt x="6977" y="651"/>
                  <a:pt x="6979" y="650"/>
                  <a:pt x="6980" y="650"/>
                </a:cubicBezTo>
                <a:cubicBezTo>
                  <a:pt x="6980" y="650"/>
                  <a:pt x="6981" y="649"/>
                  <a:pt x="6981" y="649"/>
                </a:cubicBezTo>
                <a:lnTo>
                  <a:pt x="6980" y="646"/>
                </a:lnTo>
                <a:cubicBezTo>
                  <a:pt x="6980" y="643"/>
                  <a:pt x="6982" y="641"/>
                  <a:pt x="6986" y="640"/>
                </a:cubicBezTo>
                <a:cubicBezTo>
                  <a:pt x="6988" y="640"/>
                  <a:pt x="6989" y="639"/>
                  <a:pt x="6989" y="637"/>
                </a:cubicBezTo>
                <a:lnTo>
                  <a:pt x="6988" y="634"/>
                </a:lnTo>
                <a:cubicBezTo>
                  <a:pt x="6988" y="632"/>
                  <a:pt x="6989" y="632"/>
                  <a:pt x="6991" y="632"/>
                </a:cubicBezTo>
                <a:cubicBezTo>
                  <a:pt x="6993" y="632"/>
                  <a:pt x="6994" y="632"/>
                  <a:pt x="6994" y="632"/>
                </a:cubicBezTo>
                <a:cubicBezTo>
                  <a:pt x="6994" y="631"/>
                  <a:pt x="6993" y="630"/>
                  <a:pt x="6992" y="630"/>
                </a:cubicBezTo>
                <a:cubicBezTo>
                  <a:pt x="6991" y="629"/>
                  <a:pt x="6990" y="628"/>
                  <a:pt x="6990" y="628"/>
                </a:cubicBezTo>
                <a:cubicBezTo>
                  <a:pt x="6990" y="627"/>
                  <a:pt x="6991" y="626"/>
                  <a:pt x="6993" y="625"/>
                </a:cubicBezTo>
                <a:cubicBezTo>
                  <a:pt x="6995" y="625"/>
                  <a:pt x="6996" y="623"/>
                  <a:pt x="6996" y="621"/>
                </a:cubicBezTo>
                <a:cubicBezTo>
                  <a:pt x="6996" y="619"/>
                  <a:pt x="6998" y="617"/>
                  <a:pt x="7000" y="616"/>
                </a:cubicBezTo>
                <a:cubicBezTo>
                  <a:pt x="7002" y="615"/>
                  <a:pt x="7002" y="615"/>
                  <a:pt x="7002" y="614"/>
                </a:cubicBezTo>
                <a:cubicBezTo>
                  <a:pt x="7002" y="613"/>
                  <a:pt x="7002" y="613"/>
                  <a:pt x="7002" y="613"/>
                </a:cubicBezTo>
                <a:cubicBezTo>
                  <a:pt x="7002" y="613"/>
                  <a:pt x="7002" y="613"/>
                  <a:pt x="7002" y="613"/>
                </a:cubicBezTo>
                <a:cubicBezTo>
                  <a:pt x="7002" y="612"/>
                  <a:pt x="7003" y="611"/>
                  <a:pt x="7005" y="607"/>
                </a:cubicBezTo>
                <a:cubicBezTo>
                  <a:pt x="7008" y="605"/>
                  <a:pt x="7009" y="602"/>
                  <a:pt x="7009" y="599"/>
                </a:cubicBezTo>
                <a:lnTo>
                  <a:pt x="7008" y="595"/>
                </a:lnTo>
                <a:cubicBezTo>
                  <a:pt x="7008" y="595"/>
                  <a:pt x="7009" y="596"/>
                  <a:pt x="7010" y="598"/>
                </a:cubicBezTo>
                <a:cubicBezTo>
                  <a:pt x="7012" y="600"/>
                  <a:pt x="7013" y="602"/>
                  <a:pt x="7013" y="602"/>
                </a:cubicBezTo>
                <a:lnTo>
                  <a:pt x="7014" y="601"/>
                </a:lnTo>
                <a:cubicBezTo>
                  <a:pt x="7014" y="600"/>
                  <a:pt x="7013" y="599"/>
                  <a:pt x="7013" y="597"/>
                </a:cubicBezTo>
                <a:cubicBezTo>
                  <a:pt x="7013" y="595"/>
                  <a:pt x="7013" y="593"/>
                  <a:pt x="7013" y="592"/>
                </a:cubicBezTo>
                <a:cubicBezTo>
                  <a:pt x="7013" y="590"/>
                  <a:pt x="7013" y="590"/>
                  <a:pt x="7015" y="590"/>
                </a:cubicBezTo>
                <a:lnTo>
                  <a:pt x="7016" y="590"/>
                </a:lnTo>
                <a:cubicBezTo>
                  <a:pt x="7018" y="590"/>
                  <a:pt x="7018" y="589"/>
                  <a:pt x="7018" y="588"/>
                </a:cubicBezTo>
                <a:cubicBezTo>
                  <a:pt x="7018" y="583"/>
                  <a:pt x="7021" y="580"/>
                  <a:pt x="7027" y="578"/>
                </a:cubicBezTo>
                <a:lnTo>
                  <a:pt x="7031" y="577"/>
                </a:lnTo>
                <a:cubicBezTo>
                  <a:pt x="7031" y="577"/>
                  <a:pt x="7030" y="578"/>
                  <a:pt x="7028" y="579"/>
                </a:cubicBezTo>
                <a:cubicBezTo>
                  <a:pt x="7026" y="581"/>
                  <a:pt x="7025" y="582"/>
                  <a:pt x="7025" y="583"/>
                </a:cubicBezTo>
                <a:cubicBezTo>
                  <a:pt x="7025" y="584"/>
                  <a:pt x="7026" y="585"/>
                  <a:pt x="7027" y="585"/>
                </a:cubicBezTo>
                <a:cubicBezTo>
                  <a:pt x="7029" y="586"/>
                  <a:pt x="7030" y="587"/>
                  <a:pt x="7030" y="587"/>
                </a:cubicBezTo>
                <a:cubicBezTo>
                  <a:pt x="7031" y="587"/>
                  <a:pt x="7032" y="586"/>
                  <a:pt x="7033" y="584"/>
                </a:cubicBezTo>
                <a:cubicBezTo>
                  <a:pt x="7034" y="583"/>
                  <a:pt x="7034" y="581"/>
                  <a:pt x="7034" y="580"/>
                </a:cubicBezTo>
                <a:cubicBezTo>
                  <a:pt x="7034" y="578"/>
                  <a:pt x="7032" y="576"/>
                  <a:pt x="7027" y="574"/>
                </a:cubicBezTo>
                <a:cubicBezTo>
                  <a:pt x="7027" y="574"/>
                  <a:pt x="7027" y="573"/>
                  <a:pt x="7027" y="573"/>
                </a:cubicBezTo>
                <a:cubicBezTo>
                  <a:pt x="7027" y="572"/>
                  <a:pt x="7027" y="571"/>
                  <a:pt x="7028" y="570"/>
                </a:cubicBezTo>
                <a:cubicBezTo>
                  <a:pt x="7029" y="569"/>
                  <a:pt x="7030" y="568"/>
                  <a:pt x="7031" y="568"/>
                </a:cubicBezTo>
                <a:cubicBezTo>
                  <a:pt x="7031" y="568"/>
                  <a:pt x="7031" y="569"/>
                  <a:pt x="7031" y="571"/>
                </a:cubicBezTo>
                <a:cubicBezTo>
                  <a:pt x="7031" y="573"/>
                  <a:pt x="7033" y="575"/>
                  <a:pt x="7035" y="575"/>
                </a:cubicBezTo>
                <a:lnTo>
                  <a:pt x="7037" y="576"/>
                </a:lnTo>
                <a:lnTo>
                  <a:pt x="7037" y="575"/>
                </a:lnTo>
                <a:cubicBezTo>
                  <a:pt x="7037" y="575"/>
                  <a:pt x="7037" y="575"/>
                  <a:pt x="7037" y="574"/>
                </a:cubicBezTo>
                <a:cubicBezTo>
                  <a:pt x="7037" y="573"/>
                  <a:pt x="7037" y="571"/>
                  <a:pt x="7039" y="569"/>
                </a:cubicBezTo>
                <a:cubicBezTo>
                  <a:pt x="7040" y="568"/>
                  <a:pt x="7041" y="566"/>
                  <a:pt x="7041" y="566"/>
                </a:cubicBezTo>
                <a:cubicBezTo>
                  <a:pt x="7041" y="566"/>
                  <a:pt x="7041" y="565"/>
                  <a:pt x="7041" y="565"/>
                </a:cubicBezTo>
                <a:cubicBezTo>
                  <a:pt x="7041" y="565"/>
                  <a:pt x="7040" y="565"/>
                  <a:pt x="7040" y="565"/>
                </a:cubicBezTo>
                <a:cubicBezTo>
                  <a:pt x="7040" y="564"/>
                  <a:pt x="7041" y="563"/>
                  <a:pt x="7042" y="562"/>
                </a:cubicBezTo>
                <a:cubicBezTo>
                  <a:pt x="7043" y="560"/>
                  <a:pt x="7044" y="559"/>
                  <a:pt x="7044" y="558"/>
                </a:cubicBezTo>
                <a:cubicBezTo>
                  <a:pt x="7044" y="557"/>
                  <a:pt x="7043" y="557"/>
                  <a:pt x="7042" y="556"/>
                </a:cubicBezTo>
                <a:cubicBezTo>
                  <a:pt x="7041" y="556"/>
                  <a:pt x="7041" y="555"/>
                  <a:pt x="7041" y="555"/>
                </a:cubicBezTo>
                <a:cubicBezTo>
                  <a:pt x="7041" y="554"/>
                  <a:pt x="7042" y="553"/>
                  <a:pt x="7043" y="553"/>
                </a:cubicBezTo>
                <a:cubicBezTo>
                  <a:pt x="7045" y="553"/>
                  <a:pt x="7046" y="552"/>
                  <a:pt x="7046" y="552"/>
                </a:cubicBezTo>
                <a:lnTo>
                  <a:pt x="7043" y="552"/>
                </a:lnTo>
                <a:cubicBezTo>
                  <a:pt x="7041" y="552"/>
                  <a:pt x="7040" y="551"/>
                  <a:pt x="7040" y="549"/>
                </a:cubicBezTo>
                <a:cubicBezTo>
                  <a:pt x="7040" y="548"/>
                  <a:pt x="7040" y="548"/>
                  <a:pt x="7041" y="548"/>
                </a:cubicBezTo>
                <a:lnTo>
                  <a:pt x="7043" y="549"/>
                </a:lnTo>
                <a:cubicBezTo>
                  <a:pt x="7045" y="549"/>
                  <a:pt x="7047" y="548"/>
                  <a:pt x="7048" y="546"/>
                </a:cubicBezTo>
                <a:lnTo>
                  <a:pt x="7051" y="545"/>
                </a:lnTo>
                <a:cubicBezTo>
                  <a:pt x="7051" y="546"/>
                  <a:pt x="7050" y="547"/>
                  <a:pt x="7050" y="548"/>
                </a:cubicBezTo>
                <a:cubicBezTo>
                  <a:pt x="7049" y="549"/>
                  <a:pt x="7048" y="551"/>
                  <a:pt x="7048" y="555"/>
                </a:cubicBezTo>
                <a:cubicBezTo>
                  <a:pt x="7047" y="558"/>
                  <a:pt x="7046" y="561"/>
                  <a:pt x="7045" y="565"/>
                </a:cubicBezTo>
                <a:cubicBezTo>
                  <a:pt x="7041" y="580"/>
                  <a:pt x="7032" y="600"/>
                  <a:pt x="7019" y="622"/>
                </a:cubicBezTo>
                <a:cubicBezTo>
                  <a:pt x="7005" y="645"/>
                  <a:pt x="6991" y="666"/>
                  <a:pt x="6975" y="685"/>
                </a:cubicBezTo>
                <a:cubicBezTo>
                  <a:pt x="6962" y="699"/>
                  <a:pt x="6948" y="714"/>
                  <a:pt x="6933" y="729"/>
                </a:cubicBezTo>
                <a:cubicBezTo>
                  <a:pt x="6918" y="744"/>
                  <a:pt x="6904" y="756"/>
                  <a:pt x="6893" y="766"/>
                </a:cubicBezTo>
                <a:cubicBezTo>
                  <a:pt x="6880" y="777"/>
                  <a:pt x="6872" y="781"/>
                  <a:pt x="6869" y="781"/>
                </a:cubicBezTo>
                <a:lnTo>
                  <a:pt x="6868" y="781"/>
                </a:lnTo>
                <a:cubicBezTo>
                  <a:pt x="6867" y="781"/>
                  <a:pt x="6867" y="781"/>
                  <a:pt x="6866" y="782"/>
                </a:cubicBezTo>
                <a:cubicBezTo>
                  <a:pt x="6865" y="783"/>
                  <a:pt x="6857" y="788"/>
                  <a:pt x="6844" y="796"/>
                </a:cubicBezTo>
                <a:cubicBezTo>
                  <a:pt x="6829" y="804"/>
                  <a:pt x="6821" y="808"/>
                  <a:pt x="6819" y="808"/>
                </a:cubicBezTo>
                <a:cubicBezTo>
                  <a:pt x="6819" y="808"/>
                  <a:pt x="6819" y="808"/>
                  <a:pt x="6819" y="807"/>
                </a:cubicBezTo>
                <a:lnTo>
                  <a:pt x="6819" y="804"/>
                </a:lnTo>
                <a:cubicBezTo>
                  <a:pt x="6819" y="804"/>
                  <a:pt x="6819" y="805"/>
                  <a:pt x="6817" y="807"/>
                </a:cubicBezTo>
                <a:cubicBezTo>
                  <a:pt x="6816" y="808"/>
                  <a:pt x="6815" y="809"/>
                  <a:pt x="6814" y="809"/>
                </a:cubicBezTo>
                <a:cubicBezTo>
                  <a:pt x="6814" y="809"/>
                  <a:pt x="6814" y="808"/>
                  <a:pt x="6813" y="808"/>
                </a:cubicBezTo>
                <a:cubicBezTo>
                  <a:pt x="6813" y="807"/>
                  <a:pt x="6812" y="806"/>
                  <a:pt x="6811" y="806"/>
                </a:cubicBezTo>
                <a:cubicBezTo>
                  <a:pt x="6811" y="806"/>
                  <a:pt x="6810" y="807"/>
                  <a:pt x="6809" y="807"/>
                </a:cubicBezTo>
                <a:cubicBezTo>
                  <a:pt x="6809" y="808"/>
                  <a:pt x="6808" y="808"/>
                  <a:pt x="6808" y="809"/>
                </a:cubicBezTo>
                <a:cubicBezTo>
                  <a:pt x="6808" y="810"/>
                  <a:pt x="6809" y="810"/>
                  <a:pt x="6810" y="811"/>
                </a:cubicBezTo>
                <a:cubicBezTo>
                  <a:pt x="6811" y="812"/>
                  <a:pt x="6811" y="812"/>
                  <a:pt x="6811" y="812"/>
                </a:cubicBezTo>
                <a:cubicBezTo>
                  <a:pt x="6811" y="813"/>
                  <a:pt x="6811" y="813"/>
                  <a:pt x="6810" y="813"/>
                </a:cubicBezTo>
                <a:close/>
                <a:moveTo>
                  <a:pt x="6824" y="804"/>
                </a:moveTo>
                <a:cubicBezTo>
                  <a:pt x="6825" y="804"/>
                  <a:pt x="6827" y="803"/>
                  <a:pt x="6829" y="801"/>
                </a:cubicBezTo>
                <a:cubicBezTo>
                  <a:pt x="6830" y="801"/>
                  <a:pt x="6831" y="800"/>
                  <a:pt x="6831" y="800"/>
                </a:cubicBezTo>
                <a:lnTo>
                  <a:pt x="6830" y="800"/>
                </a:lnTo>
                <a:cubicBezTo>
                  <a:pt x="6825" y="800"/>
                  <a:pt x="6822" y="800"/>
                  <a:pt x="6822" y="802"/>
                </a:cubicBezTo>
                <a:cubicBezTo>
                  <a:pt x="6822" y="803"/>
                  <a:pt x="6823" y="804"/>
                  <a:pt x="6824" y="804"/>
                </a:cubicBezTo>
                <a:close/>
                <a:moveTo>
                  <a:pt x="6849" y="790"/>
                </a:moveTo>
                <a:cubicBezTo>
                  <a:pt x="6850" y="790"/>
                  <a:pt x="6851" y="790"/>
                  <a:pt x="6851" y="789"/>
                </a:cubicBezTo>
                <a:cubicBezTo>
                  <a:pt x="6851" y="789"/>
                  <a:pt x="6850" y="788"/>
                  <a:pt x="6850" y="787"/>
                </a:cubicBezTo>
                <a:cubicBezTo>
                  <a:pt x="6849" y="786"/>
                  <a:pt x="6848" y="786"/>
                  <a:pt x="6847" y="786"/>
                </a:cubicBezTo>
                <a:cubicBezTo>
                  <a:pt x="6847" y="786"/>
                  <a:pt x="6846" y="787"/>
                  <a:pt x="6846" y="788"/>
                </a:cubicBezTo>
                <a:cubicBezTo>
                  <a:pt x="6846" y="789"/>
                  <a:pt x="6847" y="790"/>
                  <a:pt x="6849" y="790"/>
                </a:cubicBezTo>
                <a:close/>
                <a:moveTo>
                  <a:pt x="6960" y="676"/>
                </a:moveTo>
                <a:cubicBezTo>
                  <a:pt x="6961" y="676"/>
                  <a:pt x="6962" y="674"/>
                  <a:pt x="6964" y="671"/>
                </a:cubicBezTo>
                <a:lnTo>
                  <a:pt x="6966" y="669"/>
                </a:lnTo>
                <a:lnTo>
                  <a:pt x="6966" y="668"/>
                </a:lnTo>
                <a:lnTo>
                  <a:pt x="6964" y="670"/>
                </a:lnTo>
                <a:cubicBezTo>
                  <a:pt x="6963" y="671"/>
                  <a:pt x="6962" y="672"/>
                  <a:pt x="6961" y="673"/>
                </a:cubicBezTo>
                <a:cubicBezTo>
                  <a:pt x="6960" y="674"/>
                  <a:pt x="6959" y="674"/>
                  <a:pt x="6959" y="674"/>
                </a:cubicBezTo>
                <a:cubicBezTo>
                  <a:pt x="6959" y="675"/>
                  <a:pt x="6960" y="676"/>
                  <a:pt x="6960" y="676"/>
                </a:cubicBezTo>
                <a:close/>
                <a:moveTo>
                  <a:pt x="6965" y="684"/>
                </a:moveTo>
                <a:cubicBezTo>
                  <a:pt x="6966" y="684"/>
                  <a:pt x="6967" y="683"/>
                  <a:pt x="6968" y="681"/>
                </a:cubicBezTo>
                <a:lnTo>
                  <a:pt x="6970" y="679"/>
                </a:lnTo>
                <a:cubicBezTo>
                  <a:pt x="6972" y="677"/>
                  <a:pt x="6973" y="676"/>
                  <a:pt x="6973" y="675"/>
                </a:cubicBezTo>
                <a:cubicBezTo>
                  <a:pt x="6973" y="674"/>
                  <a:pt x="6972" y="674"/>
                  <a:pt x="6971" y="674"/>
                </a:cubicBezTo>
                <a:cubicBezTo>
                  <a:pt x="6970" y="674"/>
                  <a:pt x="6968" y="674"/>
                  <a:pt x="6968" y="675"/>
                </a:cubicBezTo>
                <a:lnTo>
                  <a:pt x="6968" y="676"/>
                </a:lnTo>
                <a:cubicBezTo>
                  <a:pt x="6968" y="678"/>
                  <a:pt x="6968" y="679"/>
                  <a:pt x="6968" y="679"/>
                </a:cubicBezTo>
                <a:cubicBezTo>
                  <a:pt x="6967" y="679"/>
                  <a:pt x="6967" y="679"/>
                  <a:pt x="6966" y="677"/>
                </a:cubicBezTo>
                <a:cubicBezTo>
                  <a:pt x="6965" y="676"/>
                  <a:pt x="6965" y="676"/>
                  <a:pt x="6965" y="676"/>
                </a:cubicBezTo>
                <a:cubicBezTo>
                  <a:pt x="6964" y="676"/>
                  <a:pt x="6964" y="677"/>
                  <a:pt x="6964" y="679"/>
                </a:cubicBezTo>
                <a:lnTo>
                  <a:pt x="6964" y="681"/>
                </a:lnTo>
                <a:cubicBezTo>
                  <a:pt x="6964" y="683"/>
                  <a:pt x="6965" y="684"/>
                  <a:pt x="6965" y="684"/>
                </a:cubicBezTo>
                <a:close/>
                <a:moveTo>
                  <a:pt x="6971" y="671"/>
                </a:moveTo>
                <a:lnTo>
                  <a:pt x="6975" y="667"/>
                </a:lnTo>
                <a:cubicBezTo>
                  <a:pt x="6976" y="666"/>
                  <a:pt x="6976" y="665"/>
                  <a:pt x="6976" y="664"/>
                </a:cubicBezTo>
                <a:cubicBezTo>
                  <a:pt x="6976" y="664"/>
                  <a:pt x="6976" y="664"/>
                  <a:pt x="6975" y="664"/>
                </a:cubicBezTo>
                <a:cubicBezTo>
                  <a:pt x="6974" y="664"/>
                  <a:pt x="6973" y="665"/>
                  <a:pt x="6972" y="666"/>
                </a:cubicBezTo>
                <a:cubicBezTo>
                  <a:pt x="6971" y="669"/>
                  <a:pt x="6971" y="670"/>
                  <a:pt x="6971" y="670"/>
                </a:cubicBezTo>
                <a:lnTo>
                  <a:pt x="6971" y="671"/>
                </a:lnTo>
                <a:close/>
                <a:moveTo>
                  <a:pt x="6990" y="647"/>
                </a:moveTo>
                <a:cubicBezTo>
                  <a:pt x="6992" y="647"/>
                  <a:pt x="6995" y="646"/>
                  <a:pt x="6997" y="643"/>
                </a:cubicBezTo>
                <a:lnTo>
                  <a:pt x="6999" y="641"/>
                </a:lnTo>
                <a:cubicBezTo>
                  <a:pt x="6998" y="641"/>
                  <a:pt x="6997" y="642"/>
                  <a:pt x="6996" y="643"/>
                </a:cubicBezTo>
                <a:cubicBezTo>
                  <a:pt x="6995" y="644"/>
                  <a:pt x="6993" y="644"/>
                  <a:pt x="6992" y="644"/>
                </a:cubicBezTo>
                <a:lnTo>
                  <a:pt x="6991" y="644"/>
                </a:lnTo>
                <a:cubicBezTo>
                  <a:pt x="6991" y="644"/>
                  <a:pt x="6990" y="644"/>
                  <a:pt x="6990" y="644"/>
                </a:cubicBezTo>
                <a:cubicBezTo>
                  <a:pt x="6989" y="645"/>
                  <a:pt x="6989" y="645"/>
                  <a:pt x="6989" y="646"/>
                </a:cubicBezTo>
                <a:cubicBezTo>
                  <a:pt x="6989" y="647"/>
                  <a:pt x="6989" y="647"/>
                  <a:pt x="6990" y="647"/>
                </a:cubicBezTo>
                <a:close/>
                <a:moveTo>
                  <a:pt x="7004" y="632"/>
                </a:moveTo>
                <a:cubicBezTo>
                  <a:pt x="7005" y="632"/>
                  <a:pt x="7005" y="631"/>
                  <a:pt x="7006" y="630"/>
                </a:cubicBezTo>
                <a:lnTo>
                  <a:pt x="7006" y="630"/>
                </a:lnTo>
                <a:cubicBezTo>
                  <a:pt x="7006" y="629"/>
                  <a:pt x="7005" y="628"/>
                  <a:pt x="7004" y="628"/>
                </a:cubicBezTo>
                <a:cubicBezTo>
                  <a:pt x="7003" y="628"/>
                  <a:pt x="7002" y="629"/>
                  <a:pt x="7002" y="630"/>
                </a:cubicBezTo>
                <a:lnTo>
                  <a:pt x="7002" y="630"/>
                </a:lnTo>
                <a:cubicBezTo>
                  <a:pt x="7003" y="631"/>
                  <a:pt x="7003" y="632"/>
                  <a:pt x="7004" y="632"/>
                </a:cubicBezTo>
                <a:close/>
                <a:moveTo>
                  <a:pt x="7010" y="622"/>
                </a:moveTo>
                <a:cubicBezTo>
                  <a:pt x="7011" y="622"/>
                  <a:pt x="7013" y="620"/>
                  <a:pt x="7015" y="617"/>
                </a:cubicBezTo>
                <a:cubicBezTo>
                  <a:pt x="7017" y="614"/>
                  <a:pt x="7018" y="612"/>
                  <a:pt x="7018" y="611"/>
                </a:cubicBezTo>
                <a:lnTo>
                  <a:pt x="7018" y="608"/>
                </a:lnTo>
                <a:cubicBezTo>
                  <a:pt x="7018" y="607"/>
                  <a:pt x="7018" y="607"/>
                  <a:pt x="7017" y="607"/>
                </a:cubicBezTo>
                <a:cubicBezTo>
                  <a:pt x="7017" y="607"/>
                  <a:pt x="7017" y="607"/>
                  <a:pt x="7016" y="607"/>
                </a:cubicBezTo>
                <a:cubicBezTo>
                  <a:pt x="7016" y="607"/>
                  <a:pt x="7015" y="608"/>
                  <a:pt x="7015" y="609"/>
                </a:cubicBezTo>
                <a:lnTo>
                  <a:pt x="7015" y="610"/>
                </a:lnTo>
                <a:cubicBezTo>
                  <a:pt x="7015" y="611"/>
                  <a:pt x="7015" y="611"/>
                  <a:pt x="7014" y="611"/>
                </a:cubicBezTo>
                <a:cubicBezTo>
                  <a:pt x="7013" y="611"/>
                  <a:pt x="7012" y="612"/>
                  <a:pt x="7012" y="612"/>
                </a:cubicBezTo>
                <a:lnTo>
                  <a:pt x="7013" y="616"/>
                </a:lnTo>
                <a:cubicBezTo>
                  <a:pt x="7013" y="618"/>
                  <a:pt x="7012" y="619"/>
                  <a:pt x="7011" y="619"/>
                </a:cubicBezTo>
                <a:cubicBezTo>
                  <a:pt x="7010" y="619"/>
                  <a:pt x="7009" y="619"/>
                  <a:pt x="7007" y="617"/>
                </a:cubicBezTo>
                <a:lnTo>
                  <a:pt x="7005" y="616"/>
                </a:lnTo>
                <a:lnTo>
                  <a:pt x="7007" y="619"/>
                </a:lnTo>
                <a:cubicBezTo>
                  <a:pt x="7009" y="621"/>
                  <a:pt x="7010" y="622"/>
                  <a:pt x="7010" y="622"/>
                </a:cubicBezTo>
                <a:close/>
                <a:moveTo>
                  <a:pt x="7022" y="604"/>
                </a:moveTo>
                <a:cubicBezTo>
                  <a:pt x="7022" y="604"/>
                  <a:pt x="7023" y="603"/>
                  <a:pt x="7023" y="602"/>
                </a:cubicBezTo>
                <a:lnTo>
                  <a:pt x="7025" y="600"/>
                </a:lnTo>
                <a:lnTo>
                  <a:pt x="7024" y="600"/>
                </a:lnTo>
                <a:lnTo>
                  <a:pt x="7023" y="600"/>
                </a:lnTo>
                <a:cubicBezTo>
                  <a:pt x="7023" y="600"/>
                  <a:pt x="7023" y="601"/>
                  <a:pt x="7022" y="601"/>
                </a:cubicBezTo>
                <a:cubicBezTo>
                  <a:pt x="7021" y="601"/>
                  <a:pt x="7020" y="600"/>
                  <a:pt x="7018" y="599"/>
                </a:cubicBezTo>
                <a:cubicBezTo>
                  <a:pt x="7017" y="598"/>
                  <a:pt x="7016" y="597"/>
                  <a:pt x="7016" y="597"/>
                </a:cubicBezTo>
                <a:lnTo>
                  <a:pt x="7016" y="598"/>
                </a:lnTo>
                <a:lnTo>
                  <a:pt x="7018" y="601"/>
                </a:lnTo>
                <a:cubicBezTo>
                  <a:pt x="7019" y="603"/>
                  <a:pt x="7021" y="604"/>
                  <a:pt x="7022" y="604"/>
                </a:cubicBezTo>
                <a:close/>
                <a:moveTo>
                  <a:pt x="7025" y="597"/>
                </a:moveTo>
                <a:cubicBezTo>
                  <a:pt x="7026" y="597"/>
                  <a:pt x="7027" y="596"/>
                  <a:pt x="7027" y="595"/>
                </a:cubicBezTo>
                <a:cubicBezTo>
                  <a:pt x="7028" y="594"/>
                  <a:pt x="7028" y="594"/>
                  <a:pt x="7028" y="593"/>
                </a:cubicBezTo>
                <a:cubicBezTo>
                  <a:pt x="7028" y="592"/>
                  <a:pt x="7027" y="591"/>
                  <a:pt x="7026" y="590"/>
                </a:cubicBezTo>
                <a:lnTo>
                  <a:pt x="7023" y="587"/>
                </a:lnTo>
                <a:lnTo>
                  <a:pt x="7023" y="588"/>
                </a:lnTo>
                <a:cubicBezTo>
                  <a:pt x="7023" y="589"/>
                  <a:pt x="7022" y="590"/>
                  <a:pt x="7020" y="592"/>
                </a:cubicBezTo>
                <a:cubicBezTo>
                  <a:pt x="7018" y="593"/>
                  <a:pt x="7017" y="594"/>
                  <a:pt x="7017" y="595"/>
                </a:cubicBezTo>
                <a:lnTo>
                  <a:pt x="7020" y="594"/>
                </a:lnTo>
                <a:cubicBezTo>
                  <a:pt x="7022" y="594"/>
                  <a:pt x="7023" y="594"/>
                  <a:pt x="7023" y="595"/>
                </a:cubicBezTo>
                <a:cubicBezTo>
                  <a:pt x="7024" y="596"/>
                  <a:pt x="7024" y="597"/>
                  <a:pt x="7025" y="597"/>
                </a:cubicBezTo>
                <a:close/>
                <a:moveTo>
                  <a:pt x="6450" y="744"/>
                </a:moveTo>
                <a:lnTo>
                  <a:pt x="6450" y="744"/>
                </a:lnTo>
                <a:cubicBezTo>
                  <a:pt x="6449" y="744"/>
                  <a:pt x="6449" y="743"/>
                  <a:pt x="6449" y="741"/>
                </a:cubicBezTo>
                <a:cubicBezTo>
                  <a:pt x="6449" y="739"/>
                  <a:pt x="6450" y="738"/>
                  <a:pt x="6450" y="738"/>
                </a:cubicBezTo>
                <a:cubicBezTo>
                  <a:pt x="6450" y="738"/>
                  <a:pt x="6451" y="739"/>
                  <a:pt x="6451" y="742"/>
                </a:cubicBezTo>
                <a:lnTo>
                  <a:pt x="6450" y="744"/>
                </a:lnTo>
                <a:close/>
                <a:moveTo>
                  <a:pt x="6533" y="558"/>
                </a:moveTo>
                <a:cubicBezTo>
                  <a:pt x="6533" y="557"/>
                  <a:pt x="6535" y="555"/>
                  <a:pt x="6540" y="550"/>
                </a:cubicBezTo>
                <a:cubicBezTo>
                  <a:pt x="6551" y="538"/>
                  <a:pt x="6558" y="532"/>
                  <a:pt x="6559" y="532"/>
                </a:cubicBezTo>
                <a:cubicBezTo>
                  <a:pt x="6559" y="533"/>
                  <a:pt x="6558" y="535"/>
                  <a:pt x="6554" y="538"/>
                </a:cubicBezTo>
                <a:cubicBezTo>
                  <a:pt x="6541" y="551"/>
                  <a:pt x="6533" y="558"/>
                  <a:pt x="6533" y="558"/>
                </a:cubicBezTo>
                <a:close/>
                <a:moveTo>
                  <a:pt x="6637" y="541"/>
                </a:moveTo>
                <a:cubicBezTo>
                  <a:pt x="6635" y="541"/>
                  <a:pt x="6634" y="540"/>
                  <a:pt x="6634" y="537"/>
                </a:cubicBezTo>
                <a:lnTo>
                  <a:pt x="6634" y="536"/>
                </a:lnTo>
                <a:cubicBezTo>
                  <a:pt x="6634" y="535"/>
                  <a:pt x="6635" y="534"/>
                  <a:pt x="6636" y="534"/>
                </a:cubicBezTo>
                <a:cubicBezTo>
                  <a:pt x="6637" y="534"/>
                  <a:pt x="6637" y="534"/>
                  <a:pt x="6638" y="535"/>
                </a:cubicBezTo>
                <a:cubicBezTo>
                  <a:pt x="6639" y="535"/>
                  <a:pt x="6640" y="535"/>
                  <a:pt x="6640" y="535"/>
                </a:cubicBezTo>
                <a:cubicBezTo>
                  <a:pt x="6641" y="535"/>
                  <a:pt x="6642" y="535"/>
                  <a:pt x="6643" y="535"/>
                </a:cubicBezTo>
                <a:cubicBezTo>
                  <a:pt x="6644" y="535"/>
                  <a:pt x="6644" y="536"/>
                  <a:pt x="6644" y="538"/>
                </a:cubicBezTo>
                <a:cubicBezTo>
                  <a:pt x="6644" y="539"/>
                  <a:pt x="6644" y="539"/>
                  <a:pt x="6644" y="539"/>
                </a:cubicBezTo>
                <a:cubicBezTo>
                  <a:pt x="6643" y="539"/>
                  <a:pt x="6642" y="538"/>
                  <a:pt x="6641" y="537"/>
                </a:cubicBezTo>
                <a:lnTo>
                  <a:pt x="6638" y="535"/>
                </a:lnTo>
                <a:lnTo>
                  <a:pt x="6638" y="536"/>
                </a:lnTo>
                <a:lnTo>
                  <a:pt x="6638" y="539"/>
                </a:lnTo>
                <a:cubicBezTo>
                  <a:pt x="6638" y="541"/>
                  <a:pt x="6638" y="541"/>
                  <a:pt x="6637" y="541"/>
                </a:cubicBezTo>
                <a:close/>
                <a:moveTo>
                  <a:pt x="6638" y="521"/>
                </a:moveTo>
                <a:cubicBezTo>
                  <a:pt x="6637" y="521"/>
                  <a:pt x="6635" y="520"/>
                  <a:pt x="6633" y="518"/>
                </a:cubicBezTo>
                <a:cubicBezTo>
                  <a:pt x="6631" y="517"/>
                  <a:pt x="6630" y="516"/>
                  <a:pt x="6630" y="515"/>
                </a:cubicBezTo>
                <a:cubicBezTo>
                  <a:pt x="6630" y="515"/>
                  <a:pt x="6631" y="515"/>
                  <a:pt x="6631" y="515"/>
                </a:cubicBezTo>
                <a:cubicBezTo>
                  <a:pt x="6632" y="515"/>
                  <a:pt x="6634" y="516"/>
                  <a:pt x="6636" y="518"/>
                </a:cubicBezTo>
                <a:cubicBezTo>
                  <a:pt x="6637" y="520"/>
                  <a:pt x="6638" y="521"/>
                  <a:pt x="6638" y="521"/>
                </a:cubicBezTo>
                <a:close/>
                <a:moveTo>
                  <a:pt x="6629" y="524"/>
                </a:moveTo>
                <a:close/>
                <a:moveTo>
                  <a:pt x="6631" y="526"/>
                </a:moveTo>
                <a:cubicBezTo>
                  <a:pt x="6630" y="526"/>
                  <a:pt x="6629" y="525"/>
                  <a:pt x="6629" y="524"/>
                </a:cubicBezTo>
                <a:cubicBezTo>
                  <a:pt x="6629" y="523"/>
                  <a:pt x="6630" y="522"/>
                  <a:pt x="6630" y="522"/>
                </a:cubicBezTo>
                <a:lnTo>
                  <a:pt x="6631" y="523"/>
                </a:lnTo>
                <a:cubicBezTo>
                  <a:pt x="6633" y="524"/>
                  <a:pt x="6634" y="525"/>
                  <a:pt x="6634" y="525"/>
                </a:cubicBezTo>
                <a:cubicBezTo>
                  <a:pt x="6634" y="526"/>
                  <a:pt x="6633" y="526"/>
                  <a:pt x="6631" y="526"/>
                </a:cubicBezTo>
                <a:close/>
                <a:moveTo>
                  <a:pt x="6648" y="535"/>
                </a:moveTo>
                <a:cubicBezTo>
                  <a:pt x="6647" y="535"/>
                  <a:pt x="6646" y="534"/>
                  <a:pt x="6645" y="533"/>
                </a:cubicBezTo>
                <a:cubicBezTo>
                  <a:pt x="6645" y="532"/>
                  <a:pt x="6645" y="531"/>
                  <a:pt x="6645" y="530"/>
                </a:cubicBezTo>
                <a:lnTo>
                  <a:pt x="6645" y="529"/>
                </a:lnTo>
                <a:lnTo>
                  <a:pt x="6646" y="529"/>
                </a:lnTo>
                <a:cubicBezTo>
                  <a:pt x="6646" y="529"/>
                  <a:pt x="6646" y="530"/>
                  <a:pt x="6647" y="531"/>
                </a:cubicBezTo>
                <a:cubicBezTo>
                  <a:pt x="6648" y="533"/>
                  <a:pt x="6648" y="534"/>
                  <a:pt x="6648" y="535"/>
                </a:cubicBezTo>
                <a:close/>
                <a:moveTo>
                  <a:pt x="6569" y="528"/>
                </a:moveTo>
                <a:lnTo>
                  <a:pt x="6569" y="528"/>
                </a:lnTo>
                <a:lnTo>
                  <a:pt x="6571" y="526"/>
                </a:lnTo>
                <a:cubicBezTo>
                  <a:pt x="6573" y="524"/>
                  <a:pt x="6574" y="523"/>
                  <a:pt x="6574" y="522"/>
                </a:cubicBezTo>
                <a:lnTo>
                  <a:pt x="6573" y="520"/>
                </a:lnTo>
                <a:lnTo>
                  <a:pt x="6573" y="520"/>
                </a:lnTo>
                <a:lnTo>
                  <a:pt x="6576" y="521"/>
                </a:lnTo>
                <a:cubicBezTo>
                  <a:pt x="6578" y="522"/>
                  <a:pt x="6579" y="522"/>
                  <a:pt x="6579" y="522"/>
                </a:cubicBezTo>
                <a:cubicBezTo>
                  <a:pt x="6579" y="523"/>
                  <a:pt x="6577" y="524"/>
                  <a:pt x="6573" y="526"/>
                </a:cubicBezTo>
                <a:lnTo>
                  <a:pt x="6569" y="528"/>
                </a:lnTo>
                <a:close/>
                <a:moveTo>
                  <a:pt x="6478" y="785"/>
                </a:moveTo>
                <a:cubicBezTo>
                  <a:pt x="6477" y="785"/>
                  <a:pt x="6477" y="785"/>
                  <a:pt x="6477" y="785"/>
                </a:cubicBezTo>
                <a:cubicBezTo>
                  <a:pt x="6477" y="784"/>
                  <a:pt x="6478" y="784"/>
                  <a:pt x="6479" y="783"/>
                </a:cubicBezTo>
                <a:cubicBezTo>
                  <a:pt x="6480" y="782"/>
                  <a:pt x="6481" y="781"/>
                  <a:pt x="6482" y="781"/>
                </a:cubicBezTo>
                <a:lnTo>
                  <a:pt x="6483" y="782"/>
                </a:lnTo>
                <a:lnTo>
                  <a:pt x="6482" y="783"/>
                </a:lnTo>
                <a:cubicBezTo>
                  <a:pt x="6482" y="784"/>
                  <a:pt x="6480" y="785"/>
                  <a:pt x="6478" y="785"/>
                </a:cubicBezTo>
                <a:close/>
                <a:moveTo>
                  <a:pt x="6474" y="788"/>
                </a:moveTo>
                <a:lnTo>
                  <a:pt x="6473" y="788"/>
                </a:lnTo>
                <a:cubicBezTo>
                  <a:pt x="6471" y="788"/>
                  <a:pt x="6471" y="787"/>
                  <a:pt x="6470" y="785"/>
                </a:cubicBezTo>
                <a:cubicBezTo>
                  <a:pt x="6470" y="784"/>
                  <a:pt x="6471" y="784"/>
                  <a:pt x="6472" y="784"/>
                </a:cubicBezTo>
                <a:cubicBezTo>
                  <a:pt x="6472" y="784"/>
                  <a:pt x="6473" y="784"/>
                  <a:pt x="6473" y="784"/>
                </a:cubicBezTo>
                <a:cubicBezTo>
                  <a:pt x="6473" y="785"/>
                  <a:pt x="6474" y="785"/>
                  <a:pt x="6474" y="786"/>
                </a:cubicBezTo>
                <a:cubicBezTo>
                  <a:pt x="6475" y="786"/>
                  <a:pt x="6475" y="786"/>
                  <a:pt x="6475" y="787"/>
                </a:cubicBezTo>
                <a:cubicBezTo>
                  <a:pt x="6475" y="787"/>
                  <a:pt x="6475" y="787"/>
                  <a:pt x="6474" y="788"/>
                </a:cubicBezTo>
                <a:close/>
                <a:moveTo>
                  <a:pt x="6470" y="785"/>
                </a:moveTo>
                <a:close/>
                <a:moveTo>
                  <a:pt x="6460" y="792"/>
                </a:moveTo>
                <a:cubicBezTo>
                  <a:pt x="6459" y="792"/>
                  <a:pt x="6457" y="791"/>
                  <a:pt x="6455" y="791"/>
                </a:cubicBezTo>
                <a:cubicBezTo>
                  <a:pt x="6453" y="790"/>
                  <a:pt x="6451" y="788"/>
                  <a:pt x="6448" y="786"/>
                </a:cubicBezTo>
                <a:cubicBezTo>
                  <a:pt x="6446" y="783"/>
                  <a:pt x="6445" y="781"/>
                  <a:pt x="6445" y="780"/>
                </a:cubicBezTo>
                <a:cubicBezTo>
                  <a:pt x="6445" y="779"/>
                  <a:pt x="6445" y="779"/>
                  <a:pt x="6445" y="779"/>
                </a:cubicBezTo>
                <a:lnTo>
                  <a:pt x="6448" y="781"/>
                </a:lnTo>
                <a:cubicBezTo>
                  <a:pt x="6448" y="781"/>
                  <a:pt x="6449" y="780"/>
                  <a:pt x="6449" y="780"/>
                </a:cubicBezTo>
                <a:cubicBezTo>
                  <a:pt x="6449" y="779"/>
                  <a:pt x="6448" y="779"/>
                  <a:pt x="6447" y="778"/>
                </a:cubicBezTo>
                <a:cubicBezTo>
                  <a:pt x="6445" y="777"/>
                  <a:pt x="6443" y="776"/>
                  <a:pt x="6441" y="775"/>
                </a:cubicBezTo>
                <a:cubicBezTo>
                  <a:pt x="6439" y="774"/>
                  <a:pt x="6437" y="773"/>
                  <a:pt x="6434" y="771"/>
                </a:cubicBezTo>
                <a:cubicBezTo>
                  <a:pt x="6432" y="769"/>
                  <a:pt x="6430" y="767"/>
                  <a:pt x="6428" y="766"/>
                </a:cubicBezTo>
                <a:cubicBezTo>
                  <a:pt x="6426" y="764"/>
                  <a:pt x="6425" y="764"/>
                  <a:pt x="6425" y="763"/>
                </a:cubicBezTo>
                <a:lnTo>
                  <a:pt x="6426" y="762"/>
                </a:lnTo>
                <a:cubicBezTo>
                  <a:pt x="6426" y="762"/>
                  <a:pt x="6425" y="757"/>
                  <a:pt x="6422" y="751"/>
                </a:cubicBezTo>
                <a:cubicBezTo>
                  <a:pt x="6420" y="747"/>
                  <a:pt x="6419" y="743"/>
                  <a:pt x="6418" y="740"/>
                </a:cubicBezTo>
                <a:cubicBezTo>
                  <a:pt x="6418" y="737"/>
                  <a:pt x="6417" y="729"/>
                  <a:pt x="6417" y="718"/>
                </a:cubicBezTo>
                <a:cubicBezTo>
                  <a:pt x="6418" y="698"/>
                  <a:pt x="6420" y="687"/>
                  <a:pt x="6421" y="685"/>
                </a:cubicBezTo>
                <a:cubicBezTo>
                  <a:pt x="6421" y="684"/>
                  <a:pt x="6422" y="683"/>
                  <a:pt x="6422" y="681"/>
                </a:cubicBezTo>
                <a:cubicBezTo>
                  <a:pt x="6422" y="679"/>
                  <a:pt x="6422" y="676"/>
                  <a:pt x="6423" y="675"/>
                </a:cubicBezTo>
                <a:cubicBezTo>
                  <a:pt x="6424" y="673"/>
                  <a:pt x="6425" y="669"/>
                  <a:pt x="6426" y="664"/>
                </a:cubicBezTo>
                <a:cubicBezTo>
                  <a:pt x="6431" y="640"/>
                  <a:pt x="6442" y="612"/>
                  <a:pt x="6460" y="581"/>
                </a:cubicBezTo>
                <a:cubicBezTo>
                  <a:pt x="6478" y="550"/>
                  <a:pt x="6495" y="527"/>
                  <a:pt x="6511" y="514"/>
                </a:cubicBezTo>
                <a:cubicBezTo>
                  <a:pt x="6515" y="510"/>
                  <a:pt x="6517" y="509"/>
                  <a:pt x="6517" y="509"/>
                </a:cubicBezTo>
                <a:lnTo>
                  <a:pt x="6517" y="509"/>
                </a:lnTo>
                <a:cubicBezTo>
                  <a:pt x="6517" y="509"/>
                  <a:pt x="6516" y="512"/>
                  <a:pt x="6513" y="515"/>
                </a:cubicBezTo>
                <a:cubicBezTo>
                  <a:pt x="6510" y="519"/>
                  <a:pt x="6508" y="520"/>
                  <a:pt x="6508" y="521"/>
                </a:cubicBezTo>
                <a:cubicBezTo>
                  <a:pt x="6509" y="521"/>
                  <a:pt x="6512" y="518"/>
                  <a:pt x="6517" y="514"/>
                </a:cubicBezTo>
                <a:cubicBezTo>
                  <a:pt x="6524" y="508"/>
                  <a:pt x="6527" y="505"/>
                  <a:pt x="6527" y="504"/>
                </a:cubicBezTo>
                <a:lnTo>
                  <a:pt x="6521" y="508"/>
                </a:lnTo>
                <a:lnTo>
                  <a:pt x="6523" y="505"/>
                </a:lnTo>
                <a:cubicBezTo>
                  <a:pt x="6524" y="503"/>
                  <a:pt x="6526" y="501"/>
                  <a:pt x="6528" y="500"/>
                </a:cubicBezTo>
                <a:cubicBezTo>
                  <a:pt x="6530" y="498"/>
                  <a:pt x="6532" y="496"/>
                  <a:pt x="6535" y="495"/>
                </a:cubicBezTo>
                <a:cubicBezTo>
                  <a:pt x="6537" y="494"/>
                  <a:pt x="6538" y="493"/>
                  <a:pt x="6539" y="493"/>
                </a:cubicBezTo>
                <a:cubicBezTo>
                  <a:pt x="6539" y="493"/>
                  <a:pt x="6540" y="493"/>
                  <a:pt x="6540" y="494"/>
                </a:cubicBezTo>
                <a:lnTo>
                  <a:pt x="6539" y="495"/>
                </a:lnTo>
                <a:cubicBezTo>
                  <a:pt x="6539" y="496"/>
                  <a:pt x="6540" y="497"/>
                  <a:pt x="6541" y="497"/>
                </a:cubicBezTo>
                <a:cubicBezTo>
                  <a:pt x="6544" y="497"/>
                  <a:pt x="6549" y="496"/>
                  <a:pt x="6556" y="494"/>
                </a:cubicBezTo>
                <a:cubicBezTo>
                  <a:pt x="6562" y="492"/>
                  <a:pt x="6569" y="491"/>
                  <a:pt x="6574" y="491"/>
                </a:cubicBezTo>
                <a:cubicBezTo>
                  <a:pt x="6590" y="491"/>
                  <a:pt x="6604" y="499"/>
                  <a:pt x="6615" y="514"/>
                </a:cubicBezTo>
                <a:cubicBezTo>
                  <a:pt x="6617" y="516"/>
                  <a:pt x="6619" y="518"/>
                  <a:pt x="6621" y="520"/>
                </a:cubicBezTo>
                <a:lnTo>
                  <a:pt x="6625" y="522"/>
                </a:lnTo>
                <a:cubicBezTo>
                  <a:pt x="6626" y="522"/>
                  <a:pt x="6627" y="524"/>
                  <a:pt x="6627" y="526"/>
                </a:cubicBezTo>
                <a:cubicBezTo>
                  <a:pt x="6627" y="529"/>
                  <a:pt x="6628" y="530"/>
                  <a:pt x="6628" y="530"/>
                </a:cubicBezTo>
                <a:lnTo>
                  <a:pt x="6631" y="529"/>
                </a:lnTo>
                <a:cubicBezTo>
                  <a:pt x="6631" y="529"/>
                  <a:pt x="6631" y="530"/>
                  <a:pt x="6630" y="531"/>
                </a:cubicBezTo>
                <a:cubicBezTo>
                  <a:pt x="6629" y="532"/>
                  <a:pt x="6628" y="533"/>
                  <a:pt x="6628" y="534"/>
                </a:cubicBezTo>
                <a:cubicBezTo>
                  <a:pt x="6628" y="536"/>
                  <a:pt x="6629" y="539"/>
                  <a:pt x="6631" y="542"/>
                </a:cubicBezTo>
                <a:cubicBezTo>
                  <a:pt x="6632" y="545"/>
                  <a:pt x="6634" y="552"/>
                  <a:pt x="6636" y="561"/>
                </a:cubicBezTo>
                <a:cubicBezTo>
                  <a:pt x="6636" y="567"/>
                  <a:pt x="6637" y="570"/>
                  <a:pt x="6638" y="570"/>
                </a:cubicBezTo>
                <a:cubicBezTo>
                  <a:pt x="6638" y="570"/>
                  <a:pt x="6639" y="570"/>
                  <a:pt x="6639" y="568"/>
                </a:cubicBezTo>
                <a:cubicBezTo>
                  <a:pt x="6640" y="566"/>
                  <a:pt x="6641" y="564"/>
                  <a:pt x="6642" y="564"/>
                </a:cubicBezTo>
                <a:lnTo>
                  <a:pt x="6642" y="564"/>
                </a:lnTo>
                <a:cubicBezTo>
                  <a:pt x="6644" y="564"/>
                  <a:pt x="6644" y="563"/>
                  <a:pt x="6644" y="562"/>
                </a:cubicBezTo>
                <a:cubicBezTo>
                  <a:pt x="6644" y="560"/>
                  <a:pt x="6645" y="558"/>
                  <a:pt x="6647" y="558"/>
                </a:cubicBezTo>
                <a:cubicBezTo>
                  <a:pt x="6648" y="558"/>
                  <a:pt x="6649" y="557"/>
                  <a:pt x="6649" y="556"/>
                </a:cubicBezTo>
                <a:cubicBezTo>
                  <a:pt x="6649" y="555"/>
                  <a:pt x="6648" y="553"/>
                  <a:pt x="6647" y="551"/>
                </a:cubicBezTo>
                <a:cubicBezTo>
                  <a:pt x="6646" y="549"/>
                  <a:pt x="6646" y="547"/>
                  <a:pt x="6646" y="546"/>
                </a:cubicBezTo>
                <a:cubicBezTo>
                  <a:pt x="6646" y="545"/>
                  <a:pt x="6646" y="544"/>
                  <a:pt x="6647" y="544"/>
                </a:cubicBezTo>
                <a:cubicBezTo>
                  <a:pt x="6648" y="544"/>
                  <a:pt x="6649" y="546"/>
                  <a:pt x="6649" y="548"/>
                </a:cubicBezTo>
                <a:cubicBezTo>
                  <a:pt x="6649" y="551"/>
                  <a:pt x="6649" y="552"/>
                  <a:pt x="6650" y="552"/>
                </a:cubicBezTo>
                <a:cubicBezTo>
                  <a:pt x="6652" y="552"/>
                  <a:pt x="6656" y="548"/>
                  <a:pt x="6661" y="539"/>
                </a:cubicBezTo>
                <a:cubicBezTo>
                  <a:pt x="6665" y="533"/>
                  <a:pt x="6671" y="526"/>
                  <a:pt x="6677" y="517"/>
                </a:cubicBezTo>
                <a:cubicBezTo>
                  <a:pt x="6683" y="511"/>
                  <a:pt x="6686" y="507"/>
                  <a:pt x="6686" y="505"/>
                </a:cubicBezTo>
                <a:lnTo>
                  <a:pt x="6686" y="505"/>
                </a:lnTo>
                <a:cubicBezTo>
                  <a:pt x="6686" y="504"/>
                  <a:pt x="6687" y="502"/>
                  <a:pt x="6689" y="501"/>
                </a:cubicBezTo>
                <a:cubicBezTo>
                  <a:pt x="6695" y="496"/>
                  <a:pt x="6699" y="493"/>
                  <a:pt x="6701" y="493"/>
                </a:cubicBezTo>
                <a:lnTo>
                  <a:pt x="6703" y="494"/>
                </a:lnTo>
                <a:cubicBezTo>
                  <a:pt x="6703" y="494"/>
                  <a:pt x="6703" y="493"/>
                  <a:pt x="6703" y="492"/>
                </a:cubicBezTo>
                <a:cubicBezTo>
                  <a:pt x="6702" y="492"/>
                  <a:pt x="6702" y="492"/>
                  <a:pt x="6702" y="491"/>
                </a:cubicBezTo>
                <a:cubicBezTo>
                  <a:pt x="6701" y="490"/>
                  <a:pt x="6701" y="490"/>
                  <a:pt x="6701" y="489"/>
                </a:cubicBezTo>
                <a:cubicBezTo>
                  <a:pt x="6701" y="486"/>
                  <a:pt x="6704" y="483"/>
                  <a:pt x="6710" y="479"/>
                </a:cubicBezTo>
                <a:lnTo>
                  <a:pt x="6712" y="478"/>
                </a:lnTo>
                <a:cubicBezTo>
                  <a:pt x="6712" y="479"/>
                  <a:pt x="6711" y="480"/>
                  <a:pt x="6710" y="482"/>
                </a:cubicBezTo>
                <a:cubicBezTo>
                  <a:pt x="6708" y="484"/>
                  <a:pt x="6707" y="486"/>
                  <a:pt x="6707" y="488"/>
                </a:cubicBezTo>
                <a:cubicBezTo>
                  <a:pt x="6706" y="490"/>
                  <a:pt x="6704" y="494"/>
                  <a:pt x="6701" y="501"/>
                </a:cubicBezTo>
                <a:cubicBezTo>
                  <a:pt x="6699" y="507"/>
                  <a:pt x="6698" y="511"/>
                  <a:pt x="6698" y="514"/>
                </a:cubicBezTo>
                <a:lnTo>
                  <a:pt x="6698" y="517"/>
                </a:lnTo>
                <a:lnTo>
                  <a:pt x="6697" y="516"/>
                </a:lnTo>
                <a:cubicBezTo>
                  <a:pt x="6695" y="514"/>
                  <a:pt x="6693" y="513"/>
                  <a:pt x="6691" y="513"/>
                </a:cubicBezTo>
                <a:cubicBezTo>
                  <a:pt x="6689" y="513"/>
                  <a:pt x="6688" y="513"/>
                  <a:pt x="6688" y="514"/>
                </a:cubicBezTo>
                <a:lnTo>
                  <a:pt x="6689" y="514"/>
                </a:lnTo>
                <a:cubicBezTo>
                  <a:pt x="6690" y="515"/>
                  <a:pt x="6690" y="516"/>
                  <a:pt x="6691" y="517"/>
                </a:cubicBezTo>
                <a:cubicBezTo>
                  <a:pt x="6692" y="518"/>
                  <a:pt x="6692" y="519"/>
                  <a:pt x="6692" y="519"/>
                </a:cubicBezTo>
                <a:cubicBezTo>
                  <a:pt x="6692" y="521"/>
                  <a:pt x="6691" y="521"/>
                  <a:pt x="6690" y="522"/>
                </a:cubicBezTo>
                <a:cubicBezTo>
                  <a:pt x="6689" y="522"/>
                  <a:pt x="6688" y="522"/>
                  <a:pt x="6688" y="522"/>
                </a:cubicBezTo>
                <a:cubicBezTo>
                  <a:pt x="6688" y="523"/>
                  <a:pt x="6689" y="523"/>
                  <a:pt x="6690" y="524"/>
                </a:cubicBezTo>
                <a:cubicBezTo>
                  <a:pt x="6692" y="525"/>
                  <a:pt x="6692" y="526"/>
                  <a:pt x="6692" y="526"/>
                </a:cubicBezTo>
                <a:cubicBezTo>
                  <a:pt x="6692" y="526"/>
                  <a:pt x="6691" y="526"/>
                  <a:pt x="6689" y="526"/>
                </a:cubicBezTo>
                <a:cubicBezTo>
                  <a:pt x="6687" y="526"/>
                  <a:pt x="6686" y="528"/>
                  <a:pt x="6684" y="532"/>
                </a:cubicBezTo>
                <a:cubicBezTo>
                  <a:pt x="6683" y="537"/>
                  <a:pt x="6677" y="547"/>
                  <a:pt x="6668" y="563"/>
                </a:cubicBezTo>
                <a:cubicBezTo>
                  <a:pt x="6659" y="577"/>
                  <a:pt x="6653" y="585"/>
                  <a:pt x="6650" y="588"/>
                </a:cubicBezTo>
                <a:lnTo>
                  <a:pt x="6650" y="590"/>
                </a:lnTo>
                <a:cubicBezTo>
                  <a:pt x="6650" y="591"/>
                  <a:pt x="6650" y="592"/>
                  <a:pt x="6650" y="593"/>
                </a:cubicBezTo>
                <a:cubicBezTo>
                  <a:pt x="6650" y="594"/>
                  <a:pt x="6650" y="594"/>
                  <a:pt x="6650" y="595"/>
                </a:cubicBezTo>
                <a:lnTo>
                  <a:pt x="6647" y="593"/>
                </a:lnTo>
                <a:cubicBezTo>
                  <a:pt x="6647" y="593"/>
                  <a:pt x="6647" y="593"/>
                  <a:pt x="6647" y="593"/>
                </a:cubicBezTo>
                <a:cubicBezTo>
                  <a:pt x="6647" y="594"/>
                  <a:pt x="6647" y="595"/>
                  <a:pt x="6648" y="597"/>
                </a:cubicBezTo>
                <a:lnTo>
                  <a:pt x="6648" y="600"/>
                </a:lnTo>
                <a:cubicBezTo>
                  <a:pt x="6648" y="600"/>
                  <a:pt x="6648" y="599"/>
                  <a:pt x="6648" y="599"/>
                </a:cubicBezTo>
                <a:lnTo>
                  <a:pt x="6647" y="599"/>
                </a:lnTo>
                <a:cubicBezTo>
                  <a:pt x="6645" y="599"/>
                  <a:pt x="6641" y="603"/>
                  <a:pt x="6633" y="613"/>
                </a:cubicBezTo>
                <a:cubicBezTo>
                  <a:pt x="6633" y="614"/>
                  <a:pt x="6632" y="615"/>
                  <a:pt x="6632" y="616"/>
                </a:cubicBezTo>
                <a:cubicBezTo>
                  <a:pt x="6632" y="617"/>
                  <a:pt x="6633" y="617"/>
                  <a:pt x="6633" y="618"/>
                </a:cubicBezTo>
                <a:cubicBezTo>
                  <a:pt x="6633" y="619"/>
                  <a:pt x="6633" y="620"/>
                  <a:pt x="6633" y="620"/>
                </a:cubicBezTo>
                <a:lnTo>
                  <a:pt x="6631" y="619"/>
                </a:lnTo>
                <a:cubicBezTo>
                  <a:pt x="6630" y="619"/>
                  <a:pt x="6628" y="620"/>
                  <a:pt x="6626" y="623"/>
                </a:cubicBezTo>
                <a:lnTo>
                  <a:pt x="6624" y="627"/>
                </a:lnTo>
                <a:lnTo>
                  <a:pt x="6624" y="627"/>
                </a:lnTo>
                <a:cubicBezTo>
                  <a:pt x="6624" y="628"/>
                  <a:pt x="6623" y="630"/>
                  <a:pt x="6622" y="632"/>
                </a:cubicBezTo>
                <a:cubicBezTo>
                  <a:pt x="6621" y="634"/>
                  <a:pt x="6620" y="636"/>
                  <a:pt x="6620" y="637"/>
                </a:cubicBezTo>
                <a:cubicBezTo>
                  <a:pt x="6620" y="638"/>
                  <a:pt x="6621" y="639"/>
                  <a:pt x="6622" y="640"/>
                </a:cubicBezTo>
                <a:cubicBezTo>
                  <a:pt x="6624" y="641"/>
                  <a:pt x="6624" y="642"/>
                  <a:pt x="6624" y="642"/>
                </a:cubicBezTo>
                <a:cubicBezTo>
                  <a:pt x="6624" y="642"/>
                  <a:pt x="6624" y="643"/>
                  <a:pt x="6624" y="643"/>
                </a:cubicBezTo>
                <a:lnTo>
                  <a:pt x="6618" y="642"/>
                </a:lnTo>
                <a:lnTo>
                  <a:pt x="6618" y="644"/>
                </a:lnTo>
                <a:cubicBezTo>
                  <a:pt x="6618" y="645"/>
                  <a:pt x="6616" y="647"/>
                  <a:pt x="6614" y="651"/>
                </a:cubicBezTo>
                <a:cubicBezTo>
                  <a:pt x="6612" y="655"/>
                  <a:pt x="6611" y="657"/>
                  <a:pt x="6611" y="658"/>
                </a:cubicBezTo>
                <a:cubicBezTo>
                  <a:pt x="6611" y="660"/>
                  <a:pt x="6611" y="661"/>
                  <a:pt x="6613" y="661"/>
                </a:cubicBezTo>
                <a:cubicBezTo>
                  <a:pt x="6615" y="662"/>
                  <a:pt x="6616" y="663"/>
                  <a:pt x="6616" y="663"/>
                </a:cubicBezTo>
                <a:cubicBezTo>
                  <a:pt x="6616" y="664"/>
                  <a:pt x="6615" y="665"/>
                  <a:pt x="6613" y="665"/>
                </a:cubicBezTo>
                <a:cubicBezTo>
                  <a:pt x="6608" y="668"/>
                  <a:pt x="6604" y="671"/>
                  <a:pt x="6604" y="674"/>
                </a:cubicBezTo>
                <a:cubicBezTo>
                  <a:pt x="6603" y="675"/>
                  <a:pt x="6603" y="677"/>
                  <a:pt x="6601" y="680"/>
                </a:cubicBezTo>
                <a:cubicBezTo>
                  <a:pt x="6600" y="683"/>
                  <a:pt x="6599" y="686"/>
                  <a:pt x="6598" y="689"/>
                </a:cubicBezTo>
                <a:cubicBezTo>
                  <a:pt x="6596" y="692"/>
                  <a:pt x="6595" y="694"/>
                  <a:pt x="6594" y="694"/>
                </a:cubicBezTo>
                <a:cubicBezTo>
                  <a:pt x="6594" y="694"/>
                  <a:pt x="6593" y="693"/>
                  <a:pt x="6591" y="692"/>
                </a:cubicBezTo>
                <a:cubicBezTo>
                  <a:pt x="6590" y="691"/>
                  <a:pt x="6589" y="691"/>
                  <a:pt x="6589" y="690"/>
                </a:cubicBezTo>
                <a:cubicBezTo>
                  <a:pt x="6588" y="689"/>
                  <a:pt x="6587" y="688"/>
                  <a:pt x="6587" y="686"/>
                </a:cubicBezTo>
                <a:lnTo>
                  <a:pt x="6588" y="686"/>
                </a:lnTo>
                <a:lnTo>
                  <a:pt x="6587" y="686"/>
                </a:lnTo>
                <a:cubicBezTo>
                  <a:pt x="6587" y="686"/>
                  <a:pt x="6586" y="686"/>
                  <a:pt x="6584" y="688"/>
                </a:cubicBezTo>
                <a:cubicBezTo>
                  <a:pt x="6582" y="689"/>
                  <a:pt x="6581" y="690"/>
                  <a:pt x="6581" y="690"/>
                </a:cubicBezTo>
                <a:lnTo>
                  <a:pt x="6581" y="688"/>
                </a:lnTo>
                <a:cubicBezTo>
                  <a:pt x="6582" y="688"/>
                  <a:pt x="6583" y="687"/>
                  <a:pt x="6583" y="685"/>
                </a:cubicBezTo>
                <a:cubicBezTo>
                  <a:pt x="6583" y="684"/>
                  <a:pt x="6583" y="682"/>
                  <a:pt x="6583" y="681"/>
                </a:cubicBezTo>
                <a:cubicBezTo>
                  <a:pt x="6583" y="680"/>
                  <a:pt x="6583" y="679"/>
                  <a:pt x="6583" y="679"/>
                </a:cubicBezTo>
                <a:cubicBezTo>
                  <a:pt x="6582" y="679"/>
                  <a:pt x="6582" y="679"/>
                  <a:pt x="6581" y="679"/>
                </a:cubicBezTo>
                <a:cubicBezTo>
                  <a:pt x="6580" y="679"/>
                  <a:pt x="6580" y="680"/>
                  <a:pt x="6580" y="681"/>
                </a:cubicBezTo>
                <a:lnTo>
                  <a:pt x="6581" y="683"/>
                </a:lnTo>
                <a:cubicBezTo>
                  <a:pt x="6581" y="684"/>
                  <a:pt x="6579" y="686"/>
                  <a:pt x="6576" y="688"/>
                </a:cubicBezTo>
                <a:cubicBezTo>
                  <a:pt x="6573" y="692"/>
                  <a:pt x="6571" y="694"/>
                  <a:pt x="6571" y="695"/>
                </a:cubicBezTo>
                <a:cubicBezTo>
                  <a:pt x="6571" y="696"/>
                  <a:pt x="6570" y="697"/>
                  <a:pt x="6570" y="697"/>
                </a:cubicBezTo>
                <a:cubicBezTo>
                  <a:pt x="6569" y="698"/>
                  <a:pt x="6568" y="698"/>
                  <a:pt x="6568" y="698"/>
                </a:cubicBezTo>
                <a:cubicBezTo>
                  <a:pt x="6567" y="698"/>
                  <a:pt x="6566" y="698"/>
                  <a:pt x="6565" y="699"/>
                </a:cubicBezTo>
                <a:cubicBezTo>
                  <a:pt x="6561" y="702"/>
                  <a:pt x="6559" y="703"/>
                  <a:pt x="6559" y="705"/>
                </a:cubicBezTo>
                <a:cubicBezTo>
                  <a:pt x="6559" y="705"/>
                  <a:pt x="6560" y="705"/>
                  <a:pt x="6560" y="705"/>
                </a:cubicBezTo>
                <a:lnTo>
                  <a:pt x="6564" y="703"/>
                </a:lnTo>
                <a:cubicBezTo>
                  <a:pt x="6564" y="704"/>
                  <a:pt x="6563" y="706"/>
                  <a:pt x="6560" y="708"/>
                </a:cubicBezTo>
                <a:lnTo>
                  <a:pt x="6557" y="709"/>
                </a:lnTo>
                <a:lnTo>
                  <a:pt x="6557" y="708"/>
                </a:lnTo>
                <a:cubicBezTo>
                  <a:pt x="6556" y="708"/>
                  <a:pt x="6554" y="710"/>
                  <a:pt x="6552" y="712"/>
                </a:cubicBezTo>
                <a:cubicBezTo>
                  <a:pt x="6550" y="715"/>
                  <a:pt x="6549" y="716"/>
                  <a:pt x="6549" y="716"/>
                </a:cubicBezTo>
                <a:cubicBezTo>
                  <a:pt x="6549" y="716"/>
                  <a:pt x="6551" y="715"/>
                  <a:pt x="6552" y="714"/>
                </a:cubicBezTo>
                <a:cubicBezTo>
                  <a:pt x="6554" y="713"/>
                  <a:pt x="6555" y="712"/>
                  <a:pt x="6556" y="712"/>
                </a:cubicBezTo>
                <a:cubicBezTo>
                  <a:pt x="6556" y="712"/>
                  <a:pt x="6554" y="713"/>
                  <a:pt x="6552" y="716"/>
                </a:cubicBezTo>
                <a:cubicBezTo>
                  <a:pt x="6551" y="719"/>
                  <a:pt x="6549" y="720"/>
                  <a:pt x="6547" y="720"/>
                </a:cubicBezTo>
                <a:lnTo>
                  <a:pt x="6546" y="719"/>
                </a:lnTo>
                <a:lnTo>
                  <a:pt x="6545" y="719"/>
                </a:lnTo>
                <a:lnTo>
                  <a:pt x="6545" y="721"/>
                </a:lnTo>
                <a:cubicBezTo>
                  <a:pt x="6545" y="722"/>
                  <a:pt x="6544" y="723"/>
                  <a:pt x="6543" y="725"/>
                </a:cubicBezTo>
                <a:cubicBezTo>
                  <a:pt x="6542" y="727"/>
                  <a:pt x="6541" y="728"/>
                  <a:pt x="6540" y="730"/>
                </a:cubicBezTo>
                <a:cubicBezTo>
                  <a:pt x="6538" y="731"/>
                  <a:pt x="6537" y="732"/>
                  <a:pt x="6536" y="732"/>
                </a:cubicBezTo>
                <a:lnTo>
                  <a:pt x="6534" y="731"/>
                </a:lnTo>
                <a:lnTo>
                  <a:pt x="6535" y="732"/>
                </a:lnTo>
                <a:cubicBezTo>
                  <a:pt x="6535" y="732"/>
                  <a:pt x="6535" y="732"/>
                  <a:pt x="6535" y="732"/>
                </a:cubicBezTo>
                <a:cubicBezTo>
                  <a:pt x="6535" y="734"/>
                  <a:pt x="6531" y="738"/>
                  <a:pt x="6522" y="746"/>
                </a:cubicBezTo>
                <a:lnTo>
                  <a:pt x="6518" y="750"/>
                </a:lnTo>
                <a:cubicBezTo>
                  <a:pt x="6495" y="770"/>
                  <a:pt x="6475" y="781"/>
                  <a:pt x="6460" y="783"/>
                </a:cubicBezTo>
                <a:cubicBezTo>
                  <a:pt x="6459" y="783"/>
                  <a:pt x="6459" y="783"/>
                  <a:pt x="6459" y="784"/>
                </a:cubicBezTo>
                <a:cubicBezTo>
                  <a:pt x="6459" y="784"/>
                  <a:pt x="6459" y="784"/>
                  <a:pt x="6459" y="785"/>
                </a:cubicBezTo>
                <a:cubicBezTo>
                  <a:pt x="6459" y="785"/>
                  <a:pt x="6459" y="786"/>
                  <a:pt x="6460" y="786"/>
                </a:cubicBezTo>
                <a:cubicBezTo>
                  <a:pt x="6462" y="787"/>
                  <a:pt x="6463" y="788"/>
                  <a:pt x="6465" y="788"/>
                </a:cubicBezTo>
                <a:cubicBezTo>
                  <a:pt x="6467" y="788"/>
                  <a:pt x="6469" y="788"/>
                  <a:pt x="6469" y="788"/>
                </a:cubicBezTo>
                <a:cubicBezTo>
                  <a:pt x="6469" y="789"/>
                  <a:pt x="6467" y="789"/>
                  <a:pt x="6465" y="790"/>
                </a:cubicBezTo>
                <a:cubicBezTo>
                  <a:pt x="6463" y="791"/>
                  <a:pt x="6461" y="792"/>
                  <a:pt x="6460" y="792"/>
                </a:cubicBezTo>
                <a:close/>
                <a:moveTo>
                  <a:pt x="6457" y="764"/>
                </a:moveTo>
                <a:cubicBezTo>
                  <a:pt x="6459" y="764"/>
                  <a:pt x="6463" y="763"/>
                  <a:pt x="6469" y="760"/>
                </a:cubicBezTo>
                <a:cubicBezTo>
                  <a:pt x="6471" y="759"/>
                  <a:pt x="6473" y="757"/>
                  <a:pt x="6475" y="756"/>
                </a:cubicBezTo>
                <a:cubicBezTo>
                  <a:pt x="6477" y="754"/>
                  <a:pt x="6479" y="753"/>
                  <a:pt x="6479" y="752"/>
                </a:cubicBezTo>
                <a:cubicBezTo>
                  <a:pt x="6478" y="752"/>
                  <a:pt x="6475" y="753"/>
                  <a:pt x="6472" y="755"/>
                </a:cubicBezTo>
                <a:cubicBezTo>
                  <a:pt x="6470" y="757"/>
                  <a:pt x="6467" y="758"/>
                  <a:pt x="6465" y="759"/>
                </a:cubicBezTo>
                <a:cubicBezTo>
                  <a:pt x="6462" y="761"/>
                  <a:pt x="6460" y="762"/>
                  <a:pt x="6458" y="762"/>
                </a:cubicBezTo>
                <a:cubicBezTo>
                  <a:pt x="6456" y="763"/>
                  <a:pt x="6455" y="764"/>
                  <a:pt x="6455" y="764"/>
                </a:cubicBezTo>
                <a:lnTo>
                  <a:pt x="6457" y="764"/>
                </a:lnTo>
                <a:close/>
                <a:moveTo>
                  <a:pt x="6472" y="772"/>
                </a:moveTo>
                <a:cubicBezTo>
                  <a:pt x="6474" y="772"/>
                  <a:pt x="6476" y="770"/>
                  <a:pt x="6479" y="768"/>
                </a:cubicBezTo>
                <a:lnTo>
                  <a:pt x="6481" y="765"/>
                </a:lnTo>
                <a:lnTo>
                  <a:pt x="6477" y="767"/>
                </a:lnTo>
                <a:cubicBezTo>
                  <a:pt x="6473" y="769"/>
                  <a:pt x="6471" y="771"/>
                  <a:pt x="6471" y="771"/>
                </a:cubicBezTo>
                <a:cubicBezTo>
                  <a:pt x="6471" y="771"/>
                  <a:pt x="6471" y="772"/>
                  <a:pt x="6472" y="772"/>
                </a:cubicBezTo>
                <a:close/>
                <a:moveTo>
                  <a:pt x="6486" y="762"/>
                </a:moveTo>
                <a:cubicBezTo>
                  <a:pt x="6487" y="762"/>
                  <a:pt x="6487" y="762"/>
                  <a:pt x="6489" y="761"/>
                </a:cubicBezTo>
                <a:cubicBezTo>
                  <a:pt x="6490" y="760"/>
                  <a:pt x="6492" y="759"/>
                  <a:pt x="6493" y="757"/>
                </a:cubicBezTo>
                <a:cubicBezTo>
                  <a:pt x="6495" y="756"/>
                  <a:pt x="6496" y="755"/>
                  <a:pt x="6497" y="754"/>
                </a:cubicBezTo>
                <a:lnTo>
                  <a:pt x="6498" y="753"/>
                </a:lnTo>
                <a:lnTo>
                  <a:pt x="6497" y="753"/>
                </a:lnTo>
                <a:cubicBezTo>
                  <a:pt x="6497" y="753"/>
                  <a:pt x="6495" y="754"/>
                  <a:pt x="6493" y="755"/>
                </a:cubicBezTo>
                <a:cubicBezTo>
                  <a:pt x="6491" y="757"/>
                  <a:pt x="6489" y="758"/>
                  <a:pt x="6488" y="759"/>
                </a:cubicBezTo>
                <a:cubicBezTo>
                  <a:pt x="6487" y="761"/>
                  <a:pt x="6486" y="762"/>
                  <a:pt x="6486" y="762"/>
                </a:cubicBezTo>
                <a:close/>
                <a:moveTo>
                  <a:pt x="6502" y="750"/>
                </a:moveTo>
                <a:cubicBezTo>
                  <a:pt x="6503" y="750"/>
                  <a:pt x="6503" y="750"/>
                  <a:pt x="6504" y="750"/>
                </a:cubicBezTo>
                <a:cubicBezTo>
                  <a:pt x="6504" y="749"/>
                  <a:pt x="6505" y="749"/>
                  <a:pt x="6506" y="748"/>
                </a:cubicBezTo>
                <a:cubicBezTo>
                  <a:pt x="6508" y="747"/>
                  <a:pt x="6509" y="746"/>
                  <a:pt x="6509" y="744"/>
                </a:cubicBezTo>
                <a:lnTo>
                  <a:pt x="6511" y="740"/>
                </a:lnTo>
                <a:cubicBezTo>
                  <a:pt x="6511" y="740"/>
                  <a:pt x="6509" y="742"/>
                  <a:pt x="6505" y="745"/>
                </a:cubicBezTo>
                <a:cubicBezTo>
                  <a:pt x="6503" y="747"/>
                  <a:pt x="6502" y="749"/>
                  <a:pt x="6502" y="750"/>
                </a:cubicBezTo>
                <a:close/>
                <a:moveTo>
                  <a:pt x="6484" y="748"/>
                </a:moveTo>
                <a:cubicBezTo>
                  <a:pt x="6484" y="748"/>
                  <a:pt x="6485" y="748"/>
                  <a:pt x="6488" y="747"/>
                </a:cubicBezTo>
                <a:cubicBezTo>
                  <a:pt x="6490" y="745"/>
                  <a:pt x="6495" y="740"/>
                  <a:pt x="6504" y="732"/>
                </a:cubicBezTo>
                <a:lnTo>
                  <a:pt x="6514" y="722"/>
                </a:lnTo>
                <a:lnTo>
                  <a:pt x="6501" y="733"/>
                </a:lnTo>
                <a:cubicBezTo>
                  <a:pt x="6490" y="743"/>
                  <a:pt x="6484" y="748"/>
                  <a:pt x="6484" y="748"/>
                </a:cubicBezTo>
                <a:close/>
                <a:moveTo>
                  <a:pt x="6530" y="723"/>
                </a:moveTo>
                <a:cubicBezTo>
                  <a:pt x="6531" y="723"/>
                  <a:pt x="6532" y="722"/>
                  <a:pt x="6534" y="719"/>
                </a:cubicBezTo>
                <a:lnTo>
                  <a:pt x="6536" y="717"/>
                </a:lnTo>
                <a:lnTo>
                  <a:pt x="6536" y="716"/>
                </a:lnTo>
                <a:lnTo>
                  <a:pt x="6533" y="718"/>
                </a:lnTo>
                <a:cubicBezTo>
                  <a:pt x="6531" y="720"/>
                  <a:pt x="6529" y="722"/>
                  <a:pt x="6529" y="723"/>
                </a:cubicBezTo>
                <a:cubicBezTo>
                  <a:pt x="6529" y="723"/>
                  <a:pt x="6529" y="723"/>
                  <a:pt x="6530" y="723"/>
                </a:cubicBezTo>
                <a:close/>
                <a:moveTo>
                  <a:pt x="6538" y="714"/>
                </a:moveTo>
                <a:cubicBezTo>
                  <a:pt x="6539" y="714"/>
                  <a:pt x="6541" y="713"/>
                  <a:pt x="6543" y="710"/>
                </a:cubicBezTo>
                <a:cubicBezTo>
                  <a:pt x="6546" y="708"/>
                  <a:pt x="6547" y="706"/>
                  <a:pt x="6547" y="706"/>
                </a:cubicBezTo>
                <a:lnTo>
                  <a:pt x="6546" y="705"/>
                </a:lnTo>
                <a:cubicBezTo>
                  <a:pt x="6545" y="705"/>
                  <a:pt x="6544" y="707"/>
                  <a:pt x="6542" y="709"/>
                </a:cubicBezTo>
                <a:cubicBezTo>
                  <a:pt x="6539" y="712"/>
                  <a:pt x="6538" y="714"/>
                  <a:pt x="6538" y="714"/>
                </a:cubicBezTo>
                <a:close/>
                <a:moveTo>
                  <a:pt x="6549" y="703"/>
                </a:moveTo>
                <a:cubicBezTo>
                  <a:pt x="6550" y="703"/>
                  <a:pt x="6552" y="701"/>
                  <a:pt x="6554" y="698"/>
                </a:cubicBezTo>
                <a:cubicBezTo>
                  <a:pt x="6556" y="696"/>
                  <a:pt x="6557" y="694"/>
                  <a:pt x="6557" y="694"/>
                </a:cubicBezTo>
                <a:cubicBezTo>
                  <a:pt x="6556" y="694"/>
                  <a:pt x="6554" y="695"/>
                  <a:pt x="6552" y="698"/>
                </a:cubicBezTo>
                <a:cubicBezTo>
                  <a:pt x="6550" y="700"/>
                  <a:pt x="6549" y="702"/>
                  <a:pt x="6549" y="702"/>
                </a:cubicBezTo>
                <a:lnTo>
                  <a:pt x="6549" y="703"/>
                </a:lnTo>
                <a:close/>
                <a:moveTo>
                  <a:pt x="6576" y="652"/>
                </a:moveTo>
                <a:cubicBezTo>
                  <a:pt x="6576" y="652"/>
                  <a:pt x="6577" y="652"/>
                  <a:pt x="6578" y="650"/>
                </a:cubicBezTo>
                <a:lnTo>
                  <a:pt x="6579" y="649"/>
                </a:lnTo>
                <a:cubicBezTo>
                  <a:pt x="6579" y="648"/>
                  <a:pt x="6578" y="648"/>
                  <a:pt x="6577" y="648"/>
                </a:cubicBezTo>
                <a:cubicBezTo>
                  <a:pt x="6576" y="648"/>
                  <a:pt x="6575" y="649"/>
                  <a:pt x="6575" y="650"/>
                </a:cubicBezTo>
                <a:cubicBezTo>
                  <a:pt x="6575" y="652"/>
                  <a:pt x="6575" y="652"/>
                  <a:pt x="6576" y="652"/>
                </a:cubicBezTo>
                <a:close/>
                <a:moveTo>
                  <a:pt x="6591" y="682"/>
                </a:moveTo>
                <a:cubicBezTo>
                  <a:pt x="6591" y="682"/>
                  <a:pt x="6592" y="681"/>
                  <a:pt x="6593" y="679"/>
                </a:cubicBezTo>
                <a:lnTo>
                  <a:pt x="6593" y="677"/>
                </a:lnTo>
                <a:cubicBezTo>
                  <a:pt x="6593" y="677"/>
                  <a:pt x="6593" y="676"/>
                  <a:pt x="6593" y="676"/>
                </a:cubicBezTo>
                <a:cubicBezTo>
                  <a:pt x="6593" y="676"/>
                  <a:pt x="6592" y="676"/>
                  <a:pt x="6592" y="677"/>
                </a:cubicBezTo>
                <a:cubicBezTo>
                  <a:pt x="6591" y="677"/>
                  <a:pt x="6591" y="678"/>
                  <a:pt x="6591" y="678"/>
                </a:cubicBezTo>
                <a:cubicBezTo>
                  <a:pt x="6590" y="679"/>
                  <a:pt x="6590" y="679"/>
                  <a:pt x="6590" y="680"/>
                </a:cubicBezTo>
                <a:cubicBezTo>
                  <a:pt x="6590" y="681"/>
                  <a:pt x="6590" y="682"/>
                  <a:pt x="6591" y="682"/>
                </a:cubicBezTo>
                <a:close/>
                <a:moveTo>
                  <a:pt x="6530" y="505"/>
                </a:moveTo>
                <a:cubicBezTo>
                  <a:pt x="6531" y="505"/>
                  <a:pt x="6531" y="504"/>
                  <a:pt x="6532" y="502"/>
                </a:cubicBezTo>
                <a:cubicBezTo>
                  <a:pt x="6533" y="501"/>
                  <a:pt x="6534" y="500"/>
                  <a:pt x="6536" y="500"/>
                </a:cubicBezTo>
                <a:lnTo>
                  <a:pt x="6537" y="501"/>
                </a:lnTo>
                <a:cubicBezTo>
                  <a:pt x="6537" y="499"/>
                  <a:pt x="6537" y="498"/>
                  <a:pt x="6535" y="498"/>
                </a:cubicBezTo>
                <a:cubicBezTo>
                  <a:pt x="6534" y="498"/>
                  <a:pt x="6533" y="499"/>
                  <a:pt x="6532" y="500"/>
                </a:cubicBezTo>
                <a:cubicBezTo>
                  <a:pt x="6529" y="500"/>
                  <a:pt x="6528" y="502"/>
                  <a:pt x="6528" y="503"/>
                </a:cubicBezTo>
                <a:cubicBezTo>
                  <a:pt x="6529" y="504"/>
                  <a:pt x="6529" y="505"/>
                  <a:pt x="6530" y="505"/>
                </a:cubicBezTo>
                <a:close/>
                <a:moveTo>
                  <a:pt x="6449" y="758"/>
                </a:moveTo>
                <a:cubicBezTo>
                  <a:pt x="6452" y="758"/>
                  <a:pt x="6457" y="756"/>
                  <a:pt x="6464" y="752"/>
                </a:cubicBezTo>
                <a:cubicBezTo>
                  <a:pt x="6478" y="745"/>
                  <a:pt x="6497" y="730"/>
                  <a:pt x="6519" y="708"/>
                </a:cubicBezTo>
                <a:cubicBezTo>
                  <a:pt x="6524" y="703"/>
                  <a:pt x="6529" y="698"/>
                  <a:pt x="6533" y="695"/>
                </a:cubicBezTo>
                <a:lnTo>
                  <a:pt x="6541" y="691"/>
                </a:lnTo>
                <a:lnTo>
                  <a:pt x="6542" y="691"/>
                </a:lnTo>
                <a:lnTo>
                  <a:pt x="6541" y="689"/>
                </a:lnTo>
                <a:cubicBezTo>
                  <a:pt x="6541" y="688"/>
                  <a:pt x="6542" y="687"/>
                  <a:pt x="6544" y="683"/>
                </a:cubicBezTo>
                <a:cubicBezTo>
                  <a:pt x="6546" y="681"/>
                  <a:pt x="6549" y="677"/>
                  <a:pt x="6552" y="674"/>
                </a:cubicBezTo>
                <a:lnTo>
                  <a:pt x="6572" y="651"/>
                </a:lnTo>
                <a:cubicBezTo>
                  <a:pt x="6576" y="645"/>
                  <a:pt x="6579" y="643"/>
                  <a:pt x="6581" y="643"/>
                </a:cubicBezTo>
                <a:lnTo>
                  <a:pt x="6583" y="643"/>
                </a:lnTo>
                <a:cubicBezTo>
                  <a:pt x="6583" y="643"/>
                  <a:pt x="6583" y="643"/>
                  <a:pt x="6583" y="643"/>
                </a:cubicBezTo>
                <a:lnTo>
                  <a:pt x="6583" y="641"/>
                </a:lnTo>
                <a:cubicBezTo>
                  <a:pt x="6583" y="639"/>
                  <a:pt x="6585" y="636"/>
                  <a:pt x="6590" y="630"/>
                </a:cubicBezTo>
                <a:cubicBezTo>
                  <a:pt x="6593" y="627"/>
                  <a:pt x="6595" y="625"/>
                  <a:pt x="6595" y="625"/>
                </a:cubicBezTo>
                <a:lnTo>
                  <a:pt x="6593" y="630"/>
                </a:lnTo>
                <a:lnTo>
                  <a:pt x="6596" y="626"/>
                </a:lnTo>
                <a:cubicBezTo>
                  <a:pt x="6599" y="624"/>
                  <a:pt x="6600" y="622"/>
                  <a:pt x="6600" y="619"/>
                </a:cubicBezTo>
                <a:cubicBezTo>
                  <a:pt x="6600" y="617"/>
                  <a:pt x="6601" y="615"/>
                  <a:pt x="6603" y="615"/>
                </a:cubicBezTo>
                <a:cubicBezTo>
                  <a:pt x="6604" y="615"/>
                  <a:pt x="6605" y="615"/>
                  <a:pt x="6605" y="613"/>
                </a:cubicBezTo>
                <a:cubicBezTo>
                  <a:pt x="6605" y="612"/>
                  <a:pt x="6606" y="610"/>
                  <a:pt x="6607" y="606"/>
                </a:cubicBezTo>
                <a:cubicBezTo>
                  <a:pt x="6613" y="591"/>
                  <a:pt x="6616" y="573"/>
                  <a:pt x="6616" y="553"/>
                </a:cubicBezTo>
                <a:cubicBezTo>
                  <a:pt x="6616" y="544"/>
                  <a:pt x="6615" y="538"/>
                  <a:pt x="6613" y="533"/>
                </a:cubicBezTo>
                <a:cubicBezTo>
                  <a:pt x="6611" y="529"/>
                  <a:pt x="6609" y="525"/>
                  <a:pt x="6606" y="522"/>
                </a:cubicBezTo>
                <a:cubicBezTo>
                  <a:pt x="6603" y="520"/>
                  <a:pt x="6600" y="519"/>
                  <a:pt x="6598" y="519"/>
                </a:cubicBezTo>
                <a:cubicBezTo>
                  <a:pt x="6596" y="519"/>
                  <a:pt x="6596" y="519"/>
                  <a:pt x="6595" y="520"/>
                </a:cubicBezTo>
                <a:cubicBezTo>
                  <a:pt x="6594" y="520"/>
                  <a:pt x="6594" y="521"/>
                  <a:pt x="6593" y="521"/>
                </a:cubicBezTo>
                <a:cubicBezTo>
                  <a:pt x="6592" y="521"/>
                  <a:pt x="6592" y="520"/>
                  <a:pt x="6591" y="518"/>
                </a:cubicBezTo>
                <a:cubicBezTo>
                  <a:pt x="6590" y="516"/>
                  <a:pt x="6588" y="515"/>
                  <a:pt x="6585" y="515"/>
                </a:cubicBezTo>
                <a:cubicBezTo>
                  <a:pt x="6583" y="515"/>
                  <a:pt x="6582" y="516"/>
                  <a:pt x="6581" y="517"/>
                </a:cubicBezTo>
                <a:cubicBezTo>
                  <a:pt x="6580" y="518"/>
                  <a:pt x="6579" y="518"/>
                  <a:pt x="6577" y="518"/>
                </a:cubicBezTo>
                <a:lnTo>
                  <a:pt x="6576" y="518"/>
                </a:lnTo>
                <a:cubicBezTo>
                  <a:pt x="6575" y="518"/>
                  <a:pt x="6574" y="518"/>
                  <a:pt x="6573" y="519"/>
                </a:cubicBezTo>
                <a:cubicBezTo>
                  <a:pt x="6569" y="522"/>
                  <a:pt x="6567" y="523"/>
                  <a:pt x="6566" y="523"/>
                </a:cubicBezTo>
                <a:cubicBezTo>
                  <a:pt x="6566" y="523"/>
                  <a:pt x="6566" y="523"/>
                  <a:pt x="6566" y="523"/>
                </a:cubicBezTo>
                <a:cubicBezTo>
                  <a:pt x="6566" y="523"/>
                  <a:pt x="6564" y="524"/>
                  <a:pt x="6561" y="527"/>
                </a:cubicBezTo>
                <a:cubicBezTo>
                  <a:pt x="6559" y="529"/>
                  <a:pt x="6557" y="531"/>
                  <a:pt x="6555" y="531"/>
                </a:cubicBezTo>
                <a:cubicBezTo>
                  <a:pt x="6554" y="531"/>
                  <a:pt x="6549" y="534"/>
                  <a:pt x="6543" y="541"/>
                </a:cubicBezTo>
                <a:cubicBezTo>
                  <a:pt x="6527" y="556"/>
                  <a:pt x="6514" y="572"/>
                  <a:pt x="6504" y="586"/>
                </a:cubicBezTo>
                <a:cubicBezTo>
                  <a:pt x="6500" y="591"/>
                  <a:pt x="6496" y="598"/>
                  <a:pt x="6490" y="608"/>
                </a:cubicBezTo>
                <a:cubicBezTo>
                  <a:pt x="6475" y="635"/>
                  <a:pt x="6468" y="650"/>
                  <a:pt x="6468" y="653"/>
                </a:cubicBezTo>
                <a:cubicBezTo>
                  <a:pt x="6468" y="654"/>
                  <a:pt x="6467" y="655"/>
                  <a:pt x="6466" y="655"/>
                </a:cubicBezTo>
                <a:cubicBezTo>
                  <a:pt x="6465" y="655"/>
                  <a:pt x="6465" y="655"/>
                  <a:pt x="6465" y="656"/>
                </a:cubicBezTo>
                <a:lnTo>
                  <a:pt x="6465" y="657"/>
                </a:lnTo>
                <a:cubicBezTo>
                  <a:pt x="6465" y="658"/>
                  <a:pt x="6465" y="659"/>
                  <a:pt x="6464" y="660"/>
                </a:cubicBezTo>
                <a:cubicBezTo>
                  <a:pt x="6463" y="661"/>
                  <a:pt x="6462" y="663"/>
                  <a:pt x="6462" y="666"/>
                </a:cubicBezTo>
                <a:cubicBezTo>
                  <a:pt x="6462" y="669"/>
                  <a:pt x="6461" y="671"/>
                  <a:pt x="6460" y="671"/>
                </a:cubicBezTo>
                <a:cubicBezTo>
                  <a:pt x="6459" y="671"/>
                  <a:pt x="6459" y="671"/>
                  <a:pt x="6459" y="673"/>
                </a:cubicBezTo>
                <a:cubicBezTo>
                  <a:pt x="6457" y="677"/>
                  <a:pt x="6456" y="681"/>
                  <a:pt x="6455" y="683"/>
                </a:cubicBezTo>
                <a:cubicBezTo>
                  <a:pt x="6454" y="686"/>
                  <a:pt x="6454" y="688"/>
                  <a:pt x="6453" y="689"/>
                </a:cubicBezTo>
                <a:cubicBezTo>
                  <a:pt x="6452" y="691"/>
                  <a:pt x="6450" y="696"/>
                  <a:pt x="6449" y="703"/>
                </a:cubicBezTo>
                <a:cubicBezTo>
                  <a:pt x="6444" y="723"/>
                  <a:pt x="6442" y="736"/>
                  <a:pt x="6442" y="741"/>
                </a:cubicBezTo>
                <a:cubicBezTo>
                  <a:pt x="6442" y="752"/>
                  <a:pt x="6444" y="758"/>
                  <a:pt x="6448" y="758"/>
                </a:cubicBezTo>
                <a:lnTo>
                  <a:pt x="6449" y="758"/>
                </a:lnTo>
                <a:close/>
                <a:moveTo>
                  <a:pt x="6517" y="577"/>
                </a:moveTo>
                <a:lnTo>
                  <a:pt x="6516" y="576"/>
                </a:lnTo>
                <a:cubicBezTo>
                  <a:pt x="6516" y="576"/>
                  <a:pt x="6517" y="574"/>
                  <a:pt x="6520" y="572"/>
                </a:cubicBezTo>
                <a:cubicBezTo>
                  <a:pt x="6522" y="569"/>
                  <a:pt x="6524" y="568"/>
                  <a:pt x="6524" y="568"/>
                </a:cubicBezTo>
                <a:cubicBezTo>
                  <a:pt x="6524" y="568"/>
                  <a:pt x="6524" y="570"/>
                  <a:pt x="6522" y="572"/>
                </a:cubicBezTo>
                <a:cubicBezTo>
                  <a:pt x="6519" y="576"/>
                  <a:pt x="6518" y="577"/>
                  <a:pt x="6517" y="577"/>
                </a:cubicBezTo>
                <a:close/>
                <a:moveTo>
                  <a:pt x="6536" y="750"/>
                </a:moveTo>
                <a:lnTo>
                  <a:pt x="6536" y="750"/>
                </a:lnTo>
                <a:cubicBezTo>
                  <a:pt x="6536" y="748"/>
                  <a:pt x="6543" y="739"/>
                  <a:pt x="6559" y="723"/>
                </a:cubicBezTo>
                <a:cubicBezTo>
                  <a:pt x="6575" y="705"/>
                  <a:pt x="6584" y="696"/>
                  <a:pt x="6585" y="696"/>
                </a:cubicBezTo>
                <a:lnTo>
                  <a:pt x="6585" y="696"/>
                </a:lnTo>
                <a:cubicBezTo>
                  <a:pt x="6585" y="697"/>
                  <a:pt x="6583" y="700"/>
                  <a:pt x="6578" y="706"/>
                </a:cubicBezTo>
                <a:cubicBezTo>
                  <a:pt x="6573" y="712"/>
                  <a:pt x="6571" y="715"/>
                  <a:pt x="6571" y="717"/>
                </a:cubicBezTo>
                <a:cubicBezTo>
                  <a:pt x="6571" y="718"/>
                  <a:pt x="6570" y="718"/>
                  <a:pt x="6569" y="718"/>
                </a:cubicBezTo>
                <a:lnTo>
                  <a:pt x="6569" y="718"/>
                </a:lnTo>
                <a:cubicBezTo>
                  <a:pt x="6567" y="718"/>
                  <a:pt x="6565" y="720"/>
                  <a:pt x="6563" y="723"/>
                </a:cubicBezTo>
                <a:cubicBezTo>
                  <a:pt x="6560" y="725"/>
                  <a:pt x="6559" y="727"/>
                  <a:pt x="6559" y="728"/>
                </a:cubicBezTo>
                <a:lnTo>
                  <a:pt x="6559" y="728"/>
                </a:lnTo>
                <a:cubicBezTo>
                  <a:pt x="6559" y="729"/>
                  <a:pt x="6558" y="730"/>
                  <a:pt x="6556" y="732"/>
                </a:cubicBezTo>
                <a:cubicBezTo>
                  <a:pt x="6553" y="734"/>
                  <a:pt x="6552" y="736"/>
                  <a:pt x="6552" y="737"/>
                </a:cubicBezTo>
                <a:lnTo>
                  <a:pt x="6552" y="738"/>
                </a:lnTo>
                <a:cubicBezTo>
                  <a:pt x="6552" y="739"/>
                  <a:pt x="6551" y="740"/>
                  <a:pt x="6549" y="742"/>
                </a:cubicBezTo>
                <a:cubicBezTo>
                  <a:pt x="6547" y="745"/>
                  <a:pt x="6546" y="746"/>
                  <a:pt x="6545" y="746"/>
                </a:cubicBezTo>
                <a:cubicBezTo>
                  <a:pt x="6545" y="746"/>
                  <a:pt x="6545" y="745"/>
                  <a:pt x="6545" y="745"/>
                </a:cubicBezTo>
                <a:cubicBezTo>
                  <a:pt x="6545" y="745"/>
                  <a:pt x="6544" y="745"/>
                  <a:pt x="6544" y="745"/>
                </a:cubicBezTo>
                <a:cubicBezTo>
                  <a:pt x="6544" y="745"/>
                  <a:pt x="6542" y="746"/>
                  <a:pt x="6541" y="747"/>
                </a:cubicBezTo>
                <a:cubicBezTo>
                  <a:pt x="6539" y="749"/>
                  <a:pt x="6537" y="750"/>
                  <a:pt x="6536" y="750"/>
                </a:cubicBezTo>
                <a:close/>
                <a:moveTo>
                  <a:pt x="6545" y="743"/>
                </a:moveTo>
                <a:cubicBezTo>
                  <a:pt x="6546" y="743"/>
                  <a:pt x="6547" y="742"/>
                  <a:pt x="6548" y="742"/>
                </a:cubicBezTo>
                <a:cubicBezTo>
                  <a:pt x="6549" y="740"/>
                  <a:pt x="6550" y="739"/>
                  <a:pt x="6550" y="738"/>
                </a:cubicBezTo>
                <a:lnTo>
                  <a:pt x="6549" y="737"/>
                </a:lnTo>
                <a:cubicBezTo>
                  <a:pt x="6548" y="737"/>
                  <a:pt x="6547" y="738"/>
                  <a:pt x="6546" y="739"/>
                </a:cubicBezTo>
                <a:cubicBezTo>
                  <a:pt x="6545" y="740"/>
                  <a:pt x="6545" y="741"/>
                  <a:pt x="6545" y="742"/>
                </a:cubicBezTo>
                <a:cubicBezTo>
                  <a:pt x="6545" y="743"/>
                  <a:pt x="6545" y="743"/>
                  <a:pt x="6545" y="743"/>
                </a:cubicBezTo>
                <a:close/>
                <a:moveTo>
                  <a:pt x="6470" y="797"/>
                </a:moveTo>
                <a:cubicBezTo>
                  <a:pt x="6468" y="797"/>
                  <a:pt x="6466" y="796"/>
                  <a:pt x="6466" y="795"/>
                </a:cubicBezTo>
                <a:lnTo>
                  <a:pt x="6465" y="794"/>
                </a:lnTo>
                <a:cubicBezTo>
                  <a:pt x="6465" y="794"/>
                  <a:pt x="6466" y="794"/>
                  <a:pt x="6467" y="793"/>
                </a:cubicBezTo>
                <a:cubicBezTo>
                  <a:pt x="6468" y="792"/>
                  <a:pt x="6470" y="792"/>
                  <a:pt x="6472" y="792"/>
                </a:cubicBezTo>
                <a:cubicBezTo>
                  <a:pt x="6474" y="792"/>
                  <a:pt x="6475" y="792"/>
                  <a:pt x="6475" y="793"/>
                </a:cubicBezTo>
                <a:cubicBezTo>
                  <a:pt x="6475" y="794"/>
                  <a:pt x="6475" y="794"/>
                  <a:pt x="6476" y="794"/>
                </a:cubicBezTo>
                <a:lnTo>
                  <a:pt x="6477" y="792"/>
                </a:lnTo>
                <a:cubicBezTo>
                  <a:pt x="6478" y="791"/>
                  <a:pt x="6479" y="791"/>
                  <a:pt x="6480" y="791"/>
                </a:cubicBezTo>
                <a:lnTo>
                  <a:pt x="6482" y="791"/>
                </a:lnTo>
                <a:cubicBezTo>
                  <a:pt x="6483" y="791"/>
                  <a:pt x="6484" y="791"/>
                  <a:pt x="6484" y="789"/>
                </a:cubicBezTo>
                <a:cubicBezTo>
                  <a:pt x="6484" y="788"/>
                  <a:pt x="6485" y="787"/>
                  <a:pt x="6489" y="786"/>
                </a:cubicBezTo>
                <a:cubicBezTo>
                  <a:pt x="6492" y="784"/>
                  <a:pt x="6494" y="783"/>
                  <a:pt x="6494" y="781"/>
                </a:cubicBezTo>
                <a:lnTo>
                  <a:pt x="6493" y="779"/>
                </a:lnTo>
                <a:cubicBezTo>
                  <a:pt x="6493" y="779"/>
                  <a:pt x="6493" y="779"/>
                  <a:pt x="6493" y="779"/>
                </a:cubicBezTo>
                <a:cubicBezTo>
                  <a:pt x="6494" y="779"/>
                  <a:pt x="6495" y="780"/>
                  <a:pt x="6497" y="783"/>
                </a:cubicBezTo>
                <a:cubicBezTo>
                  <a:pt x="6497" y="784"/>
                  <a:pt x="6498" y="785"/>
                  <a:pt x="6498" y="786"/>
                </a:cubicBezTo>
                <a:cubicBezTo>
                  <a:pt x="6498" y="788"/>
                  <a:pt x="6496" y="789"/>
                  <a:pt x="6493" y="791"/>
                </a:cubicBezTo>
                <a:cubicBezTo>
                  <a:pt x="6489" y="793"/>
                  <a:pt x="6485" y="794"/>
                  <a:pt x="6481" y="795"/>
                </a:cubicBezTo>
                <a:cubicBezTo>
                  <a:pt x="6477" y="796"/>
                  <a:pt x="6473" y="797"/>
                  <a:pt x="6470" y="797"/>
                </a:cubicBezTo>
                <a:close/>
                <a:moveTo>
                  <a:pt x="6486" y="792"/>
                </a:moveTo>
                <a:lnTo>
                  <a:pt x="6490" y="790"/>
                </a:lnTo>
                <a:cubicBezTo>
                  <a:pt x="6495" y="787"/>
                  <a:pt x="6497" y="786"/>
                  <a:pt x="6497" y="785"/>
                </a:cubicBezTo>
                <a:lnTo>
                  <a:pt x="6497" y="785"/>
                </a:lnTo>
                <a:cubicBezTo>
                  <a:pt x="6495" y="785"/>
                  <a:pt x="6492" y="786"/>
                  <a:pt x="6489" y="789"/>
                </a:cubicBezTo>
                <a:cubicBezTo>
                  <a:pt x="6487" y="791"/>
                  <a:pt x="6486" y="791"/>
                  <a:pt x="6486" y="792"/>
                </a:cubicBezTo>
                <a:close/>
                <a:moveTo>
                  <a:pt x="6558" y="716"/>
                </a:moveTo>
                <a:lnTo>
                  <a:pt x="6557" y="716"/>
                </a:lnTo>
                <a:cubicBezTo>
                  <a:pt x="6557" y="715"/>
                  <a:pt x="6559" y="714"/>
                  <a:pt x="6561" y="711"/>
                </a:cubicBezTo>
                <a:cubicBezTo>
                  <a:pt x="6563" y="709"/>
                  <a:pt x="6565" y="707"/>
                  <a:pt x="6566" y="707"/>
                </a:cubicBezTo>
                <a:cubicBezTo>
                  <a:pt x="6566" y="708"/>
                  <a:pt x="6565" y="710"/>
                  <a:pt x="6563" y="712"/>
                </a:cubicBezTo>
                <a:cubicBezTo>
                  <a:pt x="6561" y="715"/>
                  <a:pt x="6559" y="716"/>
                  <a:pt x="6558" y="716"/>
                </a:cubicBezTo>
                <a:close/>
                <a:moveTo>
                  <a:pt x="6502" y="784"/>
                </a:moveTo>
                <a:lnTo>
                  <a:pt x="6503" y="782"/>
                </a:lnTo>
                <a:cubicBezTo>
                  <a:pt x="6504" y="780"/>
                  <a:pt x="6505" y="779"/>
                  <a:pt x="6505" y="779"/>
                </a:cubicBezTo>
                <a:lnTo>
                  <a:pt x="6505" y="779"/>
                </a:lnTo>
                <a:lnTo>
                  <a:pt x="6500" y="780"/>
                </a:lnTo>
                <a:lnTo>
                  <a:pt x="6500" y="780"/>
                </a:lnTo>
                <a:lnTo>
                  <a:pt x="6500" y="779"/>
                </a:lnTo>
                <a:cubicBezTo>
                  <a:pt x="6519" y="761"/>
                  <a:pt x="6529" y="752"/>
                  <a:pt x="6531" y="752"/>
                </a:cubicBezTo>
                <a:lnTo>
                  <a:pt x="6531" y="753"/>
                </a:lnTo>
                <a:cubicBezTo>
                  <a:pt x="6531" y="754"/>
                  <a:pt x="6531" y="756"/>
                  <a:pt x="6529" y="757"/>
                </a:cubicBezTo>
                <a:cubicBezTo>
                  <a:pt x="6528" y="757"/>
                  <a:pt x="6528" y="758"/>
                  <a:pt x="6528" y="759"/>
                </a:cubicBezTo>
                <a:lnTo>
                  <a:pt x="6528" y="760"/>
                </a:lnTo>
                <a:cubicBezTo>
                  <a:pt x="6528" y="762"/>
                  <a:pt x="6527" y="764"/>
                  <a:pt x="6524" y="767"/>
                </a:cubicBezTo>
                <a:cubicBezTo>
                  <a:pt x="6522" y="769"/>
                  <a:pt x="6520" y="770"/>
                  <a:pt x="6519" y="770"/>
                </a:cubicBezTo>
                <a:cubicBezTo>
                  <a:pt x="6519" y="770"/>
                  <a:pt x="6518" y="770"/>
                  <a:pt x="6518" y="769"/>
                </a:cubicBezTo>
                <a:cubicBezTo>
                  <a:pt x="6518" y="768"/>
                  <a:pt x="6518" y="767"/>
                  <a:pt x="6518" y="767"/>
                </a:cubicBezTo>
                <a:lnTo>
                  <a:pt x="6517" y="768"/>
                </a:lnTo>
                <a:cubicBezTo>
                  <a:pt x="6516" y="769"/>
                  <a:pt x="6515" y="771"/>
                  <a:pt x="6515" y="772"/>
                </a:cubicBezTo>
                <a:cubicBezTo>
                  <a:pt x="6515" y="773"/>
                  <a:pt x="6512" y="776"/>
                  <a:pt x="6508" y="781"/>
                </a:cubicBezTo>
                <a:cubicBezTo>
                  <a:pt x="6505" y="783"/>
                  <a:pt x="6503" y="784"/>
                  <a:pt x="6502" y="784"/>
                </a:cubicBezTo>
                <a:close/>
                <a:moveTo>
                  <a:pt x="6507" y="779"/>
                </a:moveTo>
                <a:cubicBezTo>
                  <a:pt x="6509" y="779"/>
                  <a:pt x="6511" y="777"/>
                  <a:pt x="6512" y="774"/>
                </a:cubicBezTo>
                <a:cubicBezTo>
                  <a:pt x="6513" y="773"/>
                  <a:pt x="6514" y="772"/>
                  <a:pt x="6514" y="772"/>
                </a:cubicBezTo>
                <a:lnTo>
                  <a:pt x="6514" y="772"/>
                </a:lnTo>
                <a:lnTo>
                  <a:pt x="6510" y="774"/>
                </a:lnTo>
                <a:cubicBezTo>
                  <a:pt x="6507" y="776"/>
                  <a:pt x="6505" y="777"/>
                  <a:pt x="6505" y="778"/>
                </a:cubicBezTo>
                <a:cubicBezTo>
                  <a:pt x="6505" y="778"/>
                  <a:pt x="6506" y="779"/>
                  <a:pt x="6507" y="779"/>
                </a:cubicBezTo>
                <a:close/>
                <a:moveTo>
                  <a:pt x="6520" y="767"/>
                </a:moveTo>
                <a:cubicBezTo>
                  <a:pt x="6522" y="767"/>
                  <a:pt x="6523" y="766"/>
                  <a:pt x="6525" y="763"/>
                </a:cubicBezTo>
                <a:lnTo>
                  <a:pt x="6527" y="761"/>
                </a:lnTo>
                <a:lnTo>
                  <a:pt x="6527" y="760"/>
                </a:lnTo>
                <a:cubicBezTo>
                  <a:pt x="6527" y="760"/>
                  <a:pt x="6525" y="761"/>
                  <a:pt x="6522" y="762"/>
                </a:cubicBezTo>
                <a:cubicBezTo>
                  <a:pt x="6520" y="764"/>
                  <a:pt x="6518" y="765"/>
                  <a:pt x="6518" y="767"/>
                </a:cubicBezTo>
                <a:cubicBezTo>
                  <a:pt x="6518" y="767"/>
                  <a:pt x="6519" y="767"/>
                  <a:pt x="6520" y="767"/>
                </a:cubicBezTo>
                <a:close/>
                <a:moveTo>
                  <a:pt x="6728" y="469"/>
                </a:moveTo>
                <a:lnTo>
                  <a:pt x="6728" y="468"/>
                </a:lnTo>
                <a:cubicBezTo>
                  <a:pt x="6728" y="467"/>
                  <a:pt x="6730" y="464"/>
                  <a:pt x="6733" y="460"/>
                </a:cubicBezTo>
                <a:cubicBezTo>
                  <a:pt x="6737" y="454"/>
                  <a:pt x="6739" y="451"/>
                  <a:pt x="6739" y="451"/>
                </a:cubicBezTo>
                <a:cubicBezTo>
                  <a:pt x="6739" y="452"/>
                  <a:pt x="6738" y="455"/>
                  <a:pt x="6735" y="460"/>
                </a:cubicBezTo>
                <a:cubicBezTo>
                  <a:pt x="6732" y="466"/>
                  <a:pt x="6729" y="469"/>
                  <a:pt x="6728" y="469"/>
                </a:cubicBezTo>
                <a:close/>
                <a:moveTo>
                  <a:pt x="6730" y="551"/>
                </a:moveTo>
                <a:lnTo>
                  <a:pt x="6730" y="551"/>
                </a:lnTo>
                <a:cubicBezTo>
                  <a:pt x="6730" y="551"/>
                  <a:pt x="6730" y="551"/>
                  <a:pt x="6730" y="550"/>
                </a:cubicBezTo>
                <a:lnTo>
                  <a:pt x="6730" y="548"/>
                </a:lnTo>
                <a:cubicBezTo>
                  <a:pt x="6730" y="546"/>
                  <a:pt x="6730" y="546"/>
                  <a:pt x="6730" y="546"/>
                </a:cubicBezTo>
                <a:lnTo>
                  <a:pt x="6730" y="546"/>
                </a:lnTo>
                <a:cubicBezTo>
                  <a:pt x="6731" y="547"/>
                  <a:pt x="6731" y="548"/>
                  <a:pt x="6731" y="549"/>
                </a:cubicBezTo>
                <a:cubicBezTo>
                  <a:pt x="6731" y="549"/>
                  <a:pt x="6731" y="550"/>
                  <a:pt x="6730" y="551"/>
                </a:cubicBezTo>
                <a:close/>
                <a:moveTo>
                  <a:pt x="6613" y="679"/>
                </a:moveTo>
                <a:cubicBezTo>
                  <a:pt x="6612" y="679"/>
                  <a:pt x="6611" y="679"/>
                  <a:pt x="6611" y="678"/>
                </a:cubicBezTo>
                <a:cubicBezTo>
                  <a:pt x="6611" y="677"/>
                  <a:pt x="6611" y="676"/>
                  <a:pt x="6612" y="674"/>
                </a:cubicBezTo>
                <a:cubicBezTo>
                  <a:pt x="6614" y="671"/>
                  <a:pt x="6615" y="669"/>
                  <a:pt x="6616" y="669"/>
                </a:cubicBezTo>
                <a:cubicBezTo>
                  <a:pt x="6616" y="669"/>
                  <a:pt x="6616" y="670"/>
                  <a:pt x="6617" y="671"/>
                </a:cubicBezTo>
                <a:cubicBezTo>
                  <a:pt x="6617" y="673"/>
                  <a:pt x="6618" y="674"/>
                  <a:pt x="6618" y="674"/>
                </a:cubicBezTo>
                <a:cubicBezTo>
                  <a:pt x="6618" y="674"/>
                  <a:pt x="6617" y="674"/>
                  <a:pt x="6617" y="674"/>
                </a:cubicBezTo>
                <a:lnTo>
                  <a:pt x="6614" y="674"/>
                </a:lnTo>
                <a:cubicBezTo>
                  <a:pt x="6614" y="674"/>
                  <a:pt x="6614" y="674"/>
                  <a:pt x="6614" y="674"/>
                </a:cubicBezTo>
                <a:lnTo>
                  <a:pt x="6614" y="677"/>
                </a:lnTo>
                <a:cubicBezTo>
                  <a:pt x="6614" y="679"/>
                  <a:pt x="6614" y="679"/>
                  <a:pt x="6613" y="679"/>
                </a:cubicBezTo>
                <a:close/>
                <a:moveTo>
                  <a:pt x="6726" y="562"/>
                </a:moveTo>
                <a:lnTo>
                  <a:pt x="6726" y="561"/>
                </a:lnTo>
                <a:lnTo>
                  <a:pt x="6726" y="558"/>
                </a:lnTo>
                <a:cubicBezTo>
                  <a:pt x="6727" y="556"/>
                  <a:pt x="6727" y="555"/>
                  <a:pt x="6728" y="555"/>
                </a:cubicBezTo>
                <a:cubicBezTo>
                  <a:pt x="6728" y="555"/>
                  <a:pt x="6728" y="556"/>
                  <a:pt x="6728" y="557"/>
                </a:cubicBezTo>
                <a:cubicBezTo>
                  <a:pt x="6728" y="558"/>
                  <a:pt x="6728" y="560"/>
                  <a:pt x="6728" y="561"/>
                </a:cubicBezTo>
                <a:cubicBezTo>
                  <a:pt x="6727" y="562"/>
                  <a:pt x="6727" y="562"/>
                  <a:pt x="6726" y="562"/>
                </a:cubicBezTo>
                <a:close/>
                <a:moveTo>
                  <a:pt x="6732" y="542"/>
                </a:moveTo>
                <a:cubicBezTo>
                  <a:pt x="6732" y="542"/>
                  <a:pt x="6732" y="541"/>
                  <a:pt x="6732" y="539"/>
                </a:cubicBezTo>
                <a:cubicBezTo>
                  <a:pt x="6732" y="537"/>
                  <a:pt x="6732" y="536"/>
                  <a:pt x="6732" y="536"/>
                </a:cubicBezTo>
                <a:cubicBezTo>
                  <a:pt x="6733" y="536"/>
                  <a:pt x="6733" y="538"/>
                  <a:pt x="6733" y="540"/>
                </a:cubicBezTo>
                <a:cubicBezTo>
                  <a:pt x="6733" y="541"/>
                  <a:pt x="6733" y="542"/>
                  <a:pt x="6732" y="542"/>
                </a:cubicBezTo>
                <a:close/>
                <a:moveTo>
                  <a:pt x="6710" y="525"/>
                </a:moveTo>
                <a:lnTo>
                  <a:pt x="6710" y="525"/>
                </a:lnTo>
                <a:cubicBezTo>
                  <a:pt x="6710" y="523"/>
                  <a:pt x="6712" y="520"/>
                  <a:pt x="6715" y="514"/>
                </a:cubicBezTo>
                <a:cubicBezTo>
                  <a:pt x="6723" y="503"/>
                  <a:pt x="6727" y="497"/>
                  <a:pt x="6728" y="497"/>
                </a:cubicBezTo>
                <a:lnTo>
                  <a:pt x="6725" y="502"/>
                </a:lnTo>
                <a:cubicBezTo>
                  <a:pt x="6722" y="507"/>
                  <a:pt x="6720" y="511"/>
                  <a:pt x="6720" y="512"/>
                </a:cubicBezTo>
                <a:cubicBezTo>
                  <a:pt x="6720" y="514"/>
                  <a:pt x="6720" y="515"/>
                  <a:pt x="6719" y="515"/>
                </a:cubicBezTo>
                <a:cubicBezTo>
                  <a:pt x="6718" y="515"/>
                  <a:pt x="6718" y="515"/>
                  <a:pt x="6717" y="516"/>
                </a:cubicBezTo>
                <a:cubicBezTo>
                  <a:pt x="6716" y="517"/>
                  <a:pt x="6715" y="518"/>
                  <a:pt x="6715" y="519"/>
                </a:cubicBezTo>
                <a:cubicBezTo>
                  <a:pt x="6714" y="522"/>
                  <a:pt x="6712" y="524"/>
                  <a:pt x="6710" y="525"/>
                </a:cubicBezTo>
                <a:close/>
                <a:moveTo>
                  <a:pt x="6735" y="650"/>
                </a:moveTo>
                <a:cubicBezTo>
                  <a:pt x="6734" y="650"/>
                  <a:pt x="6734" y="650"/>
                  <a:pt x="6734" y="650"/>
                </a:cubicBezTo>
                <a:cubicBezTo>
                  <a:pt x="6734" y="649"/>
                  <a:pt x="6734" y="648"/>
                  <a:pt x="6735" y="648"/>
                </a:cubicBezTo>
                <a:cubicBezTo>
                  <a:pt x="6736" y="646"/>
                  <a:pt x="6737" y="644"/>
                  <a:pt x="6737" y="642"/>
                </a:cubicBezTo>
                <a:lnTo>
                  <a:pt x="6736" y="634"/>
                </a:lnTo>
                <a:cubicBezTo>
                  <a:pt x="6736" y="632"/>
                  <a:pt x="6736" y="632"/>
                  <a:pt x="6737" y="632"/>
                </a:cubicBezTo>
                <a:lnTo>
                  <a:pt x="6738" y="632"/>
                </a:lnTo>
                <a:cubicBezTo>
                  <a:pt x="6739" y="634"/>
                  <a:pt x="6740" y="637"/>
                  <a:pt x="6740" y="639"/>
                </a:cubicBezTo>
                <a:cubicBezTo>
                  <a:pt x="6740" y="642"/>
                  <a:pt x="6740" y="644"/>
                  <a:pt x="6739" y="647"/>
                </a:cubicBezTo>
                <a:cubicBezTo>
                  <a:pt x="6738" y="649"/>
                  <a:pt x="6736" y="650"/>
                  <a:pt x="6735" y="650"/>
                </a:cubicBezTo>
                <a:close/>
                <a:moveTo>
                  <a:pt x="6704" y="506"/>
                </a:moveTo>
                <a:cubicBezTo>
                  <a:pt x="6704" y="505"/>
                  <a:pt x="6707" y="499"/>
                  <a:pt x="6714" y="488"/>
                </a:cubicBezTo>
                <a:lnTo>
                  <a:pt x="6722" y="476"/>
                </a:lnTo>
                <a:lnTo>
                  <a:pt x="6726" y="471"/>
                </a:lnTo>
                <a:cubicBezTo>
                  <a:pt x="6726" y="472"/>
                  <a:pt x="6723" y="478"/>
                  <a:pt x="6716" y="489"/>
                </a:cubicBezTo>
                <a:cubicBezTo>
                  <a:pt x="6709" y="500"/>
                  <a:pt x="6705" y="506"/>
                  <a:pt x="6704" y="506"/>
                </a:cubicBezTo>
                <a:close/>
                <a:moveTo>
                  <a:pt x="6657" y="602"/>
                </a:moveTo>
                <a:cubicBezTo>
                  <a:pt x="6656" y="602"/>
                  <a:pt x="6656" y="602"/>
                  <a:pt x="6656" y="602"/>
                </a:cubicBezTo>
                <a:cubicBezTo>
                  <a:pt x="6656" y="601"/>
                  <a:pt x="6657" y="600"/>
                  <a:pt x="6658" y="599"/>
                </a:cubicBezTo>
                <a:cubicBezTo>
                  <a:pt x="6658" y="598"/>
                  <a:pt x="6659" y="597"/>
                  <a:pt x="6659" y="596"/>
                </a:cubicBezTo>
                <a:cubicBezTo>
                  <a:pt x="6659" y="595"/>
                  <a:pt x="6658" y="595"/>
                  <a:pt x="6658" y="595"/>
                </a:cubicBezTo>
                <a:lnTo>
                  <a:pt x="6658" y="595"/>
                </a:lnTo>
                <a:cubicBezTo>
                  <a:pt x="6658" y="594"/>
                  <a:pt x="6658" y="593"/>
                  <a:pt x="6660" y="593"/>
                </a:cubicBezTo>
                <a:cubicBezTo>
                  <a:pt x="6662" y="592"/>
                  <a:pt x="6663" y="590"/>
                  <a:pt x="6663" y="589"/>
                </a:cubicBezTo>
                <a:lnTo>
                  <a:pt x="6662" y="588"/>
                </a:lnTo>
                <a:cubicBezTo>
                  <a:pt x="6662" y="587"/>
                  <a:pt x="6663" y="587"/>
                  <a:pt x="6663" y="587"/>
                </a:cubicBezTo>
                <a:lnTo>
                  <a:pt x="6667" y="588"/>
                </a:lnTo>
                <a:cubicBezTo>
                  <a:pt x="6668" y="588"/>
                  <a:pt x="6668" y="588"/>
                  <a:pt x="6668" y="588"/>
                </a:cubicBezTo>
                <a:lnTo>
                  <a:pt x="6667" y="585"/>
                </a:lnTo>
                <a:cubicBezTo>
                  <a:pt x="6667" y="584"/>
                  <a:pt x="6668" y="583"/>
                  <a:pt x="6668" y="582"/>
                </a:cubicBezTo>
                <a:cubicBezTo>
                  <a:pt x="6669" y="582"/>
                  <a:pt x="6670" y="581"/>
                  <a:pt x="6670" y="580"/>
                </a:cubicBezTo>
                <a:lnTo>
                  <a:pt x="6670" y="579"/>
                </a:lnTo>
                <a:cubicBezTo>
                  <a:pt x="6670" y="578"/>
                  <a:pt x="6672" y="577"/>
                  <a:pt x="6676" y="577"/>
                </a:cubicBezTo>
                <a:lnTo>
                  <a:pt x="6677" y="577"/>
                </a:lnTo>
                <a:cubicBezTo>
                  <a:pt x="6677" y="578"/>
                  <a:pt x="6676" y="579"/>
                  <a:pt x="6674" y="580"/>
                </a:cubicBezTo>
                <a:cubicBezTo>
                  <a:pt x="6671" y="583"/>
                  <a:pt x="6669" y="585"/>
                  <a:pt x="6669" y="586"/>
                </a:cubicBezTo>
                <a:cubicBezTo>
                  <a:pt x="6669" y="588"/>
                  <a:pt x="6668" y="589"/>
                  <a:pt x="6666" y="591"/>
                </a:cubicBezTo>
                <a:cubicBezTo>
                  <a:pt x="6663" y="593"/>
                  <a:pt x="6662" y="594"/>
                  <a:pt x="6662" y="595"/>
                </a:cubicBezTo>
                <a:cubicBezTo>
                  <a:pt x="6662" y="595"/>
                  <a:pt x="6663" y="595"/>
                  <a:pt x="6663" y="595"/>
                </a:cubicBezTo>
                <a:cubicBezTo>
                  <a:pt x="6663" y="595"/>
                  <a:pt x="6663" y="595"/>
                  <a:pt x="6663" y="595"/>
                </a:cubicBezTo>
                <a:cubicBezTo>
                  <a:pt x="6663" y="596"/>
                  <a:pt x="6663" y="598"/>
                  <a:pt x="6661" y="599"/>
                </a:cubicBezTo>
                <a:cubicBezTo>
                  <a:pt x="6660" y="601"/>
                  <a:pt x="6659" y="602"/>
                  <a:pt x="6657" y="602"/>
                </a:cubicBezTo>
                <a:close/>
                <a:moveTo>
                  <a:pt x="6646" y="617"/>
                </a:moveTo>
                <a:lnTo>
                  <a:pt x="6644" y="617"/>
                </a:lnTo>
                <a:cubicBezTo>
                  <a:pt x="6643" y="617"/>
                  <a:pt x="6642" y="617"/>
                  <a:pt x="6642" y="616"/>
                </a:cubicBezTo>
                <a:cubicBezTo>
                  <a:pt x="6642" y="614"/>
                  <a:pt x="6643" y="613"/>
                  <a:pt x="6644" y="613"/>
                </a:cubicBezTo>
                <a:lnTo>
                  <a:pt x="6648" y="613"/>
                </a:lnTo>
                <a:cubicBezTo>
                  <a:pt x="6649" y="613"/>
                  <a:pt x="6650" y="614"/>
                  <a:pt x="6650" y="614"/>
                </a:cubicBezTo>
                <a:cubicBezTo>
                  <a:pt x="6650" y="616"/>
                  <a:pt x="6648" y="617"/>
                  <a:pt x="6646" y="617"/>
                </a:cubicBezTo>
                <a:close/>
                <a:moveTo>
                  <a:pt x="6744" y="458"/>
                </a:moveTo>
                <a:cubicBezTo>
                  <a:pt x="6743" y="458"/>
                  <a:pt x="6742" y="457"/>
                  <a:pt x="6742" y="455"/>
                </a:cubicBezTo>
                <a:cubicBezTo>
                  <a:pt x="6742" y="454"/>
                  <a:pt x="6743" y="453"/>
                  <a:pt x="6744" y="453"/>
                </a:cubicBezTo>
                <a:cubicBezTo>
                  <a:pt x="6746" y="453"/>
                  <a:pt x="6747" y="454"/>
                  <a:pt x="6747" y="455"/>
                </a:cubicBezTo>
                <a:cubicBezTo>
                  <a:pt x="6747" y="457"/>
                  <a:pt x="6746" y="458"/>
                  <a:pt x="6744" y="458"/>
                </a:cubicBezTo>
                <a:close/>
                <a:moveTo>
                  <a:pt x="6632" y="645"/>
                </a:moveTo>
                <a:cubicBezTo>
                  <a:pt x="6631" y="645"/>
                  <a:pt x="6629" y="644"/>
                  <a:pt x="6626" y="641"/>
                </a:cubicBezTo>
                <a:cubicBezTo>
                  <a:pt x="6625" y="639"/>
                  <a:pt x="6624" y="638"/>
                  <a:pt x="6624" y="637"/>
                </a:cubicBezTo>
                <a:cubicBezTo>
                  <a:pt x="6624" y="636"/>
                  <a:pt x="6625" y="633"/>
                  <a:pt x="6627" y="630"/>
                </a:cubicBezTo>
                <a:cubicBezTo>
                  <a:pt x="6629" y="627"/>
                  <a:pt x="6630" y="625"/>
                  <a:pt x="6631" y="625"/>
                </a:cubicBezTo>
                <a:lnTo>
                  <a:pt x="6631" y="626"/>
                </a:lnTo>
                <a:cubicBezTo>
                  <a:pt x="6631" y="627"/>
                  <a:pt x="6631" y="629"/>
                  <a:pt x="6629" y="632"/>
                </a:cubicBezTo>
                <a:cubicBezTo>
                  <a:pt x="6629" y="633"/>
                  <a:pt x="6628" y="634"/>
                  <a:pt x="6628" y="635"/>
                </a:cubicBezTo>
                <a:cubicBezTo>
                  <a:pt x="6628" y="637"/>
                  <a:pt x="6629" y="637"/>
                  <a:pt x="6630" y="638"/>
                </a:cubicBezTo>
                <a:cubicBezTo>
                  <a:pt x="6631" y="639"/>
                  <a:pt x="6632" y="639"/>
                  <a:pt x="6632" y="639"/>
                </a:cubicBezTo>
                <a:cubicBezTo>
                  <a:pt x="6633" y="639"/>
                  <a:pt x="6633" y="639"/>
                  <a:pt x="6633" y="637"/>
                </a:cubicBezTo>
                <a:cubicBezTo>
                  <a:pt x="6633" y="636"/>
                  <a:pt x="6632" y="635"/>
                  <a:pt x="6631" y="635"/>
                </a:cubicBezTo>
                <a:lnTo>
                  <a:pt x="6630" y="636"/>
                </a:lnTo>
                <a:lnTo>
                  <a:pt x="6629" y="635"/>
                </a:lnTo>
                <a:lnTo>
                  <a:pt x="6630" y="634"/>
                </a:lnTo>
                <a:cubicBezTo>
                  <a:pt x="6631" y="633"/>
                  <a:pt x="6632" y="632"/>
                  <a:pt x="6632" y="632"/>
                </a:cubicBezTo>
                <a:cubicBezTo>
                  <a:pt x="6634" y="632"/>
                  <a:pt x="6635" y="634"/>
                  <a:pt x="6635" y="637"/>
                </a:cubicBezTo>
                <a:cubicBezTo>
                  <a:pt x="6635" y="637"/>
                  <a:pt x="6635" y="638"/>
                  <a:pt x="6634" y="639"/>
                </a:cubicBezTo>
                <a:cubicBezTo>
                  <a:pt x="6634" y="639"/>
                  <a:pt x="6634" y="641"/>
                  <a:pt x="6634" y="642"/>
                </a:cubicBezTo>
                <a:cubicBezTo>
                  <a:pt x="6634" y="642"/>
                  <a:pt x="6634" y="643"/>
                  <a:pt x="6633" y="644"/>
                </a:cubicBezTo>
                <a:cubicBezTo>
                  <a:pt x="6633" y="645"/>
                  <a:pt x="6633" y="645"/>
                  <a:pt x="6632" y="645"/>
                </a:cubicBezTo>
                <a:close/>
                <a:moveTo>
                  <a:pt x="6653" y="609"/>
                </a:moveTo>
                <a:cubicBezTo>
                  <a:pt x="6652" y="609"/>
                  <a:pt x="6651" y="608"/>
                  <a:pt x="6650" y="607"/>
                </a:cubicBezTo>
                <a:lnTo>
                  <a:pt x="6650" y="606"/>
                </a:lnTo>
                <a:cubicBezTo>
                  <a:pt x="6650" y="605"/>
                  <a:pt x="6650" y="605"/>
                  <a:pt x="6650" y="604"/>
                </a:cubicBezTo>
                <a:cubicBezTo>
                  <a:pt x="6650" y="604"/>
                  <a:pt x="6651" y="604"/>
                  <a:pt x="6651" y="603"/>
                </a:cubicBezTo>
                <a:lnTo>
                  <a:pt x="6652" y="602"/>
                </a:lnTo>
                <a:lnTo>
                  <a:pt x="6653" y="603"/>
                </a:lnTo>
                <a:lnTo>
                  <a:pt x="6652" y="604"/>
                </a:lnTo>
                <a:cubicBezTo>
                  <a:pt x="6652" y="605"/>
                  <a:pt x="6651" y="605"/>
                  <a:pt x="6651" y="606"/>
                </a:cubicBezTo>
                <a:cubicBezTo>
                  <a:pt x="6651" y="607"/>
                  <a:pt x="6652" y="607"/>
                  <a:pt x="6652" y="607"/>
                </a:cubicBezTo>
                <a:lnTo>
                  <a:pt x="6656" y="605"/>
                </a:lnTo>
                <a:lnTo>
                  <a:pt x="6657" y="606"/>
                </a:lnTo>
                <a:cubicBezTo>
                  <a:pt x="6657" y="606"/>
                  <a:pt x="6656" y="607"/>
                  <a:pt x="6656" y="607"/>
                </a:cubicBezTo>
                <a:cubicBezTo>
                  <a:pt x="6655" y="608"/>
                  <a:pt x="6654" y="609"/>
                  <a:pt x="6653" y="609"/>
                </a:cubicBezTo>
                <a:close/>
                <a:moveTo>
                  <a:pt x="6640" y="634"/>
                </a:moveTo>
                <a:cubicBezTo>
                  <a:pt x="6639" y="634"/>
                  <a:pt x="6639" y="634"/>
                  <a:pt x="6638" y="633"/>
                </a:cubicBezTo>
                <a:cubicBezTo>
                  <a:pt x="6637" y="632"/>
                  <a:pt x="6636" y="631"/>
                  <a:pt x="6635" y="630"/>
                </a:cubicBezTo>
                <a:cubicBezTo>
                  <a:pt x="6634" y="630"/>
                  <a:pt x="6634" y="628"/>
                  <a:pt x="6634" y="627"/>
                </a:cubicBezTo>
                <a:cubicBezTo>
                  <a:pt x="6634" y="626"/>
                  <a:pt x="6634" y="625"/>
                  <a:pt x="6635" y="624"/>
                </a:cubicBezTo>
                <a:cubicBezTo>
                  <a:pt x="6636" y="623"/>
                  <a:pt x="6637" y="623"/>
                  <a:pt x="6638" y="623"/>
                </a:cubicBezTo>
                <a:cubicBezTo>
                  <a:pt x="6641" y="623"/>
                  <a:pt x="6642" y="624"/>
                  <a:pt x="6642" y="626"/>
                </a:cubicBezTo>
                <a:cubicBezTo>
                  <a:pt x="6642" y="628"/>
                  <a:pt x="6642" y="629"/>
                  <a:pt x="6640" y="629"/>
                </a:cubicBezTo>
                <a:lnTo>
                  <a:pt x="6636" y="628"/>
                </a:lnTo>
                <a:cubicBezTo>
                  <a:pt x="6636" y="628"/>
                  <a:pt x="6637" y="629"/>
                  <a:pt x="6638" y="631"/>
                </a:cubicBezTo>
                <a:cubicBezTo>
                  <a:pt x="6639" y="632"/>
                  <a:pt x="6640" y="633"/>
                  <a:pt x="6640" y="634"/>
                </a:cubicBezTo>
                <a:close/>
                <a:moveTo>
                  <a:pt x="6740" y="630"/>
                </a:moveTo>
                <a:cubicBezTo>
                  <a:pt x="6740" y="630"/>
                  <a:pt x="6740" y="630"/>
                  <a:pt x="6740" y="629"/>
                </a:cubicBezTo>
                <a:cubicBezTo>
                  <a:pt x="6739" y="626"/>
                  <a:pt x="6738" y="623"/>
                  <a:pt x="6738" y="621"/>
                </a:cubicBezTo>
                <a:cubicBezTo>
                  <a:pt x="6738" y="620"/>
                  <a:pt x="6738" y="619"/>
                  <a:pt x="6739" y="619"/>
                </a:cubicBezTo>
                <a:lnTo>
                  <a:pt x="6741" y="620"/>
                </a:lnTo>
                <a:cubicBezTo>
                  <a:pt x="6741" y="620"/>
                  <a:pt x="6742" y="619"/>
                  <a:pt x="6742" y="618"/>
                </a:cubicBezTo>
                <a:lnTo>
                  <a:pt x="6740" y="610"/>
                </a:lnTo>
                <a:cubicBezTo>
                  <a:pt x="6740" y="607"/>
                  <a:pt x="6741" y="606"/>
                  <a:pt x="6742" y="605"/>
                </a:cubicBezTo>
                <a:cubicBezTo>
                  <a:pt x="6743" y="605"/>
                  <a:pt x="6743" y="604"/>
                  <a:pt x="6743" y="603"/>
                </a:cubicBezTo>
                <a:lnTo>
                  <a:pt x="6743" y="600"/>
                </a:lnTo>
                <a:cubicBezTo>
                  <a:pt x="6743" y="598"/>
                  <a:pt x="6743" y="597"/>
                  <a:pt x="6744" y="596"/>
                </a:cubicBezTo>
                <a:cubicBezTo>
                  <a:pt x="6745" y="595"/>
                  <a:pt x="6745" y="594"/>
                  <a:pt x="6745" y="592"/>
                </a:cubicBezTo>
                <a:lnTo>
                  <a:pt x="6745" y="584"/>
                </a:lnTo>
                <a:cubicBezTo>
                  <a:pt x="6745" y="584"/>
                  <a:pt x="6746" y="585"/>
                  <a:pt x="6747" y="588"/>
                </a:cubicBezTo>
                <a:cubicBezTo>
                  <a:pt x="6747" y="590"/>
                  <a:pt x="6748" y="593"/>
                  <a:pt x="6748" y="595"/>
                </a:cubicBezTo>
                <a:cubicBezTo>
                  <a:pt x="6748" y="599"/>
                  <a:pt x="6747" y="601"/>
                  <a:pt x="6747" y="604"/>
                </a:cubicBezTo>
                <a:cubicBezTo>
                  <a:pt x="6747" y="607"/>
                  <a:pt x="6746" y="608"/>
                  <a:pt x="6745" y="608"/>
                </a:cubicBezTo>
                <a:lnTo>
                  <a:pt x="6743" y="607"/>
                </a:lnTo>
                <a:cubicBezTo>
                  <a:pt x="6743" y="607"/>
                  <a:pt x="6742" y="607"/>
                  <a:pt x="6742" y="608"/>
                </a:cubicBezTo>
                <a:cubicBezTo>
                  <a:pt x="6742" y="609"/>
                  <a:pt x="6743" y="610"/>
                  <a:pt x="6743" y="611"/>
                </a:cubicBezTo>
                <a:cubicBezTo>
                  <a:pt x="6743" y="613"/>
                  <a:pt x="6743" y="614"/>
                  <a:pt x="6743" y="616"/>
                </a:cubicBezTo>
                <a:cubicBezTo>
                  <a:pt x="6743" y="618"/>
                  <a:pt x="6743" y="620"/>
                  <a:pt x="6743" y="622"/>
                </a:cubicBezTo>
                <a:cubicBezTo>
                  <a:pt x="6743" y="625"/>
                  <a:pt x="6742" y="627"/>
                  <a:pt x="6742" y="628"/>
                </a:cubicBezTo>
                <a:cubicBezTo>
                  <a:pt x="6741" y="630"/>
                  <a:pt x="6741" y="630"/>
                  <a:pt x="6740" y="630"/>
                </a:cubicBezTo>
                <a:close/>
                <a:moveTo>
                  <a:pt x="6746" y="451"/>
                </a:moveTo>
                <a:cubicBezTo>
                  <a:pt x="6745" y="451"/>
                  <a:pt x="6745" y="450"/>
                  <a:pt x="6745" y="450"/>
                </a:cubicBezTo>
                <a:cubicBezTo>
                  <a:pt x="6745" y="449"/>
                  <a:pt x="6745" y="448"/>
                  <a:pt x="6747" y="447"/>
                </a:cubicBezTo>
                <a:cubicBezTo>
                  <a:pt x="6747" y="446"/>
                  <a:pt x="6748" y="445"/>
                  <a:pt x="6748" y="444"/>
                </a:cubicBezTo>
                <a:cubicBezTo>
                  <a:pt x="6748" y="444"/>
                  <a:pt x="6747" y="443"/>
                  <a:pt x="6747" y="443"/>
                </a:cubicBezTo>
                <a:cubicBezTo>
                  <a:pt x="6746" y="443"/>
                  <a:pt x="6744" y="444"/>
                  <a:pt x="6742" y="446"/>
                </a:cubicBezTo>
                <a:lnTo>
                  <a:pt x="6742" y="447"/>
                </a:lnTo>
                <a:cubicBezTo>
                  <a:pt x="6742" y="446"/>
                  <a:pt x="6742" y="445"/>
                  <a:pt x="6743" y="443"/>
                </a:cubicBezTo>
                <a:cubicBezTo>
                  <a:pt x="6744" y="442"/>
                  <a:pt x="6745" y="440"/>
                  <a:pt x="6746" y="439"/>
                </a:cubicBezTo>
                <a:cubicBezTo>
                  <a:pt x="6747" y="438"/>
                  <a:pt x="6748" y="438"/>
                  <a:pt x="6748" y="438"/>
                </a:cubicBezTo>
                <a:lnTo>
                  <a:pt x="6749" y="438"/>
                </a:lnTo>
                <a:cubicBezTo>
                  <a:pt x="6750" y="438"/>
                  <a:pt x="6750" y="437"/>
                  <a:pt x="6750" y="436"/>
                </a:cubicBezTo>
                <a:cubicBezTo>
                  <a:pt x="6750" y="429"/>
                  <a:pt x="6751" y="426"/>
                  <a:pt x="6754" y="425"/>
                </a:cubicBezTo>
                <a:cubicBezTo>
                  <a:pt x="6754" y="425"/>
                  <a:pt x="6754" y="426"/>
                  <a:pt x="6754" y="427"/>
                </a:cubicBezTo>
                <a:lnTo>
                  <a:pt x="6754" y="431"/>
                </a:lnTo>
                <a:cubicBezTo>
                  <a:pt x="6754" y="432"/>
                  <a:pt x="6754" y="432"/>
                  <a:pt x="6755" y="432"/>
                </a:cubicBezTo>
                <a:cubicBezTo>
                  <a:pt x="6757" y="432"/>
                  <a:pt x="6758" y="431"/>
                  <a:pt x="6758" y="428"/>
                </a:cubicBezTo>
                <a:cubicBezTo>
                  <a:pt x="6758" y="427"/>
                  <a:pt x="6757" y="425"/>
                  <a:pt x="6756" y="424"/>
                </a:cubicBezTo>
                <a:cubicBezTo>
                  <a:pt x="6754" y="424"/>
                  <a:pt x="6753" y="423"/>
                  <a:pt x="6753" y="423"/>
                </a:cubicBezTo>
                <a:cubicBezTo>
                  <a:pt x="6753" y="422"/>
                  <a:pt x="6754" y="421"/>
                  <a:pt x="6756" y="419"/>
                </a:cubicBezTo>
                <a:cubicBezTo>
                  <a:pt x="6759" y="418"/>
                  <a:pt x="6760" y="416"/>
                  <a:pt x="6760" y="414"/>
                </a:cubicBezTo>
                <a:cubicBezTo>
                  <a:pt x="6760" y="412"/>
                  <a:pt x="6759" y="411"/>
                  <a:pt x="6757" y="410"/>
                </a:cubicBezTo>
                <a:cubicBezTo>
                  <a:pt x="6755" y="409"/>
                  <a:pt x="6754" y="408"/>
                  <a:pt x="6754" y="408"/>
                </a:cubicBezTo>
                <a:cubicBezTo>
                  <a:pt x="6754" y="407"/>
                  <a:pt x="6755" y="407"/>
                  <a:pt x="6757" y="407"/>
                </a:cubicBezTo>
                <a:cubicBezTo>
                  <a:pt x="6760" y="407"/>
                  <a:pt x="6761" y="408"/>
                  <a:pt x="6761" y="409"/>
                </a:cubicBezTo>
                <a:lnTo>
                  <a:pt x="6761" y="410"/>
                </a:lnTo>
                <a:cubicBezTo>
                  <a:pt x="6761" y="411"/>
                  <a:pt x="6761" y="412"/>
                  <a:pt x="6762" y="413"/>
                </a:cubicBezTo>
                <a:cubicBezTo>
                  <a:pt x="6763" y="413"/>
                  <a:pt x="6763" y="414"/>
                  <a:pt x="6763" y="415"/>
                </a:cubicBezTo>
                <a:cubicBezTo>
                  <a:pt x="6763" y="415"/>
                  <a:pt x="6762" y="416"/>
                  <a:pt x="6762" y="418"/>
                </a:cubicBezTo>
                <a:cubicBezTo>
                  <a:pt x="6761" y="419"/>
                  <a:pt x="6760" y="421"/>
                  <a:pt x="6760" y="422"/>
                </a:cubicBezTo>
                <a:lnTo>
                  <a:pt x="6760" y="424"/>
                </a:lnTo>
                <a:cubicBezTo>
                  <a:pt x="6760" y="426"/>
                  <a:pt x="6758" y="431"/>
                  <a:pt x="6755" y="437"/>
                </a:cubicBezTo>
                <a:cubicBezTo>
                  <a:pt x="6751" y="444"/>
                  <a:pt x="6749" y="448"/>
                  <a:pt x="6749" y="449"/>
                </a:cubicBezTo>
                <a:cubicBezTo>
                  <a:pt x="6749" y="450"/>
                  <a:pt x="6748" y="451"/>
                  <a:pt x="6746" y="451"/>
                </a:cubicBezTo>
                <a:close/>
                <a:moveTo>
                  <a:pt x="6678" y="574"/>
                </a:moveTo>
                <a:cubicBezTo>
                  <a:pt x="6678" y="574"/>
                  <a:pt x="6677" y="573"/>
                  <a:pt x="6677" y="573"/>
                </a:cubicBezTo>
                <a:lnTo>
                  <a:pt x="6677" y="572"/>
                </a:lnTo>
                <a:cubicBezTo>
                  <a:pt x="6679" y="568"/>
                  <a:pt x="6685" y="560"/>
                  <a:pt x="6693" y="547"/>
                </a:cubicBezTo>
                <a:cubicBezTo>
                  <a:pt x="6702" y="535"/>
                  <a:pt x="6707" y="529"/>
                  <a:pt x="6708" y="529"/>
                </a:cubicBezTo>
                <a:cubicBezTo>
                  <a:pt x="6709" y="529"/>
                  <a:pt x="6709" y="529"/>
                  <a:pt x="6709" y="529"/>
                </a:cubicBezTo>
                <a:cubicBezTo>
                  <a:pt x="6709" y="530"/>
                  <a:pt x="6708" y="530"/>
                  <a:pt x="6707" y="531"/>
                </a:cubicBezTo>
                <a:cubicBezTo>
                  <a:pt x="6705" y="533"/>
                  <a:pt x="6703" y="535"/>
                  <a:pt x="6703" y="537"/>
                </a:cubicBezTo>
                <a:cubicBezTo>
                  <a:pt x="6703" y="539"/>
                  <a:pt x="6702" y="540"/>
                  <a:pt x="6701" y="540"/>
                </a:cubicBezTo>
                <a:cubicBezTo>
                  <a:pt x="6700" y="540"/>
                  <a:pt x="6699" y="541"/>
                  <a:pt x="6699" y="544"/>
                </a:cubicBezTo>
                <a:cubicBezTo>
                  <a:pt x="6699" y="546"/>
                  <a:pt x="6698" y="547"/>
                  <a:pt x="6697" y="547"/>
                </a:cubicBezTo>
                <a:cubicBezTo>
                  <a:pt x="6695" y="547"/>
                  <a:pt x="6695" y="548"/>
                  <a:pt x="6695" y="551"/>
                </a:cubicBezTo>
                <a:cubicBezTo>
                  <a:pt x="6695" y="553"/>
                  <a:pt x="6693" y="555"/>
                  <a:pt x="6691" y="556"/>
                </a:cubicBezTo>
                <a:cubicBezTo>
                  <a:pt x="6689" y="556"/>
                  <a:pt x="6688" y="558"/>
                  <a:pt x="6688" y="560"/>
                </a:cubicBezTo>
                <a:cubicBezTo>
                  <a:pt x="6688" y="562"/>
                  <a:pt x="6687" y="563"/>
                  <a:pt x="6685" y="564"/>
                </a:cubicBezTo>
                <a:cubicBezTo>
                  <a:pt x="6682" y="566"/>
                  <a:pt x="6681" y="568"/>
                  <a:pt x="6681" y="569"/>
                </a:cubicBezTo>
                <a:cubicBezTo>
                  <a:pt x="6681" y="571"/>
                  <a:pt x="6680" y="573"/>
                  <a:pt x="6679" y="573"/>
                </a:cubicBezTo>
                <a:lnTo>
                  <a:pt x="6678" y="574"/>
                </a:lnTo>
                <a:close/>
                <a:moveTo>
                  <a:pt x="6730" y="493"/>
                </a:moveTo>
                <a:cubicBezTo>
                  <a:pt x="6730" y="493"/>
                  <a:pt x="6731" y="490"/>
                  <a:pt x="6734" y="485"/>
                </a:cubicBezTo>
                <a:lnTo>
                  <a:pt x="6738" y="479"/>
                </a:lnTo>
                <a:lnTo>
                  <a:pt x="6741" y="476"/>
                </a:lnTo>
                <a:cubicBezTo>
                  <a:pt x="6741" y="476"/>
                  <a:pt x="6742" y="476"/>
                  <a:pt x="6742" y="476"/>
                </a:cubicBezTo>
                <a:cubicBezTo>
                  <a:pt x="6742" y="477"/>
                  <a:pt x="6741" y="478"/>
                  <a:pt x="6740" y="479"/>
                </a:cubicBezTo>
                <a:cubicBezTo>
                  <a:pt x="6739" y="481"/>
                  <a:pt x="6738" y="482"/>
                  <a:pt x="6738" y="482"/>
                </a:cubicBezTo>
                <a:lnTo>
                  <a:pt x="6738" y="483"/>
                </a:lnTo>
                <a:cubicBezTo>
                  <a:pt x="6738" y="484"/>
                  <a:pt x="6738" y="485"/>
                  <a:pt x="6737" y="485"/>
                </a:cubicBezTo>
                <a:cubicBezTo>
                  <a:pt x="6733" y="491"/>
                  <a:pt x="6731" y="493"/>
                  <a:pt x="6730" y="493"/>
                </a:cubicBezTo>
                <a:close/>
                <a:moveTo>
                  <a:pt x="6735" y="659"/>
                </a:moveTo>
                <a:cubicBezTo>
                  <a:pt x="6734" y="659"/>
                  <a:pt x="6733" y="659"/>
                  <a:pt x="6733" y="657"/>
                </a:cubicBezTo>
                <a:cubicBezTo>
                  <a:pt x="6733" y="656"/>
                  <a:pt x="6733" y="656"/>
                  <a:pt x="6734" y="655"/>
                </a:cubicBezTo>
                <a:cubicBezTo>
                  <a:pt x="6735" y="654"/>
                  <a:pt x="6735" y="654"/>
                  <a:pt x="6736" y="654"/>
                </a:cubicBezTo>
                <a:cubicBezTo>
                  <a:pt x="6737" y="654"/>
                  <a:pt x="6737" y="654"/>
                  <a:pt x="6737" y="656"/>
                </a:cubicBezTo>
                <a:cubicBezTo>
                  <a:pt x="6737" y="658"/>
                  <a:pt x="6737" y="659"/>
                  <a:pt x="6735" y="659"/>
                </a:cubicBezTo>
                <a:close/>
                <a:moveTo>
                  <a:pt x="6790" y="311"/>
                </a:moveTo>
                <a:cubicBezTo>
                  <a:pt x="6790" y="311"/>
                  <a:pt x="6790" y="310"/>
                  <a:pt x="6790" y="308"/>
                </a:cubicBezTo>
                <a:cubicBezTo>
                  <a:pt x="6790" y="308"/>
                  <a:pt x="6791" y="306"/>
                  <a:pt x="6792" y="305"/>
                </a:cubicBezTo>
                <a:lnTo>
                  <a:pt x="6793" y="305"/>
                </a:lnTo>
                <a:cubicBezTo>
                  <a:pt x="6793" y="305"/>
                  <a:pt x="6793" y="305"/>
                  <a:pt x="6793" y="306"/>
                </a:cubicBezTo>
                <a:lnTo>
                  <a:pt x="6793" y="307"/>
                </a:lnTo>
                <a:cubicBezTo>
                  <a:pt x="6792" y="309"/>
                  <a:pt x="6791" y="311"/>
                  <a:pt x="6790" y="311"/>
                </a:cubicBezTo>
                <a:close/>
                <a:moveTo>
                  <a:pt x="6734" y="685"/>
                </a:moveTo>
                <a:cubicBezTo>
                  <a:pt x="6732" y="685"/>
                  <a:pt x="6732" y="683"/>
                  <a:pt x="6732" y="681"/>
                </a:cubicBezTo>
                <a:cubicBezTo>
                  <a:pt x="6732" y="679"/>
                  <a:pt x="6732" y="677"/>
                  <a:pt x="6734" y="677"/>
                </a:cubicBezTo>
                <a:cubicBezTo>
                  <a:pt x="6735" y="677"/>
                  <a:pt x="6736" y="679"/>
                  <a:pt x="6736" y="681"/>
                </a:cubicBezTo>
                <a:cubicBezTo>
                  <a:pt x="6736" y="683"/>
                  <a:pt x="6735" y="685"/>
                  <a:pt x="6734" y="685"/>
                </a:cubicBezTo>
                <a:close/>
                <a:moveTo>
                  <a:pt x="6733" y="668"/>
                </a:moveTo>
                <a:cubicBezTo>
                  <a:pt x="6732" y="668"/>
                  <a:pt x="6732" y="668"/>
                  <a:pt x="6732" y="666"/>
                </a:cubicBezTo>
                <a:cubicBezTo>
                  <a:pt x="6732" y="666"/>
                  <a:pt x="6732" y="665"/>
                  <a:pt x="6732" y="664"/>
                </a:cubicBezTo>
                <a:cubicBezTo>
                  <a:pt x="6733" y="663"/>
                  <a:pt x="6733" y="662"/>
                  <a:pt x="6734" y="662"/>
                </a:cubicBezTo>
                <a:cubicBezTo>
                  <a:pt x="6735" y="662"/>
                  <a:pt x="6736" y="663"/>
                  <a:pt x="6736" y="665"/>
                </a:cubicBezTo>
                <a:cubicBezTo>
                  <a:pt x="6736" y="667"/>
                  <a:pt x="6735" y="668"/>
                  <a:pt x="6733" y="668"/>
                </a:cubicBezTo>
                <a:close/>
                <a:moveTo>
                  <a:pt x="6730" y="657"/>
                </a:moveTo>
                <a:cubicBezTo>
                  <a:pt x="6730" y="657"/>
                  <a:pt x="6729" y="656"/>
                  <a:pt x="6728" y="654"/>
                </a:cubicBezTo>
                <a:lnTo>
                  <a:pt x="6728" y="652"/>
                </a:lnTo>
                <a:cubicBezTo>
                  <a:pt x="6728" y="650"/>
                  <a:pt x="6728" y="649"/>
                  <a:pt x="6730" y="648"/>
                </a:cubicBezTo>
                <a:lnTo>
                  <a:pt x="6730" y="646"/>
                </a:lnTo>
                <a:cubicBezTo>
                  <a:pt x="6731" y="646"/>
                  <a:pt x="6732" y="648"/>
                  <a:pt x="6732" y="651"/>
                </a:cubicBezTo>
                <a:cubicBezTo>
                  <a:pt x="6732" y="655"/>
                  <a:pt x="6731" y="657"/>
                  <a:pt x="6730" y="657"/>
                </a:cubicBezTo>
                <a:close/>
                <a:moveTo>
                  <a:pt x="6795" y="301"/>
                </a:moveTo>
                <a:lnTo>
                  <a:pt x="6795" y="301"/>
                </a:lnTo>
                <a:cubicBezTo>
                  <a:pt x="6795" y="300"/>
                  <a:pt x="6796" y="297"/>
                  <a:pt x="6798" y="293"/>
                </a:cubicBezTo>
                <a:cubicBezTo>
                  <a:pt x="6800" y="289"/>
                  <a:pt x="6802" y="286"/>
                  <a:pt x="6802" y="286"/>
                </a:cubicBezTo>
                <a:lnTo>
                  <a:pt x="6802" y="287"/>
                </a:lnTo>
                <a:cubicBezTo>
                  <a:pt x="6802" y="288"/>
                  <a:pt x="6801" y="291"/>
                  <a:pt x="6799" y="295"/>
                </a:cubicBezTo>
                <a:cubicBezTo>
                  <a:pt x="6797" y="299"/>
                  <a:pt x="6796" y="301"/>
                  <a:pt x="6795" y="301"/>
                </a:cubicBezTo>
                <a:close/>
                <a:moveTo>
                  <a:pt x="6793" y="322"/>
                </a:moveTo>
                <a:cubicBezTo>
                  <a:pt x="6792" y="322"/>
                  <a:pt x="6791" y="322"/>
                  <a:pt x="6791" y="321"/>
                </a:cubicBezTo>
                <a:lnTo>
                  <a:pt x="6794" y="320"/>
                </a:lnTo>
                <a:cubicBezTo>
                  <a:pt x="6795" y="320"/>
                  <a:pt x="6795" y="320"/>
                  <a:pt x="6796" y="320"/>
                </a:cubicBezTo>
                <a:cubicBezTo>
                  <a:pt x="6796" y="321"/>
                  <a:pt x="6796" y="321"/>
                  <a:pt x="6796" y="321"/>
                </a:cubicBezTo>
                <a:cubicBezTo>
                  <a:pt x="6796" y="322"/>
                  <a:pt x="6795" y="322"/>
                  <a:pt x="6793" y="322"/>
                </a:cubicBezTo>
                <a:close/>
                <a:moveTo>
                  <a:pt x="6784" y="327"/>
                </a:moveTo>
                <a:cubicBezTo>
                  <a:pt x="6784" y="327"/>
                  <a:pt x="6784" y="326"/>
                  <a:pt x="6784" y="325"/>
                </a:cubicBezTo>
                <a:cubicBezTo>
                  <a:pt x="6784" y="324"/>
                  <a:pt x="6784" y="323"/>
                  <a:pt x="6784" y="322"/>
                </a:cubicBezTo>
                <a:cubicBezTo>
                  <a:pt x="6785" y="321"/>
                  <a:pt x="6785" y="321"/>
                  <a:pt x="6787" y="321"/>
                </a:cubicBezTo>
                <a:lnTo>
                  <a:pt x="6787" y="322"/>
                </a:lnTo>
                <a:lnTo>
                  <a:pt x="6787" y="323"/>
                </a:lnTo>
                <a:cubicBezTo>
                  <a:pt x="6785" y="326"/>
                  <a:pt x="6785" y="327"/>
                  <a:pt x="6784" y="327"/>
                </a:cubicBezTo>
                <a:close/>
                <a:moveTo>
                  <a:pt x="7038" y="561"/>
                </a:moveTo>
                <a:cubicBezTo>
                  <a:pt x="7037" y="561"/>
                  <a:pt x="7037" y="561"/>
                  <a:pt x="7036" y="560"/>
                </a:cubicBezTo>
                <a:cubicBezTo>
                  <a:pt x="7035" y="559"/>
                  <a:pt x="7035" y="559"/>
                  <a:pt x="7035" y="558"/>
                </a:cubicBezTo>
                <a:lnTo>
                  <a:pt x="7034" y="558"/>
                </a:lnTo>
                <a:cubicBezTo>
                  <a:pt x="7034" y="557"/>
                  <a:pt x="7034" y="557"/>
                  <a:pt x="7035" y="557"/>
                </a:cubicBezTo>
                <a:lnTo>
                  <a:pt x="7037" y="558"/>
                </a:lnTo>
                <a:cubicBezTo>
                  <a:pt x="7039" y="558"/>
                  <a:pt x="7040" y="559"/>
                  <a:pt x="7040" y="560"/>
                </a:cubicBezTo>
                <a:cubicBezTo>
                  <a:pt x="7040" y="561"/>
                  <a:pt x="7039" y="561"/>
                  <a:pt x="7038" y="561"/>
                </a:cubicBezTo>
                <a:close/>
                <a:moveTo>
                  <a:pt x="7033" y="570"/>
                </a:moveTo>
                <a:cubicBezTo>
                  <a:pt x="7033" y="570"/>
                  <a:pt x="7033" y="569"/>
                  <a:pt x="7033" y="567"/>
                </a:cubicBezTo>
                <a:cubicBezTo>
                  <a:pt x="7033" y="564"/>
                  <a:pt x="7033" y="563"/>
                  <a:pt x="7031" y="563"/>
                </a:cubicBezTo>
                <a:cubicBezTo>
                  <a:pt x="7030" y="563"/>
                  <a:pt x="7029" y="563"/>
                  <a:pt x="7029" y="562"/>
                </a:cubicBezTo>
                <a:lnTo>
                  <a:pt x="7029" y="562"/>
                </a:lnTo>
                <a:cubicBezTo>
                  <a:pt x="7030" y="561"/>
                  <a:pt x="7030" y="561"/>
                  <a:pt x="7031" y="561"/>
                </a:cubicBezTo>
                <a:cubicBezTo>
                  <a:pt x="7033" y="561"/>
                  <a:pt x="7034" y="561"/>
                  <a:pt x="7035" y="563"/>
                </a:cubicBezTo>
                <a:cubicBezTo>
                  <a:pt x="7035" y="564"/>
                  <a:pt x="7036" y="565"/>
                  <a:pt x="7036" y="566"/>
                </a:cubicBezTo>
                <a:cubicBezTo>
                  <a:pt x="7036" y="566"/>
                  <a:pt x="7036" y="567"/>
                  <a:pt x="7035" y="568"/>
                </a:cubicBezTo>
                <a:cubicBezTo>
                  <a:pt x="7034" y="569"/>
                  <a:pt x="7034" y="570"/>
                  <a:pt x="7033" y="570"/>
                </a:cubicBezTo>
                <a:close/>
                <a:moveTo>
                  <a:pt x="6871" y="763"/>
                </a:moveTo>
                <a:cubicBezTo>
                  <a:pt x="6871" y="763"/>
                  <a:pt x="6870" y="763"/>
                  <a:pt x="6870" y="762"/>
                </a:cubicBezTo>
                <a:cubicBezTo>
                  <a:pt x="6870" y="761"/>
                  <a:pt x="6872" y="759"/>
                  <a:pt x="6877" y="756"/>
                </a:cubicBezTo>
                <a:lnTo>
                  <a:pt x="6882" y="752"/>
                </a:lnTo>
                <a:lnTo>
                  <a:pt x="6882" y="754"/>
                </a:lnTo>
                <a:cubicBezTo>
                  <a:pt x="6882" y="755"/>
                  <a:pt x="6882" y="756"/>
                  <a:pt x="6883" y="756"/>
                </a:cubicBezTo>
                <a:cubicBezTo>
                  <a:pt x="6884" y="756"/>
                  <a:pt x="6885" y="756"/>
                  <a:pt x="6885" y="757"/>
                </a:cubicBezTo>
                <a:cubicBezTo>
                  <a:pt x="6885" y="757"/>
                  <a:pt x="6884" y="758"/>
                  <a:pt x="6884" y="758"/>
                </a:cubicBezTo>
                <a:cubicBezTo>
                  <a:pt x="6884" y="759"/>
                  <a:pt x="6883" y="759"/>
                  <a:pt x="6883" y="759"/>
                </a:cubicBezTo>
                <a:cubicBezTo>
                  <a:pt x="6883" y="759"/>
                  <a:pt x="6882" y="759"/>
                  <a:pt x="6882" y="758"/>
                </a:cubicBezTo>
                <a:cubicBezTo>
                  <a:pt x="6881" y="757"/>
                  <a:pt x="6881" y="757"/>
                  <a:pt x="6880" y="757"/>
                </a:cubicBezTo>
                <a:cubicBezTo>
                  <a:pt x="6879" y="757"/>
                  <a:pt x="6878" y="757"/>
                  <a:pt x="6877" y="759"/>
                </a:cubicBezTo>
                <a:cubicBezTo>
                  <a:pt x="6876" y="760"/>
                  <a:pt x="6875" y="761"/>
                  <a:pt x="6874" y="762"/>
                </a:cubicBezTo>
                <a:cubicBezTo>
                  <a:pt x="6873" y="762"/>
                  <a:pt x="6872" y="763"/>
                  <a:pt x="6871" y="763"/>
                </a:cubicBezTo>
                <a:close/>
                <a:moveTo>
                  <a:pt x="6729" y="643"/>
                </a:moveTo>
                <a:lnTo>
                  <a:pt x="6727" y="643"/>
                </a:lnTo>
                <a:cubicBezTo>
                  <a:pt x="6727" y="642"/>
                  <a:pt x="6727" y="642"/>
                  <a:pt x="6728" y="642"/>
                </a:cubicBezTo>
                <a:cubicBezTo>
                  <a:pt x="6729" y="641"/>
                  <a:pt x="6729" y="640"/>
                  <a:pt x="6730" y="638"/>
                </a:cubicBezTo>
                <a:cubicBezTo>
                  <a:pt x="6730" y="636"/>
                  <a:pt x="6730" y="634"/>
                  <a:pt x="6731" y="632"/>
                </a:cubicBezTo>
                <a:cubicBezTo>
                  <a:pt x="6731" y="630"/>
                  <a:pt x="6732" y="626"/>
                  <a:pt x="6732" y="620"/>
                </a:cubicBezTo>
                <a:cubicBezTo>
                  <a:pt x="6733" y="614"/>
                  <a:pt x="6734" y="607"/>
                  <a:pt x="6736" y="600"/>
                </a:cubicBezTo>
                <a:cubicBezTo>
                  <a:pt x="6737" y="593"/>
                  <a:pt x="6738" y="587"/>
                  <a:pt x="6740" y="582"/>
                </a:cubicBezTo>
                <a:cubicBezTo>
                  <a:pt x="6741" y="577"/>
                  <a:pt x="6742" y="575"/>
                  <a:pt x="6742" y="574"/>
                </a:cubicBezTo>
                <a:cubicBezTo>
                  <a:pt x="6743" y="573"/>
                  <a:pt x="6743" y="572"/>
                  <a:pt x="6743" y="571"/>
                </a:cubicBezTo>
                <a:cubicBezTo>
                  <a:pt x="6743" y="570"/>
                  <a:pt x="6743" y="568"/>
                  <a:pt x="6742" y="567"/>
                </a:cubicBezTo>
                <a:cubicBezTo>
                  <a:pt x="6741" y="566"/>
                  <a:pt x="6740" y="564"/>
                  <a:pt x="6740" y="564"/>
                </a:cubicBezTo>
                <a:lnTo>
                  <a:pt x="6743" y="565"/>
                </a:lnTo>
                <a:cubicBezTo>
                  <a:pt x="6744" y="565"/>
                  <a:pt x="6744" y="564"/>
                  <a:pt x="6744" y="563"/>
                </a:cubicBezTo>
                <a:lnTo>
                  <a:pt x="6744" y="560"/>
                </a:lnTo>
                <a:cubicBezTo>
                  <a:pt x="6744" y="556"/>
                  <a:pt x="6744" y="554"/>
                  <a:pt x="6745" y="554"/>
                </a:cubicBezTo>
                <a:cubicBezTo>
                  <a:pt x="6746" y="554"/>
                  <a:pt x="6746" y="553"/>
                  <a:pt x="6746" y="552"/>
                </a:cubicBezTo>
                <a:lnTo>
                  <a:pt x="6746" y="547"/>
                </a:lnTo>
                <a:cubicBezTo>
                  <a:pt x="6746" y="545"/>
                  <a:pt x="6746" y="544"/>
                  <a:pt x="6748" y="543"/>
                </a:cubicBezTo>
                <a:cubicBezTo>
                  <a:pt x="6748" y="541"/>
                  <a:pt x="6747" y="540"/>
                  <a:pt x="6747" y="539"/>
                </a:cubicBezTo>
                <a:cubicBezTo>
                  <a:pt x="6747" y="536"/>
                  <a:pt x="6748" y="535"/>
                  <a:pt x="6749" y="535"/>
                </a:cubicBezTo>
                <a:cubicBezTo>
                  <a:pt x="6750" y="535"/>
                  <a:pt x="6750" y="535"/>
                  <a:pt x="6750" y="534"/>
                </a:cubicBezTo>
                <a:lnTo>
                  <a:pt x="6750" y="531"/>
                </a:lnTo>
                <a:cubicBezTo>
                  <a:pt x="6750" y="528"/>
                  <a:pt x="6750" y="527"/>
                  <a:pt x="6751" y="527"/>
                </a:cubicBezTo>
                <a:cubicBezTo>
                  <a:pt x="6752" y="526"/>
                  <a:pt x="6752" y="525"/>
                  <a:pt x="6752" y="523"/>
                </a:cubicBezTo>
                <a:lnTo>
                  <a:pt x="6752" y="521"/>
                </a:lnTo>
                <a:cubicBezTo>
                  <a:pt x="6752" y="520"/>
                  <a:pt x="6752" y="519"/>
                  <a:pt x="6753" y="518"/>
                </a:cubicBezTo>
                <a:cubicBezTo>
                  <a:pt x="6754" y="517"/>
                  <a:pt x="6754" y="516"/>
                  <a:pt x="6754" y="514"/>
                </a:cubicBezTo>
                <a:lnTo>
                  <a:pt x="6754" y="512"/>
                </a:lnTo>
                <a:cubicBezTo>
                  <a:pt x="6754" y="511"/>
                  <a:pt x="6754" y="510"/>
                  <a:pt x="6755" y="509"/>
                </a:cubicBezTo>
                <a:cubicBezTo>
                  <a:pt x="6756" y="508"/>
                  <a:pt x="6757" y="507"/>
                  <a:pt x="6757" y="506"/>
                </a:cubicBezTo>
                <a:cubicBezTo>
                  <a:pt x="6757" y="504"/>
                  <a:pt x="6759" y="499"/>
                  <a:pt x="6762" y="490"/>
                </a:cubicBezTo>
                <a:cubicBezTo>
                  <a:pt x="6763" y="487"/>
                  <a:pt x="6763" y="485"/>
                  <a:pt x="6763" y="483"/>
                </a:cubicBezTo>
                <a:lnTo>
                  <a:pt x="6762" y="482"/>
                </a:lnTo>
                <a:cubicBezTo>
                  <a:pt x="6762" y="481"/>
                  <a:pt x="6763" y="480"/>
                  <a:pt x="6764" y="479"/>
                </a:cubicBezTo>
                <a:cubicBezTo>
                  <a:pt x="6765" y="478"/>
                  <a:pt x="6765" y="477"/>
                  <a:pt x="6765" y="476"/>
                </a:cubicBezTo>
                <a:cubicBezTo>
                  <a:pt x="6765" y="474"/>
                  <a:pt x="6765" y="473"/>
                  <a:pt x="6766" y="472"/>
                </a:cubicBezTo>
                <a:cubicBezTo>
                  <a:pt x="6767" y="471"/>
                  <a:pt x="6768" y="469"/>
                  <a:pt x="6768" y="466"/>
                </a:cubicBezTo>
                <a:cubicBezTo>
                  <a:pt x="6768" y="464"/>
                  <a:pt x="6769" y="462"/>
                  <a:pt x="6770" y="462"/>
                </a:cubicBezTo>
                <a:lnTo>
                  <a:pt x="6772" y="461"/>
                </a:lnTo>
                <a:lnTo>
                  <a:pt x="6772" y="460"/>
                </a:lnTo>
                <a:cubicBezTo>
                  <a:pt x="6772" y="459"/>
                  <a:pt x="6772" y="458"/>
                  <a:pt x="6773" y="458"/>
                </a:cubicBezTo>
                <a:cubicBezTo>
                  <a:pt x="6773" y="456"/>
                  <a:pt x="6774" y="452"/>
                  <a:pt x="6775" y="446"/>
                </a:cubicBezTo>
                <a:cubicBezTo>
                  <a:pt x="6779" y="436"/>
                  <a:pt x="6781" y="430"/>
                  <a:pt x="6781" y="429"/>
                </a:cubicBezTo>
                <a:cubicBezTo>
                  <a:pt x="6781" y="428"/>
                  <a:pt x="6782" y="425"/>
                  <a:pt x="6785" y="421"/>
                </a:cubicBezTo>
                <a:cubicBezTo>
                  <a:pt x="6786" y="418"/>
                  <a:pt x="6787" y="416"/>
                  <a:pt x="6787" y="415"/>
                </a:cubicBezTo>
                <a:cubicBezTo>
                  <a:pt x="6787" y="414"/>
                  <a:pt x="6787" y="414"/>
                  <a:pt x="6786" y="414"/>
                </a:cubicBezTo>
                <a:cubicBezTo>
                  <a:pt x="6785" y="414"/>
                  <a:pt x="6784" y="415"/>
                  <a:pt x="6782" y="417"/>
                </a:cubicBezTo>
                <a:cubicBezTo>
                  <a:pt x="6781" y="419"/>
                  <a:pt x="6780" y="422"/>
                  <a:pt x="6779" y="425"/>
                </a:cubicBezTo>
                <a:cubicBezTo>
                  <a:pt x="6777" y="431"/>
                  <a:pt x="6775" y="435"/>
                  <a:pt x="6773" y="438"/>
                </a:cubicBezTo>
                <a:cubicBezTo>
                  <a:pt x="6770" y="440"/>
                  <a:pt x="6769" y="443"/>
                  <a:pt x="6769" y="446"/>
                </a:cubicBezTo>
                <a:lnTo>
                  <a:pt x="6770" y="449"/>
                </a:lnTo>
                <a:cubicBezTo>
                  <a:pt x="6770" y="450"/>
                  <a:pt x="6770" y="450"/>
                  <a:pt x="6769" y="450"/>
                </a:cubicBezTo>
                <a:lnTo>
                  <a:pt x="6769" y="450"/>
                </a:lnTo>
                <a:cubicBezTo>
                  <a:pt x="6768" y="450"/>
                  <a:pt x="6766" y="454"/>
                  <a:pt x="6764" y="462"/>
                </a:cubicBezTo>
                <a:cubicBezTo>
                  <a:pt x="6755" y="488"/>
                  <a:pt x="6749" y="507"/>
                  <a:pt x="6746" y="519"/>
                </a:cubicBezTo>
                <a:cubicBezTo>
                  <a:pt x="6746" y="522"/>
                  <a:pt x="6745" y="524"/>
                  <a:pt x="6745" y="526"/>
                </a:cubicBezTo>
                <a:cubicBezTo>
                  <a:pt x="6744" y="527"/>
                  <a:pt x="6743" y="528"/>
                  <a:pt x="6743" y="528"/>
                </a:cubicBezTo>
                <a:lnTo>
                  <a:pt x="6743" y="527"/>
                </a:lnTo>
                <a:cubicBezTo>
                  <a:pt x="6743" y="526"/>
                  <a:pt x="6744" y="520"/>
                  <a:pt x="6747" y="509"/>
                </a:cubicBezTo>
                <a:cubicBezTo>
                  <a:pt x="6752" y="486"/>
                  <a:pt x="6755" y="473"/>
                  <a:pt x="6755" y="471"/>
                </a:cubicBezTo>
                <a:cubicBezTo>
                  <a:pt x="6755" y="470"/>
                  <a:pt x="6755" y="470"/>
                  <a:pt x="6754" y="470"/>
                </a:cubicBezTo>
                <a:cubicBezTo>
                  <a:pt x="6753" y="470"/>
                  <a:pt x="6748" y="483"/>
                  <a:pt x="6741" y="511"/>
                </a:cubicBezTo>
                <a:cubicBezTo>
                  <a:pt x="6737" y="525"/>
                  <a:pt x="6735" y="532"/>
                  <a:pt x="6734" y="532"/>
                </a:cubicBezTo>
                <a:lnTo>
                  <a:pt x="6734" y="531"/>
                </a:lnTo>
                <a:cubicBezTo>
                  <a:pt x="6734" y="527"/>
                  <a:pt x="6738" y="511"/>
                  <a:pt x="6745" y="483"/>
                </a:cubicBezTo>
                <a:lnTo>
                  <a:pt x="6750" y="466"/>
                </a:lnTo>
                <a:cubicBezTo>
                  <a:pt x="6750" y="465"/>
                  <a:pt x="6750" y="465"/>
                  <a:pt x="6750" y="465"/>
                </a:cubicBezTo>
                <a:lnTo>
                  <a:pt x="6745" y="471"/>
                </a:lnTo>
                <a:lnTo>
                  <a:pt x="6745" y="471"/>
                </a:lnTo>
                <a:lnTo>
                  <a:pt x="6749" y="464"/>
                </a:lnTo>
                <a:cubicBezTo>
                  <a:pt x="6752" y="457"/>
                  <a:pt x="6755" y="450"/>
                  <a:pt x="6758" y="442"/>
                </a:cubicBezTo>
                <a:cubicBezTo>
                  <a:pt x="6761" y="435"/>
                  <a:pt x="6762" y="429"/>
                  <a:pt x="6762" y="425"/>
                </a:cubicBezTo>
                <a:lnTo>
                  <a:pt x="6762" y="425"/>
                </a:lnTo>
                <a:cubicBezTo>
                  <a:pt x="6762" y="423"/>
                  <a:pt x="6763" y="422"/>
                  <a:pt x="6764" y="422"/>
                </a:cubicBezTo>
                <a:lnTo>
                  <a:pt x="6766" y="423"/>
                </a:lnTo>
                <a:lnTo>
                  <a:pt x="6765" y="422"/>
                </a:lnTo>
                <a:cubicBezTo>
                  <a:pt x="6765" y="422"/>
                  <a:pt x="6765" y="421"/>
                  <a:pt x="6765" y="420"/>
                </a:cubicBezTo>
                <a:cubicBezTo>
                  <a:pt x="6765" y="419"/>
                  <a:pt x="6765" y="418"/>
                  <a:pt x="6766" y="416"/>
                </a:cubicBezTo>
                <a:cubicBezTo>
                  <a:pt x="6767" y="415"/>
                  <a:pt x="6767" y="414"/>
                  <a:pt x="6767" y="413"/>
                </a:cubicBezTo>
                <a:cubicBezTo>
                  <a:pt x="6767" y="412"/>
                  <a:pt x="6767" y="411"/>
                  <a:pt x="6767" y="411"/>
                </a:cubicBezTo>
                <a:cubicBezTo>
                  <a:pt x="6766" y="411"/>
                  <a:pt x="6765" y="410"/>
                  <a:pt x="6765" y="407"/>
                </a:cubicBezTo>
                <a:lnTo>
                  <a:pt x="6766" y="404"/>
                </a:lnTo>
                <a:cubicBezTo>
                  <a:pt x="6766" y="404"/>
                  <a:pt x="6765" y="403"/>
                  <a:pt x="6764" y="403"/>
                </a:cubicBezTo>
                <a:lnTo>
                  <a:pt x="6755" y="404"/>
                </a:lnTo>
                <a:cubicBezTo>
                  <a:pt x="6755" y="404"/>
                  <a:pt x="6757" y="403"/>
                  <a:pt x="6759" y="400"/>
                </a:cubicBezTo>
                <a:lnTo>
                  <a:pt x="6762" y="397"/>
                </a:lnTo>
                <a:cubicBezTo>
                  <a:pt x="6762" y="397"/>
                  <a:pt x="6762" y="397"/>
                  <a:pt x="6762" y="397"/>
                </a:cubicBezTo>
                <a:lnTo>
                  <a:pt x="6762" y="397"/>
                </a:lnTo>
                <a:cubicBezTo>
                  <a:pt x="6762" y="396"/>
                  <a:pt x="6762" y="395"/>
                  <a:pt x="6762" y="394"/>
                </a:cubicBezTo>
                <a:cubicBezTo>
                  <a:pt x="6763" y="394"/>
                  <a:pt x="6764" y="392"/>
                  <a:pt x="6764" y="391"/>
                </a:cubicBezTo>
                <a:cubicBezTo>
                  <a:pt x="6766" y="389"/>
                  <a:pt x="6767" y="388"/>
                  <a:pt x="6767" y="387"/>
                </a:cubicBezTo>
                <a:cubicBezTo>
                  <a:pt x="6767" y="387"/>
                  <a:pt x="6767" y="386"/>
                  <a:pt x="6767" y="386"/>
                </a:cubicBezTo>
                <a:cubicBezTo>
                  <a:pt x="6767" y="386"/>
                  <a:pt x="6766" y="386"/>
                  <a:pt x="6766" y="386"/>
                </a:cubicBezTo>
                <a:lnTo>
                  <a:pt x="6767" y="385"/>
                </a:lnTo>
                <a:cubicBezTo>
                  <a:pt x="6767" y="384"/>
                  <a:pt x="6768" y="384"/>
                  <a:pt x="6769" y="383"/>
                </a:cubicBezTo>
                <a:cubicBezTo>
                  <a:pt x="6769" y="382"/>
                  <a:pt x="6769" y="381"/>
                  <a:pt x="6769" y="380"/>
                </a:cubicBezTo>
                <a:cubicBezTo>
                  <a:pt x="6769" y="380"/>
                  <a:pt x="6769" y="379"/>
                  <a:pt x="6769" y="379"/>
                </a:cubicBezTo>
                <a:lnTo>
                  <a:pt x="6769" y="378"/>
                </a:lnTo>
                <a:cubicBezTo>
                  <a:pt x="6769" y="377"/>
                  <a:pt x="6770" y="377"/>
                  <a:pt x="6771" y="377"/>
                </a:cubicBezTo>
                <a:cubicBezTo>
                  <a:pt x="6772" y="377"/>
                  <a:pt x="6772" y="377"/>
                  <a:pt x="6772" y="376"/>
                </a:cubicBezTo>
                <a:lnTo>
                  <a:pt x="6772" y="376"/>
                </a:lnTo>
                <a:cubicBezTo>
                  <a:pt x="6772" y="374"/>
                  <a:pt x="6772" y="372"/>
                  <a:pt x="6773" y="371"/>
                </a:cubicBezTo>
                <a:cubicBezTo>
                  <a:pt x="6773" y="370"/>
                  <a:pt x="6774" y="369"/>
                  <a:pt x="6774" y="369"/>
                </a:cubicBezTo>
                <a:cubicBezTo>
                  <a:pt x="6775" y="364"/>
                  <a:pt x="6776" y="360"/>
                  <a:pt x="6777" y="358"/>
                </a:cubicBezTo>
                <a:cubicBezTo>
                  <a:pt x="6778" y="356"/>
                  <a:pt x="6779" y="355"/>
                  <a:pt x="6779" y="355"/>
                </a:cubicBezTo>
                <a:lnTo>
                  <a:pt x="6780" y="356"/>
                </a:lnTo>
                <a:cubicBezTo>
                  <a:pt x="6780" y="356"/>
                  <a:pt x="6780" y="355"/>
                  <a:pt x="6780" y="353"/>
                </a:cubicBezTo>
                <a:cubicBezTo>
                  <a:pt x="6780" y="353"/>
                  <a:pt x="6780" y="353"/>
                  <a:pt x="6780" y="352"/>
                </a:cubicBezTo>
                <a:cubicBezTo>
                  <a:pt x="6780" y="350"/>
                  <a:pt x="6780" y="349"/>
                  <a:pt x="6782" y="347"/>
                </a:cubicBezTo>
                <a:cubicBezTo>
                  <a:pt x="6783" y="345"/>
                  <a:pt x="6784" y="343"/>
                  <a:pt x="6784" y="342"/>
                </a:cubicBezTo>
                <a:cubicBezTo>
                  <a:pt x="6784" y="342"/>
                  <a:pt x="6784" y="342"/>
                  <a:pt x="6784" y="341"/>
                </a:cubicBezTo>
                <a:cubicBezTo>
                  <a:pt x="6784" y="341"/>
                  <a:pt x="6784" y="341"/>
                  <a:pt x="6786" y="341"/>
                </a:cubicBezTo>
                <a:cubicBezTo>
                  <a:pt x="6788" y="341"/>
                  <a:pt x="6789" y="343"/>
                  <a:pt x="6789" y="346"/>
                </a:cubicBezTo>
                <a:cubicBezTo>
                  <a:pt x="6789" y="348"/>
                  <a:pt x="6789" y="351"/>
                  <a:pt x="6788" y="355"/>
                </a:cubicBezTo>
                <a:cubicBezTo>
                  <a:pt x="6788" y="356"/>
                  <a:pt x="6788" y="356"/>
                  <a:pt x="6787" y="356"/>
                </a:cubicBezTo>
                <a:cubicBezTo>
                  <a:pt x="6786" y="356"/>
                  <a:pt x="6786" y="356"/>
                  <a:pt x="6785" y="355"/>
                </a:cubicBezTo>
                <a:cubicBezTo>
                  <a:pt x="6784" y="355"/>
                  <a:pt x="6784" y="355"/>
                  <a:pt x="6784" y="355"/>
                </a:cubicBezTo>
                <a:lnTo>
                  <a:pt x="6785" y="357"/>
                </a:lnTo>
                <a:cubicBezTo>
                  <a:pt x="6785" y="358"/>
                  <a:pt x="6784" y="359"/>
                  <a:pt x="6782" y="360"/>
                </a:cubicBezTo>
                <a:cubicBezTo>
                  <a:pt x="6780" y="360"/>
                  <a:pt x="6780" y="361"/>
                  <a:pt x="6780" y="362"/>
                </a:cubicBezTo>
                <a:cubicBezTo>
                  <a:pt x="6780" y="363"/>
                  <a:pt x="6780" y="364"/>
                  <a:pt x="6781" y="365"/>
                </a:cubicBezTo>
                <a:cubicBezTo>
                  <a:pt x="6782" y="366"/>
                  <a:pt x="6783" y="367"/>
                  <a:pt x="6783" y="368"/>
                </a:cubicBezTo>
                <a:cubicBezTo>
                  <a:pt x="6783" y="368"/>
                  <a:pt x="6782" y="369"/>
                  <a:pt x="6780" y="369"/>
                </a:cubicBezTo>
                <a:cubicBezTo>
                  <a:pt x="6779" y="370"/>
                  <a:pt x="6778" y="371"/>
                  <a:pt x="6778" y="372"/>
                </a:cubicBezTo>
                <a:lnTo>
                  <a:pt x="6778" y="374"/>
                </a:lnTo>
                <a:cubicBezTo>
                  <a:pt x="6778" y="375"/>
                  <a:pt x="6778" y="375"/>
                  <a:pt x="6777" y="375"/>
                </a:cubicBezTo>
                <a:cubicBezTo>
                  <a:pt x="6776" y="375"/>
                  <a:pt x="6775" y="376"/>
                  <a:pt x="6775" y="378"/>
                </a:cubicBezTo>
                <a:lnTo>
                  <a:pt x="6776" y="380"/>
                </a:lnTo>
                <a:cubicBezTo>
                  <a:pt x="6776" y="381"/>
                  <a:pt x="6776" y="382"/>
                  <a:pt x="6775" y="382"/>
                </a:cubicBezTo>
                <a:cubicBezTo>
                  <a:pt x="6774" y="382"/>
                  <a:pt x="6773" y="382"/>
                  <a:pt x="6772" y="384"/>
                </a:cubicBezTo>
                <a:cubicBezTo>
                  <a:pt x="6772" y="385"/>
                  <a:pt x="6771" y="387"/>
                  <a:pt x="6771" y="389"/>
                </a:cubicBezTo>
                <a:cubicBezTo>
                  <a:pt x="6771" y="391"/>
                  <a:pt x="6772" y="392"/>
                  <a:pt x="6773" y="392"/>
                </a:cubicBezTo>
                <a:cubicBezTo>
                  <a:pt x="6774" y="392"/>
                  <a:pt x="6776" y="390"/>
                  <a:pt x="6778" y="386"/>
                </a:cubicBezTo>
                <a:cubicBezTo>
                  <a:pt x="6782" y="377"/>
                  <a:pt x="6784" y="371"/>
                  <a:pt x="6784" y="368"/>
                </a:cubicBezTo>
                <a:cubicBezTo>
                  <a:pt x="6784" y="366"/>
                  <a:pt x="6784" y="365"/>
                  <a:pt x="6784" y="365"/>
                </a:cubicBezTo>
                <a:cubicBezTo>
                  <a:pt x="6783" y="364"/>
                  <a:pt x="6783" y="364"/>
                  <a:pt x="6783" y="364"/>
                </a:cubicBezTo>
                <a:cubicBezTo>
                  <a:pt x="6783" y="363"/>
                  <a:pt x="6783" y="362"/>
                  <a:pt x="6784" y="361"/>
                </a:cubicBezTo>
                <a:cubicBezTo>
                  <a:pt x="6785" y="360"/>
                  <a:pt x="6786" y="359"/>
                  <a:pt x="6787" y="358"/>
                </a:cubicBezTo>
                <a:cubicBezTo>
                  <a:pt x="6789" y="358"/>
                  <a:pt x="6790" y="357"/>
                  <a:pt x="6791" y="357"/>
                </a:cubicBezTo>
                <a:cubicBezTo>
                  <a:pt x="6792" y="357"/>
                  <a:pt x="6792" y="357"/>
                  <a:pt x="6792" y="358"/>
                </a:cubicBezTo>
                <a:cubicBezTo>
                  <a:pt x="6793" y="358"/>
                  <a:pt x="6793" y="358"/>
                  <a:pt x="6794" y="359"/>
                </a:cubicBezTo>
                <a:lnTo>
                  <a:pt x="6793" y="357"/>
                </a:lnTo>
                <a:cubicBezTo>
                  <a:pt x="6792" y="355"/>
                  <a:pt x="6791" y="354"/>
                  <a:pt x="6791" y="353"/>
                </a:cubicBezTo>
                <a:cubicBezTo>
                  <a:pt x="6791" y="352"/>
                  <a:pt x="6792" y="350"/>
                  <a:pt x="6794" y="348"/>
                </a:cubicBezTo>
                <a:cubicBezTo>
                  <a:pt x="6795" y="346"/>
                  <a:pt x="6795" y="345"/>
                  <a:pt x="6795" y="344"/>
                </a:cubicBezTo>
                <a:cubicBezTo>
                  <a:pt x="6795" y="343"/>
                  <a:pt x="6795" y="343"/>
                  <a:pt x="6795" y="343"/>
                </a:cubicBezTo>
                <a:cubicBezTo>
                  <a:pt x="6795" y="343"/>
                  <a:pt x="6794" y="343"/>
                  <a:pt x="6793" y="342"/>
                </a:cubicBezTo>
                <a:cubicBezTo>
                  <a:pt x="6791" y="341"/>
                  <a:pt x="6790" y="340"/>
                  <a:pt x="6789" y="339"/>
                </a:cubicBezTo>
                <a:cubicBezTo>
                  <a:pt x="6787" y="338"/>
                  <a:pt x="6787" y="336"/>
                  <a:pt x="6787" y="334"/>
                </a:cubicBezTo>
                <a:cubicBezTo>
                  <a:pt x="6787" y="332"/>
                  <a:pt x="6788" y="330"/>
                  <a:pt x="6790" y="327"/>
                </a:cubicBezTo>
                <a:cubicBezTo>
                  <a:pt x="6792" y="325"/>
                  <a:pt x="6794" y="324"/>
                  <a:pt x="6797" y="324"/>
                </a:cubicBezTo>
                <a:cubicBezTo>
                  <a:pt x="6799" y="324"/>
                  <a:pt x="6800" y="324"/>
                  <a:pt x="6800" y="323"/>
                </a:cubicBezTo>
                <a:cubicBezTo>
                  <a:pt x="6800" y="322"/>
                  <a:pt x="6800" y="322"/>
                  <a:pt x="6799" y="321"/>
                </a:cubicBezTo>
                <a:cubicBezTo>
                  <a:pt x="6799" y="321"/>
                  <a:pt x="6799" y="321"/>
                  <a:pt x="6799" y="320"/>
                </a:cubicBezTo>
                <a:cubicBezTo>
                  <a:pt x="6799" y="319"/>
                  <a:pt x="6800" y="319"/>
                  <a:pt x="6803" y="319"/>
                </a:cubicBezTo>
                <a:lnTo>
                  <a:pt x="6807" y="320"/>
                </a:lnTo>
                <a:cubicBezTo>
                  <a:pt x="6807" y="320"/>
                  <a:pt x="6806" y="319"/>
                  <a:pt x="6804" y="317"/>
                </a:cubicBezTo>
                <a:cubicBezTo>
                  <a:pt x="6802" y="316"/>
                  <a:pt x="6801" y="315"/>
                  <a:pt x="6800" y="315"/>
                </a:cubicBezTo>
                <a:cubicBezTo>
                  <a:pt x="6800" y="315"/>
                  <a:pt x="6799" y="315"/>
                  <a:pt x="6799" y="316"/>
                </a:cubicBezTo>
                <a:cubicBezTo>
                  <a:pt x="6798" y="317"/>
                  <a:pt x="6797" y="318"/>
                  <a:pt x="6796" y="318"/>
                </a:cubicBezTo>
                <a:cubicBezTo>
                  <a:pt x="6796" y="318"/>
                  <a:pt x="6795" y="317"/>
                  <a:pt x="6795" y="317"/>
                </a:cubicBezTo>
                <a:cubicBezTo>
                  <a:pt x="6795" y="316"/>
                  <a:pt x="6797" y="312"/>
                  <a:pt x="6800" y="306"/>
                </a:cubicBezTo>
                <a:cubicBezTo>
                  <a:pt x="6804" y="299"/>
                  <a:pt x="6806" y="295"/>
                  <a:pt x="6807" y="295"/>
                </a:cubicBezTo>
                <a:cubicBezTo>
                  <a:pt x="6807" y="295"/>
                  <a:pt x="6807" y="295"/>
                  <a:pt x="6807" y="295"/>
                </a:cubicBezTo>
                <a:cubicBezTo>
                  <a:pt x="6807" y="296"/>
                  <a:pt x="6807" y="296"/>
                  <a:pt x="6806" y="297"/>
                </a:cubicBezTo>
                <a:cubicBezTo>
                  <a:pt x="6806" y="299"/>
                  <a:pt x="6807" y="301"/>
                  <a:pt x="6808" y="303"/>
                </a:cubicBezTo>
                <a:cubicBezTo>
                  <a:pt x="6809" y="305"/>
                  <a:pt x="6809" y="306"/>
                  <a:pt x="6809" y="308"/>
                </a:cubicBezTo>
                <a:cubicBezTo>
                  <a:pt x="6809" y="309"/>
                  <a:pt x="6809" y="311"/>
                  <a:pt x="6807" y="312"/>
                </a:cubicBezTo>
                <a:lnTo>
                  <a:pt x="6806" y="315"/>
                </a:lnTo>
                <a:cubicBezTo>
                  <a:pt x="6808" y="315"/>
                  <a:pt x="6812" y="308"/>
                  <a:pt x="6817" y="295"/>
                </a:cubicBezTo>
                <a:cubicBezTo>
                  <a:pt x="6819" y="293"/>
                  <a:pt x="6819" y="292"/>
                  <a:pt x="6819" y="290"/>
                </a:cubicBezTo>
                <a:cubicBezTo>
                  <a:pt x="6819" y="289"/>
                  <a:pt x="6819" y="289"/>
                  <a:pt x="6818" y="289"/>
                </a:cubicBezTo>
                <a:cubicBezTo>
                  <a:pt x="6816" y="289"/>
                  <a:pt x="6814" y="289"/>
                  <a:pt x="6812" y="290"/>
                </a:cubicBezTo>
                <a:lnTo>
                  <a:pt x="6812" y="290"/>
                </a:lnTo>
                <a:cubicBezTo>
                  <a:pt x="6812" y="291"/>
                  <a:pt x="6812" y="291"/>
                  <a:pt x="6812" y="291"/>
                </a:cubicBezTo>
                <a:cubicBezTo>
                  <a:pt x="6813" y="292"/>
                  <a:pt x="6813" y="293"/>
                  <a:pt x="6814" y="293"/>
                </a:cubicBezTo>
                <a:cubicBezTo>
                  <a:pt x="6814" y="294"/>
                  <a:pt x="6815" y="295"/>
                  <a:pt x="6815" y="296"/>
                </a:cubicBezTo>
                <a:cubicBezTo>
                  <a:pt x="6815" y="297"/>
                  <a:pt x="6814" y="299"/>
                  <a:pt x="6813" y="300"/>
                </a:cubicBezTo>
                <a:cubicBezTo>
                  <a:pt x="6812" y="301"/>
                  <a:pt x="6811" y="302"/>
                  <a:pt x="6810" y="302"/>
                </a:cubicBezTo>
                <a:cubicBezTo>
                  <a:pt x="6810" y="302"/>
                  <a:pt x="6809" y="302"/>
                  <a:pt x="6809" y="300"/>
                </a:cubicBezTo>
                <a:cubicBezTo>
                  <a:pt x="6809" y="298"/>
                  <a:pt x="6809" y="297"/>
                  <a:pt x="6810" y="297"/>
                </a:cubicBezTo>
                <a:cubicBezTo>
                  <a:pt x="6811" y="297"/>
                  <a:pt x="6811" y="297"/>
                  <a:pt x="6811" y="296"/>
                </a:cubicBezTo>
                <a:cubicBezTo>
                  <a:pt x="6811" y="296"/>
                  <a:pt x="6811" y="296"/>
                  <a:pt x="6810" y="295"/>
                </a:cubicBezTo>
                <a:cubicBezTo>
                  <a:pt x="6809" y="294"/>
                  <a:pt x="6808" y="293"/>
                  <a:pt x="6807" y="291"/>
                </a:cubicBezTo>
                <a:cubicBezTo>
                  <a:pt x="6806" y="290"/>
                  <a:pt x="6806" y="289"/>
                  <a:pt x="6806" y="287"/>
                </a:cubicBezTo>
                <a:cubicBezTo>
                  <a:pt x="6806" y="286"/>
                  <a:pt x="6806" y="286"/>
                  <a:pt x="6807" y="286"/>
                </a:cubicBezTo>
                <a:lnTo>
                  <a:pt x="6809" y="286"/>
                </a:lnTo>
                <a:cubicBezTo>
                  <a:pt x="6812" y="286"/>
                  <a:pt x="6813" y="285"/>
                  <a:pt x="6813" y="282"/>
                </a:cubicBezTo>
                <a:cubicBezTo>
                  <a:pt x="6813" y="280"/>
                  <a:pt x="6812" y="279"/>
                  <a:pt x="6809" y="278"/>
                </a:cubicBezTo>
                <a:lnTo>
                  <a:pt x="6807" y="279"/>
                </a:lnTo>
                <a:cubicBezTo>
                  <a:pt x="6806" y="279"/>
                  <a:pt x="6806" y="278"/>
                  <a:pt x="6806" y="277"/>
                </a:cubicBezTo>
                <a:cubicBezTo>
                  <a:pt x="6806" y="277"/>
                  <a:pt x="6806" y="276"/>
                  <a:pt x="6807" y="274"/>
                </a:cubicBezTo>
                <a:cubicBezTo>
                  <a:pt x="6807" y="273"/>
                  <a:pt x="6808" y="273"/>
                  <a:pt x="6808" y="273"/>
                </a:cubicBezTo>
                <a:cubicBezTo>
                  <a:pt x="6808" y="273"/>
                  <a:pt x="6809" y="273"/>
                  <a:pt x="6809" y="274"/>
                </a:cubicBezTo>
                <a:cubicBezTo>
                  <a:pt x="6809" y="275"/>
                  <a:pt x="6810" y="275"/>
                  <a:pt x="6810" y="276"/>
                </a:cubicBezTo>
                <a:cubicBezTo>
                  <a:pt x="6811" y="276"/>
                  <a:pt x="6812" y="277"/>
                  <a:pt x="6812" y="277"/>
                </a:cubicBezTo>
                <a:cubicBezTo>
                  <a:pt x="6813" y="277"/>
                  <a:pt x="6814" y="276"/>
                  <a:pt x="6814" y="275"/>
                </a:cubicBezTo>
                <a:lnTo>
                  <a:pt x="6813" y="272"/>
                </a:lnTo>
                <a:cubicBezTo>
                  <a:pt x="6813" y="269"/>
                  <a:pt x="6814" y="269"/>
                  <a:pt x="6814" y="269"/>
                </a:cubicBezTo>
                <a:cubicBezTo>
                  <a:pt x="6815" y="269"/>
                  <a:pt x="6816" y="269"/>
                  <a:pt x="6817" y="271"/>
                </a:cubicBezTo>
                <a:lnTo>
                  <a:pt x="6818" y="274"/>
                </a:lnTo>
                <a:cubicBezTo>
                  <a:pt x="6818" y="274"/>
                  <a:pt x="6818" y="273"/>
                  <a:pt x="6818" y="273"/>
                </a:cubicBezTo>
                <a:lnTo>
                  <a:pt x="6818" y="269"/>
                </a:lnTo>
                <a:cubicBezTo>
                  <a:pt x="6817" y="266"/>
                  <a:pt x="6816" y="264"/>
                  <a:pt x="6815" y="264"/>
                </a:cubicBezTo>
                <a:cubicBezTo>
                  <a:pt x="6813" y="264"/>
                  <a:pt x="6813" y="264"/>
                  <a:pt x="6812" y="264"/>
                </a:cubicBezTo>
                <a:lnTo>
                  <a:pt x="6814" y="260"/>
                </a:lnTo>
                <a:cubicBezTo>
                  <a:pt x="6815" y="257"/>
                  <a:pt x="6816" y="256"/>
                  <a:pt x="6817" y="256"/>
                </a:cubicBezTo>
                <a:cubicBezTo>
                  <a:pt x="6817" y="256"/>
                  <a:pt x="6818" y="256"/>
                  <a:pt x="6818" y="257"/>
                </a:cubicBezTo>
                <a:cubicBezTo>
                  <a:pt x="6818" y="257"/>
                  <a:pt x="6817" y="258"/>
                  <a:pt x="6817" y="259"/>
                </a:cubicBezTo>
                <a:lnTo>
                  <a:pt x="6816" y="262"/>
                </a:lnTo>
                <a:cubicBezTo>
                  <a:pt x="6817" y="262"/>
                  <a:pt x="6818" y="262"/>
                  <a:pt x="6819" y="260"/>
                </a:cubicBezTo>
                <a:cubicBezTo>
                  <a:pt x="6821" y="258"/>
                  <a:pt x="6822" y="256"/>
                  <a:pt x="6823" y="252"/>
                </a:cubicBezTo>
                <a:cubicBezTo>
                  <a:pt x="6824" y="249"/>
                  <a:pt x="6825" y="248"/>
                  <a:pt x="6826" y="248"/>
                </a:cubicBezTo>
                <a:cubicBezTo>
                  <a:pt x="6826" y="248"/>
                  <a:pt x="6827" y="248"/>
                  <a:pt x="6828" y="249"/>
                </a:cubicBezTo>
                <a:lnTo>
                  <a:pt x="6829" y="251"/>
                </a:lnTo>
                <a:lnTo>
                  <a:pt x="6828" y="248"/>
                </a:lnTo>
                <a:cubicBezTo>
                  <a:pt x="6828" y="245"/>
                  <a:pt x="6831" y="237"/>
                  <a:pt x="6837" y="227"/>
                </a:cubicBezTo>
                <a:cubicBezTo>
                  <a:pt x="6852" y="202"/>
                  <a:pt x="6866" y="182"/>
                  <a:pt x="6879" y="167"/>
                </a:cubicBezTo>
                <a:cubicBezTo>
                  <a:pt x="6881" y="166"/>
                  <a:pt x="6882" y="164"/>
                  <a:pt x="6883" y="164"/>
                </a:cubicBezTo>
                <a:cubicBezTo>
                  <a:pt x="6884" y="163"/>
                  <a:pt x="6886" y="162"/>
                  <a:pt x="6887" y="162"/>
                </a:cubicBezTo>
                <a:cubicBezTo>
                  <a:pt x="6888" y="162"/>
                  <a:pt x="6889" y="163"/>
                  <a:pt x="6891" y="164"/>
                </a:cubicBezTo>
                <a:cubicBezTo>
                  <a:pt x="6893" y="165"/>
                  <a:pt x="6894" y="166"/>
                  <a:pt x="6895" y="167"/>
                </a:cubicBezTo>
                <a:cubicBezTo>
                  <a:pt x="6896" y="169"/>
                  <a:pt x="6897" y="170"/>
                  <a:pt x="6897" y="171"/>
                </a:cubicBezTo>
                <a:cubicBezTo>
                  <a:pt x="6897" y="171"/>
                  <a:pt x="6897" y="172"/>
                  <a:pt x="6898" y="173"/>
                </a:cubicBezTo>
                <a:cubicBezTo>
                  <a:pt x="6898" y="173"/>
                  <a:pt x="6899" y="172"/>
                  <a:pt x="6901" y="171"/>
                </a:cubicBezTo>
                <a:cubicBezTo>
                  <a:pt x="6902" y="170"/>
                  <a:pt x="6903" y="169"/>
                  <a:pt x="6904" y="169"/>
                </a:cubicBezTo>
                <a:cubicBezTo>
                  <a:pt x="6905" y="169"/>
                  <a:pt x="6906" y="170"/>
                  <a:pt x="6907" y="172"/>
                </a:cubicBezTo>
                <a:cubicBezTo>
                  <a:pt x="6907" y="174"/>
                  <a:pt x="6909" y="175"/>
                  <a:pt x="6913" y="175"/>
                </a:cubicBezTo>
                <a:cubicBezTo>
                  <a:pt x="6916" y="175"/>
                  <a:pt x="6918" y="175"/>
                  <a:pt x="6919" y="176"/>
                </a:cubicBezTo>
                <a:cubicBezTo>
                  <a:pt x="6919" y="177"/>
                  <a:pt x="6920" y="178"/>
                  <a:pt x="6920" y="180"/>
                </a:cubicBezTo>
                <a:cubicBezTo>
                  <a:pt x="6920" y="185"/>
                  <a:pt x="6918" y="191"/>
                  <a:pt x="6915" y="196"/>
                </a:cubicBezTo>
                <a:cubicBezTo>
                  <a:pt x="6913" y="198"/>
                  <a:pt x="6913" y="199"/>
                  <a:pt x="6912" y="199"/>
                </a:cubicBezTo>
                <a:lnTo>
                  <a:pt x="6911" y="199"/>
                </a:lnTo>
                <a:cubicBezTo>
                  <a:pt x="6911" y="199"/>
                  <a:pt x="6911" y="200"/>
                  <a:pt x="6911" y="201"/>
                </a:cubicBezTo>
                <a:cubicBezTo>
                  <a:pt x="6911" y="204"/>
                  <a:pt x="6910" y="208"/>
                  <a:pt x="6908" y="212"/>
                </a:cubicBezTo>
                <a:cubicBezTo>
                  <a:pt x="6906" y="215"/>
                  <a:pt x="6904" y="219"/>
                  <a:pt x="6901" y="222"/>
                </a:cubicBezTo>
                <a:cubicBezTo>
                  <a:pt x="6899" y="225"/>
                  <a:pt x="6897" y="227"/>
                  <a:pt x="6895" y="227"/>
                </a:cubicBezTo>
                <a:lnTo>
                  <a:pt x="6892" y="226"/>
                </a:lnTo>
                <a:cubicBezTo>
                  <a:pt x="6892" y="226"/>
                  <a:pt x="6893" y="227"/>
                  <a:pt x="6894" y="228"/>
                </a:cubicBezTo>
                <a:cubicBezTo>
                  <a:pt x="6896" y="228"/>
                  <a:pt x="6896" y="229"/>
                  <a:pt x="6896" y="231"/>
                </a:cubicBezTo>
                <a:cubicBezTo>
                  <a:pt x="6896" y="232"/>
                  <a:pt x="6895" y="234"/>
                  <a:pt x="6894" y="236"/>
                </a:cubicBezTo>
                <a:cubicBezTo>
                  <a:pt x="6892" y="239"/>
                  <a:pt x="6891" y="241"/>
                  <a:pt x="6891" y="244"/>
                </a:cubicBezTo>
                <a:lnTo>
                  <a:pt x="6891" y="245"/>
                </a:lnTo>
                <a:cubicBezTo>
                  <a:pt x="6891" y="245"/>
                  <a:pt x="6889" y="245"/>
                  <a:pt x="6887" y="245"/>
                </a:cubicBezTo>
                <a:lnTo>
                  <a:pt x="6884" y="245"/>
                </a:lnTo>
                <a:cubicBezTo>
                  <a:pt x="6882" y="245"/>
                  <a:pt x="6881" y="246"/>
                  <a:pt x="6881" y="247"/>
                </a:cubicBezTo>
                <a:cubicBezTo>
                  <a:pt x="6881" y="249"/>
                  <a:pt x="6881" y="250"/>
                  <a:pt x="6880" y="250"/>
                </a:cubicBezTo>
                <a:lnTo>
                  <a:pt x="6879" y="250"/>
                </a:lnTo>
                <a:cubicBezTo>
                  <a:pt x="6878" y="250"/>
                  <a:pt x="6878" y="250"/>
                  <a:pt x="6878" y="250"/>
                </a:cubicBezTo>
                <a:cubicBezTo>
                  <a:pt x="6878" y="251"/>
                  <a:pt x="6878" y="252"/>
                  <a:pt x="6879" y="253"/>
                </a:cubicBezTo>
                <a:cubicBezTo>
                  <a:pt x="6879" y="254"/>
                  <a:pt x="6879" y="255"/>
                  <a:pt x="6880" y="255"/>
                </a:cubicBezTo>
                <a:cubicBezTo>
                  <a:pt x="6881" y="255"/>
                  <a:pt x="6881" y="254"/>
                  <a:pt x="6883" y="252"/>
                </a:cubicBezTo>
                <a:lnTo>
                  <a:pt x="6884" y="250"/>
                </a:lnTo>
                <a:lnTo>
                  <a:pt x="6882" y="254"/>
                </a:lnTo>
                <a:cubicBezTo>
                  <a:pt x="6881" y="256"/>
                  <a:pt x="6880" y="259"/>
                  <a:pt x="6880" y="262"/>
                </a:cubicBezTo>
                <a:cubicBezTo>
                  <a:pt x="6880" y="263"/>
                  <a:pt x="6879" y="264"/>
                  <a:pt x="6876" y="264"/>
                </a:cubicBezTo>
                <a:cubicBezTo>
                  <a:pt x="6874" y="264"/>
                  <a:pt x="6873" y="264"/>
                  <a:pt x="6873" y="264"/>
                </a:cubicBezTo>
                <a:cubicBezTo>
                  <a:pt x="6873" y="264"/>
                  <a:pt x="6874" y="263"/>
                  <a:pt x="6875" y="262"/>
                </a:cubicBezTo>
                <a:cubicBezTo>
                  <a:pt x="6876" y="262"/>
                  <a:pt x="6876" y="261"/>
                  <a:pt x="6876" y="261"/>
                </a:cubicBezTo>
                <a:cubicBezTo>
                  <a:pt x="6876" y="261"/>
                  <a:pt x="6876" y="260"/>
                  <a:pt x="6874" y="260"/>
                </a:cubicBezTo>
                <a:cubicBezTo>
                  <a:pt x="6873" y="260"/>
                  <a:pt x="6872" y="261"/>
                  <a:pt x="6872" y="261"/>
                </a:cubicBezTo>
                <a:cubicBezTo>
                  <a:pt x="6871" y="262"/>
                  <a:pt x="6870" y="263"/>
                  <a:pt x="6870" y="264"/>
                </a:cubicBezTo>
                <a:cubicBezTo>
                  <a:pt x="6870" y="264"/>
                  <a:pt x="6870" y="265"/>
                  <a:pt x="6870" y="266"/>
                </a:cubicBezTo>
                <a:cubicBezTo>
                  <a:pt x="6869" y="267"/>
                  <a:pt x="6869" y="268"/>
                  <a:pt x="6868" y="268"/>
                </a:cubicBezTo>
                <a:lnTo>
                  <a:pt x="6867" y="269"/>
                </a:lnTo>
                <a:cubicBezTo>
                  <a:pt x="6867" y="269"/>
                  <a:pt x="6867" y="269"/>
                  <a:pt x="6867" y="269"/>
                </a:cubicBezTo>
                <a:lnTo>
                  <a:pt x="6870" y="269"/>
                </a:lnTo>
                <a:cubicBezTo>
                  <a:pt x="6872" y="269"/>
                  <a:pt x="6874" y="269"/>
                  <a:pt x="6874" y="269"/>
                </a:cubicBezTo>
                <a:cubicBezTo>
                  <a:pt x="6874" y="270"/>
                  <a:pt x="6873" y="271"/>
                  <a:pt x="6872" y="273"/>
                </a:cubicBezTo>
                <a:cubicBezTo>
                  <a:pt x="6872" y="274"/>
                  <a:pt x="6870" y="275"/>
                  <a:pt x="6868" y="275"/>
                </a:cubicBezTo>
                <a:lnTo>
                  <a:pt x="6863" y="274"/>
                </a:lnTo>
                <a:cubicBezTo>
                  <a:pt x="6862" y="274"/>
                  <a:pt x="6862" y="274"/>
                  <a:pt x="6862" y="275"/>
                </a:cubicBezTo>
                <a:lnTo>
                  <a:pt x="6862" y="277"/>
                </a:lnTo>
                <a:lnTo>
                  <a:pt x="6862" y="279"/>
                </a:lnTo>
                <a:lnTo>
                  <a:pt x="6857" y="281"/>
                </a:lnTo>
                <a:cubicBezTo>
                  <a:pt x="6857" y="282"/>
                  <a:pt x="6858" y="283"/>
                  <a:pt x="6860" y="284"/>
                </a:cubicBezTo>
                <a:cubicBezTo>
                  <a:pt x="6862" y="285"/>
                  <a:pt x="6862" y="286"/>
                  <a:pt x="6862" y="287"/>
                </a:cubicBezTo>
                <a:cubicBezTo>
                  <a:pt x="6862" y="289"/>
                  <a:pt x="6862" y="290"/>
                  <a:pt x="6861" y="291"/>
                </a:cubicBezTo>
                <a:cubicBezTo>
                  <a:pt x="6860" y="292"/>
                  <a:pt x="6859" y="293"/>
                  <a:pt x="6857" y="293"/>
                </a:cubicBezTo>
                <a:cubicBezTo>
                  <a:pt x="6856" y="293"/>
                  <a:pt x="6856" y="293"/>
                  <a:pt x="6855" y="292"/>
                </a:cubicBezTo>
                <a:cubicBezTo>
                  <a:pt x="6854" y="291"/>
                  <a:pt x="6853" y="291"/>
                  <a:pt x="6852" y="291"/>
                </a:cubicBezTo>
                <a:cubicBezTo>
                  <a:pt x="6852" y="291"/>
                  <a:pt x="6851" y="292"/>
                  <a:pt x="6850" y="293"/>
                </a:cubicBezTo>
                <a:lnTo>
                  <a:pt x="6850" y="294"/>
                </a:lnTo>
                <a:cubicBezTo>
                  <a:pt x="6850" y="296"/>
                  <a:pt x="6851" y="296"/>
                  <a:pt x="6853" y="296"/>
                </a:cubicBezTo>
                <a:cubicBezTo>
                  <a:pt x="6854" y="296"/>
                  <a:pt x="6855" y="297"/>
                  <a:pt x="6855" y="299"/>
                </a:cubicBezTo>
                <a:cubicBezTo>
                  <a:pt x="6855" y="299"/>
                  <a:pt x="6853" y="300"/>
                  <a:pt x="6850" y="300"/>
                </a:cubicBezTo>
                <a:lnTo>
                  <a:pt x="6846" y="299"/>
                </a:lnTo>
                <a:cubicBezTo>
                  <a:pt x="6846" y="300"/>
                  <a:pt x="6847" y="301"/>
                  <a:pt x="6850" y="302"/>
                </a:cubicBezTo>
                <a:cubicBezTo>
                  <a:pt x="6852" y="304"/>
                  <a:pt x="6853" y="305"/>
                  <a:pt x="6853" y="306"/>
                </a:cubicBezTo>
                <a:cubicBezTo>
                  <a:pt x="6853" y="306"/>
                  <a:pt x="6852" y="307"/>
                  <a:pt x="6851" y="308"/>
                </a:cubicBezTo>
                <a:cubicBezTo>
                  <a:pt x="6849" y="308"/>
                  <a:pt x="6848" y="310"/>
                  <a:pt x="6848" y="311"/>
                </a:cubicBezTo>
                <a:lnTo>
                  <a:pt x="6848" y="313"/>
                </a:lnTo>
                <a:lnTo>
                  <a:pt x="6846" y="311"/>
                </a:lnTo>
                <a:cubicBezTo>
                  <a:pt x="6844" y="311"/>
                  <a:pt x="6844" y="313"/>
                  <a:pt x="6844" y="316"/>
                </a:cubicBezTo>
                <a:lnTo>
                  <a:pt x="6844" y="319"/>
                </a:lnTo>
                <a:lnTo>
                  <a:pt x="6841" y="318"/>
                </a:lnTo>
                <a:cubicBezTo>
                  <a:pt x="6840" y="318"/>
                  <a:pt x="6840" y="318"/>
                  <a:pt x="6840" y="318"/>
                </a:cubicBezTo>
                <a:lnTo>
                  <a:pt x="6841" y="323"/>
                </a:lnTo>
                <a:cubicBezTo>
                  <a:pt x="6841" y="325"/>
                  <a:pt x="6840" y="327"/>
                  <a:pt x="6838" y="327"/>
                </a:cubicBezTo>
                <a:lnTo>
                  <a:pt x="6840" y="323"/>
                </a:lnTo>
                <a:cubicBezTo>
                  <a:pt x="6840" y="323"/>
                  <a:pt x="6839" y="323"/>
                  <a:pt x="6839" y="323"/>
                </a:cubicBezTo>
                <a:lnTo>
                  <a:pt x="6838" y="324"/>
                </a:lnTo>
                <a:cubicBezTo>
                  <a:pt x="6837" y="324"/>
                  <a:pt x="6836" y="326"/>
                  <a:pt x="6836" y="328"/>
                </a:cubicBezTo>
                <a:cubicBezTo>
                  <a:pt x="6836" y="331"/>
                  <a:pt x="6835" y="333"/>
                  <a:pt x="6832" y="335"/>
                </a:cubicBezTo>
                <a:cubicBezTo>
                  <a:pt x="6831" y="336"/>
                  <a:pt x="6831" y="337"/>
                  <a:pt x="6831" y="337"/>
                </a:cubicBezTo>
                <a:lnTo>
                  <a:pt x="6832" y="337"/>
                </a:lnTo>
                <a:lnTo>
                  <a:pt x="6832" y="337"/>
                </a:lnTo>
                <a:lnTo>
                  <a:pt x="6832" y="337"/>
                </a:lnTo>
                <a:lnTo>
                  <a:pt x="6829" y="340"/>
                </a:lnTo>
                <a:cubicBezTo>
                  <a:pt x="6827" y="343"/>
                  <a:pt x="6826" y="344"/>
                  <a:pt x="6826" y="344"/>
                </a:cubicBezTo>
                <a:lnTo>
                  <a:pt x="6828" y="343"/>
                </a:lnTo>
                <a:lnTo>
                  <a:pt x="6828" y="344"/>
                </a:lnTo>
                <a:cubicBezTo>
                  <a:pt x="6828" y="344"/>
                  <a:pt x="6827" y="345"/>
                  <a:pt x="6826" y="346"/>
                </a:cubicBezTo>
                <a:cubicBezTo>
                  <a:pt x="6825" y="347"/>
                  <a:pt x="6824" y="348"/>
                  <a:pt x="6824" y="349"/>
                </a:cubicBezTo>
                <a:cubicBezTo>
                  <a:pt x="6823" y="350"/>
                  <a:pt x="6822" y="350"/>
                  <a:pt x="6822" y="351"/>
                </a:cubicBezTo>
                <a:cubicBezTo>
                  <a:pt x="6822" y="352"/>
                  <a:pt x="6821" y="354"/>
                  <a:pt x="6819" y="356"/>
                </a:cubicBezTo>
                <a:lnTo>
                  <a:pt x="6817" y="358"/>
                </a:lnTo>
                <a:lnTo>
                  <a:pt x="6819" y="357"/>
                </a:lnTo>
                <a:cubicBezTo>
                  <a:pt x="6819" y="357"/>
                  <a:pt x="6819" y="358"/>
                  <a:pt x="6819" y="359"/>
                </a:cubicBezTo>
                <a:cubicBezTo>
                  <a:pt x="6819" y="360"/>
                  <a:pt x="6819" y="361"/>
                  <a:pt x="6818" y="363"/>
                </a:cubicBezTo>
                <a:cubicBezTo>
                  <a:pt x="6817" y="365"/>
                  <a:pt x="6815" y="366"/>
                  <a:pt x="6814" y="368"/>
                </a:cubicBezTo>
                <a:lnTo>
                  <a:pt x="6812" y="370"/>
                </a:lnTo>
                <a:lnTo>
                  <a:pt x="6814" y="369"/>
                </a:lnTo>
                <a:cubicBezTo>
                  <a:pt x="6814" y="369"/>
                  <a:pt x="6814" y="370"/>
                  <a:pt x="6814" y="370"/>
                </a:cubicBezTo>
                <a:cubicBezTo>
                  <a:pt x="6814" y="372"/>
                  <a:pt x="6813" y="378"/>
                  <a:pt x="6809" y="387"/>
                </a:cubicBezTo>
                <a:lnTo>
                  <a:pt x="6800" y="411"/>
                </a:lnTo>
                <a:cubicBezTo>
                  <a:pt x="6796" y="422"/>
                  <a:pt x="6792" y="429"/>
                  <a:pt x="6790" y="432"/>
                </a:cubicBezTo>
                <a:lnTo>
                  <a:pt x="6789" y="434"/>
                </a:lnTo>
                <a:lnTo>
                  <a:pt x="6791" y="433"/>
                </a:lnTo>
                <a:cubicBezTo>
                  <a:pt x="6792" y="433"/>
                  <a:pt x="6792" y="433"/>
                  <a:pt x="6792" y="433"/>
                </a:cubicBezTo>
                <a:cubicBezTo>
                  <a:pt x="6792" y="435"/>
                  <a:pt x="6791" y="438"/>
                  <a:pt x="6789" y="445"/>
                </a:cubicBezTo>
                <a:cubicBezTo>
                  <a:pt x="6787" y="451"/>
                  <a:pt x="6785" y="455"/>
                  <a:pt x="6784" y="455"/>
                </a:cubicBezTo>
                <a:cubicBezTo>
                  <a:pt x="6783" y="455"/>
                  <a:pt x="6782" y="457"/>
                  <a:pt x="6782" y="462"/>
                </a:cubicBezTo>
                <a:cubicBezTo>
                  <a:pt x="6782" y="467"/>
                  <a:pt x="6782" y="470"/>
                  <a:pt x="6780" y="471"/>
                </a:cubicBezTo>
                <a:cubicBezTo>
                  <a:pt x="6779" y="472"/>
                  <a:pt x="6778" y="474"/>
                  <a:pt x="6777" y="477"/>
                </a:cubicBezTo>
                <a:cubicBezTo>
                  <a:pt x="6775" y="491"/>
                  <a:pt x="6773" y="498"/>
                  <a:pt x="6771" y="498"/>
                </a:cubicBezTo>
                <a:lnTo>
                  <a:pt x="6770" y="498"/>
                </a:lnTo>
                <a:cubicBezTo>
                  <a:pt x="6770" y="498"/>
                  <a:pt x="6770" y="499"/>
                  <a:pt x="6770" y="500"/>
                </a:cubicBezTo>
                <a:lnTo>
                  <a:pt x="6770" y="502"/>
                </a:lnTo>
                <a:cubicBezTo>
                  <a:pt x="6770" y="506"/>
                  <a:pt x="6770" y="508"/>
                  <a:pt x="6769" y="508"/>
                </a:cubicBezTo>
                <a:lnTo>
                  <a:pt x="6767" y="507"/>
                </a:lnTo>
                <a:cubicBezTo>
                  <a:pt x="6767" y="507"/>
                  <a:pt x="6767" y="507"/>
                  <a:pt x="6767" y="508"/>
                </a:cubicBezTo>
                <a:lnTo>
                  <a:pt x="6768" y="515"/>
                </a:lnTo>
                <a:lnTo>
                  <a:pt x="6767" y="517"/>
                </a:lnTo>
                <a:lnTo>
                  <a:pt x="6766" y="517"/>
                </a:lnTo>
                <a:cubicBezTo>
                  <a:pt x="6765" y="517"/>
                  <a:pt x="6765" y="519"/>
                  <a:pt x="6765" y="523"/>
                </a:cubicBezTo>
                <a:cubicBezTo>
                  <a:pt x="6765" y="526"/>
                  <a:pt x="6765" y="528"/>
                  <a:pt x="6764" y="529"/>
                </a:cubicBezTo>
                <a:cubicBezTo>
                  <a:pt x="6763" y="531"/>
                  <a:pt x="6763" y="533"/>
                  <a:pt x="6762" y="533"/>
                </a:cubicBezTo>
                <a:cubicBezTo>
                  <a:pt x="6761" y="533"/>
                  <a:pt x="6761" y="534"/>
                  <a:pt x="6761" y="535"/>
                </a:cubicBezTo>
                <a:lnTo>
                  <a:pt x="6761" y="535"/>
                </a:lnTo>
                <a:cubicBezTo>
                  <a:pt x="6761" y="536"/>
                  <a:pt x="6761" y="536"/>
                  <a:pt x="6761" y="538"/>
                </a:cubicBezTo>
                <a:cubicBezTo>
                  <a:pt x="6761" y="540"/>
                  <a:pt x="6761" y="543"/>
                  <a:pt x="6760" y="546"/>
                </a:cubicBezTo>
                <a:cubicBezTo>
                  <a:pt x="6759" y="549"/>
                  <a:pt x="6758" y="552"/>
                  <a:pt x="6757" y="555"/>
                </a:cubicBezTo>
                <a:cubicBezTo>
                  <a:pt x="6756" y="558"/>
                  <a:pt x="6755" y="559"/>
                  <a:pt x="6755" y="559"/>
                </a:cubicBezTo>
                <a:lnTo>
                  <a:pt x="6754" y="559"/>
                </a:lnTo>
                <a:cubicBezTo>
                  <a:pt x="6754" y="559"/>
                  <a:pt x="6754" y="559"/>
                  <a:pt x="6754" y="560"/>
                </a:cubicBezTo>
                <a:lnTo>
                  <a:pt x="6755" y="564"/>
                </a:lnTo>
                <a:cubicBezTo>
                  <a:pt x="6755" y="566"/>
                  <a:pt x="6754" y="567"/>
                  <a:pt x="6753" y="568"/>
                </a:cubicBezTo>
                <a:cubicBezTo>
                  <a:pt x="6752" y="568"/>
                  <a:pt x="6751" y="569"/>
                  <a:pt x="6751" y="569"/>
                </a:cubicBezTo>
                <a:cubicBezTo>
                  <a:pt x="6751" y="570"/>
                  <a:pt x="6752" y="570"/>
                  <a:pt x="6752" y="570"/>
                </a:cubicBezTo>
                <a:cubicBezTo>
                  <a:pt x="6753" y="570"/>
                  <a:pt x="6754" y="571"/>
                  <a:pt x="6754" y="574"/>
                </a:cubicBezTo>
                <a:cubicBezTo>
                  <a:pt x="6753" y="577"/>
                  <a:pt x="6752" y="578"/>
                  <a:pt x="6752" y="578"/>
                </a:cubicBezTo>
                <a:lnTo>
                  <a:pt x="6751" y="578"/>
                </a:lnTo>
                <a:cubicBezTo>
                  <a:pt x="6750" y="578"/>
                  <a:pt x="6750" y="580"/>
                  <a:pt x="6750" y="583"/>
                </a:cubicBezTo>
                <a:lnTo>
                  <a:pt x="6750" y="588"/>
                </a:lnTo>
                <a:cubicBezTo>
                  <a:pt x="6750" y="588"/>
                  <a:pt x="6750" y="587"/>
                  <a:pt x="6749" y="586"/>
                </a:cubicBezTo>
                <a:cubicBezTo>
                  <a:pt x="6748" y="585"/>
                  <a:pt x="6748" y="583"/>
                  <a:pt x="6748" y="580"/>
                </a:cubicBezTo>
                <a:cubicBezTo>
                  <a:pt x="6748" y="576"/>
                  <a:pt x="6748" y="571"/>
                  <a:pt x="6750" y="564"/>
                </a:cubicBezTo>
                <a:lnTo>
                  <a:pt x="6755" y="541"/>
                </a:lnTo>
                <a:cubicBezTo>
                  <a:pt x="6753" y="541"/>
                  <a:pt x="6749" y="555"/>
                  <a:pt x="6743" y="583"/>
                </a:cubicBezTo>
                <a:cubicBezTo>
                  <a:pt x="6742" y="592"/>
                  <a:pt x="6741" y="598"/>
                  <a:pt x="6741" y="601"/>
                </a:cubicBezTo>
                <a:cubicBezTo>
                  <a:pt x="6741" y="603"/>
                  <a:pt x="6741" y="604"/>
                  <a:pt x="6740" y="605"/>
                </a:cubicBezTo>
                <a:cubicBezTo>
                  <a:pt x="6739" y="605"/>
                  <a:pt x="6737" y="611"/>
                  <a:pt x="6735" y="623"/>
                </a:cubicBezTo>
                <a:cubicBezTo>
                  <a:pt x="6733" y="635"/>
                  <a:pt x="6731" y="642"/>
                  <a:pt x="6729" y="643"/>
                </a:cubicBezTo>
                <a:close/>
                <a:moveTo>
                  <a:pt x="6801" y="311"/>
                </a:moveTo>
                <a:cubicBezTo>
                  <a:pt x="6802" y="311"/>
                  <a:pt x="6802" y="310"/>
                  <a:pt x="6803" y="309"/>
                </a:cubicBezTo>
                <a:cubicBezTo>
                  <a:pt x="6805" y="308"/>
                  <a:pt x="6805" y="307"/>
                  <a:pt x="6805" y="306"/>
                </a:cubicBezTo>
                <a:cubicBezTo>
                  <a:pt x="6805" y="305"/>
                  <a:pt x="6805" y="305"/>
                  <a:pt x="6804" y="305"/>
                </a:cubicBezTo>
                <a:cubicBezTo>
                  <a:pt x="6804" y="305"/>
                  <a:pt x="6803" y="306"/>
                  <a:pt x="6802" y="308"/>
                </a:cubicBezTo>
                <a:lnTo>
                  <a:pt x="6801" y="311"/>
                </a:lnTo>
                <a:close/>
                <a:moveTo>
                  <a:pt x="6756" y="467"/>
                </a:moveTo>
                <a:lnTo>
                  <a:pt x="6757" y="465"/>
                </a:lnTo>
                <a:cubicBezTo>
                  <a:pt x="6759" y="462"/>
                  <a:pt x="6760" y="460"/>
                  <a:pt x="6760" y="458"/>
                </a:cubicBezTo>
                <a:cubicBezTo>
                  <a:pt x="6760" y="456"/>
                  <a:pt x="6759" y="455"/>
                  <a:pt x="6759" y="455"/>
                </a:cubicBezTo>
                <a:cubicBezTo>
                  <a:pt x="6759" y="455"/>
                  <a:pt x="6758" y="456"/>
                  <a:pt x="6757" y="458"/>
                </a:cubicBezTo>
                <a:cubicBezTo>
                  <a:pt x="6756" y="460"/>
                  <a:pt x="6755" y="463"/>
                  <a:pt x="6755" y="465"/>
                </a:cubicBezTo>
                <a:cubicBezTo>
                  <a:pt x="6755" y="466"/>
                  <a:pt x="6755" y="467"/>
                  <a:pt x="6756" y="467"/>
                </a:cubicBezTo>
                <a:close/>
                <a:moveTo>
                  <a:pt x="6769" y="409"/>
                </a:moveTo>
                <a:cubicBezTo>
                  <a:pt x="6770" y="409"/>
                  <a:pt x="6771" y="409"/>
                  <a:pt x="6772" y="407"/>
                </a:cubicBezTo>
                <a:lnTo>
                  <a:pt x="6772" y="406"/>
                </a:lnTo>
                <a:cubicBezTo>
                  <a:pt x="6772" y="405"/>
                  <a:pt x="6771" y="405"/>
                  <a:pt x="6771" y="405"/>
                </a:cubicBezTo>
                <a:cubicBezTo>
                  <a:pt x="6769" y="405"/>
                  <a:pt x="6768" y="406"/>
                  <a:pt x="6768" y="407"/>
                </a:cubicBezTo>
                <a:cubicBezTo>
                  <a:pt x="6768" y="409"/>
                  <a:pt x="6769" y="409"/>
                  <a:pt x="6769" y="409"/>
                </a:cubicBezTo>
                <a:close/>
                <a:moveTo>
                  <a:pt x="6768" y="402"/>
                </a:moveTo>
                <a:cubicBezTo>
                  <a:pt x="6770" y="402"/>
                  <a:pt x="6770" y="401"/>
                  <a:pt x="6771" y="399"/>
                </a:cubicBezTo>
                <a:lnTo>
                  <a:pt x="6772" y="395"/>
                </a:lnTo>
                <a:cubicBezTo>
                  <a:pt x="6772" y="393"/>
                  <a:pt x="6771" y="392"/>
                  <a:pt x="6770" y="392"/>
                </a:cubicBezTo>
                <a:cubicBezTo>
                  <a:pt x="6769" y="392"/>
                  <a:pt x="6768" y="393"/>
                  <a:pt x="6767" y="395"/>
                </a:cubicBezTo>
                <a:cubicBezTo>
                  <a:pt x="6765" y="397"/>
                  <a:pt x="6765" y="398"/>
                  <a:pt x="6765" y="399"/>
                </a:cubicBezTo>
                <a:cubicBezTo>
                  <a:pt x="6765" y="402"/>
                  <a:pt x="6766" y="402"/>
                  <a:pt x="6768" y="402"/>
                </a:cubicBezTo>
                <a:close/>
                <a:moveTo>
                  <a:pt x="6773" y="433"/>
                </a:moveTo>
                <a:cubicBezTo>
                  <a:pt x="6773" y="433"/>
                  <a:pt x="6774" y="433"/>
                  <a:pt x="6775" y="432"/>
                </a:cubicBezTo>
                <a:cubicBezTo>
                  <a:pt x="6775" y="431"/>
                  <a:pt x="6776" y="430"/>
                  <a:pt x="6776" y="428"/>
                </a:cubicBezTo>
                <a:cubicBezTo>
                  <a:pt x="6777" y="427"/>
                  <a:pt x="6777" y="426"/>
                  <a:pt x="6777" y="424"/>
                </a:cubicBezTo>
                <a:cubicBezTo>
                  <a:pt x="6777" y="424"/>
                  <a:pt x="6777" y="424"/>
                  <a:pt x="6776" y="424"/>
                </a:cubicBezTo>
                <a:cubicBezTo>
                  <a:pt x="6776" y="424"/>
                  <a:pt x="6776" y="424"/>
                  <a:pt x="6775" y="425"/>
                </a:cubicBezTo>
                <a:cubicBezTo>
                  <a:pt x="6774" y="426"/>
                  <a:pt x="6774" y="427"/>
                  <a:pt x="6773" y="429"/>
                </a:cubicBezTo>
                <a:cubicBezTo>
                  <a:pt x="6773" y="430"/>
                  <a:pt x="6773" y="431"/>
                  <a:pt x="6773" y="432"/>
                </a:cubicBezTo>
                <a:cubicBezTo>
                  <a:pt x="6773" y="433"/>
                  <a:pt x="6773" y="433"/>
                  <a:pt x="6773" y="433"/>
                </a:cubicBezTo>
                <a:close/>
                <a:moveTo>
                  <a:pt x="6759" y="541"/>
                </a:moveTo>
                <a:lnTo>
                  <a:pt x="6760" y="541"/>
                </a:lnTo>
                <a:lnTo>
                  <a:pt x="6759" y="538"/>
                </a:lnTo>
                <a:cubicBezTo>
                  <a:pt x="6758" y="536"/>
                  <a:pt x="6757" y="535"/>
                  <a:pt x="6755" y="535"/>
                </a:cubicBezTo>
                <a:cubicBezTo>
                  <a:pt x="6755" y="535"/>
                  <a:pt x="6754" y="536"/>
                  <a:pt x="6754" y="536"/>
                </a:cubicBezTo>
                <a:cubicBezTo>
                  <a:pt x="6754" y="537"/>
                  <a:pt x="6755" y="538"/>
                  <a:pt x="6756" y="539"/>
                </a:cubicBezTo>
                <a:cubicBezTo>
                  <a:pt x="6757" y="541"/>
                  <a:pt x="6759" y="541"/>
                  <a:pt x="6759" y="541"/>
                </a:cubicBezTo>
                <a:close/>
                <a:moveTo>
                  <a:pt x="6761" y="531"/>
                </a:moveTo>
                <a:lnTo>
                  <a:pt x="6762" y="530"/>
                </a:lnTo>
                <a:lnTo>
                  <a:pt x="6761" y="529"/>
                </a:lnTo>
                <a:cubicBezTo>
                  <a:pt x="6760" y="527"/>
                  <a:pt x="6758" y="526"/>
                  <a:pt x="6757" y="526"/>
                </a:cubicBezTo>
                <a:cubicBezTo>
                  <a:pt x="6756" y="526"/>
                  <a:pt x="6756" y="527"/>
                  <a:pt x="6756" y="527"/>
                </a:cubicBezTo>
                <a:cubicBezTo>
                  <a:pt x="6756" y="528"/>
                  <a:pt x="6756" y="528"/>
                  <a:pt x="6757" y="529"/>
                </a:cubicBezTo>
                <a:lnTo>
                  <a:pt x="6761" y="531"/>
                </a:lnTo>
                <a:close/>
                <a:moveTo>
                  <a:pt x="6761" y="517"/>
                </a:moveTo>
                <a:cubicBezTo>
                  <a:pt x="6761" y="516"/>
                  <a:pt x="6762" y="515"/>
                  <a:pt x="6762" y="514"/>
                </a:cubicBezTo>
                <a:lnTo>
                  <a:pt x="6761" y="512"/>
                </a:lnTo>
                <a:cubicBezTo>
                  <a:pt x="6761" y="512"/>
                  <a:pt x="6760" y="511"/>
                  <a:pt x="6760" y="511"/>
                </a:cubicBezTo>
                <a:cubicBezTo>
                  <a:pt x="6760" y="511"/>
                  <a:pt x="6760" y="512"/>
                  <a:pt x="6760" y="514"/>
                </a:cubicBezTo>
                <a:cubicBezTo>
                  <a:pt x="6760" y="516"/>
                  <a:pt x="6760" y="517"/>
                  <a:pt x="6761" y="517"/>
                </a:cubicBezTo>
                <a:close/>
                <a:moveTo>
                  <a:pt x="6762" y="508"/>
                </a:moveTo>
                <a:lnTo>
                  <a:pt x="6763" y="507"/>
                </a:lnTo>
                <a:cubicBezTo>
                  <a:pt x="6764" y="507"/>
                  <a:pt x="6764" y="506"/>
                  <a:pt x="6764" y="506"/>
                </a:cubicBezTo>
                <a:lnTo>
                  <a:pt x="6763" y="503"/>
                </a:lnTo>
                <a:lnTo>
                  <a:pt x="6762" y="502"/>
                </a:lnTo>
                <a:cubicBezTo>
                  <a:pt x="6762" y="502"/>
                  <a:pt x="6762" y="503"/>
                  <a:pt x="6762" y="506"/>
                </a:cubicBezTo>
                <a:cubicBezTo>
                  <a:pt x="6762" y="507"/>
                  <a:pt x="6762" y="507"/>
                  <a:pt x="6762" y="508"/>
                </a:cubicBezTo>
                <a:close/>
                <a:moveTo>
                  <a:pt x="6767" y="490"/>
                </a:moveTo>
                <a:cubicBezTo>
                  <a:pt x="6767" y="490"/>
                  <a:pt x="6768" y="488"/>
                  <a:pt x="6769" y="486"/>
                </a:cubicBezTo>
                <a:lnTo>
                  <a:pt x="6769" y="484"/>
                </a:lnTo>
                <a:cubicBezTo>
                  <a:pt x="6769" y="484"/>
                  <a:pt x="6769" y="484"/>
                  <a:pt x="6769" y="484"/>
                </a:cubicBezTo>
                <a:lnTo>
                  <a:pt x="6768" y="484"/>
                </a:lnTo>
                <a:cubicBezTo>
                  <a:pt x="6767" y="485"/>
                  <a:pt x="6767" y="485"/>
                  <a:pt x="6767" y="485"/>
                </a:cubicBezTo>
                <a:cubicBezTo>
                  <a:pt x="6766" y="486"/>
                  <a:pt x="6766" y="487"/>
                  <a:pt x="6766" y="487"/>
                </a:cubicBezTo>
                <a:cubicBezTo>
                  <a:pt x="6766" y="489"/>
                  <a:pt x="6766" y="490"/>
                  <a:pt x="6767" y="490"/>
                </a:cubicBezTo>
                <a:close/>
                <a:moveTo>
                  <a:pt x="6769" y="480"/>
                </a:moveTo>
                <a:lnTo>
                  <a:pt x="6771" y="479"/>
                </a:lnTo>
                <a:cubicBezTo>
                  <a:pt x="6772" y="478"/>
                  <a:pt x="6772" y="476"/>
                  <a:pt x="6772" y="475"/>
                </a:cubicBezTo>
                <a:cubicBezTo>
                  <a:pt x="6772" y="475"/>
                  <a:pt x="6772" y="474"/>
                  <a:pt x="6772" y="474"/>
                </a:cubicBezTo>
                <a:cubicBezTo>
                  <a:pt x="6771" y="474"/>
                  <a:pt x="6771" y="475"/>
                  <a:pt x="6770" y="476"/>
                </a:cubicBezTo>
                <a:cubicBezTo>
                  <a:pt x="6769" y="477"/>
                  <a:pt x="6769" y="478"/>
                  <a:pt x="6769" y="480"/>
                </a:cubicBezTo>
                <a:cubicBezTo>
                  <a:pt x="6769" y="480"/>
                  <a:pt x="6769" y="480"/>
                  <a:pt x="6769" y="480"/>
                </a:cubicBezTo>
                <a:close/>
                <a:moveTo>
                  <a:pt x="6774" y="469"/>
                </a:moveTo>
                <a:cubicBezTo>
                  <a:pt x="6774" y="469"/>
                  <a:pt x="6775" y="468"/>
                  <a:pt x="6775" y="466"/>
                </a:cubicBezTo>
                <a:lnTo>
                  <a:pt x="6776" y="464"/>
                </a:lnTo>
                <a:cubicBezTo>
                  <a:pt x="6776" y="463"/>
                  <a:pt x="6776" y="463"/>
                  <a:pt x="6775" y="463"/>
                </a:cubicBezTo>
                <a:lnTo>
                  <a:pt x="6775" y="463"/>
                </a:lnTo>
                <a:cubicBezTo>
                  <a:pt x="6773" y="465"/>
                  <a:pt x="6773" y="466"/>
                  <a:pt x="6773" y="467"/>
                </a:cubicBezTo>
                <a:cubicBezTo>
                  <a:pt x="6773" y="468"/>
                  <a:pt x="6773" y="469"/>
                  <a:pt x="6773" y="469"/>
                </a:cubicBezTo>
                <a:lnTo>
                  <a:pt x="6774" y="469"/>
                </a:lnTo>
                <a:close/>
                <a:moveTo>
                  <a:pt x="6794" y="341"/>
                </a:moveTo>
                <a:cubicBezTo>
                  <a:pt x="6795" y="341"/>
                  <a:pt x="6797" y="339"/>
                  <a:pt x="6799" y="334"/>
                </a:cubicBezTo>
                <a:cubicBezTo>
                  <a:pt x="6801" y="332"/>
                  <a:pt x="6801" y="330"/>
                  <a:pt x="6801" y="329"/>
                </a:cubicBezTo>
                <a:cubicBezTo>
                  <a:pt x="6801" y="328"/>
                  <a:pt x="6800" y="328"/>
                  <a:pt x="6799" y="328"/>
                </a:cubicBezTo>
                <a:cubicBezTo>
                  <a:pt x="6795" y="328"/>
                  <a:pt x="6793" y="328"/>
                  <a:pt x="6793" y="329"/>
                </a:cubicBezTo>
                <a:lnTo>
                  <a:pt x="6794" y="330"/>
                </a:lnTo>
                <a:cubicBezTo>
                  <a:pt x="6794" y="331"/>
                  <a:pt x="6794" y="331"/>
                  <a:pt x="6795" y="331"/>
                </a:cubicBezTo>
                <a:cubicBezTo>
                  <a:pt x="6796" y="331"/>
                  <a:pt x="6796" y="331"/>
                  <a:pt x="6797" y="330"/>
                </a:cubicBezTo>
                <a:cubicBezTo>
                  <a:pt x="6797" y="330"/>
                  <a:pt x="6798" y="330"/>
                  <a:pt x="6798" y="330"/>
                </a:cubicBezTo>
                <a:cubicBezTo>
                  <a:pt x="6798" y="330"/>
                  <a:pt x="6799" y="330"/>
                  <a:pt x="6799" y="330"/>
                </a:cubicBezTo>
                <a:cubicBezTo>
                  <a:pt x="6799" y="331"/>
                  <a:pt x="6798" y="333"/>
                  <a:pt x="6797" y="334"/>
                </a:cubicBezTo>
                <a:cubicBezTo>
                  <a:pt x="6797" y="336"/>
                  <a:pt x="6796" y="337"/>
                  <a:pt x="6795" y="337"/>
                </a:cubicBezTo>
                <a:lnTo>
                  <a:pt x="6794" y="337"/>
                </a:lnTo>
                <a:cubicBezTo>
                  <a:pt x="6793" y="337"/>
                  <a:pt x="6792" y="337"/>
                  <a:pt x="6792" y="338"/>
                </a:cubicBezTo>
                <a:cubicBezTo>
                  <a:pt x="6792" y="340"/>
                  <a:pt x="6793" y="341"/>
                  <a:pt x="6794" y="341"/>
                </a:cubicBezTo>
                <a:close/>
                <a:moveTo>
                  <a:pt x="6794" y="389"/>
                </a:moveTo>
                <a:cubicBezTo>
                  <a:pt x="6796" y="389"/>
                  <a:pt x="6797" y="388"/>
                  <a:pt x="6797" y="386"/>
                </a:cubicBezTo>
                <a:cubicBezTo>
                  <a:pt x="6797" y="385"/>
                  <a:pt x="6796" y="384"/>
                  <a:pt x="6795" y="384"/>
                </a:cubicBezTo>
                <a:cubicBezTo>
                  <a:pt x="6795" y="384"/>
                  <a:pt x="6794" y="385"/>
                  <a:pt x="6794" y="386"/>
                </a:cubicBezTo>
                <a:cubicBezTo>
                  <a:pt x="6793" y="387"/>
                  <a:pt x="6793" y="387"/>
                  <a:pt x="6793" y="388"/>
                </a:cubicBezTo>
                <a:cubicBezTo>
                  <a:pt x="6793" y="389"/>
                  <a:pt x="6793" y="389"/>
                  <a:pt x="6794" y="389"/>
                </a:cubicBezTo>
                <a:close/>
                <a:moveTo>
                  <a:pt x="6797" y="382"/>
                </a:moveTo>
                <a:cubicBezTo>
                  <a:pt x="6798" y="382"/>
                  <a:pt x="6799" y="381"/>
                  <a:pt x="6800" y="378"/>
                </a:cubicBezTo>
                <a:cubicBezTo>
                  <a:pt x="6802" y="376"/>
                  <a:pt x="6803" y="374"/>
                  <a:pt x="6803" y="372"/>
                </a:cubicBezTo>
                <a:cubicBezTo>
                  <a:pt x="6803" y="371"/>
                  <a:pt x="6802" y="371"/>
                  <a:pt x="6802" y="371"/>
                </a:cubicBezTo>
                <a:cubicBezTo>
                  <a:pt x="6802" y="371"/>
                  <a:pt x="6802" y="371"/>
                  <a:pt x="6801" y="372"/>
                </a:cubicBezTo>
                <a:cubicBezTo>
                  <a:pt x="6800" y="373"/>
                  <a:pt x="6799" y="374"/>
                  <a:pt x="6799" y="375"/>
                </a:cubicBezTo>
                <a:cubicBezTo>
                  <a:pt x="6798" y="377"/>
                  <a:pt x="6797" y="378"/>
                  <a:pt x="6797" y="379"/>
                </a:cubicBezTo>
                <a:lnTo>
                  <a:pt x="6797" y="382"/>
                </a:lnTo>
                <a:close/>
                <a:moveTo>
                  <a:pt x="6799" y="393"/>
                </a:moveTo>
                <a:lnTo>
                  <a:pt x="6801" y="392"/>
                </a:lnTo>
                <a:cubicBezTo>
                  <a:pt x="6803" y="392"/>
                  <a:pt x="6804" y="391"/>
                  <a:pt x="6804" y="390"/>
                </a:cubicBezTo>
                <a:cubicBezTo>
                  <a:pt x="6804" y="389"/>
                  <a:pt x="6804" y="389"/>
                  <a:pt x="6803" y="389"/>
                </a:cubicBezTo>
                <a:cubicBezTo>
                  <a:pt x="6802" y="389"/>
                  <a:pt x="6801" y="389"/>
                  <a:pt x="6800" y="391"/>
                </a:cubicBezTo>
                <a:lnTo>
                  <a:pt x="6799" y="392"/>
                </a:lnTo>
                <a:lnTo>
                  <a:pt x="6799" y="393"/>
                </a:lnTo>
                <a:close/>
                <a:moveTo>
                  <a:pt x="6809" y="379"/>
                </a:moveTo>
                <a:cubicBezTo>
                  <a:pt x="6809" y="379"/>
                  <a:pt x="6809" y="379"/>
                  <a:pt x="6809" y="378"/>
                </a:cubicBezTo>
                <a:cubicBezTo>
                  <a:pt x="6809" y="377"/>
                  <a:pt x="6808" y="376"/>
                  <a:pt x="6806" y="376"/>
                </a:cubicBezTo>
                <a:cubicBezTo>
                  <a:pt x="6805" y="376"/>
                  <a:pt x="6804" y="377"/>
                  <a:pt x="6804" y="377"/>
                </a:cubicBezTo>
                <a:lnTo>
                  <a:pt x="6804" y="377"/>
                </a:lnTo>
                <a:cubicBezTo>
                  <a:pt x="6804" y="378"/>
                  <a:pt x="6805" y="379"/>
                  <a:pt x="6806" y="379"/>
                </a:cubicBezTo>
                <a:lnTo>
                  <a:pt x="6809" y="379"/>
                </a:lnTo>
                <a:close/>
                <a:moveTo>
                  <a:pt x="6821" y="286"/>
                </a:moveTo>
                <a:cubicBezTo>
                  <a:pt x="6822" y="286"/>
                  <a:pt x="6825" y="281"/>
                  <a:pt x="6829" y="272"/>
                </a:cubicBezTo>
                <a:cubicBezTo>
                  <a:pt x="6833" y="264"/>
                  <a:pt x="6836" y="259"/>
                  <a:pt x="6837" y="259"/>
                </a:cubicBezTo>
                <a:lnTo>
                  <a:pt x="6838" y="259"/>
                </a:lnTo>
                <a:cubicBezTo>
                  <a:pt x="6839" y="259"/>
                  <a:pt x="6839" y="259"/>
                  <a:pt x="6839" y="259"/>
                </a:cubicBezTo>
                <a:lnTo>
                  <a:pt x="6838" y="255"/>
                </a:lnTo>
                <a:cubicBezTo>
                  <a:pt x="6838" y="254"/>
                  <a:pt x="6838" y="254"/>
                  <a:pt x="6838" y="254"/>
                </a:cubicBezTo>
                <a:lnTo>
                  <a:pt x="6841" y="255"/>
                </a:lnTo>
                <a:cubicBezTo>
                  <a:pt x="6841" y="255"/>
                  <a:pt x="6841" y="255"/>
                  <a:pt x="6841" y="255"/>
                </a:cubicBezTo>
                <a:lnTo>
                  <a:pt x="6840" y="250"/>
                </a:lnTo>
                <a:cubicBezTo>
                  <a:pt x="6840" y="250"/>
                  <a:pt x="6840" y="249"/>
                  <a:pt x="6841" y="249"/>
                </a:cubicBezTo>
                <a:lnTo>
                  <a:pt x="6842" y="250"/>
                </a:lnTo>
                <a:cubicBezTo>
                  <a:pt x="6845" y="250"/>
                  <a:pt x="6846" y="249"/>
                  <a:pt x="6846" y="247"/>
                </a:cubicBezTo>
                <a:lnTo>
                  <a:pt x="6846" y="247"/>
                </a:lnTo>
                <a:lnTo>
                  <a:pt x="6843" y="248"/>
                </a:lnTo>
                <a:cubicBezTo>
                  <a:pt x="6843" y="248"/>
                  <a:pt x="6842" y="248"/>
                  <a:pt x="6842" y="247"/>
                </a:cubicBezTo>
                <a:cubicBezTo>
                  <a:pt x="6842" y="247"/>
                  <a:pt x="6842" y="247"/>
                  <a:pt x="6843" y="246"/>
                </a:cubicBezTo>
                <a:cubicBezTo>
                  <a:pt x="6843" y="246"/>
                  <a:pt x="6843" y="245"/>
                  <a:pt x="6844" y="245"/>
                </a:cubicBezTo>
                <a:cubicBezTo>
                  <a:pt x="6845" y="244"/>
                  <a:pt x="6845" y="244"/>
                  <a:pt x="6845" y="244"/>
                </a:cubicBezTo>
                <a:lnTo>
                  <a:pt x="6846" y="244"/>
                </a:lnTo>
                <a:cubicBezTo>
                  <a:pt x="6847" y="244"/>
                  <a:pt x="6847" y="243"/>
                  <a:pt x="6847" y="242"/>
                </a:cubicBezTo>
                <a:lnTo>
                  <a:pt x="6847" y="239"/>
                </a:lnTo>
                <a:cubicBezTo>
                  <a:pt x="6847" y="238"/>
                  <a:pt x="6847" y="238"/>
                  <a:pt x="6849" y="238"/>
                </a:cubicBezTo>
                <a:lnTo>
                  <a:pt x="6850" y="238"/>
                </a:lnTo>
                <a:cubicBezTo>
                  <a:pt x="6851" y="238"/>
                  <a:pt x="6851" y="237"/>
                  <a:pt x="6851" y="236"/>
                </a:cubicBezTo>
                <a:lnTo>
                  <a:pt x="6851" y="234"/>
                </a:lnTo>
                <a:cubicBezTo>
                  <a:pt x="6851" y="232"/>
                  <a:pt x="6852" y="231"/>
                  <a:pt x="6853" y="231"/>
                </a:cubicBezTo>
                <a:lnTo>
                  <a:pt x="6854" y="231"/>
                </a:lnTo>
                <a:cubicBezTo>
                  <a:pt x="6855" y="231"/>
                  <a:pt x="6856" y="230"/>
                  <a:pt x="6856" y="229"/>
                </a:cubicBezTo>
                <a:lnTo>
                  <a:pt x="6856" y="227"/>
                </a:lnTo>
                <a:cubicBezTo>
                  <a:pt x="6856" y="225"/>
                  <a:pt x="6856" y="225"/>
                  <a:pt x="6856" y="225"/>
                </a:cubicBezTo>
                <a:lnTo>
                  <a:pt x="6857" y="225"/>
                </a:lnTo>
                <a:cubicBezTo>
                  <a:pt x="6858" y="225"/>
                  <a:pt x="6859" y="224"/>
                  <a:pt x="6859" y="222"/>
                </a:cubicBezTo>
                <a:lnTo>
                  <a:pt x="6859" y="221"/>
                </a:lnTo>
                <a:cubicBezTo>
                  <a:pt x="6859" y="219"/>
                  <a:pt x="6859" y="218"/>
                  <a:pt x="6860" y="218"/>
                </a:cubicBezTo>
                <a:lnTo>
                  <a:pt x="6861" y="218"/>
                </a:lnTo>
                <a:cubicBezTo>
                  <a:pt x="6862" y="218"/>
                  <a:pt x="6863" y="217"/>
                  <a:pt x="6863" y="215"/>
                </a:cubicBezTo>
                <a:lnTo>
                  <a:pt x="6863" y="214"/>
                </a:lnTo>
                <a:cubicBezTo>
                  <a:pt x="6863" y="212"/>
                  <a:pt x="6864" y="211"/>
                  <a:pt x="6866" y="211"/>
                </a:cubicBezTo>
                <a:cubicBezTo>
                  <a:pt x="6867" y="211"/>
                  <a:pt x="6869" y="209"/>
                  <a:pt x="6872" y="206"/>
                </a:cubicBezTo>
                <a:lnTo>
                  <a:pt x="6874" y="201"/>
                </a:lnTo>
                <a:lnTo>
                  <a:pt x="6874" y="201"/>
                </a:lnTo>
                <a:lnTo>
                  <a:pt x="6871" y="202"/>
                </a:lnTo>
                <a:lnTo>
                  <a:pt x="6873" y="200"/>
                </a:lnTo>
                <a:cubicBezTo>
                  <a:pt x="6874" y="199"/>
                  <a:pt x="6876" y="197"/>
                  <a:pt x="6878" y="193"/>
                </a:cubicBezTo>
                <a:cubicBezTo>
                  <a:pt x="6880" y="191"/>
                  <a:pt x="6882" y="188"/>
                  <a:pt x="6883" y="184"/>
                </a:cubicBezTo>
                <a:cubicBezTo>
                  <a:pt x="6885" y="181"/>
                  <a:pt x="6886" y="179"/>
                  <a:pt x="6886" y="179"/>
                </a:cubicBezTo>
                <a:cubicBezTo>
                  <a:pt x="6886" y="178"/>
                  <a:pt x="6885" y="178"/>
                  <a:pt x="6885" y="178"/>
                </a:cubicBezTo>
                <a:cubicBezTo>
                  <a:pt x="6884" y="178"/>
                  <a:pt x="6880" y="183"/>
                  <a:pt x="6872" y="194"/>
                </a:cubicBezTo>
                <a:cubicBezTo>
                  <a:pt x="6865" y="205"/>
                  <a:pt x="6857" y="217"/>
                  <a:pt x="6849" y="230"/>
                </a:cubicBezTo>
                <a:cubicBezTo>
                  <a:pt x="6841" y="244"/>
                  <a:pt x="6834" y="255"/>
                  <a:pt x="6829" y="266"/>
                </a:cubicBezTo>
                <a:cubicBezTo>
                  <a:pt x="6827" y="269"/>
                  <a:pt x="6826" y="271"/>
                  <a:pt x="6825" y="271"/>
                </a:cubicBezTo>
                <a:lnTo>
                  <a:pt x="6823" y="270"/>
                </a:lnTo>
                <a:cubicBezTo>
                  <a:pt x="6823" y="270"/>
                  <a:pt x="6823" y="271"/>
                  <a:pt x="6824" y="271"/>
                </a:cubicBezTo>
                <a:cubicBezTo>
                  <a:pt x="6824" y="272"/>
                  <a:pt x="6824" y="273"/>
                  <a:pt x="6824" y="274"/>
                </a:cubicBezTo>
                <a:cubicBezTo>
                  <a:pt x="6824" y="275"/>
                  <a:pt x="6823" y="277"/>
                  <a:pt x="6822" y="280"/>
                </a:cubicBezTo>
                <a:cubicBezTo>
                  <a:pt x="6822" y="283"/>
                  <a:pt x="6821" y="284"/>
                  <a:pt x="6821" y="285"/>
                </a:cubicBezTo>
                <a:lnTo>
                  <a:pt x="6821" y="286"/>
                </a:lnTo>
                <a:close/>
                <a:moveTo>
                  <a:pt x="6887" y="244"/>
                </a:moveTo>
                <a:cubicBezTo>
                  <a:pt x="6887" y="244"/>
                  <a:pt x="6888" y="243"/>
                  <a:pt x="6889" y="241"/>
                </a:cubicBezTo>
                <a:lnTo>
                  <a:pt x="6889" y="239"/>
                </a:lnTo>
                <a:cubicBezTo>
                  <a:pt x="6889" y="238"/>
                  <a:pt x="6888" y="237"/>
                  <a:pt x="6888" y="237"/>
                </a:cubicBezTo>
                <a:cubicBezTo>
                  <a:pt x="6887" y="237"/>
                  <a:pt x="6887" y="237"/>
                  <a:pt x="6886" y="238"/>
                </a:cubicBezTo>
                <a:cubicBezTo>
                  <a:pt x="6886" y="239"/>
                  <a:pt x="6886" y="240"/>
                  <a:pt x="6886" y="241"/>
                </a:cubicBezTo>
                <a:cubicBezTo>
                  <a:pt x="6886" y="243"/>
                  <a:pt x="6886" y="244"/>
                  <a:pt x="6887" y="244"/>
                </a:cubicBezTo>
                <a:close/>
                <a:moveTo>
                  <a:pt x="6887" y="751"/>
                </a:moveTo>
                <a:cubicBezTo>
                  <a:pt x="6886" y="751"/>
                  <a:pt x="6886" y="750"/>
                  <a:pt x="6886" y="750"/>
                </a:cubicBezTo>
                <a:cubicBezTo>
                  <a:pt x="6886" y="750"/>
                  <a:pt x="6887" y="749"/>
                  <a:pt x="6889" y="746"/>
                </a:cubicBezTo>
                <a:cubicBezTo>
                  <a:pt x="6901" y="735"/>
                  <a:pt x="6908" y="729"/>
                  <a:pt x="6909" y="729"/>
                </a:cubicBezTo>
                <a:lnTo>
                  <a:pt x="6909" y="729"/>
                </a:lnTo>
                <a:lnTo>
                  <a:pt x="6908" y="732"/>
                </a:lnTo>
                <a:cubicBezTo>
                  <a:pt x="6906" y="736"/>
                  <a:pt x="6904" y="739"/>
                  <a:pt x="6903" y="739"/>
                </a:cubicBezTo>
                <a:cubicBezTo>
                  <a:pt x="6901" y="739"/>
                  <a:pt x="6901" y="739"/>
                  <a:pt x="6900" y="741"/>
                </a:cubicBezTo>
                <a:cubicBezTo>
                  <a:pt x="6900" y="742"/>
                  <a:pt x="6899" y="743"/>
                  <a:pt x="6897" y="745"/>
                </a:cubicBezTo>
                <a:cubicBezTo>
                  <a:pt x="6893" y="749"/>
                  <a:pt x="6889" y="751"/>
                  <a:pt x="6887" y="751"/>
                </a:cubicBezTo>
                <a:close/>
                <a:moveTo>
                  <a:pt x="6890" y="749"/>
                </a:moveTo>
                <a:cubicBezTo>
                  <a:pt x="6891" y="749"/>
                  <a:pt x="6893" y="747"/>
                  <a:pt x="6895" y="745"/>
                </a:cubicBezTo>
                <a:lnTo>
                  <a:pt x="6897" y="742"/>
                </a:lnTo>
                <a:lnTo>
                  <a:pt x="6896" y="742"/>
                </a:lnTo>
                <a:lnTo>
                  <a:pt x="6894" y="744"/>
                </a:lnTo>
                <a:cubicBezTo>
                  <a:pt x="6891" y="746"/>
                  <a:pt x="6890" y="747"/>
                  <a:pt x="6890" y="748"/>
                </a:cubicBezTo>
                <a:cubicBezTo>
                  <a:pt x="6890" y="748"/>
                  <a:pt x="6890" y="749"/>
                  <a:pt x="6890" y="749"/>
                </a:cubicBezTo>
                <a:close/>
                <a:moveTo>
                  <a:pt x="6621" y="667"/>
                </a:moveTo>
                <a:cubicBezTo>
                  <a:pt x="6621" y="667"/>
                  <a:pt x="6620" y="667"/>
                  <a:pt x="6620" y="665"/>
                </a:cubicBezTo>
                <a:lnTo>
                  <a:pt x="6619" y="663"/>
                </a:lnTo>
                <a:cubicBezTo>
                  <a:pt x="6619" y="662"/>
                  <a:pt x="6619" y="661"/>
                  <a:pt x="6620" y="660"/>
                </a:cubicBezTo>
                <a:cubicBezTo>
                  <a:pt x="6621" y="660"/>
                  <a:pt x="6621" y="660"/>
                  <a:pt x="6622" y="660"/>
                </a:cubicBezTo>
                <a:cubicBezTo>
                  <a:pt x="6623" y="660"/>
                  <a:pt x="6624" y="661"/>
                  <a:pt x="6624" y="663"/>
                </a:cubicBezTo>
                <a:cubicBezTo>
                  <a:pt x="6624" y="664"/>
                  <a:pt x="6623" y="665"/>
                  <a:pt x="6623" y="666"/>
                </a:cubicBezTo>
                <a:cubicBezTo>
                  <a:pt x="6622" y="667"/>
                  <a:pt x="6621" y="667"/>
                  <a:pt x="6621" y="667"/>
                </a:cubicBezTo>
                <a:close/>
                <a:moveTo>
                  <a:pt x="6622" y="657"/>
                </a:moveTo>
                <a:lnTo>
                  <a:pt x="6619" y="655"/>
                </a:lnTo>
                <a:cubicBezTo>
                  <a:pt x="6618" y="654"/>
                  <a:pt x="6617" y="654"/>
                  <a:pt x="6617" y="653"/>
                </a:cubicBezTo>
                <a:cubicBezTo>
                  <a:pt x="6617" y="652"/>
                  <a:pt x="6618" y="652"/>
                  <a:pt x="6619" y="651"/>
                </a:cubicBezTo>
                <a:cubicBezTo>
                  <a:pt x="6622" y="648"/>
                  <a:pt x="6624" y="647"/>
                  <a:pt x="6625" y="647"/>
                </a:cubicBezTo>
                <a:cubicBezTo>
                  <a:pt x="6626" y="647"/>
                  <a:pt x="6626" y="647"/>
                  <a:pt x="6626" y="649"/>
                </a:cubicBezTo>
                <a:cubicBezTo>
                  <a:pt x="6626" y="651"/>
                  <a:pt x="6626" y="652"/>
                  <a:pt x="6624" y="652"/>
                </a:cubicBezTo>
                <a:lnTo>
                  <a:pt x="6624" y="652"/>
                </a:lnTo>
                <a:cubicBezTo>
                  <a:pt x="6623" y="652"/>
                  <a:pt x="6622" y="652"/>
                  <a:pt x="6622" y="654"/>
                </a:cubicBezTo>
                <a:lnTo>
                  <a:pt x="6622" y="656"/>
                </a:lnTo>
                <a:cubicBezTo>
                  <a:pt x="6622" y="656"/>
                  <a:pt x="6622" y="657"/>
                  <a:pt x="6622" y="657"/>
                </a:cubicBezTo>
                <a:close/>
                <a:moveTo>
                  <a:pt x="6847" y="781"/>
                </a:moveTo>
                <a:cubicBezTo>
                  <a:pt x="6847" y="781"/>
                  <a:pt x="6846" y="780"/>
                  <a:pt x="6846" y="779"/>
                </a:cubicBezTo>
                <a:cubicBezTo>
                  <a:pt x="6846" y="778"/>
                  <a:pt x="6847" y="778"/>
                  <a:pt x="6848" y="777"/>
                </a:cubicBezTo>
                <a:cubicBezTo>
                  <a:pt x="6849" y="776"/>
                  <a:pt x="6850" y="775"/>
                  <a:pt x="6852" y="774"/>
                </a:cubicBezTo>
                <a:cubicBezTo>
                  <a:pt x="6854" y="773"/>
                  <a:pt x="6855" y="772"/>
                  <a:pt x="6855" y="772"/>
                </a:cubicBezTo>
                <a:lnTo>
                  <a:pt x="6856" y="772"/>
                </a:lnTo>
                <a:cubicBezTo>
                  <a:pt x="6856" y="772"/>
                  <a:pt x="6854" y="774"/>
                  <a:pt x="6852" y="777"/>
                </a:cubicBezTo>
                <a:cubicBezTo>
                  <a:pt x="6849" y="779"/>
                  <a:pt x="6848" y="781"/>
                  <a:pt x="6847" y="781"/>
                </a:cubicBezTo>
                <a:close/>
                <a:moveTo>
                  <a:pt x="6780" y="819"/>
                </a:moveTo>
                <a:cubicBezTo>
                  <a:pt x="6769" y="819"/>
                  <a:pt x="6757" y="818"/>
                  <a:pt x="6745" y="814"/>
                </a:cubicBezTo>
                <a:cubicBezTo>
                  <a:pt x="6734" y="811"/>
                  <a:pt x="6726" y="808"/>
                  <a:pt x="6722" y="805"/>
                </a:cubicBezTo>
                <a:cubicBezTo>
                  <a:pt x="6720" y="804"/>
                  <a:pt x="6717" y="801"/>
                  <a:pt x="6714" y="797"/>
                </a:cubicBezTo>
                <a:cubicBezTo>
                  <a:pt x="6707" y="787"/>
                  <a:pt x="6703" y="780"/>
                  <a:pt x="6703" y="776"/>
                </a:cubicBezTo>
                <a:cubicBezTo>
                  <a:pt x="6703" y="773"/>
                  <a:pt x="6703" y="772"/>
                  <a:pt x="6701" y="772"/>
                </a:cubicBezTo>
                <a:cubicBezTo>
                  <a:pt x="6700" y="771"/>
                  <a:pt x="6699" y="769"/>
                  <a:pt x="6698" y="767"/>
                </a:cubicBezTo>
                <a:cubicBezTo>
                  <a:pt x="6698" y="764"/>
                  <a:pt x="6697" y="763"/>
                  <a:pt x="6696" y="761"/>
                </a:cubicBezTo>
                <a:cubicBezTo>
                  <a:pt x="6694" y="758"/>
                  <a:pt x="6693" y="750"/>
                  <a:pt x="6692" y="739"/>
                </a:cubicBezTo>
                <a:cubicBezTo>
                  <a:pt x="6690" y="727"/>
                  <a:pt x="6690" y="715"/>
                  <a:pt x="6690" y="704"/>
                </a:cubicBezTo>
                <a:cubicBezTo>
                  <a:pt x="6690" y="683"/>
                  <a:pt x="6691" y="662"/>
                  <a:pt x="6693" y="644"/>
                </a:cubicBezTo>
                <a:cubicBezTo>
                  <a:pt x="6695" y="625"/>
                  <a:pt x="6699" y="603"/>
                  <a:pt x="6704" y="575"/>
                </a:cubicBezTo>
                <a:cubicBezTo>
                  <a:pt x="6708" y="556"/>
                  <a:pt x="6712" y="546"/>
                  <a:pt x="6715" y="546"/>
                </a:cubicBezTo>
                <a:lnTo>
                  <a:pt x="6717" y="546"/>
                </a:lnTo>
                <a:cubicBezTo>
                  <a:pt x="6717" y="546"/>
                  <a:pt x="6718" y="546"/>
                  <a:pt x="6718" y="546"/>
                </a:cubicBezTo>
                <a:lnTo>
                  <a:pt x="6717" y="544"/>
                </a:lnTo>
                <a:cubicBezTo>
                  <a:pt x="6717" y="541"/>
                  <a:pt x="6718" y="539"/>
                  <a:pt x="6719" y="537"/>
                </a:cubicBezTo>
                <a:lnTo>
                  <a:pt x="6722" y="535"/>
                </a:lnTo>
                <a:cubicBezTo>
                  <a:pt x="6722" y="536"/>
                  <a:pt x="6722" y="537"/>
                  <a:pt x="6721" y="539"/>
                </a:cubicBezTo>
                <a:cubicBezTo>
                  <a:pt x="6720" y="541"/>
                  <a:pt x="6720" y="543"/>
                  <a:pt x="6720" y="546"/>
                </a:cubicBezTo>
                <a:cubicBezTo>
                  <a:pt x="6720" y="549"/>
                  <a:pt x="6719" y="551"/>
                  <a:pt x="6718" y="551"/>
                </a:cubicBezTo>
                <a:cubicBezTo>
                  <a:pt x="6717" y="552"/>
                  <a:pt x="6717" y="552"/>
                  <a:pt x="6717" y="552"/>
                </a:cubicBezTo>
                <a:cubicBezTo>
                  <a:pt x="6717" y="553"/>
                  <a:pt x="6717" y="554"/>
                  <a:pt x="6718" y="555"/>
                </a:cubicBezTo>
                <a:cubicBezTo>
                  <a:pt x="6719" y="556"/>
                  <a:pt x="6720" y="557"/>
                  <a:pt x="6720" y="558"/>
                </a:cubicBezTo>
                <a:cubicBezTo>
                  <a:pt x="6720" y="558"/>
                  <a:pt x="6719" y="559"/>
                  <a:pt x="6718" y="560"/>
                </a:cubicBezTo>
                <a:cubicBezTo>
                  <a:pt x="6716" y="561"/>
                  <a:pt x="6715" y="561"/>
                  <a:pt x="6715" y="562"/>
                </a:cubicBezTo>
                <a:cubicBezTo>
                  <a:pt x="6715" y="563"/>
                  <a:pt x="6715" y="563"/>
                  <a:pt x="6716" y="564"/>
                </a:cubicBezTo>
                <a:cubicBezTo>
                  <a:pt x="6717" y="565"/>
                  <a:pt x="6717" y="568"/>
                  <a:pt x="6717" y="571"/>
                </a:cubicBezTo>
                <a:lnTo>
                  <a:pt x="6716" y="577"/>
                </a:lnTo>
                <a:cubicBezTo>
                  <a:pt x="6715" y="584"/>
                  <a:pt x="6714" y="591"/>
                  <a:pt x="6713" y="600"/>
                </a:cubicBezTo>
                <a:cubicBezTo>
                  <a:pt x="6712" y="603"/>
                  <a:pt x="6711" y="613"/>
                  <a:pt x="6709" y="630"/>
                </a:cubicBezTo>
                <a:cubicBezTo>
                  <a:pt x="6709" y="636"/>
                  <a:pt x="6709" y="642"/>
                  <a:pt x="6708" y="648"/>
                </a:cubicBezTo>
                <a:cubicBezTo>
                  <a:pt x="6707" y="653"/>
                  <a:pt x="6707" y="658"/>
                  <a:pt x="6707" y="661"/>
                </a:cubicBezTo>
                <a:cubicBezTo>
                  <a:pt x="6705" y="666"/>
                  <a:pt x="6704" y="679"/>
                  <a:pt x="6704" y="701"/>
                </a:cubicBezTo>
                <a:cubicBezTo>
                  <a:pt x="6704" y="718"/>
                  <a:pt x="6705" y="733"/>
                  <a:pt x="6707" y="747"/>
                </a:cubicBezTo>
                <a:cubicBezTo>
                  <a:pt x="6710" y="776"/>
                  <a:pt x="6716" y="790"/>
                  <a:pt x="6724" y="790"/>
                </a:cubicBezTo>
                <a:cubicBezTo>
                  <a:pt x="6725" y="790"/>
                  <a:pt x="6726" y="791"/>
                  <a:pt x="6726" y="791"/>
                </a:cubicBezTo>
                <a:lnTo>
                  <a:pt x="6726" y="794"/>
                </a:lnTo>
                <a:cubicBezTo>
                  <a:pt x="6726" y="795"/>
                  <a:pt x="6727" y="797"/>
                  <a:pt x="6730" y="800"/>
                </a:cubicBezTo>
                <a:cubicBezTo>
                  <a:pt x="6732" y="802"/>
                  <a:pt x="6734" y="803"/>
                  <a:pt x="6735" y="803"/>
                </a:cubicBezTo>
                <a:cubicBezTo>
                  <a:pt x="6735" y="803"/>
                  <a:pt x="6735" y="803"/>
                  <a:pt x="6735" y="802"/>
                </a:cubicBezTo>
                <a:cubicBezTo>
                  <a:pt x="6735" y="800"/>
                  <a:pt x="6734" y="797"/>
                  <a:pt x="6731" y="792"/>
                </a:cubicBezTo>
                <a:cubicBezTo>
                  <a:pt x="6728" y="784"/>
                  <a:pt x="6725" y="773"/>
                  <a:pt x="6723" y="759"/>
                </a:cubicBezTo>
                <a:cubicBezTo>
                  <a:pt x="6721" y="745"/>
                  <a:pt x="6720" y="731"/>
                  <a:pt x="6720" y="719"/>
                </a:cubicBezTo>
                <a:cubicBezTo>
                  <a:pt x="6720" y="708"/>
                  <a:pt x="6721" y="700"/>
                  <a:pt x="6723" y="696"/>
                </a:cubicBezTo>
                <a:lnTo>
                  <a:pt x="6724" y="694"/>
                </a:lnTo>
                <a:lnTo>
                  <a:pt x="6723" y="695"/>
                </a:lnTo>
                <a:cubicBezTo>
                  <a:pt x="6722" y="695"/>
                  <a:pt x="6721" y="694"/>
                  <a:pt x="6721" y="692"/>
                </a:cubicBezTo>
                <a:cubicBezTo>
                  <a:pt x="6721" y="688"/>
                  <a:pt x="6722" y="686"/>
                  <a:pt x="6724" y="684"/>
                </a:cubicBezTo>
                <a:cubicBezTo>
                  <a:pt x="6726" y="683"/>
                  <a:pt x="6727" y="681"/>
                  <a:pt x="6727" y="678"/>
                </a:cubicBezTo>
                <a:cubicBezTo>
                  <a:pt x="6727" y="676"/>
                  <a:pt x="6727" y="676"/>
                  <a:pt x="6727" y="676"/>
                </a:cubicBezTo>
                <a:cubicBezTo>
                  <a:pt x="6726" y="676"/>
                  <a:pt x="6726" y="676"/>
                  <a:pt x="6725" y="677"/>
                </a:cubicBezTo>
                <a:cubicBezTo>
                  <a:pt x="6724" y="679"/>
                  <a:pt x="6723" y="679"/>
                  <a:pt x="6723" y="679"/>
                </a:cubicBezTo>
                <a:cubicBezTo>
                  <a:pt x="6723" y="679"/>
                  <a:pt x="6723" y="679"/>
                  <a:pt x="6723" y="676"/>
                </a:cubicBezTo>
                <a:cubicBezTo>
                  <a:pt x="6723" y="675"/>
                  <a:pt x="6723" y="674"/>
                  <a:pt x="6724" y="672"/>
                </a:cubicBezTo>
                <a:cubicBezTo>
                  <a:pt x="6724" y="670"/>
                  <a:pt x="6725" y="669"/>
                  <a:pt x="6726" y="667"/>
                </a:cubicBezTo>
                <a:cubicBezTo>
                  <a:pt x="6727" y="666"/>
                  <a:pt x="6728" y="665"/>
                  <a:pt x="6728" y="665"/>
                </a:cubicBezTo>
                <a:cubicBezTo>
                  <a:pt x="6729" y="665"/>
                  <a:pt x="6729" y="666"/>
                  <a:pt x="6729" y="668"/>
                </a:cubicBezTo>
                <a:cubicBezTo>
                  <a:pt x="6729" y="677"/>
                  <a:pt x="6729" y="682"/>
                  <a:pt x="6728" y="683"/>
                </a:cubicBezTo>
                <a:cubicBezTo>
                  <a:pt x="6727" y="683"/>
                  <a:pt x="6727" y="688"/>
                  <a:pt x="6727" y="695"/>
                </a:cubicBezTo>
                <a:lnTo>
                  <a:pt x="6727" y="710"/>
                </a:lnTo>
                <a:cubicBezTo>
                  <a:pt x="6727" y="718"/>
                  <a:pt x="6726" y="721"/>
                  <a:pt x="6726" y="721"/>
                </a:cubicBezTo>
                <a:cubicBezTo>
                  <a:pt x="6725" y="721"/>
                  <a:pt x="6724" y="722"/>
                  <a:pt x="6724" y="723"/>
                </a:cubicBezTo>
                <a:cubicBezTo>
                  <a:pt x="6723" y="724"/>
                  <a:pt x="6723" y="725"/>
                  <a:pt x="6723" y="727"/>
                </a:cubicBezTo>
                <a:cubicBezTo>
                  <a:pt x="6723" y="728"/>
                  <a:pt x="6723" y="729"/>
                  <a:pt x="6724" y="730"/>
                </a:cubicBezTo>
                <a:cubicBezTo>
                  <a:pt x="6724" y="730"/>
                  <a:pt x="6725" y="731"/>
                  <a:pt x="6726" y="732"/>
                </a:cubicBezTo>
                <a:lnTo>
                  <a:pt x="6726" y="732"/>
                </a:lnTo>
                <a:cubicBezTo>
                  <a:pt x="6727" y="732"/>
                  <a:pt x="6728" y="734"/>
                  <a:pt x="6728" y="737"/>
                </a:cubicBezTo>
                <a:cubicBezTo>
                  <a:pt x="6728" y="739"/>
                  <a:pt x="6728" y="741"/>
                  <a:pt x="6727" y="742"/>
                </a:cubicBezTo>
                <a:cubicBezTo>
                  <a:pt x="6727" y="744"/>
                  <a:pt x="6726" y="744"/>
                  <a:pt x="6725" y="744"/>
                </a:cubicBezTo>
                <a:cubicBezTo>
                  <a:pt x="6724" y="744"/>
                  <a:pt x="6724" y="745"/>
                  <a:pt x="6724" y="747"/>
                </a:cubicBezTo>
                <a:cubicBezTo>
                  <a:pt x="6724" y="748"/>
                  <a:pt x="6724" y="750"/>
                  <a:pt x="6725" y="752"/>
                </a:cubicBezTo>
                <a:cubicBezTo>
                  <a:pt x="6725" y="754"/>
                  <a:pt x="6726" y="755"/>
                  <a:pt x="6726" y="757"/>
                </a:cubicBezTo>
                <a:lnTo>
                  <a:pt x="6725" y="758"/>
                </a:lnTo>
                <a:cubicBezTo>
                  <a:pt x="6725" y="759"/>
                  <a:pt x="6725" y="759"/>
                  <a:pt x="6727" y="760"/>
                </a:cubicBezTo>
                <a:cubicBezTo>
                  <a:pt x="6728" y="761"/>
                  <a:pt x="6729" y="762"/>
                  <a:pt x="6729" y="762"/>
                </a:cubicBezTo>
                <a:cubicBezTo>
                  <a:pt x="6729" y="762"/>
                  <a:pt x="6728" y="762"/>
                  <a:pt x="6727" y="762"/>
                </a:cubicBezTo>
                <a:cubicBezTo>
                  <a:pt x="6726" y="762"/>
                  <a:pt x="6726" y="763"/>
                  <a:pt x="6726" y="763"/>
                </a:cubicBezTo>
                <a:cubicBezTo>
                  <a:pt x="6726" y="764"/>
                  <a:pt x="6726" y="766"/>
                  <a:pt x="6727" y="767"/>
                </a:cubicBezTo>
                <a:cubicBezTo>
                  <a:pt x="6729" y="771"/>
                  <a:pt x="6730" y="774"/>
                  <a:pt x="6730" y="777"/>
                </a:cubicBezTo>
                <a:cubicBezTo>
                  <a:pt x="6730" y="779"/>
                  <a:pt x="6730" y="780"/>
                  <a:pt x="6730" y="780"/>
                </a:cubicBezTo>
                <a:lnTo>
                  <a:pt x="6732" y="779"/>
                </a:lnTo>
                <a:cubicBezTo>
                  <a:pt x="6733" y="779"/>
                  <a:pt x="6733" y="779"/>
                  <a:pt x="6733" y="780"/>
                </a:cubicBezTo>
                <a:lnTo>
                  <a:pt x="6732" y="785"/>
                </a:lnTo>
                <a:cubicBezTo>
                  <a:pt x="6732" y="786"/>
                  <a:pt x="6732" y="787"/>
                  <a:pt x="6733" y="787"/>
                </a:cubicBezTo>
                <a:cubicBezTo>
                  <a:pt x="6733" y="787"/>
                  <a:pt x="6734" y="786"/>
                  <a:pt x="6735" y="786"/>
                </a:cubicBezTo>
                <a:cubicBezTo>
                  <a:pt x="6736" y="785"/>
                  <a:pt x="6737" y="785"/>
                  <a:pt x="6738" y="785"/>
                </a:cubicBezTo>
                <a:lnTo>
                  <a:pt x="6738" y="786"/>
                </a:lnTo>
                <a:cubicBezTo>
                  <a:pt x="6738" y="786"/>
                  <a:pt x="6737" y="787"/>
                  <a:pt x="6736" y="788"/>
                </a:cubicBezTo>
                <a:cubicBezTo>
                  <a:pt x="6735" y="790"/>
                  <a:pt x="6735" y="791"/>
                  <a:pt x="6735" y="791"/>
                </a:cubicBezTo>
                <a:cubicBezTo>
                  <a:pt x="6735" y="792"/>
                  <a:pt x="6736" y="793"/>
                  <a:pt x="6738" y="794"/>
                </a:cubicBezTo>
                <a:cubicBezTo>
                  <a:pt x="6740" y="794"/>
                  <a:pt x="6742" y="795"/>
                  <a:pt x="6742" y="796"/>
                </a:cubicBezTo>
                <a:lnTo>
                  <a:pt x="6741" y="797"/>
                </a:lnTo>
                <a:cubicBezTo>
                  <a:pt x="6741" y="797"/>
                  <a:pt x="6740" y="798"/>
                  <a:pt x="6740" y="799"/>
                </a:cubicBezTo>
                <a:cubicBezTo>
                  <a:pt x="6740" y="800"/>
                  <a:pt x="6742" y="802"/>
                  <a:pt x="6745" y="803"/>
                </a:cubicBezTo>
                <a:cubicBezTo>
                  <a:pt x="6748" y="804"/>
                  <a:pt x="6751" y="804"/>
                  <a:pt x="6755" y="804"/>
                </a:cubicBezTo>
                <a:cubicBezTo>
                  <a:pt x="6760" y="804"/>
                  <a:pt x="6765" y="804"/>
                  <a:pt x="6769" y="803"/>
                </a:cubicBezTo>
                <a:cubicBezTo>
                  <a:pt x="6781" y="800"/>
                  <a:pt x="6791" y="796"/>
                  <a:pt x="6799" y="792"/>
                </a:cubicBezTo>
                <a:cubicBezTo>
                  <a:pt x="6808" y="788"/>
                  <a:pt x="6813" y="786"/>
                  <a:pt x="6815" y="786"/>
                </a:cubicBezTo>
                <a:cubicBezTo>
                  <a:pt x="6816" y="786"/>
                  <a:pt x="6816" y="785"/>
                  <a:pt x="6817" y="785"/>
                </a:cubicBezTo>
                <a:cubicBezTo>
                  <a:pt x="6818" y="784"/>
                  <a:pt x="6818" y="784"/>
                  <a:pt x="6818" y="784"/>
                </a:cubicBezTo>
                <a:cubicBezTo>
                  <a:pt x="6818" y="783"/>
                  <a:pt x="6819" y="782"/>
                  <a:pt x="6820" y="781"/>
                </a:cubicBezTo>
                <a:cubicBezTo>
                  <a:pt x="6822" y="780"/>
                  <a:pt x="6825" y="779"/>
                  <a:pt x="6827" y="779"/>
                </a:cubicBezTo>
                <a:cubicBezTo>
                  <a:pt x="6827" y="779"/>
                  <a:pt x="6828" y="780"/>
                  <a:pt x="6828" y="780"/>
                </a:cubicBezTo>
                <a:cubicBezTo>
                  <a:pt x="6828" y="780"/>
                  <a:pt x="6827" y="782"/>
                  <a:pt x="6824" y="785"/>
                </a:cubicBezTo>
                <a:cubicBezTo>
                  <a:pt x="6823" y="786"/>
                  <a:pt x="6822" y="788"/>
                  <a:pt x="6820" y="789"/>
                </a:cubicBezTo>
                <a:cubicBezTo>
                  <a:pt x="6818" y="790"/>
                  <a:pt x="6817" y="790"/>
                  <a:pt x="6816" y="790"/>
                </a:cubicBezTo>
                <a:cubicBezTo>
                  <a:pt x="6814" y="790"/>
                  <a:pt x="6812" y="791"/>
                  <a:pt x="6812" y="793"/>
                </a:cubicBezTo>
                <a:cubicBezTo>
                  <a:pt x="6812" y="794"/>
                  <a:pt x="6802" y="799"/>
                  <a:pt x="6781" y="807"/>
                </a:cubicBezTo>
                <a:lnTo>
                  <a:pt x="6778" y="808"/>
                </a:lnTo>
                <a:cubicBezTo>
                  <a:pt x="6778" y="809"/>
                  <a:pt x="6777" y="809"/>
                  <a:pt x="6776" y="809"/>
                </a:cubicBezTo>
                <a:cubicBezTo>
                  <a:pt x="6775" y="810"/>
                  <a:pt x="6774" y="810"/>
                  <a:pt x="6773" y="811"/>
                </a:cubicBezTo>
                <a:cubicBezTo>
                  <a:pt x="6772" y="811"/>
                  <a:pt x="6771" y="811"/>
                  <a:pt x="6771" y="811"/>
                </a:cubicBezTo>
                <a:cubicBezTo>
                  <a:pt x="6770" y="811"/>
                  <a:pt x="6770" y="812"/>
                  <a:pt x="6770" y="812"/>
                </a:cubicBezTo>
                <a:cubicBezTo>
                  <a:pt x="6770" y="812"/>
                  <a:pt x="6771" y="813"/>
                  <a:pt x="6773" y="813"/>
                </a:cubicBezTo>
                <a:cubicBezTo>
                  <a:pt x="6777" y="813"/>
                  <a:pt x="6779" y="814"/>
                  <a:pt x="6780" y="815"/>
                </a:cubicBezTo>
                <a:cubicBezTo>
                  <a:pt x="6781" y="817"/>
                  <a:pt x="6782" y="818"/>
                  <a:pt x="6784" y="818"/>
                </a:cubicBezTo>
                <a:cubicBezTo>
                  <a:pt x="6785" y="818"/>
                  <a:pt x="6785" y="817"/>
                  <a:pt x="6785" y="817"/>
                </a:cubicBezTo>
                <a:cubicBezTo>
                  <a:pt x="6785" y="817"/>
                  <a:pt x="6784" y="816"/>
                  <a:pt x="6783" y="815"/>
                </a:cubicBezTo>
                <a:cubicBezTo>
                  <a:pt x="6781" y="813"/>
                  <a:pt x="6779" y="812"/>
                  <a:pt x="6779" y="811"/>
                </a:cubicBezTo>
                <a:cubicBezTo>
                  <a:pt x="6779" y="809"/>
                  <a:pt x="6784" y="808"/>
                  <a:pt x="6795" y="807"/>
                </a:cubicBezTo>
                <a:cubicBezTo>
                  <a:pt x="6797" y="807"/>
                  <a:pt x="6799" y="807"/>
                  <a:pt x="6799" y="806"/>
                </a:cubicBezTo>
                <a:cubicBezTo>
                  <a:pt x="6799" y="804"/>
                  <a:pt x="6799" y="804"/>
                  <a:pt x="6801" y="804"/>
                </a:cubicBezTo>
                <a:cubicBezTo>
                  <a:pt x="6802" y="804"/>
                  <a:pt x="6802" y="804"/>
                  <a:pt x="6802" y="805"/>
                </a:cubicBezTo>
                <a:lnTo>
                  <a:pt x="6801" y="807"/>
                </a:lnTo>
                <a:cubicBezTo>
                  <a:pt x="6801" y="810"/>
                  <a:pt x="6802" y="812"/>
                  <a:pt x="6803" y="813"/>
                </a:cubicBezTo>
                <a:cubicBezTo>
                  <a:pt x="6804" y="813"/>
                  <a:pt x="6804" y="814"/>
                  <a:pt x="6804" y="814"/>
                </a:cubicBezTo>
                <a:cubicBezTo>
                  <a:pt x="6804" y="815"/>
                  <a:pt x="6802" y="816"/>
                  <a:pt x="6797" y="816"/>
                </a:cubicBezTo>
                <a:lnTo>
                  <a:pt x="6792" y="816"/>
                </a:lnTo>
                <a:cubicBezTo>
                  <a:pt x="6789" y="816"/>
                  <a:pt x="6788" y="816"/>
                  <a:pt x="6788" y="818"/>
                </a:cubicBezTo>
                <a:cubicBezTo>
                  <a:pt x="6788" y="819"/>
                  <a:pt x="6785" y="819"/>
                  <a:pt x="6780" y="819"/>
                </a:cubicBezTo>
                <a:close/>
                <a:moveTo>
                  <a:pt x="6695" y="723"/>
                </a:moveTo>
                <a:lnTo>
                  <a:pt x="6696" y="722"/>
                </a:lnTo>
                <a:lnTo>
                  <a:pt x="6697" y="719"/>
                </a:lnTo>
                <a:lnTo>
                  <a:pt x="6696" y="716"/>
                </a:lnTo>
                <a:lnTo>
                  <a:pt x="6695" y="715"/>
                </a:lnTo>
                <a:cubicBezTo>
                  <a:pt x="6695" y="715"/>
                  <a:pt x="6695" y="717"/>
                  <a:pt x="6695" y="719"/>
                </a:cubicBezTo>
                <a:cubicBezTo>
                  <a:pt x="6695" y="721"/>
                  <a:pt x="6695" y="723"/>
                  <a:pt x="6695" y="723"/>
                </a:cubicBezTo>
                <a:close/>
                <a:moveTo>
                  <a:pt x="6832" y="781"/>
                </a:moveTo>
                <a:cubicBezTo>
                  <a:pt x="6831" y="781"/>
                  <a:pt x="6831" y="780"/>
                  <a:pt x="6831" y="779"/>
                </a:cubicBezTo>
                <a:cubicBezTo>
                  <a:pt x="6831" y="777"/>
                  <a:pt x="6832" y="776"/>
                  <a:pt x="6833" y="776"/>
                </a:cubicBezTo>
                <a:cubicBezTo>
                  <a:pt x="6834" y="776"/>
                  <a:pt x="6835" y="776"/>
                  <a:pt x="6835" y="777"/>
                </a:cubicBezTo>
                <a:cubicBezTo>
                  <a:pt x="6835" y="777"/>
                  <a:pt x="6835" y="778"/>
                  <a:pt x="6834" y="779"/>
                </a:cubicBezTo>
                <a:cubicBezTo>
                  <a:pt x="6834" y="780"/>
                  <a:pt x="6833" y="781"/>
                  <a:pt x="6832" y="781"/>
                </a:cubicBezTo>
                <a:close/>
                <a:moveTo>
                  <a:pt x="6836" y="788"/>
                </a:moveTo>
                <a:lnTo>
                  <a:pt x="6837" y="785"/>
                </a:lnTo>
                <a:cubicBezTo>
                  <a:pt x="6837" y="783"/>
                  <a:pt x="6838" y="782"/>
                  <a:pt x="6839" y="781"/>
                </a:cubicBezTo>
                <a:cubicBezTo>
                  <a:pt x="6839" y="781"/>
                  <a:pt x="6840" y="782"/>
                  <a:pt x="6840" y="783"/>
                </a:cubicBezTo>
                <a:cubicBezTo>
                  <a:pt x="6840" y="784"/>
                  <a:pt x="6839" y="785"/>
                  <a:pt x="6838" y="786"/>
                </a:cubicBezTo>
                <a:cubicBezTo>
                  <a:pt x="6837" y="787"/>
                  <a:pt x="6837" y="788"/>
                  <a:pt x="6836" y="788"/>
                </a:cubicBezTo>
                <a:close/>
                <a:moveTo>
                  <a:pt x="6732" y="732"/>
                </a:moveTo>
                <a:cubicBezTo>
                  <a:pt x="6732" y="732"/>
                  <a:pt x="6732" y="731"/>
                  <a:pt x="6732" y="728"/>
                </a:cubicBezTo>
                <a:cubicBezTo>
                  <a:pt x="6732" y="726"/>
                  <a:pt x="6732" y="723"/>
                  <a:pt x="6731" y="718"/>
                </a:cubicBezTo>
                <a:cubicBezTo>
                  <a:pt x="6731" y="714"/>
                  <a:pt x="6731" y="710"/>
                  <a:pt x="6731" y="705"/>
                </a:cubicBezTo>
                <a:cubicBezTo>
                  <a:pt x="6730" y="701"/>
                  <a:pt x="6730" y="698"/>
                  <a:pt x="6730" y="695"/>
                </a:cubicBezTo>
                <a:lnTo>
                  <a:pt x="6730" y="693"/>
                </a:lnTo>
                <a:cubicBezTo>
                  <a:pt x="6730" y="688"/>
                  <a:pt x="6731" y="686"/>
                  <a:pt x="6732" y="686"/>
                </a:cubicBezTo>
                <a:cubicBezTo>
                  <a:pt x="6733" y="686"/>
                  <a:pt x="6733" y="694"/>
                  <a:pt x="6733" y="710"/>
                </a:cubicBezTo>
                <a:cubicBezTo>
                  <a:pt x="6733" y="725"/>
                  <a:pt x="6733" y="732"/>
                  <a:pt x="6732" y="732"/>
                </a:cubicBezTo>
                <a:close/>
                <a:moveTo>
                  <a:pt x="7145" y="692"/>
                </a:moveTo>
                <a:cubicBezTo>
                  <a:pt x="7145" y="692"/>
                  <a:pt x="7145" y="691"/>
                  <a:pt x="7145" y="691"/>
                </a:cubicBezTo>
                <a:cubicBezTo>
                  <a:pt x="7145" y="690"/>
                  <a:pt x="7146" y="688"/>
                  <a:pt x="7148" y="687"/>
                </a:cubicBezTo>
                <a:lnTo>
                  <a:pt x="7151" y="685"/>
                </a:lnTo>
                <a:cubicBezTo>
                  <a:pt x="7151" y="685"/>
                  <a:pt x="7150" y="686"/>
                  <a:pt x="7149" y="688"/>
                </a:cubicBezTo>
                <a:cubicBezTo>
                  <a:pt x="7147" y="691"/>
                  <a:pt x="7146" y="692"/>
                  <a:pt x="7145" y="692"/>
                </a:cubicBezTo>
                <a:close/>
                <a:moveTo>
                  <a:pt x="7145" y="691"/>
                </a:moveTo>
                <a:close/>
                <a:moveTo>
                  <a:pt x="7153" y="694"/>
                </a:moveTo>
                <a:cubicBezTo>
                  <a:pt x="7152" y="694"/>
                  <a:pt x="7152" y="693"/>
                  <a:pt x="7152" y="693"/>
                </a:cubicBezTo>
                <a:lnTo>
                  <a:pt x="7152" y="692"/>
                </a:lnTo>
                <a:cubicBezTo>
                  <a:pt x="7153" y="690"/>
                  <a:pt x="7154" y="689"/>
                  <a:pt x="7154" y="689"/>
                </a:cubicBezTo>
                <a:cubicBezTo>
                  <a:pt x="7155" y="689"/>
                  <a:pt x="7155" y="690"/>
                  <a:pt x="7155" y="692"/>
                </a:cubicBezTo>
                <a:cubicBezTo>
                  <a:pt x="7155" y="693"/>
                  <a:pt x="7155" y="694"/>
                  <a:pt x="7153" y="694"/>
                </a:cubicBezTo>
                <a:close/>
                <a:moveTo>
                  <a:pt x="7164" y="801"/>
                </a:moveTo>
                <a:cubicBezTo>
                  <a:pt x="7164" y="801"/>
                  <a:pt x="7165" y="800"/>
                  <a:pt x="7166" y="799"/>
                </a:cubicBezTo>
                <a:cubicBezTo>
                  <a:pt x="7167" y="798"/>
                  <a:pt x="7168" y="797"/>
                  <a:pt x="7169" y="797"/>
                </a:cubicBezTo>
                <a:cubicBezTo>
                  <a:pt x="7169" y="797"/>
                  <a:pt x="7170" y="797"/>
                  <a:pt x="7170" y="798"/>
                </a:cubicBezTo>
                <a:cubicBezTo>
                  <a:pt x="7170" y="799"/>
                  <a:pt x="7169" y="799"/>
                  <a:pt x="7167" y="800"/>
                </a:cubicBezTo>
                <a:lnTo>
                  <a:pt x="7164" y="801"/>
                </a:lnTo>
                <a:close/>
                <a:moveTo>
                  <a:pt x="7161" y="797"/>
                </a:moveTo>
                <a:cubicBezTo>
                  <a:pt x="7160" y="797"/>
                  <a:pt x="7160" y="796"/>
                  <a:pt x="7160" y="796"/>
                </a:cubicBezTo>
                <a:cubicBezTo>
                  <a:pt x="7160" y="796"/>
                  <a:pt x="7160" y="795"/>
                  <a:pt x="7160" y="795"/>
                </a:cubicBezTo>
                <a:cubicBezTo>
                  <a:pt x="7161" y="795"/>
                  <a:pt x="7162" y="794"/>
                  <a:pt x="7164" y="794"/>
                </a:cubicBezTo>
                <a:lnTo>
                  <a:pt x="7165" y="793"/>
                </a:lnTo>
                <a:cubicBezTo>
                  <a:pt x="7165" y="793"/>
                  <a:pt x="7166" y="794"/>
                  <a:pt x="7166" y="794"/>
                </a:cubicBezTo>
                <a:cubicBezTo>
                  <a:pt x="7166" y="794"/>
                  <a:pt x="7165" y="794"/>
                  <a:pt x="7165" y="795"/>
                </a:cubicBezTo>
                <a:cubicBezTo>
                  <a:pt x="7165" y="796"/>
                  <a:pt x="7164" y="796"/>
                  <a:pt x="7163" y="796"/>
                </a:cubicBezTo>
                <a:cubicBezTo>
                  <a:pt x="7162" y="797"/>
                  <a:pt x="7162" y="797"/>
                  <a:pt x="7161" y="797"/>
                </a:cubicBezTo>
                <a:close/>
                <a:moveTo>
                  <a:pt x="7174" y="797"/>
                </a:moveTo>
                <a:lnTo>
                  <a:pt x="7174" y="797"/>
                </a:lnTo>
                <a:cubicBezTo>
                  <a:pt x="7174" y="796"/>
                  <a:pt x="7174" y="796"/>
                  <a:pt x="7176" y="795"/>
                </a:cubicBezTo>
                <a:cubicBezTo>
                  <a:pt x="7179" y="792"/>
                  <a:pt x="7182" y="791"/>
                  <a:pt x="7186" y="789"/>
                </a:cubicBezTo>
                <a:lnTo>
                  <a:pt x="7189" y="788"/>
                </a:lnTo>
                <a:cubicBezTo>
                  <a:pt x="7189" y="788"/>
                  <a:pt x="7187" y="790"/>
                  <a:pt x="7183" y="793"/>
                </a:cubicBezTo>
                <a:cubicBezTo>
                  <a:pt x="7179" y="795"/>
                  <a:pt x="7176" y="797"/>
                  <a:pt x="7174" y="797"/>
                </a:cubicBezTo>
                <a:close/>
                <a:moveTo>
                  <a:pt x="7028" y="886"/>
                </a:moveTo>
                <a:cubicBezTo>
                  <a:pt x="7028" y="886"/>
                  <a:pt x="7027" y="885"/>
                  <a:pt x="7027" y="884"/>
                </a:cubicBezTo>
                <a:cubicBezTo>
                  <a:pt x="7027" y="882"/>
                  <a:pt x="7027" y="882"/>
                  <a:pt x="7027" y="882"/>
                </a:cubicBezTo>
                <a:cubicBezTo>
                  <a:pt x="7027" y="882"/>
                  <a:pt x="7026" y="882"/>
                  <a:pt x="7025" y="884"/>
                </a:cubicBezTo>
                <a:cubicBezTo>
                  <a:pt x="7025" y="885"/>
                  <a:pt x="7024" y="886"/>
                  <a:pt x="7024" y="886"/>
                </a:cubicBezTo>
                <a:cubicBezTo>
                  <a:pt x="7023" y="886"/>
                  <a:pt x="7023" y="885"/>
                  <a:pt x="7023" y="884"/>
                </a:cubicBezTo>
                <a:cubicBezTo>
                  <a:pt x="7023" y="883"/>
                  <a:pt x="7023" y="883"/>
                  <a:pt x="7022" y="883"/>
                </a:cubicBezTo>
                <a:lnTo>
                  <a:pt x="7020" y="883"/>
                </a:lnTo>
                <a:cubicBezTo>
                  <a:pt x="7019" y="883"/>
                  <a:pt x="7019" y="883"/>
                  <a:pt x="7019" y="881"/>
                </a:cubicBezTo>
                <a:cubicBezTo>
                  <a:pt x="7019" y="880"/>
                  <a:pt x="7019" y="879"/>
                  <a:pt x="7018" y="879"/>
                </a:cubicBezTo>
                <a:cubicBezTo>
                  <a:pt x="7018" y="879"/>
                  <a:pt x="7017" y="880"/>
                  <a:pt x="7017" y="881"/>
                </a:cubicBezTo>
                <a:cubicBezTo>
                  <a:pt x="7016" y="883"/>
                  <a:pt x="7015" y="883"/>
                  <a:pt x="7013" y="883"/>
                </a:cubicBezTo>
                <a:cubicBezTo>
                  <a:pt x="7011" y="883"/>
                  <a:pt x="7009" y="883"/>
                  <a:pt x="7008" y="882"/>
                </a:cubicBezTo>
                <a:cubicBezTo>
                  <a:pt x="7006" y="881"/>
                  <a:pt x="7005" y="879"/>
                  <a:pt x="7005" y="878"/>
                </a:cubicBezTo>
                <a:cubicBezTo>
                  <a:pt x="7005" y="877"/>
                  <a:pt x="7005" y="876"/>
                  <a:pt x="7005" y="876"/>
                </a:cubicBezTo>
                <a:lnTo>
                  <a:pt x="7002" y="877"/>
                </a:lnTo>
                <a:cubicBezTo>
                  <a:pt x="7002" y="877"/>
                  <a:pt x="7001" y="876"/>
                  <a:pt x="7001" y="875"/>
                </a:cubicBezTo>
                <a:cubicBezTo>
                  <a:pt x="7001" y="874"/>
                  <a:pt x="6998" y="872"/>
                  <a:pt x="6991" y="870"/>
                </a:cubicBezTo>
                <a:cubicBezTo>
                  <a:pt x="6981" y="867"/>
                  <a:pt x="6976" y="862"/>
                  <a:pt x="6976" y="854"/>
                </a:cubicBezTo>
                <a:lnTo>
                  <a:pt x="6977" y="847"/>
                </a:lnTo>
                <a:cubicBezTo>
                  <a:pt x="6977" y="845"/>
                  <a:pt x="6976" y="845"/>
                  <a:pt x="6976" y="845"/>
                </a:cubicBezTo>
                <a:cubicBezTo>
                  <a:pt x="6975" y="845"/>
                  <a:pt x="6974" y="844"/>
                  <a:pt x="6973" y="843"/>
                </a:cubicBezTo>
                <a:cubicBezTo>
                  <a:pt x="6973" y="842"/>
                  <a:pt x="6972" y="840"/>
                  <a:pt x="6972" y="838"/>
                </a:cubicBezTo>
                <a:cubicBezTo>
                  <a:pt x="6972" y="835"/>
                  <a:pt x="6973" y="833"/>
                  <a:pt x="6975" y="832"/>
                </a:cubicBezTo>
                <a:cubicBezTo>
                  <a:pt x="6977" y="830"/>
                  <a:pt x="6979" y="829"/>
                  <a:pt x="6982" y="829"/>
                </a:cubicBezTo>
                <a:lnTo>
                  <a:pt x="6986" y="829"/>
                </a:lnTo>
                <a:cubicBezTo>
                  <a:pt x="6986" y="829"/>
                  <a:pt x="6985" y="830"/>
                  <a:pt x="6983" y="831"/>
                </a:cubicBezTo>
                <a:cubicBezTo>
                  <a:pt x="6979" y="833"/>
                  <a:pt x="6977" y="835"/>
                  <a:pt x="6977" y="836"/>
                </a:cubicBezTo>
                <a:cubicBezTo>
                  <a:pt x="6977" y="837"/>
                  <a:pt x="6978" y="838"/>
                  <a:pt x="6979" y="839"/>
                </a:cubicBezTo>
                <a:cubicBezTo>
                  <a:pt x="6981" y="840"/>
                  <a:pt x="6983" y="841"/>
                  <a:pt x="6985" y="841"/>
                </a:cubicBezTo>
                <a:cubicBezTo>
                  <a:pt x="6988" y="842"/>
                  <a:pt x="6990" y="842"/>
                  <a:pt x="6993" y="842"/>
                </a:cubicBezTo>
                <a:cubicBezTo>
                  <a:pt x="6996" y="842"/>
                  <a:pt x="6998" y="841"/>
                  <a:pt x="7000" y="840"/>
                </a:cubicBezTo>
                <a:cubicBezTo>
                  <a:pt x="7001" y="840"/>
                  <a:pt x="7002" y="839"/>
                  <a:pt x="7003" y="839"/>
                </a:cubicBezTo>
                <a:cubicBezTo>
                  <a:pt x="7004" y="839"/>
                  <a:pt x="7004" y="840"/>
                  <a:pt x="7004" y="840"/>
                </a:cubicBezTo>
                <a:cubicBezTo>
                  <a:pt x="7005" y="840"/>
                  <a:pt x="7006" y="841"/>
                  <a:pt x="7008" y="841"/>
                </a:cubicBezTo>
                <a:cubicBezTo>
                  <a:pt x="7017" y="841"/>
                  <a:pt x="7034" y="837"/>
                  <a:pt x="7062" y="829"/>
                </a:cubicBezTo>
                <a:cubicBezTo>
                  <a:pt x="7089" y="822"/>
                  <a:pt x="7114" y="813"/>
                  <a:pt x="7137" y="805"/>
                </a:cubicBezTo>
                <a:cubicBezTo>
                  <a:pt x="7146" y="801"/>
                  <a:pt x="7151" y="800"/>
                  <a:pt x="7152" y="800"/>
                </a:cubicBezTo>
                <a:cubicBezTo>
                  <a:pt x="7152" y="800"/>
                  <a:pt x="7152" y="800"/>
                  <a:pt x="7152" y="800"/>
                </a:cubicBezTo>
                <a:cubicBezTo>
                  <a:pt x="7152" y="803"/>
                  <a:pt x="7136" y="809"/>
                  <a:pt x="7102" y="821"/>
                </a:cubicBezTo>
                <a:cubicBezTo>
                  <a:pt x="7069" y="832"/>
                  <a:pt x="7043" y="839"/>
                  <a:pt x="7027" y="842"/>
                </a:cubicBezTo>
                <a:lnTo>
                  <a:pt x="7025" y="842"/>
                </a:lnTo>
                <a:cubicBezTo>
                  <a:pt x="7021" y="843"/>
                  <a:pt x="7018" y="844"/>
                  <a:pt x="7016" y="845"/>
                </a:cubicBezTo>
                <a:cubicBezTo>
                  <a:pt x="7014" y="845"/>
                  <a:pt x="7012" y="846"/>
                  <a:pt x="7010" y="846"/>
                </a:cubicBezTo>
                <a:lnTo>
                  <a:pt x="7008" y="846"/>
                </a:lnTo>
                <a:cubicBezTo>
                  <a:pt x="7005" y="846"/>
                  <a:pt x="7004" y="846"/>
                  <a:pt x="7004" y="846"/>
                </a:cubicBezTo>
                <a:cubicBezTo>
                  <a:pt x="7004" y="847"/>
                  <a:pt x="7005" y="847"/>
                  <a:pt x="7006" y="848"/>
                </a:cubicBezTo>
                <a:cubicBezTo>
                  <a:pt x="7007" y="849"/>
                  <a:pt x="7008" y="850"/>
                  <a:pt x="7009" y="851"/>
                </a:cubicBezTo>
                <a:cubicBezTo>
                  <a:pt x="7010" y="853"/>
                  <a:pt x="7010" y="854"/>
                  <a:pt x="7010" y="855"/>
                </a:cubicBezTo>
                <a:cubicBezTo>
                  <a:pt x="7010" y="856"/>
                  <a:pt x="7010" y="857"/>
                  <a:pt x="7010" y="857"/>
                </a:cubicBezTo>
                <a:cubicBezTo>
                  <a:pt x="7010" y="857"/>
                  <a:pt x="7011" y="858"/>
                  <a:pt x="7013" y="858"/>
                </a:cubicBezTo>
                <a:cubicBezTo>
                  <a:pt x="7015" y="858"/>
                  <a:pt x="7021" y="857"/>
                  <a:pt x="7031" y="855"/>
                </a:cubicBezTo>
                <a:cubicBezTo>
                  <a:pt x="7044" y="853"/>
                  <a:pt x="7072" y="846"/>
                  <a:pt x="7114" y="833"/>
                </a:cubicBezTo>
                <a:cubicBezTo>
                  <a:pt x="7183" y="811"/>
                  <a:pt x="7220" y="786"/>
                  <a:pt x="7226" y="760"/>
                </a:cubicBezTo>
                <a:lnTo>
                  <a:pt x="7227" y="756"/>
                </a:lnTo>
                <a:lnTo>
                  <a:pt x="7226" y="755"/>
                </a:lnTo>
                <a:lnTo>
                  <a:pt x="7225" y="757"/>
                </a:lnTo>
                <a:cubicBezTo>
                  <a:pt x="7225" y="758"/>
                  <a:pt x="7224" y="759"/>
                  <a:pt x="7222" y="761"/>
                </a:cubicBezTo>
                <a:cubicBezTo>
                  <a:pt x="7220" y="763"/>
                  <a:pt x="7218" y="765"/>
                  <a:pt x="7215" y="767"/>
                </a:cubicBezTo>
                <a:cubicBezTo>
                  <a:pt x="7213" y="769"/>
                  <a:pt x="7211" y="769"/>
                  <a:pt x="7210" y="769"/>
                </a:cubicBezTo>
                <a:lnTo>
                  <a:pt x="7210" y="769"/>
                </a:lnTo>
                <a:cubicBezTo>
                  <a:pt x="7210" y="768"/>
                  <a:pt x="7211" y="767"/>
                  <a:pt x="7213" y="765"/>
                </a:cubicBezTo>
                <a:cubicBezTo>
                  <a:pt x="7220" y="759"/>
                  <a:pt x="7224" y="754"/>
                  <a:pt x="7224" y="750"/>
                </a:cubicBezTo>
                <a:cubicBezTo>
                  <a:pt x="7224" y="748"/>
                  <a:pt x="7223" y="747"/>
                  <a:pt x="7222" y="747"/>
                </a:cubicBezTo>
                <a:cubicBezTo>
                  <a:pt x="7220" y="747"/>
                  <a:pt x="7219" y="746"/>
                  <a:pt x="7219" y="745"/>
                </a:cubicBezTo>
                <a:lnTo>
                  <a:pt x="7220" y="743"/>
                </a:lnTo>
                <a:cubicBezTo>
                  <a:pt x="7220" y="742"/>
                  <a:pt x="7219" y="742"/>
                  <a:pt x="7219" y="742"/>
                </a:cubicBezTo>
                <a:cubicBezTo>
                  <a:pt x="7216" y="741"/>
                  <a:pt x="7211" y="740"/>
                  <a:pt x="7206" y="737"/>
                </a:cubicBezTo>
                <a:cubicBezTo>
                  <a:pt x="7195" y="732"/>
                  <a:pt x="7179" y="725"/>
                  <a:pt x="7160" y="718"/>
                </a:cubicBezTo>
                <a:cubicBezTo>
                  <a:pt x="7142" y="712"/>
                  <a:pt x="7128" y="706"/>
                  <a:pt x="7119" y="701"/>
                </a:cubicBezTo>
                <a:lnTo>
                  <a:pt x="7101" y="694"/>
                </a:lnTo>
                <a:cubicBezTo>
                  <a:pt x="7101" y="694"/>
                  <a:pt x="7100" y="693"/>
                  <a:pt x="7099" y="692"/>
                </a:cubicBezTo>
                <a:cubicBezTo>
                  <a:pt x="7097" y="690"/>
                  <a:pt x="7094" y="688"/>
                  <a:pt x="7088" y="685"/>
                </a:cubicBezTo>
                <a:cubicBezTo>
                  <a:pt x="7076" y="678"/>
                  <a:pt x="7064" y="667"/>
                  <a:pt x="7051" y="654"/>
                </a:cubicBezTo>
                <a:cubicBezTo>
                  <a:pt x="7038" y="640"/>
                  <a:pt x="7029" y="627"/>
                  <a:pt x="7024" y="616"/>
                </a:cubicBezTo>
                <a:cubicBezTo>
                  <a:pt x="7020" y="607"/>
                  <a:pt x="7019" y="597"/>
                  <a:pt x="7019" y="586"/>
                </a:cubicBezTo>
                <a:cubicBezTo>
                  <a:pt x="7019" y="574"/>
                  <a:pt x="7021" y="562"/>
                  <a:pt x="7026" y="551"/>
                </a:cubicBezTo>
                <a:cubicBezTo>
                  <a:pt x="7030" y="543"/>
                  <a:pt x="7032" y="539"/>
                  <a:pt x="7034" y="539"/>
                </a:cubicBezTo>
                <a:lnTo>
                  <a:pt x="7035" y="539"/>
                </a:lnTo>
                <a:cubicBezTo>
                  <a:pt x="7035" y="539"/>
                  <a:pt x="7036" y="539"/>
                  <a:pt x="7036" y="539"/>
                </a:cubicBezTo>
                <a:lnTo>
                  <a:pt x="7035" y="536"/>
                </a:lnTo>
                <a:cubicBezTo>
                  <a:pt x="7035" y="534"/>
                  <a:pt x="7035" y="532"/>
                  <a:pt x="7037" y="529"/>
                </a:cubicBezTo>
                <a:cubicBezTo>
                  <a:pt x="7039" y="525"/>
                  <a:pt x="7041" y="523"/>
                  <a:pt x="7043" y="520"/>
                </a:cubicBezTo>
                <a:cubicBezTo>
                  <a:pt x="7045" y="517"/>
                  <a:pt x="7047" y="516"/>
                  <a:pt x="7048" y="516"/>
                </a:cubicBezTo>
                <a:lnTo>
                  <a:pt x="7050" y="516"/>
                </a:lnTo>
                <a:cubicBezTo>
                  <a:pt x="7050" y="516"/>
                  <a:pt x="7051" y="516"/>
                  <a:pt x="7052" y="515"/>
                </a:cubicBezTo>
                <a:cubicBezTo>
                  <a:pt x="7052" y="515"/>
                  <a:pt x="7053" y="514"/>
                  <a:pt x="7054" y="513"/>
                </a:cubicBezTo>
                <a:cubicBezTo>
                  <a:pt x="7055" y="512"/>
                  <a:pt x="7055" y="511"/>
                  <a:pt x="7055" y="511"/>
                </a:cubicBezTo>
                <a:lnTo>
                  <a:pt x="7053" y="512"/>
                </a:lnTo>
                <a:cubicBezTo>
                  <a:pt x="7052" y="512"/>
                  <a:pt x="7052" y="510"/>
                  <a:pt x="7052" y="508"/>
                </a:cubicBezTo>
                <a:cubicBezTo>
                  <a:pt x="7052" y="505"/>
                  <a:pt x="7052" y="504"/>
                  <a:pt x="7052" y="504"/>
                </a:cubicBezTo>
                <a:lnTo>
                  <a:pt x="7053" y="504"/>
                </a:lnTo>
                <a:cubicBezTo>
                  <a:pt x="7055" y="504"/>
                  <a:pt x="7059" y="501"/>
                  <a:pt x="7065" y="495"/>
                </a:cubicBezTo>
                <a:cubicBezTo>
                  <a:pt x="7071" y="488"/>
                  <a:pt x="7075" y="485"/>
                  <a:pt x="7076" y="485"/>
                </a:cubicBezTo>
                <a:cubicBezTo>
                  <a:pt x="7077" y="485"/>
                  <a:pt x="7077" y="485"/>
                  <a:pt x="7077" y="485"/>
                </a:cubicBezTo>
                <a:cubicBezTo>
                  <a:pt x="7077" y="486"/>
                  <a:pt x="7076" y="487"/>
                  <a:pt x="7074" y="490"/>
                </a:cubicBezTo>
                <a:lnTo>
                  <a:pt x="7070" y="494"/>
                </a:lnTo>
                <a:cubicBezTo>
                  <a:pt x="7071" y="494"/>
                  <a:pt x="7072" y="493"/>
                  <a:pt x="7075" y="490"/>
                </a:cubicBezTo>
                <a:cubicBezTo>
                  <a:pt x="7077" y="488"/>
                  <a:pt x="7078" y="486"/>
                  <a:pt x="7078" y="485"/>
                </a:cubicBezTo>
                <a:lnTo>
                  <a:pt x="7078" y="484"/>
                </a:lnTo>
                <a:cubicBezTo>
                  <a:pt x="7078" y="483"/>
                  <a:pt x="7080" y="481"/>
                  <a:pt x="7084" y="477"/>
                </a:cubicBezTo>
                <a:lnTo>
                  <a:pt x="7090" y="473"/>
                </a:lnTo>
                <a:cubicBezTo>
                  <a:pt x="7095" y="468"/>
                  <a:pt x="7104" y="461"/>
                  <a:pt x="7115" y="454"/>
                </a:cubicBezTo>
                <a:cubicBezTo>
                  <a:pt x="7124" y="448"/>
                  <a:pt x="7129" y="445"/>
                  <a:pt x="7129" y="444"/>
                </a:cubicBezTo>
                <a:cubicBezTo>
                  <a:pt x="7128" y="444"/>
                  <a:pt x="7125" y="446"/>
                  <a:pt x="7119" y="448"/>
                </a:cubicBezTo>
                <a:cubicBezTo>
                  <a:pt x="7114" y="451"/>
                  <a:pt x="7110" y="453"/>
                  <a:pt x="7109" y="453"/>
                </a:cubicBezTo>
                <a:cubicBezTo>
                  <a:pt x="7109" y="453"/>
                  <a:pt x="7109" y="453"/>
                  <a:pt x="7109" y="453"/>
                </a:cubicBezTo>
                <a:lnTo>
                  <a:pt x="7109" y="452"/>
                </a:lnTo>
                <a:cubicBezTo>
                  <a:pt x="7109" y="451"/>
                  <a:pt x="7112" y="448"/>
                  <a:pt x="7120" y="444"/>
                </a:cubicBezTo>
                <a:cubicBezTo>
                  <a:pt x="7127" y="441"/>
                  <a:pt x="7136" y="437"/>
                  <a:pt x="7146" y="434"/>
                </a:cubicBezTo>
                <a:cubicBezTo>
                  <a:pt x="7155" y="431"/>
                  <a:pt x="7162" y="430"/>
                  <a:pt x="7167" y="430"/>
                </a:cubicBezTo>
                <a:cubicBezTo>
                  <a:pt x="7171" y="430"/>
                  <a:pt x="7177" y="431"/>
                  <a:pt x="7183" y="433"/>
                </a:cubicBezTo>
                <a:cubicBezTo>
                  <a:pt x="7189" y="436"/>
                  <a:pt x="7194" y="438"/>
                  <a:pt x="7199" y="441"/>
                </a:cubicBezTo>
                <a:cubicBezTo>
                  <a:pt x="7204" y="445"/>
                  <a:pt x="7206" y="447"/>
                  <a:pt x="7206" y="449"/>
                </a:cubicBezTo>
                <a:cubicBezTo>
                  <a:pt x="7206" y="451"/>
                  <a:pt x="7209" y="453"/>
                  <a:pt x="7215" y="455"/>
                </a:cubicBezTo>
                <a:cubicBezTo>
                  <a:pt x="7231" y="460"/>
                  <a:pt x="7239" y="471"/>
                  <a:pt x="7239" y="487"/>
                </a:cubicBezTo>
                <a:cubicBezTo>
                  <a:pt x="7239" y="504"/>
                  <a:pt x="7231" y="523"/>
                  <a:pt x="7216" y="546"/>
                </a:cubicBezTo>
                <a:cubicBezTo>
                  <a:pt x="7211" y="552"/>
                  <a:pt x="7208" y="555"/>
                  <a:pt x="7206" y="557"/>
                </a:cubicBezTo>
                <a:cubicBezTo>
                  <a:pt x="7204" y="558"/>
                  <a:pt x="7203" y="560"/>
                  <a:pt x="7203" y="561"/>
                </a:cubicBezTo>
                <a:cubicBezTo>
                  <a:pt x="7203" y="563"/>
                  <a:pt x="7201" y="566"/>
                  <a:pt x="7196" y="570"/>
                </a:cubicBezTo>
                <a:cubicBezTo>
                  <a:pt x="7193" y="573"/>
                  <a:pt x="7192" y="575"/>
                  <a:pt x="7192" y="575"/>
                </a:cubicBezTo>
                <a:lnTo>
                  <a:pt x="7193" y="575"/>
                </a:lnTo>
                <a:cubicBezTo>
                  <a:pt x="7193" y="576"/>
                  <a:pt x="7191" y="578"/>
                  <a:pt x="7188" y="582"/>
                </a:cubicBezTo>
                <a:cubicBezTo>
                  <a:pt x="7184" y="586"/>
                  <a:pt x="7182" y="588"/>
                  <a:pt x="7182" y="588"/>
                </a:cubicBezTo>
                <a:lnTo>
                  <a:pt x="7186" y="586"/>
                </a:lnTo>
                <a:cubicBezTo>
                  <a:pt x="7186" y="586"/>
                  <a:pt x="7185" y="588"/>
                  <a:pt x="7183" y="590"/>
                </a:cubicBezTo>
                <a:cubicBezTo>
                  <a:pt x="7180" y="593"/>
                  <a:pt x="7179" y="594"/>
                  <a:pt x="7178" y="594"/>
                </a:cubicBezTo>
                <a:lnTo>
                  <a:pt x="7177" y="594"/>
                </a:lnTo>
                <a:cubicBezTo>
                  <a:pt x="7176" y="594"/>
                  <a:pt x="7174" y="596"/>
                  <a:pt x="7169" y="599"/>
                </a:cubicBezTo>
                <a:cubicBezTo>
                  <a:pt x="7165" y="603"/>
                  <a:pt x="7161" y="607"/>
                  <a:pt x="7156" y="611"/>
                </a:cubicBezTo>
                <a:cubicBezTo>
                  <a:pt x="7154" y="614"/>
                  <a:pt x="7152" y="615"/>
                  <a:pt x="7152" y="615"/>
                </a:cubicBezTo>
                <a:lnTo>
                  <a:pt x="7151" y="614"/>
                </a:lnTo>
                <a:cubicBezTo>
                  <a:pt x="7150" y="614"/>
                  <a:pt x="7148" y="616"/>
                  <a:pt x="7144" y="620"/>
                </a:cubicBezTo>
                <a:cubicBezTo>
                  <a:pt x="7138" y="625"/>
                  <a:pt x="7133" y="628"/>
                  <a:pt x="7129" y="628"/>
                </a:cubicBezTo>
                <a:cubicBezTo>
                  <a:pt x="7127" y="628"/>
                  <a:pt x="7125" y="627"/>
                  <a:pt x="7125" y="624"/>
                </a:cubicBezTo>
                <a:lnTo>
                  <a:pt x="7125" y="621"/>
                </a:lnTo>
                <a:cubicBezTo>
                  <a:pt x="7125" y="619"/>
                  <a:pt x="7124" y="618"/>
                  <a:pt x="7123" y="618"/>
                </a:cubicBezTo>
                <a:lnTo>
                  <a:pt x="7115" y="619"/>
                </a:lnTo>
                <a:cubicBezTo>
                  <a:pt x="7112" y="619"/>
                  <a:pt x="7111" y="618"/>
                  <a:pt x="7111" y="617"/>
                </a:cubicBezTo>
                <a:cubicBezTo>
                  <a:pt x="7111" y="616"/>
                  <a:pt x="7111" y="616"/>
                  <a:pt x="7112" y="616"/>
                </a:cubicBezTo>
                <a:cubicBezTo>
                  <a:pt x="7112" y="616"/>
                  <a:pt x="7113" y="615"/>
                  <a:pt x="7114" y="615"/>
                </a:cubicBezTo>
                <a:cubicBezTo>
                  <a:pt x="7115" y="614"/>
                  <a:pt x="7116" y="612"/>
                  <a:pt x="7117" y="611"/>
                </a:cubicBezTo>
                <a:cubicBezTo>
                  <a:pt x="7117" y="610"/>
                  <a:pt x="7117" y="608"/>
                  <a:pt x="7117" y="608"/>
                </a:cubicBezTo>
                <a:cubicBezTo>
                  <a:pt x="7117" y="607"/>
                  <a:pt x="7117" y="607"/>
                  <a:pt x="7117" y="607"/>
                </a:cubicBezTo>
                <a:lnTo>
                  <a:pt x="7114" y="607"/>
                </a:lnTo>
                <a:cubicBezTo>
                  <a:pt x="7112" y="607"/>
                  <a:pt x="7111" y="607"/>
                  <a:pt x="7111" y="605"/>
                </a:cubicBezTo>
                <a:lnTo>
                  <a:pt x="7112" y="602"/>
                </a:lnTo>
                <a:lnTo>
                  <a:pt x="7109" y="604"/>
                </a:lnTo>
                <a:cubicBezTo>
                  <a:pt x="7108" y="606"/>
                  <a:pt x="7106" y="606"/>
                  <a:pt x="7104" y="606"/>
                </a:cubicBezTo>
                <a:cubicBezTo>
                  <a:pt x="7101" y="606"/>
                  <a:pt x="7100" y="606"/>
                  <a:pt x="7099" y="606"/>
                </a:cubicBezTo>
                <a:cubicBezTo>
                  <a:pt x="7099" y="605"/>
                  <a:pt x="7101" y="603"/>
                  <a:pt x="7104" y="601"/>
                </a:cubicBezTo>
                <a:cubicBezTo>
                  <a:pt x="7107" y="598"/>
                  <a:pt x="7109" y="596"/>
                  <a:pt x="7109" y="595"/>
                </a:cubicBezTo>
                <a:lnTo>
                  <a:pt x="7109" y="594"/>
                </a:lnTo>
                <a:cubicBezTo>
                  <a:pt x="7109" y="592"/>
                  <a:pt x="7112" y="588"/>
                  <a:pt x="7120" y="582"/>
                </a:cubicBezTo>
                <a:cubicBezTo>
                  <a:pt x="7127" y="576"/>
                  <a:pt x="7131" y="572"/>
                  <a:pt x="7131" y="570"/>
                </a:cubicBezTo>
                <a:lnTo>
                  <a:pt x="7131" y="569"/>
                </a:lnTo>
                <a:cubicBezTo>
                  <a:pt x="7131" y="568"/>
                  <a:pt x="7132" y="566"/>
                  <a:pt x="7136" y="563"/>
                </a:cubicBezTo>
                <a:cubicBezTo>
                  <a:pt x="7140" y="560"/>
                  <a:pt x="7141" y="558"/>
                  <a:pt x="7141" y="557"/>
                </a:cubicBezTo>
                <a:lnTo>
                  <a:pt x="7141" y="556"/>
                </a:lnTo>
                <a:cubicBezTo>
                  <a:pt x="7141" y="555"/>
                  <a:pt x="7142" y="553"/>
                  <a:pt x="7144" y="551"/>
                </a:cubicBezTo>
                <a:cubicBezTo>
                  <a:pt x="7146" y="550"/>
                  <a:pt x="7147" y="549"/>
                  <a:pt x="7147" y="549"/>
                </a:cubicBezTo>
                <a:lnTo>
                  <a:pt x="7145" y="554"/>
                </a:lnTo>
                <a:cubicBezTo>
                  <a:pt x="7146" y="553"/>
                  <a:pt x="7148" y="550"/>
                  <a:pt x="7153" y="544"/>
                </a:cubicBezTo>
                <a:cubicBezTo>
                  <a:pt x="7179" y="510"/>
                  <a:pt x="7192" y="489"/>
                  <a:pt x="7192" y="480"/>
                </a:cubicBezTo>
                <a:cubicBezTo>
                  <a:pt x="7192" y="477"/>
                  <a:pt x="7191" y="475"/>
                  <a:pt x="7187" y="475"/>
                </a:cubicBezTo>
                <a:lnTo>
                  <a:pt x="7185" y="475"/>
                </a:lnTo>
                <a:cubicBezTo>
                  <a:pt x="7174" y="477"/>
                  <a:pt x="7159" y="482"/>
                  <a:pt x="7142" y="491"/>
                </a:cubicBezTo>
                <a:cubicBezTo>
                  <a:pt x="7135" y="495"/>
                  <a:pt x="7131" y="498"/>
                  <a:pt x="7130" y="500"/>
                </a:cubicBezTo>
                <a:cubicBezTo>
                  <a:pt x="7128" y="502"/>
                  <a:pt x="7126" y="504"/>
                  <a:pt x="7124" y="504"/>
                </a:cubicBezTo>
                <a:cubicBezTo>
                  <a:pt x="7122" y="504"/>
                  <a:pt x="7120" y="505"/>
                  <a:pt x="7118" y="509"/>
                </a:cubicBezTo>
                <a:cubicBezTo>
                  <a:pt x="7116" y="512"/>
                  <a:pt x="7114" y="514"/>
                  <a:pt x="7113" y="514"/>
                </a:cubicBezTo>
                <a:lnTo>
                  <a:pt x="7112" y="514"/>
                </a:lnTo>
                <a:cubicBezTo>
                  <a:pt x="7110" y="514"/>
                  <a:pt x="7107" y="517"/>
                  <a:pt x="7102" y="522"/>
                </a:cubicBezTo>
                <a:cubicBezTo>
                  <a:pt x="7097" y="529"/>
                  <a:pt x="7091" y="535"/>
                  <a:pt x="7086" y="543"/>
                </a:cubicBezTo>
                <a:cubicBezTo>
                  <a:pt x="7080" y="551"/>
                  <a:pt x="7076" y="558"/>
                  <a:pt x="7073" y="565"/>
                </a:cubicBezTo>
                <a:cubicBezTo>
                  <a:pt x="7069" y="572"/>
                  <a:pt x="7067" y="580"/>
                  <a:pt x="7065" y="588"/>
                </a:cubicBezTo>
                <a:cubicBezTo>
                  <a:pt x="7063" y="597"/>
                  <a:pt x="7062" y="605"/>
                  <a:pt x="7062" y="611"/>
                </a:cubicBezTo>
                <a:cubicBezTo>
                  <a:pt x="7062" y="616"/>
                  <a:pt x="7062" y="620"/>
                  <a:pt x="7064" y="621"/>
                </a:cubicBezTo>
                <a:cubicBezTo>
                  <a:pt x="7065" y="622"/>
                  <a:pt x="7066" y="624"/>
                  <a:pt x="7066" y="626"/>
                </a:cubicBezTo>
                <a:cubicBezTo>
                  <a:pt x="7066" y="628"/>
                  <a:pt x="7067" y="630"/>
                  <a:pt x="7067" y="630"/>
                </a:cubicBezTo>
                <a:cubicBezTo>
                  <a:pt x="7068" y="631"/>
                  <a:pt x="7069" y="632"/>
                  <a:pt x="7069" y="632"/>
                </a:cubicBezTo>
                <a:cubicBezTo>
                  <a:pt x="7071" y="633"/>
                  <a:pt x="7072" y="634"/>
                  <a:pt x="7072" y="637"/>
                </a:cubicBezTo>
                <a:cubicBezTo>
                  <a:pt x="7072" y="641"/>
                  <a:pt x="7074" y="643"/>
                  <a:pt x="7076" y="645"/>
                </a:cubicBezTo>
                <a:cubicBezTo>
                  <a:pt x="7079" y="647"/>
                  <a:pt x="7081" y="649"/>
                  <a:pt x="7083" y="653"/>
                </a:cubicBezTo>
                <a:cubicBezTo>
                  <a:pt x="7085" y="656"/>
                  <a:pt x="7090" y="660"/>
                  <a:pt x="7099" y="665"/>
                </a:cubicBezTo>
                <a:cubicBezTo>
                  <a:pt x="7106" y="669"/>
                  <a:pt x="7110" y="671"/>
                  <a:pt x="7110" y="673"/>
                </a:cubicBezTo>
                <a:lnTo>
                  <a:pt x="7110" y="674"/>
                </a:lnTo>
                <a:cubicBezTo>
                  <a:pt x="7110" y="674"/>
                  <a:pt x="7112" y="674"/>
                  <a:pt x="7117" y="674"/>
                </a:cubicBezTo>
                <a:cubicBezTo>
                  <a:pt x="7124" y="674"/>
                  <a:pt x="7127" y="675"/>
                  <a:pt x="7127" y="677"/>
                </a:cubicBezTo>
                <a:cubicBezTo>
                  <a:pt x="7127" y="679"/>
                  <a:pt x="7127" y="680"/>
                  <a:pt x="7126" y="681"/>
                </a:cubicBezTo>
                <a:cubicBezTo>
                  <a:pt x="7125" y="681"/>
                  <a:pt x="7124" y="682"/>
                  <a:pt x="7124" y="683"/>
                </a:cubicBezTo>
                <a:cubicBezTo>
                  <a:pt x="7124" y="684"/>
                  <a:pt x="7125" y="685"/>
                  <a:pt x="7126" y="686"/>
                </a:cubicBezTo>
                <a:cubicBezTo>
                  <a:pt x="7126" y="686"/>
                  <a:pt x="7127" y="686"/>
                  <a:pt x="7129" y="686"/>
                </a:cubicBezTo>
                <a:cubicBezTo>
                  <a:pt x="7130" y="686"/>
                  <a:pt x="7131" y="686"/>
                  <a:pt x="7132" y="685"/>
                </a:cubicBezTo>
                <a:cubicBezTo>
                  <a:pt x="7132" y="684"/>
                  <a:pt x="7133" y="684"/>
                  <a:pt x="7133" y="683"/>
                </a:cubicBezTo>
                <a:cubicBezTo>
                  <a:pt x="7133" y="683"/>
                  <a:pt x="7132" y="683"/>
                  <a:pt x="7132" y="683"/>
                </a:cubicBezTo>
                <a:lnTo>
                  <a:pt x="7128" y="683"/>
                </a:lnTo>
                <a:lnTo>
                  <a:pt x="7129" y="683"/>
                </a:lnTo>
                <a:cubicBezTo>
                  <a:pt x="7130" y="683"/>
                  <a:pt x="7130" y="682"/>
                  <a:pt x="7131" y="681"/>
                </a:cubicBezTo>
                <a:cubicBezTo>
                  <a:pt x="7132" y="680"/>
                  <a:pt x="7132" y="680"/>
                  <a:pt x="7132" y="679"/>
                </a:cubicBezTo>
                <a:cubicBezTo>
                  <a:pt x="7132" y="679"/>
                  <a:pt x="7132" y="679"/>
                  <a:pt x="7132" y="679"/>
                </a:cubicBezTo>
                <a:cubicBezTo>
                  <a:pt x="7133" y="679"/>
                  <a:pt x="7134" y="679"/>
                  <a:pt x="7136" y="681"/>
                </a:cubicBezTo>
                <a:cubicBezTo>
                  <a:pt x="7138" y="683"/>
                  <a:pt x="7140" y="683"/>
                  <a:pt x="7141" y="683"/>
                </a:cubicBezTo>
                <a:lnTo>
                  <a:pt x="7144" y="683"/>
                </a:lnTo>
                <a:cubicBezTo>
                  <a:pt x="7144" y="683"/>
                  <a:pt x="7144" y="683"/>
                  <a:pt x="7144" y="683"/>
                </a:cubicBezTo>
                <a:lnTo>
                  <a:pt x="7144" y="685"/>
                </a:lnTo>
                <a:cubicBezTo>
                  <a:pt x="7143" y="687"/>
                  <a:pt x="7142" y="688"/>
                  <a:pt x="7140" y="688"/>
                </a:cubicBezTo>
                <a:lnTo>
                  <a:pt x="7138" y="688"/>
                </a:lnTo>
                <a:cubicBezTo>
                  <a:pt x="7136" y="688"/>
                  <a:pt x="7136" y="688"/>
                  <a:pt x="7136" y="688"/>
                </a:cubicBezTo>
                <a:cubicBezTo>
                  <a:pt x="7136" y="690"/>
                  <a:pt x="7147" y="695"/>
                  <a:pt x="7169" y="703"/>
                </a:cubicBezTo>
                <a:cubicBezTo>
                  <a:pt x="7179" y="707"/>
                  <a:pt x="7185" y="709"/>
                  <a:pt x="7186" y="709"/>
                </a:cubicBezTo>
                <a:cubicBezTo>
                  <a:pt x="7188" y="709"/>
                  <a:pt x="7189" y="708"/>
                  <a:pt x="7189" y="706"/>
                </a:cubicBezTo>
                <a:cubicBezTo>
                  <a:pt x="7189" y="705"/>
                  <a:pt x="7189" y="704"/>
                  <a:pt x="7190" y="704"/>
                </a:cubicBezTo>
                <a:lnTo>
                  <a:pt x="7190" y="707"/>
                </a:lnTo>
                <a:cubicBezTo>
                  <a:pt x="7190" y="709"/>
                  <a:pt x="7191" y="710"/>
                  <a:pt x="7193" y="712"/>
                </a:cubicBezTo>
                <a:cubicBezTo>
                  <a:pt x="7194" y="713"/>
                  <a:pt x="7196" y="713"/>
                  <a:pt x="7198" y="713"/>
                </a:cubicBezTo>
                <a:cubicBezTo>
                  <a:pt x="7200" y="713"/>
                  <a:pt x="7201" y="713"/>
                  <a:pt x="7203" y="712"/>
                </a:cubicBezTo>
                <a:cubicBezTo>
                  <a:pt x="7204" y="710"/>
                  <a:pt x="7205" y="710"/>
                  <a:pt x="7205" y="710"/>
                </a:cubicBezTo>
                <a:cubicBezTo>
                  <a:pt x="7206" y="710"/>
                  <a:pt x="7206" y="710"/>
                  <a:pt x="7206" y="710"/>
                </a:cubicBezTo>
                <a:lnTo>
                  <a:pt x="7204" y="715"/>
                </a:lnTo>
                <a:cubicBezTo>
                  <a:pt x="7204" y="716"/>
                  <a:pt x="7204" y="716"/>
                  <a:pt x="7204" y="716"/>
                </a:cubicBezTo>
                <a:cubicBezTo>
                  <a:pt x="7204" y="716"/>
                  <a:pt x="7205" y="715"/>
                  <a:pt x="7207" y="714"/>
                </a:cubicBezTo>
                <a:cubicBezTo>
                  <a:pt x="7208" y="713"/>
                  <a:pt x="7209" y="713"/>
                  <a:pt x="7209" y="713"/>
                </a:cubicBezTo>
                <a:cubicBezTo>
                  <a:pt x="7210" y="713"/>
                  <a:pt x="7210" y="713"/>
                  <a:pt x="7210" y="714"/>
                </a:cubicBezTo>
                <a:cubicBezTo>
                  <a:pt x="7210" y="715"/>
                  <a:pt x="7215" y="719"/>
                  <a:pt x="7224" y="726"/>
                </a:cubicBezTo>
                <a:cubicBezTo>
                  <a:pt x="7242" y="738"/>
                  <a:pt x="7251" y="745"/>
                  <a:pt x="7251" y="749"/>
                </a:cubicBezTo>
                <a:cubicBezTo>
                  <a:pt x="7251" y="750"/>
                  <a:pt x="7253" y="754"/>
                  <a:pt x="7256" y="760"/>
                </a:cubicBezTo>
                <a:cubicBezTo>
                  <a:pt x="7260" y="765"/>
                  <a:pt x="7261" y="770"/>
                  <a:pt x="7261" y="777"/>
                </a:cubicBezTo>
                <a:cubicBezTo>
                  <a:pt x="7261" y="793"/>
                  <a:pt x="7249" y="810"/>
                  <a:pt x="7224" y="828"/>
                </a:cubicBezTo>
                <a:cubicBezTo>
                  <a:pt x="7221" y="830"/>
                  <a:pt x="7218" y="832"/>
                  <a:pt x="7216" y="835"/>
                </a:cubicBezTo>
                <a:cubicBezTo>
                  <a:pt x="7214" y="837"/>
                  <a:pt x="7206" y="841"/>
                  <a:pt x="7193" y="846"/>
                </a:cubicBezTo>
                <a:cubicBezTo>
                  <a:pt x="7161" y="860"/>
                  <a:pt x="7132" y="869"/>
                  <a:pt x="7106" y="874"/>
                </a:cubicBezTo>
                <a:cubicBezTo>
                  <a:pt x="7080" y="879"/>
                  <a:pt x="7060" y="882"/>
                  <a:pt x="7045" y="883"/>
                </a:cubicBezTo>
                <a:cubicBezTo>
                  <a:pt x="7038" y="883"/>
                  <a:pt x="7035" y="884"/>
                  <a:pt x="7033" y="885"/>
                </a:cubicBezTo>
                <a:lnTo>
                  <a:pt x="7032" y="886"/>
                </a:lnTo>
                <a:cubicBezTo>
                  <a:pt x="7032" y="886"/>
                  <a:pt x="7032" y="885"/>
                  <a:pt x="7032" y="884"/>
                </a:cubicBezTo>
                <a:cubicBezTo>
                  <a:pt x="7032" y="882"/>
                  <a:pt x="7032" y="882"/>
                  <a:pt x="7031" y="882"/>
                </a:cubicBezTo>
                <a:cubicBezTo>
                  <a:pt x="7031" y="882"/>
                  <a:pt x="7030" y="882"/>
                  <a:pt x="7029" y="884"/>
                </a:cubicBezTo>
                <a:lnTo>
                  <a:pt x="7028" y="886"/>
                </a:lnTo>
                <a:close/>
                <a:moveTo>
                  <a:pt x="7119" y="600"/>
                </a:moveTo>
                <a:cubicBezTo>
                  <a:pt x="7119" y="599"/>
                  <a:pt x="7121" y="597"/>
                  <a:pt x="7123" y="594"/>
                </a:cubicBezTo>
                <a:lnTo>
                  <a:pt x="7125" y="590"/>
                </a:lnTo>
                <a:cubicBezTo>
                  <a:pt x="7125" y="590"/>
                  <a:pt x="7124" y="591"/>
                  <a:pt x="7122" y="593"/>
                </a:cubicBezTo>
                <a:cubicBezTo>
                  <a:pt x="7120" y="595"/>
                  <a:pt x="7119" y="596"/>
                  <a:pt x="7119" y="598"/>
                </a:cubicBezTo>
                <a:cubicBezTo>
                  <a:pt x="7119" y="599"/>
                  <a:pt x="7119" y="600"/>
                  <a:pt x="7119" y="600"/>
                </a:cubicBezTo>
                <a:close/>
                <a:moveTo>
                  <a:pt x="7129" y="586"/>
                </a:moveTo>
                <a:cubicBezTo>
                  <a:pt x="7131" y="586"/>
                  <a:pt x="7136" y="580"/>
                  <a:pt x="7145" y="569"/>
                </a:cubicBezTo>
                <a:lnTo>
                  <a:pt x="7153" y="559"/>
                </a:lnTo>
                <a:cubicBezTo>
                  <a:pt x="7153" y="559"/>
                  <a:pt x="7149" y="562"/>
                  <a:pt x="7143" y="569"/>
                </a:cubicBezTo>
                <a:cubicBezTo>
                  <a:pt x="7134" y="579"/>
                  <a:pt x="7129" y="585"/>
                  <a:pt x="7129" y="585"/>
                </a:cubicBezTo>
                <a:lnTo>
                  <a:pt x="7129" y="586"/>
                </a:lnTo>
                <a:close/>
                <a:moveTo>
                  <a:pt x="7127" y="579"/>
                </a:moveTo>
                <a:cubicBezTo>
                  <a:pt x="7128" y="579"/>
                  <a:pt x="7131" y="577"/>
                  <a:pt x="7135" y="572"/>
                </a:cubicBezTo>
                <a:cubicBezTo>
                  <a:pt x="7137" y="569"/>
                  <a:pt x="7139" y="568"/>
                  <a:pt x="7139" y="567"/>
                </a:cubicBezTo>
                <a:cubicBezTo>
                  <a:pt x="7139" y="566"/>
                  <a:pt x="7138" y="566"/>
                  <a:pt x="7138" y="566"/>
                </a:cubicBezTo>
                <a:cubicBezTo>
                  <a:pt x="7136" y="566"/>
                  <a:pt x="7134" y="567"/>
                  <a:pt x="7134" y="568"/>
                </a:cubicBezTo>
                <a:lnTo>
                  <a:pt x="7134" y="568"/>
                </a:lnTo>
                <a:cubicBezTo>
                  <a:pt x="7134" y="569"/>
                  <a:pt x="7134" y="571"/>
                  <a:pt x="7132" y="573"/>
                </a:cubicBezTo>
                <a:lnTo>
                  <a:pt x="7131" y="574"/>
                </a:lnTo>
                <a:cubicBezTo>
                  <a:pt x="7129" y="577"/>
                  <a:pt x="7127" y="579"/>
                  <a:pt x="7127" y="579"/>
                </a:cubicBezTo>
                <a:close/>
                <a:moveTo>
                  <a:pt x="7129" y="603"/>
                </a:moveTo>
                <a:cubicBezTo>
                  <a:pt x="7129" y="603"/>
                  <a:pt x="7131" y="601"/>
                  <a:pt x="7133" y="599"/>
                </a:cubicBezTo>
                <a:cubicBezTo>
                  <a:pt x="7137" y="595"/>
                  <a:pt x="7139" y="593"/>
                  <a:pt x="7139" y="592"/>
                </a:cubicBezTo>
                <a:lnTo>
                  <a:pt x="7139" y="590"/>
                </a:lnTo>
                <a:cubicBezTo>
                  <a:pt x="7139" y="590"/>
                  <a:pt x="7139" y="589"/>
                  <a:pt x="7140" y="588"/>
                </a:cubicBezTo>
                <a:cubicBezTo>
                  <a:pt x="7140" y="587"/>
                  <a:pt x="7141" y="586"/>
                  <a:pt x="7141" y="585"/>
                </a:cubicBezTo>
                <a:lnTo>
                  <a:pt x="7143" y="584"/>
                </a:lnTo>
                <a:lnTo>
                  <a:pt x="7142" y="583"/>
                </a:lnTo>
                <a:cubicBezTo>
                  <a:pt x="7142" y="583"/>
                  <a:pt x="7141" y="585"/>
                  <a:pt x="7138" y="587"/>
                </a:cubicBezTo>
                <a:cubicBezTo>
                  <a:pt x="7136" y="590"/>
                  <a:pt x="7134" y="592"/>
                  <a:pt x="7133" y="593"/>
                </a:cubicBezTo>
                <a:cubicBezTo>
                  <a:pt x="7131" y="595"/>
                  <a:pt x="7131" y="596"/>
                  <a:pt x="7131" y="597"/>
                </a:cubicBezTo>
                <a:lnTo>
                  <a:pt x="7131" y="598"/>
                </a:lnTo>
                <a:cubicBezTo>
                  <a:pt x="7131" y="598"/>
                  <a:pt x="7130" y="600"/>
                  <a:pt x="7129" y="602"/>
                </a:cubicBezTo>
                <a:lnTo>
                  <a:pt x="7129" y="603"/>
                </a:lnTo>
                <a:close/>
                <a:moveTo>
                  <a:pt x="7143" y="595"/>
                </a:moveTo>
                <a:cubicBezTo>
                  <a:pt x="7144" y="595"/>
                  <a:pt x="7144" y="595"/>
                  <a:pt x="7145" y="593"/>
                </a:cubicBezTo>
                <a:cubicBezTo>
                  <a:pt x="7146" y="593"/>
                  <a:pt x="7147" y="592"/>
                  <a:pt x="7147" y="591"/>
                </a:cubicBezTo>
                <a:lnTo>
                  <a:pt x="7149" y="588"/>
                </a:lnTo>
                <a:lnTo>
                  <a:pt x="7149" y="588"/>
                </a:lnTo>
                <a:lnTo>
                  <a:pt x="7146" y="590"/>
                </a:lnTo>
                <a:cubicBezTo>
                  <a:pt x="7144" y="592"/>
                  <a:pt x="7142" y="594"/>
                  <a:pt x="7142" y="595"/>
                </a:cubicBezTo>
                <a:cubicBezTo>
                  <a:pt x="7142" y="595"/>
                  <a:pt x="7143" y="595"/>
                  <a:pt x="7143" y="595"/>
                </a:cubicBezTo>
                <a:close/>
                <a:moveTo>
                  <a:pt x="7150" y="585"/>
                </a:moveTo>
                <a:cubicBezTo>
                  <a:pt x="7151" y="585"/>
                  <a:pt x="7153" y="583"/>
                  <a:pt x="7157" y="578"/>
                </a:cubicBezTo>
                <a:lnTo>
                  <a:pt x="7162" y="573"/>
                </a:lnTo>
                <a:cubicBezTo>
                  <a:pt x="7161" y="573"/>
                  <a:pt x="7159" y="574"/>
                  <a:pt x="7156" y="577"/>
                </a:cubicBezTo>
                <a:cubicBezTo>
                  <a:pt x="7152" y="581"/>
                  <a:pt x="7149" y="583"/>
                  <a:pt x="7149" y="584"/>
                </a:cubicBezTo>
                <a:cubicBezTo>
                  <a:pt x="7149" y="585"/>
                  <a:pt x="7149" y="585"/>
                  <a:pt x="7150" y="585"/>
                </a:cubicBezTo>
                <a:close/>
                <a:moveTo>
                  <a:pt x="7196" y="451"/>
                </a:moveTo>
                <a:cubicBezTo>
                  <a:pt x="7197" y="451"/>
                  <a:pt x="7197" y="450"/>
                  <a:pt x="7197" y="448"/>
                </a:cubicBezTo>
                <a:cubicBezTo>
                  <a:pt x="7197" y="447"/>
                  <a:pt x="7196" y="446"/>
                  <a:pt x="7195" y="446"/>
                </a:cubicBezTo>
                <a:cubicBezTo>
                  <a:pt x="7194" y="446"/>
                  <a:pt x="7193" y="446"/>
                  <a:pt x="7193" y="447"/>
                </a:cubicBezTo>
                <a:cubicBezTo>
                  <a:pt x="7193" y="447"/>
                  <a:pt x="7193" y="448"/>
                  <a:pt x="7194" y="449"/>
                </a:cubicBezTo>
                <a:cubicBezTo>
                  <a:pt x="7194" y="450"/>
                  <a:pt x="7195" y="451"/>
                  <a:pt x="7196" y="451"/>
                </a:cubicBezTo>
                <a:close/>
                <a:moveTo>
                  <a:pt x="7183" y="444"/>
                </a:moveTo>
                <a:cubicBezTo>
                  <a:pt x="7183" y="444"/>
                  <a:pt x="7184" y="443"/>
                  <a:pt x="7185" y="441"/>
                </a:cubicBezTo>
                <a:lnTo>
                  <a:pt x="7185" y="441"/>
                </a:lnTo>
                <a:cubicBezTo>
                  <a:pt x="7185" y="440"/>
                  <a:pt x="7185" y="439"/>
                  <a:pt x="7184" y="439"/>
                </a:cubicBezTo>
                <a:cubicBezTo>
                  <a:pt x="7182" y="439"/>
                  <a:pt x="7182" y="440"/>
                  <a:pt x="7182" y="441"/>
                </a:cubicBezTo>
                <a:cubicBezTo>
                  <a:pt x="7182" y="443"/>
                  <a:pt x="7182" y="444"/>
                  <a:pt x="7183" y="444"/>
                </a:cubicBezTo>
                <a:close/>
                <a:moveTo>
                  <a:pt x="7163" y="439"/>
                </a:moveTo>
                <a:cubicBezTo>
                  <a:pt x="7165" y="439"/>
                  <a:pt x="7166" y="438"/>
                  <a:pt x="7166" y="438"/>
                </a:cubicBezTo>
                <a:cubicBezTo>
                  <a:pt x="7165" y="437"/>
                  <a:pt x="7164" y="437"/>
                  <a:pt x="7164" y="437"/>
                </a:cubicBezTo>
                <a:lnTo>
                  <a:pt x="7162" y="437"/>
                </a:lnTo>
                <a:lnTo>
                  <a:pt x="7161" y="438"/>
                </a:lnTo>
                <a:cubicBezTo>
                  <a:pt x="7161" y="439"/>
                  <a:pt x="7161" y="439"/>
                  <a:pt x="7163" y="439"/>
                </a:cubicBezTo>
                <a:close/>
                <a:moveTo>
                  <a:pt x="7153" y="464"/>
                </a:moveTo>
                <a:cubicBezTo>
                  <a:pt x="7154" y="464"/>
                  <a:pt x="7156" y="464"/>
                  <a:pt x="7157" y="462"/>
                </a:cubicBezTo>
                <a:lnTo>
                  <a:pt x="7157" y="462"/>
                </a:lnTo>
                <a:cubicBezTo>
                  <a:pt x="7157" y="461"/>
                  <a:pt x="7157" y="460"/>
                  <a:pt x="7156" y="460"/>
                </a:cubicBezTo>
                <a:lnTo>
                  <a:pt x="7154" y="461"/>
                </a:lnTo>
                <a:cubicBezTo>
                  <a:pt x="7152" y="462"/>
                  <a:pt x="7152" y="463"/>
                  <a:pt x="7152" y="464"/>
                </a:cubicBezTo>
                <a:cubicBezTo>
                  <a:pt x="7152" y="464"/>
                  <a:pt x="7152" y="464"/>
                  <a:pt x="7153" y="464"/>
                </a:cubicBezTo>
                <a:close/>
                <a:moveTo>
                  <a:pt x="7144" y="467"/>
                </a:moveTo>
                <a:cubicBezTo>
                  <a:pt x="7146" y="467"/>
                  <a:pt x="7147" y="466"/>
                  <a:pt x="7148" y="464"/>
                </a:cubicBezTo>
                <a:lnTo>
                  <a:pt x="7148" y="464"/>
                </a:lnTo>
                <a:cubicBezTo>
                  <a:pt x="7148" y="463"/>
                  <a:pt x="7148" y="463"/>
                  <a:pt x="7148" y="463"/>
                </a:cubicBezTo>
                <a:lnTo>
                  <a:pt x="7146" y="464"/>
                </a:lnTo>
                <a:cubicBezTo>
                  <a:pt x="7144" y="465"/>
                  <a:pt x="7142" y="465"/>
                  <a:pt x="7142" y="466"/>
                </a:cubicBezTo>
                <a:cubicBezTo>
                  <a:pt x="7142" y="466"/>
                  <a:pt x="7143" y="467"/>
                  <a:pt x="7144" y="467"/>
                </a:cubicBezTo>
                <a:close/>
                <a:moveTo>
                  <a:pt x="7133" y="443"/>
                </a:moveTo>
                <a:cubicBezTo>
                  <a:pt x="7134" y="443"/>
                  <a:pt x="7134" y="443"/>
                  <a:pt x="7135" y="443"/>
                </a:cubicBezTo>
                <a:cubicBezTo>
                  <a:pt x="7136" y="443"/>
                  <a:pt x="7137" y="442"/>
                  <a:pt x="7138" y="441"/>
                </a:cubicBezTo>
                <a:cubicBezTo>
                  <a:pt x="7139" y="441"/>
                  <a:pt x="7140" y="440"/>
                  <a:pt x="7140" y="440"/>
                </a:cubicBezTo>
                <a:cubicBezTo>
                  <a:pt x="7140" y="440"/>
                  <a:pt x="7140" y="439"/>
                  <a:pt x="7139" y="439"/>
                </a:cubicBezTo>
                <a:cubicBezTo>
                  <a:pt x="7138" y="439"/>
                  <a:pt x="7136" y="440"/>
                  <a:pt x="7134" y="441"/>
                </a:cubicBezTo>
                <a:cubicBezTo>
                  <a:pt x="7132" y="442"/>
                  <a:pt x="7132" y="443"/>
                  <a:pt x="7132" y="443"/>
                </a:cubicBezTo>
                <a:cubicBezTo>
                  <a:pt x="7132" y="443"/>
                  <a:pt x="7132" y="443"/>
                  <a:pt x="7133" y="443"/>
                </a:cubicBezTo>
                <a:close/>
                <a:moveTo>
                  <a:pt x="7127" y="478"/>
                </a:moveTo>
                <a:cubicBezTo>
                  <a:pt x="7128" y="478"/>
                  <a:pt x="7129" y="477"/>
                  <a:pt x="7130" y="476"/>
                </a:cubicBezTo>
                <a:cubicBezTo>
                  <a:pt x="7131" y="475"/>
                  <a:pt x="7132" y="474"/>
                  <a:pt x="7133" y="472"/>
                </a:cubicBezTo>
                <a:cubicBezTo>
                  <a:pt x="7134" y="471"/>
                  <a:pt x="7135" y="470"/>
                  <a:pt x="7136" y="469"/>
                </a:cubicBezTo>
                <a:cubicBezTo>
                  <a:pt x="7137" y="468"/>
                  <a:pt x="7138" y="468"/>
                  <a:pt x="7138" y="467"/>
                </a:cubicBezTo>
                <a:cubicBezTo>
                  <a:pt x="7137" y="467"/>
                  <a:pt x="7136" y="468"/>
                  <a:pt x="7134" y="469"/>
                </a:cubicBezTo>
                <a:cubicBezTo>
                  <a:pt x="7132" y="470"/>
                  <a:pt x="7131" y="471"/>
                  <a:pt x="7130" y="473"/>
                </a:cubicBezTo>
                <a:cubicBezTo>
                  <a:pt x="7129" y="474"/>
                  <a:pt x="7128" y="475"/>
                  <a:pt x="7127" y="476"/>
                </a:cubicBezTo>
                <a:lnTo>
                  <a:pt x="7127" y="478"/>
                </a:lnTo>
                <a:close/>
                <a:moveTo>
                  <a:pt x="7115" y="487"/>
                </a:moveTo>
                <a:lnTo>
                  <a:pt x="7115" y="487"/>
                </a:lnTo>
                <a:cubicBezTo>
                  <a:pt x="7116" y="487"/>
                  <a:pt x="7117" y="486"/>
                  <a:pt x="7117" y="485"/>
                </a:cubicBezTo>
                <a:lnTo>
                  <a:pt x="7118" y="483"/>
                </a:lnTo>
                <a:cubicBezTo>
                  <a:pt x="7118" y="483"/>
                  <a:pt x="7118" y="482"/>
                  <a:pt x="7117" y="482"/>
                </a:cubicBezTo>
                <a:cubicBezTo>
                  <a:pt x="7116" y="482"/>
                  <a:pt x="7115" y="482"/>
                  <a:pt x="7115" y="484"/>
                </a:cubicBezTo>
                <a:cubicBezTo>
                  <a:pt x="7115" y="486"/>
                  <a:pt x="7115" y="487"/>
                  <a:pt x="7115" y="487"/>
                </a:cubicBezTo>
                <a:close/>
                <a:moveTo>
                  <a:pt x="7109" y="492"/>
                </a:moveTo>
                <a:cubicBezTo>
                  <a:pt x="7110" y="492"/>
                  <a:pt x="7110" y="491"/>
                  <a:pt x="7111" y="490"/>
                </a:cubicBezTo>
                <a:lnTo>
                  <a:pt x="7111" y="490"/>
                </a:lnTo>
                <a:cubicBezTo>
                  <a:pt x="7111" y="488"/>
                  <a:pt x="7110" y="488"/>
                  <a:pt x="7109" y="488"/>
                </a:cubicBezTo>
                <a:cubicBezTo>
                  <a:pt x="7107" y="488"/>
                  <a:pt x="7107" y="488"/>
                  <a:pt x="7107" y="489"/>
                </a:cubicBezTo>
                <a:lnTo>
                  <a:pt x="7107" y="490"/>
                </a:lnTo>
                <a:cubicBezTo>
                  <a:pt x="7108" y="491"/>
                  <a:pt x="7108" y="492"/>
                  <a:pt x="7109" y="492"/>
                </a:cubicBezTo>
                <a:close/>
                <a:moveTo>
                  <a:pt x="7100" y="499"/>
                </a:moveTo>
                <a:cubicBezTo>
                  <a:pt x="7101" y="499"/>
                  <a:pt x="7102" y="497"/>
                  <a:pt x="7104" y="495"/>
                </a:cubicBezTo>
                <a:cubicBezTo>
                  <a:pt x="7105" y="493"/>
                  <a:pt x="7105" y="492"/>
                  <a:pt x="7105" y="492"/>
                </a:cubicBezTo>
                <a:cubicBezTo>
                  <a:pt x="7105" y="492"/>
                  <a:pt x="7104" y="492"/>
                  <a:pt x="7103" y="494"/>
                </a:cubicBezTo>
                <a:cubicBezTo>
                  <a:pt x="7100" y="496"/>
                  <a:pt x="7099" y="497"/>
                  <a:pt x="7099" y="498"/>
                </a:cubicBezTo>
                <a:cubicBezTo>
                  <a:pt x="7099" y="498"/>
                  <a:pt x="7099" y="499"/>
                  <a:pt x="7100" y="499"/>
                </a:cubicBezTo>
                <a:close/>
                <a:moveTo>
                  <a:pt x="7084" y="512"/>
                </a:moveTo>
                <a:cubicBezTo>
                  <a:pt x="7085" y="512"/>
                  <a:pt x="7087" y="509"/>
                  <a:pt x="7091" y="505"/>
                </a:cubicBezTo>
                <a:cubicBezTo>
                  <a:pt x="7095" y="502"/>
                  <a:pt x="7097" y="499"/>
                  <a:pt x="7097" y="498"/>
                </a:cubicBezTo>
                <a:cubicBezTo>
                  <a:pt x="7096" y="498"/>
                  <a:pt x="7094" y="501"/>
                  <a:pt x="7089" y="506"/>
                </a:cubicBezTo>
                <a:lnTo>
                  <a:pt x="7084" y="512"/>
                </a:lnTo>
                <a:close/>
                <a:moveTo>
                  <a:pt x="7070" y="538"/>
                </a:moveTo>
                <a:cubicBezTo>
                  <a:pt x="7071" y="538"/>
                  <a:pt x="7072" y="537"/>
                  <a:pt x="7074" y="536"/>
                </a:cubicBezTo>
                <a:cubicBezTo>
                  <a:pt x="7075" y="534"/>
                  <a:pt x="7076" y="534"/>
                  <a:pt x="7077" y="534"/>
                </a:cubicBezTo>
                <a:cubicBezTo>
                  <a:pt x="7077" y="534"/>
                  <a:pt x="7077" y="534"/>
                  <a:pt x="7077" y="534"/>
                </a:cubicBezTo>
                <a:cubicBezTo>
                  <a:pt x="7077" y="535"/>
                  <a:pt x="7077" y="535"/>
                  <a:pt x="7078" y="535"/>
                </a:cubicBezTo>
                <a:cubicBezTo>
                  <a:pt x="7079" y="535"/>
                  <a:pt x="7080" y="534"/>
                  <a:pt x="7082" y="532"/>
                </a:cubicBezTo>
                <a:cubicBezTo>
                  <a:pt x="7084" y="530"/>
                  <a:pt x="7085" y="528"/>
                  <a:pt x="7085" y="527"/>
                </a:cubicBezTo>
                <a:lnTo>
                  <a:pt x="7085" y="526"/>
                </a:lnTo>
                <a:cubicBezTo>
                  <a:pt x="7085" y="525"/>
                  <a:pt x="7085" y="524"/>
                  <a:pt x="7086" y="522"/>
                </a:cubicBezTo>
                <a:cubicBezTo>
                  <a:pt x="7087" y="520"/>
                  <a:pt x="7089" y="518"/>
                  <a:pt x="7090" y="516"/>
                </a:cubicBezTo>
                <a:cubicBezTo>
                  <a:pt x="7092" y="514"/>
                  <a:pt x="7093" y="514"/>
                  <a:pt x="7093" y="513"/>
                </a:cubicBezTo>
                <a:lnTo>
                  <a:pt x="7092" y="513"/>
                </a:lnTo>
                <a:cubicBezTo>
                  <a:pt x="7092" y="513"/>
                  <a:pt x="7089" y="516"/>
                  <a:pt x="7084" y="521"/>
                </a:cubicBezTo>
                <a:cubicBezTo>
                  <a:pt x="7075" y="531"/>
                  <a:pt x="7070" y="537"/>
                  <a:pt x="7070" y="538"/>
                </a:cubicBezTo>
                <a:close/>
                <a:moveTo>
                  <a:pt x="7067" y="508"/>
                </a:moveTo>
                <a:lnTo>
                  <a:pt x="7068" y="507"/>
                </a:lnTo>
                <a:cubicBezTo>
                  <a:pt x="7069" y="506"/>
                  <a:pt x="7070" y="505"/>
                  <a:pt x="7071" y="504"/>
                </a:cubicBezTo>
                <a:cubicBezTo>
                  <a:pt x="7072" y="503"/>
                  <a:pt x="7074" y="502"/>
                  <a:pt x="7076" y="500"/>
                </a:cubicBezTo>
                <a:cubicBezTo>
                  <a:pt x="7077" y="498"/>
                  <a:pt x="7079" y="496"/>
                  <a:pt x="7080" y="495"/>
                </a:cubicBezTo>
                <a:cubicBezTo>
                  <a:pt x="7081" y="493"/>
                  <a:pt x="7082" y="492"/>
                  <a:pt x="7082" y="492"/>
                </a:cubicBezTo>
                <a:cubicBezTo>
                  <a:pt x="7081" y="492"/>
                  <a:pt x="7078" y="495"/>
                  <a:pt x="7073" y="500"/>
                </a:cubicBezTo>
                <a:cubicBezTo>
                  <a:pt x="7069" y="505"/>
                  <a:pt x="7067" y="507"/>
                  <a:pt x="7067" y="508"/>
                </a:cubicBezTo>
                <a:close/>
                <a:moveTo>
                  <a:pt x="7062" y="535"/>
                </a:moveTo>
                <a:cubicBezTo>
                  <a:pt x="7063" y="535"/>
                  <a:pt x="7065" y="534"/>
                  <a:pt x="7067" y="531"/>
                </a:cubicBezTo>
                <a:cubicBezTo>
                  <a:pt x="7069" y="528"/>
                  <a:pt x="7070" y="527"/>
                  <a:pt x="7070" y="526"/>
                </a:cubicBezTo>
                <a:cubicBezTo>
                  <a:pt x="7070" y="526"/>
                  <a:pt x="7068" y="528"/>
                  <a:pt x="7065" y="531"/>
                </a:cubicBezTo>
                <a:cubicBezTo>
                  <a:pt x="7063" y="534"/>
                  <a:pt x="7062" y="535"/>
                  <a:pt x="7062" y="535"/>
                </a:cubicBezTo>
                <a:close/>
                <a:moveTo>
                  <a:pt x="7119" y="682"/>
                </a:moveTo>
                <a:cubicBezTo>
                  <a:pt x="7120" y="682"/>
                  <a:pt x="7121" y="681"/>
                  <a:pt x="7122" y="680"/>
                </a:cubicBezTo>
                <a:lnTo>
                  <a:pt x="7122" y="679"/>
                </a:lnTo>
                <a:cubicBezTo>
                  <a:pt x="7122" y="678"/>
                  <a:pt x="7122" y="677"/>
                  <a:pt x="7120" y="677"/>
                </a:cubicBezTo>
                <a:cubicBezTo>
                  <a:pt x="7118" y="677"/>
                  <a:pt x="7117" y="678"/>
                  <a:pt x="7117" y="680"/>
                </a:cubicBezTo>
                <a:cubicBezTo>
                  <a:pt x="7117" y="681"/>
                  <a:pt x="7117" y="682"/>
                  <a:pt x="7119" y="682"/>
                </a:cubicBezTo>
                <a:close/>
                <a:moveTo>
                  <a:pt x="6990" y="856"/>
                </a:moveTo>
                <a:cubicBezTo>
                  <a:pt x="6991" y="856"/>
                  <a:pt x="6993" y="855"/>
                  <a:pt x="6993" y="853"/>
                </a:cubicBezTo>
                <a:lnTo>
                  <a:pt x="6995" y="849"/>
                </a:lnTo>
                <a:cubicBezTo>
                  <a:pt x="6995" y="848"/>
                  <a:pt x="6994" y="847"/>
                  <a:pt x="6991" y="847"/>
                </a:cubicBezTo>
                <a:cubicBezTo>
                  <a:pt x="6990" y="847"/>
                  <a:pt x="6989" y="848"/>
                  <a:pt x="6988" y="849"/>
                </a:cubicBezTo>
                <a:cubicBezTo>
                  <a:pt x="6987" y="850"/>
                  <a:pt x="6987" y="850"/>
                  <a:pt x="6987" y="852"/>
                </a:cubicBezTo>
                <a:cubicBezTo>
                  <a:pt x="6987" y="853"/>
                  <a:pt x="6987" y="853"/>
                  <a:pt x="6988" y="855"/>
                </a:cubicBezTo>
                <a:cubicBezTo>
                  <a:pt x="6988" y="856"/>
                  <a:pt x="6989" y="856"/>
                  <a:pt x="6990" y="856"/>
                </a:cubicBezTo>
                <a:close/>
                <a:moveTo>
                  <a:pt x="7070" y="865"/>
                </a:moveTo>
                <a:cubicBezTo>
                  <a:pt x="7072" y="865"/>
                  <a:pt x="7072" y="865"/>
                  <a:pt x="7072" y="865"/>
                </a:cubicBezTo>
                <a:lnTo>
                  <a:pt x="7072" y="864"/>
                </a:lnTo>
                <a:lnTo>
                  <a:pt x="7070" y="863"/>
                </a:lnTo>
                <a:cubicBezTo>
                  <a:pt x="7068" y="863"/>
                  <a:pt x="7067" y="864"/>
                  <a:pt x="7067" y="865"/>
                </a:cubicBezTo>
                <a:cubicBezTo>
                  <a:pt x="7067" y="865"/>
                  <a:pt x="7068" y="865"/>
                  <a:pt x="7070" y="865"/>
                </a:cubicBezTo>
                <a:close/>
                <a:moveTo>
                  <a:pt x="7083" y="863"/>
                </a:moveTo>
                <a:lnTo>
                  <a:pt x="7084" y="862"/>
                </a:lnTo>
                <a:lnTo>
                  <a:pt x="7083" y="862"/>
                </a:lnTo>
                <a:cubicBezTo>
                  <a:pt x="7083" y="861"/>
                  <a:pt x="7082" y="861"/>
                  <a:pt x="7082" y="861"/>
                </a:cubicBezTo>
                <a:cubicBezTo>
                  <a:pt x="7081" y="861"/>
                  <a:pt x="7080" y="861"/>
                  <a:pt x="7079" y="862"/>
                </a:cubicBezTo>
                <a:lnTo>
                  <a:pt x="7078" y="862"/>
                </a:lnTo>
                <a:lnTo>
                  <a:pt x="7083" y="863"/>
                </a:lnTo>
                <a:close/>
                <a:moveTo>
                  <a:pt x="7090" y="860"/>
                </a:moveTo>
                <a:cubicBezTo>
                  <a:pt x="7092" y="860"/>
                  <a:pt x="7094" y="860"/>
                  <a:pt x="7094" y="860"/>
                </a:cubicBezTo>
                <a:cubicBezTo>
                  <a:pt x="7094" y="860"/>
                  <a:pt x="7093" y="860"/>
                  <a:pt x="7093" y="860"/>
                </a:cubicBezTo>
                <a:lnTo>
                  <a:pt x="7091" y="859"/>
                </a:lnTo>
                <a:cubicBezTo>
                  <a:pt x="7089" y="859"/>
                  <a:pt x="7087" y="859"/>
                  <a:pt x="7087" y="860"/>
                </a:cubicBezTo>
                <a:lnTo>
                  <a:pt x="7090" y="860"/>
                </a:lnTo>
                <a:close/>
                <a:moveTo>
                  <a:pt x="7100" y="858"/>
                </a:moveTo>
                <a:lnTo>
                  <a:pt x="7103" y="858"/>
                </a:lnTo>
                <a:lnTo>
                  <a:pt x="7103" y="857"/>
                </a:lnTo>
                <a:cubicBezTo>
                  <a:pt x="7102" y="857"/>
                  <a:pt x="7102" y="856"/>
                  <a:pt x="7101" y="856"/>
                </a:cubicBezTo>
                <a:cubicBezTo>
                  <a:pt x="7100" y="856"/>
                  <a:pt x="7100" y="857"/>
                  <a:pt x="7099" y="857"/>
                </a:cubicBezTo>
                <a:lnTo>
                  <a:pt x="7098" y="858"/>
                </a:lnTo>
                <a:lnTo>
                  <a:pt x="7100" y="858"/>
                </a:lnTo>
                <a:close/>
                <a:moveTo>
                  <a:pt x="7111" y="856"/>
                </a:moveTo>
                <a:cubicBezTo>
                  <a:pt x="7112" y="856"/>
                  <a:pt x="7112" y="856"/>
                  <a:pt x="7112" y="855"/>
                </a:cubicBezTo>
                <a:lnTo>
                  <a:pt x="7111" y="855"/>
                </a:lnTo>
                <a:lnTo>
                  <a:pt x="7110" y="854"/>
                </a:lnTo>
                <a:cubicBezTo>
                  <a:pt x="7108" y="854"/>
                  <a:pt x="7107" y="855"/>
                  <a:pt x="7107" y="855"/>
                </a:cubicBezTo>
                <a:cubicBezTo>
                  <a:pt x="7107" y="856"/>
                  <a:pt x="7107" y="856"/>
                  <a:pt x="7109" y="856"/>
                </a:cubicBezTo>
                <a:lnTo>
                  <a:pt x="7111" y="856"/>
                </a:lnTo>
                <a:close/>
                <a:moveTo>
                  <a:pt x="7230" y="763"/>
                </a:moveTo>
                <a:cubicBezTo>
                  <a:pt x="7231" y="763"/>
                  <a:pt x="7231" y="762"/>
                  <a:pt x="7231" y="760"/>
                </a:cubicBezTo>
                <a:lnTo>
                  <a:pt x="7231" y="757"/>
                </a:lnTo>
                <a:lnTo>
                  <a:pt x="7230" y="757"/>
                </a:lnTo>
                <a:cubicBezTo>
                  <a:pt x="7230" y="757"/>
                  <a:pt x="7229" y="758"/>
                  <a:pt x="7229" y="760"/>
                </a:cubicBezTo>
                <a:cubicBezTo>
                  <a:pt x="7229" y="762"/>
                  <a:pt x="7230" y="763"/>
                  <a:pt x="7230" y="763"/>
                </a:cubicBezTo>
                <a:close/>
                <a:moveTo>
                  <a:pt x="7195" y="808"/>
                </a:moveTo>
                <a:lnTo>
                  <a:pt x="7203" y="804"/>
                </a:lnTo>
                <a:cubicBezTo>
                  <a:pt x="7211" y="800"/>
                  <a:pt x="7218" y="795"/>
                  <a:pt x="7225" y="787"/>
                </a:cubicBezTo>
                <a:cubicBezTo>
                  <a:pt x="7232" y="780"/>
                  <a:pt x="7236" y="775"/>
                  <a:pt x="7236" y="772"/>
                </a:cubicBezTo>
                <a:cubicBezTo>
                  <a:pt x="7236" y="770"/>
                  <a:pt x="7236" y="769"/>
                  <a:pt x="7235" y="769"/>
                </a:cubicBezTo>
                <a:cubicBezTo>
                  <a:pt x="7234" y="769"/>
                  <a:pt x="7230" y="773"/>
                  <a:pt x="7224" y="781"/>
                </a:cubicBezTo>
                <a:cubicBezTo>
                  <a:pt x="7216" y="789"/>
                  <a:pt x="7212" y="793"/>
                  <a:pt x="7210" y="793"/>
                </a:cubicBezTo>
                <a:lnTo>
                  <a:pt x="7209" y="793"/>
                </a:lnTo>
                <a:cubicBezTo>
                  <a:pt x="7208" y="793"/>
                  <a:pt x="7206" y="794"/>
                  <a:pt x="7205" y="797"/>
                </a:cubicBezTo>
                <a:cubicBezTo>
                  <a:pt x="7204" y="799"/>
                  <a:pt x="7203" y="800"/>
                  <a:pt x="7201" y="800"/>
                </a:cubicBezTo>
                <a:lnTo>
                  <a:pt x="7200" y="800"/>
                </a:lnTo>
                <a:cubicBezTo>
                  <a:pt x="7200" y="800"/>
                  <a:pt x="7199" y="800"/>
                  <a:pt x="7199" y="801"/>
                </a:cubicBezTo>
                <a:lnTo>
                  <a:pt x="7199" y="802"/>
                </a:lnTo>
                <a:cubicBezTo>
                  <a:pt x="7199" y="803"/>
                  <a:pt x="7198" y="805"/>
                  <a:pt x="7196" y="807"/>
                </a:cubicBezTo>
                <a:lnTo>
                  <a:pt x="7195" y="808"/>
                </a:lnTo>
                <a:close/>
                <a:moveTo>
                  <a:pt x="7117" y="854"/>
                </a:moveTo>
                <a:lnTo>
                  <a:pt x="7124" y="852"/>
                </a:lnTo>
                <a:lnTo>
                  <a:pt x="7127" y="850"/>
                </a:lnTo>
                <a:cubicBezTo>
                  <a:pt x="7127" y="850"/>
                  <a:pt x="7126" y="850"/>
                  <a:pt x="7125" y="850"/>
                </a:cubicBezTo>
                <a:cubicBezTo>
                  <a:pt x="7124" y="850"/>
                  <a:pt x="7123" y="850"/>
                  <a:pt x="7122" y="850"/>
                </a:cubicBezTo>
                <a:cubicBezTo>
                  <a:pt x="7120" y="851"/>
                  <a:pt x="7119" y="851"/>
                  <a:pt x="7119" y="852"/>
                </a:cubicBezTo>
                <a:cubicBezTo>
                  <a:pt x="7118" y="853"/>
                  <a:pt x="7117" y="853"/>
                  <a:pt x="7117" y="853"/>
                </a:cubicBezTo>
                <a:cubicBezTo>
                  <a:pt x="7117" y="854"/>
                  <a:pt x="7117" y="854"/>
                  <a:pt x="7117" y="854"/>
                </a:cubicBezTo>
                <a:close/>
                <a:moveTo>
                  <a:pt x="7130" y="849"/>
                </a:moveTo>
                <a:lnTo>
                  <a:pt x="7134" y="848"/>
                </a:lnTo>
                <a:cubicBezTo>
                  <a:pt x="7148" y="844"/>
                  <a:pt x="7163" y="838"/>
                  <a:pt x="7179" y="831"/>
                </a:cubicBezTo>
                <a:cubicBezTo>
                  <a:pt x="7192" y="826"/>
                  <a:pt x="7201" y="821"/>
                  <a:pt x="7206" y="817"/>
                </a:cubicBezTo>
                <a:cubicBezTo>
                  <a:pt x="7208" y="815"/>
                  <a:pt x="7211" y="813"/>
                  <a:pt x="7215" y="812"/>
                </a:cubicBezTo>
                <a:cubicBezTo>
                  <a:pt x="7219" y="810"/>
                  <a:pt x="7222" y="808"/>
                  <a:pt x="7225" y="806"/>
                </a:cubicBezTo>
                <a:cubicBezTo>
                  <a:pt x="7234" y="799"/>
                  <a:pt x="7240" y="791"/>
                  <a:pt x="7244" y="784"/>
                </a:cubicBezTo>
                <a:lnTo>
                  <a:pt x="7245" y="781"/>
                </a:lnTo>
                <a:cubicBezTo>
                  <a:pt x="7244" y="781"/>
                  <a:pt x="7239" y="785"/>
                  <a:pt x="7232" y="793"/>
                </a:cubicBezTo>
                <a:cubicBezTo>
                  <a:pt x="7211" y="813"/>
                  <a:pt x="7181" y="830"/>
                  <a:pt x="7142" y="844"/>
                </a:cubicBezTo>
                <a:cubicBezTo>
                  <a:pt x="7134" y="846"/>
                  <a:pt x="7129" y="848"/>
                  <a:pt x="7129" y="849"/>
                </a:cubicBezTo>
                <a:cubicBezTo>
                  <a:pt x="7129" y="849"/>
                  <a:pt x="7130" y="849"/>
                  <a:pt x="7130" y="849"/>
                </a:cubicBezTo>
                <a:close/>
                <a:moveTo>
                  <a:pt x="7221" y="807"/>
                </a:moveTo>
                <a:close/>
                <a:moveTo>
                  <a:pt x="7221" y="808"/>
                </a:moveTo>
                <a:cubicBezTo>
                  <a:pt x="7221" y="808"/>
                  <a:pt x="7221" y="808"/>
                  <a:pt x="7221" y="807"/>
                </a:cubicBezTo>
                <a:lnTo>
                  <a:pt x="7221" y="806"/>
                </a:lnTo>
                <a:cubicBezTo>
                  <a:pt x="7224" y="803"/>
                  <a:pt x="7226" y="801"/>
                  <a:pt x="7227" y="801"/>
                </a:cubicBezTo>
                <a:lnTo>
                  <a:pt x="7227" y="802"/>
                </a:lnTo>
                <a:lnTo>
                  <a:pt x="7225" y="805"/>
                </a:lnTo>
                <a:cubicBezTo>
                  <a:pt x="7223" y="807"/>
                  <a:pt x="7222" y="808"/>
                  <a:pt x="7221" y="808"/>
                </a:cubicBezTo>
                <a:close/>
                <a:moveTo>
                  <a:pt x="7194" y="788"/>
                </a:moveTo>
                <a:cubicBezTo>
                  <a:pt x="7193" y="788"/>
                  <a:pt x="7193" y="787"/>
                  <a:pt x="7192" y="786"/>
                </a:cubicBezTo>
                <a:cubicBezTo>
                  <a:pt x="7192" y="786"/>
                  <a:pt x="7191" y="785"/>
                  <a:pt x="7191" y="785"/>
                </a:cubicBezTo>
                <a:cubicBezTo>
                  <a:pt x="7191" y="784"/>
                  <a:pt x="7192" y="783"/>
                  <a:pt x="7192" y="783"/>
                </a:cubicBezTo>
                <a:cubicBezTo>
                  <a:pt x="7194" y="783"/>
                  <a:pt x="7195" y="784"/>
                  <a:pt x="7195" y="786"/>
                </a:cubicBezTo>
                <a:cubicBezTo>
                  <a:pt x="7195" y="787"/>
                  <a:pt x="7194" y="788"/>
                  <a:pt x="7194" y="788"/>
                </a:cubicBezTo>
                <a:close/>
                <a:moveTo>
                  <a:pt x="7184" y="705"/>
                </a:moveTo>
                <a:cubicBezTo>
                  <a:pt x="7182" y="705"/>
                  <a:pt x="7182" y="704"/>
                  <a:pt x="7182" y="703"/>
                </a:cubicBezTo>
                <a:cubicBezTo>
                  <a:pt x="7182" y="702"/>
                  <a:pt x="7182" y="701"/>
                  <a:pt x="7183" y="701"/>
                </a:cubicBezTo>
                <a:lnTo>
                  <a:pt x="7184" y="702"/>
                </a:lnTo>
                <a:cubicBezTo>
                  <a:pt x="7185" y="703"/>
                  <a:pt x="7186" y="703"/>
                  <a:pt x="7186" y="704"/>
                </a:cubicBezTo>
                <a:cubicBezTo>
                  <a:pt x="7186" y="705"/>
                  <a:pt x="7185" y="705"/>
                  <a:pt x="7184" y="705"/>
                </a:cubicBezTo>
                <a:close/>
                <a:moveTo>
                  <a:pt x="7200" y="712"/>
                </a:moveTo>
                <a:cubicBezTo>
                  <a:pt x="7199" y="712"/>
                  <a:pt x="7197" y="711"/>
                  <a:pt x="7195" y="710"/>
                </a:cubicBezTo>
                <a:cubicBezTo>
                  <a:pt x="7194" y="710"/>
                  <a:pt x="7193" y="708"/>
                  <a:pt x="7193" y="707"/>
                </a:cubicBezTo>
                <a:cubicBezTo>
                  <a:pt x="7193" y="706"/>
                  <a:pt x="7193" y="706"/>
                  <a:pt x="7193" y="706"/>
                </a:cubicBezTo>
                <a:cubicBezTo>
                  <a:pt x="7194" y="706"/>
                  <a:pt x="7195" y="706"/>
                  <a:pt x="7196" y="707"/>
                </a:cubicBezTo>
                <a:cubicBezTo>
                  <a:pt x="7196" y="708"/>
                  <a:pt x="7198" y="709"/>
                  <a:pt x="7198" y="709"/>
                </a:cubicBezTo>
                <a:cubicBezTo>
                  <a:pt x="7199" y="709"/>
                  <a:pt x="7200" y="709"/>
                  <a:pt x="7200" y="708"/>
                </a:cubicBezTo>
                <a:lnTo>
                  <a:pt x="7200" y="708"/>
                </a:lnTo>
                <a:cubicBezTo>
                  <a:pt x="7201" y="708"/>
                  <a:pt x="7201" y="708"/>
                  <a:pt x="7201" y="709"/>
                </a:cubicBezTo>
                <a:cubicBezTo>
                  <a:pt x="7201" y="711"/>
                  <a:pt x="7201" y="712"/>
                  <a:pt x="7200" y="712"/>
                </a:cubicBezTo>
                <a:close/>
                <a:moveTo>
                  <a:pt x="7172" y="703"/>
                </a:moveTo>
                <a:cubicBezTo>
                  <a:pt x="7171" y="703"/>
                  <a:pt x="7171" y="702"/>
                  <a:pt x="7171" y="699"/>
                </a:cubicBezTo>
                <a:cubicBezTo>
                  <a:pt x="7171" y="698"/>
                  <a:pt x="7171" y="697"/>
                  <a:pt x="7172" y="697"/>
                </a:cubicBezTo>
                <a:cubicBezTo>
                  <a:pt x="7172" y="697"/>
                  <a:pt x="7173" y="697"/>
                  <a:pt x="7173" y="698"/>
                </a:cubicBezTo>
                <a:cubicBezTo>
                  <a:pt x="7174" y="698"/>
                  <a:pt x="7174" y="699"/>
                  <a:pt x="7174" y="700"/>
                </a:cubicBezTo>
                <a:cubicBezTo>
                  <a:pt x="7174" y="700"/>
                  <a:pt x="7174" y="701"/>
                  <a:pt x="7173" y="701"/>
                </a:cubicBezTo>
                <a:cubicBezTo>
                  <a:pt x="7173" y="702"/>
                  <a:pt x="7172" y="703"/>
                  <a:pt x="7172" y="703"/>
                </a:cubicBezTo>
                <a:close/>
                <a:moveTo>
                  <a:pt x="7058" y="499"/>
                </a:moveTo>
                <a:cubicBezTo>
                  <a:pt x="7058" y="498"/>
                  <a:pt x="7060" y="495"/>
                  <a:pt x="7063" y="491"/>
                </a:cubicBezTo>
                <a:cubicBezTo>
                  <a:pt x="7065" y="489"/>
                  <a:pt x="7067" y="486"/>
                  <a:pt x="7070" y="484"/>
                </a:cubicBezTo>
                <a:cubicBezTo>
                  <a:pt x="7072" y="481"/>
                  <a:pt x="7075" y="479"/>
                  <a:pt x="7077" y="477"/>
                </a:cubicBezTo>
                <a:cubicBezTo>
                  <a:pt x="7079" y="475"/>
                  <a:pt x="7080" y="474"/>
                  <a:pt x="7081" y="474"/>
                </a:cubicBezTo>
                <a:lnTo>
                  <a:pt x="7081" y="475"/>
                </a:lnTo>
                <a:cubicBezTo>
                  <a:pt x="7081" y="475"/>
                  <a:pt x="7078" y="479"/>
                  <a:pt x="7072" y="485"/>
                </a:cubicBezTo>
                <a:cubicBezTo>
                  <a:pt x="7064" y="494"/>
                  <a:pt x="7059" y="499"/>
                  <a:pt x="7058" y="499"/>
                </a:cubicBezTo>
                <a:close/>
                <a:moveTo>
                  <a:pt x="7097" y="462"/>
                </a:moveTo>
                <a:cubicBezTo>
                  <a:pt x="7096" y="462"/>
                  <a:pt x="7095" y="462"/>
                  <a:pt x="7095" y="461"/>
                </a:cubicBezTo>
                <a:cubicBezTo>
                  <a:pt x="7095" y="461"/>
                  <a:pt x="7096" y="460"/>
                  <a:pt x="7096" y="459"/>
                </a:cubicBezTo>
                <a:cubicBezTo>
                  <a:pt x="7097" y="458"/>
                  <a:pt x="7097" y="458"/>
                  <a:pt x="7098" y="458"/>
                </a:cubicBezTo>
                <a:cubicBezTo>
                  <a:pt x="7099" y="458"/>
                  <a:pt x="7099" y="458"/>
                  <a:pt x="7099" y="460"/>
                </a:cubicBezTo>
                <a:cubicBezTo>
                  <a:pt x="7099" y="462"/>
                  <a:pt x="7098" y="462"/>
                  <a:pt x="7097" y="462"/>
                </a:cubicBezTo>
                <a:close/>
                <a:moveTo>
                  <a:pt x="7103" y="458"/>
                </a:moveTo>
                <a:cubicBezTo>
                  <a:pt x="7102" y="458"/>
                  <a:pt x="7102" y="457"/>
                  <a:pt x="7102" y="457"/>
                </a:cubicBezTo>
                <a:lnTo>
                  <a:pt x="7102" y="456"/>
                </a:lnTo>
                <a:cubicBezTo>
                  <a:pt x="7104" y="454"/>
                  <a:pt x="7104" y="453"/>
                  <a:pt x="7105" y="453"/>
                </a:cubicBezTo>
                <a:cubicBezTo>
                  <a:pt x="7105" y="453"/>
                  <a:pt x="7105" y="454"/>
                  <a:pt x="7105" y="456"/>
                </a:cubicBezTo>
                <a:cubicBezTo>
                  <a:pt x="7105" y="457"/>
                  <a:pt x="7105" y="458"/>
                  <a:pt x="7103" y="458"/>
                </a:cubicBezTo>
                <a:close/>
                <a:moveTo>
                  <a:pt x="7198" y="783"/>
                </a:moveTo>
                <a:cubicBezTo>
                  <a:pt x="7197" y="783"/>
                  <a:pt x="7196" y="782"/>
                  <a:pt x="7196" y="780"/>
                </a:cubicBezTo>
                <a:lnTo>
                  <a:pt x="7195" y="779"/>
                </a:lnTo>
                <a:lnTo>
                  <a:pt x="7197" y="779"/>
                </a:lnTo>
                <a:cubicBezTo>
                  <a:pt x="7198" y="779"/>
                  <a:pt x="7199" y="779"/>
                  <a:pt x="7200" y="777"/>
                </a:cubicBezTo>
                <a:cubicBezTo>
                  <a:pt x="7202" y="775"/>
                  <a:pt x="7203" y="774"/>
                  <a:pt x="7203" y="774"/>
                </a:cubicBezTo>
                <a:lnTo>
                  <a:pt x="7201" y="778"/>
                </a:lnTo>
                <a:cubicBezTo>
                  <a:pt x="7200" y="781"/>
                  <a:pt x="7199" y="783"/>
                  <a:pt x="7198" y="783"/>
                </a:cubicBezTo>
                <a:close/>
                <a:moveTo>
                  <a:pt x="7077" y="532"/>
                </a:moveTo>
                <a:close/>
                <a:moveTo>
                  <a:pt x="7078" y="534"/>
                </a:moveTo>
                <a:cubicBezTo>
                  <a:pt x="7077" y="534"/>
                  <a:pt x="7077" y="533"/>
                  <a:pt x="7077" y="532"/>
                </a:cubicBezTo>
                <a:cubicBezTo>
                  <a:pt x="7077" y="532"/>
                  <a:pt x="7078" y="531"/>
                  <a:pt x="7079" y="531"/>
                </a:cubicBezTo>
                <a:cubicBezTo>
                  <a:pt x="7079" y="530"/>
                  <a:pt x="7080" y="529"/>
                  <a:pt x="7082" y="528"/>
                </a:cubicBezTo>
                <a:lnTo>
                  <a:pt x="7084" y="526"/>
                </a:lnTo>
                <a:lnTo>
                  <a:pt x="7084" y="526"/>
                </a:lnTo>
                <a:lnTo>
                  <a:pt x="7082" y="529"/>
                </a:lnTo>
                <a:cubicBezTo>
                  <a:pt x="7080" y="532"/>
                  <a:pt x="7079" y="534"/>
                  <a:pt x="7078" y="534"/>
                </a:cubicBezTo>
                <a:close/>
                <a:moveTo>
                  <a:pt x="7139" y="633"/>
                </a:moveTo>
                <a:cubicBezTo>
                  <a:pt x="7138" y="633"/>
                  <a:pt x="7138" y="633"/>
                  <a:pt x="7138" y="632"/>
                </a:cubicBezTo>
                <a:cubicBezTo>
                  <a:pt x="7138" y="632"/>
                  <a:pt x="7140" y="630"/>
                  <a:pt x="7144" y="627"/>
                </a:cubicBezTo>
                <a:cubicBezTo>
                  <a:pt x="7147" y="625"/>
                  <a:pt x="7153" y="620"/>
                  <a:pt x="7161" y="613"/>
                </a:cubicBezTo>
                <a:lnTo>
                  <a:pt x="7169" y="606"/>
                </a:lnTo>
                <a:cubicBezTo>
                  <a:pt x="7169" y="607"/>
                  <a:pt x="7167" y="608"/>
                  <a:pt x="7165" y="611"/>
                </a:cubicBezTo>
                <a:cubicBezTo>
                  <a:pt x="7162" y="615"/>
                  <a:pt x="7159" y="618"/>
                  <a:pt x="7155" y="621"/>
                </a:cubicBezTo>
                <a:cubicBezTo>
                  <a:pt x="7152" y="624"/>
                  <a:pt x="7148" y="627"/>
                  <a:pt x="7145" y="630"/>
                </a:cubicBezTo>
                <a:cubicBezTo>
                  <a:pt x="7142" y="632"/>
                  <a:pt x="7139" y="633"/>
                  <a:pt x="7139" y="633"/>
                </a:cubicBezTo>
                <a:close/>
                <a:moveTo>
                  <a:pt x="7165" y="701"/>
                </a:moveTo>
                <a:cubicBezTo>
                  <a:pt x="7165" y="701"/>
                  <a:pt x="7164" y="700"/>
                  <a:pt x="7164" y="697"/>
                </a:cubicBezTo>
                <a:cubicBezTo>
                  <a:pt x="7164" y="695"/>
                  <a:pt x="7165" y="694"/>
                  <a:pt x="7166" y="694"/>
                </a:cubicBezTo>
                <a:cubicBezTo>
                  <a:pt x="7167" y="694"/>
                  <a:pt x="7167" y="694"/>
                  <a:pt x="7167" y="696"/>
                </a:cubicBezTo>
                <a:cubicBezTo>
                  <a:pt x="7167" y="696"/>
                  <a:pt x="7167" y="696"/>
                  <a:pt x="7167" y="697"/>
                </a:cubicBezTo>
                <a:cubicBezTo>
                  <a:pt x="7167" y="698"/>
                  <a:pt x="7166" y="699"/>
                  <a:pt x="7166" y="700"/>
                </a:cubicBezTo>
                <a:cubicBezTo>
                  <a:pt x="7166" y="701"/>
                  <a:pt x="7165" y="701"/>
                  <a:pt x="7165" y="701"/>
                </a:cubicBezTo>
                <a:close/>
                <a:moveTo>
                  <a:pt x="7160" y="696"/>
                </a:moveTo>
                <a:cubicBezTo>
                  <a:pt x="7159" y="696"/>
                  <a:pt x="7159" y="696"/>
                  <a:pt x="7159" y="695"/>
                </a:cubicBezTo>
                <a:lnTo>
                  <a:pt x="7159" y="694"/>
                </a:lnTo>
                <a:cubicBezTo>
                  <a:pt x="7160" y="692"/>
                  <a:pt x="7161" y="692"/>
                  <a:pt x="7161" y="692"/>
                </a:cubicBezTo>
                <a:cubicBezTo>
                  <a:pt x="7162" y="692"/>
                  <a:pt x="7162" y="692"/>
                  <a:pt x="7162" y="694"/>
                </a:cubicBezTo>
                <a:cubicBezTo>
                  <a:pt x="7162" y="695"/>
                  <a:pt x="7161" y="696"/>
                  <a:pt x="7160" y="696"/>
                </a:cubicBezTo>
                <a:close/>
                <a:moveTo>
                  <a:pt x="7132" y="597"/>
                </a:moveTo>
                <a:close/>
                <a:moveTo>
                  <a:pt x="7132" y="598"/>
                </a:moveTo>
                <a:cubicBezTo>
                  <a:pt x="7132" y="598"/>
                  <a:pt x="7132" y="597"/>
                  <a:pt x="7132" y="597"/>
                </a:cubicBezTo>
                <a:cubicBezTo>
                  <a:pt x="7132" y="596"/>
                  <a:pt x="7133" y="594"/>
                  <a:pt x="7135" y="593"/>
                </a:cubicBezTo>
                <a:cubicBezTo>
                  <a:pt x="7137" y="591"/>
                  <a:pt x="7138" y="590"/>
                  <a:pt x="7138" y="590"/>
                </a:cubicBezTo>
                <a:cubicBezTo>
                  <a:pt x="7138" y="591"/>
                  <a:pt x="7137" y="592"/>
                  <a:pt x="7136" y="594"/>
                </a:cubicBezTo>
                <a:cubicBezTo>
                  <a:pt x="7134" y="596"/>
                  <a:pt x="7133" y="598"/>
                  <a:pt x="7132" y="598"/>
                </a:cubicBezTo>
                <a:close/>
              </a:path>
            </a:pathLst>
          </a:custGeom>
          <a:solidFill>
            <a:srgbClr val="FEFEFE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727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4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4786396-EF1B-2B69-84D2-87FFC0689903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5E24983-65DE-686E-5FE2-3F6D66705A72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56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902">
          <p15:clr>
            <a:srgbClr val="FBAE40"/>
          </p15:clr>
        </p15:guide>
        <p15:guide id="5" pos="2016">
          <p15:clr>
            <a:srgbClr val="FBAE40"/>
          </p15:clr>
        </p15:guide>
        <p15:guide id="6" pos="3783">
          <p15:clr>
            <a:srgbClr val="FBAE40"/>
          </p15:clr>
        </p15:guide>
        <p15:guide id="7" pos="3896">
          <p15:clr>
            <a:srgbClr val="FBAE40"/>
          </p15:clr>
        </p15:guide>
        <p15:guide id="8" pos="5663">
          <p15:clr>
            <a:srgbClr val="FBAE40"/>
          </p15:clr>
        </p15:guide>
        <p15:guide id="9" pos="5777">
          <p15:clr>
            <a:srgbClr val="FBAE40"/>
          </p15:clr>
        </p15:guide>
        <p15:guide id="10" pos="7543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861">
          <p15:clr>
            <a:srgbClr val="FBAE40"/>
          </p15:clr>
        </p15:guide>
        <p15:guide id="14" orient="horz" pos="1286">
          <p15:clr>
            <a:srgbClr val="FBAE40"/>
          </p15:clr>
        </p15:guide>
        <p15:guide id="15" orient="horz" pos="1400">
          <p15:clr>
            <a:srgbClr val="FBAE40"/>
          </p15:clr>
        </p15:guide>
        <p15:guide id="16" orient="horz" pos="1825">
          <p15:clr>
            <a:srgbClr val="FBAE40"/>
          </p15:clr>
        </p15:guide>
        <p15:guide id="17" orient="horz" pos="1938">
          <p15:clr>
            <a:srgbClr val="FBAE40"/>
          </p15:clr>
        </p15:guide>
        <p15:guide id="18" orient="horz" pos="2364">
          <p15:clr>
            <a:srgbClr val="FBAE40"/>
          </p15:clr>
        </p15:guide>
        <p15:guide id="19" orient="horz" pos="2477">
          <p15:clr>
            <a:srgbClr val="FBAE40"/>
          </p15:clr>
        </p15:guide>
        <p15:guide id="20" orient="horz" pos="2902">
          <p15:clr>
            <a:srgbClr val="FBAE40"/>
          </p15:clr>
        </p15:guide>
        <p15:guide id="21" orient="horz" pos="3016">
          <p15:clr>
            <a:srgbClr val="FBAE40"/>
          </p15:clr>
        </p15:guide>
        <p15:guide id="22" orient="horz" pos="3441">
          <p15:clr>
            <a:srgbClr val="FBAE40"/>
          </p15:clr>
        </p15:guide>
        <p15:guide id="23" orient="horz" pos="3554">
          <p15:clr>
            <a:srgbClr val="FBAE40"/>
          </p15:clr>
        </p15:guide>
        <p15:guide id="24" orient="horz" pos="397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4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4786396-EF1B-2B69-84D2-87FFC0689903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5E24983-65DE-686E-5FE2-3F6D66705A72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2318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902">
          <p15:clr>
            <a:srgbClr val="FBAE40"/>
          </p15:clr>
        </p15:guide>
        <p15:guide id="5" pos="2016">
          <p15:clr>
            <a:srgbClr val="FBAE40"/>
          </p15:clr>
        </p15:guide>
        <p15:guide id="6" pos="3783">
          <p15:clr>
            <a:srgbClr val="FBAE40"/>
          </p15:clr>
        </p15:guide>
        <p15:guide id="7" pos="3896">
          <p15:clr>
            <a:srgbClr val="FBAE40"/>
          </p15:clr>
        </p15:guide>
        <p15:guide id="8" pos="5663">
          <p15:clr>
            <a:srgbClr val="FBAE40"/>
          </p15:clr>
        </p15:guide>
        <p15:guide id="9" pos="5777">
          <p15:clr>
            <a:srgbClr val="FBAE40"/>
          </p15:clr>
        </p15:guide>
        <p15:guide id="10" pos="7543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861">
          <p15:clr>
            <a:srgbClr val="FBAE40"/>
          </p15:clr>
        </p15:guide>
        <p15:guide id="14" orient="horz" pos="1286">
          <p15:clr>
            <a:srgbClr val="FBAE40"/>
          </p15:clr>
        </p15:guide>
        <p15:guide id="15" orient="horz" pos="1400">
          <p15:clr>
            <a:srgbClr val="FBAE40"/>
          </p15:clr>
        </p15:guide>
        <p15:guide id="16" orient="horz" pos="1825">
          <p15:clr>
            <a:srgbClr val="FBAE40"/>
          </p15:clr>
        </p15:guide>
        <p15:guide id="17" orient="horz" pos="1938">
          <p15:clr>
            <a:srgbClr val="FBAE40"/>
          </p15:clr>
        </p15:guide>
        <p15:guide id="18" orient="horz" pos="2364">
          <p15:clr>
            <a:srgbClr val="FBAE40"/>
          </p15:clr>
        </p15:guide>
        <p15:guide id="19" orient="horz" pos="2477">
          <p15:clr>
            <a:srgbClr val="FBAE40"/>
          </p15:clr>
        </p15:guide>
        <p15:guide id="20" orient="horz" pos="2902">
          <p15:clr>
            <a:srgbClr val="FBAE40"/>
          </p15:clr>
        </p15:guide>
        <p15:guide id="21" orient="horz" pos="3016">
          <p15:clr>
            <a:srgbClr val="FBAE40"/>
          </p15:clr>
        </p15:guide>
        <p15:guide id="22" orient="horz" pos="3441">
          <p15:clr>
            <a:srgbClr val="FBAE40"/>
          </p15:clr>
        </p15:guide>
        <p15:guide id="23" orient="horz" pos="3554">
          <p15:clr>
            <a:srgbClr val="FBAE40"/>
          </p15:clr>
        </p15:guide>
        <p15:guide id="24" orient="horz" pos="397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4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D5E3C6E-BE1E-0136-4664-1C1BA03C8F31}"/>
              </a:ext>
            </a:extLst>
          </p:cNvPr>
          <p:cNvSpPr/>
          <p:nvPr userDrawn="1"/>
        </p:nvSpPr>
        <p:spPr>
          <a:xfrm>
            <a:off x="0" y="3076574"/>
            <a:ext cx="12192000" cy="330644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55178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902">
          <p15:clr>
            <a:srgbClr val="FBAE40"/>
          </p15:clr>
        </p15:guide>
        <p15:guide id="5" pos="2016">
          <p15:clr>
            <a:srgbClr val="FBAE40"/>
          </p15:clr>
        </p15:guide>
        <p15:guide id="6" pos="3783">
          <p15:clr>
            <a:srgbClr val="FBAE40"/>
          </p15:clr>
        </p15:guide>
        <p15:guide id="7" pos="3896">
          <p15:clr>
            <a:srgbClr val="FBAE40"/>
          </p15:clr>
        </p15:guide>
        <p15:guide id="8" pos="5663">
          <p15:clr>
            <a:srgbClr val="FBAE40"/>
          </p15:clr>
        </p15:guide>
        <p15:guide id="9" pos="5777">
          <p15:clr>
            <a:srgbClr val="FBAE40"/>
          </p15:clr>
        </p15:guide>
        <p15:guide id="10" pos="7543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861">
          <p15:clr>
            <a:srgbClr val="FBAE40"/>
          </p15:clr>
        </p15:guide>
        <p15:guide id="14" orient="horz" pos="1286">
          <p15:clr>
            <a:srgbClr val="FBAE40"/>
          </p15:clr>
        </p15:guide>
        <p15:guide id="15" orient="horz" pos="1400">
          <p15:clr>
            <a:srgbClr val="FBAE40"/>
          </p15:clr>
        </p15:guide>
        <p15:guide id="16" orient="horz" pos="1825">
          <p15:clr>
            <a:srgbClr val="FBAE40"/>
          </p15:clr>
        </p15:guide>
        <p15:guide id="17" orient="horz" pos="1938">
          <p15:clr>
            <a:srgbClr val="FBAE40"/>
          </p15:clr>
        </p15:guide>
        <p15:guide id="18" orient="horz" pos="2364">
          <p15:clr>
            <a:srgbClr val="FBAE40"/>
          </p15:clr>
        </p15:guide>
        <p15:guide id="19" orient="horz" pos="2477">
          <p15:clr>
            <a:srgbClr val="FBAE40"/>
          </p15:clr>
        </p15:guide>
        <p15:guide id="20" orient="horz" pos="2902">
          <p15:clr>
            <a:srgbClr val="FBAE40"/>
          </p15:clr>
        </p15:guide>
        <p15:guide id="21" orient="horz" pos="3016">
          <p15:clr>
            <a:srgbClr val="FBAE40"/>
          </p15:clr>
        </p15:guide>
        <p15:guide id="22" orient="horz" pos="3441">
          <p15:clr>
            <a:srgbClr val="FBAE40"/>
          </p15:clr>
        </p15:guide>
        <p15:guide id="23" orient="horz" pos="3554">
          <p15:clr>
            <a:srgbClr val="FBAE40"/>
          </p15:clr>
        </p15:guide>
        <p15:guide id="24" orient="horz" pos="397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4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D5E3C6E-BE1E-0136-4664-1C1BA03C8F31}"/>
              </a:ext>
            </a:extLst>
          </p:cNvPr>
          <p:cNvSpPr/>
          <p:nvPr userDrawn="1"/>
        </p:nvSpPr>
        <p:spPr>
          <a:xfrm>
            <a:off x="0" y="3076574"/>
            <a:ext cx="12192000" cy="33064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7515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902">
          <p15:clr>
            <a:srgbClr val="FBAE40"/>
          </p15:clr>
        </p15:guide>
        <p15:guide id="5" pos="2016">
          <p15:clr>
            <a:srgbClr val="FBAE40"/>
          </p15:clr>
        </p15:guide>
        <p15:guide id="6" pos="3783">
          <p15:clr>
            <a:srgbClr val="FBAE40"/>
          </p15:clr>
        </p15:guide>
        <p15:guide id="7" pos="3896">
          <p15:clr>
            <a:srgbClr val="FBAE40"/>
          </p15:clr>
        </p15:guide>
        <p15:guide id="8" pos="5663">
          <p15:clr>
            <a:srgbClr val="FBAE40"/>
          </p15:clr>
        </p15:guide>
        <p15:guide id="9" pos="5777">
          <p15:clr>
            <a:srgbClr val="FBAE40"/>
          </p15:clr>
        </p15:guide>
        <p15:guide id="10" pos="7543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861">
          <p15:clr>
            <a:srgbClr val="FBAE40"/>
          </p15:clr>
        </p15:guide>
        <p15:guide id="14" orient="horz" pos="1286">
          <p15:clr>
            <a:srgbClr val="FBAE40"/>
          </p15:clr>
        </p15:guide>
        <p15:guide id="15" orient="horz" pos="1400">
          <p15:clr>
            <a:srgbClr val="FBAE40"/>
          </p15:clr>
        </p15:guide>
        <p15:guide id="16" orient="horz" pos="1825">
          <p15:clr>
            <a:srgbClr val="FBAE40"/>
          </p15:clr>
        </p15:guide>
        <p15:guide id="17" orient="horz" pos="1938">
          <p15:clr>
            <a:srgbClr val="FBAE40"/>
          </p15:clr>
        </p15:guide>
        <p15:guide id="18" orient="horz" pos="2364">
          <p15:clr>
            <a:srgbClr val="FBAE40"/>
          </p15:clr>
        </p15:guide>
        <p15:guide id="19" orient="horz" pos="2477">
          <p15:clr>
            <a:srgbClr val="FBAE40"/>
          </p15:clr>
        </p15:guide>
        <p15:guide id="20" orient="horz" pos="2902">
          <p15:clr>
            <a:srgbClr val="FBAE40"/>
          </p15:clr>
        </p15:guide>
        <p15:guide id="21" orient="horz" pos="3016">
          <p15:clr>
            <a:srgbClr val="FBAE40"/>
          </p15:clr>
        </p15:guide>
        <p15:guide id="22" orient="horz" pos="3441">
          <p15:clr>
            <a:srgbClr val="FBAE40"/>
          </p15:clr>
        </p15:guide>
        <p15:guide id="23" orient="horz" pos="3554">
          <p15:clr>
            <a:srgbClr val="FBAE40"/>
          </p15:clr>
        </p15:guide>
        <p15:guide id="24" orient="horz" pos="397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5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ECFB537-8442-FFC6-0350-9DE5F4D8A8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6375" y="1460440"/>
            <a:ext cx="2206625" cy="2292410"/>
          </a:xfrm>
          <a:prstGeom prst="rect">
            <a:avLst/>
          </a:prstGeom>
          <a:solidFill>
            <a:srgbClr val="CAB9A7">
              <a:alpha val="50196"/>
            </a:srgbClr>
          </a:solidFill>
          <a:ln w="6350">
            <a:noFill/>
          </a:ln>
        </p:spPr>
        <p:txBody>
          <a:bodyPr tIns="180000"/>
          <a:lstStyle>
            <a:lvl1pPr algn="ctr">
              <a:spcBef>
                <a:spcPts val="1200"/>
              </a:spcBef>
              <a:spcAft>
                <a:spcPts val="12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2000" b="1">
                <a:solidFill>
                  <a:schemeClr val="accent5"/>
                </a:solidFill>
              </a:defRPr>
            </a:lvl2pPr>
            <a:lvl3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C40A1D25-7252-7DB9-23AB-C05C4437B1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93975" y="1460440"/>
            <a:ext cx="2206625" cy="2292410"/>
          </a:xfrm>
          <a:prstGeom prst="rect">
            <a:avLst/>
          </a:prstGeom>
          <a:solidFill>
            <a:srgbClr val="CAB9A7">
              <a:alpha val="50196"/>
            </a:srgbClr>
          </a:solidFill>
          <a:ln w="6350">
            <a:noFill/>
          </a:ln>
        </p:spPr>
        <p:txBody>
          <a:bodyPr tIns="180000"/>
          <a:lstStyle>
            <a:lvl1pPr algn="ctr">
              <a:spcBef>
                <a:spcPts val="1200"/>
              </a:spcBef>
              <a:spcAft>
                <a:spcPts val="12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2000" b="1">
                <a:solidFill>
                  <a:schemeClr val="accent5"/>
                </a:solidFill>
              </a:defRPr>
            </a:lvl2pPr>
            <a:lvl3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8F8B2ACB-166C-2464-C86B-5BE4962223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81575" y="1460440"/>
            <a:ext cx="2206625" cy="2292410"/>
          </a:xfrm>
          <a:prstGeom prst="rect">
            <a:avLst/>
          </a:prstGeom>
          <a:solidFill>
            <a:srgbClr val="CAB9A7">
              <a:alpha val="50196"/>
            </a:srgbClr>
          </a:solidFill>
          <a:ln w="6350">
            <a:noFill/>
          </a:ln>
        </p:spPr>
        <p:txBody>
          <a:bodyPr tIns="180000"/>
          <a:lstStyle>
            <a:lvl1pPr algn="ctr">
              <a:spcBef>
                <a:spcPts val="1200"/>
              </a:spcBef>
              <a:spcAft>
                <a:spcPts val="12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2000" b="1">
                <a:solidFill>
                  <a:schemeClr val="accent5"/>
                </a:solidFill>
              </a:defRPr>
            </a:lvl2pPr>
            <a:lvl3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23740353-5A67-D96D-F632-12E422E4B6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69175" y="1460440"/>
            <a:ext cx="2206625" cy="2292410"/>
          </a:xfrm>
          <a:prstGeom prst="rect">
            <a:avLst/>
          </a:prstGeom>
          <a:solidFill>
            <a:srgbClr val="CAB9A7">
              <a:alpha val="50196"/>
            </a:srgbClr>
          </a:solidFill>
          <a:ln w="6350">
            <a:noFill/>
          </a:ln>
        </p:spPr>
        <p:txBody>
          <a:bodyPr tIns="180000"/>
          <a:lstStyle>
            <a:lvl1pPr algn="ctr">
              <a:spcBef>
                <a:spcPts val="1200"/>
              </a:spcBef>
              <a:spcAft>
                <a:spcPts val="12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2000" b="1">
                <a:solidFill>
                  <a:schemeClr val="accent5"/>
                </a:solidFill>
              </a:defRPr>
            </a:lvl2pPr>
            <a:lvl3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95DACC40-3668-8E08-AD6D-0F23DA33F9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756775" y="1460440"/>
            <a:ext cx="2206625" cy="2292410"/>
          </a:xfrm>
          <a:prstGeom prst="rect">
            <a:avLst/>
          </a:prstGeom>
          <a:solidFill>
            <a:srgbClr val="CAB9A7">
              <a:alpha val="50196"/>
            </a:srgbClr>
          </a:solidFill>
          <a:ln w="6350">
            <a:noFill/>
          </a:ln>
        </p:spPr>
        <p:txBody>
          <a:bodyPr tIns="180000"/>
          <a:lstStyle>
            <a:lvl1pPr algn="ctr">
              <a:spcBef>
                <a:spcPts val="1200"/>
              </a:spcBef>
              <a:spcAft>
                <a:spcPts val="12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2000" b="1">
                <a:solidFill>
                  <a:schemeClr val="accent5"/>
                </a:solidFill>
              </a:defRPr>
            </a:lvl2pPr>
            <a:lvl3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E4483903-2B4E-9669-F08B-BB408E4FA22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99736" y="3930651"/>
            <a:ext cx="2206625" cy="2292410"/>
          </a:xfrm>
          <a:prstGeom prst="rect">
            <a:avLst/>
          </a:prstGeom>
          <a:solidFill>
            <a:srgbClr val="CAB9A7">
              <a:alpha val="50196"/>
            </a:srgbClr>
          </a:solidFill>
          <a:ln w="6350">
            <a:noFill/>
          </a:ln>
        </p:spPr>
        <p:txBody>
          <a:bodyPr tIns="180000"/>
          <a:lstStyle>
            <a:lvl1pPr algn="ctr">
              <a:spcBef>
                <a:spcPts val="1200"/>
              </a:spcBef>
              <a:spcAft>
                <a:spcPts val="12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2000" b="1">
                <a:solidFill>
                  <a:schemeClr val="accent5"/>
                </a:solidFill>
              </a:defRPr>
            </a:lvl2pPr>
            <a:lvl3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6CE27B4F-036B-93D5-3C01-C32A2493C5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587336" y="3930651"/>
            <a:ext cx="2206625" cy="2292410"/>
          </a:xfrm>
          <a:prstGeom prst="rect">
            <a:avLst/>
          </a:prstGeom>
          <a:solidFill>
            <a:srgbClr val="CAB9A7">
              <a:alpha val="50196"/>
            </a:srgbClr>
          </a:solidFill>
          <a:ln w="6350">
            <a:noFill/>
          </a:ln>
        </p:spPr>
        <p:txBody>
          <a:bodyPr tIns="180000"/>
          <a:lstStyle>
            <a:lvl1pPr algn="ctr">
              <a:spcBef>
                <a:spcPts val="1200"/>
              </a:spcBef>
              <a:spcAft>
                <a:spcPts val="12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2000" b="1">
                <a:solidFill>
                  <a:schemeClr val="accent5"/>
                </a:solidFill>
              </a:defRPr>
            </a:lvl2pPr>
            <a:lvl3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C659C4F-8DAF-A7B9-E917-DC744070AE0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974936" y="3930651"/>
            <a:ext cx="2206625" cy="2292410"/>
          </a:xfrm>
          <a:prstGeom prst="rect">
            <a:avLst/>
          </a:prstGeom>
          <a:solidFill>
            <a:srgbClr val="CAB9A7">
              <a:alpha val="50196"/>
            </a:srgbClr>
          </a:solidFill>
          <a:ln w="6350">
            <a:noFill/>
          </a:ln>
        </p:spPr>
        <p:txBody>
          <a:bodyPr tIns="180000"/>
          <a:lstStyle>
            <a:lvl1pPr algn="ctr">
              <a:spcBef>
                <a:spcPts val="1200"/>
              </a:spcBef>
              <a:spcAft>
                <a:spcPts val="12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2000" b="1">
                <a:solidFill>
                  <a:schemeClr val="accent5"/>
                </a:solidFill>
              </a:defRPr>
            </a:lvl2pPr>
            <a:lvl3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9BA5F448-8BAF-FF9E-6158-5F85B730F21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62536" y="3930651"/>
            <a:ext cx="2206625" cy="2292410"/>
          </a:xfrm>
          <a:prstGeom prst="rect">
            <a:avLst/>
          </a:prstGeom>
          <a:solidFill>
            <a:srgbClr val="CAB9A7">
              <a:alpha val="50196"/>
            </a:srgbClr>
          </a:solidFill>
          <a:ln w="6350">
            <a:noFill/>
          </a:ln>
        </p:spPr>
        <p:txBody>
          <a:bodyPr tIns="180000"/>
          <a:lstStyle>
            <a:lvl1pPr algn="ctr">
              <a:spcBef>
                <a:spcPts val="1200"/>
              </a:spcBef>
              <a:spcAft>
                <a:spcPts val="12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2000" b="1">
                <a:solidFill>
                  <a:schemeClr val="accent5"/>
                </a:solidFill>
              </a:defRPr>
            </a:lvl2pPr>
            <a:lvl3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1D68F6CB-757D-4C18-DE48-4FCB7BCD04B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756775" y="3930651"/>
            <a:ext cx="2206625" cy="2292410"/>
          </a:xfrm>
          <a:prstGeom prst="rect">
            <a:avLst/>
          </a:prstGeom>
          <a:solidFill>
            <a:srgbClr val="CAB9A7">
              <a:alpha val="50196"/>
            </a:srgbClr>
          </a:solidFill>
          <a:ln w="6350">
            <a:noFill/>
          </a:ln>
        </p:spPr>
        <p:txBody>
          <a:bodyPr tIns="180000"/>
          <a:lstStyle>
            <a:lvl1pPr algn="ctr">
              <a:spcBef>
                <a:spcPts val="1200"/>
              </a:spcBef>
              <a:spcAft>
                <a:spcPts val="12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2000" b="1">
                <a:solidFill>
                  <a:schemeClr val="accent5"/>
                </a:solidFill>
              </a:defRPr>
            </a:lvl2pPr>
            <a:lvl3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76765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526">
          <p15:clr>
            <a:srgbClr val="FBAE40"/>
          </p15:clr>
        </p15:guide>
        <p15:guide id="5" pos="1640">
          <p15:clr>
            <a:srgbClr val="FBAE40"/>
          </p15:clr>
        </p15:guide>
        <p15:guide id="6" pos="3031">
          <p15:clr>
            <a:srgbClr val="FBAE40"/>
          </p15:clr>
        </p15:guide>
        <p15:guide id="7" pos="3144">
          <p15:clr>
            <a:srgbClr val="FBAE40"/>
          </p15:clr>
        </p15:guide>
        <p15:guide id="8" pos="4535">
          <p15:clr>
            <a:srgbClr val="FBAE40"/>
          </p15:clr>
        </p15:guide>
        <p15:guide id="9" pos="4648">
          <p15:clr>
            <a:srgbClr val="FBAE40"/>
          </p15:clr>
        </p15:guide>
        <p15:guide id="10" pos="6039">
          <p15:clr>
            <a:srgbClr val="FBAE40"/>
          </p15:clr>
        </p15:guide>
        <p15:guide id="11" pos="6153">
          <p15:clr>
            <a:srgbClr val="FBAE40"/>
          </p15:clr>
        </p15:guide>
        <p15:guide id="12" pos="7543">
          <p15:clr>
            <a:srgbClr val="FBAE40"/>
          </p15:clr>
        </p15:guide>
        <p15:guide id="13" orient="horz">
          <p15:clr>
            <a:srgbClr val="FBAE40"/>
          </p15:clr>
        </p15:guide>
        <p15:guide id="14" orient="horz" pos="4320">
          <p15:clr>
            <a:srgbClr val="FBAE40"/>
          </p15:clr>
        </p15:guide>
        <p15:guide id="15" orient="horz" pos="861">
          <p15:clr>
            <a:srgbClr val="FBAE40"/>
          </p15:clr>
        </p15:guide>
        <p15:guide id="16" orient="horz" pos="1296">
          <p15:clr>
            <a:srgbClr val="FBAE40"/>
          </p15:clr>
        </p15:guide>
        <p15:guide id="17" orient="horz" pos="1392">
          <p15:clr>
            <a:srgbClr val="FBAE40"/>
          </p15:clr>
        </p15:guide>
        <p15:guide id="18" orient="horz" pos="1824">
          <p15:clr>
            <a:srgbClr val="FBAE40"/>
          </p15:clr>
        </p15:guide>
        <p15:guide id="19" orient="horz" pos="1938">
          <p15:clr>
            <a:srgbClr val="FBAE40"/>
          </p15:clr>
        </p15:guide>
        <p15:guide id="20" orient="horz" pos="2364">
          <p15:clr>
            <a:srgbClr val="FBAE40"/>
          </p15:clr>
        </p15:guide>
        <p15:guide id="21" orient="horz" pos="2477">
          <p15:clr>
            <a:srgbClr val="FBAE40"/>
          </p15:clr>
        </p15:guide>
        <p15:guide id="22" orient="horz" pos="2902">
          <p15:clr>
            <a:srgbClr val="FBAE40"/>
          </p15:clr>
        </p15:guide>
        <p15:guide id="23" orient="horz" pos="3016">
          <p15:clr>
            <a:srgbClr val="FBAE40"/>
          </p15:clr>
        </p15:guide>
        <p15:guide id="24" orient="horz" pos="3441">
          <p15:clr>
            <a:srgbClr val="FBAE40"/>
          </p15:clr>
        </p15:guide>
        <p15:guide id="25" orient="horz" pos="3554">
          <p15:clr>
            <a:srgbClr val="FBAE40"/>
          </p15:clr>
        </p15:guide>
        <p15:guide id="26" orient="horz" pos="397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61524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85E0FE5F-2D22-EA56-69E0-797B2B307831}"/>
              </a:ext>
            </a:extLst>
          </p:cNvPr>
          <p:cNvGrpSpPr/>
          <p:nvPr userDrawn="1"/>
        </p:nvGrpSpPr>
        <p:grpSpPr>
          <a:xfrm>
            <a:off x="10290660" y="2213409"/>
            <a:ext cx="471843" cy="474435"/>
            <a:chOff x="331788" y="4432300"/>
            <a:chExt cx="288925" cy="290512"/>
          </a:xfrm>
          <a:solidFill>
            <a:schemeClr val="accent3"/>
          </a:solidFill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04FB872D-6101-3560-3027-AA18E84A9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275" y="4470400"/>
              <a:ext cx="58738" cy="9525"/>
            </a:xfrm>
            <a:custGeom>
              <a:avLst/>
              <a:gdLst>
                <a:gd name="T0" fmla="*/ 163 w 163"/>
                <a:gd name="T1" fmla="*/ 12 h 24"/>
                <a:gd name="T2" fmla="*/ 152 w 163"/>
                <a:gd name="T3" fmla="*/ 0 h 24"/>
                <a:gd name="T4" fmla="*/ 15 w 163"/>
                <a:gd name="T5" fmla="*/ 0 h 24"/>
                <a:gd name="T6" fmla="*/ 15 w 163"/>
                <a:gd name="T7" fmla="*/ 24 h 24"/>
                <a:gd name="T8" fmla="*/ 152 w 163"/>
                <a:gd name="T9" fmla="*/ 24 h 24"/>
                <a:gd name="T10" fmla="*/ 163 w 163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3" h="24">
                  <a:moveTo>
                    <a:pt x="163" y="12"/>
                  </a:moveTo>
                  <a:cubicBezTo>
                    <a:pt x="163" y="5"/>
                    <a:pt x="158" y="0"/>
                    <a:pt x="152" y="0"/>
                  </a:cubicBezTo>
                  <a:lnTo>
                    <a:pt x="15" y="0"/>
                  </a:lnTo>
                  <a:cubicBezTo>
                    <a:pt x="1" y="0"/>
                    <a:pt x="0" y="24"/>
                    <a:pt x="15" y="24"/>
                  </a:cubicBezTo>
                  <a:lnTo>
                    <a:pt x="152" y="24"/>
                  </a:lnTo>
                  <a:cubicBezTo>
                    <a:pt x="158" y="24"/>
                    <a:pt x="163" y="18"/>
                    <a:pt x="16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5" name="Freeform 6">
              <a:extLst>
                <a:ext uri="{FF2B5EF4-FFF2-40B4-BE49-F238E27FC236}">
                  <a16:creationId xmlns:a16="http://schemas.microsoft.com/office/drawing/2014/main" id="{16468B09-5BD1-BF0D-5AB6-5B688401B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275" y="4500563"/>
              <a:ext cx="39688" cy="9525"/>
            </a:xfrm>
            <a:custGeom>
              <a:avLst/>
              <a:gdLst>
                <a:gd name="T0" fmla="*/ 15 w 111"/>
                <a:gd name="T1" fmla="*/ 0 h 24"/>
                <a:gd name="T2" fmla="*/ 15 w 111"/>
                <a:gd name="T3" fmla="*/ 24 h 24"/>
                <a:gd name="T4" fmla="*/ 96 w 111"/>
                <a:gd name="T5" fmla="*/ 24 h 24"/>
                <a:gd name="T6" fmla="*/ 96 w 111"/>
                <a:gd name="T7" fmla="*/ 0 h 24"/>
                <a:gd name="T8" fmla="*/ 15 w 111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4">
                  <a:moveTo>
                    <a:pt x="15" y="0"/>
                  </a:moveTo>
                  <a:cubicBezTo>
                    <a:pt x="1" y="0"/>
                    <a:pt x="0" y="24"/>
                    <a:pt x="15" y="24"/>
                  </a:cubicBezTo>
                  <a:lnTo>
                    <a:pt x="96" y="24"/>
                  </a:lnTo>
                  <a:cubicBezTo>
                    <a:pt x="110" y="24"/>
                    <a:pt x="111" y="0"/>
                    <a:pt x="96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4" name="Freeform 7">
              <a:extLst>
                <a:ext uri="{FF2B5EF4-FFF2-40B4-BE49-F238E27FC236}">
                  <a16:creationId xmlns:a16="http://schemas.microsoft.com/office/drawing/2014/main" id="{F5DA84C8-147E-2511-D113-84F5EB678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50" y="4640263"/>
              <a:ext cx="66675" cy="9525"/>
            </a:xfrm>
            <a:custGeom>
              <a:avLst/>
              <a:gdLst>
                <a:gd name="T0" fmla="*/ 170 w 185"/>
                <a:gd name="T1" fmla="*/ 24 h 24"/>
                <a:gd name="T2" fmla="*/ 170 w 185"/>
                <a:gd name="T3" fmla="*/ 0 h 24"/>
                <a:gd name="T4" fmla="*/ 16 w 185"/>
                <a:gd name="T5" fmla="*/ 0 h 24"/>
                <a:gd name="T6" fmla="*/ 16 w 185"/>
                <a:gd name="T7" fmla="*/ 24 h 24"/>
                <a:gd name="T8" fmla="*/ 170 w 185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24">
                  <a:moveTo>
                    <a:pt x="170" y="24"/>
                  </a:moveTo>
                  <a:cubicBezTo>
                    <a:pt x="184" y="24"/>
                    <a:pt x="185" y="0"/>
                    <a:pt x="170" y="0"/>
                  </a:cubicBezTo>
                  <a:lnTo>
                    <a:pt x="16" y="0"/>
                  </a:lnTo>
                  <a:cubicBezTo>
                    <a:pt x="1" y="0"/>
                    <a:pt x="0" y="24"/>
                    <a:pt x="16" y="24"/>
                  </a:cubicBezTo>
                  <a:lnTo>
                    <a:pt x="17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5" name="Freeform 8">
              <a:extLst>
                <a:ext uri="{FF2B5EF4-FFF2-40B4-BE49-F238E27FC236}">
                  <a16:creationId xmlns:a16="http://schemas.microsoft.com/office/drawing/2014/main" id="{0BBEC1EB-106A-B37B-9BBC-3E6DAD149B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363" y="4459288"/>
              <a:ext cx="46038" cy="87312"/>
            </a:xfrm>
            <a:custGeom>
              <a:avLst/>
              <a:gdLst>
                <a:gd name="T0" fmla="*/ 63 w 124"/>
                <a:gd name="T1" fmla="*/ 241 h 241"/>
                <a:gd name="T2" fmla="*/ 75 w 124"/>
                <a:gd name="T3" fmla="*/ 229 h 241"/>
                <a:gd name="T4" fmla="*/ 75 w 124"/>
                <a:gd name="T5" fmla="*/ 216 h 241"/>
                <a:gd name="T6" fmla="*/ 120 w 124"/>
                <a:gd name="T7" fmla="*/ 168 h 241"/>
                <a:gd name="T8" fmla="*/ 85 w 124"/>
                <a:gd name="T9" fmla="*/ 110 h 241"/>
                <a:gd name="T10" fmla="*/ 75 w 124"/>
                <a:gd name="T11" fmla="*/ 107 h 241"/>
                <a:gd name="T12" fmla="*/ 75 w 124"/>
                <a:gd name="T13" fmla="*/ 51 h 241"/>
                <a:gd name="T14" fmla="*/ 89 w 124"/>
                <a:gd name="T15" fmla="*/ 58 h 241"/>
                <a:gd name="T16" fmla="*/ 105 w 124"/>
                <a:gd name="T17" fmla="*/ 41 h 241"/>
                <a:gd name="T18" fmla="*/ 75 w 124"/>
                <a:gd name="T19" fmla="*/ 27 h 241"/>
                <a:gd name="T20" fmla="*/ 75 w 124"/>
                <a:gd name="T21" fmla="*/ 16 h 241"/>
                <a:gd name="T22" fmla="*/ 51 w 124"/>
                <a:gd name="T23" fmla="*/ 16 h 241"/>
                <a:gd name="T24" fmla="*/ 51 w 124"/>
                <a:gd name="T25" fmla="*/ 28 h 241"/>
                <a:gd name="T26" fmla="*/ 13 w 124"/>
                <a:gd name="T27" fmla="*/ 67 h 241"/>
                <a:gd name="T28" fmla="*/ 27 w 124"/>
                <a:gd name="T29" fmla="*/ 108 h 241"/>
                <a:gd name="T30" fmla="*/ 51 w 124"/>
                <a:gd name="T31" fmla="*/ 122 h 241"/>
                <a:gd name="T32" fmla="*/ 51 w 124"/>
                <a:gd name="T33" fmla="*/ 193 h 241"/>
                <a:gd name="T34" fmla="*/ 25 w 124"/>
                <a:gd name="T35" fmla="*/ 183 h 241"/>
                <a:gd name="T36" fmla="*/ 13 w 124"/>
                <a:gd name="T37" fmla="*/ 203 h 241"/>
                <a:gd name="T38" fmla="*/ 51 w 124"/>
                <a:gd name="T39" fmla="*/ 217 h 241"/>
                <a:gd name="T40" fmla="*/ 51 w 124"/>
                <a:gd name="T41" fmla="*/ 229 h 241"/>
                <a:gd name="T42" fmla="*/ 63 w 124"/>
                <a:gd name="T43" fmla="*/ 241 h 241"/>
                <a:gd name="T44" fmla="*/ 75 w 124"/>
                <a:gd name="T45" fmla="*/ 132 h 241"/>
                <a:gd name="T46" fmla="*/ 77 w 124"/>
                <a:gd name="T47" fmla="*/ 133 h 241"/>
                <a:gd name="T48" fmla="*/ 97 w 124"/>
                <a:gd name="T49" fmla="*/ 164 h 241"/>
                <a:gd name="T50" fmla="*/ 75 w 124"/>
                <a:gd name="T51" fmla="*/ 191 h 241"/>
                <a:gd name="T52" fmla="*/ 75 w 124"/>
                <a:gd name="T53" fmla="*/ 132 h 241"/>
                <a:gd name="T54" fmla="*/ 41 w 124"/>
                <a:gd name="T55" fmla="*/ 90 h 241"/>
                <a:gd name="T56" fmla="*/ 36 w 124"/>
                <a:gd name="T57" fmla="*/ 71 h 241"/>
                <a:gd name="T58" fmla="*/ 51 w 124"/>
                <a:gd name="T59" fmla="*/ 52 h 241"/>
                <a:gd name="T60" fmla="*/ 51 w 124"/>
                <a:gd name="T61" fmla="*/ 96 h 241"/>
                <a:gd name="T62" fmla="*/ 41 w 124"/>
                <a:gd name="T63" fmla="*/ 9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24" h="241">
                  <a:moveTo>
                    <a:pt x="63" y="241"/>
                  </a:moveTo>
                  <a:cubicBezTo>
                    <a:pt x="69" y="241"/>
                    <a:pt x="75" y="236"/>
                    <a:pt x="75" y="229"/>
                  </a:cubicBezTo>
                  <a:lnTo>
                    <a:pt x="75" y="216"/>
                  </a:lnTo>
                  <a:cubicBezTo>
                    <a:pt x="101" y="210"/>
                    <a:pt x="116" y="189"/>
                    <a:pt x="120" y="168"/>
                  </a:cubicBezTo>
                  <a:cubicBezTo>
                    <a:pt x="124" y="142"/>
                    <a:pt x="111" y="119"/>
                    <a:pt x="85" y="110"/>
                  </a:cubicBezTo>
                  <a:cubicBezTo>
                    <a:pt x="82" y="109"/>
                    <a:pt x="78" y="108"/>
                    <a:pt x="75" y="107"/>
                  </a:cubicBezTo>
                  <a:lnTo>
                    <a:pt x="75" y="51"/>
                  </a:lnTo>
                  <a:cubicBezTo>
                    <a:pt x="84" y="53"/>
                    <a:pt x="89" y="58"/>
                    <a:pt x="89" y="58"/>
                  </a:cubicBezTo>
                  <a:cubicBezTo>
                    <a:pt x="100" y="68"/>
                    <a:pt x="116" y="51"/>
                    <a:pt x="105" y="41"/>
                  </a:cubicBezTo>
                  <a:cubicBezTo>
                    <a:pt x="104" y="40"/>
                    <a:pt x="93" y="30"/>
                    <a:pt x="75" y="27"/>
                  </a:cubicBezTo>
                  <a:lnTo>
                    <a:pt x="75" y="16"/>
                  </a:lnTo>
                  <a:cubicBezTo>
                    <a:pt x="75" y="1"/>
                    <a:pt x="51" y="0"/>
                    <a:pt x="51" y="16"/>
                  </a:cubicBezTo>
                  <a:lnTo>
                    <a:pt x="51" y="28"/>
                  </a:lnTo>
                  <a:cubicBezTo>
                    <a:pt x="32" y="32"/>
                    <a:pt x="17" y="47"/>
                    <a:pt x="13" y="67"/>
                  </a:cubicBezTo>
                  <a:cubicBezTo>
                    <a:pt x="10" y="83"/>
                    <a:pt x="15" y="99"/>
                    <a:pt x="27" y="108"/>
                  </a:cubicBezTo>
                  <a:cubicBezTo>
                    <a:pt x="33" y="113"/>
                    <a:pt x="41" y="118"/>
                    <a:pt x="51" y="122"/>
                  </a:cubicBezTo>
                  <a:lnTo>
                    <a:pt x="51" y="193"/>
                  </a:lnTo>
                  <a:cubicBezTo>
                    <a:pt x="42" y="192"/>
                    <a:pt x="36" y="190"/>
                    <a:pt x="25" y="183"/>
                  </a:cubicBezTo>
                  <a:cubicBezTo>
                    <a:pt x="13" y="175"/>
                    <a:pt x="0" y="195"/>
                    <a:pt x="13" y="203"/>
                  </a:cubicBezTo>
                  <a:cubicBezTo>
                    <a:pt x="28" y="213"/>
                    <a:pt x="38" y="216"/>
                    <a:pt x="51" y="217"/>
                  </a:cubicBezTo>
                  <a:lnTo>
                    <a:pt x="51" y="229"/>
                  </a:lnTo>
                  <a:cubicBezTo>
                    <a:pt x="51" y="236"/>
                    <a:pt x="57" y="241"/>
                    <a:pt x="63" y="241"/>
                  </a:cubicBezTo>
                  <a:close/>
                  <a:moveTo>
                    <a:pt x="75" y="132"/>
                  </a:moveTo>
                  <a:cubicBezTo>
                    <a:pt x="76" y="132"/>
                    <a:pt x="76" y="132"/>
                    <a:pt x="77" y="133"/>
                  </a:cubicBezTo>
                  <a:cubicBezTo>
                    <a:pt x="99" y="140"/>
                    <a:pt x="98" y="159"/>
                    <a:pt x="97" y="164"/>
                  </a:cubicBezTo>
                  <a:cubicBezTo>
                    <a:pt x="95" y="175"/>
                    <a:pt x="87" y="187"/>
                    <a:pt x="75" y="191"/>
                  </a:cubicBezTo>
                  <a:lnTo>
                    <a:pt x="75" y="132"/>
                  </a:lnTo>
                  <a:close/>
                  <a:moveTo>
                    <a:pt x="41" y="90"/>
                  </a:moveTo>
                  <a:cubicBezTo>
                    <a:pt x="37" y="86"/>
                    <a:pt x="35" y="79"/>
                    <a:pt x="36" y="71"/>
                  </a:cubicBezTo>
                  <a:cubicBezTo>
                    <a:pt x="37" y="64"/>
                    <a:pt x="42" y="56"/>
                    <a:pt x="51" y="52"/>
                  </a:cubicBezTo>
                  <a:lnTo>
                    <a:pt x="51" y="96"/>
                  </a:lnTo>
                  <a:cubicBezTo>
                    <a:pt x="48" y="94"/>
                    <a:pt x="44" y="92"/>
                    <a:pt x="41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7" name="Freeform 9">
              <a:extLst>
                <a:ext uri="{FF2B5EF4-FFF2-40B4-BE49-F238E27FC236}">
                  <a16:creationId xmlns:a16="http://schemas.microsoft.com/office/drawing/2014/main" id="{16E0C0A0-B350-2C92-89BB-A227CD55EC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788" y="4432300"/>
              <a:ext cx="288925" cy="290512"/>
            </a:xfrm>
            <a:custGeom>
              <a:avLst/>
              <a:gdLst>
                <a:gd name="T0" fmla="*/ 663 w 800"/>
                <a:gd name="T1" fmla="*/ 496 h 800"/>
                <a:gd name="T2" fmla="*/ 594 w 800"/>
                <a:gd name="T3" fmla="*/ 419 h 800"/>
                <a:gd name="T4" fmla="*/ 513 w 800"/>
                <a:gd name="T5" fmla="*/ 339 h 800"/>
                <a:gd name="T6" fmla="*/ 490 w 800"/>
                <a:gd name="T7" fmla="*/ 339 h 800"/>
                <a:gd name="T8" fmla="*/ 340 w 800"/>
                <a:gd name="T9" fmla="*/ 406 h 800"/>
                <a:gd name="T10" fmla="*/ 340 w 800"/>
                <a:gd name="T11" fmla="*/ 430 h 800"/>
                <a:gd name="T12" fmla="*/ 102 w 800"/>
                <a:gd name="T13" fmla="*/ 514 h 800"/>
                <a:gd name="T14" fmla="*/ 27 w 800"/>
                <a:gd name="T15" fmla="*/ 691 h 800"/>
                <a:gd name="T16" fmla="*/ 27 w 800"/>
                <a:gd name="T17" fmla="*/ 24 h 800"/>
                <a:gd name="T18" fmla="*/ 490 w 800"/>
                <a:gd name="T19" fmla="*/ 125 h 800"/>
                <a:gd name="T20" fmla="*/ 486 w 800"/>
                <a:gd name="T21" fmla="*/ 0 h 800"/>
                <a:gd name="T22" fmla="*/ 0 w 800"/>
                <a:gd name="T23" fmla="*/ 687 h 800"/>
                <a:gd name="T24" fmla="*/ 340 w 800"/>
                <a:gd name="T25" fmla="*/ 721 h 800"/>
                <a:gd name="T26" fmla="*/ 689 w 800"/>
                <a:gd name="T27" fmla="*/ 800 h 800"/>
                <a:gd name="T28" fmla="*/ 663 w 800"/>
                <a:gd name="T29" fmla="*/ 749 h 800"/>
                <a:gd name="T30" fmla="*/ 773 w 800"/>
                <a:gd name="T31" fmla="*/ 777 h 800"/>
                <a:gd name="T32" fmla="*/ 773 w 800"/>
                <a:gd name="T33" fmla="*/ 800 h 800"/>
                <a:gd name="T34" fmla="*/ 773 w 800"/>
                <a:gd name="T35" fmla="*/ 623 h 800"/>
                <a:gd name="T36" fmla="*/ 571 w 800"/>
                <a:gd name="T37" fmla="*/ 406 h 800"/>
                <a:gd name="T38" fmla="*/ 363 w 800"/>
                <a:gd name="T39" fmla="*/ 367 h 800"/>
                <a:gd name="T40" fmla="*/ 363 w 800"/>
                <a:gd name="T41" fmla="*/ 406 h 800"/>
                <a:gd name="T42" fmla="*/ 363 w 800"/>
                <a:gd name="T43" fmla="*/ 773 h 800"/>
                <a:gd name="T44" fmla="*/ 367 w 800"/>
                <a:gd name="T45" fmla="*/ 777 h 800"/>
                <a:gd name="T46" fmla="*/ 419 w 800"/>
                <a:gd name="T47" fmla="*/ 570 h 800"/>
                <a:gd name="T48" fmla="*/ 503 w 800"/>
                <a:gd name="T49" fmla="*/ 602 h 800"/>
                <a:gd name="T50" fmla="*/ 503 w 800"/>
                <a:gd name="T51" fmla="*/ 496 h 800"/>
                <a:gd name="T52" fmla="*/ 395 w 800"/>
                <a:gd name="T53" fmla="*/ 570 h 800"/>
                <a:gd name="T54" fmla="*/ 503 w 800"/>
                <a:gd name="T55" fmla="*/ 777 h 800"/>
                <a:gd name="T56" fmla="*/ 363 w 800"/>
                <a:gd name="T57" fmla="*/ 429 h 800"/>
                <a:gd name="T58" fmla="*/ 571 w 800"/>
                <a:gd name="T59" fmla="*/ 429 h 800"/>
                <a:gd name="T60" fmla="*/ 503 w 800"/>
                <a:gd name="T61" fmla="*/ 496 h 800"/>
                <a:gd name="T62" fmla="*/ 526 w 800"/>
                <a:gd name="T63" fmla="*/ 773 h 800"/>
                <a:gd name="T64" fmla="*/ 640 w 800"/>
                <a:gd name="T65" fmla="*/ 777 h 800"/>
                <a:gd name="T66" fmla="*/ 526 w 800"/>
                <a:gd name="T67" fmla="*/ 697 h 800"/>
                <a:gd name="T68" fmla="*/ 640 w 800"/>
                <a:gd name="T69" fmla="*/ 674 h 800"/>
                <a:gd name="T70" fmla="*/ 640 w 800"/>
                <a:gd name="T71" fmla="*/ 646 h 800"/>
                <a:gd name="T72" fmla="*/ 526 w 800"/>
                <a:gd name="T73" fmla="*/ 623 h 800"/>
                <a:gd name="T74" fmla="*/ 640 w 800"/>
                <a:gd name="T75" fmla="*/ 623 h 800"/>
                <a:gd name="T76" fmla="*/ 526 w 800"/>
                <a:gd name="T77" fmla="*/ 543 h 800"/>
                <a:gd name="T78" fmla="*/ 640 w 800"/>
                <a:gd name="T79" fmla="*/ 520 h 800"/>
                <a:gd name="T80" fmla="*/ 530 w 800"/>
                <a:gd name="T81" fmla="*/ 492 h 800"/>
                <a:gd name="T82" fmla="*/ 640 w 800"/>
                <a:gd name="T83" fmla="*/ 520 h 800"/>
                <a:gd name="T84" fmla="*/ 663 w 800"/>
                <a:gd name="T85" fmla="*/ 697 h 800"/>
                <a:gd name="T86" fmla="*/ 777 w 800"/>
                <a:gd name="T87" fmla="*/ 674 h 800"/>
                <a:gd name="T88" fmla="*/ 773 w 800"/>
                <a:gd name="T89" fmla="*/ 646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00" h="800">
                  <a:moveTo>
                    <a:pt x="773" y="623"/>
                  </a:moveTo>
                  <a:lnTo>
                    <a:pt x="663" y="623"/>
                  </a:lnTo>
                  <a:lnTo>
                    <a:pt x="663" y="496"/>
                  </a:lnTo>
                  <a:cubicBezTo>
                    <a:pt x="663" y="481"/>
                    <a:pt x="651" y="468"/>
                    <a:pt x="636" y="468"/>
                  </a:cubicBezTo>
                  <a:lnTo>
                    <a:pt x="594" y="468"/>
                  </a:lnTo>
                  <a:lnTo>
                    <a:pt x="594" y="419"/>
                  </a:lnTo>
                  <a:lnTo>
                    <a:pt x="594" y="367"/>
                  </a:lnTo>
                  <a:cubicBezTo>
                    <a:pt x="594" y="352"/>
                    <a:pt x="582" y="339"/>
                    <a:pt x="567" y="339"/>
                  </a:cubicBezTo>
                  <a:lnTo>
                    <a:pt x="513" y="339"/>
                  </a:lnTo>
                  <a:lnTo>
                    <a:pt x="513" y="249"/>
                  </a:lnTo>
                  <a:cubicBezTo>
                    <a:pt x="513" y="234"/>
                    <a:pt x="490" y="233"/>
                    <a:pt x="490" y="249"/>
                  </a:cubicBezTo>
                  <a:lnTo>
                    <a:pt x="490" y="339"/>
                  </a:lnTo>
                  <a:lnTo>
                    <a:pt x="367" y="339"/>
                  </a:lnTo>
                  <a:cubicBezTo>
                    <a:pt x="352" y="339"/>
                    <a:pt x="340" y="352"/>
                    <a:pt x="340" y="367"/>
                  </a:cubicBezTo>
                  <a:lnTo>
                    <a:pt x="340" y="406"/>
                  </a:lnTo>
                  <a:lnTo>
                    <a:pt x="102" y="406"/>
                  </a:lnTo>
                  <a:cubicBezTo>
                    <a:pt x="87" y="406"/>
                    <a:pt x="86" y="430"/>
                    <a:pt x="102" y="430"/>
                  </a:cubicBezTo>
                  <a:lnTo>
                    <a:pt x="340" y="430"/>
                  </a:lnTo>
                  <a:lnTo>
                    <a:pt x="340" y="490"/>
                  </a:lnTo>
                  <a:lnTo>
                    <a:pt x="102" y="490"/>
                  </a:lnTo>
                  <a:cubicBezTo>
                    <a:pt x="87" y="490"/>
                    <a:pt x="86" y="514"/>
                    <a:pt x="102" y="514"/>
                  </a:cubicBezTo>
                  <a:lnTo>
                    <a:pt x="340" y="514"/>
                  </a:lnTo>
                  <a:lnTo>
                    <a:pt x="340" y="691"/>
                  </a:lnTo>
                  <a:lnTo>
                    <a:pt x="27" y="691"/>
                  </a:lnTo>
                  <a:cubicBezTo>
                    <a:pt x="25" y="691"/>
                    <a:pt x="24" y="689"/>
                    <a:pt x="24" y="687"/>
                  </a:cubicBezTo>
                  <a:lnTo>
                    <a:pt x="24" y="27"/>
                  </a:lnTo>
                  <a:cubicBezTo>
                    <a:pt x="24" y="25"/>
                    <a:pt x="25" y="24"/>
                    <a:pt x="27" y="24"/>
                  </a:cubicBezTo>
                  <a:lnTo>
                    <a:pt x="486" y="24"/>
                  </a:lnTo>
                  <a:cubicBezTo>
                    <a:pt x="488" y="24"/>
                    <a:pt x="490" y="25"/>
                    <a:pt x="490" y="27"/>
                  </a:cubicBezTo>
                  <a:lnTo>
                    <a:pt x="490" y="125"/>
                  </a:lnTo>
                  <a:cubicBezTo>
                    <a:pt x="490" y="139"/>
                    <a:pt x="513" y="140"/>
                    <a:pt x="513" y="125"/>
                  </a:cubicBezTo>
                  <a:lnTo>
                    <a:pt x="513" y="27"/>
                  </a:lnTo>
                  <a:cubicBezTo>
                    <a:pt x="513" y="12"/>
                    <a:pt x="501" y="0"/>
                    <a:pt x="486" y="0"/>
                  </a:cubicBezTo>
                  <a:lnTo>
                    <a:pt x="27" y="0"/>
                  </a:lnTo>
                  <a:cubicBezTo>
                    <a:pt x="12" y="0"/>
                    <a:pt x="0" y="12"/>
                    <a:pt x="0" y="27"/>
                  </a:cubicBezTo>
                  <a:lnTo>
                    <a:pt x="0" y="687"/>
                  </a:lnTo>
                  <a:cubicBezTo>
                    <a:pt x="0" y="702"/>
                    <a:pt x="12" y="714"/>
                    <a:pt x="27" y="714"/>
                  </a:cubicBezTo>
                  <a:lnTo>
                    <a:pt x="340" y="714"/>
                  </a:lnTo>
                  <a:lnTo>
                    <a:pt x="340" y="721"/>
                  </a:lnTo>
                  <a:lnTo>
                    <a:pt x="340" y="773"/>
                  </a:lnTo>
                  <a:cubicBezTo>
                    <a:pt x="340" y="788"/>
                    <a:pt x="352" y="800"/>
                    <a:pt x="367" y="800"/>
                  </a:cubicBezTo>
                  <a:lnTo>
                    <a:pt x="689" y="800"/>
                  </a:lnTo>
                  <a:cubicBezTo>
                    <a:pt x="703" y="800"/>
                    <a:pt x="704" y="777"/>
                    <a:pt x="689" y="777"/>
                  </a:cubicBezTo>
                  <a:lnTo>
                    <a:pt x="663" y="777"/>
                  </a:lnTo>
                  <a:lnTo>
                    <a:pt x="663" y="749"/>
                  </a:lnTo>
                  <a:lnTo>
                    <a:pt x="777" y="749"/>
                  </a:lnTo>
                  <a:lnTo>
                    <a:pt x="777" y="773"/>
                  </a:lnTo>
                  <a:cubicBezTo>
                    <a:pt x="777" y="775"/>
                    <a:pt x="775" y="777"/>
                    <a:pt x="773" y="777"/>
                  </a:cubicBezTo>
                  <a:lnTo>
                    <a:pt x="751" y="777"/>
                  </a:lnTo>
                  <a:cubicBezTo>
                    <a:pt x="736" y="777"/>
                    <a:pt x="736" y="800"/>
                    <a:pt x="751" y="800"/>
                  </a:cubicBezTo>
                  <a:lnTo>
                    <a:pt x="773" y="800"/>
                  </a:lnTo>
                  <a:cubicBezTo>
                    <a:pt x="788" y="800"/>
                    <a:pt x="800" y="788"/>
                    <a:pt x="800" y="773"/>
                  </a:cubicBezTo>
                  <a:lnTo>
                    <a:pt x="800" y="650"/>
                  </a:lnTo>
                  <a:cubicBezTo>
                    <a:pt x="800" y="635"/>
                    <a:pt x="788" y="623"/>
                    <a:pt x="773" y="623"/>
                  </a:cubicBezTo>
                  <a:close/>
                  <a:moveTo>
                    <a:pt x="567" y="363"/>
                  </a:moveTo>
                  <a:cubicBezTo>
                    <a:pt x="569" y="363"/>
                    <a:pt x="571" y="365"/>
                    <a:pt x="571" y="367"/>
                  </a:cubicBezTo>
                  <a:lnTo>
                    <a:pt x="571" y="406"/>
                  </a:lnTo>
                  <a:cubicBezTo>
                    <a:pt x="549" y="401"/>
                    <a:pt x="533" y="384"/>
                    <a:pt x="528" y="363"/>
                  </a:cubicBezTo>
                  <a:lnTo>
                    <a:pt x="567" y="363"/>
                  </a:lnTo>
                  <a:close/>
                  <a:moveTo>
                    <a:pt x="363" y="367"/>
                  </a:moveTo>
                  <a:cubicBezTo>
                    <a:pt x="363" y="365"/>
                    <a:pt x="365" y="363"/>
                    <a:pt x="367" y="363"/>
                  </a:cubicBezTo>
                  <a:lnTo>
                    <a:pt x="406" y="363"/>
                  </a:lnTo>
                  <a:cubicBezTo>
                    <a:pt x="401" y="384"/>
                    <a:pt x="385" y="401"/>
                    <a:pt x="363" y="406"/>
                  </a:cubicBezTo>
                  <a:lnTo>
                    <a:pt x="363" y="367"/>
                  </a:lnTo>
                  <a:close/>
                  <a:moveTo>
                    <a:pt x="367" y="777"/>
                  </a:moveTo>
                  <a:cubicBezTo>
                    <a:pt x="365" y="777"/>
                    <a:pt x="363" y="775"/>
                    <a:pt x="363" y="773"/>
                  </a:cubicBezTo>
                  <a:lnTo>
                    <a:pt x="363" y="734"/>
                  </a:lnTo>
                  <a:cubicBezTo>
                    <a:pt x="385" y="738"/>
                    <a:pt x="401" y="755"/>
                    <a:pt x="406" y="777"/>
                  </a:cubicBezTo>
                  <a:lnTo>
                    <a:pt x="367" y="777"/>
                  </a:lnTo>
                  <a:close/>
                  <a:moveTo>
                    <a:pt x="503" y="602"/>
                  </a:moveTo>
                  <a:cubicBezTo>
                    <a:pt x="494" y="612"/>
                    <a:pt x="481" y="618"/>
                    <a:pt x="467" y="618"/>
                  </a:cubicBezTo>
                  <a:cubicBezTo>
                    <a:pt x="440" y="618"/>
                    <a:pt x="419" y="596"/>
                    <a:pt x="419" y="570"/>
                  </a:cubicBezTo>
                  <a:cubicBezTo>
                    <a:pt x="419" y="543"/>
                    <a:pt x="440" y="522"/>
                    <a:pt x="467" y="522"/>
                  </a:cubicBezTo>
                  <a:cubicBezTo>
                    <a:pt x="481" y="522"/>
                    <a:pt x="494" y="528"/>
                    <a:pt x="503" y="538"/>
                  </a:cubicBezTo>
                  <a:lnTo>
                    <a:pt x="503" y="602"/>
                  </a:lnTo>
                  <a:close/>
                  <a:moveTo>
                    <a:pt x="503" y="777"/>
                  </a:moveTo>
                  <a:cubicBezTo>
                    <a:pt x="503" y="777"/>
                    <a:pt x="503" y="777"/>
                    <a:pt x="503" y="777"/>
                  </a:cubicBezTo>
                  <a:close/>
                  <a:moveTo>
                    <a:pt x="503" y="496"/>
                  </a:moveTo>
                  <a:lnTo>
                    <a:pt x="503" y="508"/>
                  </a:lnTo>
                  <a:cubicBezTo>
                    <a:pt x="492" y="502"/>
                    <a:pt x="480" y="498"/>
                    <a:pt x="467" y="498"/>
                  </a:cubicBezTo>
                  <a:cubicBezTo>
                    <a:pt x="428" y="498"/>
                    <a:pt x="395" y="530"/>
                    <a:pt x="395" y="570"/>
                  </a:cubicBezTo>
                  <a:cubicBezTo>
                    <a:pt x="395" y="609"/>
                    <a:pt x="428" y="641"/>
                    <a:pt x="467" y="641"/>
                  </a:cubicBezTo>
                  <a:cubicBezTo>
                    <a:pt x="480" y="641"/>
                    <a:pt x="492" y="638"/>
                    <a:pt x="503" y="632"/>
                  </a:cubicBezTo>
                  <a:lnTo>
                    <a:pt x="503" y="777"/>
                  </a:lnTo>
                  <a:lnTo>
                    <a:pt x="430" y="777"/>
                  </a:lnTo>
                  <a:cubicBezTo>
                    <a:pt x="425" y="742"/>
                    <a:pt x="398" y="715"/>
                    <a:pt x="363" y="710"/>
                  </a:cubicBezTo>
                  <a:lnTo>
                    <a:pt x="363" y="429"/>
                  </a:lnTo>
                  <a:cubicBezTo>
                    <a:pt x="398" y="424"/>
                    <a:pt x="425" y="397"/>
                    <a:pt x="430" y="363"/>
                  </a:cubicBezTo>
                  <a:lnTo>
                    <a:pt x="504" y="363"/>
                  </a:lnTo>
                  <a:cubicBezTo>
                    <a:pt x="509" y="397"/>
                    <a:pt x="537" y="424"/>
                    <a:pt x="571" y="429"/>
                  </a:cubicBezTo>
                  <a:lnTo>
                    <a:pt x="571" y="468"/>
                  </a:lnTo>
                  <a:lnTo>
                    <a:pt x="530" y="468"/>
                  </a:lnTo>
                  <a:cubicBezTo>
                    <a:pt x="515" y="468"/>
                    <a:pt x="503" y="481"/>
                    <a:pt x="503" y="496"/>
                  </a:cubicBezTo>
                  <a:close/>
                  <a:moveTo>
                    <a:pt x="640" y="777"/>
                  </a:moveTo>
                  <a:lnTo>
                    <a:pt x="530" y="777"/>
                  </a:lnTo>
                  <a:cubicBezTo>
                    <a:pt x="528" y="777"/>
                    <a:pt x="526" y="775"/>
                    <a:pt x="526" y="773"/>
                  </a:cubicBezTo>
                  <a:lnTo>
                    <a:pt x="526" y="749"/>
                  </a:lnTo>
                  <a:lnTo>
                    <a:pt x="640" y="749"/>
                  </a:lnTo>
                  <a:lnTo>
                    <a:pt x="640" y="777"/>
                  </a:lnTo>
                  <a:close/>
                  <a:moveTo>
                    <a:pt x="640" y="725"/>
                  </a:moveTo>
                  <a:lnTo>
                    <a:pt x="526" y="725"/>
                  </a:lnTo>
                  <a:lnTo>
                    <a:pt x="526" y="697"/>
                  </a:lnTo>
                  <a:lnTo>
                    <a:pt x="640" y="697"/>
                  </a:lnTo>
                  <a:lnTo>
                    <a:pt x="640" y="725"/>
                  </a:lnTo>
                  <a:close/>
                  <a:moveTo>
                    <a:pt x="640" y="674"/>
                  </a:moveTo>
                  <a:lnTo>
                    <a:pt x="526" y="674"/>
                  </a:lnTo>
                  <a:lnTo>
                    <a:pt x="526" y="646"/>
                  </a:lnTo>
                  <a:lnTo>
                    <a:pt x="640" y="646"/>
                  </a:lnTo>
                  <a:lnTo>
                    <a:pt x="640" y="674"/>
                  </a:lnTo>
                  <a:close/>
                  <a:moveTo>
                    <a:pt x="640" y="623"/>
                  </a:moveTo>
                  <a:lnTo>
                    <a:pt x="526" y="623"/>
                  </a:lnTo>
                  <a:lnTo>
                    <a:pt x="526" y="595"/>
                  </a:lnTo>
                  <a:lnTo>
                    <a:pt x="640" y="595"/>
                  </a:lnTo>
                  <a:lnTo>
                    <a:pt x="640" y="623"/>
                  </a:lnTo>
                  <a:close/>
                  <a:moveTo>
                    <a:pt x="640" y="571"/>
                  </a:moveTo>
                  <a:lnTo>
                    <a:pt x="526" y="571"/>
                  </a:lnTo>
                  <a:lnTo>
                    <a:pt x="526" y="543"/>
                  </a:lnTo>
                  <a:lnTo>
                    <a:pt x="640" y="543"/>
                  </a:lnTo>
                  <a:lnTo>
                    <a:pt x="640" y="571"/>
                  </a:lnTo>
                  <a:close/>
                  <a:moveTo>
                    <a:pt x="640" y="520"/>
                  </a:moveTo>
                  <a:lnTo>
                    <a:pt x="526" y="520"/>
                  </a:lnTo>
                  <a:lnTo>
                    <a:pt x="526" y="496"/>
                  </a:lnTo>
                  <a:cubicBezTo>
                    <a:pt x="526" y="494"/>
                    <a:pt x="528" y="492"/>
                    <a:pt x="530" y="492"/>
                  </a:cubicBezTo>
                  <a:lnTo>
                    <a:pt x="636" y="492"/>
                  </a:lnTo>
                  <a:cubicBezTo>
                    <a:pt x="638" y="492"/>
                    <a:pt x="640" y="494"/>
                    <a:pt x="640" y="496"/>
                  </a:cubicBezTo>
                  <a:lnTo>
                    <a:pt x="640" y="520"/>
                  </a:lnTo>
                  <a:close/>
                  <a:moveTo>
                    <a:pt x="777" y="725"/>
                  </a:moveTo>
                  <a:lnTo>
                    <a:pt x="663" y="725"/>
                  </a:lnTo>
                  <a:lnTo>
                    <a:pt x="663" y="697"/>
                  </a:lnTo>
                  <a:lnTo>
                    <a:pt x="777" y="697"/>
                  </a:lnTo>
                  <a:lnTo>
                    <a:pt x="777" y="725"/>
                  </a:lnTo>
                  <a:close/>
                  <a:moveTo>
                    <a:pt x="777" y="674"/>
                  </a:moveTo>
                  <a:lnTo>
                    <a:pt x="663" y="674"/>
                  </a:lnTo>
                  <a:lnTo>
                    <a:pt x="663" y="646"/>
                  </a:lnTo>
                  <a:lnTo>
                    <a:pt x="773" y="646"/>
                  </a:lnTo>
                  <a:cubicBezTo>
                    <a:pt x="775" y="646"/>
                    <a:pt x="777" y="648"/>
                    <a:pt x="777" y="650"/>
                  </a:cubicBezTo>
                  <a:lnTo>
                    <a:pt x="777" y="6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8" name="Freeform 10">
              <a:extLst>
                <a:ext uri="{FF2B5EF4-FFF2-40B4-BE49-F238E27FC236}">
                  <a16:creationId xmlns:a16="http://schemas.microsoft.com/office/drawing/2014/main" id="{C5428009-0EE6-14DF-251C-CBE43621A8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838" y="4446588"/>
              <a:ext cx="138113" cy="87312"/>
            </a:xfrm>
            <a:custGeom>
              <a:avLst/>
              <a:gdLst>
                <a:gd name="T0" fmla="*/ 5 w 382"/>
                <a:gd name="T1" fmla="*/ 236 h 241"/>
                <a:gd name="T2" fmla="*/ 22 w 382"/>
                <a:gd name="T3" fmla="*/ 236 h 241"/>
                <a:gd name="T4" fmla="*/ 157 w 382"/>
                <a:gd name="T5" fmla="*/ 101 h 241"/>
                <a:gd name="T6" fmla="*/ 219 w 382"/>
                <a:gd name="T7" fmla="*/ 164 h 241"/>
                <a:gd name="T8" fmla="*/ 235 w 382"/>
                <a:gd name="T9" fmla="*/ 164 h 241"/>
                <a:gd name="T10" fmla="*/ 359 w 382"/>
                <a:gd name="T11" fmla="*/ 40 h 241"/>
                <a:gd name="T12" fmla="*/ 359 w 382"/>
                <a:gd name="T13" fmla="*/ 72 h 241"/>
                <a:gd name="T14" fmla="*/ 382 w 382"/>
                <a:gd name="T15" fmla="*/ 72 h 241"/>
                <a:gd name="T16" fmla="*/ 382 w 382"/>
                <a:gd name="T17" fmla="*/ 12 h 241"/>
                <a:gd name="T18" fmla="*/ 370 w 382"/>
                <a:gd name="T19" fmla="*/ 0 h 241"/>
                <a:gd name="T20" fmla="*/ 310 w 382"/>
                <a:gd name="T21" fmla="*/ 0 h 241"/>
                <a:gd name="T22" fmla="*/ 310 w 382"/>
                <a:gd name="T23" fmla="*/ 24 h 241"/>
                <a:gd name="T24" fmla="*/ 342 w 382"/>
                <a:gd name="T25" fmla="*/ 24 h 241"/>
                <a:gd name="T26" fmla="*/ 227 w 382"/>
                <a:gd name="T27" fmla="*/ 139 h 241"/>
                <a:gd name="T28" fmla="*/ 165 w 382"/>
                <a:gd name="T29" fmla="*/ 77 h 241"/>
                <a:gd name="T30" fmla="*/ 148 w 382"/>
                <a:gd name="T31" fmla="*/ 77 h 241"/>
                <a:gd name="T32" fmla="*/ 5 w 382"/>
                <a:gd name="T33" fmla="*/ 220 h 241"/>
                <a:gd name="T34" fmla="*/ 5 w 382"/>
                <a:gd name="T35" fmla="*/ 23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2" h="241">
                  <a:moveTo>
                    <a:pt x="5" y="236"/>
                  </a:moveTo>
                  <a:cubicBezTo>
                    <a:pt x="11" y="241"/>
                    <a:pt x="16" y="241"/>
                    <a:pt x="22" y="236"/>
                  </a:cubicBezTo>
                  <a:lnTo>
                    <a:pt x="157" y="101"/>
                  </a:lnTo>
                  <a:lnTo>
                    <a:pt x="219" y="164"/>
                  </a:lnTo>
                  <a:cubicBezTo>
                    <a:pt x="224" y="168"/>
                    <a:pt x="230" y="168"/>
                    <a:pt x="235" y="164"/>
                  </a:cubicBezTo>
                  <a:lnTo>
                    <a:pt x="359" y="40"/>
                  </a:lnTo>
                  <a:lnTo>
                    <a:pt x="359" y="72"/>
                  </a:lnTo>
                  <a:cubicBezTo>
                    <a:pt x="359" y="87"/>
                    <a:pt x="382" y="88"/>
                    <a:pt x="382" y="72"/>
                  </a:cubicBezTo>
                  <a:lnTo>
                    <a:pt x="382" y="12"/>
                  </a:lnTo>
                  <a:cubicBezTo>
                    <a:pt x="382" y="6"/>
                    <a:pt x="377" y="0"/>
                    <a:pt x="370" y="0"/>
                  </a:cubicBezTo>
                  <a:lnTo>
                    <a:pt x="310" y="0"/>
                  </a:lnTo>
                  <a:cubicBezTo>
                    <a:pt x="295" y="0"/>
                    <a:pt x="295" y="24"/>
                    <a:pt x="310" y="24"/>
                  </a:cubicBezTo>
                  <a:lnTo>
                    <a:pt x="342" y="24"/>
                  </a:lnTo>
                  <a:lnTo>
                    <a:pt x="227" y="139"/>
                  </a:lnTo>
                  <a:lnTo>
                    <a:pt x="165" y="77"/>
                  </a:lnTo>
                  <a:cubicBezTo>
                    <a:pt x="160" y="72"/>
                    <a:pt x="153" y="72"/>
                    <a:pt x="148" y="77"/>
                  </a:cubicBezTo>
                  <a:lnTo>
                    <a:pt x="5" y="220"/>
                  </a:lnTo>
                  <a:cubicBezTo>
                    <a:pt x="0" y="225"/>
                    <a:pt x="0" y="232"/>
                    <a:pt x="5" y="2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6FD51CF7-4127-5A0B-932E-3571B05DC00D}"/>
              </a:ext>
            </a:extLst>
          </p:cNvPr>
          <p:cNvGrpSpPr/>
          <p:nvPr userDrawn="1"/>
        </p:nvGrpSpPr>
        <p:grpSpPr>
          <a:xfrm>
            <a:off x="2290763" y="4432300"/>
            <a:ext cx="288925" cy="304800"/>
            <a:chOff x="2290763" y="4432300"/>
            <a:chExt cx="288925" cy="304800"/>
          </a:xfrm>
        </p:grpSpPr>
        <p:sp>
          <p:nvSpPr>
            <p:cNvPr id="101" name="Freeform 13">
              <a:extLst>
                <a:ext uri="{FF2B5EF4-FFF2-40B4-BE49-F238E27FC236}">
                  <a16:creationId xmlns:a16="http://schemas.microsoft.com/office/drawing/2014/main" id="{B134B372-187B-43B5-F7CD-16CEAC26A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1725" y="4527550"/>
              <a:ext cx="36513" cy="57150"/>
            </a:xfrm>
            <a:custGeom>
              <a:avLst/>
              <a:gdLst>
                <a:gd name="T0" fmla="*/ 76 w 100"/>
                <a:gd name="T1" fmla="*/ 4 h 156"/>
                <a:gd name="T2" fmla="*/ 0 w 100"/>
                <a:gd name="T3" fmla="*/ 142 h 156"/>
                <a:gd name="T4" fmla="*/ 14 w 100"/>
                <a:gd name="T5" fmla="*/ 156 h 156"/>
                <a:gd name="T6" fmla="*/ 28 w 100"/>
                <a:gd name="T7" fmla="*/ 142 h 156"/>
                <a:gd name="T8" fmla="*/ 91 w 100"/>
                <a:gd name="T9" fmla="*/ 28 h 156"/>
                <a:gd name="T10" fmla="*/ 96 w 100"/>
                <a:gd name="T11" fmla="*/ 9 h 156"/>
                <a:gd name="T12" fmla="*/ 76 w 100"/>
                <a:gd name="T13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156">
                  <a:moveTo>
                    <a:pt x="76" y="4"/>
                  </a:moveTo>
                  <a:cubicBezTo>
                    <a:pt x="29" y="34"/>
                    <a:pt x="1" y="86"/>
                    <a:pt x="0" y="142"/>
                  </a:cubicBezTo>
                  <a:cubicBezTo>
                    <a:pt x="0" y="150"/>
                    <a:pt x="6" y="156"/>
                    <a:pt x="14" y="156"/>
                  </a:cubicBezTo>
                  <a:cubicBezTo>
                    <a:pt x="21" y="156"/>
                    <a:pt x="28" y="150"/>
                    <a:pt x="28" y="142"/>
                  </a:cubicBezTo>
                  <a:cubicBezTo>
                    <a:pt x="29" y="96"/>
                    <a:pt x="52" y="53"/>
                    <a:pt x="91" y="28"/>
                  </a:cubicBezTo>
                  <a:cubicBezTo>
                    <a:pt x="97" y="24"/>
                    <a:pt x="100" y="15"/>
                    <a:pt x="96" y="9"/>
                  </a:cubicBezTo>
                  <a:cubicBezTo>
                    <a:pt x="92" y="2"/>
                    <a:pt x="83" y="0"/>
                    <a:pt x="76" y="4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2" name="Freeform 14">
              <a:extLst>
                <a:ext uri="{FF2B5EF4-FFF2-40B4-BE49-F238E27FC236}">
                  <a16:creationId xmlns:a16="http://schemas.microsoft.com/office/drawing/2014/main" id="{8A55087D-D460-6A2C-26DD-44F78F3BFD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0763" y="4432300"/>
              <a:ext cx="288925" cy="304800"/>
            </a:xfrm>
            <a:custGeom>
              <a:avLst/>
              <a:gdLst>
                <a:gd name="T0" fmla="*/ 490 w 802"/>
                <a:gd name="T1" fmla="*/ 407 h 842"/>
                <a:gd name="T2" fmla="*/ 563 w 802"/>
                <a:gd name="T3" fmla="*/ 281 h 842"/>
                <a:gd name="T4" fmla="*/ 639 w 802"/>
                <a:gd name="T5" fmla="*/ 197 h 842"/>
                <a:gd name="T6" fmla="*/ 519 w 802"/>
                <a:gd name="T7" fmla="*/ 160 h 842"/>
                <a:gd name="T8" fmla="*/ 709 w 802"/>
                <a:gd name="T9" fmla="*/ 168 h 842"/>
                <a:gd name="T10" fmla="*/ 633 w 802"/>
                <a:gd name="T11" fmla="*/ 84 h 842"/>
                <a:gd name="T12" fmla="*/ 535 w 802"/>
                <a:gd name="T13" fmla="*/ 105 h 842"/>
                <a:gd name="T14" fmla="*/ 477 w 802"/>
                <a:gd name="T15" fmla="*/ 0 h 842"/>
                <a:gd name="T16" fmla="*/ 337 w 802"/>
                <a:gd name="T17" fmla="*/ 95 h 842"/>
                <a:gd name="T18" fmla="*/ 183 w 802"/>
                <a:gd name="T19" fmla="*/ 75 h 842"/>
                <a:gd name="T20" fmla="*/ 84 w 802"/>
                <a:gd name="T21" fmla="*/ 163 h 842"/>
                <a:gd name="T22" fmla="*/ 131 w 802"/>
                <a:gd name="T23" fmla="*/ 250 h 842"/>
                <a:gd name="T24" fmla="*/ 0 w 802"/>
                <a:gd name="T25" fmla="*/ 365 h 842"/>
                <a:gd name="T26" fmla="*/ 95 w 802"/>
                <a:gd name="T27" fmla="*/ 505 h 842"/>
                <a:gd name="T28" fmla="*/ 75 w 802"/>
                <a:gd name="T29" fmla="*/ 659 h 842"/>
                <a:gd name="T30" fmla="*/ 183 w 802"/>
                <a:gd name="T31" fmla="*/ 767 h 842"/>
                <a:gd name="T32" fmla="*/ 250 w 802"/>
                <a:gd name="T33" fmla="*/ 711 h 842"/>
                <a:gd name="T34" fmla="*/ 365 w 802"/>
                <a:gd name="T35" fmla="*/ 842 h 842"/>
                <a:gd name="T36" fmla="*/ 505 w 802"/>
                <a:gd name="T37" fmla="*/ 747 h 842"/>
                <a:gd name="T38" fmla="*/ 567 w 802"/>
                <a:gd name="T39" fmla="*/ 758 h 842"/>
                <a:gd name="T40" fmla="*/ 772 w 802"/>
                <a:gd name="T41" fmla="*/ 744 h 842"/>
                <a:gd name="T42" fmla="*/ 567 w 802"/>
                <a:gd name="T43" fmla="*/ 730 h 842"/>
                <a:gd name="T44" fmla="*/ 563 w 802"/>
                <a:gd name="T45" fmla="*/ 590 h 842"/>
                <a:gd name="T46" fmla="*/ 639 w 802"/>
                <a:gd name="T47" fmla="*/ 506 h 842"/>
                <a:gd name="T48" fmla="*/ 466 w 802"/>
                <a:gd name="T49" fmla="*/ 474 h 842"/>
                <a:gd name="T50" fmla="*/ 739 w 802"/>
                <a:gd name="T51" fmla="*/ 491 h 842"/>
                <a:gd name="T52" fmla="*/ 702 w 802"/>
                <a:gd name="T53" fmla="*/ 56 h 842"/>
                <a:gd name="T54" fmla="*/ 660 w 802"/>
                <a:gd name="T55" fmla="*/ 98 h 842"/>
                <a:gd name="T56" fmla="*/ 744 w 802"/>
                <a:gd name="T57" fmla="*/ 744 h 842"/>
                <a:gd name="T58" fmla="*/ 702 w 802"/>
                <a:gd name="T59" fmla="*/ 702 h 842"/>
                <a:gd name="T60" fmla="*/ 421 w 802"/>
                <a:gd name="T61" fmla="*/ 379 h 842"/>
                <a:gd name="T62" fmla="*/ 632 w 802"/>
                <a:gd name="T63" fmla="*/ 225 h 842"/>
                <a:gd name="T64" fmla="*/ 589 w 802"/>
                <a:gd name="T65" fmla="*/ 267 h 842"/>
                <a:gd name="T66" fmla="*/ 477 w 802"/>
                <a:gd name="T67" fmla="*/ 736 h 842"/>
                <a:gd name="T68" fmla="*/ 365 w 802"/>
                <a:gd name="T69" fmla="*/ 736 h 842"/>
                <a:gd name="T70" fmla="*/ 238 w 802"/>
                <a:gd name="T71" fmla="*/ 684 h 842"/>
                <a:gd name="T72" fmla="*/ 159 w 802"/>
                <a:gd name="T73" fmla="*/ 604 h 842"/>
                <a:gd name="T74" fmla="*/ 106 w 802"/>
                <a:gd name="T75" fmla="*/ 477 h 842"/>
                <a:gd name="T76" fmla="*/ 106 w 802"/>
                <a:gd name="T77" fmla="*/ 365 h 842"/>
                <a:gd name="T78" fmla="*/ 159 w 802"/>
                <a:gd name="T79" fmla="*/ 238 h 842"/>
                <a:gd name="T80" fmla="*/ 238 w 802"/>
                <a:gd name="T81" fmla="*/ 159 h 842"/>
                <a:gd name="T82" fmla="*/ 365 w 802"/>
                <a:gd name="T83" fmla="*/ 106 h 842"/>
                <a:gd name="T84" fmla="*/ 477 w 802"/>
                <a:gd name="T85" fmla="*/ 106 h 842"/>
                <a:gd name="T86" fmla="*/ 499 w 802"/>
                <a:gd name="T87" fmla="*/ 140 h 842"/>
                <a:gd name="T88" fmla="*/ 215 w 802"/>
                <a:gd name="T89" fmla="*/ 275 h 842"/>
                <a:gd name="T90" fmla="*/ 491 w 802"/>
                <a:gd name="T91" fmla="*/ 682 h 842"/>
                <a:gd name="T92" fmla="*/ 488 w 802"/>
                <a:gd name="T93" fmla="*/ 722 h 842"/>
                <a:gd name="T94" fmla="*/ 632 w 802"/>
                <a:gd name="T95" fmla="*/ 618 h 842"/>
                <a:gd name="T96" fmla="*/ 491 w 802"/>
                <a:gd name="T97" fmla="*/ 579 h 842"/>
                <a:gd name="T98" fmla="*/ 239 w 802"/>
                <a:gd name="T99" fmla="*/ 289 h 842"/>
                <a:gd name="T100" fmla="*/ 442 w 802"/>
                <a:gd name="T101" fmla="*/ 354 h 842"/>
                <a:gd name="T102" fmla="*/ 421 w 802"/>
                <a:gd name="T103" fmla="*/ 491 h 842"/>
                <a:gd name="T104" fmla="*/ 730 w 802"/>
                <a:gd name="T105" fmla="*/ 463 h 842"/>
                <a:gd name="T106" fmla="*/ 772 w 802"/>
                <a:gd name="T107" fmla="*/ 421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02" h="842">
                  <a:moveTo>
                    <a:pt x="730" y="351"/>
                  </a:moveTo>
                  <a:cubicBezTo>
                    <a:pt x="696" y="351"/>
                    <a:pt x="668" y="374"/>
                    <a:pt x="661" y="407"/>
                  </a:cubicBezTo>
                  <a:lnTo>
                    <a:pt x="490" y="407"/>
                  </a:lnTo>
                  <a:cubicBezTo>
                    <a:pt x="486" y="392"/>
                    <a:pt x="478" y="378"/>
                    <a:pt x="466" y="368"/>
                  </a:cubicBezTo>
                  <a:lnTo>
                    <a:pt x="514" y="281"/>
                  </a:lnTo>
                  <a:lnTo>
                    <a:pt x="563" y="281"/>
                  </a:lnTo>
                  <a:cubicBezTo>
                    <a:pt x="570" y="316"/>
                    <a:pt x="603" y="340"/>
                    <a:pt x="639" y="337"/>
                  </a:cubicBezTo>
                  <a:cubicBezTo>
                    <a:pt x="674" y="333"/>
                    <a:pt x="702" y="303"/>
                    <a:pt x="702" y="267"/>
                  </a:cubicBezTo>
                  <a:cubicBezTo>
                    <a:pt x="702" y="231"/>
                    <a:pt x="674" y="201"/>
                    <a:pt x="639" y="197"/>
                  </a:cubicBezTo>
                  <a:cubicBezTo>
                    <a:pt x="603" y="193"/>
                    <a:pt x="570" y="217"/>
                    <a:pt x="563" y="253"/>
                  </a:cubicBezTo>
                  <a:lnTo>
                    <a:pt x="519" y="253"/>
                  </a:lnTo>
                  <a:lnTo>
                    <a:pt x="519" y="160"/>
                  </a:lnTo>
                  <a:lnTo>
                    <a:pt x="567" y="112"/>
                  </a:lnTo>
                  <a:lnTo>
                    <a:pt x="633" y="112"/>
                  </a:lnTo>
                  <a:cubicBezTo>
                    <a:pt x="640" y="148"/>
                    <a:pt x="673" y="172"/>
                    <a:pt x="709" y="168"/>
                  </a:cubicBezTo>
                  <a:cubicBezTo>
                    <a:pt x="745" y="165"/>
                    <a:pt x="772" y="134"/>
                    <a:pt x="772" y="98"/>
                  </a:cubicBezTo>
                  <a:cubicBezTo>
                    <a:pt x="772" y="62"/>
                    <a:pt x="745" y="32"/>
                    <a:pt x="709" y="29"/>
                  </a:cubicBezTo>
                  <a:cubicBezTo>
                    <a:pt x="673" y="25"/>
                    <a:pt x="640" y="49"/>
                    <a:pt x="633" y="84"/>
                  </a:cubicBezTo>
                  <a:lnTo>
                    <a:pt x="567" y="84"/>
                  </a:lnTo>
                  <a:cubicBezTo>
                    <a:pt x="560" y="84"/>
                    <a:pt x="553" y="87"/>
                    <a:pt x="547" y="93"/>
                  </a:cubicBezTo>
                  <a:lnTo>
                    <a:pt x="535" y="105"/>
                  </a:lnTo>
                  <a:cubicBezTo>
                    <a:pt x="525" y="101"/>
                    <a:pt x="515" y="98"/>
                    <a:pt x="505" y="95"/>
                  </a:cubicBezTo>
                  <a:lnTo>
                    <a:pt x="505" y="28"/>
                  </a:lnTo>
                  <a:cubicBezTo>
                    <a:pt x="505" y="13"/>
                    <a:pt x="493" y="0"/>
                    <a:pt x="477" y="0"/>
                  </a:cubicBezTo>
                  <a:lnTo>
                    <a:pt x="365" y="0"/>
                  </a:lnTo>
                  <a:cubicBezTo>
                    <a:pt x="349" y="0"/>
                    <a:pt x="337" y="13"/>
                    <a:pt x="337" y="28"/>
                  </a:cubicBezTo>
                  <a:lnTo>
                    <a:pt x="337" y="95"/>
                  </a:lnTo>
                  <a:cubicBezTo>
                    <a:pt x="306" y="103"/>
                    <a:pt x="277" y="115"/>
                    <a:pt x="250" y="131"/>
                  </a:cubicBezTo>
                  <a:lnTo>
                    <a:pt x="203" y="84"/>
                  </a:lnTo>
                  <a:cubicBezTo>
                    <a:pt x="198" y="79"/>
                    <a:pt x="190" y="75"/>
                    <a:pt x="183" y="75"/>
                  </a:cubicBezTo>
                  <a:lnTo>
                    <a:pt x="183" y="75"/>
                  </a:lnTo>
                  <a:cubicBezTo>
                    <a:pt x="175" y="75"/>
                    <a:pt x="168" y="78"/>
                    <a:pt x="163" y="84"/>
                  </a:cubicBezTo>
                  <a:lnTo>
                    <a:pt x="84" y="163"/>
                  </a:lnTo>
                  <a:cubicBezTo>
                    <a:pt x="78" y="168"/>
                    <a:pt x="75" y="175"/>
                    <a:pt x="75" y="183"/>
                  </a:cubicBezTo>
                  <a:cubicBezTo>
                    <a:pt x="75" y="190"/>
                    <a:pt x="78" y="198"/>
                    <a:pt x="84" y="203"/>
                  </a:cubicBezTo>
                  <a:lnTo>
                    <a:pt x="131" y="250"/>
                  </a:lnTo>
                  <a:cubicBezTo>
                    <a:pt x="115" y="277"/>
                    <a:pt x="103" y="306"/>
                    <a:pt x="95" y="337"/>
                  </a:cubicBezTo>
                  <a:lnTo>
                    <a:pt x="28" y="337"/>
                  </a:lnTo>
                  <a:cubicBezTo>
                    <a:pt x="13" y="337"/>
                    <a:pt x="0" y="350"/>
                    <a:pt x="0" y="365"/>
                  </a:cubicBezTo>
                  <a:lnTo>
                    <a:pt x="0" y="477"/>
                  </a:lnTo>
                  <a:cubicBezTo>
                    <a:pt x="0" y="493"/>
                    <a:pt x="13" y="505"/>
                    <a:pt x="28" y="505"/>
                  </a:cubicBezTo>
                  <a:lnTo>
                    <a:pt x="95" y="505"/>
                  </a:lnTo>
                  <a:cubicBezTo>
                    <a:pt x="103" y="536"/>
                    <a:pt x="115" y="565"/>
                    <a:pt x="131" y="592"/>
                  </a:cubicBezTo>
                  <a:lnTo>
                    <a:pt x="84" y="639"/>
                  </a:lnTo>
                  <a:cubicBezTo>
                    <a:pt x="78" y="645"/>
                    <a:pt x="75" y="652"/>
                    <a:pt x="75" y="659"/>
                  </a:cubicBezTo>
                  <a:cubicBezTo>
                    <a:pt x="75" y="667"/>
                    <a:pt x="78" y="674"/>
                    <a:pt x="84" y="679"/>
                  </a:cubicBezTo>
                  <a:lnTo>
                    <a:pt x="163" y="758"/>
                  </a:lnTo>
                  <a:cubicBezTo>
                    <a:pt x="168" y="764"/>
                    <a:pt x="175" y="767"/>
                    <a:pt x="183" y="767"/>
                  </a:cubicBezTo>
                  <a:lnTo>
                    <a:pt x="183" y="767"/>
                  </a:lnTo>
                  <a:cubicBezTo>
                    <a:pt x="190" y="767"/>
                    <a:pt x="197" y="764"/>
                    <a:pt x="203" y="759"/>
                  </a:cubicBezTo>
                  <a:lnTo>
                    <a:pt x="250" y="711"/>
                  </a:lnTo>
                  <a:cubicBezTo>
                    <a:pt x="277" y="727"/>
                    <a:pt x="306" y="739"/>
                    <a:pt x="337" y="747"/>
                  </a:cubicBezTo>
                  <a:lnTo>
                    <a:pt x="337" y="814"/>
                  </a:lnTo>
                  <a:cubicBezTo>
                    <a:pt x="337" y="830"/>
                    <a:pt x="349" y="842"/>
                    <a:pt x="365" y="842"/>
                  </a:cubicBezTo>
                  <a:lnTo>
                    <a:pt x="477" y="842"/>
                  </a:lnTo>
                  <a:cubicBezTo>
                    <a:pt x="493" y="842"/>
                    <a:pt x="505" y="830"/>
                    <a:pt x="505" y="814"/>
                  </a:cubicBezTo>
                  <a:lnTo>
                    <a:pt x="505" y="747"/>
                  </a:lnTo>
                  <a:cubicBezTo>
                    <a:pt x="515" y="745"/>
                    <a:pt x="525" y="741"/>
                    <a:pt x="535" y="738"/>
                  </a:cubicBezTo>
                  <a:lnTo>
                    <a:pt x="547" y="750"/>
                  </a:lnTo>
                  <a:cubicBezTo>
                    <a:pt x="553" y="755"/>
                    <a:pt x="560" y="758"/>
                    <a:pt x="567" y="758"/>
                  </a:cubicBezTo>
                  <a:lnTo>
                    <a:pt x="633" y="758"/>
                  </a:lnTo>
                  <a:cubicBezTo>
                    <a:pt x="640" y="793"/>
                    <a:pt x="673" y="817"/>
                    <a:pt x="709" y="814"/>
                  </a:cubicBezTo>
                  <a:cubicBezTo>
                    <a:pt x="745" y="810"/>
                    <a:pt x="772" y="780"/>
                    <a:pt x="772" y="744"/>
                  </a:cubicBezTo>
                  <a:cubicBezTo>
                    <a:pt x="772" y="708"/>
                    <a:pt x="745" y="678"/>
                    <a:pt x="709" y="674"/>
                  </a:cubicBezTo>
                  <a:cubicBezTo>
                    <a:pt x="673" y="671"/>
                    <a:pt x="640" y="695"/>
                    <a:pt x="633" y="730"/>
                  </a:cubicBezTo>
                  <a:lnTo>
                    <a:pt x="567" y="730"/>
                  </a:lnTo>
                  <a:lnTo>
                    <a:pt x="519" y="682"/>
                  </a:lnTo>
                  <a:lnTo>
                    <a:pt x="519" y="590"/>
                  </a:lnTo>
                  <a:lnTo>
                    <a:pt x="563" y="590"/>
                  </a:lnTo>
                  <a:cubicBezTo>
                    <a:pt x="570" y="625"/>
                    <a:pt x="603" y="649"/>
                    <a:pt x="639" y="645"/>
                  </a:cubicBezTo>
                  <a:cubicBezTo>
                    <a:pt x="674" y="642"/>
                    <a:pt x="702" y="612"/>
                    <a:pt x="702" y="576"/>
                  </a:cubicBezTo>
                  <a:cubicBezTo>
                    <a:pt x="702" y="540"/>
                    <a:pt x="674" y="509"/>
                    <a:pt x="639" y="506"/>
                  </a:cubicBezTo>
                  <a:cubicBezTo>
                    <a:pt x="603" y="502"/>
                    <a:pt x="570" y="526"/>
                    <a:pt x="563" y="562"/>
                  </a:cubicBezTo>
                  <a:lnTo>
                    <a:pt x="514" y="562"/>
                  </a:lnTo>
                  <a:lnTo>
                    <a:pt x="466" y="474"/>
                  </a:lnTo>
                  <a:cubicBezTo>
                    <a:pt x="478" y="464"/>
                    <a:pt x="486" y="451"/>
                    <a:pt x="490" y="435"/>
                  </a:cubicBezTo>
                  <a:lnTo>
                    <a:pt x="661" y="435"/>
                  </a:lnTo>
                  <a:cubicBezTo>
                    <a:pt x="668" y="471"/>
                    <a:pt x="703" y="496"/>
                    <a:pt x="739" y="491"/>
                  </a:cubicBezTo>
                  <a:cubicBezTo>
                    <a:pt x="776" y="486"/>
                    <a:pt x="802" y="453"/>
                    <a:pt x="800" y="416"/>
                  </a:cubicBezTo>
                  <a:cubicBezTo>
                    <a:pt x="797" y="380"/>
                    <a:pt x="767" y="351"/>
                    <a:pt x="730" y="351"/>
                  </a:cubicBezTo>
                  <a:close/>
                  <a:moveTo>
                    <a:pt x="702" y="56"/>
                  </a:moveTo>
                  <a:cubicBezTo>
                    <a:pt x="725" y="56"/>
                    <a:pt x="744" y="75"/>
                    <a:pt x="744" y="98"/>
                  </a:cubicBezTo>
                  <a:cubicBezTo>
                    <a:pt x="744" y="122"/>
                    <a:pt x="725" y="140"/>
                    <a:pt x="702" y="140"/>
                  </a:cubicBezTo>
                  <a:cubicBezTo>
                    <a:pt x="678" y="140"/>
                    <a:pt x="660" y="122"/>
                    <a:pt x="660" y="98"/>
                  </a:cubicBezTo>
                  <a:cubicBezTo>
                    <a:pt x="660" y="75"/>
                    <a:pt x="678" y="56"/>
                    <a:pt x="702" y="56"/>
                  </a:cubicBezTo>
                  <a:close/>
                  <a:moveTo>
                    <a:pt x="702" y="702"/>
                  </a:moveTo>
                  <a:cubicBezTo>
                    <a:pt x="725" y="702"/>
                    <a:pt x="744" y="721"/>
                    <a:pt x="744" y="744"/>
                  </a:cubicBezTo>
                  <a:cubicBezTo>
                    <a:pt x="744" y="767"/>
                    <a:pt x="725" y="786"/>
                    <a:pt x="702" y="786"/>
                  </a:cubicBezTo>
                  <a:cubicBezTo>
                    <a:pt x="678" y="786"/>
                    <a:pt x="660" y="767"/>
                    <a:pt x="660" y="744"/>
                  </a:cubicBezTo>
                  <a:cubicBezTo>
                    <a:pt x="660" y="721"/>
                    <a:pt x="678" y="702"/>
                    <a:pt x="702" y="702"/>
                  </a:cubicBezTo>
                  <a:close/>
                  <a:moveTo>
                    <a:pt x="421" y="463"/>
                  </a:moveTo>
                  <a:cubicBezTo>
                    <a:pt x="398" y="463"/>
                    <a:pt x="379" y="444"/>
                    <a:pt x="379" y="421"/>
                  </a:cubicBezTo>
                  <a:cubicBezTo>
                    <a:pt x="379" y="398"/>
                    <a:pt x="398" y="379"/>
                    <a:pt x="421" y="379"/>
                  </a:cubicBezTo>
                  <a:cubicBezTo>
                    <a:pt x="444" y="379"/>
                    <a:pt x="463" y="398"/>
                    <a:pt x="463" y="421"/>
                  </a:cubicBezTo>
                  <a:cubicBezTo>
                    <a:pt x="463" y="444"/>
                    <a:pt x="444" y="463"/>
                    <a:pt x="421" y="463"/>
                  </a:cubicBezTo>
                  <a:close/>
                  <a:moveTo>
                    <a:pt x="632" y="225"/>
                  </a:moveTo>
                  <a:cubicBezTo>
                    <a:pt x="655" y="225"/>
                    <a:pt x="674" y="244"/>
                    <a:pt x="674" y="267"/>
                  </a:cubicBezTo>
                  <a:cubicBezTo>
                    <a:pt x="674" y="290"/>
                    <a:pt x="655" y="309"/>
                    <a:pt x="632" y="309"/>
                  </a:cubicBezTo>
                  <a:cubicBezTo>
                    <a:pt x="608" y="309"/>
                    <a:pt x="589" y="290"/>
                    <a:pt x="589" y="267"/>
                  </a:cubicBezTo>
                  <a:cubicBezTo>
                    <a:pt x="589" y="244"/>
                    <a:pt x="608" y="225"/>
                    <a:pt x="632" y="225"/>
                  </a:cubicBezTo>
                  <a:close/>
                  <a:moveTo>
                    <a:pt x="488" y="722"/>
                  </a:moveTo>
                  <a:cubicBezTo>
                    <a:pt x="482" y="724"/>
                    <a:pt x="477" y="730"/>
                    <a:pt x="477" y="736"/>
                  </a:cubicBezTo>
                  <a:lnTo>
                    <a:pt x="477" y="814"/>
                  </a:lnTo>
                  <a:lnTo>
                    <a:pt x="365" y="814"/>
                  </a:lnTo>
                  <a:lnTo>
                    <a:pt x="365" y="736"/>
                  </a:lnTo>
                  <a:cubicBezTo>
                    <a:pt x="365" y="730"/>
                    <a:pt x="360" y="724"/>
                    <a:pt x="354" y="722"/>
                  </a:cubicBezTo>
                  <a:cubicBezTo>
                    <a:pt x="319" y="715"/>
                    <a:pt x="286" y="701"/>
                    <a:pt x="255" y="682"/>
                  </a:cubicBezTo>
                  <a:cubicBezTo>
                    <a:pt x="250" y="678"/>
                    <a:pt x="243" y="679"/>
                    <a:pt x="238" y="684"/>
                  </a:cubicBezTo>
                  <a:lnTo>
                    <a:pt x="183" y="739"/>
                  </a:lnTo>
                  <a:lnTo>
                    <a:pt x="103" y="659"/>
                  </a:lnTo>
                  <a:lnTo>
                    <a:pt x="159" y="604"/>
                  </a:lnTo>
                  <a:cubicBezTo>
                    <a:pt x="163" y="600"/>
                    <a:pt x="164" y="592"/>
                    <a:pt x="160" y="587"/>
                  </a:cubicBezTo>
                  <a:cubicBezTo>
                    <a:pt x="141" y="557"/>
                    <a:pt x="127" y="523"/>
                    <a:pt x="120" y="488"/>
                  </a:cubicBezTo>
                  <a:cubicBezTo>
                    <a:pt x="118" y="482"/>
                    <a:pt x="113" y="477"/>
                    <a:pt x="106" y="477"/>
                  </a:cubicBezTo>
                  <a:lnTo>
                    <a:pt x="28" y="477"/>
                  </a:lnTo>
                  <a:lnTo>
                    <a:pt x="28" y="365"/>
                  </a:lnTo>
                  <a:lnTo>
                    <a:pt x="106" y="365"/>
                  </a:lnTo>
                  <a:cubicBezTo>
                    <a:pt x="113" y="365"/>
                    <a:pt x="118" y="360"/>
                    <a:pt x="120" y="354"/>
                  </a:cubicBezTo>
                  <a:cubicBezTo>
                    <a:pt x="127" y="319"/>
                    <a:pt x="141" y="286"/>
                    <a:pt x="160" y="255"/>
                  </a:cubicBezTo>
                  <a:cubicBezTo>
                    <a:pt x="164" y="250"/>
                    <a:pt x="163" y="243"/>
                    <a:pt x="159" y="238"/>
                  </a:cubicBezTo>
                  <a:lnTo>
                    <a:pt x="103" y="183"/>
                  </a:lnTo>
                  <a:lnTo>
                    <a:pt x="183" y="104"/>
                  </a:lnTo>
                  <a:lnTo>
                    <a:pt x="238" y="159"/>
                  </a:lnTo>
                  <a:cubicBezTo>
                    <a:pt x="243" y="163"/>
                    <a:pt x="250" y="164"/>
                    <a:pt x="255" y="161"/>
                  </a:cubicBezTo>
                  <a:cubicBezTo>
                    <a:pt x="286" y="141"/>
                    <a:pt x="319" y="128"/>
                    <a:pt x="354" y="120"/>
                  </a:cubicBezTo>
                  <a:cubicBezTo>
                    <a:pt x="360" y="119"/>
                    <a:pt x="365" y="113"/>
                    <a:pt x="365" y="106"/>
                  </a:cubicBezTo>
                  <a:lnTo>
                    <a:pt x="365" y="28"/>
                  </a:lnTo>
                  <a:lnTo>
                    <a:pt x="477" y="28"/>
                  </a:lnTo>
                  <a:lnTo>
                    <a:pt x="477" y="106"/>
                  </a:lnTo>
                  <a:cubicBezTo>
                    <a:pt x="477" y="113"/>
                    <a:pt x="482" y="119"/>
                    <a:pt x="488" y="120"/>
                  </a:cubicBezTo>
                  <a:cubicBezTo>
                    <a:pt x="497" y="122"/>
                    <a:pt x="505" y="124"/>
                    <a:pt x="513" y="127"/>
                  </a:cubicBezTo>
                  <a:lnTo>
                    <a:pt x="499" y="140"/>
                  </a:lnTo>
                  <a:cubicBezTo>
                    <a:pt x="494" y="146"/>
                    <a:pt x="491" y="153"/>
                    <a:pt x="491" y="160"/>
                  </a:cubicBezTo>
                  <a:lnTo>
                    <a:pt x="491" y="179"/>
                  </a:lnTo>
                  <a:cubicBezTo>
                    <a:pt x="388" y="149"/>
                    <a:pt x="277" y="187"/>
                    <a:pt x="215" y="275"/>
                  </a:cubicBezTo>
                  <a:cubicBezTo>
                    <a:pt x="153" y="362"/>
                    <a:pt x="153" y="480"/>
                    <a:pt x="215" y="567"/>
                  </a:cubicBezTo>
                  <a:cubicBezTo>
                    <a:pt x="277" y="655"/>
                    <a:pt x="388" y="694"/>
                    <a:pt x="491" y="664"/>
                  </a:cubicBezTo>
                  <a:lnTo>
                    <a:pt x="491" y="682"/>
                  </a:lnTo>
                  <a:cubicBezTo>
                    <a:pt x="491" y="689"/>
                    <a:pt x="494" y="697"/>
                    <a:pt x="499" y="702"/>
                  </a:cubicBezTo>
                  <a:lnTo>
                    <a:pt x="513" y="716"/>
                  </a:lnTo>
                  <a:cubicBezTo>
                    <a:pt x="505" y="718"/>
                    <a:pt x="497" y="720"/>
                    <a:pt x="488" y="722"/>
                  </a:cubicBezTo>
                  <a:close/>
                  <a:moveTo>
                    <a:pt x="632" y="533"/>
                  </a:moveTo>
                  <a:cubicBezTo>
                    <a:pt x="655" y="533"/>
                    <a:pt x="674" y="552"/>
                    <a:pt x="674" y="576"/>
                  </a:cubicBezTo>
                  <a:cubicBezTo>
                    <a:pt x="674" y="599"/>
                    <a:pt x="655" y="618"/>
                    <a:pt x="632" y="618"/>
                  </a:cubicBezTo>
                  <a:cubicBezTo>
                    <a:pt x="608" y="618"/>
                    <a:pt x="589" y="599"/>
                    <a:pt x="589" y="576"/>
                  </a:cubicBezTo>
                  <a:cubicBezTo>
                    <a:pt x="589" y="552"/>
                    <a:pt x="608" y="533"/>
                    <a:pt x="632" y="533"/>
                  </a:cubicBezTo>
                  <a:close/>
                  <a:moveTo>
                    <a:pt x="491" y="579"/>
                  </a:moveTo>
                  <a:lnTo>
                    <a:pt x="491" y="634"/>
                  </a:lnTo>
                  <a:cubicBezTo>
                    <a:pt x="398" y="665"/>
                    <a:pt x="297" y="632"/>
                    <a:pt x="239" y="554"/>
                  </a:cubicBezTo>
                  <a:cubicBezTo>
                    <a:pt x="182" y="475"/>
                    <a:pt x="182" y="368"/>
                    <a:pt x="239" y="289"/>
                  </a:cubicBezTo>
                  <a:cubicBezTo>
                    <a:pt x="297" y="210"/>
                    <a:pt x="398" y="177"/>
                    <a:pt x="491" y="208"/>
                  </a:cubicBezTo>
                  <a:lnTo>
                    <a:pt x="491" y="263"/>
                  </a:lnTo>
                  <a:lnTo>
                    <a:pt x="442" y="354"/>
                  </a:lnTo>
                  <a:cubicBezTo>
                    <a:pt x="435" y="352"/>
                    <a:pt x="428" y="351"/>
                    <a:pt x="421" y="351"/>
                  </a:cubicBezTo>
                  <a:cubicBezTo>
                    <a:pt x="382" y="351"/>
                    <a:pt x="351" y="382"/>
                    <a:pt x="351" y="421"/>
                  </a:cubicBezTo>
                  <a:cubicBezTo>
                    <a:pt x="351" y="460"/>
                    <a:pt x="382" y="491"/>
                    <a:pt x="421" y="491"/>
                  </a:cubicBezTo>
                  <a:cubicBezTo>
                    <a:pt x="428" y="491"/>
                    <a:pt x="435" y="490"/>
                    <a:pt x="442" y="488"/>
                  </a:cubicBezTo>
                  <a:lnTo>
                    <a:pt x="491" y="579"/>
                  </a:lnTo>
                  <a:close/>
                  <a:moveTo>
                    <a:pt x="730" y="463"/>
                  </a:moveTo>
                  <a:cubicBezTo>
                    <a:pt x="707" y="463"/>
                    <a:pt x="688" y="444"/>
                    <a:pt x="688" y="421"/>
                  </a:cubicBezTo>
                  <a:cubicBezTo>
                    <a:pt x="688" y="398"/>
                    <a:pt x="707" y="379"/>
                    <a:pt x="730" y="379"/>
                  </a:cubicBezTo>
                  <a:cubicBezTo>
                    <a:pt x="753" y="379"/>
                    <a:pt x="772" y="398"/>
                    <a:pt x="772" y="421"/>
                  </a:cubicBezTo>
                  <a:cubicBezTo>
                    <a:pt x="772" y="444"/>
                    <a:pt x="753" y="463"/>
                    <a:pt x="730" y="463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6821C35E-307F-1D5A-D744-558619C09493}"/>
              </a:ext>
            </a:extLst>
          </p:cNvPr>
          <p:cNvGrpSpPr/>
          <p:nvPr userDrawn="1"/>
        </p:nvGrpSpPr>
        <p:grpSpPr>
          <a:xfrm>
            <a:off x="4251325" y="4433888"/>
            <a:ext cx="288925" cy="261937"/>
            <a:chOff x="4251325" y="4433888"/>
            <a:chExt cx="288925" cy="261937"/>
          </a:xfrm>
        </p:grpSpPr>
        <p:sp>
          <p:nvSpPr>
            <p:cNvPr id="104" name="Freeform 17">
              <a:extLst>
                <a:ext uri="{FF2B5EF4-FFF2-40B4-BE49-F238E27FC236}">
                  <a16:creationId xmlns:a16="http://schemas.microsoft.com/office/drawing/2014/main" id="{E1474FCE-7465-6E5C-9EAA-B80EFBE961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11650" y="4433888"/>
              <a:ext cx="228600" cy="261937"/>
            </a:xfrm>
            <a:custGeom>
              <a:avLst/>
              <a:gdLst>
                <a:gd name="T0" fmla="*/ 590 w 634"/>
                <a:gd name="T1" fmla="*/ 121 h 723"/>
                <a:gd name="T2" fmla="*/ 373 w 634"/>
                <a:gd name="T3" fmla="*/ 121 h 723"/>
                <a:gd name="T4" fmla="*/ 373 w 634"/>
                <a:gd name="T5" fmla="*/ 62 h 723"/>
                <a:gd name="T6" fmla="*/ 310 w 634"/>
                <a:gd name="T7" fmla="*/ 0 h 723"/>
                <a:gd name="T8" fmla="*/ 158 w 634"/>
                <a:gd name="T9" fmla="*/ 0 h 723"/>
                <a:gd name="T10" fmla="*/ 95 w 634"/>
                <a:gd name="T11" fmla="*/ 62 h 723"/>
                <a:gd name="T12" fmla="*/ 95 w 634"/>
                <a:gd name="T13" fmla="*/ 121 h 723"/>
                <a:gd name="T14" fmla="*/ 12 w 634"/>
                <a:gd name="T15" fmla="*/ 121 h 723"/>
                <a:gd name="T16" fmla="*/ 0 w 634"/>
                <a:gd name="T17" fmla="*/ 133 h 723"/>
                <a:gd name="T18" fmla="*/ 12 w 634"/>
                <a:gd name="T19" fmla="*/ 144 h 723"/>
                <a:gd name="T20" fmla="*/ 590 w 634"/>
                <a:gd name="T21" fmla="*/ 144 h 723"/>
                <a:gd name="T22" fmla="*/ 611 w 634"/>
                <a:gd name="T23" fmla="*/ 165 h 723"/>
                <a:gd name="T24" fmla="*/ 611 w 634"/>
                <a:gd name="T25" fmla="*/ 316 h 723"/>
                <a:gd name="T26" fmla="*/ 604 w 634"/>
                <a:gd name="T27" fmla="*/ 331 h 723"/>
                <a:gd name="T28" fmla="*/ 536 w 634"/>
                <a:gd name="T29" fmla="*/ 397 h 723"/>
                <a:gd name="T30" fmla="*/ 522 w 634"/>
                <a:gd name="T31" fmla="*/ 403 h 723"/>
                <a:gd name="T32" fmla="*/ 258 w 634"/>
                <a:gd name="T33" fmla="*/ 403 h 723"/>
                <a:gd name="T34" fmla="*/ 246 w 634"/>
                <a:gd name="T35" fmla="*/ 415 h 723"/>
                <a:gd name="T36" fmla="*/ 258 w 634"/>
                <a:gd name="T37" fmla="*/ 426 h 723"/>
                <a:gd name="T38" fmla="*/ 363 w 634"/>
                <a:gd name="T39" fmla="*/ 426 h 723"/>
                <a:gd name="T40" fmla="*/ 363 w 634"/>
                <a:gd name="T41" fmla="*/ 467 h 723"/>
                <a:gd name="T42" fmla="*/ 416 w 634"/>
                <a:gd name="T43" fmla="*/ 519 h 723"/>
                <a:gd name="T44" fmla="*/ 468 w 634"/>
                <a:gd name="T45" fmla="*/ 467 h 723"/>
                <a:gd name="T46" fmla="*/ 468 w 634"/>
                <a:gd name="T47" fmla="*/ 426 h 723"/>
                <a:gd name="T48" fmla="*/ 522 w 634"/>
                <a:gd name="T49" fmla="*/ 426 h 723"/>
                <a:gd name="T50" fmla="*/ 552 w 634"/>
                <a:gd name="T51" fmla="*/ 414 h 723"/>
                <a:gd name="T52" fmla="*/ 591 w 634"/>
                <a:gd name="T53" fmla="*/ 377 h 723"/>
                <a:gd name="T54" fmla="*/ 591 w 634"/>
                <a:gd name="T55" fmla="*/ 679 h 723"/>
                <a:gd name="T56" fmla="*/ 570 w 634"/>
                <a:gd name="T57" fmla="*/ 699 h 723"/>
                <a:gd name="T58" fmla="*/ 76 w 634"/>
                <a:gd name="T59" fmla="*/ 699 h 723"/>
                <a:gd name="T60" fmla="*/ 64 w 634"/>
                <a:gd name="T61" fmla="*/ 711 h 723"/>
                <a:gd name="T62" fmla="*/ 76 w 634"/>
                <a:gd name="T63" fmla="*/ 723 h 723"/>
                <a:gd name="T64" fmla="*/ 570 w 634"/>
                <a:gd name="T65" fmla="*/ 723 h 723"/>
                <a:gd name="T66" fmla="*/ 614 w 634"/>
                <a:gd name="T67" fmla="*/ 679 h 723"/>
                <a:gd name="T68" fmla="*/ 614 w 634"/>
                <a:gd name="T69" fmla="*/ 354 h 723"/>
                <a:gd name="T70" fmla="*/ 621 w 634"/>
                <a:gd name="T71" fmla="*/ 348 h 723"/>
                <a:gd name="T72" fmla="*/ 634 w 634"/>
                <a:gd name="T73" fmla="*/ 316 h 723"/>
                <a:gd name="T74" fmla="*/ 634 w 634"/>
                <a:gd name="T75" fmla="*/ 165 h 723"/>
                <a:gd name="T76" fmla="*/ 590 w 634"/>
                <a:gd name="T77" fmla="*/ 121 h 723"/>
                <a:gd name="T78" fmla="*/ 294 w 634"/>
                <a:gd name="T79" fmla="*/ 121 h 723"/>
                <a:gd name="T80" fmla="*/ 174 w 634"/>
                <a:gd name="T81" fmla="*/ 121 h 723"/>
                <a:gd name="T82" fmla="*/ 174 w 634"/>
                <a:gd name="T83" fmla="*/ 78 h 723"/>
                <a:gd name="T84" fmla="*/ 294 w 634"/>
                <a:gd name="T85" fmla="*/ 78 h 723"/>
                <a:gd name="T86" fmla="*/ 294 w 634"/>
                <a:gd name="T87" fmla="*/ 121 h 723"/>
                <a:gd name="T88" fmla="*/ 317 w 634"/>
                <a:gd name="T89" fmla="*/ 121 h 723"/>
                <a:gd name="T90" fmla="*/ 317 w 634"/>
                <a:gd name="T91" fmla="*/ 67 h 723"/>
                <a:gd name="T92" fmla="*/ 306 w 634"/>
                <a:gd name="T93" fmla="*/ 55 h 723"/>
                <a:gd name="T94" fmla="*/ 163 w 634"/>
                <a:gd name="T95" fmla="*/ 55 h 723"/>
                <a:gd name="T96" fmla="*/ 151 w 634"/>
                <a:gd name="T97" fmla="*/ 67 h 723"/>
                <a:gd name="T98" fmla="*/ 151 w 634"/>
                <a:gd name="T99" fmla="*/ 121 h 723"/>
                <a:gd name="T100" fmla="*/ 119 w 634"/>
                <a:gd name="T101" fmla="*/ 121 h 723"/>
                <a:gd name="T102" fmla="*/ 119 w 634"/>
                <a:gd name="T103" fmla="*/ 62 h 723"/>
                <a:gd name="T104" fmla="*/ 158 w 634"/>
                <a:gd name="T105" fmla="*/ 23 h 723"/>
                <a:gd name="T106" fmla="*/ 310 w 634"/>
                <a:gd name="T107" fmla="*/ 23 h 723"/>
                <a:gd name="T108" fmla="*/ 349 w 634"/>
                <a:gd name="T109" fmla="*/ 62 h 723"/>
                <a:gd name="T110" fmla="*/ 349 w 634"/>
                <a:gd name="T111" fmla="*/ 121 h 723"/>
                <a:gd name="T112" fmla="*/ 317 w 634"/>
                <a:gd name="T113" fmla="*/ 121 h 723"/>
                <a:gd name="T114" fmla="*/ 445 w 634"/>
                <a:gd name="T115" fmla="*/ 467 h 723"/>
                <a:gd name="T116" fmla="*/ 416 w 634"/>
                <a:gd name="T117" fmla="*/ 496 h 723"/>
                <a:gd name="T118" fmla="*/ 387 w 634"/>
                <a:gd name="T119" fmla="*/ 467 h 723"/>
                <a:gd name="T120" fmla="*/ 387 w 634"/>
                <a:gd name="T121" fmla="*/ 426 h 723"/>
                <a:gd name="T122" fmla="*/ 445 w 634"/>
                <a:gd name="T123" fmla="*/ 426 h 723"/>
                <a:gd name="T124" fmla="*/ 445 w 634"/>
                <a:gd name="T125" fmla="*/ 467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34" h="723">
                  <a:moveTo>
                    <a:pt x="590" y="121"/>
                  </a:moveTo>
                  <a:lnTo>
                    <a:pt x="373" y="121"/>
                  </a:lnTo>
                  <a:lnTo>
                    <a:pt x="373" y="62"/>
                  </a:lnTo>
                  <a:cubicBezTo>
                    <a:pt x="373" y="28"/>
                    <a:pt x="345" y="0"/>
                    <a:pt x="310" y="0"/>
                  </a:cubicBezTo>
                  <a:lnTo>
                    <a:pt x="158" y="0"/>
                  </a:lnTo>
                  <a:cubicBezTo>
                    <a:pt x="124" y="0"/>
                    <a:pt x="95" y="28"/>
                    <a:pt x="95" y="62"/>
                  </a:cubicBezTo>
                  <a:lnTo>
                    <a:pt x="95" y="121"/>
                  </a:lnTo>
                  <a:lnTo>
                    <a:pt x="12" y="121"/>
                  </a:lnTo>
                  <a:cubicBezTo>
                    <a:pt x="6" y="121"/>
                    <a:pt x="0" y="126"/>
                    <a:pt x="0" y="133"/>
                  </a:cubicBezTo>
                  <a:cubicBezTo>
                    <a:pt x="0" y="139"/>
                    <a:pt x="6" y="144"/>
                    <a:pt x="12" y="144"/>
                  </a:cubicBezTo>
                  <a:lnTo>
                    <a:pt x="590" y="144"/>
                  </a:lnTo>
                  <a:cubicBezTo>
                    <a:pt x="601" y="144"/>
                    <a:pt x="611" y="154"/>
                    <a:pt x="611" y="165"/>
                  </a:cubicBezTo>
                  <a:lnTo>
                    <a:pt x="611" y="316"/>
                  </a:lnTo>
                  <a:cubicBezTo>
                    <a:pt x="611" y="321"/>
                    <a:pt x="608" y="327"/>
                    <a:pt x="604" y="331"/>
                  </a:cubicBezTo>
                  <a:lnTo>
                    <a:pt x="536" y="397"/>
                  </a:lnTo>
                  <a:cubicBezTo>
                    <a:pt x="532" y="401"/>
                    <a:pt x="527" y="403"/>
                    <a:pt x="522" y="403"/>
                  </a:cubicBezTo>
                  <a:lnTo>
                    <a:pt x="258" y="403"/>
                  </a:lnTo>
                  <a:cubicBezTo>
                    <a:pt x="251" y="403"/>
                    <a:pt x="246" y="408"/>
                    <a:pt x="246" y="415"/>
                  </a:cubicBezTo>
                  <a:cubicBezTo>
                    <a:pt x="246" y="421"/>
                    <a:pt x="251" y="426"/>
                    <a:pt x="258" y="426"/>
                  </a:cubicBezTo>
                  <a:lnTo>
                    <a:pt x="363" y="426"/>
                  </a:lnTo>
                  <a:lnTo>
                    <a:pt x="363" y="467"/>
                  </a:lnTo>
                  <a:cubicBezTo>
                    <a:pt x="363" y="496"/>
                    <a:pt x="387" y="519"/>
                    <a:pt x="416" y="519"/>
                  </a:cubicBezTo>
                  <a:cubicBezTo>
                    <a:pt x="445" y="519"/>
                    <a:pt x="468" y="496"/>
                    <a:pt x="468" y="467"/>
                  </a:cubicBezTo>
                  <a:lnTo>
                    <a:pt x="468" y="426"/>
                  </a:lnTo>
                  <a:lnTo>
                    <a:pt x="522" y="426"/>
                  </a:lnTo>
                  <a:cubicBezTo>
                    <a:pt x="533" y="426"/>
                    <a:pt x="544" y="422"/>
                    <a:pt x="552" y="414"/>
                  </a:cubicBezTo>
                  <a:lnTo>
                    <a:pt x="591" y="377"/>
                  </a:lnTo>
                  <a:lnTo>
                    <a:pt x="591" y="679"/>
                  </a:lnTo>
                  <a:cubicBezTo>
                    <a:pt x="591" y="690"/>
                    <a:pt x="581" y="699"/>
                    <a:pt x="570" y="699"/>
                  </a:cubicBezTo>
                  <a:lnTo>
                    <a:pt x="76" y="699"/>
                  </a:lnTo>
                  <a:cubicBezTo>
                    <a:pt x="70" y="699"/>
                    <a:pt x="64" y="705"/>
                    <a:pt x="64" y="711"/>
                  </a:cubicBezTo>
                  <a:cubicBezTo>
                    <a:pt x="64" y="718"/>
                    <a:pt x="70" y="723"/>
                    <a:pt x="76" y="723"/>
                  </a:cubicBezTo>
                  <a:lnTo>
                    <a:pt x="570" y="723"/>
                  </a:lnTo>
                  <a:cubicBezTo>
                    <a:pt x="594" y="723"/>
                    <a:pt x="614" y="703"/>
                    <a:pt x="614" y="679"/>
                  </a:cubicBezTo>
                  <a:lnTo>
                    <a:pt x="614" y="354"/>
                  </a:lnTo>
                  <a:lnTo>
                    <a:pt x="621" y="348"/>
                  </a:lnTo>
                  <a:cubicBezTo>
                    <a:pt x="629" y="339"/>
                    <a:pt x="634" y="328"/>
                    <a:pt x="634" y="316"/>
                  </a:cubicBezTo>
                  <a:lnTo>
                    <a:pt x="634" y="165"/>
                  </a:lnTo>
                  <a:cubicBezTo>
                    <a:pt x="634" y="141"/>
                    <a:pt x="614" y="121"/>
                    <a:pt x="590" y="121"/>
                  </a:cubicBezTo>
                  <a:close/>
                  <a:moveTo>
                    <a:pt x="294" y="121"/>
                  </a:moveTo>
                  <a:lnTo>
                    <a:pt x="174" y="121"/>
                  </a:lnTo>
                  <a:lnTo>
                    <a:pt x="174" y="78"/>
                  </a:lnTo>
                  <a:lnTo>
                    <a:pt x="294" y="78"/>
                  </a:lnTo>
                  <a:lnTo>
                    <a:pt x="294" y="121"/>
                  </a:lnTo>
                  <a:close/>
                  <a:moveTo>
                    <a:pt x="317" y="121"/>
                  </a:moveTo>
                  <a:lnTo>
                    <a:pt x="317" y="67"/>
                  </a:lnTo>
                  <a:cubicBezTo>
                    <a:pt x="317" y="60"/>
                    <a:pt x="312" y="55"/>
                    <a:pt x="306" y="55"/>
                  </a:cubicBezTo>
                  <a:lnTo>
                    <a:pt x="163" y="55"/>
                  </a:lnTo>
                  <a:cubicBezTo>
                    <a:pt x="156" y="55"/>
                    <a:pt x="151" y="60"/>
                    <a:pt x="151" y="67"/>
                  </a:cubicBezTo>
                  <a:lnTo>
                    <a:pt x="151" y="121"/>
                  </a:lnTo>
                  <a:lnTo>
                    <a:pt x="119" y="121"/>
                  </a:lnTo>
                  <a:lnTo>
                    <a:pt x="119" y="62"/>
                  </a:lnTo>
                  <a:cubicBezTo>
                    <a:pt x="119" y="41"/>
                    <a:pt x="137" y="23"/>
                    <a:pt x="158" y="23"/>
                  </a:cubicBezTo>
                  <a:lnTo>
                    <a:pt x="310" y="23"/>
                  </a:lnTo>
                  <a:cubicBezTo>
                    <a:pt x="332" y="23"/>
                    <a:pt x="349" y="41"/>
                    <a:pt x="349" y="62"/>
                  </a:cubicBezTo>
                  <a:lnTo>
                    <a:pt x="349" y="121"/>
                  </a:lnTo>
                  <a:lnTo>
                    <a:pt x="317" y="121"/>
                  </a:lnTo>
                  <a:close/>
                  <a:moveTo>
                    <a:pt x="445" y="467"/>
                  </a:moveTo>
                  <a:cubicBezTo>
                    <a:pt x="445" y="483"/>
                    <a:pt x="432" y="496"/>
                    <a:pt x="416" y="496"/>
                  </a:cubicBezTo>
                  <a:cubicBezTo>
                    <a:pt x="400" y="496"/>
                    <a:pt x="387" y="483"/>
                    <a:pt x="387" y="467"/>
                  </a:cubicBezTo>
                  <a:lnTo>
                    <a:pt x="387" y="426"/>
                  </a:lnTo>
                  <a:lnTo>
                    <a:pt x="445" y="426"/>
                  </a:lnTo>
                  <a:lnTo>
                    <a:pt x="445" y="467"/>
                  </a:ln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5" name="Freeform 18">
              <a:extLst>
                <a:ext uri="{FF2B5EF4-FFF2-40B4-BE49-F238E27FC236}">
                  <a16:creationId xmlns:a16="http://schemas.microsoft.com/office/drawing/2014/main" id="{6FB502DC-D75E-1E4E-BCD2-CE1D9BBC9E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11650" y="4433888"/>
              <a:ext cx="228600" cy="261937"/>
            </a:xfrm>
            <a:custGeom>
              <a:avLst/>
              <a:gdLst>
                <a:gd name="T0" fmla="*/ 590 w 634"/>
                <a:gd name="T1" fmla="*/ 121 h 723"/>
                <a:gd name="T2" fmla="*/ 373 w 634"/>
                <a:gd name="T3" fmla="*/ 121 h 723"/>
                <a:gd name="T4" fmla="*/ 373 w 634"/>
                <a:gd name="T5" fmla="*/ 62 h 723"/>
                <a:gd name="T6" fmla="*/ 310 w 634"/>
                <a:gd name="T7" fmla="*/ 0 h 723"/>
                <a:gd name="T8" fmla="*/ 158 w 634"/>
                <a:gd name="T9" fmla="*/ 0 h 723"/>
                <a:gd name="T10" fmla="*/ 95 w 634"/>
                <a:gd name="T11" fmla="*/ 62 h 723"/>
                <a:gd name="T12" fmla="*/ 95 w 634"/>
                <a:gd name="T13" fmla="*/ 121 h 723"/>
                <a:gd name="T14" fmla="*/ 12 w 634"/>
                <a:gd name="T15" fmla="*/ 121 h 723"/>
                <a:gd name="T16" fmla="*/ 0 w 634"/>
                <a:gd name="T17" fmla="*/ 133 h 723"/>
                <a:gd name="T18" fmla="*/ 12 w 634"/>
                <a:gd name="T19" fmla="*/ 144 h 723"/>
                <a:gd name="T20" fmla="*/ 590 w 634"/>
                <a:gd name="T21" fmla="*/ 144 h 723"/>
                <a:gd name="T22" fmla="*/ 611 w 634"/>
                <a:gd name="T23" fmla="*/ 165 h 723"/>
                <a:gd name="T24" fmla="*/ 611 w 634"/>
                <a:gd name="T25" fmla="*/ 316 h 723"/>
                <a:gd name="T26" fmla="*/ 604 w 634"/>
                <a:gd name="T27" fmla="*/ 331 h 723"/>
                <a:gd name="T28" fmla="*/ 536 w 634"/>
                <a:gd name="T29" fmla="*/ 397 h 723"/>
                <a:gd name="T30" fmla="*/ 522 w 634"/>
                <a:gd name="T31" fmla="*/ 403 h 723"/>
                <a:gd name="T32" fmla="*/ 258 w 634"/>
                <a:gd name="T33" fmla="*/ 403 h 723"/>
                <a:gd name="T34" fmla="*/ 246 w 634"/>
                <a:gd name="T35" fmla="*/ 415 h 723"/>
                <a:gd name="T36" fmla="*/ 258 w 634"/>
                <a:gd name="T37" fmla="*/ 426 h 723"/>
                <a:gd name="T38" fmla="*/ 363 w 634"/>
                <a:gd name="T39" fmla="*/ 426 h 723"/>
                <a:gd name="T40" fmla="*/ 363 w 634"/>
                <a:gd name="T41" fmla="*/ 467 h 723"/>
                <a:gd name="T42" fmla="*/ 416 w 634"/>
                <a:gd name="T43" fmla="*/ 519 h 723"/>
                <a:gd name="T44" fmla="*/ 468 w 634"/>
                <a:gd name="T45" fmla="*/ 467 h 723"/>
                <a:gd name="T46" fmla="*/ 468 w 634"/>
                <a:gd name="T47" fmla="*/ 426 h 723"/>
                <a:gd name="T48" fmla="*/ 522 w 634"/>
                <a:gd name="T49" fmla="*/ 426 h 723"/>
                <a:gd name="T50" fmla="*/ 552 w 634"/>
                <a:gd name="T51" fmla="*/ 414 h 723"/>
                <a:gd name="T52" fmla="*/ 591 w 634"/>
                <a:gd name="T53" fmla="*/ 377 h 723"/>
                <a:gd name="T54" fmla="*/ 591 w 634"/>
                <a:gd name="T55" fmla="*/ 679 h 723"/>
                <a:gd name="T56" fmla="*/ 570 w 634"/>
                <a:gd name="T57" fmla="*/ 699 h 723"/>
                <a:gd name="T58" fmla="*/ 76 w 634"/>
                <a:gd name="T59" fmla="*/ 699 h 723"/>
                <a:gd name="T60" fmla="*/ 64 w 634"/>
                <a:gd name="T61" fmla="*/ 711 h 723"/>
                <a:gd name="T62" fmla="*/ 76 w 634"/>
                <a:gd name="T63" fmla="*/ 723 h 723"/>
                <a:gd name="T64" fmla="*/ 570 w 634"/>
                <a:gd name="T65" fmla="*/ 723 h 723"/>
                <a:gd name="T66" fmla="*/ 614 w 634"/>
                <a:gd name="T67" fmla="*/ 679 h 723"/>
                <a:gd name="T68" fmla="*/ 614 w 634"/>
                <a:gd name="T69" fmla="*/ 354 h 723"/>
                <a:gd name="T70" fmla="*/ 621 w 634"/>
                <a:gd name="T71" fmla="*/ 348 h 723"/>
                <a:gd name="T72" fmla="*/ 634 w 634"/>
                <a:gd name="T73" fmla="*/ 316 h 723"/>
                <a:gd name="T74" fmla="*/ 634 w 634"/>
                <a:gd name="T75" fmla="*/ 165 h 723"/>
                <a:gd name="T76" fmla="*/ 590 w 634"/>
                <a:gd name="T77" fmla="*/ 121 h 723"/>
                <a:gd name="T78" fmla="*/ 294 w 634"/>
                <a:gd name="T79" fmla="*/ 121 h 723"/>
                <a:gd name="T80" fmla="*/ 174 w 634"/>
                <a:gd name="T81" fmla="*/ 121 h 723"/>
                <a:gd name="T82" fmla="*/ 174 w 634"/>
                <a:gd name="T83" fmla="*/ 78 h 723"/>
                <a:gd name="T84" fmla="*/ 294 w 634"/>
                <a:gd name="T85" fmla="*/ 78 h 723"/>
                <a:gd name="T86" fmla="*/ 294 w 634"/>
                <a:gd name="T87" fmla="*/ 121 h 723"/>
                <a:gd name="T88" fmla="*/ 317 w 634"/>
                <a:gd name="T89" fmla="*/ 121 h 723"/>
                <a:gd name="T90" fmla="*/ 317 w 634"/>
                <a:gd name="T91" fmla="*/ 67 h 723"/>
                <a:gd name="T92" fmla="*/ 306 w 634"/>
                <a:gd name="T93" fmla="*/ 55 h 723"/>
                <a:gd name="T94" fmla="*/ 163 w 634"/>
                <a:gd name="T95" fmla="*/ 55 h 723"/>
                <a:gd name="T96" fmla="*/ 151 w 634"/>
                <a:gd name="T97" fmla="*/ 67 h 723"/>
                <a:gd name="T98" fmla="*/ 151 w 634"/>
                <a:gd name="T99" fmla="*/ 121 h 723"/>
                <a:gd name="T100" fmla="*/ 119 w 634"/>
                <a:gd name="T101" fmla="*/ 121 h 723"/>
                <a:gd name="T102" fmla="*/ 119 w 634"/>
                <a:gd name="T103" fmla="*/ 62 h 723"/>
                <a:gd name="T104" fmla="*/ 158 w 634"/>
                <a:gd name="T105" fmla="*/ 23 h 723"/>
                <a:gd name="T106" fmla="*/ 310 w 634"/>
                <a:gd name="T107" fmla="*/ 23 h 723"/>
                <a:gd name="T108" fmla="*/ 349 w 634"/>
                <a:gd name="T109" fmla="*/ 62 h 723"/>
                <a:gd name="T110" fmla="*/ 349 w 634"/>
                <a:gd name="T111" fmla="*/ 121 h 723"/>
                <a:gd name="T112" fmla="*/ 317 w 634"/>
                <a:gd name="T113" fmla="*/ 121 h 723"/>
                <a:gd name="T114" fmla="*/ 445 w 634"/>
                <a:gd name="T115" fmla="*/ 467 h 723"/>
                <a:gd name="T116" fmla="*/ 416 w 634"/>
                <a:gd name="T117" fmla="*/ 496 h 723"/>
                <a:gd name="T118" fmla="*/ 387 w 634"/>
                <a:gd name="T119" fmla="*/ 467 h 723"/>
                <a:gd name="T120" fmla="*/ 387 w 634"/>
                <a:gd name="T121" fmla="*/ 426 h 723"/>
                <a:gd name="T122" fmla="*/ 445 w 634"/>
                <a:gd name="T123" fmla="*/ 426 h 723"/>
                <a:gd name="T124" fmla="*/ 445 w 634"/>
                <a:gd name="T125" fmla="*/ 467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34" h="723">
                  <a:moveTo>
                    <a:pt x="590" y="121"/>
                  </a:moveTo>
                  <a:lnTo>
                    <a:pt x="373" y="121"/>
                  </a:lnTo>
                  <a:lnTo>
                    <a:pt x="373" y="62"/>
                  </a:lnTo>
                  <a:cubicBezTo>
                    <a:pt x="373" y="28"/>
                    <a:pt x="345" y="0"/>
                    <a:pt x="310" y="0"/>
                  </a:cubicBezTo>
                  <a:lnTo>
                    <a:pt x="158" y="0"/>
                  </a:lnTo>
                  <a:cubicBezTo>
                    <a:pt x="124" y="0"/>
                    <a:pt x="95" y="28"/>
                    <a:pt x="95" y="62"/>
                  </a:cubicBezTo>
                  <a:lnTo>
                    <a:pt x="95" y="121"/>
                  </a:lnTo>
                  <a:lnTo>
                    <a:pt x="12" y="121"/>
                  </a:lnTo>
                  <a:cubicBezTo>
                    <a:pt x="6" y="121"/>
                    <a:pt x="0" y="126"/>
                    <a:pt x="0" y="133"/>
                  </a:cubicBezTo>
                  <a:cubicBezTo>
                    <a:pt x="0" y="139"/>
                    <a:pt x="6" y="144"/>
                    <a:pt x="12" y="144"/>
                  </a:cubicBezTo>
                  <a:lnTo>
                    <a:pt x="590" y="144"/>
                  </a:lnTo>
                  <a:cubicBezTo>
                    <a:pt x="601" y="144"/>
                    <a:pt x="611" y="154"/>
                    <a:pt x="611" y="165"/>
                  </a:cubicBezTo>
                  <a:lnTo>
                    <a:pt x="611" y="316"/>
                  </a:lnTo>
                  <a:cubicBezTo>
                    <a:pt x="611" y="321"/>
                    <a:pt x="608" y="327"/>
                    <a:pt x="604" y="331"/>
                  </a:cubicBezTo>
                  <a:lnTo>
                    <a:pt x="536" y="397"/>
                  </a:lnTo>
                  <a:cubicBezTo>
                    <a:pt x="532" y="401"/>
                    <a:pt x="527" y="403"/>
                    <a:pt x="522" y="403"/>
                  </a:cubicBezTo>
                  <a:lnTo>
                    <a:pt x="258" y="403"/>
                  </a:lnTo>
                  <a:cubicBezTo>
                    <a:pt x="251" y="403"/>
                    <a:pt x="246" y="408"/>
                    <a:pt x="246" y="415"/>
                  </a:cubicBezTo>
                  <a:cubicBezTo>
                    <a:pt x="246" y="421"/>
                    <a:pt x="251" y="426"/>
                    <a:pt x="258" y="426"/>
                  </a:cubicBezTo>
                  <a:lnTo>
                    <a:pt x="363" y="426"/>
                  </a:lnTo>
                  <a:lnTo>
                    <a:pt x="363" y="467"/>
                  </a:lnTo>
                  <a:cubicBezTo>
                    <a:pt x="363" y="496"/>
                    <a:pt x="387" y="519"/>
                    <a:pt x="416" y="519"/>
                  </a:cubicBezTo>
                  <a:cubicBezTo>
                    <a:pt x="445" y="519"/>
                    <a:pt x="468" y="496"/>
                    <a:pt x="468" y="467"/>
                  </a:cubicBezTo>
                  <a:lnTo>
                    <a:pt x="468" y="426"/>
                  </a:lnTo>
                  <a:lnTo>
                    <a:pt x="522" y="426"/>
                  </a:lnTo>
                  <a:cubicBezTo>
                    <a:pt x="533" y="426"/>
                    <a:pt x="544" y="422"/>
                    <a:pt x="552" y="414"/>
                  </a:cubicBezTo>
                  <a:lnTo>
                    <a:pt x="591" y="377"/>
                  </a:lnTo>
                  <a:lnTo>
                    <a:pt x="591" y="679"/>
                  </a:lnTo>
                  <a:cubicBezTo>
                    <a:pt x="591" y="690"/>
                    <a:pt x="581" y="699"/>
                    <a:pt x="570" y="699"/>
                  </a:cubicBezTo>
                  <a:lnTo>
                    <a:pt x="76" y="699"/>
                  </a:lnTo>
                  <a:cubicBezTo>
                    <a:pt x="70" y="699"/>
                    <a:pt x="64" y="705"/>
                    <a:pt x="64" y="711"/>
                  </a:cubicBezTo>
                  <a:cubicBezTo>
                    <a:pt x="64" y="718"/>
                    <a:pt x="70" y="723"/>
                    <a:pt x="76" y="723"/>
                  </a:cubicBezTo>
                  <a:lnTo>
                    <a:pt x="570" y="723"/>
                  </a:lnTo>
                  <a:cubicBezTo>
                    <a:pt x="594" y="723"/>
                    <a:pt x="614" y="703"/>
                    <a:pt x="614" y="679"/>
                  </a:cubicBezTo>
                  <a:lnTo>
                    <a:pt x="614" y="354"/>
                  </a:lnTo>
                  <a:lnTo>
                    <a:pt x="621" y="348"/>
                  </a:lnTo>
                  <a:cubicBezTo>
                    <a:pt x="629" y="339"/>
                    <a:pt x="634" y="328"/>
                    <a:pt x="634" y="316"/>
                  </a:cubicBezTo>
                  <a:lnTo>
                    <a:pt x="634" y="165"/>
                  </a:lnTo>
                  <a:cubicBezTo>
                    <a:pt x="634" y="141"/>
                    <a:pt x="614" y="121"/>
                    <a:pt x="590" y="121"/>
                  </a:cubicBezTo>
                  <a:close/>
                  <a:moveTo>
                    <a:pt x="294" y="121"/>
                  </a:moveTo>
                  <a:lnTo>
                    <a:pt x="174" y="121"/>
                  </a:lnTo>
                  <a:lnTo>
                    <a:pt x="174" y="78"/>
                  </a:lnTo>
                  <a:lnTo>
                    <a:pt x="294" y="78"/>
                  </a:lnTo>
                  <a:lnTo>
                    <a:pt x="294" y="121"/>
                  </a:lnTo>
                  <a:close/>
                  <a:moveTo>
                    <a:pt x="317" y="121"/>
                  </a:moveTo>
                  <a:lnTo>
                    <a:pt x="317" y="67"/>
                  </a:lnTo>
                  <a:cubicBezTo>
                    <a:pt x="317" y="60"/>
                    <a:pt x="312" y="55"/>
                    <a:pt x="306" y="55"/>
                  </a:cubicBezTo>
                  <a:lnTo>
                    <a:pt x="163" y="55"/>
                  </a:lnTo>
                  <a:cubicBezTo>
                    <a:pt x="156" y="55"/>
                    <a:pt x="151" y="60"/>
                    <a:pt x="151" y="67"/>
                  </a:cubicBezTo>
                  <a:lnTo>
                    <a:pt x="151" y="121"/>
                  </a:lnTo>
                  <a:lnTo>
                    <a:pt x="119" y="121"/>
                  </a:lnTo>
                  <a:lnTo>
                    <a:pt x="119" y="62"/>
                  </a:lnTo>
                  <a:cubicBezTo>
                    <a:pt x="119" y="41"/>
                    <a:pt x="137" y="23"/>
                    <a:pt x="158" y="23"/>
                  </a:cubicBezTo>
                  <a:lnTo>
                    <a:pt x="310" y="23"/>
                  </a:lnTo>
                  <a:cubicBezTo>
                    <a:pt x="332" y="23"/>
                    <a:pt x="349" y="41"/>
                    <a:pt x="349" y="62"/>
                  </a:cubicBezTo>
                  <a:lnTo>
                    <a:pt x="349" y="121"/>
                  </a:lnTo>
                  <a:lnTo>
                    <a:pt x="317" y="121"/>
                  </a:lnTo>
                  <a:close/>
                  <a:moveTo>
                    <a:pt x="445" y="467"/>
                  </a:moveTo>
                  <a:cubicBezTo>
                    <a:pt x="445" y="483"/>
                    <a:pt x="432" y="496"/>
                    <a:pt x="416" y="496"/>
                  </a:cubicBezTo>
                  <a:cubicBezTo>
                    <a:pt x="400" y="496"/>
                    <a:pt x="387" y="483"/>
                    <a:pt x="387" y="467"/>
                  </a:cubicBezTo>
                  <a:lnTo>
                    <a:pt x="387" y="426"/>
                  </a:lnTo>
                  <a:lnTo>
                    <a:pt x="445" y="426"/>
                  </a:lnTo>
                  <a:lnTo>
                    <a:pt x="445" y="467"/>
                  </a:lnTo>
                  <a:close/>
                </a:path>
              </a:pathLst>
            </a:custGeom>
            <a:noFill/>
            <a:ln w="3175" cap="flat">
              <a:solidFill>
                <a:srgbClr val="C953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6" name="Freeform 19">
              <a:extLst>
                <a:ext uri="{FF2B5EF4-FFF2-40B4-BE49-F238E27FC236}">
                  <a16:creationId xmlns:a16="http://schemas.microsoft.com/office/drawing/2014/main" id="{C390B4B6-C4DD-3CB1-6F7F-D1795665D8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1325" y="4478338"/>
              <a:ext cx="141288" cy="217487"/>
            </a:xfrm>
            <a:custGeom>
              <a:avLst/>
              <a:gdLst>
                <a:gd name="T0" fmla="*/ 219 w 388"/>
                <a:gd name="T1" fmla="*/ 398 h 602"/>
                <a:gd name="T2" fmla="*/ 271 w 388"/>
                <a:gd name="T3" fmla="*/ 346 h 602"/>
                <a:gd name="T4" fmla="*/ 271 w 388"/>
                <a:gd name="T5" fmla="*/ 305 h 602"/>
                <a:gd name="T6" fmla="*/ 377 w 388"/>
                <a:gd name="T7" fmla="*/ 305 h 602"/>
                <a:gd name="T8" fmla="*/ 388 w 388"/>
                <a:gd name="T9" fmla="*/ 294 h 602"/>
                <a:gd name="T10" fmla="*/ 377 w 388"/>
                <a:gd name="T11" fmla="*/ 282 h 602"/>
                <a:gd name="T12" fmla="*/ 113 w 388"/>
                <a:gd name="T13" fmla="*/ 282 h 602"/>
                <a:gd name="T14" fmla="*/ 98 w 388"/>
                <a:gd name="T15" fmla="*/ 276 h 602"/>
                <a:gd name="T16" fmla="*/ 30 w 388"/>
                <a:gd name="T17" fmla="*/ 210 h 602"/>
                <a:gd name="T18" fmla="*/ 24 w 388"/>
                <a:gd name="T19" fmla="*/ 195 h 602"/>
                <a:gd name="T20" fmla="*/ 24 w 388"/>
                <a:gd name="T21" fmla="*/ 44 h 602"/>
                <a:gd name="T22" fmla="*/ 44 w 388"/>
                <a:gd name="T23" fmla="*/ 23 h 602"/>
                <a:gd name="T24" fmla="*/ 131 w 388"/>
                <a:gd name="T25" fmla="*/ 23 h 602"/>
                <a:gd name="T26" fmla="*/ 143 w 388"/>
                <a:gd name="T27" fmla="*/ 12 h 602"/>
                <a:gd name="T28" fmla="*/ 131 w 388"/>
                <a:gd name="T29" fmla="*/ 0 h 602"/>
                <a:gd name="T30" fmla="*/ 44 w 388"/>
                <a:gd name="T31" fmla="*/ 0 h 602"/>
                <a:gd name="T32" fmla="*/ 0 w 388"/>
                <a:gd name="T33" fmla="*/ 44 h 602"/>
                <a:gd name="T34" fmla="*/ 0 w 388"/>
                <a:gd name="T35" fmla="*/ 195 h 602"/>
                <a:gd name="T36" fmla="*/ 14 w 388"/>
                <a:gd name="T37" fmla="*/ 227 h 602"/>
                <a:gd name="T38" fmla="*/ 20 w 388"/>
                <a:gd name="T39" fmla="*/ 233 h 602"/>
                <a:gd name="T40" fmla="*/ 20 w 388"/>
                <a:gd name="T41" fmla="*/ 558 h 602"/>
                <a:gd name="T42" fmla="*/ 64 w 388"/>
                <a:gd name="T43" fmla="*/ 602 h 602"/>
                <a:gd name="T44" fmla="*/ 195 w 388"/>
                <a:gd name="T45" fmla="*/ 602 h 602"/>
                <a:gd name="T46" fmla="*/ 207 w 388"/>
                <a:gd name="T47" fmla="*/ 590 h 602"/>
                <a:gd name="T48" fmla="*/ 195 w 388"/>
                <a:gd name="T49" fmla="*/ 578 h 602"/>
                <a:gd name="T50" fmla="*/ 64 w 388"/>
                <a:gd name="T51" fmla="*/ 578 h 602"/>
                <a:gd name="T52" fmla="*/ 44 w 388"/>
                <a:gd name="T53" fmla="*/ 558 h 602"/>
                <a:gd name="T54" fmla="*/ 44 w 388"/>
                <a:gd name="T55" fmla="*/ 256 h 602"/>
                <a:gd name="T56" fmla="*/ 82 w 388"/>
                <a:gd name="T57" fmla="*/ 293 h 602"/>
                <a:gd name="T58" fmla="*/ 113 w 388"/>
                <a:gd name="T59" fmla="*/ 305 h 602"/>
                <a:gd name="T60" fmla="*/ 166 w 388"/>
                <a:gd name="T61" fmla="*/ 305 h 602"/>
                <a:gd name="T62" fmla="*/ 166 w 388"/>
                <a:gd name="T63" fmla="*/ 346 h 602"/>
                <a:gd name="T64" fmla="*/ 219 w 388"/>
                <a:gd name="T65" fmla="*/ 398 h 602"/>
                <a:gd name="T66" fmla="*/ 247 w 388"/>
                <a:gd name="T67" fmla="*/ 346 h 602"/>
                <a:gd name="T68" fmla="*/ 219 w 388"/>
                <a:gd name="T69" fmla="*/ 375 h 602"/>
                <a:gd name="T70" fmla="*/ 190 w 388"/>
                <a:gd name="T71" fmla="*/ 346 h 602"/>
                <a:gd name="T72" fmla="*/ 190 w 388"/>
                <a:gd name="T73" fmla="*/ 305 h 602"/>
                <a:gd name="T74" fmla="*/ 247 w 388"/>
                <a:gd name="T75" fmla="*/ 305 h 602"/>
                <a:gd name="T76" fmla="*/ 247 w 388"/>
                <a:gd name="T77" fmla="*/ 346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8" h="602">
                  <a:moveTo>
                    <a:pt x="219" y="398"/>
                  </a:moveTo>
                  <a:cubicBezTo>
                    <a:pt x="247" y="398"/>
                    <a:pt x="271" y="375"/>
                    <a:pt x="271" y="346"/>
                  </a:cubicBezTo>
                  <a:lnTo>
                    <a:pt x="271" y="305"/>
                  </a:lnTo>
                  <a:lnTo>
                    <a:pt x="377" y="305"/>
                  </a:lnTo>
                  <a:cubicBezTo>
                    <a:pt x="383" y="305"/>
                    <a:pt x="388" y="300"/>
                    <a:pt x="388" y="294"/>
                  </a:cubicBezTo>
                  <a:cubicBezTo>
                    <a:pt x="388" y="287"/>
                    <a:pt x="383" y="282"/>
                    <a:pt x="377" y="282"/>
                  </a:cubicBezTo>
                  <a:lnTo>
                    <a:pt x="113" y="282"/>
                  </a:lnTo>
                  <a:cubicBezTo>
                    <a:pt x="107" y="282"/>
                    <a:pt x="102" y="280"/>
                    <a:pt x="98" y="276"/>
                  </a:cubicBezTo>
                  <a:lnTo>
                    <a:pt x="30" y="210"/>
                  </a:lnTo>
                  <a:cubicBezTo>
                    <a:pt x="26" y="206"/>
                    <a:pt x="24" y="200"/>
                    <a:pt x="24" y="195"/>
                  </a:cubicBezTo>
                  <a:lnTo>
                    <a:pt x="24" y="44"/>
                  </a:lnTo>
                  <a:cubicBezTo>
                    <a:pt x="24" y="33"/>
                    <a:pt x="33" y="23"/>
                    <a:pt x="44" y="23"/>
                  </a:cubicBezTo>
                  <a:lnTo>
                    <a:pt x="131" y="23"/>
                  </a:lnTo>
                  <a:cubicBezTo>
                    <a:pt x="138" y="23"/>
                    <a:pt x="143" y="18"/>
                    <a:pt x="143" y="12"/>
                  </a:cubicBezTo>
                  <a:cubicBezTo>
                    <a:pt x="143" y="5"/>
                    <a:pt x="138" y="0"/>
                    <a:pt x="131" y="0"/>
                  </a:cubicBezTo>
                  <a:lnTo>
                    <a:pt x="44" y="0"/>
                  </a:lnTo>
                  <a:cubicBezTo>
                    <a:pt x="20" y="0"/>
                    <a:pt x="0" y="20"/>
                    <a:pt x="0" y="44"/>
                  </a:cubicBezTo>
                  <a:lnTo>
                    <a:pt x="0" y="195"/>
                  </a:lnTo>
                  <a:cubicBezTo>
                    <a:pt x="0" y="207"/>
                    <a:pt x="5" y="218"/>
                    <a:pt x="14" y="227"/>
                  </a:cubicBezTo>
                  <a:lnTo>
                    <a:pt x="20" y="233"/>
                  </a:lnTo>
                  <a:lnTo>
                    <a:pt x="20" y="558"/>
                  </a:lnTo>
                  <a:cubicBezTo>
                    <a:pt x="20" y="582"/>
                    <a:pt x="40" y="602"/>
                    <a:pt x="64" y="602"/>
                  </a:cubicBezTo>
                  <a:lnTo>
                    <a:pt x="195" y="602"/>
                  </a:lnTo>
                  <a:cubicBezTo>
                    <a:pt x="202" y="602"/>
                    <a:pt x="207" y="597"/>
                    <a:pt x="207" y="590"/>
                  </a:cubicBezTo>
                  <a:cubicBezTo>
                    <a:pt x="207" y="584"/>
                    <a:pt x="202" y="578"/>
                    <a:pt x="195" y="578"/>
                  </a:cubicBezTo>
                  <a:lnTo>
                    <a:pt x="64" y="578"/>
                  </a:lnTo>
                  <a:cubicBezTo>
                    <a:pt x="53" y="578"/>
                    <a:pt x="44" y="569"/>
                    <a:pt x="44" y="558"/>
                  </a:cubicBezTo>
                  <a:lnTo>
                    <a:pt x="44" y="256"/>
                  </a:lnTo>
                  <a:lnTo>
                    <a:pt x="82" y="293"/>
                  </a:lnTo>
                  <a:cubicBezTo>
                    <a:pt x="90" y="301"/>
                    <a:pt x="101" y="305"/>
                    <a:pt x="113" y="305"/>
                  </a:cubicBezTo>
                  <a:lnTo>
                    <a:pt x="166" y="305"/>
                  </a:lnTo>
                  <a:lnTo>
                    <a:pt x="166" y="346"/>
                  </a:lnTo>
                  <a:cubicBezTo>
                    <a:pt x="166" y="375"/>
                    <a:pt x="190" y="398"/>
                    <a:pt x="219" y="398"/>
                  </a:cubicBezTo>
                  <a:close/>
                  <a:moveTo>
                    <a:pt x="247" y="346"/>
                  </a:moveTo>
                  <a:cubicBezTo>
                    <a:pt x="247" y="362"/>
                    <a:pt x="234" y="375"/>
                    <a:pt x="219" y="375"/>
                  </a:cubicBezTo>
                  <a:cubicBezTo>
                    <a:pt x="203" y="375"/>
                    <a:pt x="190" y="362"/>
                    <a:pt x="190" y="346"/>
                  </a:cubicBezTo>
                  <a:lnTo>
                    <a:pt x="190" y="305"/>
                  </a:lnTo>
                  <a:lnTo>
                    <a:pt x="247" y="305"/>
                  </a:lnTo>
                  <a:lnTo>
                    <a:pt x="247" y="346"/>
                  </a:ln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7" name="Freeform 20">
              <a:extLst>
                <a:ext uri="{FF2B5EF4-FFF2-40B4-BE49-F238E27FC236}">
                  <a16:creationId xmlns:a16="http://schemas.microsoft.com/office/drawing/2014/main" id="{0605817D-1FB2-1F02-9D6C-06721A738B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1325" y="4478338"/>
              <a:ext cx="141288" cy="217487"/>
            </a:xfrm>
            <a:custGeom>
              <a:avLst/>
              <a:gdLst>
                <a:gd name="T0" fmla="*/ 219 w 388"/>
                <a:gd name="T1" fmla="*/ 398 h 602"/>
                <a:gd name="T2" fmla="*/ 271 w 388"/>
                <a:gd name="T3" fmla="*/ 346 h 602"/>
                <a:gd name="T4" fmla="*/ 271 w 388"/>
                <a:gd name="T5" fmla="*/ 305 h 602"/>
                <a:gd name="T6" fmla="*/ 377 w 388"/>
                <a:gd name="T7" fmla="*/ 305 h 602"/>
                <a:gd name="T8" fmla="*/ 388 w 388"/>
                <a:gd name="T9" fmla="*/ 294 h 602"/>
                <a:gd name="T10" fmla="*/ 377 w 388"/>
                <a:gd name="T11" fmla="*/ 282 h 602"/>
                <a:gd name="T12" fmla="*/ 113 w 388"/>
                <a:gd name="T13" fmla="*/ 282 h 602"/>
                <a:gd name="T14" fmla="*/ 98 w 388"/>
                <a:gd name="T15" fmla="*/ 276 h 602"/>
                <a:gd name="T16" fmla="*/ 30 w 388"/>
                <a:gd name="T17" fmla="*/ 210 h 602"/>
                <a:gd name="T18" fmla="*/ 24 w 388"/>
                <a:gd name="T19" fmla="*/ 195 h 602"/>
                <a:gd name="T20" fmla="*/ 24 w 388"/>
                <a:gd name="T21" fmla="*/ 44 h 602"/>
                <a:gd name="T22" fmla="*/ 44 w 388"/>
                <a:gd name="T23" fmla="*/ 23 h 602"/>
                <a:gd name="T24" fmla="*/ 131 w 388"/>
                <a:gd name="T25" fmla="*/ 23 h 602"/>
                <a:gd name="T26" fmla="*/ 143 w 388"/>
                <a:gd name="T27" fmla="*/ 12 h 602"/>
                <a:gd name="T28" fmla="*/ 131 w 388"/>
                <a:gd name="T29" fmla="*/ 0 h 602"/>
                <a:gd name="T30" fmla="*/ 44 w 388"/>
                <a:gd name="T31" fmla="*/ 0 h 602"/>
                <a:gd name="T32" fmla="*/ 0 w 388"/>
                <a:gd name="T33" fmla="*/ 44 h 602"/>
                <a:gd name="T34" fmla="*/ 0 w 388"/>
                <a:gd name="T35" fmla="*/ 195 h 602"/>
                <a:gd name="T36" fmla="*/ 14 w 388"/>
                <a:gd name="T37" fmla="*/ 227 h 602"/>
                <a:gd name="T38" fmla="*/ 20 w 388"/>
                <a:gd name="T39" fmla="*/ 233 h 602"/>
                <a:gd name="T40" fmla="*/ 20 w 388"/>
                <a:gd name="T41" fmla="*/ 558 h 602"/>
                <a:gd name="T42" fmla="*/ 64 w 388"/>
                <a:gd name="T43" fmla="*/ 602 h 602"/>
                <a:gd name="T44" fmla="*/ 195 w 388"/>
                <a:gd name="T45" fmla="*/ 602 h 602"/>
                <a:gd name="T46" fmla="*/ 207 w 388"/>
                <a:gd name="T47" fmla="*/ 590 h 602"/>
                <a:gd name="T48" fmla="*/ 195 w 388"/>
                <a:gd name="T49" fmla="*/ 578 h 602"/>
                <a:gd name="T50" fmla="*/ 64 w 388"/>
                <a:gd name="T51" fmla="*/ 578 h 602"/>
                <a:gd name="T52" fmla="*/ 44 w 388"/>
                <a:gd name="T53" fmla="*/ 558 h 602"/>
                <a:gd name="T54" fmla="*/ 44 w 388"/>
                <a:gd name="T55" fmla="*/ 256 h 602"/>
                <a:gd name="T56" fmla="*/ 82 w 388"/>
                <a:gd name="T57" fmla="*/ 293 h 602"/>
                <a:gd name="T58" fmla="*/ 113 w 388"/>
                <a:gd name="T59" fmla="*/ 305 h 602"/>
                <a:gd name="T60" fmla="*/ 166 w 388"/>
                <a:gd name="T61" fmla="*/ 305 h 602"/>
                <a:gd name="T62" fmla="*/ 166 w 388"/>
                <a:gd name="T63" fmla="*/ 346 h 602"/>
                <a:gd name="T64" fmla="*/ 219 w 388"/>
                <a:gd name="T65" fmla="*/ 398 h 602"/>
                <a:gd name="T66" fmla="*/ 247 w 388"/>
                <a:gd name="T67" fmla="*/ 346 h 602"/>
                <a:gd name="T68" fmla="*/ 219 w 388"/>
                <a:gd name="T69" fmla="*/ 375 h 602"/>
                <a:gd name="T70" fmla="*/ 190 w 388"/>
                <a:gd name="T71" fmla="*/ 346 h 602"/>
                <a:gd name="T72" fmla="*/ 190 w 388"/>
                <a:gd name="T73" fmla="*/ 305 h 602"/>
                <a:gd name="T74" fmla="*/ 247 w 388"/>
                <a:gd name="T75" fmla="*/ 305 h 602"/>
                <a:gd name="T76" fmla="*/ 247 w 388"/>
                <a:gd name="T77" fmla="*/ 346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8" h="602">
                  <a:moveTo>
                    <a:pt x="219" y="398"/>
                  </a:moveTo>
                  <a:cubicBezTo>
                    <a:pt x="247" y="398"/>
                    <a:pt x="271" y="375"/>
                    <a:pt x="271" y="346"/>
                  </a:cubicBezTo>
                  <a:lnTo>
                    <a:pt x="271" y="305"/>
                  </a:lnTo>
                  <a:lnTo>
                    <a:pt x="377" y="305"/>
                  </a:lnTo>
                  <a:cubicBezTo>
                    <a:pt x="383" y="305"/>
                    <a:pt x="388" y="300"/>
                    <a:pt x="388" y="294"/>
                  </a:cubicBezTo>
                  <a:cubicBezTo>
                    <a:pt x="388" y="287"/>
                    <a:pt x="383" y="282"/>
                    <a:pt x="377" y="282"/>
                  </a:cubicBezTo>
                  <a:lnTo>
                    <a:pt x="113" y="282"/>
                  </a:lnTo>
                  <a:cubicBezTo>
                    <a:pt x="107" y="282"/>
                    <a:pt x="102" y="280"/>
                    <a:pt x="98" y="276"/>
                  </a:cubicBezTo>
                  <a:lnTo>
                    <a:pt x="30" y="210"/>
                  </a:lnTo>
                  <a:cubicBezTo>
                    <a:pt x="26" y="206"/>
                    <a:pt x="24" y="200"/>
                    <a:pt x="24" y="195"/>
                  </a:cubicBezTo>
                  <a:lnTo>
                    <a:pt x="24" y="44"/>
                  </a:lnTo>
                  <a:cubicBezTo>
                    <a:pt x="24" y="33"/>
                    <a:pt x="33" y="23"/>
                    <a:pt x="44" y="23"/>
                  </a:cubicBezTo>
                  <a:lnTo>
                    <a:pt x="131" y="23"/>
                  </a:lnTo>
                  <a:cubicBezTo>
                    <a:pt x="138" y="23"/>
                    <a:pt x="143" y="18"/>
                    <a:pt x="143" y="12"/>
                  </a:cubicBezTo>
                  <a:cubicBezTo>
                    <a:pt x="143" y="5"/>
                    <a:pt x="138" y="0"/>
                    <a:pt x="131" y="0"/>
                  </a:cubicBezTo>
                  <a:lnTo>
                    <a:pt x="44" y="0"/>
                  </a:lnTo>
                  <a:cubicBezTo>
                    <a:pt x="20" y="0"/>
                    <a:pt x="0" y="20"/>
                    <a:pt x="0" y="44"/>
                  </a:cubicBezTo>
                  <a:lnTo>
                    <a:pt x="0" y="195"/>
                  </a:lnTo>
                  <a:cubicBezTo>
                    <a:pt x="0" y="207"/>
                    <a:pt x="5" y="218"/>
                    <a:pt x="14" y="227"/>
                  </a:cubicBezTo>
                  <a:lnTo>
                    <a:pt x="20" y="233"/>
                  </a:lnTo>
                  <a:lnTo>
                    <a:pt x="20" y="558"/>
                  </a:lnTo>
                  <a:cubicBezTo>
                    <a:pt x="20" y="582"/>
                    <a:pt x="40" y="602"/>
                    <a:pt x="64" y="602"/>
                  </a:cubicBezTo>
                  <a:lnTo>
                    <a:pt x="195" y="602"/>
                  </a:lnTo>
                  <a:cubicBezTo>
                    <a:pt x="202" y="602"/>
                    <a:pt x="207" y="597"/>
                    <a:pt x="207" y="590"/>
                  </a:cubicBezTo>
                  <a:cubicBezTo>
                    <a:pt x="207" y="584"/>
                    <a:pt x="202" y="578"/>
                    <a:pt x="195" y="578"/>
                  </a:cubicBezTo>
                  <a:lnTo>
                    <a:pt x="64" y="578"/>
                  </a:lnTo>
                  <a:cubicBezTo>
                    <a:pt x="53" y="578"/>
                    <a:pt x="44" y="569"/>
                    <a:pt x="44" y="558"/>
                  </a:cubicBezTo>
                  <a:lnTo>
                    <a:pt x="44" y="256"/>
                  </a:lnTo>
                  <a:lnTo>
                    <a:pt x="82" y="293"/>
                  </a:lnTo>
                  <a:cubicBezTo>
                    <a:pt x="90" y="301"/>
                    <a:pt x="101" y="305"/>
                    <a:pt x="113" y="305"/>
                  </a:cubicBezTo>
                  <a:lnTo>
                    <a:pt x="166" y="305"/>
                  </a:lnTo>
                  <a:lnTo>
                    <a:pt x="166" y="346"/>
                  </a:lnTo>
                  <a:cubicBezTo>
                    <a:pt x="166" y="375"/>
                    <a:pt x="190" y="398"/>
                    <a:pt x="219" y="398"/>
                  </a:cubicBezTo>
                  <a:close/>
                  <a:moveTo>
                    <a:pt x="247" y="346"/>
                  </a:moveTo>
                  <a:cubicBezTo>
                    <a:pt x="247" y="362"/>
                    <a:pt x="234" y="375"/>
                    <a:pt x="219" y="375"/>
                  </a:cubicBezTo>
                  <a:cubicBezTo>
                    <a:pt x="203" y="375"/>
                    <a:pt x="190" y="362"/>
                    <a:pt x="190" y="346"/>
                  </a:cubicBezTo>
                  <a:lnTo>
                    <a:pt x="190" y="305"/>
                  </a:lnTo>
                  <a:lnTo>
                    <a:pt x="247" y="305"/>
                  </a:lnTo>
                  <a:lnTo>
                    <a:pt x="247" y="346"/>
                  </a:lnTo>
                  <a:close/>
                </a:path>
              </a:pathLst>
            </a:custGeom>
            <a:noFill/>
            <a:ln w="3175" cap="flat">
              <a:solidFill>
                <a:srgbClr val="C953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DEE90F83-03F6-078E-06C9-C651F9FACA36}"/>
              </a:ext>
            </a:extLst>
          </p:cNvPr>
          <p:cNvGrpSpPr/>
          <p:nvPr userDrawn="1"/>
        </p:nvGrpSpPr>
        <p:grpSpPr>
          <a:xfrm>
            <a:off x="7616825" y="4430713"/>
            <a:ext cx="290513" cy="255587"/>
            <a:chOff x="7616825" y="4430713"/>
            <a:chExt cx="290513" cy="255587"/>
          </a:xfrm>
        </p:grpSpPr>
        <p:sp>
          <p:nvSpPr>
            <p:cNvPr id="110" name="Freeform 23">
              <a:extLst>
                <a:ext uri="{FF2B5EF4-FFF2-40B4-BE49-F238E27FC236}">
                  <a16:creationId xmlns:a16="http://schemas.microsoft.com/office/drawing/2014/main" id="{4C3B051B-6053-FE82-D8E2-EC38DD75A88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5575" y="4619625"/>
              <a:ext cx="23813" cy="7937"/>
            </a:xfrm>
            <a:custGeom>
              <a:avLst/>
              <a:gdLst>
                <a:gd name="T0" fmla="*/ 56 w 68"/>
                <a:gd name="T1" fmla="*/ 0 h 24"/>
                <a:gd name="T2" fmla="*/ 12 w 68"/>
                <a:gd name="T3" fmla="*/ 0 h 24"/>
                <a:gd name="T4" fmla="*/ 0 w 68"/>
                <a:gd name="T5" fmla="*/ 12 h 24"/>
                <a:gd name="T6" fmla="*/ 12 w 68"/>
                <a:gd name="T7" fmla="*/ 24 h 24"/>
                <a:gd name="T8" fmla="*/ 56 w 68"/>
                <a:gd name="T9" fmla="*/ 24 h 24"/>
                <a:gd name="T10" fmla="*/ 68 w 68"/>
                <a:gd name="T11" fmla="*/ 12 h 24"/>
                <a:gd name="T12" fmla="*/ 56 w 68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24">
                  <a:moveTo>
                    <a:pt x="56" y="0"/>
                  </a:moveTo>
                  <a:lnTo>
                    <a:pt x="12" y="0"/>
                  </a:lnTo>
                  <a:cubicBezTo>
                    <a:pt x="6" y="0"/>
                    <a:pt x="0" y="5"/>
                    <a:pt x="0" y="12"/>
                  </a:cubicBezTo>
                  <a:cubicBezTo>
                    <a:pt x="0" y="18"/>
                    <a:pt x="6" y="24"/>
                    <a:pt x="12" y="24"/>
                  </a:cubicBezTo>
                  <a:lnTo>
                    <a:pt x="56" y="24"/>
                  </a:lnTo>
                  <a:cubicBezTo>
                    <a:pt x="62" y="24"/>
                    <a:pt x="68" y="18"/>
                    <a:pt x="68" y="12"/>
                  </a:cubicBezTo>
                  <a:cubicBezTo>
                    <a:pt x="68" y="5"/>
                    <a:pt x="62" y="0"/>
                    <a:pt x="56" y="0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6" name="Freeform 24">
              <a:extLst>
                <a:ext uri="{FF2B5EF4-FFF2-40B4-BE49-F238E27FC236}">
                  <a16:creationId xmlns:a16="http://schemas.microsoft.com/office/drawing/2014/main" id="{6AFB7529-E1C7-4E72-F6DF-ECEADAA6C1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42238" y="4430713"/>
              <a:ext cx="165100" cy="255587"/>
            </a:xfrm>
            <a:custGeom>
              <a:avLst/>
              <a:gdLst>
                <a:gd name="T0" fmla="*/ 311 w 458"/>
                <a:gd name="T1" fmla="*/ 335 h 702"/>
                <a:gd name="T2" fmla="*/ 334 w 458"/>
                <a:gd name="T3" fmla="*/ 245 h 702"/>
                <a:gd name="T4" fmla="*/ 369 w 458"/>
                <a:gd name="T5" fmla="*/ 201 h 702"/>
                <a:gd name="T6" fmla="*/ 214 w 458"/>
                <a:gd name="T7" fmla="*/ 2 h 702"/>
                <a:gd name="T8" fmla="*/ 71 w 458"/>
                <a:gd name="T9" fmla="*/ 102 h 702"/>
                <a:gd name="T10" fmla="*/ 60 w 458"/>
                <a:gd name="T11" fmla="*/ 210 h 702"/>
                <a:gd name="T12" fmla="*/ 126 w 458"/>
                <a:gd name="T13" fmla="*/ 305 h 702"/>
                <a:gd name="T14" fmla="*/ 86 w 458"/>
                <a:gd name="T15" fmla="*/ 367 h 702"/>
                <a:gd name="T16" fmla="*/ 4 w 458"/>
                <a:gd name="T17" fmla="*/ 416 h 702"/>
                <a:gd name="T18" fmla="*/ 31 w 458"/>
                <a:gd name="T19" fmla="*/ 414 h 702"/>
                <a:gd name="T20" fmla="*/ 160 w 458"/>
                <a:gd name="T21" fmla="*/ 473 h 702"/>
                <a:gd name="T22" fmla="*/ 170 w 458"/>
                <a:gd name="T23" fmla="*/ 690 h 702"/>
                <a:gd name="T24" fmla="*/ 193 w 458"/>
                <a:gd name="T25" fmla="*/ 691 h 702"/>
                <a:gd name="T26" fmla="*/ 236 w 458"/>
                <a:gd name="T27" fmla="*/ 691 h 702"/>
                <a:gd name="T28" fmla="*/ 259 w 458"/>
                <a:gd name="T29" fmla="*/ 690 h 702"/>
                <a:gd name="T30" fmla="*/ 269 w 458"/>
                <a:gd name="T31" fmla="*/ 473 h 702"/>
                <a:gd name="T32" fmla="*/ 399 w 458"/>
                <a:gd name="T33" fmla="*/ 414 h 702"/>
                <a:gd name="T34" fmla="*/ 356 w 458"/>
                <a:gd name="T35" fmla="*/ 524 h 702"/>
                <a:gd name="T36" fmla="*/ 380 w 458"/>
                <a:gd name="T37" fmla="*/ 690 h 702"/>
                <a:gd name="T38" fmla="*/ 431 w 458"/>
                <a:gd name="T39" fmla="*/ 450 h 702"/>
                <a:gd name="T40" fmla="*/ 435 w 458"/>
                <a:gd name="T41" fmla="*/ 702 h 702"/>
                <a:gd name="T42" fmla="*/ 457 w 458"/>
                <a:gd name="T43" fmla="*/ 467 h 702"/>
                <a:gd name="T44" fmla="*/ 95 w 458"/>
                <a:gd name="T45" fmla="*/ 221 h 702"/>
                <a:gd name="T46" fmla="*/ 84 w 458"/>
                <a:gd name="T47" fmla="*/ 201 h 702"/>
                <a:gd name="T48" fmla="*/ 110 w 458"/>
                <a:gd name="T49" fmla="*/ 200 h 702"/>
                <a:gd name="T50" fmla="*/ 141 w 458"/>
                <a:gd name="T51" fmla="*/ 162 h 702"/>
                <a:gd name="T52" fmla="*/ 103 w 458"/>
                <a:gd name="T53" fmla="*/ 168 h 702"/>
                <a:gd name="T54" fmla="*/ 129 w 458"/>
                <a:gd name="T55" fmla="*/ 59 h 702"/>
                <a:gd name="T56" fmla="*/ 316 w 458"/>
                <a:gd name="T57" fmla="*/ 59 h 702"/>
                <a:gd name="T58" fmla="*/ 315 w 458"/>
                <a:gd name="T59" fmla="*/ 141 h 702"/>
                <a:gd name="T60" fmla="*/ 131 w 458"/>
                <a:gd name="T61" fmla="*/ 104 h 702"/>
                <a:gd name="T62" fmla="*/ 306 w 458"/>
                <a:gd name="T63" fmla="*/ 180 h 702"/>
                <a:gd name="T64" fmla="*/ 345 w 458"/>
                <a:gd name="T65" fmla="*/ 201 h 702"/>
                <a:gd name="T66" fmla="*/ 335 w 458"/>
                <a:gd name="T67" fmla="*/ 221 h 702"/>
                <a:gd name="T68" fmla="*/ 118 w 458"/>
                <a:gd name="T69" fmla="*/ 240 h 702"/>
                <a:gd name="T70" fmla="*/ 155 w 458"/>
                <a:gd name="T71" fmla="*/ 446 h 702"/>
                <a:gd name="T72" fmla="*/ 198 w 458"/>
                <a:gd name="T73" fmla="*/ 420 h 702"/>
                <a:gd name="T74" fmla="*/ 204 w 458"/>
                <a:gd name="T75" fmla="*/ 447 h 702"/>
                <a:gd name="T76" fmla="*/ 226 w 458"/>
                <a:gd name="T77" fmla="*/ 463 h 702"/>
                <a:gd name="T78" fmla="*/ 150 w 458"/>
                <a:gd name="T79" fmla="*/ 347 h 702"/>
                <a:gd name="T80" fmla="*/ 280 w 458"/>
                <a:gd name="T81" fmla="*/ 325 h 702"/>
                <a:gd name="T82" fmla="*/ 275 w 458"/>
                <a:gd name="T83" fmla="*/ 446 h 702"/>
                <a:gd name="T84" fmla="*/ 232 w 458"/>
                <a:gd name="T85" fmla="*/ 420 h 702"/>
                <a:gd name="T86" fmla="*/ 275 w 458"/>
                <a:gd name="T87" fmla="*/ 446 h 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58" h="702">
                  <a:moveTo>
                    <a:pt x="407" y="392"/>
                  </a:moveTo>
                  <a:lnTo>
                    <a:pt x="343" y="367"/>
                  </a:lnTo>
                  <a:lnTo>
                    <a:pt x="311" y="335"/>
                  </a:lnTo>
                  <a:cubicBezTo>
                    <a:pt x="309" y="332"/>
                    <a:pt x="306" y="331"/>
                    <a:pt x="303" y="331"/>
                  </a:cubicBezTo>
                  <a:lnTo>
                    <a:pt x="303" y="305"/>
                  </a:lnTo>
                  <a:cubicBezTo>
                    <a:pt x="318" y="289"/>
                    <a:pt x="329" y="268"/>
                    <a:pt x="334" y="245"/>
                  </a:cubicBezTo>
                  <a:cubicBezTo>
                    <a:pt x="337" y="245"/>
                    <a:pt x="339" y="245"/>
                    <a:pt x="342" y="244"/>
                  </a:cubicBezTo>
                  <a:cubicBezTo>
                    <a:pt x="358" y="241"/>
                    <a:pt x="369" y="227"/>
                    <a:pt x="369" y="210"/>
                  </a:cubicBezTo>
                  <a:lnTo>
                    <a:pt x="369" y="201"/>
                  </a:lnTo>
                  <a:cubicBezTo>
                    <a:pt x="369" y="192"/>
                    <a:pt x="365" y="183"/>
                    <a:pt x="359" y="176"/>
                  </a:cubicBezTo>
                  <a:cubicBezTo>
                    <a:pt x="369" y="120"/>
                    <a:pt x="360" y="74"/>
                    <a:pt x="334" y="44"/>
                  </a:cubicBezTo>
                  <a:cubicBezTo>
                    <a:pt x="308" y="14"/>
                    <a:pt x="267" y="0"/>
                    <a:pt x="214" y="2"/>
                  </a:cubicBezTo>
                  <a:cubicBezTo>
                    <a:pt x="165" y="5"/>
                    <a:pt x="134" y="27"/>
                    <a:pt x="124" y="36"/>
                  </a:cubicBezTo>
                  <a:cubicBezTo>
                    <a:pt x="119" y="36"/>
                    <a:pt x="109" y="38"/>
                    <a:pt x="100" y="44"/>
                  </a:cubicBezTo>
                  <a:cubicBezTo>
                    <a:pt x="87" y="52"/>
                    <a:pt x="71" y="68"/>
                    <a:pt x="71" y="102"/>
                  </a:cubicBezTo>
                  <a:cubicBezTo>
                    <a:pt x="71" y="131"/>
                    <a:pt x="76" y="156"/>
                    <a:pt x="79" y="170"/>
                  </a:cubicBezTo>
                  <a:cubicBezTo>
                    <a:pt x="68" y="176"/>
                    <a:pt x="60" y="188"/>
                    <a:pt x="60" y="201"/>
                  </a:cubicBezTo>
                  <a:lnTo>
                    <a:pt x="60" y="210"/>
                  </a:lnTo>
                  <a:cubicBezTo>
                    <a:pt x="60" y="227"/>
                    <a:pt x="72" y="241"/>
                    <a:pt x="87" y="244"/>
                  </a:cubicBezTo>
                  <a:cubicBezTo>
                    <a:pt x="90" y="245"/>
                    <a:pt x="93" y="245"/>
                    <a:pt x="96" y="245"/>
                  </a:cubicBezTo>
                  <a:cubicBezTo>
                    <a:pt x="100" y="268"/>
                    <a:pt x="111" y="289"/>
                    <a:pt x="126" y="305"/>
                  </a:cubicBezTo>
                  <a:lnTo>
                    <a:pt x="126" y="331"/>
                  </a:lnTo>
                  <a:cubicBezTo>
                    <a:pt x="123" y="331"/>
                    <a:pt x="121" y="332"/>
                    <a:pt x="119" y="335"/>
                  </a:cubicBezTo>
                  <a:lnTo>
                    <a:pt x="86" y="367"/>
                  </a:lnTo>
                  <a:lnTo>
                    <a:pt x="22" y="392"/>
                  </a:lnTo>
                  <a:cubicBezTo>
                    <a:pt x="17" y="394"/>
                    <a:pt x="11" y="397"/>
                    <a:pt x="7" y="400"/>
                  </a:cubicBezTo>
                  <a:cubicBezTo>
                    <a:pt x="1" y="404"/>
                    <a:pt x="0" y="411"/>
                    <a:pt x="4" y="416"/>
                  </a:cubicBezTo>
                  <a:cubicBezTo>
                    <a:pt x="6" y="420"/>
                    <a:pt x="9" y="421"/>
                    <a:pt x="13" y="421"/>
                  </a:cubicBezTo>
                  <a:cubicBezTo>
                    <a:pt x="15" y="421"/>
                    <a:pt x="18" y="421"/>
                    <a:pt x="20" y="419"/>
                  </a:cubicBezTo>
                  <a:cubicBezTo>
                    <a:pt x="23" y="417"/>
                    <a:pt x="27" y="415"/>
                    <a:pt x="31" y="414"/>
                  </a:cubicBezTo>
                  <a:lnTo>
                    <a:pt x="90" y="391"/>
                  </a:lnTo>
                  <a:lnTo>
                    <a:pt x="135" y="459"/>
                  </a:lnTo>
                  <a:cubicBezTo>
                    <a:pt x="141" y="467"/>
                    <a:pt x="150" y="472"/>
                    <a:pt x="160" y="473"/>
                  </a:cubicBezTo>
                  <a:cubicBezTo>
                    <a:pt x="161" y="474"/>
                    <a:pt x="162" y="474"/>
                    <a:pt x="163" y="474"/>
                  </a:cubicBezTo>
                  <a:cubicBezTo>
                    <a:pt x="169" y="474"/>
                    <a:pt x="175" y="472"/>
                    <a:pt x="180" y="469"/>
                  </a:cubicBezTo>
                  <a:lnTo>
                    <a:pt x="170" y="690"/>
                  </a:lnTo>
                  <a:cubicBezTo>
                    <a:pt x="170" y="696"/>
                    <a:pt x="175" y="702"/>
                    <a:pt x="181" y="702"/>
                  </a:cubicBezTo>
                  <a:cubicBezTo>
                    <a:pt x="181" y="702"/>
                    <a:pt x="182" y="702"/>
                    <a:pt x="182" y="702"/>
                  </a:cubicBezTo>
                  <a:cubicBezTo>
                    <a:pt x="188" y="702"/>
                    <a:pt x="193" y="697"/>
                    <a:pt x="193" y="691"/>
                  </a:cubicBezTo>
                  <a:lnTo>
                    <a:pt x="202" y="486"/>
                  </a:lnTo>
                  <a:lnTo>
                    <a:pt x="227" y="486"/>
                  </a:lnTo>
                  <a:lnTo>
                    <a:pt x="236" y="691"/>
                  </a:lnTo>
                  <a:cubicBezTo>
                    <a:pt x="236" y="697"/>
                    <a:pt x="241" y="702"/>
                    <a:pt x="248" y="702"/>
                  </a:cubicBezTo>
                  <a:cubicBezTo>
                    <a:pt x="248" y="702"/>
                    <a:pt x="248" y="702"/>
                    <a:pt x="248" y="702"/>
                  </a:cubicBezTo>
                  <a:cubicBezTo>
                    <a:pt x="255" y="702"/>
                    <a:pt x="260" y="696"/>
                    <a:pt x="259" y="690"/>
                  </a:cubicBezTo>
                  <a:lnTo>
                    <a:pt x="250" y="469"/>
                  </a:lnTo>
                  <a:cubicBezTo>
                    <a:pt x="255" y="472"/>
                    <a:pt x="260" y="474"/>
                    <a:pt x="266" y="474"/>
                  </a:cubicBezTo>
                  <a:cubicBezTo>
                    <a:pt x="267" y="474"/>
                    <a:pt x="268" y="474"/>
                    <a:pt x="269" y="473"/>
                  </a:cubicBezTo>
                  <a:cubicBezTo>
                    <a:pt x="279" y="472"/>
                    <a:pt x="288" y="467"/>
                    <a:pt x="294" y="459"/>
                  </a:cubicBezTo>
                  <a:lnTo>
                    <a:pt x="339" y="391"/>
                  </a:lnTo>
                  <a:lnTo>
                    <a:pt x="399" y="414"/>
                  </a:lnTo>
                  <a:cubicBezTo>
                    <a:pt x="407" y="417"/>
                    <a:pt x="414" y="422"/>
                    <a:pt x="420" y="428"/>
                  </a:cubicBezTo>
                  <a:lnTo>
                    <a:pt x="379" y="469"/>
                  </a:lnTo>
                  <a:cubicBezTo>
                    <a:pt x="364" y="483"/>
                    <a:pt x="356" y="503"/>
                    <a:pt x="356" y="524"/>
                  </a:cubicBezTo>
                  <a:lnTo>
                    <a:pt x="356" y="690"/>
                  </a:lnTo>
                  <a:cubicBezTo>
                    <a:pt x="356" y="697"/>
                    <a:pt x="362" y="702"/>
                    <a:pt x="368" y="702"/>
                  </a:cubicBezTo>
                  <a:cubicBezTo>
                    <a:pt x="375" y="702"/>
                    <a:pt x="380" y="697"/>
                    <a:pt x="380" y="690"/>
                  </a:cubicBezTo>
                  <a:lnTo>
                    <a:pt x="380" y="524"/>
                  </a:lnTo>
                  <a:cubicBezTo>
                    <a:pt x="380" y="509"/>
                    <a:pt x="385" y="496"/>
                    <a:pt x="396" y="485"/>
                  </a:cubicBezTo>
                  <a:lnTo>
                    <a:pt x="431" y="450"/>
                  </a:lnTo>
                  <a:cubicBezTo>
                    <a:pt x="433" y="455"/>
                    <a:pt x="433" y="461"/>
                    <a:pt x="433" y="466"/>
                  </a:cubicBezTo>
                  <a:lnTo>
                    <a:pt x="424" y="690"/>
                  </a:lnTo>
                  <a:cubicBezTo>
                    <a:pt x="424" y="696"/>
                    <a:pt x="429" y="702"/>
                    <a:pt x="435" y="702"/>
                  </a:cubicBezTo>
                  <a:cubicBezTo>
                    <a:pt x="435" y="702"/>
                    <a:pt x="436" y="702"/>
                    <a:pt x="436" y="702"/>
                  </a:cubicBezTo>
                  <a:cubicBezTo>
                    <a:pt x="442" y="702"/>
                    <a:pt x="447" y="697"/>
                    <a:pt x="447" y="691"/>
                  </a:cubicBezTo>
                  <a:lnTo>
                    <a:pt x="457" y="467"/>
                  </a:lnTo>
                  <a:cubicBezTo>
                    <a:pt x="458" y="434"/>
                    <a:pt x="438" y="404"/>
                    <a:pt x="407" y="392"/>
                  </a:cubicBezTo>
                  <a:close/>
                  <a:moveTo>
                    <a:pt x="118" y="240"/>
                  </a:moveTo>
                  <a:cubicBezTo>
                    <a:pt x="116" y="229"/>
                    <a:pt x="106" y="221"/>
                    <a:pt x="95" y="221"/>
                  </a:cubicBezTo>
                  <a:cubicBezTo>
                    <a:pt x="94" y="222"/>
                    <a:pt x="93" y="221"/>
                    <a:pt x="92" y="221"/>
                  </a:cubicBezTo>
                  <a:cubicBezTo>
                    <a:pt x="87" y="220"/>
                    <a:pt x="84" y="215"/>
                    <a:pt x="84" y="210"/>
                  </a:cubicBezTo>
                  <a:lnTo>
                    <a:pt x="84" y="201"/>
                  </a:lnTo>
                  <a:cubicBezTo>
                    <a:pt x="84" y="196"/>
                    <a:pt x="87" y="191"/>
                    <a:pt x="92" y="190"/>
                  </a:cubicBezTo>
                  <a:cubicBezTo>
                    <a:pt x="96" y="190"/>
                    <a:pt x="100" y="191"/>
                    <a:pt x="102" y="194"/>
                  </a:cubicBezTo>
                  <a:cubicBezTo>
                    <a:pt x="104" y="197"/>
                    <a:pt x="107" y="199"/>
                    <a:pt x="110" y="200"/>
                  </a:cubicBezTo>
                  <a:cubicBezTo>
                    <a:pt x="115" y="201"/>
                    <a:pt x="121" y="200"/>
                    <a:pt x="125" y="198"/>
                  </a:cubicBezTo>
                  <a:cubicBezTo>
                    <a:pt x="132" y="192"/>
                    <a:pt x="138" y="186"/>
                    <a:pt x="144" y="179"/>
                  </a:cubicBezTo>
                  <a:cubicBezTo>
                    <a:pt x="148" y="174"/>
                    <a:pt x="147" y="166"/>
                    <a:pt x="141" y="162"/>
                  </a:cubicBezTo>
                  <a:cubicBezTo>
                    <a:pt x="136" y="159"/>
                    <a:pt x="129" y="160"/>
                    <a:pt x="125" y="165"/>
                  </a:cubicBezTo>
                  <a:cubicBezTo>
                    <a:pt x="122" y="169"/>
                    <a:pt x="119" y="172"/>
                    <a:pt x="116" y="175"/>
                  </a:cubicBezTo>
                  <a:cubicBezTo>
                    <a:pt x="112" y="172"/>
                    <a:pt x="108" y="169"/>
                    <a:pt x="103" y="168"/>
                  </a:cubicBezTo>
                  <a:cubicBezTo>
                    <a:pt x="100" y="156"/>
                    <a:pt x="95" y="132"/>
                    <a:pt x="95" y="102"/>
                  </a:cubicBezTo>
                  <a:cubicBezTo>
                    <a:pt x="95" y="84"/>
                    <a:pt x="100" y="71"/>
                    <a:pt x="111" y="64"/>
                  </a:cubicBezTo>
                  <a:cubicBezTo>
                    <a:pt x="120" y="59"/>
                    <a:pt x="129" y="59"/>
                    <a:pt x="129" y="59"/>
                  </a:cubicBezTo>
                  <a:cubicBezTo>
                    <a:pt x="132" y="59"/>
                    <a:pt x="135" y="58"/>
                    <a:pt x="137" y="56"/>
                  </a:cubicBezTo>
                  <a:cubicBezTo>
                    <a:pt x="137" y="55"/>
                    <a:pt x="166" y="29"/>
                    <a:pt x="215" y="26"/>
                  </a:cubicBezTo>
                  <a:cubicBezTo>
                    <a:pt x="260" y="23"/>
                    <a:pt x="295" y="35"/>
                    <a:pt x="316" y="59"/>
                  </a:cubicBezTo>
                  <a:cubicBezTo>
                    <a:pt x="337" y="83"/>
                    <a:pt x="344" y="120"/>
                    <a:pt x="336" y="167"/>
                  </a:cubicBezTo>
                  <a:cubicBezTo>
                    <a:pt x="333" y="167"/>
                    <a:pt x="330" y="167"/>
                    <a:pt x="326" y="167"/>
                  </a:cubicBezTo>
                  <a:lnTo>
                    <a:pt x="315" y="141"/>
                  </a:lnTo>
                  <a:cubicBezTo>
                    <a:pt x="313" y="136"/>
                    <a:pt x="307" y="133"/>
                    <a:pt x="302" y="134"/>
                  </a:cubicBezTo>
                  <a:cubicBezTo>
                    <a:pt x="301" y="134"/>
                    <a:pt x="192" y="162"/>
                    <a:pt x="147" y="105"/>
                  </a:cubicBezTo>
                  <a:cubicBezTo>
                    <a:pt x="143" y="100"/>
                    <a:pt x="136" y="100"/>
                    <a:pt x="131" y="104"/>
                  </a:cubicBezTo>
                  <a:cubicBezTo>
                    <a:pt x="125" y="108"/>
                    <a:pt x="125" y="115"/>
                    <a:pt x="129" y="120"/>
                  </a:cubicBezTo>
                  <a:cubicBezTo>
                    <a:pt x="175" y="178"/>
                    <a:pt x="267" y="165"/>
                    <a:pt x="298" y="159"/>
                  </a:cubicBezTo>
                  <a:lnTo>
                    <a:pt x="306" y="180"/>
                  </a:lnTo>
                  <a:cubicBezTo>
                    <a:pt x="310" y="188"/>
                    <a:pt x="319" y="193"/>
                    <a:pt x="328" y="191"/>
                  </a:cubicBezTo>
                  <a:cubicBezTo>
                    <a:pt x="332" y="190"/>
                    <a:pt x="336" y="190"/>
                    <a:pt x="337" y="190"/>
                  </a:cubicBezTo>
                  <a:cubicBezTo>
                    <a:pt x="342" y="191"/>
                    <a:pt x="345" y="196"/>
                    <a:pt x="345" y="201"/>
                  </a:cubicBezTo>
                  <a:lnTo>
                    <a:pt x="345" y="210"/>
                  </a:lnTo>
                  <a:cubicBezTo>
                    <a:pt x="345" y="215"/>
                    <a:pt x="342" y="220"/>
                    <a:pt x="337" y="221"/>
                  </a:cubicBezTo>
                  <a:cubicBezTo>
                    <a:pt x="336" y="221"/>
                    <a:pt x="335" y="222"/>
                    <a:pt x="335" y="221"/>
                  </a:cubicBezTo>
                  <a:cubicBezTo>
                    <a:pt x="323" y="221"/>
                    <a:pt x="313" y="229"/>
                    <a:pt x="311" y="240"/>
                  </a:cubicBezTo>
                  <a:cubicBezTo>
                    <a:pt x="302" y="286"/>
                    <a:pt x="262" y="320"/>
                    <a:pt x="215" y="320"/>
                  </a:cubicBezTo>
                  <a:cubicBezTo>
                    <a:pt x="167" y="320"/>
                    <a:pt x="127" y="286"/>
                    <a:pt x="118" y="240"/>
                  </a:cubicBezTo>
                  <a:close/>
                  <a:moveTo>
                    <a:pt x="170" y="447"/>
                  </a:moveTo>
                  <a:cubicBezTo>
                    <a:pt x="167" y="450"/>
                    <a:pt x="164" y="450"/>
                    <a:pt x="162" y="450"/>
                  </a:cubicBezTo>
                  <a:cubicBezTo>
                    <a:pt x="160" y="450"/>
                    <a:pt x="157" y="449"/>
                    <a:pt x="155" y="446"/>
                  </a:cubicBezTo>
                  <a:lnTo>
                    <a:pt x="109" y="377"/>
                  </a:lnTo>
                  <a:lnTo>
                    <a:pt x="127" y="359"/>
                  </a:lnTo>
                  <a:lnTo>
                    <a:pt x="198" y="420"/>
                  </a:lnTo>
                  <a:lnTo>
                    <a:pt x="170" y="447"/>
                  </a:lnTo>
                  <a:close/>
                  <a:moveTo>
                    <a:pt x="204" y="463"/>
                  </a:moveTo>
                  <a:lnTo>
                    <a:pt x="204" y="447"/>
                  </a:lnTo>
                  <a:lnTo>
                    <a:pt x="215" y="436"/>
                  </a:lnTo>
                  <a:lnTo>
                    <a:pt x="225" y="447"/>
                  </a:lnTo>
                  <a:lnTo>
                    <a:pt x="226" y="463"/>
                  </a:lnTo>
                  <a:lnTo>
                    <a:pt x="204" y="463"/>
                  </a:lnTo>
                  <a:close/>
                  <a:moveTo>
                    <a:pt x="215" y="404"/>
                  </a:moveTo>
                  <a:lnTo>
                    <a:pt x="150" y="347"/>
                  </a:lnTo>
                  <a:lnTo>
                    <a:pt x="150" y="325"/>
                  </a:lnTo>
                  <a:cubicBezTo>
                    <a:pt x="169" y="337"/>
                    <a:pt x="191" y="344"/>
                    <a:pt x="215" y="344"/>
                  </a:cubicBezTo>
                  <a:cubicBezTo>
                    <a:pt x="238" y="344"/>
                    <a:pt x="261" y="337"/>
                    <a:pt x="280" y="325"/>
                  </a:cubicBezTo>
                  <a:lnTo>
                    <a:pt x="280" y="347"/>
                  </a:lnTo>
                  <a:lnTo>
                    <a:pt x="215" y="404"/>
                  </a:lnTo>
                  <a:close/>
                  <a:moveTo>
                    <a:pt x="275" y="446"/>
                  </a:moveTo>
                  <a:cubicBezTo>
                    <a:pt x="272" y="449"/>
                    <a:pt x="269" y="450"/>
                    <a:pt x="267" y="450"/>
                  </a:cubicBezTo>
                  <a:cubicBezTo>
                    <a:pt x="265" y="450"/>
                    <a:pt x="262" y="450"/>
                    <a:pt x="259" y="447"/>
                  </a:cubicBezTo>
                  <a:lnTo>
                    <a:pt x="232" y="420"/>
                  </a:lnTo>
                  <a:lnTo>
                    <a:pt x="302" y="359"/>
                  </a:lnTo>
                  <a:lnTo>
                    <a:pt x="320" y="377"/>
                  </a:lnTo>
                  <a:lnTo>
                    <a:pt x="275" y="446"/>
                  </a:ln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7" name="Freeform 25">
              <a:extLst>
                <a:ext uri="{FF2B5EF4-FFF2-40B4-BE49-F238E27FC236}">
                  <a16:creationId xmlns:a16="http://schemas.microsoft.com/office/drawing/2014/main" id="{BC59BFC3-7C10-822A-7A74-1CC31407F4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16825" y="4432300"/>
              <a:ext cx="152400" cy="254000"/>
            </a:xfrm>
            <a:custGeom>
              <a:avLst/>
              <a:gdLst>
                <a:gd name="T0" fmla="*/ 285 w 421"/>
                <a:gd name="T1" fmla="*/ 395 h 700"/>
                <a:gd name="T2" fmla="*/ 330 w 421"/>
                <a:gd name="T3" fmla="*/ 294 h 700"/>
                <a:gd name="T4" fmla="*/ 365 w 421"/>
                <a:gd name="T5" fmla="*/ 251 h 700"/>
                <a:gd name="T6" fmla="*/ 288 w 421"/>
                <a:gd name="T7" fmla="*/ 73 h 700"/>
                <a:gd name="T8" fmla="*/ 67 w 421"/>
                <a:gd name="T9" fmla="*/ 189 h 700"/>
                <a:gd name="T10" fmla="*/ 56 w 421"/>
                <a:gd name="T11" fmla="*/ 259 h 700"/>
                <a:gd name="T12" fmla="*/ 144 w 421"/>
                <a:gd name="T13" fmla="*/ 373 h 700"/>
                <a:gd name="T14" fmla="*/ 105 w 421"/>
                <a:gd name="T15" fmla="*/ 426 h 700"/>
                <a:gd name="T16" fmla="*/ 9 w 421"/>
                <a:gd name="T17" fmla="*/ 689 h 700"/>
                <a:gd name="T18" fmla="*/ 32 w 421"/>
                <a:gd name="T19" fmla="*/ 688 h 700"/>
                <a:gd name="T20" fmla="*/ 63 w 421"/>
                <a:gd name="T21" fmla="*/ 532 h 700"/>
                <a:gd name="T22" fmla="*/ 90 w 421"/>
                <a:gd name="T23" fmla="*/ 700 h 700"/>
                <a:gd name="T24" fmla="*/ 81 w 421"/>
                <a:gd name="T25" fmla="*/ 517 h 700"/>
                <a:gd name="T26" fmla="*/ 107 w 421"/>
                <a:gd name="T27" fmla="*/ 451 h 700"/>
                <a:gd name="T28" fmla="*/ 162 w 421"/>
                <a:gd name="T29" fmla="*/ 519 h 700"/>
                <a:gd name="T30" fmla="*/ 199 w 421"/>
                <a:gd name="T31" fmla="*/ 688 h 700"/>
                <a:gd name="T32" fmla="*/ 222 w 421"/>
                <a:gd name="T33" fmla="*/ 494 h 700"/>
                <a:gd name="T34" fmla="*/ 263 w 421"/>
                <a:gd name="T35" fmla="*/ 519 h 700"/>
                <a:gd name="T36" fmla="*/ 364 w 421"/>
                <a:gd name="T37" fmla="*/ 473 h 700"/>
                <a:gd name="T38" fmla="*/ 320 w 421"/>
                <a:gd name="T39" fmla="*/ 573 h 700"/>
                <a:gd name="T40" fmla="*/ 343 w 421"/>
                <a:gd name="T41" fmla="*/ 688 h 700"/>
                <a:gd name="T42" fmla="*/ 389 w 421"/>
                <a:gd name="T43" fmla="*/ 495 h 700"/>
                <a:gd name="T44" fmla="*/ 401 w 421"/>
                <a:gd name="T45" fmla="*/ 700 h 700"/>
                <a:gd name="T46" fmla="*/ 420 w 421"/>
                <a:gd name="T47" fmla="*/ 525 h 700"/>
                <a:gd name="T48" fmla="*/ 263 w 421"/>
                <a:gd name="T49" fmla="*/ 61 h 700"/>
                <a:gd name="T50" fmla="*/ 211 w 421"/>
                <a:gd name="T51" fmla="*/ 24 h 700"/>
                <a:gd name="T52" fmla="*/ 88 w 421"/>
                <a:gd name="T53" fmla="*/ 271 h 700"/>
                <a:gd name="T54" fmla="*/ 88 w 421"/>
                <a:gd name="T55" fmla="*/ 240 h 700"/>
                <a:gd name="T56" fmla="*/ 121 w 421"/>
                <a:gd name="T57" fmla="*/ 247 h 700"/>
                <a:gd name="T58" fmla="*/ 121 w 421"/>
                <a:gd name="T59" fmla="*/ 214 h 700"/>
                <a:gd name="T60" fmla="*/ 91 w 421"/>
                <a:gd name="T61" fmla="*/ 189 h 700"/>
                <a:gd name="T62" fmla="*/ 327 w 421"/>
                <a:gd name="T63" fmla="*/ 216 h 700"/>
                <a:gd name="T64" fmla="*/ 294 w 421"/>
                <a:gd name="T65" fmla="*/ 205 h 700"/>
                <a:gd name="T66" fmla="*/ 125 w 421"/>
                <a:gd name="T67" fmla="*/ 170 h 700"/>
                <a:gd name="T68" fmla="*/ 308 w 421"/>
                <a:gd name="T69" fmla="*/ 240 h 700"/>
                <a:gd name="T70" fmla="*/ 341 w 421"/>
                <a:gd name="T71" fmla="*/ 251 h 700"/>
                <a:gd name="T72" fmla="*/ 331 w 421"/>
                <a:gd name="T73" fmla="*/ 271 h 700"/>
                <a:gd name="T74" fmla="*/ 114 w 421"/>
                <a:gd name="T75" fmla="*/ 289 h 700"/>
                <a:gd name="T76" fmla="*/ 145 w 421"/>
                <a:gd name="T77" fmla="*/ 420 h 700"/>
                <a:gd name="T78" fmla="*/ 211 w 421"/>
                <a:gd name="T79" fmla="*/ 452 h 700"/>
                <a:gd name="T80" fmla="*/ 211 w 421"/>
                <a:gd name="T81" fmla="*/ 393 h 700"/>
                <a:gd name="T82" fmla="*/ 211 w 421"/>
                <a:gd name="T83" fmla="*/ 452 h 700"/>
                <a:gd name="T84" fmla="*/ 276 w 421"/>
                <a:gd name="T85" fmla="*/ 420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700">
                  <a:moveTo>
                    <a:pt x="373" y="451"/>
                  </a:moveTo>
                  <a:lnTo>
                    <a:pt x="316" y="426"/>
                  </a:lnTo>
                  <a:lnTo>
                    <a:pt x="285" y="395"/>
                  </a:lnTo>
                  <a:cubicBezTo>
                    <a:pt x="283" y="393"/>
                    <a:pt x="280" y="392"/>
                    <a:pt x="277" y="391"/>
                  </a:cubicBezTo>
                  <a:lnTo>
                    <a:pt x="277" y="373"/>
                  </a:lnTo>
                  <a:cubicBezTo>
                    <a:pt x="304" y="355"/>
                    <a:pt x="323" y="328"/>
                    <a:pt x="330" y="294"/>
                  </a:cubicBezTo>
                  <a:cubicBezTo>
                    <a:pt x="333" y="294"/>
                    <a:pt x="336" y="294"/>
                    <a:pt x="339" y="293"/>
                  </a:cubicBezTo>
                  <a:cubicBezTo>
                    <a:pt x="354" y="290"/>
                    <a:pt x="365" y="275"/>
                    <a:pt x="365" y="259"/>
                  </a:cubicBezTo>
                  <a:lnTo>
                    <a:pt x="365" y="251"/>
                  </a:lnTo>
                  <a:cubicBezTo>
                    <a:pt x="365" y="239"/>
                    <a:pt x="359" y="228"/>
                    <a:pt x="350" y="222"/>
                  </a:cubicBezTo>
                  <a:cubicBezTo>
                    <a:pt x="353" y="211"/>
                    <a:pt x="354" y="200"/>
                    <a:pt x="354" y="189"/>
                  </a:cubicBezTo>
                  <a:cubicBezTo>
                    <a:pt x="354" y="141"/>
                    <a:pt x="328" y="98"/>
                    <a:pt x="288" y="73"/>
                  </a:cubicBezTo>
                  <a:cubicBezTo>
                    <a:pt x="288" y="33"/>
                    <a:pt x="253" y="0"/>
                    <a:pt x="211" y="0"/>
                  </a:cubicBezTo>
                  <a:cubicBezTo>
                    <a:pt x="168" y="0"/>
                    <a:pt x="134" y="33"/>
                    <a:pt x="133" y="73"/>
                  </a:cubicBezTo>
                  <a:cubicBezTo>
                    <a:pt x="94" y="98"/>
                    <a:pt x="67" y="141"/>
                    <a:pt x="67" y="189"/>
                  </a:cubicBezTo>
                  <a:cubicBezTo>
                    <a:pt x="67" y="200"/>
                    <a:pt x="69" y="211"/>
                    <a:pt x="71" y="222"/>
                  </a:cubicBezTo>
                  <a:cubicBezTo>
                    <a:pt x="62" y="228"/>
                    <a:pt x="56" y="239"/>
                    <a:pt x="56" y="251"/>
                  </a:cubicBezTo>
                  <a:lnTo>
                    <a:pt x="56" y="259"/>
                  </a:lnTo>
                  <a:cubicBezTo>
                    <a:pt x="56" y="275"/>
                    <a:pt x="67" y="290"/>
                    <a:pt x="82" y="293"/>
                  </a:cubicBezTo>
                  <a:cubicBezTo>
                    <a:pt x="85" y="294"/>
                    <a:pt x="88" y="294"/>
                    <a:pt x="92" y="294"/>
                  </a:cubicBezTo>
                  <a:cubicBezTo>
                    <a:pt x="98" y="328"/>
                    <a:pt x="117" y="355"/>
                    <a:pt x="144" y="373"/>
                  </a:cubicBezTo>
                  <a:lnTo>
                    <a:pt x="144" y="391"/>
                  </a:lnTo>
                  <a:cubicBezTo>
                    <a:pt x="141" y="392"/>
                    <a:pt x="139" y="393"/>
                    <a:pt x="137" y="395"/>
                  </a:cubicBezTo>
                  <a:lnTo>
                    <a:pt x="105" y="426"/>
                  </a:lnTo>
                  <a:lnTo>
                    <a:pt x="48" y="451"/>
                  </a:lnTo>
                  <a:cubicBezTo>
                    <a:pt x="19" y="464"/>
                    <a:pt x="0" y="494"/>
                    <a:pt x="2" y="525"/>
                  </a:cubicBezTo>
                  <a:lnTo>
                    <a:pt x="9" y="689"/>
                  </a:lnTo>
                  <a:cubicBezTo>
                    <a:pt x="9" y="695"/>
                    <a:pt x="14" y="700"/>
                    <a:pt x="20" y="700"/>
                  </a:cubicBezTo>
                  <a:cubicBezTo>
                    <a:pt x="20" y="700"/>
                    <a:pt x="21" y="700"/>
                    <a:pt x="21" y="700"/>
                  </a:cubicBezTo>
                  <a:cubicBezTo>
                    <a:pt x="27" y="700"/>
                    <a:pt x="32" y="694"/>
                    <a:pt x="32" y="688"/>
                  </a:cubicBezTo>
                  <a:lnTo>
                    <a:pt x="25" y="524"/>
                  </a:lnTo>
                  <a:cubicBezTo>
                    <a:pt x="25" y="514"/>
                    <a:pt x="27" y="504"/>
                    <a:pt x="33" y="495"/>
                  </a:cubicBezTo>
                  <a:lnTo>
                    <a:pt x="63" y="532"/>
                  </a:lnTo>
                  <a:cubicBezTo>
                    <a:pt x="73" y="544"/>
                    <a:pt x="78" y="558"/>
                    <a:pt x="78" y="573"/>
                  </a:cubicBezTo>
                  <a:lnTo>
                    <a:pt x="78" y="688"/>
                  </a:lnTo>
                  <a:cubicBezTo>
                    <a:pt x="78" y="695"/>
                    <a:pt x="84" y="700"/>
                    <a:pt x="90" y="700"/>
                  </a:cubicBezTo>
                  <a:cubicBezTo>
                    <a:pt x="97" y="700"/>
                    <a:pt x="102" y="695"/>
                    <a:pt x="102" y="688"/>
                  </a:cubicBezTo>
                  <a:lnTo>
                    <a:pt x="102" y="573"/>
                  </a:lnTo>
                  <a:cubicBezTo>
                    <a:pt x="102" y="553"/>
                    <a:pt x="95" y="533"/>
                    <a:pt x="81" y="517"/>
                  </a:cubicBezTo>
                  <a:lnTo>
                    <a:pt x="49" y="478"/>
                  </a:lnTo>
                  <a:cubicBezTo>
                    <a:pt x="51" y="476"/>
                    <a:pt x="54" y="474"/>
                    <a:pt x="57" y="473"/>
                  </a:cubicBezTo>
                  <a:lnTo>
                    <a:pt x="107" y="451"/>
                  </a:lnTo>
                  <a:lnTo>
                    <a:pt x="143" y="508"/>
                  </a:lnTo>
                  <a:cubicBezTo>
                    <a:pt x="146" y="514"/>
                    <a:pt x="152" y="518"/>
                    <a:pt x="158" y="519"/>
                  </a:cubicBezTo>
                  <a:cubicBezTo>
                    <a:pt x="160" y="519"/>
                    <a:pt x="161" y="519"/>
                    <a:pt x="162" y="519"/>
                  </a:cubicBezTo>
                  <a:cubicBezTo>
                    <a:pt x="167" y="519"/>
                    <a:pt x="172" y="517"/>
                    <a:pt x="177" y="513"/>
                  </a:cubicBezTo>
                  <a:lnTo>
                    <a:pt x="199" y="494"/>
                  </a:lnTo>
                  <a:lnTo>
                    <a:pt x="199" y="688"/>
                  </a:lnTo>
                  <a:cubicBezTo>
                    <a:pt x="199" y="695"/>
                    <a:pt x="204" y="700"/>
                    <a:pt x="211" y="700"/>
                  </a:cubicBezTo>
                  <a:cubicBezTo>
                    <a:pt x="217" y="700"/>
                    <a:pt x="222" y="695"/>
                    <a:pt x="222" y="688"/>
                  </a:cubicBezTo>
                  <a:lnTo>
                    <a:pt x="222" y="494"/>
                  </a:lnTo>
                  <a:lnTo>
                    <a:pt x="245" y="513"/>
                  </a:lnTo>
                  <a:cubicBezTo>
                    <a:pt x="249" y="517"/>
                    <a:pt x="254" y="519"/>
                    <a:pt x="259" y="519"/>
                  </a:cubicBezTo>
                  <a:cubicBezTo>
                    <a:pt x="261" y="519"/>
                    <a:pt x="262" y="519"/>
                    <a:pt x="263" y="519"/>
                  </a:cubicBezTo>
                  <a:cubicBezTo>
                    <a:pt x="270" y="518"/>
                    <a:pt x="275" y="514"/>
                    <a:pt x="279" y="508"/>
                  </a:cubicBezTo>
                  <a:lnTo>
                    <a:pt x="314" y="451"/>
                  </a:lnTo>
                  <a:lnTo>
                    <a:pt x="364" y="473"/>
                  </a:lnTo>
                  <a:cubicBezTo>
                    <a:pt x="367" y="474"/>
                    <a:pt x="370" y="476"/>
                    <a:pt x="373" y="478"/>
                  </a:cubicBezTo>
                  <a:lnTo>
                    <a:pt x="340" y="517"/>
                  </a:lnTo>
                  <a:cubicBezTo>
                    <a:pt x="327" y="533"/>
                    <a:pt x="320" y="553"/>
                    <a:pt x="320" y="573"/>
                  </a:cubicBezTo>
                  <a:lnTo>
                    <a:pt x="320" y="688"/>
                  </a:lnTo>
                  <a:cubicBezTo>
                    <a:pt x="320" y="695"/>
                    <a:pt x="325" y="700"/>
                    <a:pt x="331" y="700"/>
                  </a:cubicBezTo>
                  <a:cubicBezTo>
                    <a:pt x="338" y="700"/>
                    <a:pt x="343" y="695"/>
                    <a:pt x="343" y="688"/>
                  </a:cubicBezTo>
                  <a:lnTo>
                    <a:pt x="343" y="573"/>
                  </a:lnTo>
                  <a:cubicBezTo>
                    <a:pt x="343" y="558"/>
                    <a:pt x="348" y="544"/>
                    <a:pt x="358" y="532"/>
                  </a:cubicBezTo>
                  <a:lnTo>
                    <a:pt x="389" y="495"/>
                  </a:lnTo>
                  <a:cubicBezTo>
                    <a:pt x="394" y="504"/>
                    <a:pt x="397" y="514"/>
                    <a:pt x="396" y="524"/>
                  </a:cubicBezTo>
                  <a:lnTo>
                    <a:pt x="389" y="688"/>
                  </a:lnTo>
                  <a:cubicBezTo>
                    <a:pt x="389" y="694"/>
                    <a:pt x="394" y="700"/>
                    <a:pt x="401" y="700"/>
                  </a:cubicBezTo>
                  <a:cubicBezTo>
                    <a:pt x="401" y="700"/>
                    <a:pt x="401" y="700"/>
                    <a:pt x="401" y="700"/>
                  </a:cubicBezTo>
                  <a:cubicBezTo>
                    <a:pt x="407" y="700"/>
                    <a:pt x="412" y="695"/>
                    <a:pt x="413" y="689"/>
                  </a:cubicBezTo>
                  <a:lnTo>
                    <a:pt x="420" y="525"/>
                  </a:lnTo>
                  <a:cubicBezTo>
                    <a:pt x="421" y="494"/>
                    <a:pt x="402" y="464"/>
                    <a:pt x="373" y="451"/>
                  </a:cubicBezTo>
                  <a:close/>
                  <a:moveTo>
                    <a:pt x="211" y="24"/>
                  </a:moveTo>
                  <a:cubicBezTo>
                    <a:pt x="236" y="24"/>
                    <a:pt x="257" y="39"/>
                    <a:pt x="263" y="61"/>
                  </a:cubicBezTo>
                  <a:cubicBezTo>
                    <a:pt x="247" y="55"/>
                    <a:pt x="229" y="52"/>
                    <a:pt x="211" y="52"/>
                  </a:cubicBezTo>
                  <a:cubicBezTo>
                    <a:pt x="192" y="52"/>
                    <a:pt x="175" y="55"/>
                    <a:pt x="158" y="61"/>
                  </a:cubicBezTo>
                  <a:cubicBezTo>
                    <a:pt x="165" y="39"/>
                    <a:pt x="186" y="24"/>
                    <a:pt x="211" y="24"/>
                  </a:cubicBezTo>
                  <a:close/>
                  <a:moveTo>
                    <a:pt x="114" y="289"/>
                  </a:moveTo>
                  <a:cubicBezTo>
                    <a:pt x="112" y="278"/>
                    <a:pt x="102" y="270"/>
                    <a:pt x="91" y="271"/>
                  </a:cubicBezTo>
                  <a:cubicBezTo>
                    <a:pt x="90" y="271"/>
                    <a:pt x="89" y="271"/>
                    <a:pt x="88" y="271"/>
                  </a:cubicBezTo>
                  <a:cubicBezTo>
                    <a:pt x="83" y="269"/>
                    <a:pt x="80" y="265"/>
                    <a:pt x="80" y="259"/>
                  </a:cubicBezTo>
                  <a:lnTo>
                    <a:pt x="80" y="251"/>
                  </a:lnTo>
                  <a:cubicBezTo>
                    <a:pt x="80" y="245"/>
                    <a:pt x="83" y="240"/>
                    <a:pt x="88" y="240"/>
                  </a:cubicBezTo>
                  <a:cubicBezTo>
                    <a:pt x="92" y="239"/>
                    <a:pt x="96" y="240"/>
                    <a:pt x="98" y="243"/>
                  </a:cubicBezTo>
                  <a:cubicBezTo>
                    <a:pt x="100" y="246"/>
                    <a:pt x="103" y="248"/>
                    <a:pt x="106" y="249"/>
                  </a:cubicBezTo>
                  <a:cubicBezTo>
                    <a:pt x="111" y="251"/>
                    <a:pt x="117" y="250"/>
                    <a:pt x="121" y="247"/>
                  </a:cubicBezTo>
                  <a:cubicBezTo>
                    <a:pt x="128" y="242"/>
                    <a:pt x="134" y="236"/>
                    <a:pt x="140" y="229"/>
                  </a:cubicBezTo>
                  <a:cubicBezTo>
                    <a:pt x="143" y="223"/>
                    <a:pt x="142" y="216"/>
                    <a:pt x="137" y="212"/>
                  </a:cubicBezTo>
                  <a:cubicBezTo>
                    <a:pt x="132" y="208"/>
                    <a:pt x="125" y="209"/>
                    <a:pt x="121" y="214"/>
                  </a:cubicBezTo>
                  <a:cubicBezTo>
                    <a:pt x="118" y="218"/>
                    <a:pt x="115" y="221"/>
                    <a:pt x="112" y="224"/>
                  </a:cubicBezTo>
                  <a:cubicBezTo>
                    <a:pt x="107" y="220"/>
                    <a:pt x="101" y="217"/>
                    <a:pt x="94" y="216"/>
                  </a:cubicBezTo>
                  <a:cubicBezTo>
                    <a:pt x="92" y="207"/>
                    <a:pt x="91" y="198"/>
                    <a:pt x="91" y="189"/>
                  </a:cubicBezTo>
                  <a:cubicBezTo>
                    <a:pt x="91" y="126"/>
                    <a:pt x="145" y="75"/>
                    <a:pt x="211" y="75"/>
                  </a:cubicBezTo>
                  <a:cubicBezTo>
                    <a:pt x="277" y="75"/>
                    <a:pt x="331" y="126"/>
                    <a:pt x="331" y="189"/>
                  </a:cubicBezTo>
                  <a:cubicBezTo>
                    <a:pt x="331" y="198"/>
                    <a:pt x="329" y="207"/>
                    <a:pt x="327" y="216"/>
                  </a:cubicBezTo>
                  <a:cubicBezTo>
                    <a:pt x="324" y="216"/>
                    <a:pt x="321" y="217"/>
                    <a:pt x="318" y="218"/>
                  </a:cubicBezTo>
                  <a:lnTo>
                    <a:pt x="309" y="210"/>
                  </a:lnTo>
                  <a:cubicBezTo>
                    <a:pt x="305" y="207"/>
                    <a:pt x="299" y="205"/>
                    <a:pt x="294" y="205"/>
                  </a:cubicBezTo>
                  <a:cubicBezTo>
                    <a:pt x="276" y="206"/>
                    <a:pt x="188" y="209"/>
                    <a:pt x="143" y="155"/>
                  </a:cubicBezTo>
                  <a:cubicBezTo>
                    <a:pt x="139" y="150"/>
                    <a:pt x="131" y="149"/>
                    <a:pt x="126" y="153"/>
                  </a:cubicBezTo>
                  <a:cubicBezTo>
                    <a:pt x="121" y="157"/>
                    <a:pt x="121" y="165"/>
                    <a:pt x="125" y="170"/>
                  </a:cubicBezTo>
                  <a:cubicBezTo>
                    <a:pt x="147" y="196"/>
                    <a:pt x="180" y="214"/>
                    <a:pt x="222" y="223"/>
                  </a:cubicBezTo>
                  <a:cubicBezTo>
                    <a:pt x="255" y="230"/>
                    <a:pt x="283" y="229"/>
                    <a:pt x="295" y="229"/>
                  </a:cubicBezTo>
                  <a:lnTo>
                    <a:pt x="308" y="240"/>
                  </a:lnTo>
                  <a:cubicBezTo>
                    <a:pt x="312" y="243"/>
                    <a:pt x="317" y="244"/>
                    <a:pt x="322" y="241"/>
                  </a:cubicBezTo>
                  <a:cubicBezTo>
                    <a:pt x="324" y="240"/>
                    <a:pt x="330" y="239"/>
                    <a:pt x="333" y="240"/>
                  </a:cubicBezTo>
                  <a:cubicBezTo>
                    <a:pt x="338" y="241"/>
                    <a:pt x="341" y="245"/>
                    <a:pt x="341" y="251"/>
                  </a:cubicBezTo>
                  <a:lnTo>
                    <a:pt x="341" y="259"/>
                  </a:lnTo>
                  <a:cubicBezTo>
                    <a:pt x="341" y="265"/>
                    <a:pt x="338" y="269"/>
                    <a:pt x="334" y="271"/>
                  </a:cubicBezTo>
                  <a:cubicBezTo>
                    <a:pt x="333" y="271"/>
                    <a:pt x="332" y="271"/>
                    <a:pt x="331" y="271"/>
                  </a:cubicBezTo>
                  <a:cubicBezTo>
                    <a:pt x="319" y="270"/>
                    <a:pt x="309" y="278"/>
                    <a:pt x="307" y="289"/>
                  </a:cubicBezTo>
                  <a:cubicBezTo>
                    <a:pt x="298" y="336"/>
                    <a:pt x="258" y="369"/>
                    <a:pt x="211" y="369"/>
                  </a:cubicBezTo>
                  <a:cubicBezTo>
                    <a:pt x="163" y="369"/>
                    <a:pt x="123" y="336"/>
                    <a:pt x="114" y="289"/>
                  </a:cubicBezTo>
                  <a:close/>
                  <a:moveTo>
                    <a:pt x="162" y="495"/>
                  </a:moveTo>
                  <a:lnTo>
                    <a:pt x="127" y="438"/>
                  </a:lnTo>
                  <a:lnTo>
                    <a:pt x="145" y="420"/>
                  </a:lnTo>
                  <a:lnTo>
                    <a:pt x="193" y="468"/>
                  </a:lnTo>
                  <a:lnTo>
                    <a:pt x="162" y="495"/>
                  </a:lnTo>
                  <a:close/>
                  <a:moveTo>
                    <a:pt x="211" y="452"/>
                  </a:moveTo>
                  <a:lnTo>
                    <a:pt x="168" y="409"/>
                  </a:lnTo>
                  <a:lnTo>
                    <a:pt x="168" y="385"/>
                  </a:lnTo>
                  <a:cubicBezTo>
                    <a:pt x="181" y="390"/>
                    <a:pt x="196" y="393"/>
                    <a:pt x="211" y="393"/>
                  </a:cubicBezTo>
                  <a:cubicBezTo>
                    <a:pt x="226" y="393"/>
                    <a:pt x="240" y="390"/>
                    <a:pt x="254" y="385"/>
                  </a:cubicBezTo>
                  <a:lnTo>
                    <a:pt x="254" y="409"/>
                  </a:lnTo>
                  <a:lnTo>
                    <a:pt x="211" y="452"/>
                  </a:lnTo>
                  <a:close/>
                  <a:moveTo>
                    <a:pt x="259" y="495"/>
                  </a:moveTo>
                  <a:lnTo>
                    <a:pt x="228" y="468"/>
                  </a:lnTo>
                  <a:lnTo>
                    <a:pt x="276" y="420"/>
                  </a:lnTo>
                  <a:lnTo>
                    <a:pt x="294" y="438"/>
                  </a:lnTo>
                  <a:lnTo>
                    <a:pt x="259" y="495"/>
                  </a:ln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8" name="Freeform 26">
              <a:extLst>
                <a:ext uri="{FF2B5EF4-FFF2-40B4-BE49-F238E27FC236}">
                  <a16:creationId xmlns:a16="http://schemas.microsoft.com/office/drawing/2014/main" id="{DB13C0BC-C421-B3AA-2C21-FA644DDDA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1275" y="4638675"/>
              <a:ext cx="20638" cy="7937"/>
            </a:xfrm>
            <a:custGeom>
              <a:avLst/>
              <a:gdLst>
                <a:gd name="T0" fmla="*/ 45 w 57"/>
                <a:gd name="T1" fmla="*/ 0 h 23"/>
                <a:gd name="T2" fmla="*/ 12 w 57"/>
                <a:gd name="T3" fmla="*/ 0 h 23"/>
                <a:gd name="T4" fmla="*/ 0 w 57"/>
                <a:gd name="T5" fmla="*/ 12 h 23"/>
                <a:gd name="T6" fmla="*/ 12 w 57"/>
                <a:gd name="T7" fmla="*/ 23 h 23"/>
                <a:gd name="T8" fmla="*/ 45 w 57"/>
                <a:gd name="T9" fmla="*/ 23 h 23"/>
                <a:gd name="T10" fmla="*/ 57 w 57"/>
                <a:gd name="T11" fmla="*/ 12 h 23"/>
                <a:gd name="T12" fmla="*/ 45 w 5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23">
                  <a:moveTo>
                    <a:pt x="45" y="0"/>
                  </a:moveTo>
                  <a:lnTo>
                    <a:pt x="12" y="0"/>
                  </a:lnTo>
                  <a:cubicBezTo>
                    <a:pt x="5" y="0"/>
                    <a:pt x="0" y="5"/>
                    <a:pt x="0" y="12"/>
                  </a:cubicBezTo>
                  <a:cubicBezTo>
                    <a:pt x="0" y="18"/>
                    <a:pt x="5" y="23"/>
                    <a:pt x="12" y="23"/>
                  </a:cubicBezTo>
                  <a:lnTo>
                    <a:pt x="45" y="23"/>
                  </a:lnTo>
                  <a:cubicBezTo>
                    <a:pt x="51" y="23"/>
                    <a:pt x="57" y="18"/>
                    <a:pt x="57" y="12"/>
                  </a:cubicBezTo>
                  <a:cubicBezTo>
                    <a:pt x="57" y="5"/>
                    <a:pt x="51" y="0"/>
                    <a:pt x="45" y="0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96ADA44E-6E7E-41F9-34C6-B27448583ACA}"/>
              </a:ext>
            </a:extLst>
          </p:cNvPr>
          <p:cNvGrpSpPr/>
          <p:nvPr userDrawn="1"/>
        </p:nvGrpSpPr>
        <p:grpSpPr>
          <a:xfrm>
            <a:off x="9577388" y="4432300"/>
            <a:ext cx="241300" cy="290512"/>
            <a:chOff x="9577388" y="4432300"/>
            <a:chExt cx="241300" cy="290512"/>
          </a:xfrm>
        </p:grpSpPr>
        <p:sp>
          <p:nvSpPr>
            <p:cNvPr id="120" name="Freeform 29">
              <a:extLst>
                <a:ext uri="{FF2B5EF4-FFF2-40B4-BE49-F238E27FC236}">
                  <a16:creationId xmlns:a16="http://schemas.microsoft.com/office/drawing/2014/main" id="{BFBEB0EE-0649-0F3E-F4C5-04B48792D1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77388" y="4432300"/>
              <a:ext cx="241300" cy="290512"/>
            </a:xfrm>
            <a:custGeom>
              <a:avLst/>
              <a:gdLst>
                <a:gd name="T0" fmla="*/ 588 w 671"/>
                <a:gd name="T1" fmla="*/ 548 h 801"/>
                <a:gd name="T2" fmla="*/ 435 w 671"/>
                <a:gd name="T3" fmla="*/ 443 h 801"/>
                <a:gd name="T4" fmla="*/ 493 w 671"/>
                <a:gd name="T5" fmla="*/ 333 h 801"/>
                <a:gd name="T6" fmla="*/ 567 w 671"/>
                <a:gd name="T7" fmla="*/ 316 h 801"/>
                <a:gd name="T8" fmla="*/ 653 w 671"/>
                <a:gd name="T9" fmla="*/ 178 h 801"/>
                <a:gd name="T10" fmla="*/ 562 w 671"/>
                <a:gd name="T11" fmla="*/ 28 h 801"/>
                <a:gd name="T12" fmla="*/ 424 w 671"/>
                <a:gd name="T13" fmla="*/ 30 h 801"/>
                <a:gd name="T14" fmla="*/ 416 w 671"/>
                <a:gd name="T15" fmla="*/ 30 h 801"/>
                <a:gd name="T16" fmla="*/ 278 w 671"/>
                <a:gd name="T17" fmla="*/ 28 h 801"/>
                <a:gd name="T18" fmla="*/ 187 w 671"/>
                <a:gd name="T19" fmla="*/ 178 h 801"/>
                <a:gd name="T20" fmla="*/ 273 w 671"/>
                <a:gd name="T21" fmla="*/ 316 h 801"/>
                <a:gd name="T22" fmla="*/ 347 w 671"/>
                <a:gd name="T23" fmla="*/ 333 h 801"/>
                <a:gd name="T24" fmla="*/ 404 w 671"/>
                <a:gd name="T25" fmla="*/ 443 h 801"/>
                <a:gd name="T26" fmla="*/ 188 w 671"/>
                <a:gd name="T27" fmla="*/ 566 h 801"/>
                <a:gd name="T28" fmla="*/ 142 w 671"/>
                <a:gd name="T29" fmla="*/ 583 h 801"/>
                <a:gd name="T30" fmla="*/ 42 w 671"/>
                <a:gd name="T31" fmla="*/ 558 h 801"/>
                <a:gd name="T32" fmla="*/ 0 w 671"/>
                <a:gd name="T33" fmla="*/ 743 h 801"/>
                <a:gd name="T34" fmla="*/ 104 w 671"/>
                <a:gd name="T35" fmla="*/ 785 h 801"/>
                <a:gd name="T36" fmla="*/ 223 w 671"/>
                <a:gd name="T37" fmla="*/ 759 h 801"/>
                <a:gd name="T38" fmla="*/ 387 w 671"/>
                <a:gd name="T39" fmla="*/ 801 h 801"/>
                <a:gd name="T40" fmla="*/ 461 w 671"/>
                <a:gd name="T41" fmla="*/ 754 h 801"/>
                <a:gd name="T42" fmla="*/ 339 w 671"/>
                <a:gd name="T43" fmla="*/ 760 h 801"/>
                <a:gd name="T44" fmla="*/ 145 w 671"/>
                <a:gd name="T45" fmla="*/ 715 h 801"/>
                <a:gd name="T46" fmla="*/ 196 w 671"/>
                <a:gd name="T47" fmla="*/ 598 h 801"/>
                <a:gd name="T48" fmla="*/ 339 w 671"/>
                <a:gd name="T49" fmla="*/ 586 h 801"/>
                <a:gd name="T50" fmla="*/ 417 w 671"/>
                <a:gd name="T51" fmla="*/ 637 h 801"/>
                <a:gd name="T52" fmla="*/ 385 w 671"/>
                <a:gd name="T53" fmla="*/ 655 h 801"/>
                <a:gd name="T54" fmla="*/ 278 w 671"/>
                <a:gd name="T55" fmla="*/ 640 h 801"/>
                <a:gd name="T56" fmla="*/ 376 w 671"/>
                <a:gd name="T57" fmla="*/ 685 h 801"/>
                <a:gd name="T58" fmla="*/ 593 w 671"/>
                <a:gd name="T59" fmla="*/ 579 h 801"/>
                <a:gd name="T60" fmla="*/ 619 w 671"/>
                <a:gd name="T61" fmla="*/ 622 h 801"/>
                <a:gd name="T62" fmla="*/ 550 w 671"/>
                <a:gd name="T63" fmla="*/ 691 h 801"/>
                <a:gd name="T64" fmla="*/ 571 w 671"/>
                <a:gd name="T65" fmla="*/ 694 h 801"/>
                <a:gd name="T66" fmla="*/ 655 w 671"/>
                <a:gd name="T67" fmla="*/ 570 h 801"/>
                <a:gd name="T68" fmla="*/ 104 w 671"/>
                <a:gd name="T69" fmla="*/ 753 h 801"/>
                <a:gd name="T70" fmla="*/ 32 w 671"/>
                <a:gd name="T71" fmla="*/ 743 h 801"/>
                <a:gd name="T72" fmla="*/ 42 w 671"/>
                <a:gd name="T73" fmla="*/ 589 h 801"/>
                <a:gd name="T74" fmla="*/ 114 w 671"/>
                <a:gd name="T75" fmla="*/ 599 h 801"/>
                <a:gd name="T76" fmla="*/ 627 w 671"/>
                <a:gd name="T77" fmla="*/ 201 h 801"/>
                <a:gd name="T78" fmla="*/ 449 w 671"/>
                <a:gd name="T79" fmla="*/ 295 h 801"/>
                <a:gd name="T80" fmla="*/ 627 w 671"/>
                <a:gd name="T81" fmla="*/ 201 h 801"/>
                <a:gd name="T82" fmla="*/ 212 w 671"/>
                <a:gd name="T83" fmla="*/ 201 h 801"/>
                <a:gd name="T84" fmla="*/ 391 w 671"/>
                <a:gd name="T85" fmla="*/ 295 h 801"/>
                <a:gd name="T86" fmla="*/ 300 w 671"/>
                <a:gd name="T87" fmla="*/ 164 h 801"/>
                <a:gd name="T88" fmla="*/ 395 w 671"/>
                <a:gd name="T89" fmla="*/ 53 h 801"/>
                <a:gd name="T90" fmla="*/ 445 w 671"/>
                <a:gd name="T91" fmla="*/ 53 h 801"/>
                <a:gd name="T92" fmla="*/ 540 w 671"/>
                <a:gd name="T93" fmla="*/ 164 h 801"/>
                <a:gd name="T94" fmla="*/ 300 w 671"/>
                <a:gd name="T95" fmla="*/ 164 h 801"/>
                <a:gd name="T96" fmla="*/ 408 w 671"/>
                <a:gd name="T97" fmla="*/ 574 h 801"/>
                <a:gd name="T98" fmla="*/ 289 w 671"/>
                <a:gd name="T99" fmla="*/ 545 h 801"/>
                <a:gd name="T100" fmla="*/ 560 w 671"/>
                <a:gd name="T101" fmla="*/ 561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71" h="801">
                  <a:moveTo>
                    <a:pt x="655" y="570"/>
                  </a:moveTo>
                  <a:cubicBezTo>
                    <a:pt x="641" y="548"/>
                    <a:pt x="614" y="539"/>
                    <a:pt x="588" y="548"/>
                  </a:cubicBezTo>
                  <a:cubicBezTo>
                    <a:pt x="574" y="519"/>
                    <a:pt x="554" y="494"/>
                    <a:pt x="527" y="476"/>
                  </a:cubicBezTo>
                  <a:cubicBezTo>
                    <a:pt x="500" y="457"/>
                    <a:pt x="469" y="445"/>
                    <a:pt x="435" y="443"/>
                  </a:cubicBezTo>
                  <a:lnTo>
                    <a:pt x="435" y="324"/>
                  </a:lnTo>
                  <a:cubicBezTo>
                    <a:pt x="454" y="330"/>
                    <a:pt x="474" y="333"/>
                    <a:pt x="493" y="333"/>
                  </a:cubicBezTo>
                  <a:cubicBezTo>
                    <a:pt x="518" y="333"/>
                    <a:pt x="543" y="327"/>
                    <a:pt x="567" y="316"/>
                  </a:cubicBezTo>
                  <a:cubicBezTo>
                    <a:pt x="567" y="316"/>
                    <a:pt x="567" y="316"/>
                    <a:pt x="567" y="316"/>
                  </a:cubicBezTo>
                  <a:cubicBezTo>
                    <a:pt x="614" y="293"/>
                    <a:pt x="648" y="250"/>
                    <a:pt x="662" y="196"/>
                  </a:cubicBezTo>
                  <a:cubicBezTo>
                    <a:pt x="664" y="188"/>
                    <a:pt x="660" y="181"/>
                    <a:pt x="653" y="178"/>
                  </a:cubicBezTo>
                  <a:cubicBezTo>
                    <a:pt x="629" y="168"/>
                    <a:pt x="604" y="162"/>
                    <a:pt x="579" y="162"/>
                  </a:cubicBezTo>
                  <a:cubicBezTo>
                    <a:pt x="603" y="120"/>
                    <a:pt x="597" y="65"/>
                    <a:pt x="562" y="28"/>
                  </a:cubicBezTo>
                  <a:cubicBezTo>
                    <a:pt x="544" y="10"/>
                    <a:pt x="519" y="0"/>
                    <a:pt x="492" y="1"/>
                  </a:cubicBezTo>
                  <a:cubicBezTo>
                    <a:pt x="467" y="2"/>
                    <a:pt x="443" y="13"/>
                    <a:pt x="424" y="30"/>
                  </a:cubicBezTo>
                  <a:cubicBezTo>
                    <a:pt x="424" y="30"/>
                    <a:pt x="421" y="33"/>
                    <a:pt x="420" y="34"/>
                  </a:cubicBezTo>
                  <a:cubicBezTo>
                    <a:pt x="419" y="33"/>
                    <a:pt x="416" y="30"/>
                    <a:pt x="416" y="30"/>
                  </a:cubicBezTo>
                  <a:cubicBezTo>
                    <a:pt x="397" y="13"/>
                    <a:pt x="372" y="2"/>
                    <a:pt x="347" y="1"/>
                  </a:cubicBezTo>
                  <a:cubicBezTo>
                    <a:pt x="320" y="0"/>
                    <a:pt x="296" y="10"/>
                    <a:pt x="278" y="28"/>
                  </a:cubicBezTo>
                  <a:cubicBezTo>
                    <a:pt x="243" y="65"/>
                    <a:pt x="237" y="120"/>
                    <a:pt x="260" y="162"/>
                  </a:cubicBezTo>
                  <a:cubicBezTo>
                    <a:pt x="236" y="162"/>
                    <a:pt x="211" y="168"/>
                    <a:pt x="187" y="178"/>
                  </a:cubicBezTo>
                  <a:cubicBezTo>
                    <a:pt x="180" y="181"/>
                    <a:pt x="176" y="188"/>
                    <a:pt x="178" y="196"/>
                  </a:cubicBezTo>
                  <a:cubicBezTo>
                    <a:pt x="192" y="250"/>
                    <a:pt x="226" y="293"/>
                    <a:pt x="273" y="316"/>
                  </a:cubicBezTo>
                  <a:cubicBezTo>
                    <a:pt x="273" y="316"/>
                    <a:pt x="273" y="316"/>
                    <a:pt x="273" y="316"/>
                  </a:cubicBezTo>
                  <a:cubicBezTo>
                    <a:pt x="296" y="327"/>
                    <a:pt x="321" y="333"/>
                    <a:pt x="347" y="333"/>
                  </a:cubicBezTo>
                  <a:cubicBezTo>
                    <a:pt x="366" y="333"/>
                    <a:pt x="385" y="330"/>
                    <a:pt x="404" y="324"/>
                  </a:cubicBezTo>
                  <a:lnTo>
                    <a:pt x="404" y="443"/>
                  </a:lnTo>
                  <a:cubicBezTo>
                    <a:pt x="340" y="448"/>
                    <a:pt x="282" y="487"/>
                    <a:pt x="253" y="545"/>
                  </a:cubicBezTo>
                  <a:cubicBezTo>
                    <a:pt x="232" y="547"/>
                    <a:pt x="210" y="553"/>
                    <a:pt x="188" y="566"/>
                  </a:cubicBezTo>
                  <a:cubicBezTo>
                    <a:pt x="185" y="568"/>
                    <a:pt x="182" y="570"/>
                    <a:pt x="179" y="572"/>
                  </a:cubicBezTo>
                  <a:cubicBezTo>
                    <a:pt x="168" y="579"/>
                    <a:pt x="161" y="583"/>
                    <a:pt x="142" y="583"/>
                  </a:cubicBezTo>
                  <a:cubicBezTo>
                    <a:pt x="136" y="568"/>
                    <a:pt x="121" y="558"/>
                    <a:pt x="104" y="558"/>
                  </a:cubicBezTo>
                  <a:lnTo>
                    <a:pt x="42" y="558"/>
                  </a:lnTo>
                  <a:cubicBezTo>
                    <a:pt x="19" y="558"/>
                    <a:pt x="0" y="576"/>
                    <a:pt x="0" y="599"/>
                  </a:cubicBezTo>
                  <a:lnTo>
                    <a:pt x="0" y="743"/>
                  </a:lnTo>
                  <a:cubicBezTo>
                    <a:pt x="0" y="766"/>
                    <a:pt x="19" y="785"/>
                    <a:pt x="42" y="785"/>
                  </a:cubicBezTo>
                  <a:lnTo>
                    <a:pt x="104" y="785"/>
                  </a:lnTo>
                  <a:cubicBezTo>
                    <a:pt x="126" y="785"/>
                    <a:pt x="144" y="768"/>
                    <a:pt x="145" y="746"/>
                  </a:cubicBezTo>
                  <a:cubicBezTo>
                    <a:pt x="171" y="747"/>
                    <a:pt x="188" y="748"/>
                    <a:pt x="223" y="759"/>
                  </a:cubicBezTo>
                  <a:cubicBezTo>
                    <a:pt x="259" y="769"/>
                    <a:pt x="295" y="780"/>
                    <a:pt x="330" y="790"/>
                  </a:cubicBezTo>
                  <a:cubicBezTo>
                    <a:pt x="351" y="796"/>
                    <a:pt x="369" y="801"/>
                    <a:pt x="387" y="801"/>
                  </a:cubicBezTo>
                  <a:cubicBezTo>
                    <a:pt x="407" y="801"/>
                    <a:pt x="428" y="795"/>
                    <a:pt x="457" y="776"/>
                  </a:cubicBezTo>
                  <a:cubicBezTo>
                    <a:pt x="464" y="771"/>
                    <a:pt x="466" y="761"/>
                    <a:pt x="461" y="754"/>
                  </a:cubicBezTo>
                  <a:cubicBezTo>
                    <a:pt x="456" y="747"/>
                    <a:pt x="446" y="745"/>
                    <a:pt x="439" y="750"/>
                  </a:cubicBezTo>
                  <a:cubicBezTo>
                    <a:pt x="398" y="777"/>
                    <a:pt x="381" y="772"/>
                    <a:pt x="339" y="760"/>
                  </a:cubicBezTo>
                  <a:cubicBezTo>
                    <a:pt x="303" y="750"/>
                    <a:pt x="267" y="739"/>
                    <a:pt x="231" y="729"/>
                  </a:cubicBezTo>
                  <a:cubicBezTo>
                    <a:pt x="194" y="718"/>
                    <a:pt x="176" y="715"/>
                    <a:pt x="145" y="715"/>
                  </a:cubicBezTo>
                  <a:lnTo>
                    <a:pt x="145" y="614"/>
                  </a:lnTo>
                  <a:cubicBezTo>
                    <a:pt x="172" y="614"/>
                    <a:pt x="184" y="606"/>
                    <a:pt x="196" y="598"/>
                  </a:cubicBezTo>
                  <a:cubicBezTo>
                    <a:pt x="198" y="596"/>
                    <a:pt x="201" y="595"/>
                    <a:pt x="204" y="593"/>
                  </a:cubicBezTo>
                  <a:cubicBezTo>
                    <a:pt x="241" y="571"/>
                    <a:pt x="282" y="569"/>
                    <a:pt x="339" y="586"/>
                  </a:cubicBezTo>
                  <a:lnTo>
                    <a:pt x="399" y="604"/>
                  </a:lnTo>
                  <a:cubicBezTo>
                    <a:pt x="413" y="609"/>
                    <a:pt x="421" y="623"/>
                    <a:pt x="417" y="637"/>
                  </a:cubicBezTo>
                  <a:cubicBezTo>
                    <a:pt x="417" y="637"/>
                    <a:pt x="417" y="637"/>
                    <a:pt x="417" y="637"/>
                  </a:cubicBezTo>
                  <a:cubicBezTo>
                    <a:pt x="413" y="651"/>
                    <a:pt x="399" y="659"/>
                    <a:pt x="385" y="655"/>
                  </a:cubicBezTo>
                  <a:lnTo>
                    <a:pt x="298" y="630"/>
                  </a:lnTo>
                  <a:cubicBezTo>
                    <a:pt x="289" y="627"/>
                    <a:pt x="281" y="632"/>
                    <a:pt x="278" y="640"/>
                  </a:cubicBezTo>
                  <a:cubicBezTo>
                    <a:pt x="276" y="649"/>
                    <a:pt x="281" y="657"/>
                    <a:pt x="289" y="660"/>
                  </a:cubicBezTo>
                  <a:lnTo>
                    <a:pt x="376" y="685"/>
                  </a:lnTo>
                  <a:cubicBezTo>
                    <a:pt x="404" y="693"/>
                    <a:pt x="433" y="679"/>
                    <a:pt x="445" y="653"/>
                  </a:cubicBezTo>
                  <a:lnTo>
                    <a:pt x="593" y="579"/>
                  </a:lnTo>
                  <a:cubicBezTo>
                    <a:pt x="605" y="574"/>
                    <a:pt x="621" y="574"/>
                    <a:pt x="628" y="587"/>
                  </a:cubicBezTo>
                  <a:cubicBezTo>
                    <a:pt x="635" y="598"/>
                    <a:pt x="632" y="613"/>
                    <a:pt x="619" y="622"/>
                  </a:cubicBezTo>
                  <a:lnTo>
                    <a:pt x="553" y="669"/>
                  </a:lnTo>
                  <a:cubicBezTo>
                    <a:pt x="546" y="674"/>
                    <a:pt x="545" y="684"/>
                    <a:pt x="550" y="691"/>
                  </a:cubicBezTo>
                  <a:cubicBezTo>
                    <a:pt x="553" y="695"/>
                    <a:pt x="557" y="697"/>
                    <a:pt x="562" y="697"/>
                  </a:cubicBezTo>
                  <a:cubicBezTo>
                    <a:pt x="565" y="697"/>
                    <a:pt x="569" y="696"/>
                    <a:pt x="571" y="694"/>
                  </a:cubicBezTo>
                  <a:lnTo>
                    <a:pt x="638" y="647"/>
                  </a:lnTo>
                  <a:cubicBezTo>
                    <a:pt x="663" y="629"/>
                    <a:pt x="671" y="596"/>
                    <a:pt x="655" y="570"/>
                  </a:cubicBezTo>
                  <a:close/>
                  <a:moveTo>
                    <a:pt x="114" y="743"/>
                  </a:moveTo>
                  <a:cubicBezTo>
                    <a:pt x="114" y="749"/>
                    <a:pt x="110" y="753"/>
                    <a:pt x="104" y="753"/>
                  </a:cubicBezTo>
                  <a:lnTo>
                    <a:pt x="42" y="753"/>
                  </a:lnTo>
                  <a:cubicBezTo>
                    <a:pt x="36" y="753"/>
                    <a:pt x="32" y="749"/>
                    <a:pt x="32" y="743"/>
                  </a:cubicBezTo>
                  <a:lnTo>
                    <a:pt x="32" y="599"/>
                  </a:lnTo>
                  <a:cubicBezTo>
                    <a:pt x="32" y="593"/>
                    <a:pt x="36" y="589"/>
                    <a:pt x="42" y="589"/>
                  </a:cubicBezTo>
                  <a:lnTo>
                    <a:pt x="104" y="589"/>
                  </a:lnTo>
                  <a:cubicBezTo>
                    <a:pt x="110" y="589"/>
                    <a:pt x="114" y="593"/>
                    <a:pt x="114" y="599"/>
                  </a:cubicBezTo>
                  <a:lnTo>
                    <a:pt x="114" y="743"/>
                  </a:lnTo>
                  <a:close/>
                  <a:moveTo>
                    <a:pt x="627" y="201"/>
                  </a:moveTo>
                  <a:cubicBezTo>
                    <a:pt x="614" y="240"/>
                    <a:pt x="588" y="271"/>
                    <a:pt x="553" y="288"/>
                  </a:cubicBezTo>
                  <a:cubicBezTo>
                    <a:pt x="521" y="303"/>
                    <a:pt x="484" y="305"/>
                    <a:pt x="449" y="295"/>
                  </a:cubicBezTo>
                  <a:lnTo>
                    <a:pt x="551" y="196"/>
                  </a:lnTo>
                  <a:cubicBezTo>
                    <a:pt x="576" y="191"/>
                    <a:pt x="602" y="193"/>
                    <a:pt x="627" y="201"/>
                  </a:cubicBezTo>
                  <a:close/>
                  <a:moveTo>
                    <a:pt x="286" y="288"/>
                  </a:moveTo>
                  <a:cubicBezTo>
                    <a:pt x="252" y="271"/>
                    <a:pt x="226" y="240"/>
                    <a:pt x="212" y="201"/>
                  </a:cubicBezTo>
                  <a:cubicBezTo>
                    <a:pt x="238" y="193"/>
                    <a:pt x="264" y="191"/>
                    <a:pt x="288" y="196"/>
                  </a:cubicBezTo>
                  <a:lnTo>
                    <a:pt x="391" y="295"/>
                  </a:lnTo>
                  <a:cubicBezTo>
                    <a:pt x="355" y="305"/>
                    <a:pt x="319" y="303"/>
                    <a:pt x="286" y="288"/>
                  </a:cubicBezTo>
                  <a:close/>
                  <a:moveTo>
                    <a:pt x="300" y="164"/>
                  </a:moveTo>
                  <a:cubicBezTo>
                    <a:pt x="270" y="132"/>
                    <a:pt x="270" y="81"/>
                    <a:pt x="300" y="50"/>
                  </a:cubicBezTo>
                  <a:cubicBezTo>
                    <a:pt x="324" y="25"/>
                    <a:pt x="366" y="27"/>
                    <a:pt x="395" y="53"/>
                  </a:cubicBezTo>
                  <a:cubicBezTo>
                    <a:pt x="395" y="53"/>
                    <a:pt x="410" y="68"/>
                    <a:pt x="420" y="68"/>
                  </a:cubicBezTo>
                  <a:cubicBezTo>
                    <a:pt x="429" y="68"/>
                    <a:pt x="445" y="53"/>
                    <a:pt x="445" y="53"/>
                  </a:cubicBezTo>
                  <a:cubicBezTo>
                    <a:pt x="473" y="27"/>
                    <a:pt x="516" y="25"/>
                    <a:pt x="539" y="50"/>
                  </a:cubicBezTo>
                  <a:cubicBezTo>
                    <a:pt x="570" y="81"/>
                    <a:pt x="570" y="132"/>
                    <a:pt x="540" y="164"/>
                  </a:cubicBezTo>
                  <a:lnTo>
                    <a:pt x="420" y="279"/>
                  </a:lnTo>
                  <a:lnTo>
                    <a:pt x="300" y="164"/>
                  </a:lnTo>
                  <a:close/>
                  <a:moveTo>
                    <a:pt x="448" y="616"/>
                  </a:moveTo>
                  <a:cubicBezTo>
                    <a:pt x="443" y="597"/>
                    <a:pt x="429" y="581"/>
                    <a:pt x="408" y="574"/>
                  </a:cubicBezTo>
                  <a:lnTo>
                    <a:pt x="347" y="556"/>
                  </a:lnTo>
                  <a:cubicBezTo>
                    <a:pt x="330" y="551"/>
                    <a:pt x="310" y="546"/>
                    <a:pt x="289" y="545"/>
                  </a:cubicBezTo>
                  <a:cubicBezTo>
                    <a:pt x="317" y="501"/>
                    <a:pt x="366" y="473"/>
                    <a:pt x="420" y="473"/>
                  </a:cubicBezTo>
                  <a:cubicBezTo>
                    <a:pt x="480" y="473"/>
                    <a:pt x="534" y="508"/>
                    <a:pt x="560" y="561"/>
                  </a:cubicBezTo>
                  <a:lnTo>
                    <a:pt x="448" y="616"/>
                  </a:ln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1" name="Freeform 30">
              <a:extLst>
                <a:ext uri="{FF2B5EF4-FFF2-40B4-BE49-F238E27FC236}">
                  <a16:creationId xmlns:a16="http://schemas.microsoft.com/office/drawing/2014/main" id="{A6F0143E-7100-36C0-3DBE-8AAC97827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2013" y="4687888"/>
              <a:ext cx="14288" cy="11112"/>
            </a:xfrm>
            <a:custGeom>
              <a:avLst/>
              <a:gdLst>
                <a:gd name="T0" fmla="*/ 11 w 36"/>
                <a:gd name="T1" fmla="*/ 4 h 34"/>
                <a:gd name="T2" fmla="*/ 11 w 36"/>
                <a:gd name="T3" fmla="*/ 4 h 34"/>
                <a:gd name="T4" fmla="*/ 4 w 36"/>
                <a:gd name="T5" fmla="*/ 25 h 34"/>
                <a:gd name="T6" fmla="*/ 18 w 36"/>
                <a:gd name="T7" fmla="*/ 34 h 34"/>
                <a:gd name="T8" fmla="*/ 25 w 36"/>
                <a:gd name="T9" fmla="*/ 32 h 34"/>
                <a:gd name="T10" fmla="*/ 32 w 36"/>
                <a:gd name="T11" fmla="*/ 11 h 34"/>
                <a:gd name="T12" fmla="*/ 11 w 36"/>
                <a:gd name="T13" fmla="*/ 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4">
                  <a:moveTo>
                    <a:pt x="11" y="4"/>
                  </a:moveTo>
                  <a:lnTo>
                    <a:pt x="11" y="4"/>
                  </a:lnTo>
                  <a:cubicBezTo>
                    <a:pt x="3" y="8"/>
                    <a:pt x="0" y="18"/>
                    <a:pt x="4" y="25"/>
                  </a:cubicBezTo>
                  <a:cubicBezTo>
                    <a:pt x="7" y="31"/>
                    <a:pt x="12" y="34"/>
                    <a:pt x="18" y="34"/>
                  </a:cubicBezTo>
                  <a:cubicBezTo>
                    <a:pt x="20" y="34"/>
                    <a:pt x="23" y="33"/>
                    <a:pt x="25" y="32"/>
                  </a:cubicBezTo>
                  <a:cubicBezTo>
                    <a:pt x="33" y="28"/>
                    <a:pt x="36" y="19"/>
                    <a:pt x="32" y="11"/>
                  </a:cubicBezTo>
                  <a:cubicBezTo>
                    <a:pt x="28" y="4"/>
                    <a:pt x="19" y="0"/>
                    <a:pt x="11" y="4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22" name="Freeform 33">
            <a:extLst>
              <a:ext uri="{FF2B5EF4-FFF2-40B4-BE49-F238E27FC236}">
                <a16:creationId xmlns:a16="http://schemas.microsoft.com/office/drawing/2014/main" id="{9E10A5B2-556B-5E87-3938-EEC0D0EE448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536363" y="4432300"/>
            <a:ext cx="288925" cy="290512"/>
          </a:xfrm>
          <a:custGeom>
            <a:avLst/>
            <a:gdLst>
              <a:gd name="T0" fmla="*/ 694 w 800"/>
              <a:gd name="T1" fmla="*/ 616 h 800"/>
              <a:gd name="T2" fmla="*/ 720 w 800"/>
              <a:gd name="T3" fmla="*/ 303 h 800"/>
              <a:gd name="T4" fmla="*/ 640 w 800"/>
              <a:gd name="T5" fmla="*/ 367 h 800"/>
              <a:gd name="T6" fmla="*/ 536 w 800"/>
              <a:gd name="T7" fmla="*/ 436 h 800"/>
              <a:gd name="T8" fmla="*/ 557 w 800"/>
              <a:gd name="T9" fmla="*/ 311 h 800"/>
              <a:gd name="T10" fmla="*/ 506 w 800"/>
              <a:gd name="T11" fmla="*/ 329 h 800"/>
              <a:gd name="T12" fmla="*/ 482 w 800"/>
              <a:gd name="T13" fmla="*/ 251 h 800"/>
              <a:gd name="T14" fmla="*/ 431 w 800"/>
              <a:gd name="T15" fmla="*/ 272 h 800"/>
              <a:gd name="T16" fmla="*/ 482 w 800"/>
              <a:gd name="T17" fmla="*/ 413 h 800"/>
              <a:gd name="T18" fmla="*/ 372 w 800"/>
              <a:gd name="T19" fmla="*/ 410 h 800"/>
              <a:gd name="T20" fmla="*/ 361 w 800"/>
              <a:gd name="T21" fmla="*/ 179 h 800"/>
              <a:gd name="T22" fmla="*/ 419 w 800"/>
              <a:gd name="T23" fmla="*/ 99 h 800"/>
              <a:gd name="T24" fmla="*/ 588 w 800"/>
              <a:gd name="T25" fmla="*/ 123 h 800"/>
              <a:gd name="T26" fmla="*/ 691 w 800"/>
              <a:gd name="T27" fmla="*/ 253 h 800"/>
              <a:gd name="T28" fmla="*/ 651 w 800"/>
              <a:gd name="T29" fmla="*/ 183 h 800"/>
              <a:gd name="T30" fmla="*/ 593 w 800"/>
              <a:gd name="T31" fmla="*/ 99 h 800"/>
              <a:gd name="T32" fmla="*/ 394 w 800"/>
              <a:gd name="T33" fmla="*/ 100 h 800"/>
              <a:gd name="T34" fmla="*/ 329 w 800"/>
              <a:gd name="T35" fmla="*/ 187 h 800"/>
              <a:gd name="T36" fmla="*/ 56 w 800"/>
              <a:gd name="T37" fmla="*/ 151 h 800"/>
              <a:gd name="T38" fmla="*/ 186 w 800"/>
              <a:gd name="T39" fmla="*/ 24 h 800"/>
              <a:gd name="T40" fmla="*/ 198 w 800"/>
              <a:gd name="T41" fmla="*/ 583 h 800"/>
              <a:gd name="T42" fmla="*/ 198 w 800"/>
              <a:gd name="T43" fmla="*/ 443 h 800"/>
              <a:gd name="T44" fmla="*/ 230 w 800"/>
              <a:gd name="T45" fmla="*/ 377 h 800"/>
              <a:gd name="T46" fmla="*/ 186 w 800"/>
              <a:gd name="T47" fmla="*/ 349 h 800"/>
              <a:gd name="T48" fmla="*/ 174 w 800"/>
              <a:gd name="T49" fmla="*/ 438 h 800"/>
              <a:gd name="T50" fmla="*/ 125 w 800"/>
              <a:gd name="T51" fmla="*/ 427 h 800"/>
              <a:gd name="T52" fmla="*/ 174 w 800"/>
              <a:gd name="T53" fmla="*/ 583 h 800"/>
              <a:gd name="T54" fmla="*/ 52 w 800"/>
              <a:gd name="T55" fmla="*/ 196 h 800"/>
              <a:gd name="T56" fmla="*/ 174 w 800"/>
              <a:gd name="T57" fmla="*/ 606 h 800"/>
              <a:gd name="T58" fmla="*/ 0 w 800"/>
              <a:gd name="T59" fmla="*/ 788 h 800"/>
              <a:gd name="T60" fmla="*/ 800 w 800"/>
              <a:gd name="T61" fmla="*/ 788 h 800"/>
              <a:gd name="T62" fmla="*/ 198 w 800"/>
              <a:gd name="T63" fmla="*/ 777 h 800"/>
              <a:gd name="T64" fmla="*/ 388 w 800"/>
              <a:gd name="T65" fmla="*/ 456 h 800"/>
              <a:gd name="T66" fmla="*/ 482 w 800"/>
              <a:gd name="T67" fmla="*/ 777 h 800"/>
              <a:gd name="T68" fmla="*/ 506 w 800"/>
              <a:gd name="T69" fmla="*/ 445 h 800"/>
              <a:gd name="T70" fmla="*/ 564 w 800"/>
              <a:gd name="T71" fmla="*/ 485 h 800"/>
              <a:gd name="T72" fmla="*/ 682 w 800"/>
              <a:gd name="T73" fmla="*/ 477 h 800"/>
              <a:gd name="T74" fmla="*/ 671 w 800"/>
              <a:gd name="T75" fmla="*/ 553 h 800"/>
              <a:gd name="T76" fmla="*/ 590 w 800"/>
              <a:gd name="T77" fmla="*/ 460 h 800"/>
              <a:gd name="T78" fmla="*/ 777 w 800"/>
              <a:gd name="T79" fmla="*/ 485 h 800"/>
              <a:gd name="T80" fmla="*/ 731 w 800"/>
              <a:gd name="T81" fmla="*/ 521 h 800"/>
              <a:gd name="T82" fmla="*/ 694 w 800"/>
              <a:gd name="T83" fmla="*/ 525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00" h="800">
                <a:moveTo>
                  <a:pt x="789" y="777"/>
                </a:moveTo>
                <a:lnTo>
                  <a:pt x="694" y="777"/>
                </a:lnTo>
                <a:lnTo>
                  <a:pt x="694" y="616"/>
                </a:lnTo>
                <a:cubicBezTo>
                  <a:pt x="754" y="610"/>
                  <a:pt x="800" y="553"/>
                  <a:pt x="800" y="485"/>
                </a:cubicBezTo>
                <a:cubicBezTo>
                  <a:pt x="800" y="418"/>
                  <a:pt x="755" y="362"/>
                  <a:pt x="697" y="354"/>
                </a:cubicBezTo>
                <a:cubicBezTo>
                  <a:pt x="709" y="340"/>
                  <a:pt x="716" y="322"/>
                  <a:pt x="720" y="303"/>
                </a:cubicBezTo>
                <a:cubicBezTo>
                  <a:pt x="721" y="297"/>
                  <a:pt x="716" y="291"/>
                  <a:pt x="710" y="290"/>
                </a:cubicBezTo>
                <a:cubicBezTo>
                  <a:pt x="703" y="289"/>
                  <a:pt x="697" y="293"/>
                  <a:pt x="696" y="300"/>
                </a:cubicBezTo>
                <a:cubicBezTo>
                  <a:pt x="691" y="331"/>
                  <a:pt x="670" y="357"/>
                  <a:pt x="640" y="367"/>
                </a:cubicBezTo>
                <a:cubicBezTo>
                  <a:pt x="633" y="370"/>
                  <a:pt x="628" y="376"/>
                  <a:pt x="627" y="383"/>
                </a:cubicBezTo>
                <a:cubicBezTo>
                  <a:pt x="625" y="394"/>
                  <a:pt x="617" y="422"/>
                  <a:pt x="590" y="435"/>
                </a:cubicBezTo>
                <a:cubicBezTo>
                  <a:pt x="567" y="446"/>
                  <a:pt x="545" y="439"/>
                  <a:pt x="536" y="436"/>
                </a:cubicBezTo>
                <a:cubicBezTo>
                  <a:pt x="522" y="430"/>
                  <a:pt x="512" y="420"/>
                  <a:pt x="506" y="413"/>
                </a:cubicBezTo>
                <a:lnTo>
                  <a:pt x="506" y="362"/>
                </a:lnTo>
                <a:lnTo>
                  <a:pt x="557" y="311"/>
                </a:lnTo>
                <a:cubicBezTo>
                  <a:pt x="562" y="306"/>
                  <a:pt x="562" y="299"/>
                  <a:pt x="557" y="294"/>
                </a:cubicBezTo>
                <a:cubicBezTo>
                  <a:pt x="553" y="290"/>
                  <a:pt x="545" y="290"/>
                  <a:pt x="541" y="294"/>
                </a:cubicBezTo>
                <a:lnTo>
                  <a:pt x="506" y="329"/>
                </a:lnTo>
                <a:lnTo>
                  <a:pt x="506" y="251"/>
                </a:lnTo>
                <a:cubicBezTo>
                  <a:pt x="506" y="245"/>
                  <a:pt x="501" y="240"/>
                  <a:pt x="494" y="240"/>
                </a:cubicBezTo>
                <a:cubicBezTo>
                  <a:pt x="488" y="240"/>
                  <a:pt x="482" y="245"/>
                  <a:pt x="482" y="251"/>
                </a:cubicBezTo>
                <a:lnTo>
                  <a:pt x="482" y="306"/>
                </a:lnTo>
                <a:lnTo>
                  <a:pt x="448" y="272"/>
                </a:lnTo>
                <a:cubicBezTo>
                  <a:pt x="443" y="267"/>
                  <a:pt x="436" y="267"/>
                  <a:pt x="431" y="272"/>
                </a:cubicBezTo>
                <a:cubicBezTo>
                  <a:pt x="427" y="276"/>
                  <a:pt x="427" y="284"/>
                  <a:pt x="431" y="288"/>
                </a:cubicBezTo>
                <a:lnTo>
                  <a:pt x="482" y="340"/>
                </a:lnTo>
                <a:lnTo>
                  <a:pt x="482" y="413"/>
                </a:lnTo>
                <a:cubicBezTo>
                  <a:pt x="476" y="420"/>
                  <a:pt x="467" y="430"/>
                  <a:pt x="452" y="436"/>
                </a:cubicBezTo>
                <a:cubicBezTo>
                  <a:pt x="444" y="439"/>
                  <a:pt x="421" y="446"/>
                  <a:pt x="398" y="435"/>
                </a:cubicBezTo>
                <a:cubicBezTo>
                  <a:pt x="387" y="429"/>
                  <a:pt x="378" y="421"/>
                  <a:pt x="372" y="410"/>
                </a:cubicBezTo>
                <a:cubicBezTo>
                  <a:pt x="374" y="358"/>
                  <a:pt x="359" y="282"/>
                  <a:pt x="336" y="210"/>
                </a:cubicBezTo>
                <a:cubicBezTo>
                  <a:pt x="339" y="208"/>
                  <a:pt x="343" y="206"/>
                  <a:pt x="346" y="205"/>
                </a:cubicBezTo>
                <a:cubicBezTo>
                  <a:pt x="356" y="201"/>
                  <a:pt x="363" y="190"/>
                  <a:pt x="361" y="179"/>
                </a:cubicBezTo>
                <a:cubicBezTo>
                  <a:pt x="361" y="177"/>
                  <a:pt x="361" y="175"/>
                  <a:pt x="361" y="173"/>
                </a:cubicBezTo>
                <a:cubicBezTo>
                  <a:pt x="361" y="149"/>
                  <a:pt x="377" y="129"/>
                  <a:pt x="400" y="123"/>
                </a:cubicBezTo>
                <a:cubicBezTo>
                  <a:pt x="411" y="120"/>
                  <a:pt x="419" y="111"/>
                  <a:pt x="419" y="99"/>
                </a:cubicBezTo>
                <a:cubicBezTo>
                  <a:pt x="419" y="57"/>
                  <a:pt x="453" y="24"/>
                  <a:pt x="494" y="24"/>
                </a:cubicBezTo>
                <a:cubicBezTo>
                  <a:pt x="536" y="24"/>
                  <a:pt x="569" y="57"/>
                  <a:pt x="569" y="99"/>
                </a:cubicBezTo>
                <a:cubicBezTo>
                  <a:pt x="569" y="111"/>
                  <a:pt x="577" y="120"/>
                  <a:pt x="588" y="123"/>
                </a:cubicBezTo>
                <a:cubicBezTo>
                  <a:pt x="614" y="129"/>
                  <a:pt x="630" y="154"/>
                  <a:pt x="627" y="179"/>
                </a:cubicBezTo>
                <a:cubicBezTo>
                  <a:pt x="626" y="190"/>
                  <a:pt x="632" y="201"/>
                  <a:pt x="643" y="205"/>
                </a:cubicBezTo>
                <a:cubicBezTo>
                  <a:pt x="665" y="214"/>
                  <a:pt x="682" y="231"/>
                  <a:pt x="691" y="253"/>
                </a:cubicBezTo>
                <a:cubicBezTo>
                  <a:pt x="694" y="259"/>
                  <a:pt x="700" y="262"/>
                  <a:pt x="706" y="260"/>
                </a:cubicBezTo>
                <a:cubicBezTo>
                  <a:pt x="712" y="257"/>
                  <a:pt x="715" y="250"/>
                  <a:pt x="713" y="244"/>
                </a:cubicBezTo>
                <a:cubicBezTo>
                  <a:pt x="701" y="217"/>
                  <a:pt x="679" y="194"/>
                  <a:pt x="651" y="183"/>
                </a:cubicBezTo>
                <a:cubicBezTo>
                  <a:pt x="651" y="183"/>
                  <a:pt x="650" y="183"/>
                  <a:pt x="650" y="182"/>
                </a:cubicBezTo>
                <a:cubicBezTo>
                  <a:pt x="655" y="144"/>
                  <a:pt x="630" y="109"/>
                  <a:pt x="594" y="100"/>
                </a:cubicBezTo>
                <a:cubicBezTo>
                  <a:pt x="593" y="100"/>
                  <a:pt x="593" y="100"/>
                  <a:pt x="593" y="99"/>
                </a:cubicBezTo>
                <a:cubicBezTo>
                  <a:pt x="593" y="44"/>
                  <a:pt x="549" y="0"/>
                  <a:pt x="494" y="0"/>
                </a:cubicBezTo>
                <a:cubicBezTo>
                  <a:pt x="440" y="0"/>
                  <a:pt x="395" y="44"/>
                  <a:pt x="395" y="99"/>
                </a:cubicBezTo>
                <a:cubicBezTo>
                  <a:pt x="395" y="100"/>
                  <a:pt x="395" y="100"/>
                  <a:pt x="394" y="100"/>
                </a:cubicBezTo>
                <a:cubicBezTo>
                  <a:pt x="361" y="109"/>
                  <a:pt x="337" y="139"/>
                  <a:pt x="337" y="173"/>
                </a:cubicBezTo>
                <a:cubicBezTo>
                  <a:pt x="337" y="176"/>
                  <a:pt x="338" y="179"/>
                  <a:pt x="338" y="182"/>
                </a:cubicBezTo>
                <a:cubicBezTo>
                  <a:pt x="338" y="184"/>
                  <a:pt x="331" y="186"/>
                  <a:pt x="329" y="187"/>
                </a:cubicBezTo>
                <a:cubicBezTo>
                  <a:pt x="326" y="178"/>
                  <a:pt x="323" y="170"/>
                  <a:pt x="320" y="162"/>
                </a:cubicBezTo>
                <a:cubicBezTo>
                  <a:pt x="270" y="28"/>
                  <a:pt x="219" y="0"/>
                  <a:pt x="186" y="0"/>
                </a:cubicBezTo>
                <a:cubicBezTo>
                  <a:pt x="128" y="0"/>
                  <a:pt x="83" y="82"/>
                  <a:pt x="56" y="151"/>
                </a:cubicBezTo>
                <a:cubicBezTo>
                  <a:pt x="54" y="157"/>
                  <a:pt x="57" y="164"/>
                  <a:pt x="63" y="166"/>
                </a:cubicBezTo>
                <a:cubicBezTo>
                  <a:pt x="69" y="169"/>
                  <a:pt x="75" y="166"/>
                  <a:pt x="78" y="160"/>
                </a:cubicBezTo>
                <a:cubicBezTo>
                  <a:pt x="112" y="73"/>
                  <a:pt x="151" y="24"/>
                  <a:pt x="186" y="24"/>
                </a:cubicBezTo>
                <a:cubicBezTo>
                  <a:pt x="222" y="24"/>
                  <a:pt x="263" y="77"/>
                  <a:pt x="298" y="170"/>
                </a:cubicBezTo>
                <a:cubicBezTo>
                  <a:pt x="331" y="257"/>
                  <a:pt x="348" y="352"/>
                  <a:pt x="348" y="400"/>
                </a:cubicBezTo>
                <a:cubicBezTo>
                  <a:pt x="348" y="497"/>
                  <a:pt x="282" y="576"/>
                  <a:pt x="198" y="583"/>
                </a:cubicBezTo>
                <a:lnTo>
                  <a:pt x="198" y="487"/>
                </a:lnTo>
                <a:lnTo>
                  <a:pt x="198" y="487"/>
                </a:lnTo>
                <a:lnTo>
                  <a:pt x="198" y="443"/>
                </a:lnTo>
                <a:lnTo>
                  <a:pt x="247" y="394"/>
                </a:lnTo>
                <a:cubicBezTo>
                  <a:pt x="251" y="389"/>
                  <a:pt x="251" y="382"/>
                  <a:pt x="247" y="377"/>
                </a:cubicBezTo>
                <a:cubicBezTo>
                  <a:pt x="242" y="373"/>
                  <a:pt x="235" y="373"/>
                  <a:pt x="230" y="377"/>
                </a:cubicBezTo>
                <a:lnTo>
                  <a:pt x="198" y="410"/>
                </a:lnTo>
                <a:lnTo>
                  <a:pt x="198" y="361"/>
                </a:lnTo>
                <a:cubicBezTo>
                  <a:pt x="198" y="354"/>
                  <a:pt x="193" y="349"/>
                  <a:pt x="186" y="349"/>
                </a:cubicBezTo>
                <a:cubicBezTo>
                  <a:pt x="180" y="349"/>
                  <a:pt x="174" y="354"/>
                  <a:pt x="174" y="361"/>
                </a:cubicBezTo>
                <a:lnTo>
                  <a:pt x="174" y="438"/>
                </a:lnTo>
                <a:lnTo>
                  <a:pt x="174" y="438"/>
                </a:lnTo>
                <a:lnTo>
                  <a:pt x="174" y="459"/>
                </a:lnTo>
                <a:lnTo>
                  <a:pt x="142" y="427"/>
                </a:lnTo>
                <a:cubicBezTo>
                  <a:pt x="137" y="422"/>
                  <a:pt x="130" y="422"/>
                  <a:pt x="125" y="427"/>
                </a:cubicBezTo>
                <a:cubicBezTo>
                  <a:pt x="121" y="431"/>
                  <a:pt x="121" y="439"/>
                  <a:pt x="125" y="443"/>
                </a:cubicBezTo>
                <a:lnTo>
                  <a:pt x="174" y="492"/>
                </a:lnTo>
                <a:lnTo>
                  <a:pt x="174" y="583"/>
                </a:lnTo>
                <a:cubicBezTo>
                  <a:pt x="90" y="576"/>
                  <a:pt x="24" y="497"/>
                  <a:pt x="24" y="400"/>
                </a:cubicBezTo>
                <a:cubicBezTo>
                  <a:pt x="24" y="355"/>
                  <a:pt x="38" y="279"/>
                  <a:pt x="60" y="210"/>
                </a:cubicBezTo>
                <a:cubicBezTo>
                  <a:pt x="62" y="204"/>
                  <a:pt x="58" y="198"/>
                  <a:pt x="52" y="196"/>
                </a:cubicBezTo>
                <a:cubicBezTo>
                  <a:pt x="46" y="194"/>
                  <a:pt x="40" y="197"/>
                  <a:pt x="38" y="203"/>
                </a:cubicBezTo>
                <a:cubicBezTo>
                  <a:pt x="15" y="275"/>
                  <a:pt x="0" y="352"/>
                  <a:pt x="0" y="400"/>
                </a:cubicBezTo>
                <a:cubicBezTo>
                  <a:pt x="0" y="510"/>
                  <a:pt x="77" y="599"/>
                  <a:pt x="174" y="606"/>
                </a:cubicBezTo>
                <a:lnTo>
                  <a:pt x="174" y="777"/>
                </a:lnTo>
                <a:lnTo>
                  <a:pt x="12" y="777"/>
                </a:lnTo>
                <a:cubicBezTo>
                  <a:pt x="6" y="777"/>
                  <a:pt x="0" y="782"/>
                  <a:pt x="0" y="788"/>
                </a:cubicBezTo>
                <a:cubicBezTo>
                  <a:pt x="0" y="795"/>
                  <a:pt x="6" y="800"/>
                  <a:pt x="12" y="800"/>
                </a:cubicBezTo>
                <a:lnTo>
                  <a:pt x="789" y="800"/>
                </a:lnTo>
                <a:cubicBezTo>
                  <a:pt x="795" y="800"/>
                  <a:pt x="800" y="795"/>
                  <a:pt x="800" y="788"/>
                </a:cubicBezTo>
                <a:cubicBezTo>
                  <a:pt x="800" y="782"/>
                  <a:pt x="795" y="777"/>
                  <a:pt x="789" y="777"/>
                </a:cubicBezTo>
                <a:close/>
                <a:moveTo>
                  <a:pt x="482" y="777"/>
                </a:moveTo>
                <a:lnTo>
                  <a:pt x="198" y="777"/>
                </a:lnTo>
                <a:lnTo>
                  <a:pt x="198" y="606"/>
                </a:lnTo>
                <a:cubicBezTo>
                  <a:pt x="282" y="600"/>
                  <a:pt x="351" y="532"/>
                  <a:pt x="368" y="442"/>
                </a:cubicBezTo>
                <a:cubicBezTo>
                  <a:pt x="374" y="448"/>
                  <a:pt x="381" y="452"/>
                  <a:pt x="388" y="456"/>
                </a:cubicBezTo>
                <a:cubicBezTo>
                  <a:pt x="419" y="471"/>
                  <a:pt x="449" y="462"/>
                  <a:pt x="461" y="457"/>
                </a:cubicBezTo>
                <a:cubicBezTo>
                  <a:pt x="469" y="454"/>
                  <a:pt x="476" y="450"/>
                  <a:pt x="482" y="445"/>
                </a:cubicBezTo>
                <a:lnTo>
                  <a:pt x="482" y="777"/>
                </a:lnTo>
                <a:close/>
                <a:moveTo>
                  <a:pt x="671" y="777"/>
                </a:moveTo>
                <a:lnTo>
                  <a:pt x="506" y="777"/>
                </a:lnTo>
                <a:lnTo>
                  <a:pt x="506" y="445"/>
                </a:lnTo>
                <a:cubicBezTo>
                  <a:pt x="512" y="450"/>
                  <a:pt x="519" y="454"/>
                  <a:pt x="527" y="457"/>
                </a:cubicBezTo>
                <a:cubicBezTo>
                  <a:pt x="534" y="460"/>
                  <a:pt x="547" y="464"/>
                  <a:pt x="563" y="464"/>
                </a:cubicBezTo>
                <a:cubicBezTo>
                  <a:pt x="564" y="464"/>
                  <a:pt x="564" y="478"/>
                  <a:pt x="564" y="485"/>
                </a:cubicBezTo>
                <a:cubicBezTo>
                  <a:pt x="564" y="553"/>
                  <a:pt x="611" y="610"/>
                  <a:pt x="671" y="616"/>
                </a:cubicBezTo>
                <a:lnTo>
                  <a:pt x="671" y="777"/>
                </a:lnTo>
                <a:close/>
                <a:moveTo>
                  <a:pt x="682" y="477"/>
                </a:moveTo>
                <a:cubicBezTo>
                  <a:pt x="676" y="477"/>
                  <a:pt x="671" y="482"/>
                  <a:pt x="671" y="489"/>
                </a:cubicBezTo>
                <a:lnTo>
                  <a:pt x="671" y="553"/>
                </a:lnTo>
                <a:lnTo>
                  <a:pt x="671" y="553"/>
                </a:lnTo>
                <a:lnTo>
                  <a:pt x="671" y="593"/>
                </a:lnTo>
                <a:cubicBezTo>
                  <a:pt x="624" y="586"/>
                  <a:pt x="588" y="540"/>
                  <a:pt x="588" y="485"/>
                </a:cubicBezTo>
                <a:cubicBezTo>
                  <a:pt x="588" y="477"/>
                  <a:pt x="589" y="468"/>
                  <a:pt x="590" y="460"/>
                </a:cubicBezTo>
                <a:cubicBezTo>
                  <a:pt x="626" y="448"/>
                  <a:pt x="647" y="406"/>
                  <a:pt x="649" y="389"/>
                </a:cubicBezTo>
                <a:cubicBezTo>
                  <a:pt x="657" y="386"/>
                  <a:pt x="665" y="382"/>
                  <a:pt x="672" y="377"/>
                </a:cubicBezTo>
                <a:cubicBezTo>
                  <a:pt x="729" y="370"/>
                  <a:pt x="777" y="422"/>
                  <a:pt x="777" y="485"/>
                </a:cubicBezTo>
                <a:cubicBezTo>
                  <a:pt x="777" y="540"/>
                  <a:pt x="741" y="586"/>
                  <a:pt x="694" y="593"/>
                </a:cubicBezTo>
                <a:lnTo>
                  <a:pt x="694" y="558"/>
                </a:lnTo>
                <a:lnTo>
                  <a:pt x="731" y="521"/>
                </a:lnTo>
                <a:cubicBezTo>
                  <a:pt x="736" y="516"/>
                  <a:pt x="736" y="509"/>
                  <a:pt x="731" y="504"/>
                </a:cubicBezTo>
                <a:cubicBezTo>
                  <a:pt x="726" y="500"/>
                  <a:pt x="719" y="500"/>
                  <a:pt x="714" y="504"/>
                </a:cubicBezTo>
                <a:lnTo>
                  <a:pt x="694" y="525"/>
                </a:lnTo>
                <a:lnTo>
                  <a:pt x="694" y="489"/>
                </a:lnTo>
                <a:cubicBezTo>
                  <a:pt x="694" y="482"/>
                  <a:pt x="689" y="477"/>
                  <a:pt x="682" y="477"/>
                </a:cubicBezTo>
                <a:close/>
              </a:path>
            </a:pathLst>
          </a:custGeom>
          <a:solidFill>
            <a:srgbClr val="C9532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60D5E25-72E0-242C-BA6A-CEB0FAF95D28}"/>
              </a:ext>
            </a:extLst>
          </p:cNvPr>
          <p:cNvGrpSpPr/>
          <p:nvPr userDrawn="1"/>
        </p:nvGrpSpPr>
        <p:grpSpPr>
          <a:xfrm>
            <a:off x="1314232" y="2214677"/>
            <a:ext cx="557090" cy="455801"/>
            <a:chOff x="3367088" y="5292726"/>
            <a:chExt cx="314325" cy="257175"/>
          </a:xfrm>
          <a:solidFill>
            <a:schemeClr val="accent3"/>
          </a:solidFill>
        </p:grpSpPr>
        <p:sp>
          <p:nvSpPr>
            <p:cNvPr id="124" name="Freeform 39">
              <a:extLst>
                <a:ext uri="{FF2B5EF4-FFF2-40B4-BE49-F238E27FC236}">
                  <a16:creationId xmlns:a16="http://schemas.microsoft.com/office/drawing/2014/main" id="{987C2F63-1E60-266A-1E99-450DA0048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7088" y="5403851"/>
              <a:ext cx="60325" cy="134938"/>
            </a:xfrm>
            <a:custGeom>
              <a:avLst/>
              <a:gdLst>
                <a:gd name="T0" fmla="*/ 125 w 167"/>
                <a:gd name="T1" fmla="*/ 0 h 368"/>
                <a:gd name="T2" fmla="*/ 167 w 167"/>
                <a:gd name="T3" fmla="*/ 41 h 368"/>
                <a:gd name="T4" fmla="*/ 167 w 167"/>
                <a:gd name="T5" fmla="*/ 326 h 368"/>
                <a:gd name="T6" fmla="*/ 125 w 167"/>
                <a:gd name="T7" fmla="*/ 368 h 368"/>
                <a:gd name="T8" fmla="*/ 0 w 167"/>
                <a:gd name="T9" fmla="*/ 368 h 368"/>
                <a:gd name="T10" fmla="*/ 0 w 167"/>
                <a:gd name="T11" fmla="*/ 342 h 368"/>
                <a:gd name="T12" fmla="*/ 114 w 167"/>
                <a:gd name="T13" fmla="*/ 342 h 368"/>
                <a:gd name="T14" fmla="*/ 141 w 167"/>
                <a:gd name="T15" fmla="*/ 316 h 368"/>
                <a:gd name="T16" fmla="*/ 141 w 167"/>
                <a:gd name="T17" fmla="*/ 52 h 368"/>
                <a:gd name="T18" fmla="*/ 114 w 167"/>
                <a:gd name="T19" fmla="*/ 26 h 368"/>
                <a:gd name="T20" fmla="*/ 0 w 167"/>
                <a:gd name="T21" fmla="*/ 26 h 368"/>
                <a:gd name="T22" fmla="*/ 0 w 167"/>
                <a:gd name="T23" fmla="*/ 0 h 368"/>
                <a:gd name="T24" fmla="*/ 125 w 167"/>
                <a:gd name="T25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7" h="368">
                  <a:moveTo>
                    <a:pt x="125" y="0"/>
                  </a:moveTo>
                  <a:lnTo>
                    <a:pt x="167" y="41"/>
                  </a:lnTo>
                  <a:lnTo>
                    <a:pt x="167" y="326"/>
                  </a:lnTo>
                  <a:lnTo>
                    <a:pt x="125" y="368"/>
                  </a:lnTo>
                  <a:lnTo>
                    <a:pt x="0" y="368"/>
                  </a:lnTo>
                  <a:lnTo>
                    <a:pt x="0" y="342"/>
                  </a:lnTo>
                  <a:lnTo>
                    <a:pt x="114" y="342"/>
                  </a:lnTo>
                  <a:lnTo>
                    <a:pt x="141" y="316"/>
                  </a:lnTo>
                  <a:lnTo>
                    <a:pt x="141" y="52"/>
                  </a:lnTo>
                  <a:lnTo>
                    <a:pt x="114" y="26"/>
                  </a:lnTo>
                  <a:lnTo>
                    <a:pt x="0" y="26"/>
                  </a:lnTo>
                  <a:lnTo>
                    <a:pt x="0" y="0"/>
                  </a:lnTo>
                  <a:lnTo>
                    <a:pt x="1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5" name="Freeform 40">
              <a:extLst>
                <a:ext uri="{FF2B5EF4-FFF2-40B4-BE49-F238E27FC236}">
                  <a16:creationId xmlns:a16="http://schemas.microsoft.com/office/drawing/2014/main" id="{A1BCED57-74C3-00D9-ED27-D15BB09974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0113" y="5421313"/>
              <a:ext cx="203200" cy="128588"/>
            </a:xfrm>
            <a:custGeom>
              <a:avLst/>
              <a:gdLst>
                <a:gd name="T0" fmla="*/ 526 w 560"/>
                <a:gd name="T1" fmla="*/ 224 h 352"/>
                <a:gd name="T2" fmla="*/ 560 w 560"/>
                <a:gd name="T3" fmla="*/ 257 h 352"/>
                <a:gd name="T4" fmla="*/ 560 w 560"/>
                <a:gd name="T5" fmla="*/ 318 h 352"/>
                <a:gd name="T6" fmla="*/ 527 w 560"/>
                <a:gd name="T7" fmla="*/ 352 h 352"/>
                <a:gd name="T8" fmla="*/ 166 w 560"/>
                <a:gd name="T9" fmla="*/ 352 h 352"/>
                <a:gd name="T10" fmla="*/ 49 w 560"/>
                <a:gd name="T11" fmla="*/ 235 h 352"/>
                <a:gd name="T12" fmla="*/ 0 w 560"/>
                <a:gd name="T13" fmla="*/ 235 h 352"/>
                <a:gd name="T14" fmla="*/ 0 w 560"/>
                <a:gd name="T15" fmla="*/ 209 h 352"/>
                <a:gd name="T16" fmla="*/ 60 w 560"/>
                <a:gd name="T17" fmla="*/ 209 h 352"/>
                <a:gd name="T18" fmla="*/ 177 w 560"/>
                <a:gd name="T19" fmla="*/ 326 h 352"/>
                <a:gd name="T20" fmla="*/ 515 w 560"/>
                <a:gd name="T21" fmla="*/ 326 h 352"/>
                <a:gd name="T22" fmla="*/ 534 w 560"/>
                <a:gd name="T23" fmla="*/ 308 h 352"/>
                <a:gd name="T24" fmla="*/ 534 w 560"/>
                <a:gd name="T25" fmla="*/ 268 h 352"/>
                <a:gd name="T26" fmla="*/ 515 w 560"/>
                <a:gd name="T27" fmla="*/ 250 h 352"/>
                <a:gd name="T28" fmla="*/ 279 w 560"/>
                <a:gd name="T29" fmla="*/ 250 h 352"/>
                <a:gd name="T30" fmla="*/ 175 w 560"/>
                <a:gd name="T31" fmla="*/ 145 h 352"/>
                <a:gd name="T32" fmla="*/ 193 w 560"/>
                <a:gd name="T33" fmla="*/ 127 h 352"/>
                <a:gd name="T34" fmla="*/ 290 w 560"/>
                <a:gd name="T35" fmla="*/ 224 h 352"/>
                <a:gd name="T36" fmla="*/ 316 w 560"/>
                <a:gd name="T37" fmla="*/ 224 h 352"/>
                <a:gd name="T38" fmla="*/ 344 w 560"/>
                <a:gd name="T39" fmla="*/ 195 h 352"/>
                <a:gd name="T40" fmla="*/ 344 w 560"/>
                <a:gd name="T41" fmla="*/ 169 h 352"/>
                <a:gd name="T42" fmla="*/ 200 w 560"/>
                <a:gd name="T43" fmla="*/ 26 h 352"/>
                <a:gd name="T44" fmla="*/ 0 w 560"/>
                <a:gd name="T45" fmla="*/ 26 h 352"/>
                <a:gd name="T46" fmla="*/ 0 w 560"/>
                <a:gd name="T47" fmla="*/ 0 h 352"/>
                <a:gd name="T48" fmla="*/ 211 w 560"/>
                <a:gd name="T49" fmla="*/ 0 h 352"/>
                <a:gd name="T50" fmla="*/ 370 w 560"/>
                <a:gd name="T51" fmla="*/ 159 h 352"/>
                <a:gd name="T52" fmla="*/ 370 w 560"/>
                <a:gd name="T53" fmla="*/ 206 h 352"/>
                <a:gd name="T54" fmla="*/ 353 w 560"/>
                <a:gd name="T55" fmla="*/ 224 h 352"/>
                <a:gd name="T56" fmla="*/ 526 w 560"/>
                <a:gd name="T57" fmla="*/ 224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60" h="352">
                  <a:moveTo>
                    <a:pt x="526" y="224"/>
                  </a:moveTo>
                  <a:lnTo>
                    <a:pt x="560" y="257"/>
                  </a:lnTo>
                  <a:lnTo>
                    <a:pt x="560" y="318"/>
                  </a:lnTo>
                  <a:lnTo>
                    <a:pt x="527" y="352"/>
                  </a:lnTo>
                  <a:lnTo>
                    <a:pt x="166" y="352"/>
                  </a:lnTo>
                  <a:lnTo>
                    <a:pt x="49" y="235"/>
                  </a:lnTo>
                  <a:lnTo>
                    <a:pt x="0" y="235"/>
                  </a:lnTo>
                  <a:lnTo>
                    <a:pt x="0" y="209"/>
                  </a:lnTo>
                  <a:lnTo>
                    <a:pt x="60" y="209"/>
                  </a:lnTo>
                  <a:lnTo>
                    <a:pt x="177" y="326"/>
                  </a:lnTo>
                  <a:lnTo>
                    <a:pt x="515" y="326"/>
                  </a:lnTo>
                  <a:lnTo>
                    <a:pt x="534" y="308"/>
                  </a:lnTo>
                  <a:lnTo>
                    <a:pt x="534" y="268"/>
                  </a:lnTo>
                  <a:lnTo>
                    <a:pt x="515" y="250"/>
                  </a:lnTo>
                  <a:lnTo>
                    <a:pt x="279" y="250"/>
                  </a:lnTo>
                  <a:lnTo>
                    <a:pt x="175" y="145"/>
                  </a:lnTo>
                  <a:lnTo>
                    <a:pt x="193" y="127"/>
                  </a:lnTo>
                  <a:lnTo>
                    <a:pt x="290" y="224"/>
                  </a:lnTo>
                  <a:lnTo>
                    <a:pt x="316" y="224"/>
                  </a:lnTo>
                  <a:lnTo>
                    <a:pt x="344" y="195"/>
                  </a:lnTo>
                  <a:lnTo>
                    <a:pt x="344" y="169"/>
                  </a:lnTo>
                  <a:lnTo>
                    <a:pt x="200" y="26"/>
                  </a:lnTo>
                  <a:lnTo>
                    <a:pt x="0" y="26"/>
                  </a:lnTo>
                  <a:lnTo>
                    <a:pt x="0" y="0"/>
                  </a:lnTo>
                  <a:lnTo>
                    <a:pt x="211" y="0"/>
                  </a:lnTo>
                  <a:lnTo>
                    <a:pt x="370" y="159"/>
                  </a:lnTo>
                  <a:lnTo>
                    <a:pt x="370" y="206"/>
                  </a:lnTo>
                  <a:lnTo>
                    <a:pt x="353" y="224"/>
                  </a:lnTo>
                  <a:lnTo>
                    <a:pt x="526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6" name="Freeform 41">
              <a:extLst>
                <a:ext uri="{FF2B5EF4-FFF2-40B4-BE49-F238E27FC236}">
                  <a16:creationId xmlns:a16="http://schemas.microsoft.com/office/drawing/2014/main" id="{F7FBAB9A-54F5-F899-4C82-09AC07DFB8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9650" y="5292726"/>
              <a:ext cx="131763" cy="174625"/>
            </a:xfrm>
            <a:custGeom>
              <a:avLst/>
              <a:gdLst>
                <a:gd name="T0" fmla="*/ 0 w 363"/>
                <a:gd name="T1" fmla="*/ 472 h 477"/>
                <a:gd name="T2" fmla="*/ 66 w 363"/>
                <a:gd name="T3" fmla="*/ 368 h 477"/>
                <a:gd name="T4" fmla="*/ 182 w 363"/>
                <a:gd name="T5" fmla="*/ 330 h 477"/>
                <a:gd name="T6" fmla="*/ 298 w 363"/>
                <a:gd name="T7" fmla="*/ 368 h 477"/>
                <a:gd name="T8" fmla="*/ 363 w 363"/>
                <a:gd name="T9" fmla="*/ 472 h 477"/>
                <a:gd name="T10" fmla="*/ 341 w 363"/>
                <a:gd name="T11" fmla="*/ 477 h 477"/>
                <a:gd name="T12" fmla="*/ 182 w 363"/>
                <a:gd name="T13" fmla="*/ 354 h 477"/>
                <a:gd name="T14" fmla="*/ 23 w 363"/>
                <a:gd name="T15" fmla="*/ 477 h 477"/>
                <a:gd name="T16" fmla="*/ 0 w 363"/>
                <a:gd name="T17" fmla="*/ 472 h 477"/>
                <a:gd name="T18" fmla="*/ 182 w 363"/>
                <a:gd name="T19" fmla="*/ 286 h 477"/>
                <a:gd name="T20" fmla="*/ 81 w 363"/>
                <a:gd name="T21" fmla="*/ 244 h 477"/>
                <a:gd name="T22" fmla="*/ 39 w 363"/>
                <a:gd name="T23" fmla="*/ 143 h 477"/>
                <a:gd name="T24" fmla="*/ 81 w 363"/>
                <a:gd name="T25" fmla="*/ 42 h 477"/>
                <a:gd name="T26" fmla="*/ 182 w 363"/>
                <a:gd name="T27" fmla="*/ 0 h 477"/>
                <a:gd name="T28" fmla="*/ 284 w 363"/>
                <a:gd name="T29" fmla="*/ 42 h 477"/>
                <a:gd name="T30" fmla="*/ 325 w 363"/>
                <a:gd name="T31" fmla="*/ 143 h 477"/>
                <a:gd name="T32" fmla="*/ 284 w 363"/>
                <a:gd name="T33" fmla="*/ 244 h 477"/>
                <a:gd name="T34" fmla="*/ 182 w 363"/>
                <a:gd name="T35" fmla="*/ 286 h 477"/>
                <a:gd name="T36" fmla="*/ 182 w 363"/>
                <a:gd name="T37" fmla="*/ 23 h 477"/>
                <a:gd name="T38" fmla="*/ 62 w 363"/>
                <a:gd name="T39" fmla="*/ 143 h 477"/>
                <a:gd name="T40" fmla="*/ 182 w 363"/>
                <a:gd name="T41" fmla="*/ 263 h 477"/>
                <a:gd name="T42" fmla="*/ 302 w 363"/>
                <a:gd name="T43" fmla="*/ 143 h 477"/>
                <a:gd name="T44" fmla="*/ 182 w 363"/>
                <a:gd name="T45" fmla="*/ 23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3" h="477">
                  <a:moveTo>
                    <a:pt x="0" y="472"/>
                  </a:moveTo>
                  <a:cubicBezTo>
                    <a:pt x="10" y="429"/>
                    <a:pt x="32" y="393"/>
                    <a:pt x="66" y="368"/>
                  </a:cubicBezTo>
                  <a:cubicBezTo>
                    <a:pt x="98" y="343"/>
                    <a:pt x="139" y="330"/>
                    <a:pt x="182" y="330"/>
                  </a:cubicBezTo>
                  <a:cubicBezTo>
                    <a:pt x="225" y="330"/>
                    <a:pt x="266" y="343"/>
                    <a:pt x="298" y="368"/>
                  </a:cubicBezTo>
                  <a:cubicBezTo>
                    <a:pt x="331" y="393"/>
                    <a:pt x="353" y="429"/>
                    <a:pt x="363" y="472"/>
                  </a:cubicBezTo>
                  <a:lnTo>
                    <a:pt x="341" y="477"/>
                  </a:lnTo>
                  <a:cubicBezTo>
                    <a:pt x="321" y="392"/>
                    <a:pt x="248" y="354"/>
                    <a:pt x="182" y="354"/>
                  </a:cubicBezTo>
                  <a:cubicBezTo>
                    <a:pt x="117" y="354"/>
                    <a:pt x="44" y="392"/>
                    <a:pt x="23" y="477"/>
                  </a:cubicBezTo>
                  <a:lnTo>
                    <a:pt x="0" y="472"/>
                  </a:lnTo>
                  <a:close/>
                  <a:moveTo>
                    <a:pt x="182" y="286"/>
                  </a:moveTo>
                  <a:cubicBezTo>
                    <a:pt x="144" y="286"/>
                    <a:pt x="108" y="271"/>
                    <a:pt x="81" y="244"/>
                  </a:cubicBezTo>
                  <a:cubicBezTo>
                    <a:pt x="54" y="218"/>
                    <a:pt x="39" y="182"/>
                    <a:pt x="39" y="143"/>
                  </a:cubicBezTo>
                  <a:cubicBezTo>
                    <a:pt x="39" y="105"/>
                    <a:pt x="54" y="69"/>
                    <a:pt x="81" y="42"/>
                  </a:cubicBezTo>
                  <a:cubicBezTo>
                    <a:pt x="108" y="15"/>
                    <a:pt x="144" y="0"/>
                    <a:pt x="182" y="0"/>
                  </a:cubicBezTo>
                  <a:cubicBezTo>
                    <a:pt x="221" y="0"/>
                    <a:pt x="257" y="15"/>
                    <a:pt x="284" y="42"/>
                  </a:cubicBezTo>
                  <a:cubicBezTo>
                    <a:pt x="310" y="69"/>
                    <a:pt x="325" y="105"/>
                    <a:pt x="325" y="143"/>
                  </a:cubicBezTo>
                  <a:cubicBezTo>
                    <a:pt x="325" y="182"/>
                    <a:pt x="310" y="218"/>
                    <a:pt x="284" y="244"/>
                  </a:cubicBezTo>
                  <a:cubicBezTo>
                    <a:pt x="257" y="271"/>
                    <a:pt x="221" y="286"/>
                    <a:pt x="182" y="286"/>
                  </a:cubicBezTo>
                  <a:close/>
                  <a:moveTo>
                    <a:pt x="182" y="23"/>
                  </a:moveTo>
                  <a:cubicBezTo>
                    <a:pt x="115" y="23"/>
                    <a:pt x="62" y="76"/>
                    <a:pt x="62" y="143"/>
                  </a:cubicBezTo>
                  <a:cubicBezTo>
                    <a:pt x="62" y="210"/>
                    <a:pt x="115" y="263"/>
                    <a:pt x="182" y="263"/>
                  </a:cubicBezTo>
                  <a:cubicBezTo>
                    <a:pt x="250" y="263"/>
                    <a:pt x="302" y="210"/>
                    <a:pt x="302" y="143"/>
                  </a:cubicBezTo>
                  <a:cubicBezTo>
                    <a:pt x="302" y="76"/>
                    <a:pt x="250" y="23"/>
                    <a:pt x="18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27" name="Freeform 42">
            <a:extLst>
              <a:ext uri="{FF2B5EF4-FFF2-40B4-BE49-F238E27FC236}">
                <a16:creationId xmlns:a16="http://schemas.microsoft.com/office/drawing/2014/main" id="{BD1C914E-2747-80D4-E543-B57FC6AFCD2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359535" y="2222500"/>
            <a:ext cx="547803" cy="514264"/>
          </a:xfrm>
          <a:custGeom>
            <a:avLst/>
            <a:gdLst>
              <a:gd name="T0" fmla="*/ 653 w 1076"/>
              <a:gd name="T1" fmla="*/ 221 h 1000"/>
              <a:gd name="T2" fmla="*/ 555 w 1076"/>
              <a:gd name="T3" fmla="*/ 299 h 1000"/>
              <a:gd name="T4" fmla="*/ 478 w 1076"/>
              <a:gd name="T5" fmla="*/ 397 h 1000"/>
              <a:gd name="T6" fmla="*/ 257 w 1076"/>
              <a:gd name="T7" fmla="*/ 299 h 1000"/>
              <a:gd name="T8" fmla="*/ 478 w 1076"/>
              <a:gd name="T9" fmla="*/ 520 h 1000"/>
              <a:gd name="T10" fmla="*/ 555 w 1076"/>
              <a:gd name="T11" fmla="*/ 423 h 1000"/>
              <a:gd name="T12" fmla="*/ 777 w 1076"/>
              <a:gd name="T13" fmla="*/ 520 h 1000"/>
              <a:gd name="T14" fmla="*/ 679 w 1076"/>
              <a:gd name="T15" fmla="*/ 299 h 1000"/>
              <a:gd name="T16" fmla="*/ 777 w 1076"/>
              <a:gd name="T17" fmla="*/ 221 h 1000"/>
              <a:gd name="T18" fmla="*/ 555 w 1076"/>
              <a:gd name="T19" fmla="*/ 0 h 1000"/>
              <a:gd name="T20" fmla="*/ 452 w 1076"/>
              <a:gd name="T21" fmla="*/ 494 h 1000"/>
              <a:gd name="T22" fmla="*/ 283 w 1076"/>
              <a:gd name="T23" fmla="*/ 325 h 1000"/>
              <a:gd name="T24" fmla="*/ 452 w 1076"/>
              <a:gd name="T25" fmla="*/ 494 h 1000"/>
              <a:gd name="T26" fmla="*/ 581 w 1076"/>
              <a:gd name="T27" fmla="*/ 494 h 1000"/>
              <a:gd name="T28" fmla="*/ 751 w 1076"/>
              <a:gd name="T29" fmla="*/ 325 h 1000"/>
              <a:gd name="T30" fmla="*/ 581 w 1076"/>
              <a:gd name="T31" fmla="*/ 26 h 1000"/>
              <a:gd name="T32" fmla="*/ 751 w 1076"/>
              <a:gd name="T33" fmla="*/ 195 h 1000"/>
              <a:gd name="T34" fmla="*/ 581 w 1076"/>
              <a:gd name="T35" fmla="*/ 26 h 1000"/>
              <a:gd name="T36" fmla="*/ 1075 w 1076"/>
              <a:gd name="T37" fmla="*/ 442 h 1000"/>
              <a:gd name="T38" fmla="*/ 997 w 1076"/>
              <a:gd name="T39" fmla="*/ 520 h 1000"/>
              <a:gd name="T40" fmla="*/ 1049 w 1076"/>
              <a:gd name="T41" fmla="*/ 494 h 1000"/>
              <a:gd name="T42" fmla="*/ 881 w 1076"/>
              <a:gd name="T43" fmla="*/ 494 h 1000"/>
              <a:gd name="T44" fmla="*/ 932 w 1076"/>
              <a:gd name="T45" fmla="*/ 520 h 1000"/>
              <a:gd name="T46" fmla="*/ 855 w 1076"/>
              <a:gd name="T47" fmla="*/ 442 h 1000"/>
              <a:gd name="T48" fmla="*/ 881 w 1076"/>
              <a:gd name="T49" fmla="*/ 494 h 1000"/>
              <a:gd name="T50" fmla="*/ 932 w 1076"/>
              <a:gd name="T51" fmla="*/ 299 h 1000"/>
              <a:gd name="T52" fmla="*/ 881 w 1076"/>
              <a:gd name="T53" fmla="*/ 325 h 1000"/>
              <a:gd name="T54" fmla="*/ 855 w 1076"/>
              <a:gd name="T55" fmla="*/ 376 h 1000"/>
              <a:gd name="T56" fmla="*/ 1076 w 1076"/>
              <a:gd name="T57" fmla="*/ 299 h 1000"/>
              <a:gd name="T58" fmla="*/ 1049 w 1076"/>
              <a:gd name="T59" fmla="*/ 376 h 1000"/>
              <a:gd name="T60" fmla="*/ 997 w 1076"/>
              <a:gd name="T61" fmla="*/ 325 h 1000"/>
              <a:gd name="T62" fmla="*/ 1076 w 1076"/>
              <a:gd name="T63" fmla="*/ 299 h 1000"/>
              <a:gd name="T64" fmla="*/ 166 w 1076"/>
              <a:gd name="T65" fmla="*/ 643 h 1000"/>
              <a:gd name="T66" fmla="*/ 125 w 1076"/>
              <a:gd name="T67" fmla="*/ 970 h 1000"/>
              <a:gd name="T68" fmla="*/ 0 w 1076"/>
              <a:gd name="T69" fmla="*/ 944 h 1000"/>
              <a:gd name="T70" fmla="*/ 140 w 1076"/>
              <a:gd name="T71" fmla="*/ 917 h 1000"/>
              <a:gd name="T72" fmla="*/ 114 w 1076"/>
              <a:gd name="T73" fmla="*/ 627 h 1000"/>
              <a:gd name="T74" fmla="*/ 0 w 1076"/>
              <a:gd name="T75" fmla="*/ 601 h 1000"/>
              <a:gd name="T76" fmla="*/ 730 w 1076"/>
              <a:gd name="T77" fmla="*/ 872 h 1000"/>
              <a:gd name="T78" fmla="*/ 764 w 1076"/>
              <a:gd name="T79" fmla="*/ 967 h 1000"/>
              <a:gd name="T80" fmla="*/ 370 w 1076"/>
              <a:gd name="T81" fmla="*/ 1000 h 1000"/>
              <a:gd name="T82" fmla="*/ 204 w 1076"/>
              <a:gd name="T83" fmla="*/ 884 h 1000"/>
              <a:gd name="T84" fmla="*/ 264 w 1076"/>
              <a:gd name="T85" fmla="*/ 858 h 1000"/>
              <a:gd name="T86" fmla="*/ 719 w 1076"/>
              <a:gd name="T87" fmla="*/ 974 h 1000"/>
              <a:gd name="T88" fmla="*/ 738 w 1076"/>
              <a:gd name="T89" fmla="*/ 916 h 1000"/>
              <a:gd name="T90" fmla="*/ 483 w 1076"/>
              <a:gd name="T91" fmla="*/ 898 h 1000"/>
              <a:gd name="T92" fmla="*/ 397 w 1076"/>
              <a:gd name="T93" fmla="*/ 775 h 1000"/>
              <a:gd name="T94" fmla="*/ 519 w 1076"/>
              <a:gd name="T95" fmla="*/ 872 h 1000"/>
              <a:gd name="T96" fmla="*/ 548 w 1076"/>
              <a:gd name="T97" fmla="*/ 818 h 1000"/>
              <a:gd name="T98" fmla="*/ 204 w 1076"/>
              <a:gd name="T99" fmla="*/ 674 h 1000"/>
              <a:gd name="T100" fmla="*/ 414 w 1076"/>
              <a:gd name="T101" fmla="*/ 648 h 1000"/>
              <a:gd name="T102" fmla="*/ 574 w 1076"/>
              <a:gd name="T103" fmla="*/ 855 h 1000"/>
              <a:gd name="T104" fmla="*/ 730 w 1076"/>
              <a:gd name="T105" fmla="*/ 872 h 1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076" h="1000">
                <a:moveTo>
                  <a:pt x="555" y="221"/>
                </a:moveTo>
                <a:lnTo>
                  <a:pt x="653" y="221"/>
                </a:lnTo>
                <a:lnTo>
                  <a:pt x="653" y="299"/>
                </a:lnTo>
                <a:lnTo>
                  <a:pt x="555" y="299"/>
                </a:lnTo>
                <a:lnTo>
                  <a:pt x="555" y="397"/>
                </a:lnTo>
                <a:lnTo>
                  <a:pt x="478" y="397"/>
                </a:lnTo>
                <a:lnTo>
                  <a:pt x="478" y="299"/>
                </a:lnTo>
                <a:lnTo>
                  <a:pt x="257" y="299"/>
                </a:lnTo>
                <a:lnTo>
                  <a:pt x="257" y="520"/>
                </a:lnTo>
                <a:lnTo>
                  <a:pt x="478" y="520"/>
                </a:lnTo>
                <a:lnTo>
                  <a:pt x="478" y="423"/>
                </a:lnTo>
                <a:lnTo>
                  <a:pt x="555" y="423"/>
                </a:lnTo>
                <a:lnTo>
                  <a:pt x="555" y="520"/>
                </a:lnTo>
                <a:lnTo>
                  <a:pt x="777" y="520"/>
                </a:lnTo>
                <a:lnTo>
                  <a:pt x="777" y="299"/>
                </a:lnTo>
                <a:lnTo>
                  <a:pt x="679" y="299"/>
                </a:lnTo>
                <a:lnTo>
                  <a:pt x="679" y="221"/>
                </a:lnTo>
                <a:lnTo>
                  <a:pt x="777" y="221"/>
                </a:lnTo>
                <a:lnTo>
                  <a:pt x="777" y="0"/>
                </a:lnTo>
                <a:lnTo>
                  <a:pt x="555" y="0"/>
                </a:lnTo>
                <a:lnTo>
                  <a:pt x="555" y="221"/>
                </a:lnTo>
                <a:close/>
                <a:moveTo>
                  <a:pt x="452" y="494"/>
                </a:moveTo>
                <a:lnTo>
                  <a:pt x="283" y="494"/>
                </a:lnTo>
                <a:lnTo>
                  <a:pt x="283" y="325"/>
                </a:lnTo>
                <a:lnTo>
                  <a:pt x="452" y="325"/>
                </a:lnTo>
                <a:lnTo>
                  <a:pt x="452" y="494"/>
                </a:lnTo>
                <a:close/>
                <a:moveTo>
                  <a:pt x="751" y="494"/>
                </a:moveTo>
                <a:lnTo>
                  <a:pt x="581" y="494"/>
                </a:lnTo>
                <a:lnTo>
                  <a:pt x="581" y="325"/>
                </a:lnTo>
                <a:lnTo>
                  <a:pt x="751" y="325"/>
                </a:lnTo>
                <a:lnTo>
                  <a:pt x="751" y="494"/>
                </a:lnTo>
                <a:close/>
                <a:moveTo>
                  <a:pt x="581" y="26"/>
                </a:moveTo>
                <a:lnTo>
                  <a:pt x="751" y="26"/>
                </a:lnTo>
                <a:lnTo>
                  <a:pt x="751" y="195"/>
                </a:lnTo>
                <a:lnTo>
                  <a:pt x="581" y="195"/>
                </a:lnTo>
                <a:lnTo>
                  <a:pt x="581" y="26"/>
                </a:lnTo>
                <a:close/>
                <a:moveTo>
                  <a:pt x="1049" y="442"/>
                </a:moveTo>
                <a:lnTo>
                  <a:pt x="1075" y="442"/>
                </a:lnTo>
                <a:lnTo>
                  <a:pt x="1075" y="520"/>
                </a:lnTo>
                <a:lnTo>
                  <a:pt x="997" y="520"/>
                </a:lnTo>
                <a:lnTo>
                  <a:pt x="997" y="494"/>
                </a:lnTo>
                <a:lnTo>
                  <a:pt x="1049" y="494"/>
                </a:lnTo>
                <a:lnTo>
                  <a:pt x="1049" y="442"/>
                </a:lnTo>
                <a:close/>
                <a:moveTo>
                  <a:pt x="881" y="494"/>
                </a:moveTo>
                <a:lnTo>
                  <a:pt x="932" y="494"/>
                </a:lnTo>
                <a:lnTo>
                  <a:pt x="932" y="520"/>
                </a:lnTo>
                <a:lnTo>
                  <a:pt x="855" y="520"/>
                </a:lnTo>
                <a:lnTo>
                  <a:pt x="855" y="442"/>
                </a:lnTo>
                <a:lnTo>
                  <a:pt x="881" y="442"/>
                </a:lnTo>
                <a:lnTo>
                  <a:pt x="881" y="494"/>
                </a:lnTo>
                <a:close/>
                <a:moveTo>
                  <a:pt x="855" y="299"/>
                </a:moveTo>
                <a:lnTo>
                  <a:pt x="932" y="299"/>
                </a:lnTo>
                <a:lnTo>
                  <a:pt x="932" y="325"/>
                </a:lnTo>
                <a:lnTo>
                  <a:pt x="881" y="325"/>
                </a:lnTo>
                <a:lnTo>
                  <a:pt x="881" y="376"/>
                </a:lnTo>
                <a:lnTo>
                  <a:pt x="855" y="376"/>
                </a:lnTo>
                <a:lnTo>
                  <a:pt x="855" y="299"/>
                </a:lnTo>
                <a:close/>
                <a:moveTo>
                  <a:pt x="1076" y="299"/>
                </a:moveTo>
                <a:lnTo>
                  <a:pt x="1076" y="376"/>
                </a:lnTo>
                <a:lnTo>
                  <a:pt x="1049" y="376"/>
                </a:lnTo>
                <a:lnTo>
                  <a:pt x="1049" y="325"/>
                </a:lnTo>
                <a:lnTo>
                  <a:pt x="997" y="325"/>
                </a:lnTo>
                <a:lnTo>
                  <a:pt x="997" y="299"/>
                </a:lnTo>
                <a:lnTo>
                  <a:pt x="1076" y="299"/>
                </a:lnTo>
                <a:close/>
                <a:moveTo>
                  <a:pt x="125" y="601"/>
                </a:moveTo>
                <a:lnTo>
                  <a:pt x="166" y="643"/>
                </a:lnTo>
                <a:lnTo>
                  <a:pt x="166" y="928"/>
                </a:lnTo>
                <a:lnTo>
                  <a:pt x="125" y="970"/>
                </a:lnTo>
                <a:lnTo>
                  <a:pt x="0" y="970"/>
                </a:lnTo>
                <a:lnTo>
                  <a:pt x="0" y="944"/>
                </a:lnTo>
                <a:lnTo>
                  <a:pt x="114" y="944"/>
                </a:lnTo>
                <a:lnTo>
                  <a:pt x="140" y="917"/>
                </a:lnTo>
                <a:lnTo>
                  <a:pt x="140" y="654"/>
                </a:lnTo>
                <a:lnTo>
                  <a:pt x="114" y="627"/>
                </a:lnTo>
                <a:lnTo>
                  <a:pt x="0" y="627"/>
                </a:lnTo>
                <a:lnTo>
                  <a:pt x="0" y="601"/>
                </a:lnTo>
                <a:lnTo>
                  <a:pt x="125" y="601"/>
                </a:lnTo>
                <a:close/>
                <a:moveTo>
                  <a:pt x="730" y="872"/>
                </a:moveTo>
                <a:lnTo>
                  <a:pt x="764" y="906"/>
                </a:lnTo>
                <a:lnTo>
                  <a:pt x="764" y="967"/>
                </a:lnTo>
                <a:lnTo>
                  <a:pt x="730" y="1000"/>
                </a:lnTo>
                <a:lnTo>
                  <a:pt x="370" y="1000"/>
                </a:lnTo>
                <a:lnTo>
                  <a:pt x="253" y="884"/>
                </a:lnTo>
                <a:lnTo>
                  <a:pt x="204" y="884"/>
                </a:lnTo>
                <a:lnTo>
                  <a:pt x="204" y="858"/>
                </a:lnTo>
                <a:lnTo>
                  <a:pt x="264" y="858"/>
                </a:lnTo>
                <a:lnTo>
                  <a:pt x="380" y="974"/>
                </a:lnTo>
                <a:lnTo>
                  <a:pt x="719" y="974"/>
                </a:lnTo>
                <a:lnTo>
                  <a:pt x="738" y="956"/>
                </a:lnTo>
                <a:lnTo>
                  <a:pt x="738" y="916"/>
                </a:lnTo>
                <a:lnTo>
                  <a:pt x="719" y="898"/>
                </a:lnTo>
                <a:lnTo>
                  <a:pt x="483" y="898"/>
                </a:lnTo>
                <a:lnTo>
                  <a:pt x="379" y="793"/>
                </a:lnTo>
                <a:lnTo>
                  <a:pt x="397" y="775"/>
                </a:lnTo>
                <a:lnTo>
                  <a:pt x="494" y="872"/>
                </a:lnTo>
                <a:lnTo>
                  <a:pt x="519" y="872"/>
                </a:lnTo>
                <a:lnTo>
                  <a:pt x="548" y="844"/>
                </a:lnTo>
                <a:lnTo>
                  <a:pt x="548" y="818"/>
                </a:lnTo>
                <a:lnTo>
                  <a:pt x="404" y="674"/>
                </a:lnTo>
                <a:lnTo>
                  <a:pt x="204" y="674"/>
                </a:lnTo>
                <a:lnTo>
                  <a:pt x="204" y="648"/>
                </a:lnTo>
                <a:lnTo>
                  <a:pt x="414" y="648"/>
                </a:lnTo>
                <a:lnTo>
                  <a:pt x="574" y="807"/>
                </a:lnTo>
                <a:lnTo>
                  <a:pt x="574" y="855"/>
                </a:lnTo>
                <a:lnTo>
                  <a:pt x="557" y="872"/>
                </a:lnTo>
                <a:lnTo>
                  <a:pt x="730" y="87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1D33A932-C6ED-E17A-0F11-0D4374F7C4C2}"/>
              </a:ext>
            </a:extLst>
          </p:cNvPr>
          <p:cNvGrpSpPr/>
          <p:nvPr userDrawn="1"/>
        </p:nvGrpSpPr>
        <p:grpSpPr>
          <a:xfrm>
            <a:off x="7197725" y="5294313"/>
            <a:ext cx="319088" cy="250826"/>
            <a:chOff x="7197725" y="5294313"/>
            <a:chExt cx="319088" cy="250826"/>
          </a:xfrm>
        </p:grpSpPr>
        <p:sp>
          <p:nvSpPr>
            <p:cNvPr id="129" name="Freeform 43">
              <a:extLst>
                <a:ext uri="{FF2B5EF4-FFF2-40B4-BE49-F238E27FC236}">
                  <a16:creationId xmlns:a16="http://schemas.microsoft.com/office/drawing/2014/main" id="{5F986E43-5DBF-CFB5-6797-BA37CC7FF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7725" y="5399088"/>
              <a:ext cx="60325" cy="134938"/>
            </a:xfrm>
            <a:custGeom>
              <a:avLst/>
              <a:gdLst>
                <a:gd name="T0" fmla="*/ 124 w 166"/>
                <a:gd name="T1" fmla="*/ 0 h 368"/>
                <a:gd name="T2" fmla="*/ 166 w 166"/>
                <a:gd name="T3" fmla="*/ 41 h 368"/>
                <a:gd name="T4" fmla="*/ 166 w 166"/>
                <a:gd name="T5" fmla="*/ 326 h 368"/>
                <a:gd name="T6" fmla="*/ 124 w 166"/>
                <a:gd name="T7" fmla="*/ 368 h 368"/>
                <a:gd name="T8" fmla="*/ 0 w 166"/>
                <a:gd name="T9" fmla="*/ 368 h 368"/>
                <a:gd name="T10" fmla="*/ 0 w 166"/>
                <a:gd name="T11" fmla="*/ 342 h 368"/>
                <a:gd name="T12" fmla="*/ 114 w 166"/>
                <a:gd name="T13" fmla="*/ 342 h 368"/>
                <a:gd name="T14" fmla="*/ 140 w 166"/>
                <a:gd name="T15" fmla="*/ 316 h 368"/>
                <a:gd name="T16" fmla="*/ 140 w 166"/>
                <a:gd name="T17" fmla="*/ 52 h 368"/>
                <a:gd name="T18" fmla="*/ 114 w 166"/>
                <a:gd name="T19" fmla="*/ 26 h 368"/>
                <a:gd name="T20" fmla="*/ 0 w 166"/>
                <a:gd name="T21" fmla="*/ 26 h 368"/>
                <a:gd name="T22" fmla="*/ 0 w 166"/>
                <a:gd name="T23" fmla="*/ 0 h 368"/>
                <a:gd name="T24" fmla="*/ 124 w 166"/>
                <a:gd name="T25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368">
                  <a:moveTo>
                    <a:pt x="124" y="0"/>
                  </a:moveTo>
                  <a:lnTo>
                    <a:pt x="166" y="41"/>
                  </a:lnTo>
                  <a:lnTo>
                    <a:pt x="166" y="326"/>
                  </a:lnTo>
                  <a:lnTo>
                    <a:pt x="124" y="368"/>
                  </a:lnTo>
                  <a:lnTo>
                    <a:pt x="0" y="368"/>
                  </a:lnTo>
                  <a:lnTo>
                    <a:pt x="0" y="342"/>
                  </a:lnTo>
                  <a:lnTo>
                    <a:pt x="114" y="342"/>
                  </a:lnTo>
                  <a:lnTo>
                    <a:pt x="140" y="316"/>
                  </a:lnTo>
                  <a:lnTo>
                    <a:pt x="140" y="52"/>
                  </a:lnTo>
                  <a:lnTo>
                    <a:pt x="114" y="26"/>
                  </a:lnTo>
                  <a:lnTo>
                    <a:pt x="0" y="26"/>
                  </a:lnTo>
                  <a:lnTo>
                    <a:pt x="0" y="0"/>
                  </a:lnTo>
                  <a:lnTo>
                    <a:pt x="124" y="0"/>
                  </a:ln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0" name="Freeform 44">
              <a:extLst>
                <a:ext uri="{FF2B5EF4-FFF2-40B4-BE49-F238E27FC236}">
                  <a16:creationId xmlns:a16="http://schemas.microsoft.com/office/drawing/2014/main" id="{D8FD5622-BF6A-963C-293B-83BA862EF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2338" y="5416551"/>
              <a:ext cx="201613" cy="128588"/>
            </a:xfrm>
            <a:custGeom>
              <a:avLst/>
              <a:gdLst>
                <a:gd name="T0" fmla="*/ 526 w 560"/>
                <a:gd name="T1" fmla="*/ 224 h 352"/>
                <a:gd name="T2" fmla="*/ 560 w 560"/>
                <a:gd name="T3" fmla="*/ 257 h 352"/>
                <a:gd name="T4" fmla="*/ 560 w 560"/>
                <a:gd name="T5" fmla="*/ 318 h 352"/>
                <a:gd name="T6" fmla="*/ 526 w 560"/>
                <a:gd name="T7" fmla="*/ 352 h 352"/>
                <a:gd name="T8" fmla="*/ 165 w 560"/>
                <a:gd name="T9" fmla="*/ 352 h 352"/>
                <a:gd name="T10" fmla="*/ 49 w 560"/>
                <a:gd name="T11" fmla="*/ 235 h 352"/>
                <a:gd name="T12" fmla="*/ 0 w 560"/>
                <a:gd name="T13" fmla="*/ 235 h 352"/>
                <a:gd name="T14" fmla="*/ 0 w 560"/>
                <a:gd name="T15" fmla="*/ 209 h 352"/>
                <a:gd name="T16" fmla="*/ 60 w 560"/>
                <a:gd name="T17" fmla="*/ 209 h 352"/>
                <a:gd name="T18" fmla="*/ 176 w 560"/>
                <a:gd name="T19" fmla="*/ 326 h 352"/>
                <a:gd name="T20" fmla="*/ 515 w 560"/>
                <a:gd name="T21" fmla="*/ 326 h 352"/>
                <a:gd name="T22" fmla="*/ 534 w 560"/>
                <a:gd name="T23" fmla="*/ 308 h 352"/>
                <a:gd name="T24" fmla="*/ 534 w 560"/>
                <a:gd name="T25" fmla="*/ 268 h 352"/>
                <a:gd name="T26" fmla="*/ 515 w 560"/>
                <a:gd name="T27" fmla="*/ 249 h 352"/>
                <a:gd name="T28" fmla="*/ 279 w 560"/>
                <a:gd name="T29" fmla="*/ 249 h 352"/>
                <a:gd name="T30" fmla="*/ 174 w 560"/>
                <a:gd name="T31" fmla="*/ 145 h 352"/>
                <a:gd name="T32" fmla="*/ 193 w 560"/>
                <a:gd name="T33" fmla="*/ 127 h 352"/>
                <a:gd name="T34" fmla="*/ 289 w 560"/>
                <a:gd name="T35" fmla="*/ 224 h 352"/>
                <a:gd name="T36" fmla="*/ 315 w 560"/>
                <a:gd name="T37" fmla="*/ 224 h 352"/>
                <a:gd name="T38" fmla="*/ 344 w 560"/>
                <a:gd name="T39" fmla="*/ 195 h 352"/>
                <a:gd name="T40" fmla="*/ 344 w 560"/>
                <a:gd name="T41" fmla="*/ 169 h 352"/>
                <a:gd name="T42" fmla="*/ 200 w 560"/>
                <a:gd name="T43" fmla="*/ 26 h 352"/>
                <a:gd name="T44" fmla="*/ 0 w 560"/>
                <a:gd name="T45" fmla="*/ 26 h 352"/>
                <a:gd name="T46" fmla="*/ 0 w 560"/>
                <a:gd name="T47" fmla="*/ 0 h 352"/>
                <a:gd name="T48" fmla="*/ 210 w 560"/>
                <a:gd name="T49" fmla="*/ 0 h 352"/>
                <a:gd name="T50" fmla="*/ 370 w 560"/>
                <a:gd name="T51" fmla="*/ 159 h 352"/>
                <a:gd name="T52" fmla="*/ 370 w 560"/>
                <a:gd name="T53" fmla="*/ 206 h 352"/>
                <a:gd name="T54" fmla="*/ 353 w 560"/>
                <a:gd name="T55" fmla="*/ 224 h 352"/>
                <a:gd name="T56" fmla="*/ 526 w 560"/>
                <a:gd name="T57" fmla="*/ 224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60" h="352">
                  <a:moveTo>
                    <a:pt x="526" y="224"/>
                  </a:moveTo>
                  <a:lnTo>
                    <a:pt x="560" y="257"/>
                  </a:lnTo>
                  <a:lnTo>
                    <a:pt x="560" y="318"/>
                  </a:lnTo>
                  <a:lnTo>
                    <a:pt x="526" y="352"/>
                  </a:lnTo>
                  <a:lnTo>
                    <a:pt x="165" y="352"/>
                  </a:lnTo>
                  <a:lnTo>
                    <a:pt x="49" y="235"/>
                  </a:lnTo>
                  <a:lnTo>
                    <a:pt x="0" y="235"/>
                  </a:lnTo>
                  <a:lnTo>
                    <a:pt x="0" y="209"/>
                  </a:lnTo>
                  <a:lnTo>
                    <a:pt x="60" y="209"/>
                  </a:lnTo>
                  <a:lnTo>
                    <a:pt x="176" y="326"/>
                  </a:lnTo>
                  <a:lnTo>
                    <a:pt x="515" y="326"/>
                  </a:lnTo>
                  <a:lnTo>
                    <a:pt x="534" y="308"/>
                  </a:lnTo>
                  <a:lnTo>
                    <a:pt x="534" y="268"/>
                  </a:lnTo>
                  <a:lnTo>
                    <a:pt x="515" y="249"/>
                  </a:lnTo>
                  <a:lnTo>
                    <a:pt x="279" y="249"/>
                  </a:lnTo>
                  <a:lnTo>
                    <a:pt x="174" y="145"/>
                  </a:lnTo>
                  <a:lnTo>
                    <a:pt x="193" y="127"/>
                  </a:lnTo>
                  <a:lnTo>
                    <a:pt x="289" y="224"/>
                  </a:lnTo>
                  <a:lnTo>
                    <a:pt x="315" y="224"/>
                  </a:lnTo>
                  <a:lnTo>
                    <a:pt x="344" y="195"/>
                  </a:lnTo>
                  <a:lnTo>
                    <a:pt x="344" y="169"/>
                  </a:lnTo>
                  <a:lnTo>
                    <a:pt x="200" y="26"/>
                  </a:lnTo>
                  <a:lnTo>
                    <a:pt x="0" y="26"/>
                  </a:lnTo>
                  <a:lnTo>
                    <a:pt x="0" y="0"/>
                  </a:lnTo>
                  <a:lnTo>
                    <a:pt x="210" y="0"/>
                  </a:lnTo>
                  <a:lnTo>
                    <a:pt x="370" y="159"/>
                  </a:lnTo>
                  <a:lnTo>
                    <a:pt x="370" y="206"/>
                  </a:lnTo>
                  <a:lnTo>
                    <a:pt x="353" y="224"/>
                  </a:lnTo>
                  <a:lnTo>
                    <a:pt x="526" y="224"/>
                  </a:ln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2" name="Freeform 45">
              <a:extLst>
                <a:ext uri="{FF2B5EF4-FFF2-40B4-BE49-F238E27FC236}">
                  <a16:creationId xmlns:a16="http://schemas.microsoft.com/office/drawing/2014/main" id="{A0506775-309E-889F-B586-F7F1F8268F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72350" y="5294313"/>
              <a:ext cx="144463" cy="171450"/>
            </a:xfrm>
            <a:custGeom>
              <a:avLst/>
              <a:gdLst>
                <a:gd name="T0" fmla="*/ 340 w 400"/>
                <a:gd name="T1" fmla="*/ 84 h 469"/>
                <a:gd name="T2" fmla="*/ 207 w 400"/>
                <a:gd name="T3" fmla="*/ 25 h 469"/>
                <a:gd name="T4" fmla="*/ 207 w 400"/>
                <a:gd name="T5" fmla="*/ 8 h 469"/>
                <a:gd name="T6" fmla="*/ 199 w 400"/>
                <a:gd name="T7" fmla="*/ 0 h 469"/>
                <a:gd name="T8" fmla="*/ 192 w 400"/>
                <a:gd name="T9" fmla="*/ 8 h 469"/>
                <a:gd name="T10" fmla="*/ 192 w 400"/>
                <a:gd name="T11" fmla="*/ 25 h 469"/>
                <a:gd name="T12" fmla="*/ 59 w 400"/>
                <a:gd name="T13" fmla="*/ 84 h 469"/>
                <a:gd name="T14" fmla="*/ 0 w 400"/>
                <a:gd name="T15" fmla="*/ 226 h 469"/>
                <a:gd name="T16" fmla="*/ 7 w 400"/>
                <a:gd name="T17" fmla="*/ 234 h 469"/>
                <a:gd name="T18" fmla="*/ 15 w 400"/>
                <a:gd name="T19" fmla="*/ 227 h 469"/>
                <a:gd name="T20" fmla="*/ 55 w 400"/>
                <a:gd name="T21" fmla="*/ 187 h 469"/>
                <a:gd name="T22" fmla="*/ 96 w 400"/>
                <a:gd name="T23" fmla="*/ 228 h 469"/>
                <a:gd name="T24" fmla="*/ 104 w 400"/>
                <a:gd name="T25" fmla="*/ 236 h 469"/>
                <a:gd name="T26" fmla="*/ 111 w 400"/>
                <a:gd name="T27" fmla="*/ 228 h 469"/>
                <a:gd name="T28" fmla="*/ 152 w 400"/>
                <a:gd name="T29" fmla="*/ 187 h 469"/>
                <a:gd name="T30" fmla="*/ 192 w 400"/>
                <a:gd name="T31" fmla="*/ 228 h 469"/>
                <a:gd name="T32" fmla="*/ 192 w 400"/>
                <a:gd name="T33" fmla="*/ 437 h 469"/>
                <a:gd name="T34" fmla="*/ 176 w 400"/>
                <a:gd name="T35" fmla="*/ 453 h 469"/>
                <a:gd name="T36" fmla="*/ 161 w 400"/>
                <a:gd name="T37" fmla="*/ 437 h 469"/>
                <a:gd name="T38" fmla="*/ 161 w 400"/>
                <a:gd name="T39" fmla="*/ 416 h 469"/>
                <a:gd name="T40" fmla="*/ 153 w 400"/>
                <a:gd name="T41" fmla="*/ 408 h 469"/>
                <a:gd name="T42" fmla="*/ 145 w 400"/>
                <a:gd name="T43" fmla="*/ 416 h 469"/>
                <a:gd name="T44" fmla="*/ 145 w 400"/>
                <a:gd name="T45" fmla="*/ 437 h 469"/>
                <a:gd name="T46" fmla="*/ 176 w 400"/>
                <a:gd name="T47" fmla="*/ 469 h 469"/>
                <a:gd name="T48" fmla="*/ 208 w 400"/>
                <a:gd name="T49" fmla="*/ 437 h 469"/>
                <a:gd name="T50" fmla="*/ 208 w 400"/>
                <a:gd name="T51" fmla="*/ 228 h 469"/>
                <a:gd name="T52" fmla="*/ 248 w 400"/>
                <a:gd name="T53" fmla="*/ 187 h 469"/>
                <a:gd name="T54" fmla="*/ 288 w 400"/>
                <a:gd name="T55" fmla="*/ 228 h 469"/>
                <a:gd name="T56" fmla="*/ 296 w 400"/>
                <a:gd name="T57" fmla="*/ 236 h 469"/>
                <a:gd name="T58" fmla="*/ 304 w 400"/>
                <a:gd name="T59" fmla="*/ 228 h 469"/>
                <a:gd name="T60" fmla="*/ 344 w 400"/>
                <a:gd name="T61" fmla="*/ 187 h 469"/>
                <a:gd name="T62" fmla="*/ 384 w 400"/>
                <a:gd name="T63" fmla="*/ 227 h 469"/>
                <a:gd name="T64" fmla="*/ 392 w 400"/>
                <a:gd name="T65" fmla="*/ 234 h 469"/>
                <a:gd name="T66" fmla="*/ 392 w 400"/>
                <a:gd name="T67" fmla="*/ 234 h 469"/>
                <a:gd name="T68" fmla="*/ 400 w 400"/>
                <a:gd name="T69" fmla="*/ 226 h 469"/>
                <a:gd name="T70" fmla="*/ 340 w 400"/>
                <a:gd name="T71" fmla="*/ 84 h 469"/>
                <a:gd name="T72" fmla="*/ 344 w 400"/>
                <a:gd name="T73" fmla="*/ 171 h 469"/>
                <a:gd name="T74" fmla="*/ 295 w 400"/>
                <a:gd name="T75" fmla="*/ 199 h 469"/>
                <a:gd name="T76" fmla="*/ 247 w 400"/>
                <a:gd name="T77" fmla="*/ 171 h 469"/>
                <a:gd name="T78" fmla="*/ 199 w 400"/>
                <a:gd name="T79" fmla="*/ 199 h 469"/>
                <a:gd name="T80" fmla="*/ 151 w 400"/>
                <a:gd name="T81" fmla="*/ 171 h 469"/>
                <a:gd name="T82" fmla="*/ 103 w 400"/>
                <a:gd name="T83" fmla="*/ 199 h 469"/>
                <a:gd name="T84" fmla="*/ 55 w 400"/>
                <a:gd name="T85" fmla="*/ 171 h 469"/>
                <a:gd name="T86" fmla="*/ 21 w 400"/>
                <a:gd name="T87" fmla="*/ 183 h 469"/>
                <a:gd name="T88" fmla="*/ 70 w 400"/>
                <a:gd name="T89" fmla="*/ 95 h 469"/>
                <a:gd name="T90" fmla="*/ 199 w 400"/>
                <a:gd name="T91" fmla="*/ 41 h 469"/>
                <a:gd name="T92" fmla="*/ 328 w 400"/>
                <a:gd name="T93" fmla="*/ 95 h 469"/>
                <a:gd name="T94" fmla="*/ 378 w 400"/>
                <a:gd name="T95" fmla="*/ 183 h 469"/>
                <a:gd name="T96" fmla="*/ 344 w 400"/>
                <a:gd name="T97" fmla="*/ 171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0" h="469">
                  <a:moveTo>
                    <a:pt x="340" y="84"/>
                  </a:moveTo>
                  <a:cubicBezTo>
                    <a:pt x="304" y="47"/>
                    <a:pt x="257" y="27"/>
                    <a:pt x="207" y="25"/>
                  </a:cubicBezTo>
                  <a:lnTo>
                    <a:pt x="207" y="8"/>
                  </a:lnTo>
                  <a:cubicBezTo>
                    <a:pt x="207" y="4"/>
                    <a:pt x="204" y="0"/>
                    <a:pt x="199" y="0"/>
                  </a:cubicBezTo>
                  <a:cubicBezTo>
                    <a:pt x="195" y="0"/>
                    <a:pt x="192" y="4"/>
                    <a:pt x="192" y="8"/>
                  </a:cubicBezTo>
                  <a:lnTo>
                    <a:pt x="192" y="25"/>
                  </a:lnTo>
                  <a:cubicBezTo>
                    <a:pt x="142" y="27"/>
                    <a:pt x="95" y="47"/>
                    <a:pt x="59" y="84"/>
                  </a:cubicBezTo>
                  <a:cubicBezTo>
                    <a:pt x="22" y="122"/>
                    <a:pt x="1" y="172"/>
                    <a:pt x="0" y="226"/>
                  </a:cubicBezTo>
                  <a:cubicBezTo>
                    <a:pt x="0" y="231"/>
                    <a:pt x="3" y="234"/>
                    <a:pt x="7" y="234"/>
                  </a:cubicBezTo>
                  <a:cubicBezTo>
                    <a:pt x="12" y="235"/>
                    <a:pt x="15" y="231"/>
                    <a:pt x="15" y="227"/>
                  </a:cubicBezTo>
                  <a:cubicBezTo>
                    <a:pt x="16" y="204"/>
                    <a:pt x="34" y="187"/>
                    <a:pt x="55" y="187"/>
                  </a:cubicBezTo>
                  <a:cubicBezTo>
                    <a:pt x="78" y="187"/>
                    <a:pt x="96" y="205"/>
                    <a:pt x="96" y="228"/>
                  </a:cubicBezTo>
                  <a:cubicBezTo>
                    <a:pt x="96" y="233"/>
                    <a:pt x="99" y="236"/>
                    <a:pt x="104" y="236"/>
                  </a:cubicBezTo>
                  <a:cubicBezTo>
                    <a:pt x="108" y="236"/>
                    <a:pt x="111" y="233"/>
                    <a:pt x="111" y="228"/>
                  </a:cubicBezTo>
                  <a:cubicBezTo>
                    <a:pt x="111" y="205"/>
                    <a:pt x="129" y="187"/>
                    <a:pt x="152" y="187"/>
                  </a:cubicBezTo>
                  <a:cubicBezTo>
                    <a:pt x="174" y="187"/>
                    <a:pt x="192" y="205"/>
                    <a:pt x="192" y="228"/>
                  </a:cubicBezTo>
                  <a:lnTo>
                    <a:pt x="192" y="437"/>
                  </a:lnTo>
                  <a:cubicBezTo>
                    <a:pt x="192" y="446"/>
                    <a:pt x="185" y="453"/>
                    <a:pt x="176" y="453"/>
                  </a:cubicBezTo>
                  <a:cubicBezTo>
                    <a:pt x="168" y="453"/>
                    <a:pt x="161" y="446"/>
                    <a:pt x="161" y="437"/>
                  </a:cubicBezTo>
                  <a:lnTo>
                    <a:pt x="161" y="416"/>
                  </a:lnTo>
                  <a:cubicBezTo>
                    <a:pt x="161" y="412"/>
                    <a:pt x="157" y="408"/>
                    <a:pt x="153" y="408"/>
                  </a:cubicBezTo>
                  <a:cubicBezTo>
                    <a:pt x="149" y="408"/>
                    <a:pt x="145" y="412"/>
                    <a:pt x="145" y="416"/>
                  </a:cubicBezTo>
                  <a:lnTo>
                    <a:pt x="145" y="437"/>
                  </a:lnTo>
                  <a:cubicBezTo>
                    <a:pt x="145" y="455"/>
                    <a:pt x="159" y="469"/>
                    <a:pt x="176" y="469"/>
                  </a:cubicBezTo>
                  <a:cubicBezTo>
                    <a:pt x="194" y="469"/>
                    <a:pt x="208" y="455"/>
                    <a:pt x="208" y="437"/>
                  </a:cubicBezTo>
                  <a:lnTo>
                    <a:pt x="208" y="228"/>
                  </a:lnTo>
                  <a:cubicBezTo>
                    <a:pt x="208" y="205"/>
                    <a:pt x="226" y="187"/>
                    <a:pt x="248" y="187"/>
                  </a:cubicBezTo>
                  <a:cubicBezTo>
                    <a:pt x="270" y="187"/>
                    <a:pt x="288" y="205"/>
                    <a:pt x="288" y="228"/>
                  </a:cubicBezTo>
                  <a:cubicBezTo>
                    <a:pt x="288" y="233"/>
                    <a:pt x="292" y="236"/>
                    <a:pt x="296" y="236"/>
                  </a:cubicBezTo>
                  <a:cubicBezTo>
                    <a:pt x="300" y="236"/>
                    <a:pt x="304" y="233"/>
                    <a:pt x="304" y="228"/>
                  </a:cubicBezTo>
                  <a:cubicBezTo>
                    <a:pt x="304" y="205"/>
                    <a:pt x="322" y="187"/>
                    <a:pt x="344" y="187"/>
                  </a:cubicBezTo>
                  <a:cubicBezTo>
                    <a:pt x="366" y="187"/>
                    <a:pt x="384" y="204"/>
                    <a:pt x="384" y="227"/>
                  </a:cubicBezTo>
                  <a:cubicBezTo>
                    <a:pt x="384" y="231"/>
                    <a:pt x="388" y="234"/>
                    <a:pt x="392" y="234"/>
                  </a:cubicBezTo>
                  <a:lnTo>
                    <a:pt x="392" y="234"/>
                  </a:lnTo>
                  <a:cubicBezTo>
                    <a:pt x="396" y="234"/>
                    <a:pt x="400" y="231"/>
                    <a:pt x="400" y="226"/>
                  </a:cubicBezTo>
                  <a:cubicBezTo>
                    <a:pt x="398" y="172"/>
                    <a:pt x="377" y="122"/>
                    <a:pt x="340" y="84"/>
                  </a:cubicBezTo>
                  <a:close/>
                  <a:moveTo>
                    <a:pt x="344" y="171"/>
                  </a:moveTo>
                  <a:cubicBezTo>
                    <a:pt x="323" y="171"/>
                    <a:pt x="305" y="182"/>
                    <a:pt x="295" y="199"/>
                  </a:cubicBezTo>
                  <a:cubicBezTo>
                    <a:pt x="286" y="182"/>
                    <a:pt x="268" y="171"/>
                    <a:pt x="247" y="171"/>
                  </a:cubicBezTo>
                  <a:cubicBezTo>
                    <a:pt x="227" y="171"/>
                    <a:pt x="209" y="182"/>
                    <a:pt x="199" y="199"/>
                  </a:cubicBezTo>
                  <a:cubicBezTo>
                    <a:pt x="190" y="182"/>
                    <a:pt x="172" y="171"/>
                    <a:pt x="151" y="171"/>
                  </a:cubicBezTo>
                  <a:cubicBezTo>
                    <a:pt x="131" y="171"/>
                    <a:pt x="113" y="182"/>
                    <a:pt x="103" y="199"/>
                  </a:cubicBezTo>
                  <a:cubicBezTo>
                    <a:pt x="93" y="182"/>
                    <a:pt x="75" y="171"/>
                    <a:pt x="55" y="171"/>
                  </a:cubicBezTo>
                  <a:cubicBezTo>
                    <a:pt x="42" y="171"/>
                    <a:pt x="30" y="175"/>
                    <a:pt x="21" y="183"/>
                  </a:cubicBezTo>
                  <a:cubicBezTo>
                    <a:pt x="29" y="150"/>
                    <a:pt x="46" y="119"/>
                    <a:pt x="70" y="95"/>
                  </a:cubicBezTo>
                  <a:cubicBezTo>
                    <a:pt x="105" y="60"/>
                    <a:pt x="150" y="41"/>
                    <a:pt x="199" y="41"/>
                  </a:cubicBezTo>
                  <a:cubicBezTo>
                    <a:pt x="248" y="41"/>
                    <a:pt x="294" y="60"/>
                    <a:pt x="328" y="95"/>
                  </a:cubicBezTo>
                  <a:cubicBezTo>
                    <a:pt x="353" y="119"/>
                    <a:pt x="369" y="150"/>
                    <a:pt x="378" y="183"/>
                  </a:cubicBezTo>
                  <a:cubicBezTo>
                    <a:pt x="369" y="175"/>
                    <a:pt x="357" y="171"/>
                    <a:pt x="344" y="171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3" name="Freeform 46">
              <a:extLst>
                <a:ext uri="{FF2B5EF4-FFF2-40B4-BE49-F238E27FC236}">
                  <a16:creationId xmlns:a16="http://schemas.microsoft.com/office/drawing/2014/main" id="{66520C8C-8E47-8FF2-2B91-C93CC9E44C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72350" y="5294313"/>
              <a:ext cx="144463" cy="171450"/>
            </a:xfrm>
            <a:custGeom>
              <a:avLst/>
              <a:gdLst>
                <a:gd name="T0" fmla="*/ 340 w 400"/>
                <a:gd name="T1" fmla="*/ 84 h 469"/>
                <a:gd name="T2" fmla="*/ 207 w 400"/>
                <a:gd name="T3" fmla="*/ 25 h 469"/>
                <a:gd name="T4" fmla="*/ 207 w 400"/>
                <a:gd name="T5" fmla="*/ 8 h 469"/>
                <a:gd name="T6" fmla="*/ 199 w 400"/>
                <a:gd name="T7" fmla="*/ 0 h 469"/>
                <a:gd name="T8" fmla="*/ 192 w 400"/>
                <a:gd name="T9" fmla="*/ 8 h 469"/>
                <a:gd name="T10" fmla="*/ 192 w 400"/>
                <a:gd name="T11" fmla="*/ 25 h 469"/>
                <a:gd name="T12" fmla="*/ 59 w 400"/>
                <a:gd name="T13" fmla="*/ 84 h 469"/>
                <a:gd name="T14" fmla="*/ 0 w 400"/>
                <a:gd name="T15" fmla="*/ 226 h 469"/>
                <a:gd name="T16" fmla="*/ 7 w 400"/>
                <a:gd name="T17" fmla="*/ 234 h 469"/>
                <a:gd name="T18" fmla="*/ 15 w 400"/>
                <a:gd name="T19" fmla="*/ 227 h 469"/>
                <a:gd name="T20" fmla="*/ 55 w 400"/>
                <a:gd name="T21" fmla="*/ 187 h 469"/>
                <a:gd name="T22" fmla="*/ 96 w 400"/>
                <a:gd name="T23" fmla="*/ 228 h 469"/>
                <a:gd name="T24" fmla="*/ 104 w 400"/>
                <a:gd name="T25" fmla="*/ 236 h 469"/>
                <a:gd name="T26" fmla="*/ 111 w 400"/>
                <a:gd name="T27" fmla="*/ 228 h 469"/>
                <a:gd name="T28" fmla="*/ 152 w 400"/>
                <a:gd name="T29" fmla="*/ 187 h 469"/>
                <a:gd name="T30" fmla="*/ 192 w 400"/>
                <a:gd name="T31" fmla="*/ 228 h 469"/>
                <a:gd name="T32" fmla="*/ 192 w 400"/>
                <a:gd name="T33" fmla="*/ 437 h 469"/>
                <a:gd name="T34" fmla="*/ 176 w 400"/>
                <a:gd name="T35" fmla="*/ 453 h 469"/>
                <a:gd name="T36" fmla="*/ 161 w 400"/>
                <a:gd name="T37" fmla="*/ 437 h 469"/>
                <a:gd name="T38" fmla="*/ 161 w 400"/>
                <a:gd name="T39" fmla="*/ 416 h 469"/>
                <a:gd name="T40" fmla="*/ 153 w 400"/>
                <a:gd name="T41" fmla="*/ 408 h 469"/>
                <a:gd name="T42" fmla="*/ 145 w 400"/>
                <a:gd name="T43" fmla="*/ 416 h 469"/>
                <a:gd name="T44" fmla="*/ 145 w 400"/>
                <a:gd name="T45" fmla="*/ 437 h 469"/>
                <a:gd name="T46" fmla="*/ 176 w 400"/>
                <a:gd name="T47" fmla="*/ 469 h 469"/>
                <a:gd name="T48" fmla="*/ 208 w 400"/>
                <a:gd name="T49" fmla="*/ 437 h 469"/>
                <a:gd name="T50" fmla="*/ 208 w 400"/>
                <a:gd name="T51" fmla="*/ 228 h 469"/>
                <a:gd name="T52" fmla="*/ 248 w 400"/>
                <a:gd name="T53" fmla="*/ 187 h 469"/>
                <a:gd name="T54" fmla="*/ 288 w 400"/>
                <a:gd name="T55" fmla="*/ 228 h 469"/>
                <a:gd name="T56" fmla="*/ 296 w 400"/>
                <a:gd name="T57" fmla="*/ 236 h 469"/>
                <a:gd name="T58" fmla="*/ 304 w 400"/>
                <a:gd name="T59" fmla="*/ 228 h 469"/>
                <a:gd name="T60" fmla="*/ 344 w 400"/>
                <a:gd name="T61" fmla="*/ 187 h 469"/>
                <a:gd name="T62" fmla="*/ 384 w 400"/>
                <a:gd name="T63" fmla="*/ 227 h 469"/>
                <a:gd name="T64" fmla="*/ 392 w 400"/>
                <a:gd name="T65" fmla="*/ 234 h 469"/>
                <a:gd name="T66" fmla="*/ 392 w 400"/>
                <a:gd name="T67" fmla="*/ 234 h 469"/>
                <a:gd name="T68" fmla="*/ 400 w 400"/>
                <a:gd name="T69" fmla="*/ 226 h 469"/>
                <a:gd name="T70" fmla="*/ 340 w 400"/>
                <a:gd name="T71" fmla="*/ 84 h 469"/>
                <a:gd name="T72" fmla="*/ 344 w 400"/>
                <a:gd name="T73" fmla="*/ 171 h 469"/>
                <a:gd name="T74" fmla="*/ 295 w 400"/>
                <a:gd name="T75" fmla="*/ 199 h 469"/>
                <a:gd name="T76" fmla="*/ 247 w 400"/>
                <a:gd name="T77" fmla="*/ 171 h 469"/>
                <a:gd name="T78" fmla="*/ 199 w 400"/>
                <a:gd name="T79" fmla="*/ 199 h 469"/>
                <a:gd name="T80" fmla="*/ 151 w 400"/>
                <a:gd name="T81" fmla="*/ 171 h 469"/>
                <a:gd name="T82" fmla="*/ 103 w 400"/>
                <a:gd name="T83" fmla="*/ 199 h 469"/>
                <a:gd name="T84" fmla="*/ 55 w 400"/>
                <a:gd name="T85" fmla="*/ 171 h 469"/>
                <a:gd name="T86" fmla="*/ 21 w 400"/>
                <a:gd name="T87" fmla="*/ 183 h 469"/>
                <a:gd name="T88" fmla="*/ 70 w 400"/>
                <a:gd name="T89" fmla="*/ 95 h 469"/>
                <a:gd name="T90" fmla="*/ 199 w 400"/>
                <a:gd name="T91" fmla="*/ 41 h 469"/>
                <a:gd name="T92" fmla="*/ 328 w 400"/>
                <a:gd name="T93" fmla="*/ 95 h 469"/>
                <a:gd name="T94" fmla="*/ 378 w 400"/>
                <a:gd name="T95" fmla="*/ 183 h 469"/>
                <a:gd name="T96" fmla="*/ 344 w 400"/>
                <a:gd name="T97" fmla="*/ 171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0" h="469">
                  <a:moveTo>
                    <a:pt x="340" y="84"/>
                  </a:moveTo>
                  <a:cubicBezTo>
                    <a:pt x="304" y="47"/>
                    <a:pt x="257" y="27"/>
                    <a:pt x="207" y="25"/>
                  </a:cubicBezTo>
                  <a:lnTo>
                    <a:pt x="207" y="8"/>
                  </a:lnTo>
                  <a:cubicBezTo>
                    <a:pt x="207" y="4"/>
                    <a:pt x="204" y="0"/>
                    <a:pt x="199" y="0"/>
                  </a:cubicBezTo>
                  <a:cubicBezTo>
                    <a:pt x="195" y="0"/>
                    <a:pt x="192" y="4"/>
                    <a:pt x="192" y="8"/>
                  </a:cubicBezTo>
                  <a:lnTo>
                    <a:pt x="192" y="25"/>
                  </a:lnTo>
                  <a:cubicBezTo>
                    <a:pt x="142" y="27"/>
                    <a:pt x="95" y="47"/>
                    <a:pt x="59" y="84"/>
                  </a:cubicBezTo>
                  <a:cubicBezTo>
                    <a:pt x="22" y="122"/>
                    <a:pt x="1" y="172"/>
                    <a:pt x="0" y="226"/>
                  </a:cubicBezTo>
                  <a:cubicBezTo>
                    <a:pt x="0" y="231"/>
                    <a:pt x="3" y="234"/>
                    <a:pt x="7" y="234"/>
                  </a:cubicBezTo>
                  <a:cubicBezTo>
                    <a:pt x="12" y="235"/>
                    <a:pt x="15" y="231"/>
                    <a:pt x="15" y="227"/>
                  </a:cubicBezTo>
                  <a:cubicBezTo>
                    <a:pt x="16" y="204"/>
                    <a:pt x="34" y="187"/>
                    <a:pt x="55" y="187"/>
                  </a:cubicBezTo>
                  <a:cubicBezTo>
                    <a:pt x="78" y="187"/>
                    <a:pt x="96" y="205"/>
                    <a:pt x="96" y="228"/>
                  </a:cubicBezTo>
                  <a:cubicBezTo>
                    <a:pt x="96" y="233"/>
                    <a:pt x="99" y="236"/>
                    <a:pt x="104" y="236"/>
                  </a:cubicBezTo>
                  <a:cubicBezTo>
                    <a:pt x="108" y="236"/>
                    <a:pt x="111" y="233"/>
                    <a:pt x="111" y="228"/>
                  </a:cubicBezTo>
                  <a:cubicBezTo>
                    <a:pt x="111" y="205"/>
                    <a:pt x="129" y="187"/>
                    <a:pt x="152" y="187"/>
                  </a:cubicBezTo>
                  <a:cubicBezTo>
                    <a:pt x="174" y="187"/>
                    <a:pt x="192" y="205"/>
                    <a:pt x="192" y="228"/>
                  </a:cubicBezTo>
                  <a:lnTo>
                    <a:pt x="192" y="437"/>
                  </a:lnTo>
                  <a:cubicBezTo>
                    <a:pt x="192" y="446"/>
                    <a:pt x="185" y="453"/>
                    <a:pt x="176" y="453"/>
                  </a:cubicBezTo>
                  <a:cubicBezTo>
                    <a:pt x="168" y="453"/>
                    <a:pt x="161" y="446"/>
                    <a:pt x="161" y="437"/>
                  </a:cubicBezTo>
                  <a:lnTo>
                    <a:pt x="161" y="416"/>
                  </a:lnTo>
                  <a:cubicBezTo>
                    <a:pt x="161" y="412"/>
                    <a:pt x="157" y="408"/>
                    <a:pt x="153" y="408"/>
                  </a:cubicBezTo>
                  <a:cubicBezTo>
                    <a:pt x="149" y="408"/>
                    <a:pt x="145" y="412"/>
                    <a:pt x="145" y="416"/>
                  </a:cubicBezTo>
                  <a:lnTo>
                    <a:pt x="145" y="437"/>
                  </a:lnTo>
                  <a:cubicBezTo>
                    <a:pt x="145" y="455"/>
                    <a:pt x="159" y="469"/>
                    <a:pt x="176" y="469"/>
                  </a:cubicBezTo>
                  <a:cubicBezTo>
                    <a:pt x="194" y="469"/>
                    <a:pt x="208" y="455"/>
                    <a:pt x="208" y="437"/>
                  </a:cubicBezTo>
                  <a:lnTo>
                    <a:pt x="208" y="228"/>
                  </a:lnTo>
                  <a:cubicBezTo>
                    <a:pt x="208" y="205"/>
                    <a:pt x="226" y="187"/>
                    <a:pt x="248" y="187"/>
                  </a:cubicBezTo>
                  <a:cubicBezTo>
                    <a:pt x="270" y="187"/>
                    <a:pt x="288" y="205"/>
                    <a:pt x="288" y="228"/>
                  </a:cubicBezTo>
                  <a:cubicBezTo>
                    <a:pt x="288" y="233"/>
                    <a:pt x="292" y="236"/>
                    <a:pt x="296" y="236"/>
                  </a:cubicBezTo>
                  <a:cubicBezTo>
                    <a:pt x="300" y="236"/>
                    <a:pt x="304" y="233"/>
                    <a:pt x="304" y="228"/>
                  </a:cubicBezTo>
                  <a:cubicBezTo>
                    <a:pt x="304" y="205"/>
                    <a:pt x="322" y="187"/>
                    <a:pt x="344" y="187"/>
                  </a:cubicBezTo>
                  <a:cubicBezTo>
                    <a:pt x="366" y="187"/>
                    <a:pt x="384" y="204"/>
                    <a:pt x="384" y="227"/>
                  </a:cubicBezTo>
                  <a:cubicBezTo>
                    <a:pt x="384" y="231"/>
                    <a:pt x="388" y="234"/>
                    <a:pt x="392" y="234"/>
                  </a:cubicBezTo>
                  <a:lnTo>
                    <a:pt x="392" y="234"/>
                  </a:lnTo>
                  <a:cubicBezTo>
                    <a:pt x="396" y="234"/>
                    <a:pt x="400" y="231"/>
                    <a:pt x="400" y="226"/>
                  </a:cubicBezTo>
                  <a:cubicBezTo>
                    <a:pt x="398" y="172"/>
                    <a:pt x="377" y="122"/>
                    <a:pt x="340" y="84"/>
                  </a:cubicBezTo>
                  <a:close/>
                  <a:moveTo>
                    <a:pt x="344" y="171"/>
                  </a:moveTo>
                  <a:cubicBezTo>
                    <a:pt x="323" y="171"/>
                    <a:pt x="305" y="182"/>
                    <a:pt x="295" y="199"/>
                  </a:cubicBezTo>
                  <a:cubicBezTo>
                    <a:pt x="286" y="182"/>
                    <a:pt x="268" y="171"/>
                    <a:pt x="247" y="171"/>
                  </a:cubicBezTo>
                  <a:cubicBezTo>
                    <a:pt x="227" y="171"/>
                    <a:pt x="209" y="182"/>
                    <a:pt x="199" y="199"/>
                  </a:cubicBezTo>
                  <a:cubicBezTo>
                    <a:pt x="190" y="182"/>
                    <a:pt x="172" y="171"/>
                    <a:pt x="151" y="171"/>
                  </a:cubicBezTo>
                  <a:cubicBezTo>
                    <a:pt x="131" y="171"/>
                    <a:pt x="113" y="182"/>
                    <a:pt x="103" y="199"/>
                  </a:cubicBezTo>
                  <a:cubicBezTo>
                    <a:pt x="93" y="182"/>
                    <a:pt x="75" y="171"/>
                    <a:pt x="55" y="171"/>
                  </a:cubicBezTo>
                  <a:cubicBezTo>
                    <a:pt x="42" y="171"/>
                    <a:pt x="30" y="175"/>
                    <a:pt x="21" y="183"/>
                  </a:cubicBezTo>
                  <a:cubicBezTo>
                    <a:pt x="29" y="150"/>
                    <a:pt x="46" y="119"/>
                    <a:pt x="70" y="95"/>
                  </a:cubicBezTo>
                  <a:cubicBezTo>
                    <a:pt x="105" y="60"/>
                    <a:pt x="150" y="41"/>
                    <a:pt x="199" y="41"/>
                  </a:cubicBezTo>
                  <a:cubicBezTo>
                    <a:pt x="248" y="41"/>
                    <a:pt x="294" y="60"/>
                    <a:pt x="328" y="95"/>
                  </a:cubicBezTo>
                  <a:cubicBezTo>
                    <a:pt x="353" y="119"/>
                    <a:pt x="369" y="150"/>
                    <a:pt x="378" y="183"/>
                  </a:cubicBezTo>
                  <a:cubicBezTo>
                    <a:pt x="369" y="175"/>
                    <a:pt x="357" y="171"/>
                    <a:pt x="344" y="171"/>
                  </a:cubicBezTo>
                  <a:close/>
                </a:path>
              </a:pathLst>
            </a:custGeom>
            <a:noFill/>
            <a:ln w="3175" cap="flat">
              <a:solidFill>
                <a:srgbClr val="C953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BCA05AF2-7FFB-005E-4458-17DD386A2633}"/>
              </a:ext>
            </a:extLst>
          </p:cNvPr>
          <p:cNvGrpSpPr/>
          <p:nvPr userDrawn="1"/>
        </p:nvGrpSpPr>
        <p:grpSpPr>
          <a:xfrm>
            <a:off x="11867900" y="1347788"/>
            <a:ext cx="304740" cy="300766"/>
            <a:chOff x="11867900" y="1347788"/>
            <a:chExt cx="304740" cy="300766"/>
          </a:xfrm>
        </p:grpSpPr>
        <p:sp>
          <p:nvSpPr>
            <p:cNvPr id="135" name="Freeform 50">
              <a:extLst>
                <a:ext uri="{FF2B5EF4-FFF2-40B4-BE49-F238E27FC236}">
                  <a16:creationId xmlns:a16="http://schemas.microsoft.com/office/drawing/2014/main" id="{522A866E-42FB-C744-A307-E3861B75E6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67900" y="1347788"/>
              <a:ext cx="304740" cy="300766"/>
            </a:xfrm>
            <a:custGeom>
              <a:avLst/>
              <a:gdLst>
                <a:gd name="T0" fmla="*/ 500 w 1000"/>
                <a:gd name="T1" fmla="*/ 0 h 1000"/>
                <a:gd name="T2" fmla="*/ 0 w 1000"/>
                <a:gd name="T3" fmla="*/ 500 h 1000"/>
                <a:gd name="T4" fmla="*/ 500 w 1000"/>
                <a:gd name="T5" fmla="*/ 1000 h 1000"/>
                <a:gd name="T6" fmla="*/ 1000 w 1000"/>
                <a:gd name="T7" fmla="*/ 500 h 1000"/>
                <a:gd name="T8" fmla="*/ 500 w 1000"/>
                <a:gd name="T9" fmla="*/ 0 h 1000"/>
                <a:gd name="T10" fmla="*/ 500 w 1000"/>
                <a:gd name="T11" fmla="*/ 970 h 1000"/>
                <a:gd name="T12" fmla="*/ 30 w 1000"/>
                <a:gd name="T13" fmla="*/ 500 h 1000"/>
                <a:gd name="T14" fmla="*/ 500 w 1000"/>
                <a:gd name="T15" fmla="*/ 30 h 1000"/>
                <a:gd name="T16" fmla="*/ 970 w 1000"/>
                <a:gd name="T17" fmla="*/ 500 h 1000"/>
                <a:gd name="T18" fmla="*/ 500 w 1000"/>
                <a:gd name="T19" fmla="*/ 97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00" h="1000">
                  <a:moveTo>
                    <a:pt x="500" y="0"/>
                  </a:moveTo>
                  <a:cubicBezTo>
                    <a:pt x="224" y="0"/>
                    <a:pt x="0" y="224"/>
                    <a:pt x="0" y="500"/>
                  </a:cubicBezTo>
                  <a:cubicBezTo>
                    <a:pt x="0" y="776"/>
                    <a:pt x="224" y="1000"/>
                    <a:pt x="500" y="1000"/>
                  </a:cubicBezTo>
                  <a:cubicBezTo>
                    <a:pt x="776" y="1000"/>
                    <a:pt x="1000" y="776"/>
                    <a:pt x="1000" y="500"/>
                  </a:cubicBezTo>
                  <a:cubicBezTo>
                    <a:pt x="1000" y="224"/>
                    <a:pt x="776" y="0"/>
                    <a:pt x="500" y="0"/>
                  </a:cubicBezTo>
                  <a:close/>
                  <a:moveTo>
                    <a:pt x="500" y="970"/>
                  </a:moveTo>
                  <a:cubicBezTo>
                    <a:pt x="241" y="970"/>
                    <a:pt x="30" y="759"/>
                    <a:pt x="30" y="500"/>
                  </a:cubicBezTo>
                  <a:cubicBezTo>
                    <a:pt x="30" y="241"/>
                    <a:pt x="241" y="30"/>
                    <a:pt x="500" y="30"/>
                  </a:cubicBezTo>
                  <a:cubicBezTo>
                    <a:pt x="759" y="30"/>
                    <a:pt x="970" y="241"/>
                    <a:pt x="970" y="500"/>
                  </a:cubicBezTo>
                  <a:cubicBezTo>
                    <a:pt x="969" y="759"/>
                    <a:pt x="759" y="969"/>
                    <a:pt x="500" y="970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6" name="Freeform 51">
              <a:extLst>
                <a:ext uri="{FF2B5EF4-FFF2-40B4-BE49-F238E27FC236}">
                  <a16:creationId xmlns:a16="http://schemas.microsoft.com/office/drawing/2014/main" id="{2C215BB5-5040-3079-B7A5-C268A6DE95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67900" y="1347788"/>
              <a:ext cx="304740" cy="300766"/>
            </a:xfrm>
            <a:custGeom>
              <a:avLst/>
              <a:gdLst>
                <a:gd name="T0" fmla="*/ 500 w 1000"/>
                <a:gd name="T1" fmla="*/ 0 h 1000"/>
                <a:gd name="T2" fmla="*/ 0 w 1000"/>
                <a:gd name="T3" fmla="*/ 500 h 1000"/>
                <a:gd name="T4" fmla="*/ 500 w 1000"/>
                <a:gd name="T5" fmla="*/ 1000 h 1000"/>
                <a:gd name="T6" fmla="*/ 1000 w 1000"/>
                <a:gd name="T7" fmla="*/ 500 h 1000"/>
                <a:gd name="T8" fmla="*/ 500 w 1000"/>
                <a:gd name="T9" fmla="*/ 0 h 1000"/>
                <a:gd name="T10" fmla="*/ 500 w 1000"/>
                <a:gd name="T11" fmla="*/ 970 h 1000"/>
                <a:gd name="T12" fmla="*/ 30 w 1000"/>
                <a:gd name="T13" fmla="*/ 500 h 1000"/>
                <a:gd name="T14" fmla="*/ 500 w 1000"/>
                <a:gd name="T15" fmla="*/ 30 h 1000"/>
                <a:gd name="T16" fmla="*/ 970 w 1000"/>
                <a:gd name="T17" fmla="*/ 500 h 1000"/>
                <a:gd name="T18" fmla="*/ 500 w 1000"/>
                <a:gd name="T19" fmla="*/ 97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00" h="1000">
                  <a:moveTo>
                    <a:pt x="500" y="0"/>
                  </a:moveTo>
                  <a:cubicBezTo>
                    <a:pt x="224" y="0"/>
                    <a:pt x="0" y="224"/>
                    <a:pt x="0" y="500"/>
                  </a:cubicBezTo>
                  <a:cubicBezTo>
                    <a:pt x="0" y="776"/>
                    <a:pt x="224" y="1000"/>
                    <a:pt x="500" y="1000"/>
                  </a:cubicBezTo>
                  <a:cubicBezTo>
                    <a:pt x="776" y="1000"/>
                    <a:pt x="1000" y="776"/>
                    <a:pt x="1000" y="500"/>
                  </a:cubicBezTo>
                  <a:cubicBezTo>
                    <a:pt x="1000" y="224"/>
                    <a:pt x="776" y="0"/>
                    <a:pt x="500" y="0"/>
                  </a:cubicBezTo>
                  <a:close/>
                  <a:moveTo>
                    <a:pt x="500" y="970"/>
                  </a:moveTo>
                  <a:cubicBezTo>
                    <a:pt x="241" y="970"/>
                    <a:pt x="30" y="759"/>
                    <a:pt x="30" y="500"/>
                  </a:cubicBezTo>
                  <a:cubicBezTo>
                    <a:pt x="30" y="241"/>
                    <a:pt x="241" y="30"/>
                    <a:pt x="500" y="30"/>
                  </a:cubicBezTo>
                  <a:cubicBezTo>
                    <a:pt x="759" y="30"/>
                    <a:pt x="970" y="241"/>
                    <a:pt x="970" y="500"/>
                  </a:cubicBezTo>
                  <a:cubicBezTo>
                    <a:pt x="969" y="759"/>
                    <a:pt x="759" y="969"/>
                    <a:pt x="500" y="970"/>
                  </a:cubicBezTo>
                  <a:close/>
                </a:path>
              </a:pathLst>
            </a:custGeom>
            <a:noFill/>
            <a:ln w="3175" cap="flat">
              <a:solidFill>
                <a:srgbClr val="C953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7" name="Freeform 52">
              <a:extLst>
                <a:ext uri="{FF2B5EF4-FFF2-40B4-BE49-F238E27FC236}">
                  <a16:creationId xmlns:a16="http://schemas.microsoft.com/office/drawing/2014/main" id="{EE9CF358-6C08-58F4-822E-529147C2D2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14274" y="1425961"/>
              <a:ext cx="210669" cy="137796"/>
            </a:xfrm>
            <a:custGeom>
              <a:avLst/>
              <a:gdLst>
                <a:gd name="T0" fmla="*/ 346 w 692"/>
                <a:gd name="T1" fmla="*/ 20 h 456"/>
                <a:gd name="T2" fmla="*/ 2 w 692"/>
                <a:gd name="T3" fmla="*/ 231 h 456"/>
                <a:gd name="T4" fmla="*/ 2 w 692"/>
                <a:gd name="T5" fmla="*/ 245 h 456"/>
                <a:gd name="T6" fmla="*/ 346 w 692"/>
                <a:gd name="T7" fmla="*/ 456 h 456"/>
                <a:gd name="T8" fmla="*/ 426 w 692"/>
                <a:gd name="T9" fmla="*/ 447 h 456"/>
                <a:gd name="T10" fmla="*/ 438 w 692"/>
                <a:gd name="T11" fmla="*/ 429 h 456"/>
                <a:gd name="T12" fmla="*/ 420 w 692"/>
                <a:gd name="T13" fmla="*/ 418 h 456"/>
                <a:gd name="T14" fmla="*/ 346 w 692"/>
                <a:gd name="T15" fmla="*/ 425 h 456"/>
                <a:gd name="T16" fmla="*/ 33 w 692"/>
                <a:gd name="T17" fmla="*/ 238 h 456"/>
                <a:gd name="T18" fmla="*/ 513 w 692"/>
                <a:gd name="T19" fmla="*/ 92 h 456"/>
                <a:gd name="T20" fmla="*/ 659 w 692"/>
                <a:gd name="T21" fmla="*/ 238 h 456"/>
                <a:gd name="T22" fmla="*/ 522 w 692"/>
                <a:gd name="T23" fmla="*/ 378 h 456"/>
                <a:gd name="T24" fmla="*/ 487 w 692"/>
                <a:gd name="T25" fmla="*/ 343 h 456"/>
                <a:gd name="T26" fmla="*/ 465 w 692"/>
                <a:gd name="T27" fmla="*/ 336 h 456"/>
                <a:gd name="T28" fmla="*/ 444 w 692"/>
                <a:gd name="T29" fmla="*/ 314 h 456"/>
                <a:gd name="T30" fmla="*/ 422 w 692"/>
                <a:gd name="T31" fmla="*/ 139 h 456"/>
                <a:gd name="T32" fmla="*/ 247 w 692"/>
                <a:gd name="T33" fmla="*/ 161 h 456"/>
                <a:gd name="T34" fmla="*/ 269 w 692"/>
                <a:gd name="T35" fmla="*/ 336 h 456"/>
                <a:gd name="T36" fmla="*/ 422 w 692"/>
                <a:gd name="T37" fmla="*/ 336 h 456"/>
                <a:gd name="T38" fmla="*/ 444 w 692"/>
                <a:gd name="T39" fmla="*/ 357 h 456"/>
                <a:gd name="T40" fmla="*/ 451 w 692"/>
                <a:gd name="T41" fmla="*/ 379 h 456"/>
                <a:gd name="T42" fmla="*/ 517 w 692"/>
                <a:gd name="T43" fmla="*/ 445 h 456"/>
                <a:gd name="T44" fmla="*/ 553 w 692"/>
                <a:gd name="T45" fmla="*/ 445 h 456"/>
                <a:gd name="T46" fmla="*/ 553 w 692"/>
                <a:gd name="T47" fmla="*/ 409 h 456"/>
                <a:gd name="T48" fmla="*/ 544 w 692"/>
                <a:gd name="T49" fmla="*/ 401 h 456"/>
                <a:gd name="T50" fmla="*/ 689 w 692"/>
                <a:gd name="T51" fmla="*/ 245 h 456"/>
                <a:gd name="T52" fmla="*/ 689 w 692"/>
                <a:gd name="T53" fmla="*/ 231 h 456"/>
                <a:gd name="T54" fmla="*/ 346 w 692"/>
                <a:gd name="T55" fmla="*/ 20 h 456"/>
                <a:gd name="T56" fmla="*/ 252 w 692"/>
                <a:gd name="T57" fmla="*/ 238 h 456"/>
                <a:gd name="T58" fmla="*/ 346 w 692"/>
                <a:gd name="T59" fmla="*/ 144 h 456"/>
                <a:gd name="T60" fmla="*/ 440 w 692"/>
                <a:gd name="T61" fmla="*/ 238 h 456"/>
                <a:gd name="T62" fmla="*/ 346 w 692"/>
                <a:gd name="T63" fmla="*/ 332 h 456"/>
                <a:gd name="T64" fmla="*/ 252 w 692"/>
                <a:gd name="T65" fmla="*/ 238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92" h="456">
                  <a:moveTo>
                    <a:pt x="346" y="20"/>
                  </a:moveTo>
                  <a:cubicBezTo>
                    <a:pt x="201" y="20"/>
                    <a:pt x="68" y="101"/>
                    <a:pt x="2" y="231"/>
                  </a:cubicBezTo>
                  <a:cubicBezTo>
                    <a:pt x="0" y="235"/>
                    <a:pt x="0" y="240"/>
                    <a:pt x="2" y="245"/>
                  </a:cubicBezTo>
                  <a:cubicBezTo>
                    <a:pt x="68" y="374"/>
                    <a:pt x="201" y="456"/>
                    <a:pt x="346" y="456"/>
                  </a:cubicBezTo>
                  <a:cubicBezTo>
                    <a:pt x="373" y="456"/>
                    <a:pt x="400" y="453"/>
                    <a:pt x="426" y="447"/>
                  </a:cubicBezTo>
                  <a:cubicBezTo>
                    <a:pt x="434" y="446"/>
                    <a:pt x="440" y="438"/>
                    <a:pt x="438" y="429"/>
                  </a:cubicBezTo>
                  <a:cubicBezTo>
                    <a:pt x="436" y="421"/>
                    <a:pt x="428" y="416"/>
                    <a:pt x="420" y="418"/>
                  </a:cubicBezTo>
                  <a:cubicBezTo>
                    <a:pt x="396" y="423"/>
                    <a:pt x="371" y="425"/>
                    <a:pt x="346" y="425"/>
                  </a:cubicBezTo>
                  <a:cubicBezTo>
                    <a:pt x="215" y="426"/>
                    <a:pt x="94" y="354"/>
                    <a:pt x="33" y="238"/>
                  </a:cubicBezTo>
                  <a:cubicBezTo>
                    <a:pt x="125" y="65"/>
                    <a:pt x="340" y="0"/>
                    <a:pt x="513" y="92"/>
                  </a:cubicBezTo>
                  <a:cubicBezTo>
                    <a:pt x="575" y="125"/>
                    <a:pt x="626" y="176"/>
                    <a:pt x="659" y="238"/>
                  </a:cubicBezTo>
                  <a:cubicBezTo>
                    <a:pt x="627" y="297"/>
                    <a:pt x="580" y="345"/>
                    <a:pt x="522" y="378"/>
                  </a:cubicBezTo>
                  <a:lnTo>
                    <a:pt x="487" y="343"/>
                  </a:lnTo>
                  <a:cubicBezTo>
                    <a:pt x="481" y="337"/>
                    <a:pt x="473" y="335"/>
                    <a:pt x="465" y="336"/>
                  </a:cubicBezTo>
                  <a:lnTo>
                    <a:pt x="444" y="314"/>
                  </a:lnTo>
                  <a:cubicBezTo>
                    <a:pt x="486" y="260"/>
                    <a:pt x="477" y="182"/>
                    <a:pt x="422" y="139"/>
                  </a:cubicBezTo>
                  <a:cubicBezTo>
                    <a:pt x="368" y="97"/>
                    <a:pt x="290" y="106"/>
                    <a:pt x="247" y="161"/>
                  </a:cubicBezTo>
                  <a:cubicBezTo>
                    <a:pt x="205" y="215"/>
                    <a:pt x="214" y="293"/>
                    <a:pt x="269" y="336"/>
                  </a:cubicBezTo>
                  <a:cubicBezTo>
                    <a:pt x="314" y="371"/>
                    <a:pt x="377" y="371"/>
                    <a:pt x="422" y="336"/>
                  </a:cubicBezTo>
                  <a:lnTo>
                    <a:pt x="444" y="357"/>
                  </a:lnTo>
                  <a:cubicBezTo>
                    <a:pt x="443" y="365"/>
                    <a:pt x="445" y="373"/>
                    <a:pt x="451" y="379"/>
                  </a:cubicBezTo>
                  <a:lnTo>
                    <a:pt x="517" y="445"/>
                  </a:lnTo>
                  <a:cubicBezTo>
                    <a:pt x="527" y="455"/>
                    <a:pt x="543" y="455"/>
                    <a:pt x="553" y="445"/>
                  </a:cubicBezTo>
                  <a:cubicBezTo>
                    <a:pt x="563" y="435"/>
                    <a:pt x="563" y="419"/>
                    <a:pt x="553" y="409"/>
                  </a:cubicBezTo>
                  <a:lnTo>
                    <a:pt x="544" y="401"/>
                  </a:lnTo>
                  <a:cubicBezTo>
                    <a:pt x="606" y="363"/>
                    <a:pt x="657" y="309"/>
                    <a:pt x="689" y="245"/>
                  </a:cubicBezTo>
                  <a:cubicBezTo>
                    <a:pt x="692" y="240"/>
                    <a:pt x="692" y="235"/>
                    <a:pt x="689" y="231"/>
                  </a:cubicBezTo>
                  <a:cubicBezTo>
                    <a:pt x="624" y="101"/>
                    <a:pt x="491" y="20"/>
                    <a:pt x="346" y="20"/>
                  </a:cubicBezTo>
                  <a:close/>
                  <a:moveTo>
                    <a:pt x="252" y="238"/>
                  </a:moveTo>
                  <a:cubicBezTo>
                    <a:pt x="252" y="186"/>
                    <a:pt x="294" y="144"/>
                    <a:pt x="346" y="144"/>
                  </a:cubicBezTo>
                  <a:cubicBezTo>
                    <a:pt x="398" y="144"/>
                    <a:pt x="440" y="186"/>
                    <a:pt x="440" y="238"/>
                  </a:cubicBezTo>
                  <a:cubicBezTo>
                    <a:pt x="440" y="290"/>
                    <a:pt x="398" y="332"/>
                    <a:pt x="346" y="332"/>
                  </a:cubicBezTo>
                  <a:cubicBezTo>
                    <a:pt x="294" y="332"/>
                    <a:pt x="252" y="290"/>
                    <a:pt x="252" y="238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8" name="Freeform 53">
              <a:extLst>
                <a:ext uri="{FF2B5EF4-FFF2-40B4-BE49-F238E27FC236}">
                  <a16:creationId xmlns:a16="http://schemas.microsoft.com/office/drawing/2014/main" id="{3435E1CE-D7E3-01AC-D542-277F4616A3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14274" y="1425961"/>
              <a:ext cx="210669" cy="137796"/>
            </a:xfrm>
            <a:custGeom>
              <a:avLst/>
              <a:gdLst>
                <a:gd name="T0" fmla="*/ 346 w 692"/>
                <a:gd name="T1" fmla="*/ 20 h 456"/>
                <a:gd name="T2" fmla="*/ 2 w 692"/>
                <a:gd name="T3" fmla="*/ 231 h 456"/>
                <a:gd name="T4" fmla="*/ 2 w 692"/>
                <a:gd name="T5" fmla="*/ 245 h 456"/>
                <a:gd name="T6" fmla="*/ 346 w 692"/>
                <a:gd name="T7" fmla="*/ 456 h 456"/>
                <a:gd name="T8" fmla="*/ 426 w 692"/>
                <a:gd name="T9" fmla="*/ 447 h 456"/>
                <a:gd name="T10" fmla="*/ 438 w 692"/>
                <a:gd name="T11" fmla="*/ 429 h 456"/>
                <a:gd name="T12" fmla="*/ 420 w 692"/>
                <a:gd name="T13" fmla="*/ 418 h 456"/>
                <a:gd name="T14" fmla="*/ 346 w 692"/>
                <a:gd name="T15" fmla="*/ 425 h 456"/>
                <a:gd name="T16" fmla="*/ 33 w 692"/>
                <a:gd name="T17" fmla="*/ 238 h 456"/>
                <a:gd name="T18" fmla="*/ 513 w 692"/>
                <a:gd name="T19" fmla="*/ 92 h 456"/>
                <a:gd name="T20" fmla="*/ 659 w 692"/>
                <a:gd name="T21" fmla="*/ 238 h 456"/>
                <a:gd name="T22" fmla="*/ 522 w 692"/>
                <a:gd name="T23" fmla="*/ 378 h 456"/>
                <a:gd name="T24" fmla="*/ 487 w 692"/>
                <a:gd name="T25" fmla="*/ 343 h 456"/>
                <a:gd name="T26" fmla="*/ 465 w 692"/>
                <a:gd name="T27" fmla="*/ 336 h 456"/>
                <a:gd name="T28" fmla="*/ 444 w 692"/>
                <a:gd name="T29" fmla="*/ 314 h 456"/>
                <a:gd name="T30" fmla="*/ 422 w 692"/>
                <a:gd name="T31" fmla="*/ 139 h 456"/>
                <a:gd name="T32" fmla="*/ 247 w 692"/>
                <a:gd name="T33" fmla="*/ 161 h 456"/>
                <a:gd name="T34" fmla="*/ 269 w 692"/>
                <a:gd name="T35" fmla="*/ 336 h 456"/>
                <a:gd name="T36" fmla="*/ 422 w 692"/>
                <a:gd name="T37" fmla="*/ 336 h 456"/>
                <a:gd name="T38" fmla="*/ 444 w 692"/>
                <a:gd name="T39" fmla="*/ 357 h 456"/>
                <a:gd name="T40" fmla="*/ 451 w 692"/>
                <a:gd name="T41" fmla="*/ 379 h 456"/>
                <a:gd name="T42" fmla="*/ 517 w 692"/>
                <a:gd name="T43" fmla="*/ 445 h 456"/>
                <a:gd name="T44" fmla="*/ 553 w 692"/>
                <a:gd name="T45" fmla="*/ 445 h 456"/>
                <a:gd name="T46" fmla="*/ 553 w 692"/>
                <a:gd name="T47" fmla="*/ 409 h 456"/>
                <a:gd name="T48" fmla="*/ 544 w 692"/>
                <a:gd name="T49" fmla="*/ 401 h 456"/>
                <a:gd name="T50" fmla="*/ 689 w 692"/>
                <a:gd name="T51" fmla="*/ 245 h 456"/>
                <a:gd name="T52" fmla="*/ 689 w 692"/>
                <a:gd name="T53" fmla="*/ 231 h 456"/>
                <a:gd name="T54" fmla="*/ 346 w 692"/>
                <a:gd name="T55" fmla="*/ 20 h 456"/>
                <a:gd name="T56" fmla="*/ 252 w 692"/>
                <a:gd name="T57" fmla="*/ 238 h 456"/>
                <a:gd name="T58" fmla="*/ 346 w 692"/>
                <a:gd name="T59" fmla="*/ 144 h 456"/>
                <a:gd name="T60" fmla="*/ 440 w 692"/>
                <a:gd name="T61" fmla="*/ 238 h 456"/>
                <a:gd name="T62" fmla="*/ 346 w 692"/>
                <a:gd name="T63" fmla="*/ 332 h 456"/>
                <a:gd name="T64" fmla="*/ 252 w 692"/>
                <a:gd name="T65" fmla="*/ 238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92" h="456">
                  <a:moveTo>
                    <a:pt x="346" y="20"/>
                  </a:moveTo>
                  <a:cubicBezTo>
                    <a:pt x="201" y="20"/>
                    <a:pt x="68" y="101"/>
                    <a:pt x="2" y="231"/>
                  </a:cubicBezTo>
                  <a:cubicBezTo>
                    <a:pt x="0" y="235"/>
                    <a:pt x="0" y="240"/>
                    <a:pt x="2" y="245"/>
                  </a:cubicBezTo>
                  <a:cubicBezTo>
                    <a:pt x="68" y="374"/>
                    <a:pt x="201" y="456"/>
                    <a:pt x="346" y="456"/>
                  </a:cubicBezTo>
                  <a:cubicBezTo>
                    <a:pt x="373" y="456"/>
                    <a:pt x="400" y="453"/>
                    <a:pt x="426" y="447"/>
                  </a:cubicBezTo>
                  <a:cubicBezTo>
                    <a:pt x="434" y="446"/>
                    <a:pt x="440" y="438"/>
                    <a:pt x="438" y="429"/>
                  </a:cubicBezTo>
                  <a:cubicBezTo>
                    <a:pt x="436" y="421"/>
                    <a:pt x="428" y="416"/>
                    <a:pt x="420" y="418"/>
                  </a:cubicBezTo>
                  <a:cubicBezTo>
                    <a:pt x="396" y="423"/>
                    <a:pt x="371" y="425"/>
                    <a:pt x="346" y="425"/>
                  </a:cubicBezTo>
                  <a:cubicBezTo>
                    <a:pt x="215" y="426"/>
                    <a:pt x="94" y="354"/>
                    <a:pt x="33" y="238"/>
                  </a:cubicBezTo>
                  <a:cubicBezTo>
                    <a:pt x="125" y="65"/>
                    <a:pt x="340" y="0"/>
                    <a:pt x="513" y="92"/>
                  </a:cubicBezTo>
                  <a:cubicBezTo>
                    <a:pt x="575" y="125"/>
                    <a:pt x="626" y="176"/>
                    <a:pt x="659" y="238"/>
                  </a:cubicBezTo>
                  <a:cubicBezTo>
                    <a:pt x="627" y="297"/>
                    <a:pt x="580" y="345"/>
                    <a:pt x="522" y="378"/>
                  </a:cubicBezTo>
                  <a:lnTo>
                    <a:pt x="487" y="343"/>
                  </a:lnTo>
                  <a:cubicBezTo>
                    <a:pt x="481" y="337"/>
                    <a:pt x="473" y="335"/>
                    <a:pt x="465" y="336"/>
                  </a:cubicBezTo>
                  <a:lnTo>
                    <a:pt x="444" y="314"/>
                  </a:lnTo>
                  <a:cubicBezTo>
                    <a:pt x="486" y="260"/>
                    <a:pt x="477" y="182"/>
                    <a:pt x="422" y="139"/>
                  </a:cubicBezTo>
                  <a:cubicBezTo>
                    <a:pt x="368" y="97"/>
                    <a:pt x="290" y="106"/>
                    <a:pt x="247" y="161"/>
                  </a:cubicBezTo>
                  <a:cubicBezTo>
                    <a:pt x="205" y="215"/>
                    <a:pt x="214" y="293"/>
                    <a:pt x="269" y="336"/>
                  </a:cubicBezTo>
                  <a:cubicBezTo>
                    <a:pt x="314" y="371"/>
                    <a:pt x="377" y="371"/>
                    <a:pt x="422" y="336"/>
                  </a:cubicBezTo>
                  <a:lnTo>
                    <a:pt x="444" y="357"/>
                  </a:lnTo>
                  <a:cubicBezTo>
                    <a:pt x="443" y="365"/>
                    <a:pt x="445" y="373"/>
                    <a:pt x="451" y="379"/>
                  </a:cubicBezTo>
                  <a:lnTo>
                    <a:pt x="517" y="445"/>
                  </a:lnTo>
                  <a:cubicBezTo>
                    <a:pt x="527" y="455"/>
                    <a:pt x="543" y="455"/>
                    <a:pt x="553" y="445"/>
                  </a:cubicBezTo>
                  <a:cubicBezTo>
                    <a:pt x="563" y="435"/>
                    <a:pt x="563" y="419"/>
                    <a:pt x="553" y="409"/>
                  </a:cubicBezTo>
                  <a:lnTo>
                    <a:pt x="544" y="401"/>
                  </a:lnTo>
                  <a:cubicBezTo>
                    <a:pt x="606" y="363"/>
                    <a:pt x="657" y="309"/>
                    <a:pt x="689" y="245"/>
                  </a:cubicBezTo>
                  <a:cubicBezTo>
                    <a:pt x="692" y="240"/>
                    <a:pt x="692" y="235"/>
                    <a:pt x="689" y="231"/>
                  </a:cubicBezTo>
                  <a:cubicBezTo>
                    <a:pt x="624" y="101"/>
                    <a:pt x="491" y="20"/>
                    <a:pt x="346" y="20"/>
                  </a:cubicBezTo>
                  <a:close/>
                  <a:moveTo>
                    <a:pt x="252" y="238"/>
                  </a:moveTo>
                  <a:cubicBezTo>
                    <a:pt x="252" y="186"/>
                    <a:pt x="294" y="144"/>
                    <a:pt x="346" y="144"/>
                  </a:cubicBezTo>
                  <a:cubicBezTo>
                    <a:pt x="398" y="144"/>
                    <a:pt x="440" y="186"/>
                    <a:pt x="440" y="238"/>
                  </a:cubicBezTo>
                  <a:cubicBezTo>
                    <a:pt x="440" y="290"/>
                    <a:pt x="398" y="332"/>
                    <a:pt x="346" y="332"/>
                  </a:cubicBezTo>
                  <a:cubicBezTo>
                    <a:pt x="294" y="332"/>
                    <a:pt x="252" y="290"/>
                    <a:pt x="252" y="238"/>
                  </a:cubicBezTo>
                  <a:close/>
                </a:path>
              </a:pathLst>
            </a:custGeom>
            <a:noFill/>
            <a:ln w="3175" cap="flat">
              <a:solidFill>
                <a:srgbClr val="C953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9" name="Freeform 54">
              <a:extLst>
                <a:ext uri="{FF2B5EF4-FFF2-40B4-BE49-F238E27FC236}">
                  <a16:creationId xmlns:a16="http://schemas.microsoft.com/office/drawing/2014/main" id="{E2A99667-B13A-669A-18D5-85AED024E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4971" y="1477634"/>
              <a:ext cx="26499" cy="25175"/>
            </a:xfrm>
            <a:custGeom>
              <a:avLst/>
              <a:gdLst>
                <a:gd name="T0" fmla="*/ 15 w 84"/>
                <a:gd name="T1" fmla="*/ 0 h 84"/>
                <a:gd name="T2" fmla="*/ 0 w 84"/>
                <a:gd name="T3" fmla="*/ 15 h 84"/>
                <a:gd name="T4" fmla="*/ 15 w 84"/>
                <a:gd name="T5" fmla="*/ 30 h 84"/>
                <a:gd name="T6" fmla="*/ 54 w 84"/>
                <a:gd name="T7" fmla="*/ 69 h 84"/>
                <a:gd name="T8" fmla="*/ 69 w 84"/>
                <a:gd name="T9" fmla="*/ 84 h 84"/>
                <a:gd name="T10" fmla="*/ 84 w 84"/>
                <a:gd name="T11" fmla="*/ 69 h 84"/>
                <a:gd name="T12" fmla="*/ 15 w 84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4">
                  <a:moveTo>
                    <a:pt x="15" y="0"/>
                  </a:moveTo>
                  <a:cubicBezTo>
                    <a:pt x="7" y="0"/>
                    <a:pt x="0" y="6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36" y="30"/>
                    <a:pt x="54" y="47"/>
                    <a:pt x="54" y="69"/>
                  </a:cubicBezTo>
                  <a:cubicBezTo>
                    <a:pt x="54" y="77"/>
                    <a:pt x="61" y="84"/>
                    <a:pt x="69" y="84"/>
                  </a:cubicBezTo>
                  <a:cubicBezTo>
                    <a:pt x="78" y="84"/>
                    <a:pt x="84" y="77"/>
                    <a:pt x="84" y="69"/>
                  </a:cubicBezTo>
                  <a:cubicBezTo>
                    <a:pt x="84" y="31"/>
                    <a:pt x="53" y="0"/>
                    <a:pt x="15" y="0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0" name="Freeform 55">
              <a:extLst>
                <a:ext uri="{FF2B5EF4-FFF2-40B4-BE49-F238E27FC236}">
                  <a16:creationId xmlns:a16="http://schemas.microsoft.com/office/drawing/2014/main" id="{BC839BDE-ABD1-A813-3B1D-68BC7685F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4971" y="1477634"/>
              <a:ext cx="26499" cy="25175"/>
            </a:xfrm>
            <a:custGeom>
              <a:avLst/>
              <a:gdLst>
                <a:gd name="T0" fmla="*/ 15 w 84"/>
                <a:gd name="T1" fmla="*/ 0 h 84"/>
                <a:gd name="T2" fmla="*/ 0 w 84"/>
                <a:gd name="T3" fmla="*/ 15 h 84"/>
                <a:gd name="T4" fmla="*/ 15 w 84"/>
                <a:gd name="T5" fmla="*/ 30 h 84"/>
                <a:gd name="T6" fmla="*/ 54 w 84"/>
                <a:gd name="T7" fmla="*/ 69 h 84"/>
                <a:gd name="T8" fmla="*/ 69 w 84"/>
                <a:gd name="T9" fmla="*/ 84 h 84"/>
                <a:gd name="T10" fmla="*/ 84 w 84"/>
                <a:gd name="T11" fmla="*/ 69 h 84"/>
                <a:gd name="T12" fmla="*/ 15 w 84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4">
                  <a:moveTo>
                    <a:pt x="15" y="0"/>
                  </a:moveTo>
                  <a:cubicBezTo>
                    <a:pt x="7" y="0"/>
                    <a:pt x="0" y="6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36" y="30"/>
                    <a:pt x="54" y="47"/>
                    <a:pt x="54" y="69"/>
                  </a:cubicBezTo>
                  <a:cubicBezTo>
                    <a:pt x="54" y="77"/>
                    <a:pt x="61" y="84"/>
                    <a:pt x="69" y="84"/>
                  </a:cubicBezTo>
                  <a:cubicBezTo>
                    <a:pt x="78" y="84"/>
                    <a:pt x="84" y="77"/>
                    <a:pt x="84" y="69"/>
                  </a:cubicBezTo>
                  <a:cubicBezTo>
                    <a:pt x="84" y="31"/>
                    <a:pt x="53" y="0"/>
                    <a:pt x="15" y="0"/>
                  </a:cubicBezTo>
                  <a:close/>
                </a:path>
              </a:pathLst>
            </a:custGeom>
            <a:noFill/>
            <a:ln w="3175" cap="flat">
              <a:solidFill>
                <a:srgbClr val="C953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85676EC2-3A6C-5724-9186-DEA2CDE9933B}"/>
              </a:ext>
            </a:extLst>
          </p:cNvPr>
          <p:cNvGrpSpPr/>
          <p:nvPr userDrawn="1"/>
        </p:nvGrpSpPr>
        <p:grpSpPr>
          <a:xfrm>
            <a:off x="11858626" y="3732711"/>
            <a:ext cx="280891" cy="300766"/>
            <a:chOff x="11858626" y="3732711"/>
            <a:chExt cx="280891" cy="300766"/>
          </a:xfrm>
        </p:grpSpPr>
        <p:sp>
          <p:nvSpPr>
            <p:cNvPr id="142" name="Freeform 61">
              <a:extLst>
                <a:ext uri="{FF2B5EF4-FFF2-40B4-BE49-F238E27FC236}">
                  <a16:creationId xmlns:a16="http://schemas.microsoft.com/office/drawing/2014/main" id="{C96FE930-A9B0-381E-8C58-F8627A1582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58626" y="3732711"/>
              <a:ext cx="280891" cy="300766"/>
            </a:xfrm>
            <a:custGeom>
              <a:avLst/>
              <a:gdLst>
                <a:gd name="T0" fmla="*/ 170 w 920"/>
                <a:gd name="T1" fmla="*/ 826 h 1000"/>
                <a:gd name="T2" fmla="*/ 294 w 920"/>
                <a:gd name="T3" fmla="*/ 807 h 1000"/>
                <a:gd name="T4" fmla="*/ 627 w 920"/>
                <a:gd name="T5" fmla="*/ 807 h 1000"/>
                <a:gd name="T6" fmla="*/ 750 w 920"/>
                <a:gd name="T7" fmla="*/ 825 h 1000"/>
                <a:gd name="T8" fmla="*/ 785 w 920"/>
                <a:gd name="T9" fmla="*/ 500 h 1000"/>
                <a:gd name="T10" fmla="*/ 670 w 920"/>
                <a:gd name="T11" fmla="*/ 183 h 1000"/>
                <a:gd name="T12" fmla="*/ 460 w 920"/>
                <a:gd name="T13" fmla="*/ 0 h 1000"/>
                <a:gd name="T14" fmla="*/ 251 w 920"/>
                <a:gd name="T15" fmla="*/ 184 h 1000"/>
                <a:gd name="T16" fmla="*/ 136 w 920"/>
                <a:gd name="T17" fmla="*/ 500 h 1000"/>
                <a:gd name="T18" fmla="*/ 460 w 920"/>
                <a:gd name="T19" fmla="*/ 968 h 1000"/>
                <a:gd name="T20" fmla="*/ 460 w 920"/>
                <a:gd name="T21" fmla="*/ 742 h 1000"/>
                <a:gd name="T22" fmla="*/ 460 w 920"/>
                <a:gd name="T23" fmla="*/ 968 h 1000"/>
                <a:gd name="T24" fmla="*/ 287 w 920"/>
                <a:gd name="T25" fmla="*/ 406 h 1000"/>
                <a:gd name="T26" fmla="*/ 460 w 920"/>
                <a:gd name="T27" fmla="*/ 295 h 1000"/>
                <a:gd name="T28" fmla="*/ 634 w 920"/>
                <a:gd name="T29" fmla="*/ 406 h 1000"/>
                <a:gd name="T30" fmla="*/ 634 w 920"/>
                <a:gd name="T31" fmla="*/ 594 h 1000"/>
                <a:gd name="T32" fmla="*/ 460 w 920"/>
                <a:gd name="T33" fmla="*/ 705 h 1000"/>
                <a:gd name="T34" fmla="*/ 287 w 920"/>
                <a:gd name="T35" fmla="*/ 594 h 1000"/>
                <a:gd name="T36" fmla="*/ 253 w 920"/>
                <a:gd name="T37" fmla="*/ 567 h 1000"/>
                <a:gd name="T38" fmla="*/ 253 w 920"/>
                <a:gd name="T39" fmla="*/ 433 h 1000"/>
                <a:gd name="T40" fmla="*/ 253 w 920"/>
                <a:gd name="T41" fmla="*/ 567 h 1000"/>
                <a:gd name="T42" fmla="*/ 315 w 920"/>
                <a:gd name="T43" fmla="*/ 233 h 1000"/>
                <a:gd name="T44" fmla="*/ 346 w 920"/>
                <a:gd name="T45" fmla="*/ 324 h 1000"/>
                <a:gd name="T46" fmla="*/ 496 w 920"/>
                <a:gd name="T47" fmla="*/ 277 h 1000"/>
                <a:gd name="T48" fmla="*/ 630 w 920"/>
                <a:gd name="T49" fmla="*/ 362 h 1000"/>
                <a:gd name="T50" fmla="*/ 496 w 920"/>
                <a:gd name="T51" fmla="*/ 277 h 1000"/>
                <a:gd name="T52" fmla="*/ 741 w 920"/>
                <a:gd name="T53" fmla="*/ 500 h 1000"/>
                <a:gd name="T54" fmla="*/ 670 w 920"/>
                <a:gd name="T55" fmla="*/ 500 h 1000"/>
                <a:gd name="T56" fmla="*/ 630 w 920"/>
                <a:gd name="T57" fmla="*/ 638 h 1000"/>
                <a:gd name="T58" fmla="*/ 496 w 920"/>
                <a:gd name="T59" fmla="*/ 723 h 1000"/>
                <a:gd name="T60" fmla="*/ 630 w 920"/>
                <a:gd name="T61" fmla="*/ 638 h 1000"/>
                <a:gd name="T62" fmla="*/ 425 w 920"/>
                <a:gd name="T63" fmla="*/ 723 h 1000"/>
                <a:gd name="T64" fmla="*/ 291 w 920"/>
                <a:gd name="T65" fmla="*/ 638 h 1000"/>
                <a:gd name="T66" fmla="*/ 853 w 920"/>
                <a:gd name="T67" fmla="*/ 755 h 1000"/>
                <a:gd name="T68" fmla="*/ 636 w 920"/>
                <a:gd name="T69" fmla="*/ 776 h 1000"/>
                <a:gd name="T70" fmla="*/ 762 w 920"/>
                <a:gd name="T71" fmla="*/ 524 h 1000"/>
                <a:gd name="T72" fmla="*/ 675 w 920"/>
                <a:gd name="T73" fmla="*/ 215 h 1000"/>
                <a:gd name="T74" fmla="*/ 852 w 920"/>
                <a:gd name="T75" fmla="*/ 245 h 1000"/>
                <a:gd name="T76" fmla="*/ 664 w 920"/>
                <a:gd name="T77" fmla="*/ 389 h 1000"/>
                <a:gd name="T78" fmla="*/ 676 w 920"/>
                <a:gd name="T79" fmla="*/ 215 h 1000"/>
                <a:gd name="T80" fmla="*/ 460 w 920"/>
                <a:gd name="T81" fmla="*/ 32 h 1000"/>
                <a:gd name="T82" fmla="*/ 460 w 920"/>
                <a:gd name="T83" fmla="*/ 258 h 1000"/>
                <a:gd name="T84" fmla="*/ 460 w 920"/>
                <a:gd name="T85" fmla="*/ 32 h 1000"/>
                <a:gd name="T86" fmla="*/ 170 w 920"/>
                <a:gd name="T87" fmla="*/ 207 h 1000"/>
                <a:gd name="T88" fmla="*/ 285 w 920"/>
                <a:gd name="T89" fmla="*/ 224 h 1000"/>
                <a:gd name="T90" fmla="*/ 158 w 920"/>
                <a:gd name="T91" fmla="*/ 477 h 1000"/>
                <a:gd name="T92" fmla="*/ 158 w 920"/>
                <a:gd name="T93" fmla="*/ 524 h 1000"/>
                <a:gd name="T94" fmla="*/ 285 w 920"/>
                <a:gd name="T95" fmla="*/ 776 h 1000"/>
                <a:gd name="T96" fmla="*/ 68 w 920"/>
                <a:gd name="T97" fmla="*/ 755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20" h="1000">
                  <a:moveTo>
                    <a:pt x="41" y="772"/>
                  </a:moveTo>
                  <a:cubicBezTo>
                    <a:pt x="64" y="808"/>
                    <a:pt x="109" y="826"/>
                    <a:pt x="170" y="826"/>
                  </a:cubicBezTo>
                  <a:cubicBezTo>
                    <a:pt x="197" y="825"/>
                    <a:pt x="224" y="823"/>
                    <a:pt x="251" y="817"/>
                  </a:cubicBezTo>
                  <a:cubicBezTo>
                    <a:pt x="265" y="814"/>
                    <a:pt x="279" y="811"/>
                    <a:pt x="294" y="807"/>
                  </a:cubicBezTo>
                  <a:cubicBezTo>
                    <a:pt x="331" y="925"/>
                    <a:pt x="392" y="1000"/>
                    <a:pt x="460" y="1000"/>
                  </a:cubicBezTo>
                  <a:cubicBezTo>
                    <a:pt x="529" y="1000"/>
                    <a:pt x="589" y="925"/>
                    <a:pt x="627" y="807"/>
                  </a:cubicBezTo>
                  <a:cubicBezTo>
                    <a:pt x="642" y="810"/>
                    <a:pt x="656" y="814"/>
                    <a:pt x="670" y="817"/>
                  </a:cubicBezTo>
                  <a:cubicBezTo>
                    <a:pt x="696" y="822"/>
                    <a:pt x="723" y="825"/>
                    <a:pt x="750" y="825"/>
                  </a:cubicBezTo>
                  <a:cubicBezTo>
                    <a:pt x="812" y="825"/>
                    <a:pt x="856" y="807"/>
                    <a:pt x="879" y="772"/>
                  </a:cubicBezTo>
                  <a:cubicBezTo>
                    <a:pt x="920" y="709"/>
                    <a:pt x="879" y="606"/>
                    <a:pt x="785" y="500"/>
                  </a:cubicBezTo>
                  <a:cubicBezTo>
                    <a:pt x="880" y="394"/>
                    <a:pt x="920" y="290"/>
                    <a:pt x="879" y="228"/>
                  </a:cubicBezTo>
                  <a:cubicBezTo>
                    <a:pt x="847" y="178"/>
                    <a:pt x="773" y="163"/>
                    <a:pt x="670" y="183"/>
                  </a:cubicBezTo>
                  <a:cubicBezTo>
                    <a:pt x="656" y="186"/>
                    <a:pt x="642" y="189"/>
                    <a:pt x="627" y="193"/>
                  </a:cubicBezTo>
                  <a:cubicBezTo>
                    <a:pt x="589" y="75"/>
                    <a:pt x="529" y="0"/>
                    <a:pt x="460" y="0"/>
                  </a:cubicBezTo>
                  <a:cubicBezTo>
                    <a:pt x="392" y="0"/>
                    <a:pt x="331" y="75"/>
                    <a:pt x="294" y="194"/>
                  </a:cubicBezTo>
                  <a:cubicBezTo>
                    <a:pt x="279" y="190"/>
                    <a:pt x="265" y="186"/>
                    <a:pt x="251" y="184"/>
                  </a:cubicBezTo>
                  <a:cubicBezTo>
                    <a:pt x="148" y="163"/>
                    <a:pt x="74" y="179"/>
                    <a:pt x="41" y="228"/>
                  </a:cubicBezTo>
                  <a:cubicBezTo>
                    <a:pt x="0" y="290"/>
                    <a:pt x="41" y="394"/>
                    <a:pt x="136" y="500"/>
                  </a:cubicBezTo>
                  <a:cubicBezTo>
                    <a:pt x="41" y="606"/>
                    <a:pt x="0" y="710"/>
                    <a:pt x="41" y="772"/>
                  </a:cubicBezTo>
                  <a:close/>
                  <a:moveTo>
                    <a:pt x="460" y="968"/>
                  </a:moveTo>
                  <a:cubicBezTo>
                    <a:pt x="411" y="968"/>
                    <a:pt x="359" y="905"/>
                    <a:pt x="325" y="798"/>
                  </a:cubicBezTo>
                  <a:cubicBezTo>
                    <a:pt x="371" y="783"/>
                    <a:pt x="417" y="764"/>
                    <a:pt x="460" y="742"/>
                  </a:cubicBezTo>
                  <a:cubicBezTo>
                    <a:pt x="504" y="764"/>
                    <a:pt x="550" y="783"/>
                    <a:pt x="596" y="798"/>
                  </a:cubicBezTo>
                  <a:cubicBezTo>
                    <a:pt x="562" y="905"/>
                    <a:pt x="510" y="968"/>
                    <a:pt x="460" y="968"/>
                  </a:cubicBezTo>
                  <a:close/>
                  <a:moveTo>
                    <a:pt x="283" y="500"/>
                  </a:moveTo>
                  <a:cubicBezTo>
                    <a:pt x="283" y="468"/>
                    <a:pt x="284" y="436"/>
                    <a:pt x="287" y="406"/>
                  </a:cubicBezTo>
                  <a:cubicBezTo>
                    <a:pt x="311" y="387"/>
                    <a:pt x="336" y="369"/>
                    <a:pt x="364" y="351"/>
                  </a:cubicBezTo>
                  <a:cubicBezTo>
                    <a:pt x="396" y="331"/>
                    <a:pt x="428" y="312"/>
                    <a:pt x="460" y="295"/>
                  </a:cubicBezTo>
                  <a:cubicBezTo>
                    <a:pt x="493" y="311"/>
                    <a:pt x="525" y="331"/>
                    <a:pt x="557" y="351"/>
                  </a:cubicBezTo>
                  <a:cubicBezTo>
                    <a:pt x="585" y="369"/>
                    <a:pt x="610" y="388"/>
                    <a:pt x="634" y="406"/>
                  </a:cubicBezTo>
                  <a:cubicBezTo>
                    <a:pt x="637" y="436"/>
                    <a:pt x="638" y="468"/>
                    <a:pt x="638" y="500"/>
                  </a:cubicBezTo>
                  <a:cubicBezTo>
                    <a:pt x="638" y="532"/>
                    <a:pt x="637" y="564"/>
                    <a:pt x="634" y="594"/>
                  </a:cubicBezTo>
                  <a:cubicBezTo>
                    <a:pt x="610" y="613"/>
                    <a:pt x="585" y="631"/>
                    <a:pt x="557" y="649"/>
                  </a:cubicBezTo>
                  <a:cubicBezTo>
                    <a:pt x="525" y="670"/>
                    <a:pt x="493" y="688"/>
                    <a:pt x="460" y="705"/>
                  </a:cubicBezTo>
                  <a:cubicBezTo>
                    <a:pt x="428" y="689"/>
                    <a:pt x="396" y="670"/>
                    <a:pt x="364" y="649"/>
                  </a:cubicBezTo>
                  <a:cubicBezTo>
                    <a:pt x="336" y="631"/>
                    <a:pt x="310" y="613"/>
                    <a:pt x="287" y="594"/>
                  </a:cubicBezTo>
                  <a:cubicBezTo>
                    <a:pt x="284" y="564"/>
                    <a:pt x="283" y="533"/>
                    <a:pt x="283" y="500"/>
                  </a:cubicBezTo>
                  <a:close/>
                  <a:moveTo>
                    <a:pt x="253" y="567"/>
                  </a:moveTo>
                  <a:cubicBezTo>
                    <a:pt x="226" y="545"/>
                    <a:pt x="201" y="522"/>
                    <a:pt x="180" y="500"/>
                  </a:cubicBezTo>
                  <a:cubicBezTo>
                    <a:pt x="201" y="478"/>
                    <a:pt x="226" y="456"/>
                    <a:pt x="253" y="433"/>
                  </a:cubicBezTo>
                  <a:cubicBezTo>
                    <a:pt x="251" y="455"/>
                    <a:pt x="251" y="477"/>
                    <a:pt x="251" y="500"/>
                  </a:cubicBezTo>
                  <a:cubicBezTo>
                    <a:pt x="251" y="523"/>
                    <a:pt x="251" y="545"/>
                    <a:pt x="253" y="567"/>
                  </a:cubicBezTo>
                  <a:close/>
                  <a:moveTo>
                    <a:pt x="291" y="362"/>
                  </a:moveTo>
                  <a:cubicBezTo>
                    <a:pt x="296" y="319"/>
                    <a:pt x="304" y="276"/>
                    <a:pt x="315" y="233"/>
                  </a:cubicBezTo>
                  <a:cubicBezTo>
                    <a:pt x="353" y="246"/>
                    <a:pt x="389" y="260"/>
                    <a:pt x="425" y="277"/>
                  </a:cubicBezTo>
                  <a:cubicBezTo>
                    <a:pt x="399" y="292"/>
                    <a:pt x="372" y="307"/>
                    <a:pt x="346" y="324"/>
                  </a:cubicBezTo>
                  <a:cubicBezTo>
                    <a:pt x="327" y="337"/>
                    <a:pt x="309" y="349"/>
                    <a:pt x="291" y="362"/>
                  </a:cubicBezTo>
                  <a:close/>
                  <a:moveTo>
                    <a:pt x="496" y="277"/>
                  </a:moveTo>
                  <a:cubicBezTo>
                    <a:pt x="531" y="260"/>
                    <a:pt x="568" y="246"/>
                    <a:pt x="606" y="233"/>
                  </a:cubicBezTo>
                  <a:cubicBezTo>
                    <a:pt x="617" y="276"/>
                    <a:pt x="625" y="319"/>
                    <a:pt x="630" y="362"/>
                  </a:cubicBezTo>
                  <a:cubicBezTo>
                    <a:pt x="612" y="349"/>
                    <a:pt x="594" y="337"/>
                    <a:pt x="575" y="324"/>
                  </a:cubicBezTo>
                  <a:cubicBezTo>
                    <a:pt x="549" y="307"/>
                    <a:pt x="522" y="292"/>
                    <a:pt x="496" y="277"/>
                  </a:cubicBezTo>
                  <a:close/>
                  <a:moveTo>
                    <a:pt x="668" y="433"/>
                  </a:moveTo>
                  <a:cubicBezTo>
                    <a:pt x="695" y="456"/>
                    <a:pt x="719" y="478"/>
                    <a:pt x="741" y="500"/>
                  </a:cubicBezTo>
                  <a:cubicBezTo>
                    <a:pt x="719" y="522"/>
                    <a:pt x="695" y="545"/>
                    <a:pt x="668" y="567"/>
                  </a:cubicBezTo>
                  <a:cubicBezTo>
                    <a:pt x="670" y="545"/>
                    <a:pt x="670" y="523"/>
                    <a:pt x="670" y="500"/>
                  </a:cubicBezTo>
                  <a:cubicBezTo>
                    <a:pt x="670" y="477"/>
                    <a:pt x="670" y="455"/>
                    <a:pt x="668" y="433"/>
                  </a:cubicBezTo>
                  <a:close/>
                  <a:moveTo>
                    <a:pt x="630" y="638"/>
                  </a:moveTo>
                  <a:cubicBezTo>
                    <a:pt x="625" y="681"/>
                    <a:pt x="617" y="725"/>
                    <a:pt x="605" y="767"/>
                  </a:cubicBezTo>
                  <a:cubicBezTo>
                    <a:pt x="568" y="755"/>
                    <a:pt x="531" y="740"/>
                    <a:pt x="496" y="723"/>
                  </a:cubicBezTo>
                  <a:cubicBezTo>
                    <a:pt x="522" y="708"/>
                    <a:pt x="548" y="693"/>
                    <a:pt x="575" y="676"/>
                  </a:cubicBezTo>
                  <a:cubicBezTo>
                    <a:pt x="594" y="664"/>
                    <a:pt x="612" y="651"/>
                    <a:pt x="630" y="638"/>
                  </a:cubicBezTo>
                  <a:close/>
                  <a:moveTo>
                    <a:pt x="346" y="676"/>
                  </a:moveTo>
                  <a:cubicBezTo>
                    <a:pt x="372" y="693"/>
                    <a:pt x="399" y="709"/>
                    <a:pt x="425" y="723"/>
                  </a:cubicBezTo>
                  <a:cubicBezTo>
                    <a:pt x="389" y="740"/>
                    <a:pt x="353" y="755"/>
                    <a:pt x="315" y="767"/>
                  </a:cubicBezTo>
                  <a:cubicBezTo>
                    <a:pt x="304" y="725"/>
                    <a:pt x="296" y="681"/>
                    <a:pt x="291" y="638"/>
                  </a:cubicBezTo>
                  <a:cubicBezTo>
                    <a:pt x="309" y="651"/>
                    <a:pt x="327" y="664"/>
                    <a:pt x="346" y="676"/>
                  </a:cubicBezTo>
                  <a:close/>
                  <a:moveTo>
                    <a:pt x="853" y="755"/>
                  </a:moveTo>
                  <a:cubicBezTo>
                    <a:pt x="829" y="792"/>
                    <a:pt x="764" y="803"/>
                    <a:pt x="675" y="785"/>
                  </a:cubicBezTo>
                  <a:cubicBezTo>
                    <a:pt x="662" y="783"/>
                    <a:pt x="649" y="780"/>
                    <a:pt x="636" y="776"/>
                  </a:cubicBezTo>
                  <a:cubicBezTo>
                    <a:pt x="650" y="722"/>
                    <a:pt x="660" y="667"/>
                    <a:pt x="664" y="611"/>
                  </a:cubicBezTo>
                  <a:cubicBezTo>
                    <a:pt x="699" y="584"/>
                    <a:pt x="732" y="555"/>
                    <a:pt x="762" y="524"/>
                  </a:cubicBezTo>
                  <a:cubicBezTo>
                    <a:pt x="850" y="621"/>
                    <a:pt x="882" y="710"/>
                    <a:pt x="853" y="755"/>
                  </a:cubicBezTo>
                  <a:close/>
                  <a:moveTo>
                    <a:pt x="675" y="215"/>
                  </a:moveTo>
                  <a:cubicBezTo>
                    <a:pt x="700" y="210"/>
                    <a:pt x="725" y="207"/>
                    <a:pt x="750" y="207"/>
                  </a:cubicBezTo>
                  <a:cubicBezTo>
                    <a:pt x="800" y="207"/>
                    <a:pt x="836" y="220"/>
                    <a:pt x="852" y="245"/>
                  </a:cubicBezTo>
                  <a:cubicBezTo>
                    <a:pt x="882" y="291"/>
                    <a:pt x="849" y="379"/>
                    <a:pt x="762" y="477"/>
                  </a:cubicBezTo>
                  <a:cubicBezTo>
                    <a:pt x="732" y="445"/>
                    <a:pt x="699" y="416"/>
                    <a:pt x="664" y="389"/>
                  </a:cubicBezTo>
                  <a:cubicBezTo>
                    <a:pt x="660" y="333"/>
                    <a:pt x="650" y="278"/>
                    <a:pt x="636" y="224"/>
                  </a:cubicBezTo>
                  <a:cubicBezTo>
                    <a:pt x="650" y="221"/>
                    <a:pt x="663" y="217"/>
                    <a:pt x="676" y="215"/>
                  </a:cubicBezTo>
                  <a:lnTo>
                    <a:pt x="675" y="215"/>
                  </a:lnTo>
                  <a:close/>
                  <a:moveTo>
                    <a:pt x="460" y="32"/>
                  </a:moveTo>
                  <a:cubicBezTo>
                    <a:pt x="510" y="32"/>
                    <a:pt x="562" y="95"/>
                    <a:pt x="596" y="203"/>
                  </a:cubicBezTo>
                  <a:cubicBezTo>
                    <a:pt x="550" y="218"/>
                    <a:pt x="504" y="236"/>
                    <a:pt x="460" y="258"/>
                  </a:cubicBezTo>
                  <a:cubicBezTo>
                    <a:pt x="417" y="236"/>
                    <a:pt x="371" y="217"/>
                    <a:pt x="325" y="202"/>
                  </a:cubicBezTo>
                  <a:cubicBezTo>
                    <a:pt x="359" y="95"/>
                    <a:pt x="411" y="32"/>
                    <a:pt x="460" y="32"/>
                  </a:cubicBezTo>
                  <a:close/>
                  <a:moveTo>
                    <a:pt x="68" y="245"/>
                  </a:moveTo>
                  <a:cubicBezTo>
                    <a:pt x="84" y="220"/>
                    <a:pt x="120" y="207"/>
                    <a:pt x="170" y="207"/>
                  </a:cubicBezTo>
                  <a:cubicBezTo>
                    <a:pt x="195" y="207"/>
                    <a:pt x="220" y="210"/>
                    <a:pt x="245" y="215"/>
                  </a:cubicBezTo>
                  <a:cubicBezTo>
                    <a:pt x="258" y="217"/>
                    <a:pt x="271" y="221"/>
                    <a:pt x="285" y="224"/>
                  </a:cubicBezTo>
                  <a:cubicBezTo>
                    <a:pt x="270" y="278"/>
                    <a:pt x="261" y="333"/>
                    <a:pt x="256" y="389"/>
                  </a:cubicBezTo>
                  <a:cubicBezTo>
                    <a:pt x="221" y="416"/>
                    <a:pt x="189" y="445"/>
                    <a:pt x="158" y="477"/>
                  </a:cubicBezTo>
                  <a:cubicBezTo>
                    <a:pt x="71" y="379"/>
                    <a:pt x="39" y="290"/>
                    <a:pt x="68" y="245"/>
                  </a:cubicBezTo>
                  <a:close/>
                  <a:moveTo>
                    <a:pt x="158" y="524"/>
                  </a:moveTo>
                  <a:cubicBezTo>
                    <a:pt x="189" y="555"/>
                    <a:pt x="221" y="584"/>
                    <a:pt x="256" y="611"/>
                  </a:cubicBezTo>
                  <a:cubicBezTo>
                    <a:pt x="261" y="667"/>
                    <a:pt x="270" y="722"/>
                    <a:pt x="285" y="776"/>
                  </a:cubicBezTo>
                  <a:cubicBezTo>
                    <a:pt x="271" y="780"/>
                    <a:pt x="258" y="783"/>
                    <a:pt x="245" y="785"/>
                  </a:cubicBezTo>
                  <a:cubicBezTo>
                    <a:pt x="157" y="803"/>
                    <a:pt x="92" y="792"/>
                    <a:pt x="68" y="755"/>
                  </a:cubicBezTo>
                  <a:cubicBezTo>
                    <a:pt x="39" y="710"/>
                    <a:pt x="71" y="621"/>
                    <a:pt x="158" y="524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3" name="Freeform 62">
              <a:extLst>
                <a:ext uri="{FF2B5EF4-FFF2-40B4-BE49-F238E27FC236}">
                  <a16:creationId xmlns:a16="http://schemas.microsoft.com/office/drawing/2014/main" id="{AAB3DBBA-06FC-1704-F4F5-7BE795A6C5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61973" y="3854607"/>
              <a:ext cx="75523" cy="70223"/>
            </a:xfrm>
            <a:custGeom>
              <a:avLst/>
              <a:gdLst>
                <a:gd name="T0" fmla="*/ 91 w 248"/>
                <a:gd name="T1" fmla="*/ 201 h 234"/>
                <a:gd name="T2" fmla="*/ 112 w 248"/>
                <a:gd name="T3" fmla="*/ 221 h 234"/>
                <a:gd name="T4" fmla="*/ 124 w 248"/>
                <a:gd name="T5" fmla="*/ 234 h 234"/>
                <a:gd name="T6" fmla="*/ 136 w 248"/>
                <a:gd name="T7" fmla="*/ 221 h 234"/>
                <a:gd name="T8" fmla="*/ 157 w 248"/>
                <a:gd name="T9" fmla="*/ 201 h 234"/>
                <a:gd name="T10" fmla="*/ 248 w 248"/>
                <a:gd name="T11" fmla="*/ 74 h 234"/>
                <a:gd name="T12" fmla="*/ 173 w 248"/>
                <a:gd name="T13" fmla="*/ 0 h 234"/>
                <a:gd name="T14" fmla="*/ 172 w 248"/>
                <a:gd name="T15" fmla="*/ 0 h 234"/>
                <a:gd name="T16" fmla="*/ 123 w 248"/>
                <a:gd name="T17" fmla="*/ 18 h 234"/>
                <a:gd name="T18" fmla="*/ 75 w 248"/>
                <a:gd name="T19" fmla="*/ 0 h 234"/>
                <a:gd name="T20" fmla="*/ 0 w 248"/>
                <a:gd name="T21" fmla="*/ 74 h 234"/>
                <a:gd name="T22" fmla="*/ 91 w 248"/>
                <a:gd name="T23" fmla="*/ 201 h 234"/>
                <a:gd name="T24" fmla="*/ 75 w 248"/>
                <a:gd name="T25" fmla="*/ 33 h 234"/>
                <a:gd name="T26" fmla="*/ 111 w 248"/>
                <a:gd name="T27" fmla="*/ 51 h 234"/>
                <a:gd name="T28" fmla="*/ 123 w 248"/>
                <a:gd name="T29" fmla="*/ 71 h 234"/>
                <a:gd name="T30" fmla="*/ 137 w 248"/>
                <a:gd name="T31" fmla="*/ 51 h 234"/>
                <a:gd name="T32" fmla="*/ 172 w 248"/>
                <a:gd name="T33" fmla="*/ 33 h 234"/>
                <a:gd name="T34" fmla="*/ 214 w 248"/>
                <a:gd name="T35" fmla="*/ 74 h 234"/>
                <a:gd name="T36" fmla="*/ 134 w 248"/>
                <a:gd name="T37" fmla="*/ 177 h 234"/>
                <a:gd name="T38" fmla="*/ 123 w 248"/>
                <a:gd name="T39" fmla="*/ 187 h 234"/>
                <a:gd name="T40" fmla="*/ 112 w 248"/>
                <a:gd name="T41" fmla="*/ 178 h 234"/>
                <a:gd name="T42" fmla="*/ 32 w 248"/>
                <a:gd name="T43" fmla="*/ 74 h 234"/>
                <a:gd name="T44" fmla="*/ 74 w 248"/>
                <a:gd name="T45" fmla="*/ 33 h 234"/>
                <a:gd name="T46" fmla="*/ 75 w 248"/>
                <a:gd name="T47" fmla="*/ 33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8" h="234">
                  <a:moveTo>
                    <a:pt x="91" y="201"/>
                  </a:moveTo>
                  <a:cubicBezTo>
                    <a:pt x="100" y="209"/>
                    <a:pt x="107" y="217"/>
                    <a:pt x="112" y="221"/>
                  </a:cubicBezTo>
                  <a:lnTo>
                    <a:pt x="124" y="234"/>
                  </a:lnTo>
                  <a:lnTo>
                    <a:pt x="136" y="221"/>
                  </a:lnTo>
                  <a:cubicBezTo>
                    <a:pt x="140" y="216"/>
                    <a:pt x="148" y="209"/>
                    <a:pt x="157" y="201"/>
                  </a:cubicBezTo>
                  <a:cubicBezTo>
                    <a:pt x="193" y="168"/>
                    <a:pt x="248" y="118"/>
                    <a:pt x="248" y="74"/>
                  </a:cubicBezTo>
                  <a:cubicBezTo>
                    <a:pt x="247" y="33"/>
                    <a:pt x="214" y="0"/>
                    <a:pt x="173" y="0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54" y="0"/>
                    <a:pt x="137" y="7"/>
                    <a:pt x="123" y="18"/>
                  </a:cubicBezTo>
                  <a:cubicBezTo>
                    <a:pt x="110" y="7"/>
                    <a:pt x="93" y="0"/>
                    <a:pt x="75" y="0"/>
                  </a:cubicBezTo>
                  <a:cubicBezTo>
                    <a:pt x="34" y="0"/>
                    <a:pt x="1" y="33"/>
                    <a:pt x="0" y="74"/>
                  </a:cubicBezTo>
                  <a:cubicBezTo>
                    <a:pt x="0" y="118"/>
                    <a:pt x="54" y="168"/>
                    <a:pt x="91" y="201"/>
                  </a:cubicBezTo>
                  <a:close/>
                  <a:moveTo>
                    <a:pt x="75" y="33"/>
                  </a:moveTo>
                  <a:cubicBezTo>
                    <a:pt x="89" y="33"/>
                    <a:pt x="103" y="39"/>
                    <a:pt x="111" y="51"/>
                  </a:cubicBezTo>
                  <a:lnTo>
                    <a:pt x="123" y="71"/>
                  </a:lnTo>
                  <a:lnTo>
                    <a:pt x="137" y="51"/>
                  </a:lnTo>
                  <a:cubicBezTo>
                    <a:pt x="145" y="40"/>
                    <a:pt x="158" y="33"/>
                    <a:pt x="172" y="33"/>
                  </a:cubicBezTo>
                  <a:cubicBezTo>
                    <a:pt x="195" y="32"/>
                    <a:pt x="214" y="51"/>
                    <a:pt x="214" y="74"/>
                  </a:cubicBezTo>
                  <a:cubicBezTo>
                    <a:pt x="214" y="103"/>
                    <a:pt x="162" y="151"/>
                    <a:pt x="134" y="177"/>
                  </a:cubicBezTo>
                  <a:lnTo>
                    <a:pt x="123" y="187"/>
                  </a:lnTo>
                  <a:lnTo>
                    <a:pt x="112" y="178"/>
                  </a:lnTo>
                  <a:cubicBezTo>
                    <a:pt x="84" y="152"/>
                    <a:pt x="32" y="104"/>
                    <a:pt x="32" y="74"/>
                  </a:cubicBezTo>
                  <a:cubicBezTo>
                    <a:pt x="32" y="51"/>
                    <a:pt x="51" y="32"/>
                    <a:pt x="74" y="33"/>
                  </a:cubicBezTo>
                  <a:cubicBezTo>
                    <a:pt x="74" y="33"/>
                    <a:pt x="75" y="33"/>
                    <a:pt x="75" y="33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F395876A-DBC7-B80B-4714-4FFC838BB3F0}"/>
              </a:ext>
            </a:extLst>
          </p:cNvPr>
          <p:cNvGrpSpPr/>
          <p:nvPr userDrawn="1"/>
        </p:nvGrpSpPr>
        <p:grpSpPr>
          <a:xfrm>
            <a:off x="11867900" y="2467377"/>
            <a:ext cx="352440" cy="298116"/>
            <a:chOff x="11867900" y="2467377"/>
            <a:chExt cx="352440" cy="298116"/>
          </a:xfrm>
        </p:grpSpPr>
        <p:sp>
          <p:nvSpPr>
            <p:cNvPr id="145" name="Freeform 63">
              <a:extLst>
                <a:ext uri="{FF2B5EF4-FFF2-40B4-BE49-F238E27FC236}">
                  <a16:creationId xmlns:a16="http://schemas.microsoft.com/office/drawing/2014/main" id="{A8291518-7136-C48E-90BB-5A834D05B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67900" y="2467377"/>
              <a:ext cx="302090" cy="298116"/>
            </a:xfrm>
            <a:custGeom>
              <a:avLst/>
              <a:gdLst>
                <a:gd name="T0" fmla="*/ 978 w 988"/>
                <a:gd name="T1" fmla="*/ 484 h 988"/>
                <a:gd name="T2" fmla="*/ 969 w 988"/>
                <a:gd name="T3" fmla="*/ 494 h 988"/>
                <a:gd name="T4" fmla="*/ 964 w 988"/>
                <a:gd name="T5" fmla="*/ 564 h 988"/>
                <a:gd name="T6" fmla="*/ 494 w 988"/>
                <a:gd name="T7" fmla="*/ 969 h 988"/>
                <a:gd name="T8" fmla="*/ 20 w 988"/>
                <a:gd name="T9" fmla="*/ 494 h 988"/>
                <a:gd name="T10" fmla="*/ 494 w 988"/>
                <a:gd name="T11" fmla="*/ 19 h 988"/>
                <a:gd name="T12" fmla="*/ 746 w 988"/>
                <a:gd name="T13" fmla="*/ 92 h 988"/>
                <a:gd name="T14" fmla="*/ 759 w 988"/>
                <a:gd name="T15" fmla="*/ 88 h 988"/>
                <a:gd name="T16" fmla="*/ 756 w 988"/>
                <a:gd name="T17" fmla="*/ 75 h 988"/>
                <a:gd name="T18" fmla="*/ 494 w 988"/>
                <a:gd name="T19" fmla="*/ 0 h 988"/>
                <a:gd name="T20" fmla="*/ 0 w 988"/>
                <a:gd name="T21" fmla="*/ 494 h 988"/>
                <a:gd name="T22" fmla="*/ 494 w 988"/>
                <a:gd name="T23" fmla="*/ 988 h 988"/>
                <a:gd name="T24" fmla="*/ 983 w 988"/>
                <a:gd name="T25" fmla="*/ 567 h 988"/>
                <a:gd name="T26" fmla="*/ 988 w 988"/>
                <a:gd name="T27" fmla="*/ 494 h 988"/>
                <a:gd name="T28" fmla="*/ 979 w 988"/>
                <a:gd name="T29" fmla="*/ 484 h 988"/>
                <a:gd name="T30" fmla="*/ 978 w 988"/>
                <a:gd name="T31" fmla="*/ 484 h 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8" h="988">
                  <a:moveTo>
                    <a:pt x="978" y="484"/>
                  </a:moveTo>
                  <a:cubicBezTo>
                    <a:pt x="973" y="484"/>
                    <a:pt x="969" y="489"/>
                    <a:pt x="969" y="494"/>
                  </a:cubicBezTo>
                  <a:cubicBezTo>
                    <a:pt x="969" y="518"/>
                    <a:pt x="967" y="541"/>
                    <a:pt x="964" y="564"/>
                  </a:cubicBezTo>
                  <a:cubicBezTo>
                    <a:pt x="930" y="795"/>
                    <a:pt x="728" y="969"/>
                    <a:pt x="494" y="969"/>
                  </a:cubicBezTo>
                  <a:cubicBezTo>
                    <a:pt x="233" y="969"/>
                    <a:pt x="20" y="756"/>
                    <a:pt x="20" y="494"/>
                  </a:cubicBezTo>
                  <a:cubicBezTo>
                    <a:pt x="20" y="232"/>
                    <a:pt x="233" y="19"/>
                    <a:pt x="494" y="19"/>
                  </a:cubicBezTo>
                  <a:cubicBezTo>
                    <a:pt x="583" y="19"/>
                    <a:pt x="670" y="44"/>
                    <a:pt x="746" y="92"/>
                  </a:cubicBezTo>
                  <a:cubicBezTo>
                    <a:pt x="751" y="94"/>
                    <a:pt x="756" y="92"/>
                    <a:pt x="759" y="88"/>
                  </a:cubicBezTo>
                  <a:cubicBezTo>
                    <a:pt x="761" y="83"/>
                    <a:pt x="760" y="78"/>
                    <a:pt x="756" y="75"/>
                  </a:cubicBezTo>
                  <a:cubicBezTo>
                    <a:pt x="678" y="26"/>
                    <a:pt x="587" y="0"/>
                    <a:pt x="494" y="0"/>
                  </a:cubicBezTo>
                  <a:cubicBezTo>
                    <a:pt x="222" y="0"/>
                    <a:pt x="0" y="222"/>
                    <a:pt x="0" y="494"/>
                  </a:cubicBezTo>
                  <a:cubicBezTo>
                    <a:pt x="0" y="766"/>
                    <a:pt x="222" y="988"/>
                    <a:pt x="494" y="988"/>
                  </a:cubicBezTo>
                  <a:cubicBezTo>
                    <a:pt x="737" y="988"/>
                    <a:pt x="947" y="807"/>
                    <a:pt x="983" y="567"/>
                  </a:cubicBezTo>
                  <a:cubicBezTo>
                    <a:pt x="986" y="543"/>
                    <a:pt x="988" y="519"/>
                    <a:pt x="988" y="494"/>
                  </a:cubicBezTo>
                  <a:cubicBezTo>
                    <a:pt x="988" y="489"/>
                    <a:pt x="984" y="484"/>
                    <a:pt x="979" y="484"/>
                  </a:cubicBezTo>
                  <a:lnTo>
                    <a:pt x="978" y="484"/>
                  </a:ln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6" name="Freeform 64">
              <a:extLst>
                <a:ext uri="{FF2B5EF4-FFF2-40B4-BE49-F238E27FC236}">
                  <a16:creationId xmlns:a16="http://schemas.microsoft.com/office/drawing/2014/main" id="{50F47309-4154-2097-2376-4274D9053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67900" y="2467377"/>
              <a:ext cx="302090" cy="298116"/>
            </a:xfrm>
            <a:custGeom>
              <a:avLst/>
              <a:gdLst>
                <a:gd name="T0" fmla="*/ 978 w 988"/>
                <a:gd name="T1" fmla="*/ 484 h 988"/>
                <a:gd name="T2" fmla="*/ 969 w 988"/>
                <a:gd name="T3" fmla="*/ 494 h 988"/>
                <a:gd name="T4" fmla="*/ 964 w 988"/>
                <a:gd name="T5" fmla="*/ 564 h 988"/>
                <a:gd name="T6" fmla="*/ 494 w 988"/>
                <a:gd name="T7" fmla="*/ 969 h 988"/>
                <a:gd name="T8" fmla="*/ 20 w 988"/>
                <a:gd name="T9" fmla="*/ 494 h 988"/>
                <a:gd name="T10" fmla="*/ 494 w 988"/>
                <a:gd name="T11" fmla="*/ 19 h 988"/>
                <a:gd name="T12" fmla="*/ 746 w 988"/>
                <a:gd name="T13" fmla="*/ 92 h 988"/>
                <a:gd name="T14" fmla="*/ 759 w 988"/>
                <a:gd name="T15" fmla="*/ 88 h 988"/>
                <a:gd name="T16" fmla="*/ 756 w 988"/>
                <a:gd name="T17" fmla="*/ 75 h 988"/>
                <a:gd name="T18" fmla="*/ 494 w 988"/>
                <a:gd name="T19" fmla="*/ 0 h 988"/>
                <a:gd name="T20" fmla="*/ 0 w 988"/>
                <a:gd name="T21" fmla="*/ 494 h 988"/>
                <a:gd name="T22" fmla="*/ 494 w 988"/>
                <a:gd name="T23" fmla="*/ 988 h 988"/>
                <a:gd name="T24" fmla="*/ 983 w 988"/>
                <a:gd name="T25" fmla="*/ 567 h 988"/>
                <a:gd name="T26" fmla="*/ 988 w 988"/>
                <a:gd name="T27" fmla="*/ 494 h 988"/>
                <a:gd name="T28" fmla="*/ 979 w 988"/>
                <a:gd name="T29" fmla="*/ 484 h 988"/>
                <a:gd name="T30" fmla="*/ 978 w 988"/>
                <a:gd name="T31" fmla="*/ 484 h 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8" h="988">
                  <a:moveTo>
                    <a:pt x="978" y="484"/>
                  </a:moveTo>
                  <a:cubicBezTo>
                    <a:pt x="973" y="484"/>
                    <a:pt x="969" y="489"/>
                    <a:pt x="969" y="494"/>
                  </a:cubicBezTo>
                  <a:cubicBezTo>
                    <a:pt x="969" y="518"/>
                    <a:pt x="967" y="541"/>
                    <a:pt x="964" y="564"/>
                  </a:cubicBezTo>
                  <a:cubicBezTo>
                    <a:pt x="930" y="795"/>
                    <a:pt x="728" y="969"/>
                    <a:pt x="494" y="969"/>
                  </a:cubicBezTo>
                  <a:cubicBezTo>
                    <a:pt x="233" y="969"/>
                    <a:pt x="20" y="756"/>
                    <a:pt x="20" y="494"/>
                  </a:cubicBezTo>
                  <a:cubicBezTo>
                    <a:pt x="20" y="232"/>
                    <a:pt x="233" y="19"/>
                    <a:pt x="494" y="19"/>
                  </a:cubicBezTo>
                  <a:cubicBezTo>
                    <a:pt x="583" y="19"/>
                    <a:pt x="670" y="44"/>
                    <a:pt x="746" y="92"/>
                  </a:cubicBezTo>
                  <a:cubicBezTo>
                    <a:pt x="751" y="94"/>
                    <a:pt x="756" y="92"/>
                    <a:pt x="759" y="88"/>
                  </a:cubicBezTo>
                  <a:cubicBezTo>
                    <a:pt x="761" y="83"/>
                    <a:pt x="760" y="78"/>
                    <a:pt x="756" y="75"/>
                  </a:cubicBezTo>
                  <a:cubicBezTo>
                    <a:pt x="678" y="26"/>
                    <a:pt x="587" y="0"/>
                    <a:pt x="494" y="0"/>
                  </a:cubicBezTo>
                  <a:cubicBezTo>
                    <a:pt x="222" y="0"/>
                    <a:pt x="0" y="222"/>
                    <a:pt x="0" y="494"/>
                  </a:cubicBezTo>
                  <a:cubicBezTo>
                    <a:pt x="0" y="766"/>
                    <a:pt x="222" y="988"/>
                    <a:pt x="494" y="988"/>
                  </a:cubicBezTo>
                  <a:cubicBezTo>
                    <a:pt x="737" y="988"/>
                    <a:pt x="947" y="807"/>
                    <a:pt x="983" y="567"/>
                  </a:cubicBezTo>
                  <a:cubicBezTo>
                    <a:pt x="986" y="543"/>
                    <a:pt x="988" y="519"/>
                    <a:pt x="988" y="494"/>
                  </a:cubicBezTo>
                  <a:cubicBezTo>
                    <a:pt x="988" y="489"/>
                    <a:pt x="984" y="484"/>
                    <a:pt x="979" y="484"/>
                  </a:cubicBezTo>
                  <a:lnTo>
                    <a:pt x="978" y="484"/>
                  </a:lnTo>
                  <a:close/>
                </a:path>
              </a:pathLst>
            </a:custGeom>
            <a:noFill/>
            <a:ln w="4763" cap="flat">
              <a:solidFill>
                <a:srgbClr val="C953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7" name="Freeform 65">
              <a:extLst>
                <a:ext uri="{FF2B5EF4-FFF2-40B4-BE49-F238E27FC236}">
                  <a16:creationId xmlns:a16="http://schemas.microsoft.com/office/drawing/2014/main" id="{DC70620B-6C72-E538-0B45-92B74049D8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03675" y="2501826"/>
              <a:ext cx="217293" cy="214643"/>
            </a:xfrm>
            <a:custGeom>
              <a:avLst/>
              <a:gdLst>
                <a:gd name="T0" fmla="*/ 559 w 712"/>
                <a:gd name="T1" fmla="*/ 111 h 711"/>
                <a:gd name="T2" fmla="*/ 556 w 712"/>
                <a:gd name="T3" fmla="*/ 98 h 711"/>
                <a:gd name="T4" fmla="*/ 98 w 712"/>
                <a:gd name="T5" fmla="*/ 202 h 711"/>
                <a:gd name="T6" fmla="*/ 202 w 712"/>
                <a:gd name="T7" fmla="*/ 660 h 711"/>
                <a:gd name="T8" fmla="*/ 379 w 712"/>
                <a:gd name="T9" fmla="*/ 711 h 711"/>
                <a:gd name="T10" fmla="*/ 708 w 712"/>
                <a:gd name="T11" fmla="*/ 430 h 711"/>
                <a:gd name="T12" fmla="*/ 711 w 712"/>
                <a:gd name="T13" fmla="*/ 379 h 711"/>
                <a:gd name="T14" fmla="*/ 702 w 712"/>
                <a:gd name="T15" fmla="*/ 369 h 711"/>
                <a:gd name="T16" fmla="*/ 692 w 712"/>
                <a:gd name="T17" fmla="*/ 378 h 711"/>
                <a:gd name="T18" fmla="*/ 692 w 712"/>
                <a:gd name="T19" fmla="*/ 379 h 711"/>
                <a:gd name="T20" fmla="*/ 689 w 712"/>
                <a:gd name="T21" fmla="*/ 427 h 711"/>
                <a:gd name="T22" fmla="*/ 379 w 712"/>
                <a:gd name="T23" fmla="*/ 692 h 711"/>
                <a:gd name="T24" fmla="*/ 66 w 712"/>
                <a:gd name="T25" fmla="*/ 379 h 711"/>
                <a:gd name="T26" fmla="*/ 379 w 712"/>
                <a:gd name="T27" fmla="*/ 66 h 711"/>
                <a:gd name="T28" fmla="*/ 546 w 712"/>
                <a:gd name="T29" fmla="*/ 114 h 711"/>
                <a:gd name="T30" fmla="*/ 559 w 712"/>
                <a:gd name="T31" fmla="*/ 111 h 711"/>
                <a:gd name="T32" fmla="*/ 559 w 712"/>
                <a:gd name="T33" fmla="*/ 111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12" h="711">
                  <a:moveTo>
                    <a:pt x="559" y="111"/>
                  </a:moveTo>
                  <a:cubicBezTo>
                    <a:pt x="562" y="107"/>
                    <a:pt x="561" y="101"/>
                    <a:pt x="556" y="98"/>
                  </a:cubicBezTo>
                  <a:cubicBezTo>
                    <a:pt x="401" y="0"/>
                    <a:pt x="196" y="47"/>
                    <a:pt x="98" y="202"/>
                  </a:cubicBezTo>
                  <a:cubicBezTo>
                    <a:pt x="0" y="358"/>
                    <a:pt x="47" y="563"/>
                    <a:pt x="202" y="660"/>
                  </a:cubicBezTo>
                  <a:cubicBezTo>
                    <a:pt x="255" y="694"/>
                    <a:pt x="317" y="711"/>
                    <a:pt x="379" y="711"/>
                  </a:cubicBezTo>
                  <a:cubicBezTo>
                    <a:pt x="542" y="711"/>
                    <a:pt x="683" y="590"/>
                    <a:pt x="708" y="430"/>
                  </a:cubicBezTo>
                  <a:cubicBezTo>
                    <a:pt x="710" y="413"/>
                    <a:pt x="711" y="396"/>
                    <a:pt x="711" y="379"/>
                  </a:cubicBezTo>
                  <a:cubicBezTo>
                    <a:pt x="712" y="374"/>
                    <a:pt x="708" y="369"/>
                    <a:pt x="702" y="369"/>
                  </a:cubicBezTo>
                  <a:cubicBezTo>
                    <a:pt x="697" y="369"/>
                    <a:pt x="693" y="373"/>
                    <a:pt x="692" y="378"/>
                  </a:cubicBezTo>
                  <a:cubicBezTo>
                    <a:pt x="692" y="378"/>
                    <a:pt x="692" y="379"/>
                    <a:pt x="692" y="379"/>
                  </a:cubicBezTo>
                  <a:cubicBezTo>
                    <a:pt x="692" y="395"/>
                    <a:pt x="691" y="411"/>
                    <a:pt x="689" y="427"/>
                  </a:cubicBezTo>
                  <a:cubicBezTo>
                    <a:pt x="665" y="578"/>
                    <a:pt x="532" y="692"/>
                    <a:pt x="379" y="692"/>
                  </a:cubicBezTo>
                  <a:cubicBezTo>
                    <a:pt x="206" y="692"/>
                    <a:pt x="66" y="552"/>
                    <a:pt x="66" y="379"/>
                  </a:cubicBezTo>
                  <a:cubicBezTo>
                    <a:pt x="66" y="206"/>
                    <a:pt x="206" y="66"/>
                    <a:pt x="379" y="66"/>
                  </a:cubicBezTo>
                  <a:cubicBezTo>
                    <a:pt x="438" y="66"/>
                    <a:pt x="496" y="83"/>
                    <a:pt x="546" y="114"/>
                  </a:cubicBezTo>
                  <a:cubicBezTo>
                    <a:pt x="550" y="117"/>
                    <a:pt x="556" y="116"/>
                    <a:pt x="559" y="111"/>
                  </a:cubicBezTo>
                  <a:cubicBezTo>
                    <a:pt x="559" y="111"/>
                    <a:pt x="559" y="111"/>
                    <a:pt x="559" y="111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8" name="Freeform 66">
              <a:extLst>
                <a:ext uri="{FF2B5EF4-FFF2-40B4-BE49-F238E27FC236}">
                  <a16:creationId xmlns:a16="http://schemas.microsoft.com/office/drawing/2014/main" id="{64DD5ECC-34A1-4F8C-F8FF-B03A09799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03675" y="2501826"/>
              <a:ext cx="217293" cy="214643"/>
            </a:xfrm>
            <a:custGeom>
              <a:avLst/>
              <a:gdLst>
                <a:gd name="T0" fmla="*/ 559 w 712"/>
                <a:gd name="T1" fmla="*/ 111 h 711"/>
                <a:gd name="T2" fmla="*/ 556 w 712"/>
                <a:gd name="T3" fmla="*/ 98 h 711"/>
                <a:gd name="T4" fmla="*/ 98 w 712"/>
                <a:gd name="T5" fmla="*/ 202 h 711"/>
                <a:gd name="T6" fmla="*/ 202 w 712"/>
                <a:gd name="T7" fmla="*/ 660 h 711"/>
                <a:gd name="T8" fmla="*/ 379 w 712"/>
                <a:gd name="T9" fmla="*/ 711 h 711"/>
                <a:gd name="T10" fmla="*/ 708 w 712"/>
                <a:gd name="T11" fmla="*/ 430 h 711"/>
                <a:gd name="T12" fmla="*/ 711 w 712"/>
                <a:gd name="T13" fmla="*/ 379 h 711"/>
                <a:gd name="T14" fmla="*/ 702 w 712"/>
                <a:gd name="T15" fmla="*/ 369 h 711"/>
                <a:gd name="T16" fmla="*/ 692 w 712"/>
                <a:gd name="T17" fmla="*/ 378 h 711"/>
                <a:gd name="T18" fmla="*/ 692 w 712"/>
                <a:gd name="T19" fmla="*/ 379 h 711"/>
                <a:gd name="T20" fmla="*/ 689 w 712"/>
                <a:gd name="T21" fmla="*/ 427 h 711"/>
                <a:gd name="T22" fmla="*/ 379 w 712"/>
                <a:gd name="T23" fmla="*/ 692 h 711"/>
                <a:gd name="T24" fmla="*/ 66 w 712"/>
                <a:gd name="T25" fmla="*/ 379 h 711"/>
                <a:gd name="T26" fmla="*/ 379 w 712"/>
                <a:gd name="T27" fmla="*/ 66 h 711"/>
                <a:gd name="T28" fmla="*/ 546 w 712"/>
                <a:gd name="T29" fmla="*/ 114 h 711"/>
                <a:gd name="T30" fmla="*/ 559 w 712"/>
                <a:gd name="T31" fmla="*/ 111 h 711"/>
                <a:gd name="T32" fmla="*/ 559 w 712"/>
                <a:gd name="T33" fmla="*/ 111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12" h="711">
                  <a:moveTo>
                    <a:pt x="559" y="111"/>
                  </a:moveTo>
                  <a:cubicBezTo>
                    <a:pt x="562" y="107"/>
                    <a:pt x="561" y="101"/>
                    <a:pt x="556" y="98"/>
                  </a:cubicBezTo>
                  <a:cubicBezTo>
                    <a:pt x="401" y="0"/>
                    <a:pt x="196" y="47"/>
                    <a:pt x="98" y="202"/>
                  </a:cubicBezTo>
                  <a:cubicBezTo>
                    <a:pt x="0" y="358"/>
                    <a:pt x="47" y="563"/>
                    <a:pt x="202" y="660"/>
                  </a:cubicBezTo>
                  <a:cubicBezTo>
                    <a:pt x="255" y="694"/>
                    <a:pt x="317" y="711"/>
                    <a:pt x="379" y="711"/>
                  </a:cubicBezTo>
                  <a:cubicBezTo>
                    <a:pt x="542" y="711"/>
                    <a:pt x="683" y="590"/>
                    <a:pt x="708" y="430"/>
                  </a:cubicBezTo>
                  <a:cubicBezTo>
                    <a:pt x="710" y="413"/>
                    <a:pt x="711" y="396"/>
                    <a:pt x="711" y="379"/>
                  </a:cubicBezTo>
                  <a:cubicBezTo>
                    <a:pt x="712" y="374"/>
                    <a:pt x="708" y="369"/>
                    <a:pt x="702" y="369"/>
                  </a:cubicBezTo>
                  <a:cubicBezTo>
                    <a:pt x="697" y="369"/>
                    <a:pt x="693" y="373"/>
                    <a:pt x="692" y="378"/>
                  </a:cubicBezTo>
                  <a:cubicBezTo>
                    <a:pt x="692" y="378"/>
                    <a:pt x="692" y="379"/>
                    <a:pt x="692" y="379"/>
                  </a:cubicBezTo>
                  <a:cubicBezTo>
                    <a:pt x="692" y="395"/>
                    <a:pt x="691" y="411"/>
                    <a:pt x="689" y="427"/>
                  </a:cubicBezTo>
                  <a:cubicBezTo>
                    <a:pt x="665" y="578"/>
                    <a:pt x="532" y="692"/>
                    <a:pt x="379" y="692"/>
                  </a:cubicBezTo>
                  <a:cubicBezTo>
                    <a:pt x="206" y="692"/>
                    <a:pt x="66" y="552"/>
                    <a:pt x="66" y="379"/>
                  </a:cubicBezTo>
                  <a:cubicBezTo>
                    <a:pt x="66" y="206"/>
                    <a:pt x="206" y="66"/>
                    <a:pt x="379" y="66"/>
                  </a:cubicBezTo>
                  <a:cubicBezTo>
                    <a:pt x="438" y="66"/>
                    <a:pt x="496" y="83"/>
                    <a:pt x="546" y="114"/>
                  </a:cubicBezTo>
                  <a:cubicBezTo>
                    <a:pt x="550" y="117"/>
                    <a:pt x="556" y="116"/>
                    <a:pt x="559" y="111"/>
                  </a:cubicBezTo>
                  <a:cubicBezTo>
                    <a:pt x="559" y="111"/>
                    <a:pt x="559" y="111"/>
                    <a:pt x="559" y="111"/>
                  </a:cubicBezTo>
                  <a:close/>
                </a:path>
              </a:pathLst>
            </a:custGeom>
            <a:noFill/>
            <a:ln w="4763" cap="flat">
              <a:solidFill>
                <a:srgbClr val="C953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9" name="Freeform 67">
              <a:extLst>
                <a:ext uri="{FF2B5EF4-FFF2-40B4-BE49-F238E27FC236}">
                  <a16:creationId xmlns:a16="http://schemas.microsoft.com/office/drawing/2014/main" id="{0CCACB54-2383-C619-4204-AC897D83F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61973" y="2560124"/>
              <a:ext cx="107322" cy="112622"/>
            </a:xfrm>
            <a:custGeom>
              <a:avLst/>
              <a:gdLst>
                <a:gd name="T0" fmla="*/ 187 w 352"/>
                <a:gd name="T1" fmla="*/ 42 h 375"/>
                <a:gd name="T2" fmla="*/ 266 w 352"/>
                <a:gd name="T3" fmla="*/ 65 h 375"/>
                <a:gd name="T4" fmla="*/ 279 w 352"/>
                <a:gd name="T5" fmla="*/ 62 h 375"/>
                <a:gd name="T6" fmla="*/ 276 w 352"/>
                <a:gd name="T7" fmla="*/ 49 h 375"/>
                <a:gd name="T8" fmla="*/ 49 w 352"/>
                <a:gd name="T9" fmla="*/ 98 h 375"/>
                <a:gd name="T10" fmla="*/ 99 w 352"/>
                <a:gd name="T11" fmla="*/ 326 h 375"/>
                <a:gd name="T12" fmla="*/ 326 w 352"/>
                <a:gd name="T13" fmla="*/ 276 h 375"/>
                <a:gd name="T14" fmla="*/ 349 w 352"/>
                <a:gd name="T15" fmla="*/ 215 h 375"/>
                <a:gd name="T16" fmla="*/ 352 w 352"/>
                <a:gd name="T17" fmla="*/ 187 h 375"/>
                <a:gd name="T18" fmla="*/ 343 w 352"/>
                <a:gd name="T19" fmla="*/ 177 h 375"/>
                <a:gd name="T20" fmla="*/ 333 w 352"/>
                <a:gd name="T21" fmla="*/ 186 h 375"/>
                <a:gd name="T22" fmla="*/ 333 w 352"/>
                <a:gd name="T23" fmla="*/ 187 h 375"/>
                <a:gd name="T24" fmla="*/ 187 w 352"/>
                <a:gd name="T25" fmla="*/ 332 h 375"/>
                <a:gd name="T26" fmla="*/ 42 w 352"/>
                <a:gd name="T27" fmla="*/ 187 h 375"/>
                <a:gd name="T28" fmla="*/ 187 w 352"/>
                <a:gd name="T29" fmla="*/ 42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2" h="375">
                  <a:moveTo>
                    <a:pt x="187" y="42"/>
                  </a:moveTo>
                  <a:cubicBezTo>
                    <a:pt x="215" y="42"/>
                    <a:pt x="242" y="50"/>
                    <a:pt x="266" y="65"/>
                  </a:cubicBezTo>
                  <a:cubicBezTo>
                    <a:pt x="270" y="68"/>
                    <a:pt x="276" y="66"/>
                    <a:pt x="279" y="62"/>
                  </a:cubicBezTo>
                  <a:cubicBezTo>
                    <a:pt x="282" y="57"/>
                    <a:pt x="281" y="51"/>
                    <a:pt x="276" y="49"/>
                  </a:cubicBezTo>
                  <a:cubicBezTo>
                    <a:pt x="200" y="0"/>
                    <a:pt x="98" y="22"/>
                    <a:pt x="49" y="98"/>
                  </a:cubicBezTo>
                  <a:cubicBezTo>
                    <a:pt x="0" y="175"/>
                    <a:pt x="22" y="277"/>
                    <a:pt x="99" y="326"/>
                  </a:cubicBezTo>
                  <a:cubicBezTo>
                    <a:pt x="175" y="375"/>
                    <a:pt x="277" y="352"/>
                    <a:pt x="326" y="276"/>
                  </a:cubicBezTo>
                  <a:cubicBezTo>
                    <a:pt x="338" y="257"/>
                    <a:pt x="346" y="236"/>
                    <a:pt x="349" y="215"/>
                  </a:cubicBezTo>
                  <a:cubicBezTo>
                    <a:pt x="351" y="206"/>
                    <a:pt x="352" y="196"/>
                    <a:pt x="352" y="187"/>
                  </a:cubicBezTo>
                  <a:cubicBezTo>
                    <a:pt x="352" y="182"/>
                    <a:pt x="348" y="177"/>
                    <a:pt x="343" y="177"/>
                  </a:cubicBezTo>
                  <a:cubicBezTo>
                    <a:pt x="337" y="177"/>
                    <a:pt x="333" y="181"/>
                    <a:pt x="333" y="186"/>
                  </a:cubicBezTo>
                  <a:cubicBezTo>
                    <a:pt x="333" y="186"/>
                    <a:pt x="333" y="187"/>
                    <a:pt x="333" y="187"/>
                  </a:cubicBezTo>
                  <a:cubicBezTo>
                    <a:pt x="333" y="267"/>
                    <a:pt x="268" y="332"/>
                    <a:pt x="187" y="332"/>
                  </a:cubicBezTo>
                  <a:cubicBezTo>
                    <a:pt x="107" y="332"/>
                    <a:pt x="42" y="267"/>
                    <a:pt x="42" y="187"/>
                  </a:cubicBezTo>
                  <a:cubicBezTo>
                    <a:pt x="42" y="107"/>
                    <a:pt x="107" y="42"/>
                    <a:pt x="187" y="42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0" name="Freeform 68">
              <a:extLst>
                <a:ext uri="{FF2B5EF4-FFF2-40B4-BE49-F238E27FC236}">
                  <a16:creationId xmlns:a16="http://schemas.microsoft.com/office/drawing/2014/main" id="{E055EA1A-74AC-ADB0-612D-62665DAD24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61973" y="2560124"/>
              <a:ext cx="107322" cy="112622"/>
            </a:xfrm>
            <a:custGeom>
              <a:avLst/>
              <a:gdLst>
                <a:gd name="T0" fmla="*/ 187 w 352"/>
                <a:gd name="T1" fmla="*/ 42 h 375"/>
                <a:gd name="T2" fmla="*/ 266 w 352"/>
                <a:gd name="T3" fmla="*/ 65 h 375"/>
                <a:gd name="T4" fmla="*/ 279 w 352"/>
                <a:gd name="T5" fmla="*/ 62 h 375"/>
                <a:gd name="T6" fmla="*/ 276 w 352"/>
                <a:gd name="T7" fmla="*/ 49 h 375"/>
                <a:gd name="T8" fmla="*/ 49 w 352"/>
                <a:gd name="T9" fmla="*/ 98 h 375"/>
                <a:gd name="T10" fmla="*/ 99 w 352"/>
                <a:gd name="T11" fmla="*/ 326 h 375"/>
                <a:gd name="T12" fmla="*/ 326 w 352"/>
                <a:gd name="T13" fmla="*/ 276 h 375"/>
                <a:gd name="T14" fmla="*/ 349 w 352"/>
                <a:gd name="T15" fmla="*/ 215 h 375"/>
                <a:gd name="T16" fmla="*/ 352 w 352"/>
                <a:gd name="T17" fmla="*/ 187 h 375"/>
                <a:gd name="T18" fmla="*/ 343 w 352"/>
                <a:gd name="T19" fmla="*/ 177 h 375"/>
                <a:gd name="T20" fmla="*/ 333 w 352"/>
                <a:gd name="T21" fmla="*/ 186 h 375"/>
                <a:gd name="T22" fmla="*/ 333 w 352"/>
                <a:gd name="T23" fmla="*/ 187 h 375"/>
                <a:gd name="T24" fmla="*/ 187 w 352"/>
                <a:gd name="T25" fmla="*/ 332 h 375"/>
                <a:gd name="T26" fmla="*/ 42 w 352"/>
                <a:gd name="T27" fmla="*/ 187 h 375"/>
                <a:gd name="T28" fmla="*/ 187 w 352"/>
                <a:gd name="T29" fmla="*/ 42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2" h="375">
                  <a:moveTo>
                    <a:pt x="187" y="42"/>
                  </a:moveTo>
                  <a:cubicBezTo>
                    <a:pt x="215" y="42"/>
                    <a:pt x="242" y="50"/>
                    <a:pt x="266" y="65"/>
                  </a:cubicBezTo>
                  <a:cubicBezTo>
                    <a:pt x="270" y="68"/>
                    <a:pt x="276" y="66"/>
                    <a:pt x="279" y="62"/>
                  </a:cubicBezTo>
                  <a:cubicBezTo>
                    <a:pt x="282" y="57"/>
                    <a:pt x="281" y="51"/>
                    <a:pt x="276" y="49"/>
                  </a:cubicBezTo>
                  <a:cubicBezTo>
                    <a:pt x="200" y="0"/>
                    <a:pt x="98" y="22"/>
                    <a:pt x="49" y="98"/>
                  </a:cubicBezTo>
                  <a:cubicBezTo>
                    <a:pt x="0" y="175"/>
                    <a:pt x="22" y="277"/>
                    <a:pt x="99" y="326"/>
                  </a:cubicBezTo>
                  <a:cubicBezTo>
                    <a:pt x="175" y="375"/>
                    <a:pt x="277" y="352"/>
                    <a:pt x="326" y="276"/>
                  </a:cubicBezTo>
                  <a:cubicBezTo>
                    <a:pt x="338" y="257"/>
                    <a:pt x="346" y="236"/>
                    <a:pt x="349" y="215"/>
                  </a:cubicBezTo>
                  <a:cubicBezTo>
                    <a:pt x="351" y="206"/>
                    <a:pt x="352" y="196"/>
                    <a:pt x="352" y="187"/>
                  </a:cubicBezTo>
                  <a:cubicBezTo>
                    <a:pt x="352" y="182"/>
                    <a:pt x="348" y="177"/>
                    <a:pt x="343" y="177"/>
                  </a:cubicBezTo>
                  <a:cubicBezTo>
                    <a:pt x="337" y="177"/>
                    <a:pt x="333" y="181"/>
                    <a:pt x="333" y="186"/>
                  </a:cubicBezTo>
                  <a:cubicBezTo>
                    <a:pt x="333" y="186"/>
                    <a:pt x="333" y="187"/>
                    <a:pt x="333" y="187"/>
                  </a:cubicBezTo>
                  <a:cubicBezTo>
                    <a:pt x="333" y="267"/>
                    <a:pt x="268" y="332"/>
                    <a:pt x="187" y="332"/>
                  </a:cubicBezTo>
                  <a:cubicBezTo>
                    <a:pt x="107" y="332"/>
                    <a:pt x="42" y="267"/>
                    <a:pt x="42" y="187"/>
                  </a:cubicBezTo>
                  <a:cubicBezTo>
                    <a:pt x="42" y="107"/>
                    <a:pt x="107" y="42"/>
                    <a:pt x="187" y="42"/>
                  </a:cubicBezTo>
                  <a:close/>
                </a:path>
              </a:pathLst>
            </a:custGeom>
            <a:noFill/>
            <a:ln w="4763" cap="flat">
              <a:solidFill>
                <a:srgbClr val="C953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1" name="Freeform 69">
              <a:extLst>
                <a:ext uri="{FF2B5EF4-FFF2-40B4-BE49-F238E27FC236}">
                  <a16:creationId xmlns:a16="http://schemas.microsoft.com/office/drawing/2014/main" id="{3958DAB7-F6DB-266D-60C7-9258ECA33B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14971" y="2499176"/>
              <a:ext cx="205369" cy="121896"/>
            </a:xfrm>
            <a:custGeom>
              <a:avLst/>
              <a:gdLst>
                <a:gd name="T0" fmla="*/ 674 w 675"/>
                <a:gd name="T1" fmla="*/ 199 h 402"/>
                <a:gd name="T2" fmla="*/ 667 w 675"/>
                <a:gd name="T3" fmla="*/ 190 h 402"/>
                <a:gd name="T4" fmla="*/ 518 w 675"/>
                <a:gd name="T5" fmla="*/ 153 h 402"/>
                <a:gd name="T6" fmla="*/ 518 w 675"/>
                <a:gd name="T7" fmla="*/ 152 h 402"/>
                <a:gd name="T8" fmla="*/ 518 w 675"/>
                <a:gd name="T9" fmla="*/ 152 h 402"/>
                <a:gd name="T10" fmla="*/ 585 w 675"/>
                <a:gd name="T11" fmla="*/ 14 h 402"/>
                <a:gd name="T12" fmla="*/ 581 w 675"/>
                <a:gd name="T13" fmla="*/ 1 h 402"/>
                <a:gd name="T14" fmla="*/ 572 w 675"/>
                <a:gd name="T15" fmla="*/ 1 h 402"/>
                <a:gd name="T16" fmla="*/ 332 w 675"/>
                <a:gd name="T17" fmla="*/ 111 h 402"/>
                <a:gd name="T18" fmla="*/ 327 w 675"/>
                <a:gd name="T19" fmla="*/ 117 h 402"/>
                <a:gd name="T20" fmla="*/ 282 w 675"/>
                <a:gd name="T21" fmla="*/ 253 h 402"/>
                <a:gd name="T22" fmla="*/ 282 w 675"/>
                <a:gd name="T23" fmla="*/ 254 h 402"/>
                <a:gd name="T24" fmla="*/ 146 w 675"/>
                <a:gd name="T25" fmla="*/ 318 h 402"/>
                <a:gd name="T26" fmla="*/ 6 w 675"/>
                <a:gd name="T27" fmla="*/ 383 h 402"/>
                <a:gd name="T28" fmla="*/ 2 w 675"/>
                <a:gd name="T29" fmla="*/ 395 h 402"/>
                <a:gd name="T30" fmla="*/ 15 w 675"/>
                <a:gd name="T31" fmla="*/ 400 h 402"/>
                <a:gd name="T32" fmla="*/ 155 w 675"/>
                <a:gd name="T33" fmla="*/ 335 h 402"/>
                <a:gd name="T34" fmla="*/ 295 w 675"/>
                <a:gd name="T35" fmla="*/ 268 h 402"/>
                <a:gd name="T36" fmla="*/ 420 w 675"/>
                <a:gd name="T37" fmla="*/ 319 h 402"/>
                <a:gd name="T38" fmla="*/ 424 w 675"/>
                <a:gd name="T39" fmla="*/ 320 h 402"/>
                <a:gd name="T40" fmla="*/ 428 w 675"/>
                <a:gd name="T41" fmla="*/ 319 h 402"/>
                <a:gd name="T42" fmla="*/ 546 w 675"/>
                <a:gd name="T43" fmla="*/ 265 h 402"/>
                <a:gd name="T44" fmla="*/ 551 w 675"/>
                <a:gd name="T45" fmla="*/ 262 h 402"/>
                <a:gd name="T46" fmla="*/ 669 w 675"/>
                <a:gd name="T47" fmla="*/ 208 h 402"/>
                <a:gd name="T48" fmla="*/ 674 w 675"/>
                <a:gd name="T49" fmla="*/ 199 h 402"/>
                <a:gd name="T50" fmla="*/ 496 w 675"/>
                <a:gd name="T51" fmla="*/ 152 h 402"/>
                <a:gd name="T52" fmla="*/ 423 w 675"/>
                <a:gd name="T53" fmla="*/ 186 h 402"/>
                <a:gd name="T54" fmla="*/ 464 w 675"/>
                <a:gd name="T55" fmla="*/ 72 h 402"/>
                <a:gd name="T56" fmla="*/ 556 w 675"/>
                <a:gd name="T57" fmla="*/ 29 h 402"/>
                <a:gd name="T58" fmla="*/ 496 w 675"/>
                <a:gd name="T59" fmla="*/ 152 h 402"/>
                <a:gd name="T60" fmla="*/ 344 w 675"/>
                <a:gd name="T61" fmla="*/ 127 h 402"/>
                <a:gd name="T62" fmla="*/ 440 w 675"/>
                <a:gd name="T63" fmla="*/ 83 h 402"/>
                <a:gd name="T64" fmla="*/ 398 w 675"/>
                <a:gd name="T65" fmla="*/ 198 h 402"/>
                <a:gd name="T66" fmla="*/ 306 w 675"/>
                <a:gd name="T67" fmla="*/ 242 h 402"/>
                <a:gd name="T68" fmla="*/ 344 w 675"/>
                <a:gd name="T69" fmla="*/ 127 h 402"/>
                <a:gd name="T70" fmla="*/ 424 w 675"/>
                <a:gd name="T71" fmla="*/ 300 h 402"/>
                <a:gd name="T72" fmla="*/ 319 w 675"/>
                <a:gd name="T73" fmla="*/ 257 h 402"/>
                <a:gd name="T74" fmla="*/ 408 w 675"/>
                <a:gd name="T75" fmla="*/ 215 h 402"/>
                <a:gd name="T76" fmla="*/ 519 w 675"/>
                <a:gd name="T77" fmla="*/ 256 h 402"/>
                <a:gd name="T78" fmla="*/ 424 w 675"/>
                <a:gd name="T79" fmla="*/ 300 h 402"/>
                <a:gd name="T80" fmla="*/ 543 w 675"/>
                <a:gd name="T81" fmla="*/ 245 h 402"/>
                <a:gd name="T82" fmla="*/ 433 w 675"/>
                <a:gd name="T83" fmla="*/ 203 h 402"/>
                <a:gd name="T84" fmla="*/ 505 w 675"/>
                <a:gd name="T85" fmla="*/ 169 h 402"/>
                <a:gd name="T86" fmla="*/ 636 w 675"/>
                <a:gd name="T87" fmla="*/ 202 h 402"/>
                <a:gd name="T88" fmla="*/ 543 w 675"/>
                <a:gd name="T89" fmla="*/ 245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75" h="402">
                  <a:moveTo>
                    <a:pt x="674" y="199"/>
                  </a:moveTo>
                  <a:cubicBezTo>
                    <a:pt x="674" y="195"/>
                    <a:pt x="671" y="191"/>
                    <a:pt x="667" y="190"/>
                  </a:cubicBezTo>
                  <a:lnTo>
                    <a:pt x="518" y="153"/>
                  </a:lnTo>
                  <a:lnTo>
                    <a:pt x="518" y="152"/>
                  </a:lnTo>
                  <a:cubicBezTo>
                    <a:pt x="518" y="152"/>
                    <a:pt x="518" y="152"/>
                    <a:pt x="518" y="152"/>
                  </a:cubicBezTo>
                  <a:lnTo>
                    <a:pt x="585" y="14"/>
                  </a:lnTo>
                  <a:cubicBezTo>
                    <a:pt x="587" y="9"/>
                    <a:pt x="586" y="3"/>
                    <a:pt x="581" y="1"/>
                  </a:cubicBezTo>
                  <a:cubicBezTo>
                    <a:pt x="578" y="0"/>
                    <a:pt x="575" y="0"/>
                    <a:pt x="572" y="1"/>
                  </a:cubicBezTo>
                  <a:lnTo>
                    <a:pt x="332" y="111"/>
                  </a:lnTo>
                  <a:cubicBezTo>
                    <a:pt x="329" y="112"/>
                    <a:pt x="327" y="115"/>
                    <a:pt x="327" y="117"/>
                  </a:cubicBezTo>
                  <a:lnTo>
                    <a:pt x="282" y="253"/>
                  </a:lnTo>
                  <a:lnTo>
                    <a:pt x="282" y="254"/>
                  </a:lnTo>
                  <a:lnTo>
                    <a:pt x="146" y="318"/>
                  </a:lnTo>
                  <a:lnTo>
                    <a:pt x="6" y="383"/>
                  </a:lnTo>
                  <a:cubicBezTo>
                    <a:pt x="2" y="385"/>
                    <a:pt x="0" y="391"/>
                    <a:pt x="2" y="395"/>
                  </a:cubicBezTo>
                  <a:cubicBezTo>
                    <a:pt x="4" y="400"/>
                    <a:pt x="10" y="402"/>
                    <a:pt x="15" y="400"/>
                  </a:cubicBezTo>
                  <a:lnTo>
                    <a:pt x="155" y="335"/>
                  </a:lnTo>
                  <a:lnTo>
                    <a:pt x="295" y="268"/>
                  </a:lnTo>
                  <a:lnTo>
                    <a:pt x="420" y="319"/>
                  </a:lnTo>
                  <a:cubicBezTo>
                    <a:pt x="422" y="320"/>
                    <a:pt x="423" y="320"/>
                    <a:pt x="424" y="320"/>
                  </a:cubicBezTo>
                  <a:cubicBezTo>
                    <a:pt x="425" y="320"/>
                    <a:pt x="427" y="319"/>
                    <a:pt x="428" y="319"/>
                  </a:cubicBezTo>
                  <a:lnTo>
                    <a:pt x="546" y="265"/>
                  </a:lnTo>
                  <a:cubicBezTo>
                    <a:pt x="548" y="265"/>
                    <a:pt x="550" y="264"/>
                    <a:pt x="551" y="262"/>
                  </a:cubicBezTo>
                  <a:lnTo>
                    <a:pt x="669" y="208"/>
                  </a:lnTo>
                  <a:cubicBezTo>
                    <a:pt x="672" y="207"/>
                    <a:pt x="675" y="203"/>
                    <a:pt x="674" y="199"/>
                  </a:cubicBezTo>
                  <a:close/>
                  <a:moveTo>
                    <a:pt x="496" y="152"/>
                  </a:moveTo>
                  <a:lnTo>
                    <a:pt x="423" y="186"/>
                  </a:lnTo>
                  <a:lnTo>
                    <a:pt x="464" y="72"/>
                  </a:lnTo>
                  <a:lnTo>
                    <a:pt x="556" y="29"/>
                  </a:lnTo>
                  <a:lnTo>
                    <a:pt x="496" y="152"/>
                  </a:lnTo>
                  <a:close/>
                  <a:moveTo>
                    <a:pt x="344" y="127"/>
                  </a:moveTo>
                  <a:lnTo>
                    <a:pt x="440" y="83"/>
                  </a:lnTo>
                  <a:lnTo>
                    <a:pt x="398" y="198"/>
                  </a:lnTo>
                  <a:lnTo>
                    <a:pt x="306" y="242"/>
                  </a:lnTo>
                  <a:lnTo>
                    <a:pt x="344" y="127"/>
                  </a:lnTo>
                  <a:close/>
                  <a:moveTo>
                    <a:pt x="424" y="300"/>
                  </a:moveTo>
                  <a:lnTo>
                    <a:pt x="319" y="257"/>
                  </a:lnTo>
                  <a:lnTo>
                    <a:pt x="408" y="215"/>
                  </a:lnTo>
                  <a:lnTo>
                    <a:pt x="519" y="256"/>
                  </a:lnTo>
                  <a:lnTo>
                    <a:pt x="424" y="300"/>
                  </a:lnTo>
                  <a:close/>
                  <a:moveTo>
                    <a:pt x="543" y="245"/>
                  </a:moveTo>
                  <a:lnTo>
                    <a:pt x="433" y="203"/>
                  </a:lnTo>
                  <a:lnTo>
                    <a:pt x="505" y="169"/>
                  </a:lnTo>
                  <a:lnTo>
                    <a:pt x="636" y="202"/>
                  </a:lnTo>
                  <a:lnTo>
                    <a:pt x="543" y="245"/>
                  </a:ln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2" name="Freeform 70">
              <a:extLst>
                <a:ext uri="{FF2B5EF4-FFF2-40B4-BE49-F238E27FC236}">
                  <a16:creationId xmlns:a16="http://schemas.microsoft.com/office/drawing/2014/main" id="{C207CB13-088C-1BBF-AD53-9E1E6AD5F1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14971" y="2499176"/>
              <a:ext cx="205369" cy="121896"/>
            </a:xfrm>
            <a:custGeom>
              <a:avLst/>
              <a:gdLst>
                <a:gd name="T0" fmla="*/ 674 w 675"/>
                <a:gd name="T1" fmla="*/ 199 h 402"/>
                <a:gd name="T2" fmla="*/ 667 w 675"/>
                <a:gd name="T3" fmla="*/ 190 h 402"/>
                <a:gd name="T4" fmla="*/ 518 w 675"/>
                <a:gd name="T5" fmla="*/ 153 h 402"/>
                <a:gd name="T6" fmla="*/ 518 w 675"/>
                <a:gd name="T7" fmla="*/ 152 h 402"/>
                <a:gd name="T8" fmla="*/ 518 w 675"/>
                <a:gd name="T9" fmla="*/ 152 h 402"/>
                <a:gd name="T10" fmla="*/ 585 w 675"/>
                <a:gd name="T11" fmla="*/ 14 h 402"/>
                <a:gd name="T12" fmla="*/ 581 w 675"/>
                <a:gd name="T13" fmla="*/ 1 h 402"/>
                <a:gd name="T14" fmla="*/ 572 w 675"/>
                <a:gd name="T15" fmla="*/ 1 h 402"/>
                <a:gd name="T16" fmla="*/ 332 w 675"/>
                <a:gd name="T17" fmla="*/ 111 h 402"/>
                <a:gd name="T18" fmla="*/ 327 w 675"/>
                <a:gd name="T19" fmla="*/ 117 h 402"/>
                <a:gd name="T20" fmla="*/ 282 w 675"/>
                <a:gd name="T21" fmla="*/ 253 h 402"/>
                <a:gd name="T22" fmla="*/ 282 w 675"/>
                <a:gd name="T23" fmla="*/ 254 h 402"/>
                <a:gd name="T24" fmla="*/ 146 w 675"/>
                <a:gd name="T25" fmla="*/ 318 h 402"/>
                <a:gd name="T26" fmla="*/ 6 w 675"/>
                <a:gd name="T27" fmla="*/ 383 h 402"/>
                <a:gd name="T28" fmla="*/ 2 w 675"/>
                <a:gd name="T29" fmla="*/ 395 h 402"/>
                <a:gd name="T30" fmla="*/ 15 w 675"/>
                <a:gd name="T31" fmla="*/ 400 h 402"/>
                <a:gd name="T32" fmla="*/ 155 w 675"/>
                <a:gd name="T33" fmla="*/ 335 h 402"/>
                <a:gd name="T34" fmla="*/ 295 w 675"/>
                <a:gd name="T35" fmla="*/ 268 h 402"/>
                <a:gd name="T36" fmla="*/ 420 w 675"/>
                <a:gd name="T37" fmla="*/ 319 h 402"/>
                <a:gd name="T38" fmla="*/ 424 w 675"/>
                <a:gd name="T39" fmla="*/ 320 h 402"/>
                <a:gd name="T40" fmla="*/ 428 w 675"/>
                <a:gd name="T41" fmla="*/ 319 h 402"/>
                <a:gd name="T42" fmla="*/ 546 w 675"/>
                <a:gd name="T43" fmla="*/ 265 h 402"/>
                <a:gd name="T44" fmla="*/ 551 w 675"/>
                <a:gd name="T45" fmla="*/ 262 h 402"/>
                <a:gd name="T46" fmla="*/ 669 w 675"/>
                <a:gd name="T47" fmla="*/ 208 h 402"/>
                <a:gd name="T48" fmla="*/ 674 w 675"/>
                <a:gd name="T49" fmla="*/ 199 h 402"/>
                <a:gd name="T50" fmla="*/ 496 w 675"/>
                <a:gd name="T51" fmla="*/ 152 h 402"/>
                <a:gd name="T52" fmla="*/ 423 w 675"/>
                <a:gd name="T53" fmla="*/ 186 h 402"/>
                <a:gd name="T54" fmla="*/ 464 w 675"/>
                <a:gd name="T55" fmla="*/ 72 h 402"/>
                <a:gd name="T56" fmla="*/ 556 w 675"/>
                <a:gd name="T57" fmla="*/ 29 h 402"/>
                <a:gd name="T58" fmla="*/ 496 w 675"/>
                <a:gd name="T59" fmla="*/ 152 h 402"/>
                <a:gd name="T60" fmla="*/ 344 w 675"/>
                <a:gd name="T61" fmla="*/ 127 h 402"/>
                <a:gd name="T62" fmla="*/ 440 w 675"/>
                <a:gd name="T63" fmla="*/ 83 h 402"/>
                <a:gd name="T64" fmla="*/ 398 w 675"/>
                <a:gd name="T65" fmla="*/ 198 h 402"/>
                <a:gd name="T66" fmla="*/ 306 w 675"/>
                <a:gd name="T67" fmla="*/ 242 h 402"/>
                <a:gd name="T68" fmla="*/ 344 w 675"/>
                <a:gd name="T69" fmla="*/ 127 h 402"/>
                <a:gd name="T70" fmla="*/ 424 w 675"/>
                <a:gd name="T71" fmla="*/ 300 h 402"/>
                <a:gd name="T72" fmla="*/ 319 w 675"/>
                <a:gd name="T73" fmla="*/ 257 h 402"/>
                <a:gd name="T74" fmla="*/ 408 w 675"/>
                <a:gd name="T75" fmla="*/ 215 h 402"/>
                <a:gd name="T76" fmla="*/ 519 w 675"/>
                <a:gd name="T77" fmla="*/ 256 h 402"/>
                <a:gd name="T78" fmla="*/ 424 w 675"/>
                <a:gd name="T79" fmla="*/ 300 h 402"/>
                <a:gd name="T80" fmla="*/ 543 w 675"/>
                <a:gd name="T81" fmla="*/ 245 h 402"/>
                <a:gd name="T82" fmla="*/ 433 w 675"/>
                <a:gd name="T83" fmla="*/ 203 h 402"/>
                <a:gd name="T84" fmla="*/ 505 w 675"/>
                <a:gd name="T85" fmla="*/ 169 h 402"/>
                <a:gd name="T86" fmla="*/ 636 w 675"/>
                <a:gd name="T87" fmla="*/ 202 h 402"/>
                <a:gd name="T88" fmla="*/ 543 w 675"/>
                <a:gd name="T89" fmla="*/ 245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75" h="402">
                  <a:moveTo>
                    <a:pt x="674" y="199"/>
                  </a:moveTo>
                  <a:cubicBezTo>
                    <a:pt x="674" y="195"/>
                    <a:pt x="671" y="191"/>
                    <a:pt x="667" y="190"/>
                  </a:cubicBezTo>
                  <a:lnTo>
                    <a:pt x="518" y="153"/>
                  </a:lnTo>
                  <a:lnTo>
                    <a:pt x="518" y="152"/>
                  </a:lnTo>
                  <a:cubicBezTo>
                    <a:pt x="518" y="152"/>
                    <a:pt x="518" y="152"/>
                    <a:pt x="518" y="152"/>
                  </a:cubicBezTo>
                  <a:lnTo>
                    <a:pt x="585" y="14"/>
                  </a:lnTo>
                  <a:cubicBezTo>
                    <a:pt x="587" y="9"/>
                    <a:pt x="586" y="3"/>
                    <a:pt x="581" y="1"/>
                  </a:cubicBezTo>
                  <a:cubicBezTo>
                    <a:pt x="578" y="0"/>
                    <a:pt x="575" y="0"/>
                    <a:pt x="572" y="1"/>
                  </a:cubicBezTo>
                  <a:lnTo>
                    <a:pt x="332" y="111"/>
                  </a:lnTo>
                  <a:cubicBezTo>
                    <a:pt x="329" y="112"/>
                    <a:pt x="327" y="115"/>
                    <a:pt x="327" y="117"/>
                  </a:cubicBezTo>
                  <a:lnTo>
                    <a:pt x="282" y="253"/>
                  </a:lnTo>
                  <a:lnTo>
                    <a:pt x="282" y="254"/>
                  </a:lnTo>
                  <a:lnTo>
                    <a:pt x="146" y="318"/>
                  </a:lnTo>
                  <a:lnTo>
                    <a:pt x="6" y="383"/>
                  </a:lnTo>
                  <a:cubicBezTo>
                    <a:pt x="2" y="385"/>
                    <a:pt x="0" y="391"/>
                    <a:pt x="2" y="395"/>
                  </a:cubicBezTo>
                  <a:cubicBezTo>
                    <a:pt x="4" y="400"/>
                    <a:pt x="10" y="402"/>
                    <a:pt x="15" y="400"/>
                  </a:cubicBezTo>
                  <a:lnTo>
                    <a:pt x="155" y="335"/>
                  </a:lnTo>
                  <a:lnTo>
                    <a:pt x="295" y="268"/>
                  </a:lnTo>
                  <a:lnTo>
                    <a:pt x="420" y="319"/>
                  </a:lnTo>
                  <a:cubicBezTo>
                    <a:pt x="422" y="320"/>
                    <a:pt x="423" y="320"/>
                    <a:pt x="424" y="320"/>
                  </a:cubicBezTo>
                  <a:cubicBezTo>
                    <a:pt x="425" y="320"/>
                    <a:pt x="427" y="319"/>
                    <a:pt x="428" y="319"/>
                  </a:cubicBezTo>
                  <a:lnTo>
                    <a:pt x="546" y="265"/>
                  </a:lnTo>
                  <a:cubicBezTo>
                    <a:pt x="548" y="265"/>
                    <a:pt x="550" y="264"/>
                    <a:pt x="551" y="262"/>
                  </a:cubicBezTo>
                  <a:lnTo>
                    <a:pt x="669" y="208"/>
                  </a:lnTo>
                  <a:cubicBezTo>
                    <a:pt x="672" y="207"/>
                    <a:pt x="675" y="203"/>
                    <a:pt x="674" y="199"/>
                  </a:cubicBezTo>
                  <a:close/>
                  <a:moveTo>
                    <a:pt x="496" y="152"/>
                  </a:moveTo>
                  <a:lnTo>
                    <a:pt x="423" y="186"/>
                  </a:lnTo>
                  <a:lnTo>
                    <a:pt x="464" y="72"/>
                  </a:lnTo>
                  <a:lnTo>
                    <a:pt x="556" y="29"/>
                  </a:lnTo>
                  <a:lnTo>
                    <a:pt x="496" y="152"/>
                  </a:lnTo>
                  <a:close/>
                  <a:moveTo>
                    <a:pt x="344" y="127"/>
                  </a:moveTo>
                  <a:lnTo>
                    <a:pt x="440" y="83"/>
                  </a:lnTo>
                  <a:lnTo>
                    <a:pt x="398" y="198"/>
                  </a:lnTo>
                  <a:lnTo>
                    <a:pt x="306" y="242"/>
                  </a:lnTo>
                  <a:lnTo>
                    <a:pt x="344" y="127"/>
                  </a:lnTo>
                  <a:close/>
                  <a:moveTo>
                    <a:pt x="424" y="300"/>
                  </a:moveTo>
                  <a:lnTo>
                    <a:pt x="319" y="257"/>
                  </a:lnTo>
                  <a:lnTo>
                    <a:pt x="408" y="215"/>
                  </a:lnTo>
                  <a:lnTo>
                    <a:pt x="519" y="256"/>
                  </a:lnTo>
                  <a:lnTo>
                    <a:pt x="424" y="300"/>
                  </a:lnTo>
                  <a:close/>
                  <a:moveTo>
                    <a:pt x="543" y="245"/>
                  </a:moveTo>
                  <a:lnTo>
                    <a:pt x="433" y="203"/>
                  </a:lnTo>
                  <a:lnTo>
                    <a:pt x="505" y="169"/>
                  </a:lnTo>
                  <a:lnTo>
                    <a:pt x="636" y="202"/>
                  </a:lnTo>
                  <a:lnTo>
                    <a:pt x="543" y="245"/>
                  </a:lnTo>
                  <a:close/>
                </a:path>
              </a:pathLst>
            </a:custGeom>
            <a:noFill/>
            <a:ln w="4763" cap="flat">
              <a:solidFill>
                <a:srgbClr val="C953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634B3877-1705-B749-FD93-84B1C75732B4}"/>
              </a:ext>
            </a:extLst>
          </p:cNvPr>
          <p:cNvGrpSpPr/>
          <p:nvPr userDrawn="1"/>
        </p:nvGrpSpPr>
        <p:grpSpPr>
          <a:xfrm>
            <a:off x="4361914" y="2216944"/>
            <a:ext cx="561066" cy="502351"/>
            <a:chOff x="11866576" y="5335909"/>
            <a:chExt cx="341839" cy="306066"/>
          </a:xfrm>
        </p:grpSpPr>
        <p:sp>
          <p:nvSpPr>
            <p:cNvPr id="154" name="Freeform 71">
              <a:extLst>
                <a:ext uri="{FF2B5EF4-FFF2-40B4-BE49-F238E27FC236}">
                  <a16:creationId xmlns:a16="http://schemas.microsoft.com/office/drawing/2014/main" id="{D9037D1B-64C1-0BA6-59FA-CA07249BC3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66576" y="5335909"/>
              <a:ext cx="341839" cy="306066"/>
            </a:xfrm>
            <a:custGeom>
              <a:avLst/>
              <a:gdLst>
                <a:gd name="T0" fmla="*/ 855 w 1122"/>
                <a:gd name="T1" fmla="*/ 129 h 1015"/>
                <a:gd name="T2" fmla="*/ 739 w 1122"/>
                <a:gd name="T3" fmla="*/ 61 h 1015"/>
                <a:gd name="T4" fmla="*/ 247 w 1122"/>
                <a:gd name="T5" fmla="*/ 95 h 1015"/>
                <a:gd name="T6" fmla="*/ 70 w 1122"/>
                <a:gd name="T7" fmla="*/ 446 h 1015"/>
                <a:gd name="T8" fmla="*/ 89 w 1122"/>
                <a:gd name="T9" fmla="*/ 584 h 1015"/>
                <a:gd name="T10" fmla="*/ 364 w 1122"/>
                <a:gd name="T11" fmla="*/ 988 h 1015"/>
                <a:gd name="T12" fmla="*/ 824 w 1122"/>
                <a:gd name="T13" fmla="*/ 1006 h 1015"/>
                <a:gd name="T14" fmla="*/ 1033 w 1122"/>
                <a:gd name="T15" fmla="*/ 584 h 1015"/>
                <a:gd name="T16" fmla="*/ 1052 w 1122"/>
                <a:gd name="T17" fmla="*/ 446 h 1015"/>
                <a:gd name="T18" fmla="*/ 719 w 1122"/>
                <a:gd name="T19" fmla="*/ 499 h 1015"/>
                <a:gd name="T20" fmla="*/ 710 w 1122"/>
                <a:gd name="T21" fmla="*/ 442 h 1015"/>
                <a:gd name="T22" fmla="*/ 824 w 1122"/>
                <a:gd name="T23" fmla="*/ 146 h 1015"/>
                <a:gd name="T24" fmla="*/ 661 w 1122"/>
                <a:gd name="T25" fmla="*/ 591 h 1015"/>
                <a:gd name="T26" fmla="*/ 586 w 1122"/>
                <a:gd name="T27" fmla="*/ 604 h 1015"/>
                <a:gd name="T28" fmla="*/ 544 w 1122"/>
                <a:gd name="T29" fmla="*/ 639 h 1015"/>
                <a:gd name="T30" fmla="*/ 499 w 1122"/>
                <a:gd name="T31" fmla="*/ 604 h 1015"/>
                <a:gd name="T32" fmla="*/ 474 w 1122"/>
                <a:gd name="T33" fmla="*/ 579 h 1015"/>
                <a:gd name="T34" fmla="*/ 438 w 1122"/>
                <a:gd name="T35" fmla="*/ 534 h 1015"/>
                <a:gd name="T36" fmla="*/ 481 w 1122"/>
                <a:gd name="T37" fmla="*/ 472 h 1015"/>
                <a:gd name="T38" fmla="*/ 486 w 1122"/>
                <a:gd name="T39" fmla="*/ 417 h 1015"/>
                <a:gd name="T40" fmla="*/ 544 w 1122"/>
                <a:gd name="T41" fmla="*/ 411 h 1015"/>
                <a:gd name="T42" fmla="*/ 579 w 1122"/>
                <a:gd name="T43" fmla="*/ 411 h 1015"/>
                <a:gd name="T44" fmla="*/ 635 w 1122"/>
                <a:gd name="T45" fmla="*/ 417 h 1015"/>
                <a:gd name="T46" fmla="*/ 647 w 1122"/>
                <a:gd name="T47" fmla="*/ 491 h 1015"/>
                <a:gd name="T48" fmla="*/ 684 w 1122"/>
                <a:gd name="T49" fmla="*/ 534 h 1015"/>
                <a:gd name="T50" fmla="*/ 649 w 1122"/>
                <a:gd name="T51" fmla="*/ 579 h 1015"/>
                <a:gd name="T52" fmla="*/ 365 w 1122"/>
                <a:gd name="T53" fmla="*/ 887 h 1015"/>
                <a:gd name="T54" fmla="*/ 508 w 1122"/>
                <a:gd name="T55" fmla="*/ 674 h 1015"/>
                <a:gd name="T56" fmla="*/ 616 w 1122"/>
                <a:gd name="T57" fmla="*/ 646 h 1015"/>
                <a:gd name="T58" fmla="*/ 383 w 1122"/>
                <a:gd name="T59" fmla="*/ 96 h 1015"/>
                <a:gd name="T60" fmla="*/ 614 w 1122"/>
                <a:gd name="T61" fmla="*/ 387 h 1015"/>
                <a:gd name="T62" fmla="*/ 508 w 1122"/>
                <a:gd name="T63" fmla="*/ 387 h 1015"/>
                <a:gd name="T64" fmla="*/ 806 w 1122"/>
                <a:gd name="T65" fmla="*/ 43 h 1015"/>
                <a:gd name="T66" fmla="*/ 771 w 1122"/>
                <a:gd name="T67" fmla="*/ 78 h 1015"/>
                <a:gd name="T68" fmla="*/ 351 w 1122"/>
                <a:gd name="T69" fmla="*/ 78 h 1015"/>
                <a:gd name="T70" fmla="*/ 316 w 1122"/>
                <a:gd name="T71" fmla="*/ 43 h 1015"/>
                <a:gd name="T72" fmla="*/ 468 w 1122"/>
                <a:gd name="T73" fmla="*/ 386 h 1015"/>
                <a:gd name="T74" fmla="*/ 403 w 1122"/>
                <a:gd name="T75" fmla="*/ 464 h 1015"/>
                <a:gd name="T76" fmla="*/ 119 w 1122"/>
                <a:gd name="T77" fmla="*/ 466 h 1015"/>
                <a:gd name="T78" fmla="*/ 70 w 1122"/>
                <a:gd name="T79" fmla="*/ 481 h 1015"/>
                <a:gd name="T80" fmla="*/ 35 w 1122"/>
                <a:gd name="T81" fmla="*/ 517 h 1015"/>
                <a:gd name="T82" fmla="*/ 403 w 1122"/>
                <a:gd name="T83" fmla="*/ 534 h 1015"/>
                <a:gd name="T84" fmla="*/ 412 w 1122"/>
                <a:gd name="T85" fmla="*/ 591 h 1015"/>
                <a:gd name="T86" fmla="*/ 297 w 1122"/>
                <a:gd name="T87" fmla="*/ 870 h 1015"/>
                <a:gd name="T88" fmla="*/ 281 w 1122"/>
                <a:gd name="T89" fmla="*/ 937 h 1015"/>
                <a:gd name="T90" fmla="*/ 316 w 1122"/>
                <a:gd name="T91" fmla="*/ 972 h 1015"/>
                <a:gd name="T92" fmla="*/ 806 w 1122"/>
                <a:gd name="T93" fmla="*/ 902 h 1015"/>
                <a:gd name="T94" fmla="*/ 825 w 1122"/>
                <a:gd name="T95" fmla="*/ 870 h 1015"/>
                <a:gd name="T96" fmla="*/ 710 w 1122"/>
                <a:gd name="T97" fmla="*/ 591 h 1015"/>
                <a:gd name="T98" fmla="*/ 719 w 1122"/>
                <a:gd name="T99" fmla="*/ 534 h 1015"/>
                <a:gd name="T100" fmla="*/ 825 w 1122"/>
                <a:gd name="T101" fmla="*/ 870 h 1015"/>
                <a:gd name="T102" fmla="*/ 1052 w 1122"/>
                <a:gd name="T103" fmla="*/ 481 h 1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22" h="1015">
                  <a:moveTo>
                    <a:pt x="1052" y="446"/>
                  </a:moveTo>
                  <a:cubicBezTo>
                    <a:pt x="1046" y="446"/>
                    <a:pt x="1040" y="447"/>
                    <a:pt x="1034" y="449"/>
                  </a:cubicBezTo>
                  <a:lnTo>
                    <a:pt x="855" y="129"/>
                  </a:lnTo>
                  <a:cubicBezTo>
                    <a:pt x="883" y="102"/>
                    <a:pt x="884" y="58"/>
                    <a:pt x="858" y="30"/>
                  </a:cubicBezTo>
                  <a:cubicBezTo>
                    <a:pt x="831" y="2"/>
                    <a:pt x="787" y="0"/>
                    <a:pt x="759" y="27"/>
                  </a:cubicBezTo>
                  <a:cubicBezTo>
                    <a:pt x="749" y="36"/>
                    <a:pt x="742" y="48"/>
                    <a:pt x="739" y="61"/>
                  </a:cubicBezTo>
                  <a:lnTo>
                    <a:pt x="383" y="61"/>
                  </a:lnTo>
                  <a:cubicBezTo>
                    <a:pt x="374" y="23"/>
                    <a:pt x="336" y="0"/>
                    <a:pt x="298" y="10"/>
                  </a:cubicBezTo>
                  <a:cubicBezTo>
                    <a:pt x="261" y="19"/>
                    <a:pt x="238" y="57"/>
                    <a:pt x="247" y="95"/>
                  </a:cubicBezTo>
                  <a:cubicBezTo>
                    <a:pt x="251" y="108"/>
                    <a:pt x="258" y="120"/>
                    <a:pt x="267" y="129"/>
                  </a:cubicBezTo>
                  <a:lnTo>
                    <a:pt x="88" y="449"/>
                  </a:lnTo>
                  <a:cubicBezTo>
                    <a:pt x="82" y="447"/>
                    <a:pt x="76" y="446"/>
                    <a:pt x="70" y="446"/>
                  </a:cubicBezTo>
                  <a:cubicBezTo>
                    <a:pt x="32" y="446"/>
                    <a:pt x="0" y="478"/>
                    <a:pt x="0" y="517"/>
                  </a:cubicBezTo>
                  <a:cubicBezTo>
                    <a:pt x="0" y="555"/>
                    <a:pt x="32" y="587"/>
                    <a:pt x="70" y="587"/>
                  </a:cubicBezTo>
                  <a:cubicBezTo>
                    <a:pt x="77" y="587"/>
                    <a:pt x="83" y="586"/>
                    <a:pt x="89" y="584"/>
                  </a:cubicBezTo>
                  <a:lnTo>
                    <a:pt x="266" y="887"/>
                  </a:lnTo>
                  <a:cubicBezTo>
                    <a:pt x="239" y="914"/>
                    <a:pt x="238" y="959"/>
                    <a:pt x="265" y="986"/>
                  </a:cubicBezTo>
                  <a:cubicBezTo>
                    <a:pt x="292" y="1014"/>
                    <a:pt x="337" y="1015"/>
                    <a:pt x="364" y="988"/>
                  </a:cubicBezTo>
                  <a:cubicBezTo>
                    <a:pt x="374" y="979"/>
                    <a:pt x="380" y="967"/>
                    <a:pt x="383" y="955"/>
                  </a:cubicBezTo>
                  <a:lnTo>
                    <a:pt x="739" y="955"/>
                  </a:lnTo>
                  <a:cubicBezTo>
                    <a:pt x="748" y="992"/>
                    <a:pt x="786" y="1015"/>
                    <a:pt x="824" y="1006"/>
                  </a:cubicBezTo>
                  <a:cubicBezTo>
                    <a:pt x="861" y="996"/>
                    <a:pt x="884" y="958"/>
                    <a:pt x="875" y="920"/>
                  </a:cubicBezTo>
                  <a:cubicBezTo>
                    <a:pt x="872" y="908"/>
                    <a:pt x="865" y="896"/>
                    <a:pt x="856" y="887"/>
                  </a:cubicBezTo>
                  <a:lnTo>
                    <a:pt x="1033" y="584"/>
                  </a:lnTo>
                  <a:cubicBezTo>
                    <a:pt x="1039" y="586"/>
                    <a:pt x="1045" y="587"/>
                    <a:pt x="1052" y="587"/>
                  </a:cubicBezTo>
                  <a:cubicBezTo>
                    <a:pt x="1090" y="587"/>
                    <a:pt x="1122" y="555"/>
                    <a:pt x="1122" y="517"/>
                  </a:cubicBezTo>
                  <a:cubicBezTo>
                    <a:pt x="1122" y="478"/>
                    <a:pt x="1090" y="446"/>
                    <a:pt x="1052" y="446"/>
                  </a:cubicBezTo>
                  <a:close/>
                  <a:moveTo>
                    <a:pt x="1003" y="466"/>
                  </a:moveTo>
                  <a:cubicBezTo>
                    <a:pt x="994" y="475"/>
                    <a:pt x="987" y="486"/>
                    <a:pt x="984" y="499"/>
                  </a:cubicBezTo>
                  <a:lnTo>
                    <a:pt x="719" y="499"/>
                  </a:lnTo>
                  <a:lnTo>
                    <a:pt x="719" y="464"/>
                  </a:lnTo>
                  <a:lnTo>
                    <a:pt x="688" y="464"/>
                  </a:lnTo>
                  <a:lnTo>
                    <a:pt x="710" y="442"/>
                  </a:lnTo>
                  <a:lnTo>
                    <a:pt x="654" y="386"/>
                  </a:lnTo>
                  <a:lnTo>
                    <a:pt x="789" y="146"/>
                  </a:lnTo>
                  <a:cubicBezTo>
                    <a:pt x="800" y="149"/>
                    <a:pt x="812" y="149"/>
                    <a:pt x="824" y="146"/>
                  </a:cubicBezTo>
                  <a:lnTo>
                    <a:pt x="1003" y="466"/>
                  </a:lnTo>
                  <a:close/>
                  <a:moveTo>
                    <a:pt x="649" y="579"/>
                  </a:moveTo>
                  <a:lnTo>
                    <a:pt x="661" y="591"/>
                  </a:lnTo>
                  <a:lnTo>
                    <a:pt x="636" y="616"/>
                  </a:lnTo>
                  <a:lnTo>
                    <a:pt x="623" y="604"/>
                  </a:lnTo>
                  <a:cubicBezTo>
                    <a:pt x="613" y="594"/>
                    <a:pt x="597" y="594"/>
                    <a:pt x="586" y="604"/>
                  </a:cubicBezTo>
                  <a:cubicBezTo>
                    <a:pt x="582" y="609"/>
                    <a:pt x="579" y="615"/>
                    <a:pt x="579" y="622"/>
                  </a:cubicBezTo>
                  <a:lnTo>
                    <a:pt x="579" y="639"/>
                  </a:lnTo>
                  <a:lnTo>
                    <a:pt x="544" y="639"/>
                  </a:lnTo>
                  <a:lnTo>
                    <a:pt x="544" y="622"/>
                  </a:lnTo>
                  <a:cubicBezTo>
                    <a:pt x="543" y="607"/>
                    <a:pt x="531" y="596"/>
                    <a:pt x="516" y="596"/>
                  </a:cubicBezTo>
                  <a:cubicBezTo>
                    <a:pt x="510" y="597"/>
                    <a:pt x="503" y="599"/>
                    <a:pt x="499" y="604"/>
                  </a:cubicBezTo>
                  <a:lnTo>
                    <a:pt x="487" y="616"/>
                  </a:lnTo>
                  <a:lnTo>
                    <a:pt x="462" y="591"/>
                  </a:lnTo>
                  <a:lnTo>
                    <a:pt x="474" y="579"/>
                  </a:lnTo>
                  <a:cubicBezTo>
                    <a:pt x="484" y="569"/>
                    <a:pt x="485" y="553"/>
                    <a:pt x="475" y="542"/>
                  </a:cubicBezTo>
                  <a:cubicBezTo>
                    <a:pt x="470" y="537"/>
                    <a:pt x="463" y="534"/>
                    <a:pt x="456" y="534"/>
                  </a:cubicBezTo>
                  <a:lnTo>
                    <a:pt x="438" y="534"/>
                  </a:lnTo>
                  <a:lnTo>
                    <a:pt x="438" y="499"/>
                  </a:lnTo>
                  <a:lnTo>
                    <a:pt x="456" y="499"/>
                  </a:lnTo>
                  <a:cubicBezTo>
                    <a:pt x="470" y="498"/>
                    <a:pt x="482" y="486"/>
                    <a:pt x="481" y="472"/>
                  </a:cubicBezTo>
                  <a:cubicBezTo>
                    <a:pt x="481" y="465"/>
                    <a:pt x="478" y="459"/>
                    <a:pt x="473" y="454"/>
                  </a:cubicBezTo>
                  <a:lnTo>
                    <a:pt x="461" y="442"/>
                  </a:lnTo>
                  <a:lnTo>
                    <a:pt x="486" y="417"/>
                  </a:lnTo>
                  <a:lnTo>
                    <a:pt x="498" y="429"/>
                  </a:lnTo>
                  <a:cubicBezTo>
                    <a:pt x="508" y="440"/>
                    <a:pt x="525" y="440"/>
                    <a:pt x="535" y="430"/>
                  </a:cubicBezTo>
                  <a:cubicBezTo>
                    <a:pt x="541" y="425"/>
                    <a:pt x="544" y="419"/>
                    <a:pt x="544" y="411"/>
                  </a:cubicBezTo>
                  <a:lnTo>
                    <a:pt x="544" y="394"/>
                  </a:lnTo>
                  <a:lnTo>
                    <a:pt x="579" y="394"/>
                  </a:lnTo>
                  <a:lnTo>
                    <a:pt x="579" y="411"/>
                  </a:lnTo>
                  <a:cubicBezTo>
                    <a:pt x="579" y="426"/>
                    <a:pt x="591" y="437"/>
                    <a:pt x="606" y="437"/>
                  </a:cubicBezTo>
                  <a:cubicBezTo>
                    <a:pt x="612" y="436"/>
                    <a:pt x="619" y="434"/>
                    <a:pt x="623" y="429"/>
                  </a:cubicBezTo>
                  <a:lnTo>
                    <a:pt x="635" y="417"/>
                  </a:lnTo>
                  <a:lnTo>
                    <a:pt x="660" y="442"/>
                  </a:lnTo>
                  <a:lnTo>
                    <a:pt x="648" y="454"/>
                  </a:lnTo>
                  <a:cubicBezTo>
                    <a:pt x="638" y="464"/>
                    <a:pt x="637" y="480"/>
                    <a:pt x="647" y="491"/>
                  </a:cubicBezTo>
                  <a:cubicBezTo>
                    <a:pt x="652" y="496"/>
                    <a:pt x="659" y="499"/>
                    <a:pt x="666" y="499"/>
                  </a:cubicBezTo>
                  <a:lnTo>
                    <a:pt x="684" y="499"/>
                  </a:lnTo>
                  <a:lnTo>
                    <a:pt x="684" y="534"/>
                  </a:lnTo>
                  <a:lnTo>
                    <a:pt x="666" y="534"/>
                  </a:lnTo>
                  <a:cubicBezTo>
                    <a:pt x="652" y="535"/>
                    <a:pt x="640" y="547"/>
                    <a:pt x="641" y="561"/>
                  </a:cubicBezTo>
                  <a:cubicBezTo>
                    <a:pt x="641" y="568"/>
                    <a:pt x="644" y="574"/>
                    <a:pt x="649" y="579"/>
                  </a:cubicBezTo>
                  <a:close/>
                  <a:moveTo>
                    <a:pt x="739" y="920"/>
                  </a:moveTo>
                  <a:lnTo>
                    <a:pt x="383" y="920"/>
                  </a:lnTo>
                  <a:cubicBezTo>
                    <a:pt x="380" y="907"/>
                    <a:pt x="374" y="896"/>
                    <a:pt x="365" y="887"/>
                  </a:cubicBezTo>
                  <a:lnTo>
                    <a:pt x="505" y="646"/>
                  </a:lnTo>
                  <a:lnTo>
                    <a:pt x="508" y="643"/>
                  </a:lnTo>
                  <a:lnTo>
                    <a:pt x="508" y="674"/>
                  </a:lnTo>
                  <a:lnTo>
                    <a:pt x="613" y="674"/>
                  </a:lnTo>
                  <a:lnTo>
                    <a:pt x="613" y="643"/>
                  </a:lnTo>
                  <a:lnTo>
                    <a:pt x="616" y="646"/>
                  </a:lnTo>
                  <a:lnTo>
                    <a:pt x="756" y="887"/>
                  </a:lnTo>
                  <a:cubicBezTo>
                    <a:pt x="748" y="896"/>
                    <a:pt x="742" y="907"/>
                    <a:pt x="739" y="920"/>
                  </a:cubicBezTo>
                  <a:close/>
                  <a:moveTo>
                    <a:pt x="383" y="96"/>
                  </a:moveTo>
                  <a:lnTo>
                    <a:pt x="739" y="96"/>
                  </a:lnTo>
                  <a:cubicBezTo>
                    <a:pt x="742" y="109"/>
                    <a:pt x="749" y="120"/>
                    <a:pt x="758" y="129"/>
                  </a:cubicBezTo>
                  <a:lnTo>
                    <a:pt x="614" y="387"/>
                  </a:lnTo>
                  <a:lnTo>
                    <a:pt x="614" y="359"/>
                  </a:lnTo>
                  <a:lnTo>
                    <a:pt x="508" y="359"/>
                  </a:lnTo>
                  <a:lnTo>
                    <a:pt x="508" y="387"/>
                  </a:lnTo>
                  <a:lnTo>
                    <a:pt x="364" y="129"/>
                  </a:lnTo>
                  <a:cubicBezTo>
                    <a:pt x="373" y="120"/>
                    <a:pt x="380" y="109"/>
                    <a:pt x="383" y="96"/>
                  </a:cubicBezTo>
                  <a:close/>
                  <a:moveTo>
                    <a:pt x="806" y="43"/>
                  </a:moveTo>
                  <a:cubicBezTo>
                    <a:pt x="826" y="43"/>
                    <a:pt x="841" y="59"/>
                    <a:pt x="841" y="78"/>
                  </a:cubicBezTo>
                  <a:cubicBezTo>
                    <a:pt x="841" y="98"/>
                    <a:pt x="826" y="113"/>
                    <a:pt x="806" y="113"/>
                  </a:cubicBezTo>
                  <a:cubicBezTo>
                    <a:pt x="787" y="113"/>
                    <a:pt x="771" y="98"/>
                    <a:pt x="771" y="78"/>
                  </a:cubicBezTo>
                  <a:cubicBezTo>
                    <a:pt x="771" y="59"/>
                    <a:pt x="787" y="43"/>
                    <a:pt x="806" y="43"/>
                  </a:cubicBezTo>
                  <a:close/>
                  <a:moveTo>
                    <a:pt x="316" y="43"/>
                  </a:moveTo>
                  <a:cubicBezTo>
                    <a:pt x="335" y="43"/>
                    <a:pt x="351" y="59"/>
                    <a:pt x="351" y="78"/>
                  </a:cubicBezTo>
                  <a:cubicBezTo>
                    <a:pt x="351" y="98"/>
                    <a:pt x="335" y="113"/>
                    <a:pt x="316" y="113"/>
                  </a:cubicBezTo>
                  <a:cubicBezTo>
                    <a:pt x="296" y="113"/>
                    <a:pt x="281" y="98"/>
                    <a:pt x="281" y="78"/>
                  </a:cubicBezTo>
                  <a:cubicBezTo>
                    <a:pt x="281" y="59"/>
                    <a:pt x="296" y="43"/>
                    <a:pt x="316" y="43"/>
                  </a:cubicBezTo>
                  <a:close/>
                  <a:moveTo>
                    <a:pt x="298" y="146"/>
                  </a:moveTo>
                  <a:cubicBezTo>
                    <a:pt x="310" y="149"/>
                    <a:pt x="322" y="149"/>
                    <a:pt x="333" y="146"/>
                  </a:cubicBezTo>
                  <a:lnTo>
                    <a:pt x="468" y="386"/>
                  </a:lnTo>
                  <a:lnTo>
                    <a:pt x="412" y="442"/>
                  </a:lnTo>
                  <a:lnTo>
                    <a:pt x="434" y="464"/>
                  </a:lnTo>
                  <a:lnTo>
                    <a:pt x="403" y="464"/>
                  </a:lnTo>
                  <a:lnTo>
                    <a:pt x="403" y="499"/>
                  </a:lnTo>
                  <a:lnTo>
                    <a:pt x="138" y="499"/>
                  </a:lnTo>
                  <a:cubicBezTo>
                    <a:pt x="135" y="486"/>
                    <a:pt x="128" y="475"/>
                    <a:pt x="119" y="466"/>
                  </a:cubicBezTo>
                  <a:lnTo>
                    <a:pt x="298" y="146"/>
                  </a:lnTo>
                  <a:close/>
                  <a:moveTo>
                    <a:pt x="35" y="517"/>
                  </a:moveTo>
                  <a:cubicBezTo>
                    <a:pt x="35" y="497"/>
                    <a:pt x="51" y="481"/>
                    <a:pt x="70" y="481"/>
                  </a:cubicBezTo>
                  <a:cubicBezTo>
                    <a:pt x="90" y="481"/>
                    <a:pt x="105" y="497"/>
                    <a:pt x="105" y="517"/>
                  </a:cubicBezTo>
                  <a:cubicBezTo>
                    <a:pt x="105" y="536"/>
                    <a:pt x="90" y="552"/>
                    <a:pt x="70" y="552"/>
                  </a:cubicBezTo>
                  <a:cubicBezTo>
                    <a:pt x="51" y="552"/>
                    <a:pt x="35" y="536"/>
                    <a:pt x="35" y="517"/>
                  </a:cubicBezTo>
                  <a:close/>
                  <a:moveTo>
                    <a:pt x="120" y="566"/>
                  </a:moveTo>
                  <a:cubicBezTo>
                    <a:pt x="128" y="557"/>
                    <a:pt x="134" y="546"/>
                    <a:pt x="137" y="534"/>
                  </a:cubicBezTo>
                  <a:lnTo>
                    <a:pt x="403" y="534"/>
                  </a:lnTo>
                  <a:lnTo>
                    <a:pt x="403" y="569"/>
                  </a:lnTo>
                  <a:lnTo>
                    <a:pt x="434" y="569"/>
                  </a:lnTo>
                  <a:lnTo>
                    <a:pt x="412" y="591"/>
                  </a:lnTo>
                  <a:lnTo>
                    <a:pt x="466" y="645"/>
                  </a:lnTo>
                  <a:lnTo>
                    <a:pt x="335" y="870"/>
                  </a:lnTo>
                  <a:cubicBezTo>
                    <a:pt x="322" y="866"/>
                    <a:pt x="309" y="866"/>
                    <a:pt x="297" y="870"/>
                  </a:cubicBezTo>
                  <a:lnTo>
                    <a:pt x="120" y="566"/>
                  </a:lnTo>
                  <a:close/>
                  <a:moveTo>
                    <a:pt x="316" y="972"/>
                  </a:moveTo>
                  <a:cubicBezTo>
                    <a:pt x="296" y="972"/>
                    <a:pt x="281" y="956"/>
                    <a:pt x="281" y="937"/>
                  </a:cubicBezTo>
                  <a:cubicBezTo>
                    <a:pt x="281" y="918"/>
                    <a:pt x="296" y="902"/>
                    <a:pt x="316" y="902"/>
                  </a:cubicBezTo>
                  <a:cubicBezTo>
                    <a:pt x="335" y="902"/>
                    <a:pt x="351" y="918"/>
                    <a:pt x="351" y="937"/>
                  </a:cubicBezTo>
                  <a:cubicBezTo>
                    <a:pt x="351" y="956"/>
                    <a:pt x="335" y="972"/>
                    <a:pt x="316" y="972"/>
                  </a:cubicBezTo>
                  <a:close/>
                  <a:moveTo>
                    <a:pt x="806" y="972"/>
                  </a:moveTo>
                  <a:cubicBezTo>
                    <a:pt x="787" y="972"/>
                    <a:pt x="771" y="956"/>
                    <a:pt x="771" y="937"/>
                  </a:cubicBezTo>
                  <a:cubicBezTo>
                    <a:pt x="771" y="918"/>
                    <a:pt x="787" y="902"/>
                    <a:pt x="806" y="902"/>
                  </a:cubicBezTo>
                  <a:cubicBezTo>
                    <a:pt x="826" y="902"/>
                    <a:pt x="841" y="918"/>
                    <a:pt x="841" y="937"/>
                  </a:cubicBezTo>
                  <a:cubicBezTo>
                    <a:pt x="841" y="956"/>
                    <a:pt x="826" y="972"/>
                    <a:pt x="806" y="972"/>
                  </a:cubicBezTo>
                  <a:close/>
                  <a:moveTo>
                    <a:pt x="825" y="870"/>
                  </a:moveTo>
                  <a:cubicBezTo>
                    <a:pt x="813" y="866"/>
                    <a:pt x="800" y="866"/>
                    <a:pt x="787" y="870"/>
                  </a:cubicBezTo>
                  <a:lnTo>
                    <a:pt x="656" y="645"/>
                  </a:lnTo>
                  <a:lnTo>
                    <a:pt x="710" y="591"/>
                  </a:lnTo>
                  <a:lnTo>
                    <a:pt x="688" y="569"/>
                  </a:lnTo>
                  <a:lnTo>
                    <a:pt x="719" y="569"/>
                  </a:lnTo>
                  <a:lnTo>
                    <a:pt x="719" y="534"/>
                  </a:lnTo>
                  <a:lnTo>
                    <a:pt x="984" y="534"/>
                  </a:lnTo>
                  <a:cubicBezTo>
                    <a:pt x="987" y="546"/>
                    <a:pt x="993" y="557"/>
                    <a:pt x="1002" y="566"/>
                  </a:cubicBezTo>
                  <a:lnTo>
                    <a:pt x="825" y="870"/>
                  </a:lnTo>
                  <a:close/>
                  <a:moveTo>
                    <a:pt x="1052" y="552"/>
                  </a:moveTo>
                  <a:cubicBezTo>
                    <a:pt x="1032" y="552"/>
                    <a:pt x="1017" y="536"/>
                    <a:pt x="1017" y="517"/>
                  </a:cubicBezTo>
                  <a:cubicBezTo>
                    <a:pt x="1017" y="497"/>
                    <a:pt x="1032" y="481"/>
                    <a:pt x="1052" y="481"/>
                  </a:cubicBezTo>
                  <a:cubicBezTo>
                    <a:pt x="1071" y="481"/>
                    <a:pt x="1087" y="497"/>
                    <a:pt x="1087" y="517"/>
                  </a:cubicBezTo>
                  <a:cubicBezTo>
                    <a:pt x="1087" y="536"/>
                    <a:pt x="1071" y="552"/>
                    <a:pt x="1052" y="552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5" name="Freeform 72">
              <a:extLst>
                <a:ext uri="{FF2B5EF4-FFF2-40B4-BE49-F238E27FC236}">
                  <a16:creationId xmlns:a16="http://schemas.microsoft.com/office/drawing/2014/main" id="{A5881125-69F6-D8A7-5F50-65908A2538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21595" y="5476355"/>
              <a:ext cx="31799" cy="31799"/>
            </a:xfrm>
            <a:custGeom>
              <a:avLst/>
              <a:gdLst>
                <a:gd name="T0" fmla="*/ 53 w 106"/>
                <a:gd name="T1" fmla="*/ 0 h 105"/>
                <a:gd name="T2" fmla="*/ 0 w 106"/>
                <a:gd name="T3" fmla="*/ 52 h 105"/>
                <a:gd name="T4" fmla="*/ 53 w 106"/>
                <a:gd name="T5" fmla="*/ 105 h 105"/>
                <a:gd name="T6" fmla="*/ 106 w 106"/>
                <a:gd name="T7" fmla="*/ 52 h 105"/>
                <a:gd name="T8" fmla="*/ 53 w 106"/>
                <a:gd name="T9" fmla="*/ 0 h 105"/>
                <a:gd name="T10" fmla="*/ 53 w 106"/>
                <a:gd name="T11" fmla="*/ 70 h 105"/>
                <a:gd name="T12" fmla="*/ 36 w 106"/>
                <a:gd name="T13" fmla="*/ 52 h 105"/>
                <a:gd name="T14" fmla="*/ 53 w 106"/>
                <a:gd name="T15" fmla="*/ 35 h 105"/>
                <a:gd name="T16" fmla="*/ 71 w 106"/>
                <a:gd name="T17" fmla="*/ 52 h 105"/>
                <a:gd name="T18" fmla="*/ 53 w 106"/>
                <a:gd name="T19" fmla="*/ 7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05">
                  <a:moveTo>
                    <a:pt x="53" y="0"/>
                  </a:moveTo>
                  <a:cubicBezTo>
                    <a:pt x="24" y="0"/>
                    <a:pt x="0" y="23"/>
                    <a:pt x="0" y="52"/>
                  </a:cubicBezTo>
                  <a:cubicBezTo>
                    <a:pt x="0" y="82"/>
                    <a:pt x="24" y="105"/>
                    <a:pt x="53" y="105"/>
                  </a:cubicBezTo>
                  <a:cubicBezTo>
                    <a:pt x="82" y="105"/>
                    <a:pt x="106" y="82"/>
                    <a:pt x="106" y="52"/>
                  </a:cubicBezTo>
                  <a:cubicBezTo>
                    <a:pt x="106" y="23"/>
                    <a:pt x="82" y="0"/>
                    <a:pt x="53" y="0"/>
                  </a:cubicBezTo>
                  <a:close/>
                  <a:moveTo>
                    <a:pt x="53" y="70"/>
                  </a:moveTo>
                  <a:cubicBezTo>
                    <a:pt x="43" y="70"/>
                    <a:pt x="36" y="62"/>
                    <a:pt x="36" y="52"/>
                  </a:cubicBezTo>
                  <a:cubicBezTo>
                    <a:pt x="36" y="43"/>
                    <a:pt x="43" y="35"/>
                    <a:pt x="53" y="35"/>
                  </a:cubicBezTo>
                  <a:cubicBezTo>
                    <a:pt x="63" y="35"/>
                    <a:pt x="71" y="43"/>
                    <a:pt x="71" y="52"/>
                  </a:cubicBezTo>
                  <a:cubicBezTo>
                    <a:pt x="71" y="62"/>
                    <a:pt x="63" y="70"/>
                    <a:pt x="53" y="70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207406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902">
          <p15:clr>
            <a:srgbClr val="FBAE40"/>
          </p15:clr>
        </p15:guide>
        <p15:guide id="5" pos="2016">
          <p15:clr>
            <a:srgbClr val="FBAE40"/>
          </p15:clr>
        </p15:guide>
        <p15:guide id="6" pos="3783">
          <p15:clr>
            <a:srgbClr val="FBAE40"/>
          </p15:clr>
        </p15:guide>
        <p15:guide id="7" pos="3896">
          <p15:clr>
            <a:srgbClr val="FBAE40"/>
          </p15:clr>
        </p15:guide>
        <p15:guide id="8" pos="5663">
          <p15:clr>
            <a:srgbClr val="FBAE40"/>
          </p15:clr>
        </p15:guide>
        <p15:guide id="9" pos="5777">
          <p15:clr>
            <a:srgbClr val="FBAE40"/>
          </p15:clr>
        </p15:guide>
        <p15:guide id="10" pos="7543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861">
          <p15:clr>
            <a:srgbClr val="FBAE40"/>
          </p15:clr>
        </p15:guide>
        <p15:guide id="14" orient="horz" pos="1209">
          <p15:clr>
            <a:srgbClr val="FBAE40"/>
          </p15:clr>
        </p15:guide>
        <p15:guide id="15" orient="horz" pos="1323">
          <p15:clr>
            <a:srgbClr val="FBAE40"/>
          </p15:clr>
        </p15:guide>
        <p15:guide id="16" orient="horz" pos="1671">
          <p15:clr>
            <a:srgbClr val="FBAE40"/>
          </p15:clr>
        </p15:guide>
        <p15:guide id="17" orient="horz" pos="1785">
          <p15:clr>
            <a:srgbClr val="FBAE40"/>
          </p15:clr>
        </p15:guide>
        <p15:guide id="18" orient="horz" pos="2133">
          <p15:clr>
            <a:srgbClr val="FBAE40"/>
          </p15:clr>
        </p15:guide>
        <p15:guide id="19" orient="horz" pos="2246">
          <p15:clr>
            <a:srgbClr val="FBAE40"/>
          </p15:clr>
        </p15:guide>
        <p15:guide id="20" orient="horz" pos="2592">
          <p15:clr>
            <a:srgbClr val="FBAE40"/>
          </p15:clr>
        </p15:guide>
        <p15:guide id="21" orient="horz" pos="2688">
          <p15:clr>
            <a:srgbClr val="FBAE40"/>
          </p15:clr>
        </p15:guide>
        <p15:guide id="22" orient="horz" pos="3056">
          <p15:clr>
            <a:srgbClr val="FBAE40"/>
          </p15:clr>
        </p15:guide>
        <p15:guide id="23" orient="horz" pos="3169">
          <p15:clr>
            <a:srgbClr val="FBAE40"/>
          </p15:clr>
        </p15:guide>
        <p15:guide id="24" orient="horz" pos="3518">
          <p15:clr>
            <a:srgbClr val="FBAE40"/>
          </p15:clr>
        </p15:guide>
        <p15:guide id="25" orient="horz" pos="3648">
          <p15:clr>
            <a:srgbClr val="FBAE40"/>
          </p15:clr>
        </p15:guide>
        <p15:guide id="26" orient="horz" pos="397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C06BAA58-04E3-4F58-86C4-DEB4C7D1D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043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C06BAA58-04E3-4F58-86C4-DEB4C7D1DF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1" name="Group 70" hidden="1">
            <a:extLst>
              <a:ext uri="{FF2B5EF4-FFF2-40B4-BE49-F238E27FC236}">
                <a16:creationId xmlns:a16="http://schemas.microsoft.com/office/drawing/2014/main" id="{E4688A3A-498A-48BD-ABA5-7195E98C670F}"/>
              </a:ext>
            </a:extLst>
          </p:cNvPr>
          <p:cNvGrpSpPr/>
          <p:nvPr userDrawn="1"/>
        </p:nvGrpSpPr>
        <p:grpSpPr>
          <a:xfrm>
            <a:off x="9467620" y="3429000"/>
            <a:ext cx="2724380" cy="2236765"/>
            <a:chOff x="9467620" y="3429000"/>
            <a:chExt cx="2724380" cy="2236765"/>
          </a:xfrm>
        </p:grpSpPr>
        <p:sp>
          <p:nvSpPr>
            <p:cNvPr id="72" name="Freeform 491">
              <a:extLst>
                <a:ext uri="{FF2B5EF4-FFF2-40B4-BE49-F238E27FC236}">
                  <a16:creationId xmlns:a16="http://schemas.microsoft.com/office/drawing/2014/main" id="{E71360B6-DC8F-403F-A732-5D9FF3776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67620" y="3475348"/>
              <a:ext cx="514988" cy="817115"/>
            </a:xfrm>
            <a:custGeom>
              <a:avLst/>
              <a:gdLst>
                <a:gd name="T0" fmla="*/ 661 w 1323"/>
                <a:gd name="T1" fmla="*/ 2091 h 2091"/>
                <a:gd name="T2" fmla="*/ 0 w 1323"/>
                <a:gd name="T3" fmla="*/ 1382 h 2091"/>
                <a:gd name="T4" fmla="*/ 867 w 1323"/>
                <a:gd name="T5" fmla="*/ 0 h 2091"/>
                <a:gd name="T6" fmla="*/ 366 w 1323"/>
                <a:gd name="T7" fmla="*/ 702 h 2091"/>
                <a:gd name="T8" fmla="*/ 661 w 1323"/>
                <a:gd name="T9" fmla="*/ 624 h 2091"/>
                <a:gd name="T10" fmla="*/ 1323 w 1323"/>
                <a:gd name="T11" fmla="*/ 1354 h 2091"/>
                <a:gd name="T12" fmla="*/ 661 w 1323"/>
                <a:gd name="T13" fmla="*/ 2091 h 2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3" h="2091">
                  <a:moveTo>
                    <a:pt x="661" y="2091"/>
                  </a:moveTo>
                  <a:cubicBezTo>
                    <a:pt x="276" y="2091"/>
                    <a:pt x="0" y="1730"/>
                    <a:pt x="0" y="1382"/>
                  </a:cubicBezTo>
                  <a:cubicBezTo>
                    <a:pt x="0" y="361"/>
                    <a:pt x="867" y="0"/>
                    <a:pt x="867" y="0"/>
                  </a:cubicBezTo>
                  <a:cubicBezTo>
                    <a:pt x="867" y="0"/>
                    <a:pt x="443" y="290"/>
                    <a:pt x="366" y="702"/>
                  </a:cubicBezTo>
                  <a:cubicBezTo>
                    <a:pt x="456" y="652"/>
                    <a:pt x="559" y="624"/>
                    <a:pt x="661" y="624"/>
                  </a:cubicBezTo>
                  <a:cubicBezTo>
                    <a:pt x="1028" y="624"/>
                    <a:pt x="1323" y="957"/>
                    <a:pt x="1323" y="1354"/>
                  </a:cubicBezTo>
                  <a:cubicBezTo>
                    <a:pt x="1323" y="1779"/>
                    <a:pt x="1002" y="2091"/>
                    <a:pt x="661" y="209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492">
              <a:extLst>
                <a:ext uri="{FF2B5EF4-FFF2-40B4-BE49-F238E27FC236}">
                  <a16:creationId xmlns:a16="http://schemas.microsoft.com/office/drawing/2014/main" id="{8F7CC2B7-3C11-49CC-9AA3-B778B0F2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25114" y="3429000"/>
              <a:ext cx="1055726" cy="1560415"/>
            </a:xfrm>
            <a:custGeom>
              <a:avLst/>
              <a:gdLst>
                <a:gd name="T0" fmla="*/ 2467 w 2705"/>
                <a:gd name="T1" fmla="*/ 823 h 3992"/>
                <a:gd name="T2" fmla="*/ 701 w 2705"/>
                <a:gd name="T3" fmla="*/ 0 h 3992"/>
                <a:gd name="T4" fmla="*/ 1324 w 2705"/>
                <a:gd name="T5" fmla="*/ 1709 h 3992"/>
                <a:gd name="T6" fmla="*/ 0 w 2705"/>
                <a:gd name="T7" fmla="*/ 3992 h 3992"/>
                <a:gd name="T8" fmla="*/ 2326 w 2705"/>
                <a:gd name="T9" fmla="*/ 2298 h 3992"/>
                <a:gd name="T10" fmla="*/ 2467 w 2705"/>
                <a:gd name="T11" fmla="*/ 823 h 3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05" h="3992">
                  <a:moveTo>
                    <a:pt x="2467" y="823"/>
                  </a:moveTo>
                  <a:cubicBezTo>
                    <a:pt x="2268" y="426"/>
                    <a:pt x="1729" y="0"/>
                    <a:pt x="701" y="0"/>
                  </a:cubicBezTo>
                  <a:cubicBezTo>
                    <a:pt x="1337" y="177"/>
                    <a:pt x="1472" y="1120"/>
                    <a:pt x="1324" y="1709"/>
                  </a:cubicBezTo>
                  <a:cubicBezTo>
                    <a:pt x="1137" y="2446"/>
                    <a:pt x="84" y="3638"/>
                    <a:pt x="0" y="3992"/>
                  </a:cubicBezTo>
                  <a:cubicBezTo>
                    <a:pt x="424" y="3418"/>
                    <a:pt x="1934" y="2766"/>
                    <a:pt x="2326" y="2298"/>
                  </a:cubicBezTo>
                  <a:cubicBezTo>
                    <a:pt x="2686" y="1858"/>
                    <a:pt x="2705" y="1291"/>
                    <a:pt x="2467" y="82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493">
              <a:extLst>
                <a:ext uri="{FF2B5EF4-FFF2-40B4-BE49-F238E27FC236}">
                  <a16:creationId xmlns:a16="http://schemas.microsoft.com/office/drawing/2014/main" id="{50EB8D1F-8C10-470C-A1E0-842F0CBBD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4786" y="5003147"/>
              <a:ext cx="1282321" cy="662618"/>
            </a:xfrm>
            <a:custGeom>
              <a:avLst/>
              <a:gdLst>
                <a:gd name="T0" fmla="*/ 3257 w 3289"/>
                <a:gd name="T1" fmla="*/ 0 h 1694"/>
                <a:gd name="T2" fmla="*/ 2608 w 3289"/>
                <a:gd name="T3" fmla="*/ 411 h 1694"/>
                <a:gd name="T4" fmla="*/ 1464 w 3289"/>
                <a:gd name="T5" fmla="*/ 347 h 1694"/>
                <a:gd name="T6" fmla="*/ 559 w 3289"/>
                <a:gd name="T7" fmla="*/ 468 h 1694"/>
                <a:gd name="T8" fmla="*/ 0 w 3289"/>
                <a:gd name="T9" fmla="*/ 1014 h 1694"/>
                <a:gd name="T10" fmla="*/ 38 w 3289"/>
                <a:gd name="T11" fmla="*/ 971 h 1694"/>
                <a:gd name="T12" fmla="*/ 430 w 3289"/>
                <a:gd name="T13" fmla="*/ 787 h 1694"/>
                <a:gd name="T14" fmla="*/ 1201 w 3289"/>
                <a:gd name="T15" fmla="*/ 1141 h 1694"/>
                <a:gd name="T16" fmla="*/ 2235 w 3289"/>
                <a:gd name="T17" fmla="*/ 1631 h 1694"/>
                <a:gd name="T18" fmla="*/ 3180 w 3289"/>
                <a:gd name="T19" fmla="*/ 780 h 1694"/>
                <a:gd name="T20" fmla="*/ 3257 w 3289"/>
                <a:gd name="T21" fmla="*/ 0 h 1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89" h="1694">
                  <a:moveTo>
                    <a:pt x="3257" y="0"/>
                  </a:moveTo>
                  <a:cubicBezTo>
                    <a:pt x="3173" y="241"/>
                    <a:pt x="2993" y="411"/>
                    <a:pt x="2608" y="411"/>
                  </a:cubicBezTo>
                  <a:cubicBezTo>
                    <a:pt x="2222" y="411"/>
                    <a:pt x="1843" y="368"/>
                    <a:pt x="1464" y="347"/>
                  </a:cubicBezTo>
                  <a:cubicBezTo>
                    <a:pt x="1156" y="326"/>
                    <a:pt x="841" y="333"/>
                    <a:pt x="559" y="468"/>
                  </a:cubicBezTo>
                  <a:cubicBezTo>
                    <a:pt x="308" y="588"/>
                    <a:pt x="122" y="773"/>
                    <a:pt x="0" y="1014"/>
                  </a:cubicBezTo>
                  <a:cubicBezTo>
                    <a:pt x="12" y="1000"/>
                    <a:pt x="19" y="985"/>
                    <a:pt x="38" y="971"/>
                  </a:cubicBezTo>
                  <a:cubicBezTo>
                    <a:pt x="141" y="858"/>
                    <a:pt x="282" y="787"/>
                    <a:pt x="430" y="787"/>
                  </a:cubicBezTo>
                  <a:cubicBezTo>
                    <a:pt x="726" y="787"/>
                    <a:pt x="957" y="922"/>
                    <a:pt x="1201" y="1141"/>
                  </a:cubicBezTo>
                  <a:cubicBezTo>
                    <a:pt x="1497" y="1411"/>
                    <a:pt x="1818" y="1694"/>
                    <a:pt x="2235" y="1631"/>
                  </a:cubicBezTo>
                  <a:cubicBezTo>
                    <a:pt x="2679" y="1560"/>
                    <a:pt x="3032" y="1219"/>
                    <a:pt x="3180" y="780"/>
                  </a:cubicBezTo>
                  <a:cubicBezTo>
                    <a:pt x="3289" y="489"/>
                    <a:pt x="3250" y="283"/>
                    <a:pt x="325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495">
              <a:extLst>
                <a:ext uri="{FF2B5EF4-FFF2-40B4-BE49-F238E27FC236}">
                  <a16:creationId xmlns:a16="http://schemas.microsoft.com/office/drawing/2014/main" id="{A1A272E9-3F1D-4409-B858-A311BC59A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81686" y="3429000"/>
              <a:ext cx="715834" cy="2212733"/>
            </a:xfrm>
            <a:custGeom>
              <a:avLst/>
              <a:gdLst>
                <a:gd name="T0" fmla="*/ 1838 w 1838"/>
                <a:gd name="T1" fmla="*/ 0 h 5659"/>
                <a:gd name="T2" fmla="*/ 1221 w 1838"/>
                <a:gd name="T3" fmla="*/ 1645 h 5659"/>
                <a:gd name="T4" fmla="*/ 1201 w 1838"/>
                <a:gd name="T5" fmla="*/ 2829 h 5659"/>
                <a:gd name="T6" fmla="*/ 1221 w 1838"/>
                <a:gd name="T7" fmla="*/ 3985 h 5659"/>
                <a:gd name="T8" fmla="*/ 1831 w 1838"/>
                <a:gd name="T9" fmla="*/ 5659 h 5659"/>
                <a:gd name="T10" fmla="*/ 0 w 1838"/>
                <a:gd name="T11" fmla="*/ 2829 h 5659"/>
                <a:gd name="T12" fmla="*/ 1838 w 1838"/>
                <a:gd name="T13" fmla="*/ 0 h 5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8" h="5659">
                  <a:moveTo>
                    <a:pt x="1838" y="0"/>
                  </a:moveTo>
                  <a:cubicBezTo>
                    <a:pt x="1703" y="121"/>
                    <a:pt x="1253" y="326"/>
                    <a:pt x="1221" y="1645"/>
                  </a:cubicBezTo>
                  <a:cubicBezTo>
                    <a:pt x="1221" y="1645"/>
                    <a:pt x="1201" y="2283"/>
                    <a:pt x="1201" y="2829"/>
                  </a:cubicBezTo>
                  <a:cubicBezTo>
                    <a:pt x="1201" y="3390"/>
                    <a:pt x="1221" y="3985"/>
                    <a:pt x="1221" y="3985"/>
                  </a:cubicBezTo>
                  <a:cubicBezTo>
                    <a:pt x="1259" y="5339"/>
                    <a:pt x="1658" y="5510"/>
                    <a:pt x="1831" y="5659"/>
                  </a:cubicBezTo>
                  <a:cubicBezTo>
                    <a:pt x="1433" y="5659"/>
                    <a:pt x="0" y="5269"/>
                    <a:pt x="0" y="2829"/>
                  </a:cubicBezTo>
                  <a:cubicBezTo>
                    <a:pt x="0" y="348"/>
                    <a:pt x="1433" y="0"/>
                    <a:pt x="183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58CBC56C-39D9-4CCD-927C-1C413FCA287F}"/>
                </a:ext>
              </a:extLst>
            </p:cNvPr>
            <p:cNvSpPr/>
            <p:nvPr userDrawn="1"/>
          </p:nvSpPr>
          <p:spPr>
            <a:xfrm>
              <a:off x="11855450" y="3429001"/>
              <a:ext cx="336550" cy="2212733"/>
            </a:xfrm>
            <a:custGeom>
              <a:avLst/>
              <a:gdLst>
                <a:gd name="connsiteX0" fmla="*/ 0 w 336550"/>
                <a:gd name="connsiteY0" fmla="*/ 0 h 2212733"/>
                <a:gd name="connsiteX1" fmla="*/ 296520 w 336550"/>
                <a:gd name="connsiteY1" fmla="*/ 94212 h 2212733"/>
                <a:gd name="connsiteX2" fmla="*/ 336550 w 336550"/>
                <a:gd name="connsiteY2" fmla="*/ 122018 h 2212733"/>
                <a:gd name="connsiteX3" fmla="*/ 336550 w 336550"/>
                <a:gd name="connsiteY3" fmla="*/ 2086108 h 2212733"/>
                <a:gd name="connsiteX4" fmla="*/ 297187 w 336550"/>
                <a:gd name="connsiteY4" fmla="*/ 2114171 h 2212733"/>
                <a:gd name="connsiteX5" fmla="*/ 2733 w 336550"/>
                <a:gd name="connsiteY5" fmla="*/ 2212733 h 2212733"/>
                <a:gd name="connsiteX6" fmla="*/ 238533 w 336550"/>
                <a:gd name="connsiteY6" fmla="*/ 1558180 h 2212733"/>
                <a:gd name="connsiteX7" fmla="*/ 248293 w 336550"/>
                <a:gd name="connsiteY7" fmla="*/ 1106171 h 2212733"/>
                <a:gd name="connsiteX8" fmla="*/ 238533 w 336550"/>
                <a:gd name="connsiteY8" fmla="*/ 643214 h 2212733"/>
                <a:gd name="connsiteX9" fmla="*/ 0 w 336550"/>
                <a:gd name="connsiteY9" fmla="*/ 0 h 2212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6550" h="2212733">
                  <a:moveTo>
                    <a:pt x="0" y="0"/>
                  </a:moveTo>
                  <a:cubicBezTo>
                    <a:pt x="59292" y="0"/>
                    <a:pt x="175020" y="19135"/>
                    <a:pt x="296520" y="94212"/>
                  </a:cubicBezTo>
                  <a:lnTo>
                    <a:pt x="336550" y="122018"/>
                  </a:lnTo>
                  <a:lnTo>
                    <a:pt x="336550" y="2086108"/>
                  </a:lnTo>
                  <a:lnTo>
                    <a:pt x="297187" y="2114171"/>
                  </a:lnTo>
                  <a:cubicBezTo>
                    <a:pt x="176088" y="2191289"/>
                    <a:pt x="61000" y="2212733"/>
                    <a:pt x="2733" y="2212733"/>
                  </a:cubicBezTo>
                  <a:cubicBezTo>
                    <a:pt x="70271" y="2154472"/>
                    <a:pt x="225650" y="2087610"/>
                    <a:pt x="238533" y="1558180"/>
                  </a:cubicBezTo>
                  <a:cubicBezTo>
                    <a:pt x="238533" y="1558180"/>
                    <a:pt x="248293" y="1325529"/>
                    <a:pt x="248293" y="1106171"/>
                  </a:cubicBezTo>
                  <a:cubicBezTo>
                    <a:pt x="248293" y="892679"/>
                    <a:pt x="238533" y="643214"/>
                    <a:pt x="238533" y="643214"/>
                  </a:cubicBezTo>
                  <a:cubicBezTo>
                    <a:pt x="228382" y="127470"/>
                    <a:pt x="52704" y="47312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0ADDCB5-9E57-4079-95A0-51646C9B1A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6743" y="0"/>
            <a:ext cx="5443979" cy="1371600"/>
          </a:xfrm>
        </p:spPr>
        <p:txBody>
          <a:bodyPr vert="horz" lIns="0" tIns="0" anchor="b"/>
          <a:lstStyle>
            <a:lvl1pPr algn="l">
              <a:defRPr sz="54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5A4E60-A558-41FB-B0E4-8A59FFFE9B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5901" y="1676400"/>
            <a:ext cx="5443979" cy="46482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2F102A1-4C48-4467-BBDD-8EA8E4B3FF08}"/>
              </a:ext>
            </a:extLst>
          </p:cNvPr>
          <p:cNvGrpSpPr/>
          <p:nvPr userDrawn="1"/>
        </p:nvGrpSpPr>
        <p:grpSpPr>
          <a:xfrm>
            <a:off x="8142288" y="187504"/>
            <a:ext cx="1763712" cy="879296"/>
            <a:chOff x="623888" y="300038"/>
            <a:chExt cx="2735263" cy="1363663"/>
          </a:xfrm>
          <a:solidFill>
            <a:schemeClr val="bg1"/>
          </a:solidFill>
        </p:grpSpPr>
        <p:sp>
          <p:nvSpPr>
            <p:cNvPr id="38" name="Freeform 5">
              <a:extLst>
                <a:ext uri="{FF2B5EF4-FFF2-40B4-BE49-F238E27FC236}">
                  <a16:creationId xmlns:a16="http://schemas.microsoft.com/office/drawing/2014/main" id="{E607A605-BAC0-4FBC-AF00-CF319B9FBDC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43163" y="1054100"/>
              <a:ext cx="314325" cy="311150"/>
            </a:xfrm>
            <a:custGeom>
              <a:avLst/>
              <a:gdLst>
                <a:gd name="T0" fmla="*/ 864 w 870"/>
                <a:gd name="T1" fmla="*/ 406 h 856"/>
                <a:gd name="T2" fmla="*/ 435 w 870"/>
                <a:gd name="T3" fmla="*/ 0 h 856"/>
                <a:gd name="T4" fmla="*/ 0 w 870"/>
                <a:gd name="T5" fmla="*/ 430 h 856"/>
                <a:gd name="T6" fmla="*/ 432 w 870"/>
                <a:gd name="T7" fmla="*/ 856 h 856"/>
                <a:gd name="T8" fmla="*/ 735 w 870"/>
                <a:gd name="T9" fmla="*/ 744 h 856"/>
                <a:gd name="T10" fmla="*/ 864 w 870"/>
                <a:gd name="T11" fmla="*/ 406 h 856"/>
                <a:gd name="T12" fmla="*/ 665 w 870"/>
                <a:gd name="T13" fmla="*/ 684 h 856"/>
                <a:gd name="T14" fmla="*/ 434 w 870"/>
                <a:gd name="T15" fmla="*/ 808 h 856"/>
                <a:gd name="T16" fmla="*/ 148 w 870"/>
                <a:gd name="T17" fmla="*/ 553 h 856"/>
                <a:gd name="T18" fmla="*/ 136 w 870"/>
                <a:gd name="T19" fmla="*/ 422 h 856"/>
                <a:gd name="T20" fmla="*/ 304 w 870"/>
                <a:gd name="T21" fmla="*/ 77 h 856"/>
                <a:gd name="T22" fmla="*/ 431 w 870"/>
                <a:gd name="T23" fmla="*/ 48 h 856"/>
                <a:gd name="T24" fmla="*/ 655 w 870"/>
                <a:gd name="T25" fmla="*/ 159 h 856"/>
                <a:gd name="T26" fmla="*/ 727 w 870"/>
                <a:gd name="T27" fmla="*/ 412 h 856"/>
                <a:gd name="T28" fmla="*/ 665 w 870"/>
                <a:gd name="T29" fmla="*/ 684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70" h="856">
                  <a:moveTo>
                    <a:pt x="864" y="406"/>
                  </a:moveTo>
                  <a:cubicBezTo>
                    <a:pt x="854" y="204"/>
                    <a:pt x="717" y="0"/>
                    <a:pt x="435" y="0"/>
                  </a:cubicBezTo>
                  <a:cubicBezTo>
                    <a:pt x="175" y="0"/>
                    <a:pt x="0" y="173"/>
                    <a:pt x="0" y="430"/>
                  </a:cubicBezTo>
                  <a:cubicBezTo>
                    <a:pt x="0" y="724"/>
                    <a:pt x="217" y="856"/>
                    <a:pt x="432" y="856"/>
                  </a:cubicBezTo>
                  <a:cubicBezTo>
                    <a:pt x="552" y="856"/>
                    <a:pt x="657" y="817"/>
                    <a:pt x="735" y="744"/>
                  </a:cubicBezTo>
                  <a:cubicBezTo>
                    <a:pt x="825" y="661"/>
                    <a:pt x="870" y="541"/>
                    <a:pt x="864" y="406"/>
                  </a:cubicBezTo>
                  <a:close/>
                  <a:moveTo>
                    <a:pt x="665" y="684"/>
                  </a:moveTo>
                  <a:cubicBezTo>
                    <a:pt x="590" y="796"/>
                    <a:pt x="478" y="808"/>
                    <a:pt x="434" y="808"/>
                  </a:cubicBezTo>
                  <a:cubicBezTo>
                    <a:pt x="395" y="808"/>
                    <a:pt x="199" y="796"/>
                    <a:pt x="148" y="553"/>
                  </a:cubicBezTo>
                  <a:cubicBezTo>
                    <a:pt x="140" y="514"/>
                    <a:pt x="136" y="471"/>
                    <a:pt x="136" y="422"/>
                  </a:cubicBezTo>
                  <a:cubicBezTo>
                    <a:pt x="136" y="249"/>
                    <a:pt x="193" y="133"/>
                    <a:pt x="304" y="77"/>
                  </a:cubicBezTo>
                  <a:cubicBezTo>
                    <a:pt x="341" y="58"/>
                    <a:pt x="386" y="48"/>
                    <a:pt x="431" y="48"/>
                  </a:cubicBezTo>
                  <a:cubicBezTo>
                    <a:pt x="546" y="48"/>
                    <a:pt x="617" y="109"/>
                    <a:pt x="655" y="159"/>
                  </a:cubicBezTo>
                  <a:cubicBezTo>
                    <a:pt x="717" y="243"/>
                    <a:pt x="726" y="344"/>
                    <a:pt x="727" y="412"/>
                  </a:cubicBezTo>
                  <a:cubicBezTo>
                    <a:pt x="729" y="526"/>
                    <a:pt x="708" y="617"/>
                    <a:pt x="665" y="6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44035BF7-DE34-4603-AD5A-B841CD04C8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5313" y="1057275"/>
              <a:ext cx="223838" cy="303213"/>
            </a:xfrm>
            <a:custGeom>
              <a:avLst/>
              <a:gdLst>
                <a:gd name="T0" fmla="*/ 0 w 619"/>
                <a:gd name="T1" fmla="*/ 839 h 839"/>
                <a:gd name="T2" fmla="*/ 0 w 619"/>
                <a:gd name="T3" fmla="*/ 0 h 839"/>
                <a:gd name="T4" fmla="*/ 239 w 619"/>
                <a:gd name="T5" fmla="*/ 0 h 839"/>
                <a:gd name="T6" fmla="*/ 619 w 619"/>
                <a:gd name="T7" fmla="*/ 230 h 839"/>
                <a:gd name="T8" fmla="*/ 243 w 619"/>
                <a:gd name="T9" fmla="*/ 461 h 839"/>
                <a:gd name="T10" fmla="*/ 122 w 619"/>
                <a:gd name="T11" fmla="*/ 461 h 839"/>
                <a:gd name="T12" fmla="*/ 122 w 619"/>
                <a:gd name="T13" fmla="*/ 839 h 839"/>
                <a:gd name="T14" fmla="*/ 0 w 619"/>
                <a:gd name="T15" fmla="*/ 839 h 839"/>
                <a:gd name="T16" fmla="*/ 227 w 619"/>
                <a:gd name="T17" fmla="*/ 40 h 839"/>
                <a:gd name="T18" fmla="*/ 122 w 619"/>
                <a:gd name="T19" fmla="*/ 49 h 839"/>
                <a:gd name="T20" fmla="*/ 122 w 619"/>
                <a:gd name="T21" fmla="*/ 412 h 839"/>
                <a:gd name="T22" fmla="*/ 218 w 619"/>
                <a:gd name="T23" fmla="*/ 412 h 839"/>
                <a:gd name="T24" fmla="*/ 487 w 619"/>
                <a:gd name="T25" fmla="*/ 231 h 839"/>
                <a:gd name="T26" fmla="*/ 227 w 619"/>
                <a:gd name="T27" fmla="*/ 40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9" h="839">
                  <a:moveTo>
                    <a:pt x="0" y="839"/>
                  </a:moveTo>
                  <a:lnTo>
                    <a:pt x="0" y="0"/>
                  </a:lnTo>
                  <a:lnTo>
                    <a:pt x="239" y="0"/>
                  </a:lnTo>
                  <a:cubicBezTo>
                    <a:pt x="494" y="0"/>
                    <a:pt x="619" y="76"/>
                    <a:pt x="619" y="230"/>
                  </a:cubicBezTo>
                  <a:cubicBezTo>
                    <a:pt x="619" y="446"/>
                    <a:pt x="356" y="461"/>
                    <a:pt x="243" y="461"/>
                  </a:cubicBezTo>
                  <a:lnTo>
                    <a:pt x="122" y="461"/>
                  </a:lnTo>
                  <a:lnTo>
                    <a:pt x="122" y="839"/>
                  </a:lnTo>
                  <a:lnTo>
                    <a:pt x="0" y="839"/>
                  </a:lnTo>
                  <a:close/>
                  <a:moveTo>
                    <a:pt x="227" y="40"/>
                  </a:moveTo>
                  <a:cubicBezTo>
                    <a:pt x="165" y="40"/>
                    <a:pt x="122" y="49"/>
                    <a:pt x="122" y="49"/>
                  </a:cubicBezTo>
                  <a:lnTo>
                    <a:pt x="122" y="412"/>
                  </a:lnTo>
                  <a:lnTo>
                    <a:pt x="218" y="412"/>
                  </a:lnTo>
                  <a:cubicBezTo>
                    <a:pt x="397" y="412"/>
                    <a:pt x="487" y="368"/>
                    <a:pt x="487" y="231"/>
                  </a:cubicBezTo>
                  <a:cubicBezTo>
                    <a:pt x="487" y="140"/>
                    <a:pt x="442" y="40"/>
                    <a:pt x="227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67D66323-61F3-4677-8876-8EB16F8F9C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27338" y="1057275"/>
              <a:ext cx="228600" cy="307975"/>
            </a:xfrm>
            <a:custGeom>
              <a:avLst/>
              <a:gdLst>
                <a:gd name="T0" fmla="*/ 336 w 631"/>
                <a:gd name="T1" fmla="*/ 848 h 848"/>
                <a:gd name="T2" fmla="*/ 29 w 631"/>
                <a:gd name="T3" fmla="*/ 729 h 848"/>
                <a:gd name="T4" fmla="*/ 0 w 631"/>
                <a:gd name="T5" fmla="*/ 593 h 848"/>
                <a:gd name="T6" fmla="*/ 0 w 631"/>
                <a:gd name="T7" fmla="*/ 0 h 848"/>
                <a:gd name="T8" fmla="*/ 122 w 631"/>
                <a:gd name="T9" fmla="*/ 0 h 848"/>
                <a:gd name="T10" fmla="*/ 122 w 631"/>
                <a:gd name="T11" fmla="*/ 588 h 848"/>
                <a:gd name="T12" fmla="*/ 336 w 631"/>
                <a:gd name="T13" fmla="*/ 800 h 848"/>
                <a:gd name="T14" fmla="*/ 545 w 631"/>
                <a:gd name="T15" fmla="*/ 601 h 848"/>
                <a:gd name="T16" fmla="*/ 545 w 631"/>
                <a:gd name="T17" fmla="*/ 0 h 848"/>
                <a:gd name="T18" fmla="*/ 631 w 631"/>
                <a:gd name="T19" fmla="*/ 0 h 848"/>
                <a:gd name="T20" fmla="*/ 631 w 631"/>
                <a:gd name="T21" fmla="*/ 609 h 848"/>
                <a:gd name="T22" fmla="*/ 604 w 631"/>
                <a:gd name="T23" fmla="*/ 726 h 848"/>
                <a:gd name="T24" fmla="*/ 336 w 631"/>
                <a:gd name="T25" fmla="*/ 848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1" h="848">
                  <a:moveTo>
                    <a:pt x="336" y="848"/>
                  </a:moveTo>
                  <a:cubicBezTo>
                    <a:pt x="236" y="848"/>
                    <a:pt x="88" y="835"/>
                    <a:pt x="29" y="729"/>
                  </a:cubicBezTo>
                  <a:cubicBezTo>
                    <a:pt x="11" y="697"/>
                    <a:pt x="0" y="651"/>
                    <a:pt x="0" y="593"/>
                  </a:cubicBezTo>
                  <a:lnTo>
                    <a:pt x="0" y="0"/>
                  </a:lnTo>
                  <a:lnTo>
                    <a:pt x="122" y="0"/>
                  </a:lnTo>
                  <a:lnTo>
                    <a:pt x="122" y="588"/>
                  </a:lnTo>
                  <a:cubicBezTo>
                    <a:pt x="123" y="641"/>
                    <a:pt x="128" y="800"/>
                    <a:pt x="336" y="800"/>
                  </a:cubicBezTo>
                  <a:cubicBezTo>
                    <a:pt x="399" y="800"/>
                    <a:pt x="545" y="780"/>
                    <a:pt x="545" y="601"/>
                  </a:cubicBezTo>
                  <a:lnTo>
                    <a:pt x="545" y="0"/>
                  </a:lnTo>
                  <a:lnTo>
                    <a:pt x="631" y="0"/>
                  </a:lnTo>
                  <a:lnTo>
                    <a:pt x="631" y="609"/>
                  </a:lnTo>
                  <a:cubicBezTo>
                    <a:pt x="629" y="645"/>
                    <a:pt x="628" y="686"/>
                    <a:pt x="604" y="726"/>
                  </a:cubicBezTo>
                  <a:cubicBezTo>
                    <a:pt x="579" y="771"/>
                    <a:pt x="529" y="848"/>
                    <a:pt x="336" y="8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964A0A84-6F4C-4F16-A8E5-3F8D11E48F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3400" y="1054100"/>
              <a:ext cx="277813" cy="311150"/>
            </a:xfrm>
            <a:custGeom>
              <a:avLst/>
              <a:gdLst>
                <a:gd name="T0" fmla="*/ 457 w 767"/>
                <a:gd name="T1" fmla="*/ 856 h 856"/>
                <a:gd name="T2" fmla="*/ 0 w 767"/>
                <a:gd name="T3" fmla="*/ 428 h 856"/>
                <a:gd name="T4" fmla="*/ 443 w 767"/>
                <a:gd name="T5" fmla="*/ 0 h 856"/>
                <a:gd name="T6" fmla="*/ 767 w 767"/>
                <a:gd name="T7" fmla="*/ 156 h 856"/>
                <a:gd name="T8" fmla="*/ 717 w 767"/>
                <a:gd name="T9" fmla="*/ 208 h 856"/>
                <a:gd name="T10" fmla="*/ 651 w 767"/>
                <a:gd name="T11" fmla="*/ 163 h 856"/>
                <a:gd name="T12" fmla="*/ 441 w 767"/>
                <a:gd name="T13" fmla="*/ 48 h 856"/>
                <a:gd name="T14" fmla="*/ 142 w 767"/>
                <a:gd name="T15" fmla="*/ 407 h 856"/>
                <a:gd name="T16" fmla="*/ 471 w 767"/>
                <a:gd name="T17" fmla="*/ 808 h 856"/>
                <a:gd name="T18" fmla="*/ 600 w 767"/>
                <a:gd name="T19" fmla="*/ 779 h 856"/>
                <a:gd name="T20" fmla="*/ 650 w 767"/>
                <a:gd name="T21" fmla="*/ 668 h 856"/>
                <a:gd name="T22" fmla="*/ 650 w 767"/>
                <a:gd name="T23" fmla="*/ 469 h 856"/>
                <a:gd name="T24" fmla="*/ 543 w 767"/>
                <a:gd name="T25" fmla="*/ 469 h 856"/>
                <a:gd name="T26" fmla="*/ 585 w 767"/>
                <a:gd name="T27" fmla="*/ 420 h 856"/>
                <a:gd name="T28" fmla="*/ 766 w 767"/>
                <a:gd name="T29" fmla="*/ 420 h 856"/>
                <a:gd name="T30" fmla="*/ 766 w 767"/>
                <a:gd name="T31" fmla="*/ 746 h 856"/>
                <a:gd name="T32" fmla="*/ 721 w 767"/>
                <a:gd name="T33" fmla="*/ 788 h 856"/>
                <a:gd name="T34" fmla="*/ 457 w 767"/>
                <a:gd name="T35" fmla="*/ 856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67" h="856">
                  <a:moveTo>
                    <a:pt x="457" y="856"/>
                  </a:moveTo>
                  <a:cubicBezTo>
                    <a:pt x="33" y="856"/>
                    <a:pt x="0" y="529"/>
                    <a:pt x="0" y="428"/>
                  </a:cubicBezTo>
                  <a:cubicBezTo>
                    <a:pt x="0" y="172"/>
                    <a:pt x="178" y="0"/>
                    <a:pt x="443" y="0"/>
                  </a:cubicBezTo>
                  <a:cubicBezTo>
                    <a:pt x="671" y="0"/>
                    <a:pt x="767" y="112"/>
                    <a:pt x="767" y="156"/>
                  </a:cubicBezTo>
                  <a:cubicBezTo>
                    <a:pt x="767" y="182"/>
                    <a:pt x="741" y="208"/>
                    <a:pt x="717" y="208"/>
                  </a:cubicBezTo>
                  <a:cubicBezTo>
                    <a:pt x="686" y="208"/>
                    <a:pt x="673" y="193"/>
                    <a:pt x="651" y="163"/>
                  </a:cubicBezTo>
                  <a:cubicBezTo>
                    <a:pt x="619" y="120"/>
                    <a:pt x="565" y="48"/>
                    <a:pt x="441" y="48"/>
                  </a:cubicBezTo>
                  <a:cubicBezTo>
                    <a:pt x="259" y="48"/>
                    <a:pt x="142" y="182"/>
                    <a:pt x="142" y="407"/>
                  </a:cubicBezTo>
                  <a:cubicBezTo>
                    <a:pt x="142" y="654"/>
                    <a:pt x="268" y="808"/>
                    <a:pt x="471" y="808"/>
                  </a:cubicBezTo>
                  <a:cubicBezTo>
                    <a:pt x="521" y="808"/>
                    <a:pt x="569" y="797"/>
                    <a:pt x="600" y="779"/>
                  </a:cubicBezTo>
                  <a:cubicBezTo>
                    <a:pt x="650" y="748"/>
                    <a:pt x="650" y="706"/>
                    <a:pt x="650" y="668"/>
                  </a:cubicBezTo>
                  <a:lnTo>
                    <a:pt x="650" y="469"/>
                  </a:lnTo>
                  <a:lnTo>
                    <a:pt x="543" y="469"/>
                  </a:lnTo>
                  <a:lnTo>
                    <a:pt x="585" y="420"/>
                  </a:lnTo>
                  <a:lnTo>
                    <a:pt x="766" y="420"/>
                  </a:lnTo>
                  <a:lnTo>
                    <a:pt x="766" y="746"/>
                  </a:lnTo>
                  <a:cubicBezTo>
                    <a:pt x="756" y="759"/>
                    <a:pt x="741" y="773"/>
                    <a:pt x="721" y="788"/>
                  </a:cubicBezTo>
                  <a:cubicBezTo>
                    <a:pt x="682" y="817"/>
                    <a:pt x="613" y="856"/>
                    <a:pt x="457" y="8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0916FB8C-87E1-439E-B3DA-4AFDE32C14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68525" y="1057275"/>
              <a:ext cx="233363" cy="303213"/>
            </a:xfrm>
            <a:custGeom>
              <a:avLst/>
              <a:gdLst>
                <a:gd name="T0" fmla="*/ 646 w 646"/>
                <a:gd name="T1" fmla="*/ 839 h 839"/>
                <a:gd name="T2" fmla="*/ 358 w 646"/>
                <a:gd name="T3" fmla="*/ 451 h 839"/>
                <a:gd name="T4" fmla="*/ 410 w 646"/>
                <a:gd name="T5" fmla="*/ 440 h 839"/>
                <a:gd name="T6" fmla="*/ 601 w 646"/>
                <a:gd name="T7" fmla="*/ 230 h 839"/>
                <a:gd name="T8" fmla="*/ 514 w 646"/>
                <a:gd name="T9" fmla="*/ 58 h 839"/>
                <a:gd name="T10" fmla="*/ 231 w 646"/>
                <a:gd name="T11" fmla="*/ 0 h 839"/>
                <a:gd name="T12" fmla="*/ 0 w 646"/>
                <a:gd name="T13" fmla="*/ 0 h 839"/>
                <a:gd name="T14" fmla="*/ 0 w 646"/>
                <a:gd name="T15" fmla="*/ 839 h 839"/>
                <a:gd name="T16" fmla="*/ 121 w 646"/>
                <a:gd name="T17" fmla="*/ 839 h 839"/>
                <a:gd name="T18" fmla="*/ 121 w 646"/>
                <a:gd name="T19" fmla="*/ 527 h 839"/>
                <a:gd name="T20" fmla="*/ 196 w 646"/>
                <a:gd name="T21" fmla="*/ 461 h 839"/>
                <a:gd name="T22" fmla="*/ 279 w 646"/>
                <a:gd name="T23" fmla="*/ 508 h 839"/>
                <a:gd name="T24" fmla="*/ 513 w 646"/>
                <a:gd name="T25" fmla="*/ 839 h 839"/>
                <a:gd name="T26" fmla="*/ 646 w 646"/>
                <a:gd name="T27" fmla="*/ 839 h 839"/>
                <a:gd name="T28" fmla="*/ 258 w 646"/>
                <a:gd name="T29" fmla="*/ 410 h 839"/>
                <a:gd name="T30" fmla="*/ 210 w 646"/>
                <a:gd name="T31" fmla="*/ 412 h 839"/>
                <a:gd name="T32" fmla="*/ 121 w 646"/>
                <a:gd name="T33" fmla="*/ 412 h 839"/>
                <a:gd name="T34" fmla="*/ 121 w 646"/>
                <a:gd name="T35" fmla="*/ 49 h 839"/>
                <a:gd name="T36" fmla="*/ 224 w 646"/>
                <a:gd name="T37" fmla="*/ 40 h 839"/>
                <a:gd name="T38" fmla="*/ 469 w 646"/>
                <a:gd name="T39" fmla="*/ 234 h 839"/>
                <a:gd name="T40" fmla="*/ 258 w 646"/>
                <a:gd name="T41" fmla="*/ 410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6" h="839">
                  <a:moveTo>
                    <a:pt x="646" y="839"/>
                  </a:moveTo>
                  <a:lnTo>
                    <a:pt x="358" y="451"/>
                  </a:lnTo>
                  <a:cubicBezTo>
                    <a:pt x="358" y="451"/>
                    <a:pt x="398" y="443"/>
                    <a:pt x="410" y="440"/>
                  </a:cubicBezTo>
                  <a:cubicBezTo>
                    <a:pt x="458" y="427"/>
                    <a:pt x="601" y="390"/>
                    <a:pt x="601" y="230"/>
                  </a:cubicBezTo>
                  <a:cubicBezTo>
                    <a:pt x="601" y="153"/>
                    <a:pt x="566" y="94"/>
                    <a:pt x="514" y="58"/>
                  </a:cubicBezTo>
                  <a:cubicBezTo>
                    <a:pt x="440" y="8"/>
                    <a:pt x="330" y="0"/>
                    <a:pt x="231" y="0"/>
                  </a:cubicBezTo>
                  <a:lnTo>
                    <a:pt x="0" y="0"/>
                  </a:lnTo>
                  <a:lnTo>
                    <a:pt x="0" y="839"/>
                  </a:lnTo>
                  <a:lnTo>
                    <a:pt x="121" y="839"/>
                  </a:lnTo>
                  <a:lnTo>
                    <a:pt x="121" y="527"/>
                  </a:lnTo>
                  <a:cubicBezTo>
                    <a:pt x="121" y="474"/>
                    <a:pt x="153" y="461"/>
                    <a:pt x="196" y="461"/>
                  </a:cubicBezTo>
                  <a:cubicBezTo>
                    <a:pt x="220" y="461"/>
                    <a:pt x="254" y="469"/>
                    <a:pt x="279" y="508"/>
                  </a:cubicBezTo>
                  <a:lnTo>
                    <a:pt x="513" y="839"/>
                  </a:lnTo>
                  <a:lnTo>
                    <a:pt x="646" y="839"/>
                  </a:lnTo>
                  <a:close/>
                  <a:moveTo>
                    <a:pt x="258" y="410"/>
                  </a:moveTo>
                  <a:cubicBezTo>
                    <a:pt x="242" y="412"/>
                    <a:pt x="229" y="412"/>
                    <a:pt x="210" y="412"/>
                  </a:cubicBezTo>
                  <a:lnTo>
                    <a:pt x="121" y="412"/>
                  </a:lnTo>
                  <a:lnTo>
                    <a:pt x="121" y="49"/>
                  </a:lnTo>
                  <a:cubicBezTo>
                    <a:pt x="121" y="49"/>
                    <a:pt x="163" y="40"/>
                    <a:pt x="224" y="40"/>
                  </a:cubicBezTo>
                  <a:cubicBezTo>
                    <a:pt x="387" y="40"/>
                    <a:pt x="469" y="110"/>
                    <a:pt x="469" y="234"/>
                  </a:cubicBezTo>
                  <a:cubicBezTo>
                    <a:pt x="469" y="359"/>
                    <a:pt x="390" y="397"/>
                    <a:pt x="258" y="4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77042686-ADCA-4631-B5A2-2A7F231BB3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388" y="300038"/>
              <a:ext cx="1247775" cy="538163"/>
            </a:xfrm>
            <a:custGeom>
              <a:avLst/>
              <a:gdLst>
                <a:gd name="T0" fmla="*/ 3369 w 3451"/>
                <a:gd name="T1" fmla="*/ 1140 h 1483"/>
                <a:gd name="T2" fmla="*/ 3309 w 3451"/>
                <a:gd name="T3" fmla="*/ 1133 h 1483"/>
                <a:gd name="T4" fmla="*/ 3226 w 3451"/>
                <a:gd name="T5" fmla="*/ 1142 h 1483"/>
                <a:gd name="T6" fmla="*/ 3249 w 3451"/>
                <a:gd name="T7" fmla="*/ 1310 h 1483"/>
                <a:gd name="T8" fmla="*/ 2720 w 3451"/>
                <a:gd name="T9" fmla="*/ 1296 h 1483"/>
                <a:gd name="T10" fmla="*/ 1915 w 3451"/>
                <a:gd name="T11" fmla="*/ 339 h 1483"/>
                <a:gd name="T12" fmla="*/ 920 w 3451"/>
                <a:gd name="T13" fmla="*/ 132 h 1483"/>
                <a:gd name="T14" fmla="*/ 629 w 3451"/>
                <a:gd name="T15" fmla="*/ 1140 h 1483"/>
                <a:gd name="T16" fmla="*/ 477 w 3451"/>
                <a:gd name="T17" fmla="*/ 602 h 1483"/>
                <a:gd name="T18" fmla="*/ 432 w 3451"/>
                <a:gd name="T19" fmla="*/ 614 h 1483"/>
                <a:gd name="T20" fmla="*/ 1 w 3451"/>
                <a:gd name="T21" fmla="*/ 502 h 1483"/>
                <a:gd name="T22" fmla="*/ 1 w 3451"/>
                <a:gd name="T23" fmla="*/ 508 h 1483"/>
                <a:gd name="T24" fmla="*/ 318 w 3451"/>
                <a:gd name="T25" fmla="*/ 709 h 1483"/>
                <a:gd name="T26" fmla="*/ 783 w 3451"/>
                <a:gd name="T27" fmla="*/ 1225 h 1483"/>
                <a:gd name="T28" fmla="*/ 721 w 3451"/>
                <a:gd name="T29" fmla="*/ 716 h 1483"/>
                <a:gd name="T30" fmla="*/ 1302 w 3451"/>
                <a:gd name="T31" fmla="*/ 155 h 1483"/>
                <a:gd name="T32" fmla="*/ 2060 w 3451"/>
                <a:gd name="T33" fmla="*/ 739 h 1483"/>
                <a:gd name="T34" fmla="*/ 2831 w 3451"/>
                <a:gd name="T35" fmla="*/ 1417 h 1483"/>
                <a:gd name="T36" fmla="*/ 3332 w 3451"/>
                <a:gd name="T37" fmla="*/ 1403 h 1483"/>
                <a:gd name="T38" fmla="*/ 3369 w 3451"/>
                <a:gd name="T39" fmla="*/ 1140 h 1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51" h="1483">
                  <a:moveTo>
                    <a:pt x="3369" y="1140"/>
                  </a:moveTo>
                  <a:cubicBezTo>
                    <a:pt x="3355" y="1137"/>
                    <a:pt x="3325" y="1134"/>
                    <a:pt x="3309" y="1133"/>
                  </a:cubicBezTo>
                  <a:cubicBezTo>
                    <a:pt x="3280" y="1132"/>
                    <a:pt x="3252" y="1136"/>
                    <a:pt x="3226" y="1142"/>
                  </a:cubicBezTo>
                  <a:cubicBezTo>
                    <a:pt x="3279" y="1188"/>
                    <a:pt x="3277" y="1256"/>
                    <a:pt x="3249" y="1310"/>
                  </a:cubicBezTo>
                  <a:cubicBezTo>
                    <a:pt x="3166" y="1476"/>
                    <a:pt x="2841" y="1377"/>
                    <a:pt x="2720" y="1296"/>
                  </a:cubicBezTo>
                  <a:cubicBezTo>
                    <a:pt x="2348" y="1048"/>
                    <a:pt x="2126" y="577"/>
                    <a:pt x="1915" y="339"/>
                  </a:cubicBezTo>
                  <a:cubicBezTo>
                    <a:pt x="1619" y="7"/>
                    <a:pt x="1185" y="0"/>
                    <a:pt x="920" y="132"/>
                  </a:cubicBezTo>
                  <a:cubicBezTo>
                    <a:pt x="590" y="296"/>
                    <a:pt x="509" y="754"/>
                    <a:pt x="629" y="1140"/>
                  </a:cubicBezTo>
                  <a:cubicBezTo>
                    <a:pt x="469" y="1092"/>
                    <a:pt x="401" y="783"/>
                    <a:pt x="477" y="602"/>
                  </a:cubicBezTo>
                  <a:cubicBezTo>
                    <a:pt x="463" y="606"/>
                    <a:pt x="448" y="610"/>
                    <a:pt x="432" y="614"/>
                  </a:cubicBezTo>
                  <a:cubicBezTo>
                    <a:pt x="262" y="653"/>
                    <a:pt x="95" y="605"/>
                    <a:pt x="1" y="502"/>
                  </a:cubicBezTo>
                  <a:cubicBezTo>
                    <a:pt x="0" y="504"/>
                    <a:pt x="0" y="506"/>
                    <a:pt x="1" y="508"/>
                  </a:cubicBezTo>
                  <a:cubicBezTo>
                    <a:pt x="54" y="629"/>
                    <a:pt x="163" y="706"/>
                    <a:pt x="318" y="709"/>
                  </a:cubicBezTo>
                  <a:cubicBezTo>
                    <a:pt x="308" y="1119"/>
                    <a:pt x="539" y="1245"/>
                    <a:pt x="783" y="1225"/>
                  </a:cubicBezTo>
                  <a:cubicBezTo>
                    <a:pt x="716" y="1100"/>
                    <a:pt x="698" y="880"/>
                    <a:pt x="721" y="716"/>
                  </a:cubicBezTo>
                  <a:cubicBezTo>
                    <a:pt x="743" y="563"/>
                    <a:pt x="878" y="167"/>
                    <a:pt x="1302" y="155"/>
                  </a:cubicBezTo>
                  <a:cubicBezTo>
                    <a:pt x="1710" y="143"/>
                    <a:pt x="1863" y="492"/>
                    <a:pt x="2060" y="739"/>
                  </a:cubicBezTo>
                  <a:cubicBezTo>
                    <a:pt x="2230" y="952"/>
                    <a:pt x="2501" y="1307"/>
                    <a:pt x="2831" y="1417"/>
                  </a:cubicBezTo>
                  <a:cubicBezTo>
                    <a:pt x="2984" y="1468"/>
                    <a:pt x="3195" y="1483"/>
                    <a:pt x="3332" y="1403"/>
                  </a:cubicBezTo>
                  <a:cubicBezTo>
                    <a:pt x="3417" y="1354"/>
                    <a:pt x="3451" y="1217"/>
                    <a:pt x="3369" y="1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70030274-77BE-4765-B420-7015681159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1113" y="719138"/>
              <a:ext cx="493713" cy="274638"/>
            </a:xfrm>
            <a:custGeom>
              <a:avLst/>
              <a:gdLst>
                <a:gd name="T0" fmla="*/ 1257 w 1369"/>
                <a:gd name="T1" fmla="*/ 706 h 756"/>
                <a:gd name="T2" fmla="*/ 1001 w 1369"/>
                <a:gd name="T3" fmla="*/ 535 h 756"/>
                <a:gd name="T4" fmla="*/ 912 w 1369"/>
                <a:gd name="T5" fmla="*/ 292 h 756"/>
                <a:gd name="T6" fmla="*/ 915 w 1369"/>
                <a:gd name="T7" fmla="*/ 255 h 756"/>
                <a:gd name="T8" fmla="*/ 848 w 1369"/>
                <a:gd name="T9" fmla="*/ 248 h 756"/>
                <a:gd name="T10" fmla="*/ 764 w 1369"/>
                <a:gd name="T11" fmla="*/ 257 h 756"/>
                <a:gd name="T12" fmla="*/ 420 w 1369"/>
                <a:gd name="T13" fmla="*/ 354 h 756"/>
                <a:gd name="T14" fmla="*/ 134 w 1369"/>
                <a:gd name="T15" fmla="*/ 21 h 756"/>
                <a:gd name="T16" fmla="*/ 115 w 1369"/>
                <a:gd name="T17" fmla="*/ 0 h 756"/>
                <a:gd name="T18" fmla="*/ 0 w 1369"/>
                <a:gd name="T19" fmla="*/ 38 h 756"/>
                <a:gd name="T20" fmla="*/ 84 w 1369"/>
                <a:gd name="T21" fmla="*/ 169 h 756"/>
                <a:gd name="T22" fmla="*/ 380 w 1369"/>
                <a:gd name="T23" fmla="*/ 391 h 756"/>
                <a:gd name="T24" fmla="*/ 768 w 1369"/>
                <a:gd name="T25" fmla="*/ 359 h 756"/>
                <a:gd name="T26" fmla="*/ 876 w 1369"/>
                <a:gd name="T27" fmla="*/ 567 h 756"/>
                <a:gd name="T28" fmla="*/ 1158 w 1369"/>
                <a:gd name="T29" fmla="*/ 732 h 756"/>
                <a:gd name="T30" fmla="*/ 1369 w 1369"/>
                <a:gd name="T31" fmla="*/ 735 h 756"/>
                <a:gd name="T32" fmla="*/ 1257 w 1369"/>
                <a:gd name="T33" fmla="*/ 706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9" h="756">
                  <a:moveTo>
                    <a:pt x="1257" y="706"/>
                  </a:moveTo>
                  <a:cubicBezTo>
                    <a:pt x="1149" y="670"/>
                    <a:pt x="1061" y="610"/>
                    <a:pt x="1001" y="535"/>
                  </a:cubicBezTo>
                  <a:cubicBezTo>
                    <a:pt x="944" y="465"/>
                    <a:pt x="911" y="375"/>
                    <a:pt x="912" y="292"/>
                  </a:cubicBezTo>
                  <a:cubicBezTo>
                    <a:pt x="912" y="279"/>
                    <a:pt x="915" y="255"/>
                    <a:pt x="915" y="255"/>
                  </a:cubicBezTo>
                  <a:cubicBezTo>
                    <a:pt x="915" y="255"/>
                    <a:pt x="883" y="248"/>
                    <a:pt x="848" y="248"/>
                  </a:cubicBezTo>
                  <a:cubicBezTo>
                    <a:pt x="791" y="248"/>
                    <a:pt x="764" y="257"/>
                    <a:pt x="764" y="257"/>
                  </a:cubicBezTo>
                  <a:cubicBezTo>
                    <a:pt x="764" y="257"/>
                    <a:pt x="631" y="406"/>
                    <a:pt x="420" y="354"/>
                  </a:cubicBezTo>
                  <a:cubicBezTo>
                    <a:pt x="219" y="304"/>
                    <a:pt x="225" y="126"/>
                    <a:pt x="134" y="21"/>
                  </a:cubicBezTo>
                  <a:cubicBezTo>
                    <a:pt x="128" y="13"/>
                    <a:pt x="122" y="7"/>
                    <a:pt x="115" y="0"/>
                  </a:cubicBezTo>
                  <a:lnTo>
                    <a:pt x="0" y="38"/>
                  </a:lnTo>
                  <a:cubicBezTo>
                    <a:pt x="28" y="69"/>
                    <a:pt x="57" y="111"/>
                    <a:pt x="84" y="169"/>
                  </a:cubicBezTo>
                  <a:cubicBezTo>
                    <a:pt x="123" y="256"/>
                    <a:pt x="214" y="355"/>
                    <a:pt x="380" y="391"/>
                  </a:cubicBezTo>
                  <a:cubicBezTo>
                    <a:pt x="503" y="418"/>
                    <a:pt x="639" y="411"/>
                    <a:pt x="768" y="359"/>
                  </a:cubicBezTo>
                  <a:cubicBezTo>
                    <a:pt x="782" y="433"/>
                    <a:pt x="820" y="506"/>
                    <a:pt x="876" y="567"/>
                  </a:cubicBezTo>
                  <a:cubicBezTo>
                    <a:pt x="942" y="639"/>
                    <a:pt x="1048" y="699"/>
                    <a:pt x="1158" y="732"/>
                  </a:cubicBezTo>
                  <a:cubicBezTo>
                    <a:pt x="1239" y="756"/>
                    <a:pt x="1330" y="754"/>
                    <a:pt x="1369" y="735"/>
                  </a:cubicBezTo>
                  <a:cubicBezTo>
                    <a:pt x="1331" y="728"/>
                    <a:pt x="1293" y="718"/>
                    <a:pt x="1257" y="7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12">
              <a:extLst>
                <a:ext uri="{FF2B5EF4-FFF2-40B4-BE49-F238E27FC236}">
                  <a16:creationId xmlns:a16="http://schemas.microsoft.com/office/drawing/2014/main" id="{24606A0D-781C-4317-87D0-A08660731C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8538" y="531813"/>
              <a:ext cx="350838" cy="333375"/>
            </a:xfrm>
            <a:custGeom>
              <a:avLst/>
              <a:gdLst>
                <a:gd name="T0" fmla="*/ 714 w 973"/>
                <a:gd name="T1" fmla="*/ 43 h 919"/>
                <a:gd name="T2" fmla="*/ 246 w 973"/>
                <a:gd name="T3" fmla="*/ 151 h 919"/>
                <a:gd name="T4" fmla="*/ 208 w 973"/>
                <a:gd name="T5" fmla="*/ 877 h 919"/>
                <a:gd name="T6" fmla="*/ 240 w 973"/>
                <a:gd name="T7" fmla="*/ 912 h 919"/>
                <a:gd name="T8" fmla="*/ 314 w 973"/>
                <a:gd name="T9" fmla="*/ 912 h 919"/>
                <a:gd name="T10" fmla="*/ 396 w 973"/>
                <a:gd name="T11" fmla="*/ 879 h 919"/>
                <a:gd name="T12" fmla="*/ 209 w 973"/>
                <a:gd name="T13" fmla="*/ 575 h 919"/>
                <a:gd name="T14" fmla="*/ 688 w 973"/>
                <a:gd name="T15" fmla="*/ 98 h 919"/>
                <a:gd name="T16" fmla="*/ 772 w 973"/>
                <a:gd name="T17" fmla="*/ 320 h 919"/>
                <a:gd name="T18" fmla="*/ 578 w 973"/>
                <a:gd name="T19" fmla="*/ 371 h 919"/>
                <a:gd name="T20" fmla="*/ 683 w 973"/>
                <a:gd name="T21" fmla="*/ 473 h 919"/>
                <a:gd name="T22" fmla="*/ 898 w 973"/>
                <a:gd name="T23" fmla="*/ 348 h 919"/>
                <a:gd name="T24" fmla="*/ 714 w 973"/>
                <a:gd name="T25" fmla="*/ 43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3" h="919">
                  <a:moveTo>
                    <a:pt x="714" y="43"/>
                  </a:moveTo>
                  <a:cubicBezTo>
                    <a:pt x="514" y="0"/>
                    <a:pt x="346" y="70"/>
                    <a:pt x="246" y="151"/>
                  </a:cubicBezTo>
                  <a:cubicBezTo>
                    <a:pt x="0" y="348"/>
                    <a:pt x="25" y="659"/>
                    <a:pt x="208" y="877"/>
                  </a:cubicBezTo>
                  <a:cubicBezTo>
                    <a:pt x="218" y="889"/>
                    <a:pt x="240" y="912"/>
                    <a:pt x="240" y="912"/>
                  </a:cubicBezTo>
                  <a:cubicBezTo>
                    <a:pt x="240" y="912"/>
                    <a:pt x="266" y="919"/>
                    <a:pt x="314" y="912"/>
                  </a:cubicBezTo>
                  <a:cubicBezTo>
                    <a:pt x="348" y="907"/>
                    <a:pt x="396" y="879"/>
                    <a:pt x="396" y="879"/>
                  </a:cubicBezTo>
                  <a:cubicBezTo>
                    <a:pt x="396" y="879"/>
                    <a:pt x="245" y="761"/>
                    <a:pt x="209" y="575"/>
                  </a:cubicBezTo>
                  <a:cubicBezTo>
                    <a:pt x="145" y="243"/>
                    <a:pt x="437" y="52"/>
                    <a:pt x="688" y="98"/>
                  </a:cubicBezTo>
                  <a:cubicBezTo>
                    <a:pt x="831" y="124"/>
                    <a:pt x="842" y="257"/>
                    <a:pt x="772" y="320"/>
                  </a:cubicBezTo>
                  <a:cubicBezTo>
                    <a:pt x="708" y="377"/>
                    <a:pt x="622" y="376"/>
                    <a:pt x="578" y="371"/>
                  </a:cubicBezTo>
                  <a:cubicBezTo>
                    <a:pt x="616" y="392"/>
                    <a:pt x="653" y="427"/>
                    <a:pt x="683" y="473"/>
                  </a:cubicBezTo>
                  <a:cubicBezTo>
                    <a:pt x="683" y="473"/>
                    <a:pt x="819" y="458"/>
                    <a:pt x="898" y="348"/>
                  </a:cubicBezTo>
                  <a:cubicBezTo>
                    <a:pt x="973" y="245"/>
                    <a:pt x="913" y="86"/>
                    <a:pt x="71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Rectangle 13">
              <a:extLst>
                <a:ext uri="{FF2B5EF4-FFF2-40B4-BE49-F238E27FC236}">
                  <a16:creationId xmlns:a16="http://schemas.microsoft.com/office/drawing/2014/main" id="{50BAF4A5-CAA0-4507-A9D0-31204DA1CE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62025" y="1057275"/>
              <a:ext cx="60325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14">
              <a:extLst>
                <a:ext uri="{FF2B5EF4-FFF2-40B4-BE49-F238E27FC236}">
                  <a16:creationId xmlns:a16="http://schemas.microsoft.com/office/drawing/2014/main" id="{185525E0-58BD-419D-8390-3649FB73B1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4788" y="1057275"/>
              <a:ext cx="203200" cy="303213"/>
            </a:xfrm>
            <a:custGeom>
              <a:avLst/>
              <a:gdLst>
                <a:gd name="T0" fmla="*/ 0 w 562"/>
                <a:gd name="T1" fmla="*/ 839 h 839"/>
                <a:gd name="T2" fmla="*/ 0 w 562"/>
                <a:gd name="T3" fmla="*/ 0 h 839"/>
                <a:gd name="T4" fmla="*/ 164 w 562"/>
                <a:gd name="T5" fmla="*/ 0 h 839"/>
                <a:gd name="T6" fmla="*/ 164 w 562"/>
                <a:gd name="T7" fmla="*/ 756 h 839"/>
                <a:gd name="T8" fmla="*/ 485 w 562"/>
                <a:gd name="T9" fmla="*/ 756 h 839"/>
                <a:gd name="T10" fmla="*/ 562 w 562"/>
                <a:gd name="T11" fmla="*/ 839 h 839"/>
                <a:gd name="T12" fmla="*/ 0 w 562"/>
                <a:gd name="T13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2" h="839">
                  <a:moveTo>
                    <a:pt x="0" y="839"/>
                  </a:moveTo>
                  <a:lnTo>
                    <a:pt x="0" y="0"/>
                  </a:lnTo>
                  <a:lnTo>
                    <a:pt x="164" y="0"/>
                  </a:lnTo>
                  <a:lnTo>
                    <a:pt x="164" y="756"/>
                  </a:lnTo>
                  <a:lnTo>
                    <a:pt x="485" y="756"/>
                  </a:lnTo>
                  <a:lnTo>
                    <a:pt x="562" y="839"/>
                  </a:lnTo>
                  <a:lnTo>
                    <a:pt x="0" y="8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id="{00DD7841-635B-4E54-BD9E-88320B598D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3888" y="1054100"/>
              <a:ext cx="252413" cy="311150"/>
            </a:xfrm>
            <a:custGeom>
              <a:avLst/>
              <a:gdLst>
                <a:gd name="T0" fmla="*/ 0 w 698"/>
                <a:gd name="T1" fmla="*/ 856 h 856"/>
                <a:gd name="T2" fmla="*/ 0 w 698"/>
                <a:gd name="T3" fmla="*/ 0 h 856"/>
                <a:gd name="T4" fmla="*/ 250 w 698"/>
                <a:gd name="T5" fmla="*/ 0 h 856"/>
                <a:gd name="T6" fmla="*/ 537 w 698"/>
                <a:gd name="T7" fmla="*/ 45 h 856"/>
                <a:gd name="T8" fmla="*/ 641 w 698"/>
                <a:gd name="T9" fmla="*/ 197 h 856"/>
                <a:gd name="T10" fmla="*/ 488 w 698"/>
                <a:gd name="T11" fmla="*/ 379 h 856"/>
                <a:gd name="T12" fmla="*/ 443 w 698"/>
                <a:gd name="T13" fmla="*/ 394 h 856"/>
                <a:gd name="T14" fmla="*/ 501 w 698"/>
                <a:gd name="T15" fmla="*/ 414 h 856"/>
                <a:gd name="T16" fmla="*/ 698 w 698"/>
                <a:gd name="T17" fmla="*/ 630 h 856"/>
                <a:gd name="T18" fmla="*/ 541 w 698"/>
                <a:gd name="T19" fmla="*/ 822 h 856"/>
                <a:gd name="T20" fmla="*/ 250 w 698"/>
                <a:gd name="T21" fmla="*/ 856 h 856"/>
                <a:gd name="T22" fmla="*/ 0 w 698"/>
                <a:gd name="T23" fmla="*/ 856 h 856"/>
                <a:gd name="T24" fmla="*/ 161 w 698"/>
                <a:gd name="T25" fmla="*/ 712 h 856"/>
                <a:gd name="T26" fmla="*/ 177 w 698"/>
                <a:gd name="T27" fmla="*/ 763 h 856"/>
                <a:gd name="T28" fmla="*/ 277 w 698"/>
                <a:gd name="T29" fmla="*/ 785 h 856"/>
                <a:gd name="T30" fmla="*/ 528 w 698"/>
                <a:gd name="T31" fmla="*/ 619 h 856"/>
                <a:gd name="T32" fmla="*/ 267 w 698"/>
                <a:gd name="T33" fmla="*/ 435 h 856"/>
                <a:gd name="T34" fmla="*/ 251 w 698"/>
                <a:gd name="T35" fmla="*/ 435 h 856"/>
                <a:gd name="T36" fmla="*/ 161 w 698"/>
                <a:gd name="T37" fmla="*/ 435 h 856"/>
                <a:gd name="T38" fmla="*/ 161 w 698"/>
                <a:gd name="T39" fmla="*/ 712 h 856"/>
                <a:gd name="T40" fmla="*/ 296 w 698"/>
                <a:gd name="T41" fmla="*/ 374 h 856"/>
                <a:gd name="T42" fmla="*/ 479 w 698"/>
                <a:gd name="T43" fmla="*/ 222 h 856"/>
                <a:gd name="T44" fmla="*/ 260 w 698"/>
                <a:gd name="T45" fmla="*/ 65 h 856"/>
                <a:gd name="T46" fmla="*/ 177 w 698"/>
                <a:gd name="T47" fmla="*/ 70 h 856"/>
                <a:gd name="T48" fmla="*/ 161 w 698"/>
                <a:gd name="T49" fmla="*/ 72 h 856"/>
                <a:gd name="T50" fmla="*/ 161 w 698"/>
                <a:gd name="T51" fmla="*/ 374 h 856"/>
                <a:gd name="T52" fmla="*/ 296 w 698"/>
                <a:gd name="T53" fmla="*/ 374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8" h="856">
                  <a:moveTo>
                    <a:pt x="0" y="856"/>
                  </a:moveTo>
                  <a:lnTo>
                    <a:pt x="0" y="0"/>
                  </a:lnTo>
                  <a:lnTo>
                    <a:pt x="250" y="0"/>
                  </a:lnTo>
                  <a:cubicBezTo>
                    <a:pt x="342" y="0"/>
                    <a:pt x="457" y="5"/>
                    <a:pt x="537" y="45"/>
                  </a:cubicBezTo>
                  <a:cubicBezTo>
                    <a:pt x="605" y="80"/>
                    <a:pt x="641" y="132"/>
                    <a:pt x="641" y="197"/>
                  </a:cubicBezTo>
                  <a:cubicBezTo>
                    <a:pt x="641" y="289"/>
                    <a:pt x="562" y="352"/>
                    <a:pt x="488" y="379"/>
                  </a:cubicBezTo>
                  <a:cubicBezTo>
                    <a:pt x="468" y="386"/>
                    <a:pt x="454" y="391"/>
                    <a:pt x="443" y="394"/>
                  </a:cubicBezTo>
                  <a:cubicBezTo>
                    <a:pt x="459" y="399"/>
                    <a:pt x="481" y="406"/>
                    <a:pt x="501" y="414"/>
                  </a:cubicBezTo>
                  <a:cubicBezTo>
                    <a:pt x="673" y="480"/>
                    <a:pt x="698" y="578"/>
                    <a:pt x="698" y="630"/>
                  </a:cubicBezTo>
                  <a:cubicBezTo>
                    <a:pt x="698" y="740"/>
                    <a:pt x="612" y="795"/>
                    <a:pt x="541" y="822"/>
                  </a:cubicBezTo>
                  <a:cubicBezTo>
                    <a:pt x="471" y="845"/>
                    <a:pt x="381" y="856"/>
                    <a:pt x="250" y="856"/>
                  </a:cubicBezTo>
                  <a:lnTo>
                    <a:pt x="0" y="856"/>
                  </a:lnTo>
                  <a:close/>
                  <a:moveTo>
                    <a:pt x="161" y="712"/>
                  </a:moveTo>
                  <a:cubicBezTo>
                    <a:pt x="161" y="728"/>
                    <a:pt x="160" y="748"/>
                    <a:pt x="177" y="763"/>
                  </a:cubicBezTo>
                  <a:cubicBezTo>
                    <a:pt x="194" y="779"/>
                    <a:pt x="225" y="785"/>
                    <a:pt x="277" y="785"/>
                  </a:cubicBezTo>
                  <a:cubicBezTo>
                    <a:pt x="439" y="785"/>
                    <a:pt x="528" y="726"/>
                    <a:pt x="528" y="619"/>
                  </a:cubicBezTo>
                  <a:cubicBezTo>
                    <a:pt x="528" y="505"/>
                    <a:pt x="440" y="443"/>
                    <a:pt x="267" y="435"/>
                  </a:cubicBezTo>
                  <a:cubicBezTo>
                    <a:pt x="266" y="435"/>
                    <a:pt x="252" y="435"/>
                    <a:pt x="251" y="435"/>
                  </a:cubicBezTo>
                  <a:lnTo>
                    <a:pt x="161" y="435"/>
                  </a:lnTo>
                  <a:lnTo>
                    <a:pt x="161" y="712"/>
                  </a:lnTo>
                  <a:close/>
                  <a:moveTo>
                    <a:pt x="296" y="374"/>
                  </a:moveTo>
                  <a:cubicBezTo>
                    <a:pt x="425" y="374"/>
                    <a:pt x="479" y="265"/>
                    <a:pt x="479" y="222"/>
                  </a:cubicBezTo>
                  <a:cubicBezTo>
                    <a:pt x="479" y="122"/>
                    <a:pt x="399" y="65"/>
                    <a:pt x="260" y="65"/>
                  </a:cubicBezTo>
                  <a:cubicBezTo>
                    <a:pt x="228" y="65"/>
                    <a:pt x="209" y="67"/>
                    <a:pt x="177" y="70"/>
                  </a:cubicBezTo>
                  <a:lnTo>
                    <a:pt x="161" y="72"/>
                  </a:lnTo>
                  <a:lnTo>
                    <a:pt x="161" y="374"/>
                  </a:lnTo>
                  <a:lnTo>
                    <a:pt x="296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16">
              <a:extLst>
                <a:ext uri="{FF2B5EF4-FFF2-40B4-BE49-F238E27FC236}">
                  <a16:creationId xmlns:a16="http://schemas.microsoft.com/office/drawing/2014/main" id="{5F226E6E-DD37-4301-9C1B-7A00FBFE4F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600" y="1057275"/>
              <a:ext cx="260350" cy="303213"/>
            </a:xfrm>
            <a:custGeom>
              <a:avLst/>
              <a:gdLst>
                <a:gd name="T0" fmla="*/ 558 w 723"/>
                <a:gd name="T1" fmla="*/ 0 h 839"/>
                <a:gd name="T2" fmla="*/ 558 w 723"/>
                <a:gd name="T3" fmla="*/ 364 h 839"/>
                <a:gd name="T4" fmla="*/ 165 w 723"/>
                <a:gd name="T5" fmla="*/ 364 h 839"/>
                <a:gd name="T6" fmla="*/ 165 w 723"/>
                <a:gd name="T7" fmla="*/ 0 h 839"/>
                <a:gd name="T8" fmla="*/ 0 w 723"/>
                <a:gd name="T9" fmla="*/ 0 h 839"/>
                <a:gd name="T10" fmla="*/ 0 w 723"/>
                <a:gd name="T11" fmla="*/ 839 h 839"/>
                <a:gd name="T12" fmla="*/ 165 w 723"/>
                <a:gd name="T13" fmla="*/ 839 h 839"/>
                <a:gd name="T14" fmla="*/ 165 w 723"/>
                <a:gd name="T15" fmla="*/ 480 h 839"/>
                <a:gd name="T16" fmla="*/ 212 w 723"/>
                <a:gd name="T17" fmla="*/ 442 h 839"/>
                <a:gd name="T18" fmla="*/ 512 w 723"/>
                <a:gd name="T19" fmla="*/ 442 h 839"/>
                <a:gd name="T20" fmla="*/ 558 w 723"/>
                <a:gd name="T21" fmla="*/ 480 h 839"/>
                <a:gd name="T22" fmla="*/ 558 w 723"/>
                <a:gd name="T23" fmla="*/ 839 h 839"/>
                <a:gd name="T24" fmla="*/ 723 w 723"/>
                <a:gd name="T25" fmla="*/ 839 h 839"/>
                <a:gd name="T26" fmla="*/ 723 w 723"/>
                <a:gd name="T27" fmla="*/ 0 h 839"/>
                <a:gd name="T28" fmla="*/ 558 w 723"/>
                <a:gd name="T29" fmla="*/ 0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3" h="839">
                  <a:moveTo>
                    <a:pt x="558" y="0"/>
                  </a:moveTo>
                  <a:lnTo>
                    <a:pt x="558" y="364"/>
                  </a:lnTo>
                  <a:lnTo>
                    <a:pt x="165" y="364"/>
                  </a:lnTo>
                  <a:lnTo>
                    <a:pt x="165" y="0"/>
                  </a:lnTo>
                  <a:lnTo>
                    <a:pt x="0" y="0"/>
                  </a:lnTo>
                  <a:lnTo>
                    <a:pt x="0" y="839"/>
                  </a:lnTo>
                  <a:lnTo>
                    <a:pt x="165" y="839"/>
                  </a:lnTo>
                  <a:lnTo>
                    <a:pt x="165" y="480"/>
                  </a:lnTo>
                  <a:cubicBezTo>
                    <a:pt x="165" y="454"/>
                    <a:pt x="189" y="442"/>
                    <a:pt x="212" y="442"/>
                  </a:cubicBezTo>
                  <a:lnTo>
                    <a:pt x="512" y="442"/>
                  </a:lnTo>
                  <a:cubicBezTo>
                    <a:pt x="535" y="442"/>
                    <a:pt x="558" y="454"/>
                    <a:pt x="558" y="480"/>
                  </a:cubicBezTo>
                  <a:lnTo>
                    <a:pt x="558" y="839"/>
                  </a:lnTo>
                  <a:lnTo>
                    <a:pt x="723" y="839"/>
                  </a:lnTo>
                  <a:lnTo>
                    <a:pt x="723" y="0"/>
                  </a:lnTo>
                  <a:lnTo>
                    <a:pt x="5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17">
              <a:extLst>
                <a:ext uri="{FF2B5EF4-FFF2-40B4-BE49-F238E27FC236}">
                  <a16:creationId xmlns:a16="http://schemas.microsoft.com/office/drawing/2014/main" id="{9F5BA27F-1928-4A82-BE56-9CCADB37B7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3888" y="1557338"/>
              <a:ext cx="2735263" cy="106363"/>
            </a:xfrm>
            <a:custGeom>
              <a:avLst/>
              <a:gdLst>
                <a:gd name="T0" fmla="*/ 7350 w 7569"/>
                <a:gd name="T1" fmla="*/ 285 h 292"/>
                <a:gd name="T2" fmla="*/ 7273 w 7569"/>
                <a:gd name="T3" fmla="*/ 149 h 292"/>
                <a:gd name="T4" fmla="*/ 7144 w 7569"/>
                <a:gd name="T5" fmla="*/ 7 h 292"/>
                <a:gd name="T6" fmla="*/ 7175 w 7569"/>
                <a:gd name="T7" fmla="*/ 152 h 292"/>
                <a:gd name="T8" fmla="*/ 6990 w 7569"/>
                <a:gd name="T9" fmla="*/ 278 h 292"/>
                <a:gd name="T10" fmla="*/ 6845 w 7569"/>
                <a:gd name="T11" fmla="*/ 15 h 292"/>
                <a:gd name="T12" fmla="*/ 6775 w 7569"/>
                <a:gd name="T13" fmla="*/ 279 h 292"/>
                <a:gd name="T14" fmla="*/ 6513 w 7569"/>
                <a:gd name="T15" fmla="*/ 14 h 292"/>
                <a:gd name="T16" fmla="*/ 6738 w 7569"/>
                <a:gd name="T17" fmla="*/ 65 h 292"/>
                <a:gd name="T18" fmla="*/ 6444 w 7569"/>
                <a:gd name="T19" fmla="*/ 278 h 292"/>
                <a:gd name="T20" fmla="*/ 6365 w 7569"/>
                <a:gd name="T21" fmla="*/ 282 h 292"/>
                <a:gd name="T22" fmla="*/ 6044 w 7569"/>
                <a:gd name="T23" fmla="*/ 67 h 292"/>
                <a:gd name="T24" fmla="*/ 5915 w 7569"/>
                <a:gd name="T25" fmla="*/ 213 h 292"/>
                <a:gd name="T26" fmla="*/ 5663 w 7569"/>
                <a:gd name="T27" fmla="*/ 140 h 292"/>
                <a:gd name="T28" fmla="*/ 5852 w 7569"/>
                <a:gd name="T29" fmla="*/ 238 h 292"/>
                <a:gd name="T30" fmla="*/ 5390 w 7569"/>
                <a:gd name="T31" fmla="*/ 13 h 292"/>
                <a:gd name="T32" fmla="*/ 5540 w 7569"/>
                <a:gd name="T33" fmla="*/ 280 h 292"/>
                <a:gd name="T34" fmla="*/ 5390 w 7569"/>
                <a:gd name="T35" fmla="*/ 13 h 292"/>
                <a:gd name="T36" fmla="*/ 5281 w 7569"/>
                <a:gd name="T37" fmla="*/ 14 h 292"/>
                <a:gd name="T38" fmla="*/ 4974 w 7569"/>
                <a:gd name="T39" fmla="*/ 285 h 292"/>
                <a:gd name="T40" fmla="*/ 4809 w 7569"/>
                <a:gd name="T41" fmla="*/ 7 h 292"/>
                <a:gd name="T42" fmla="*/ 4816 w 7569"/>
                <a:gd name="T43" fmla="*/ 260 h 292"/>
                <a:gd name="T44" fmla="*/ 4687 w 7569"/>
                <a:gd name="T45" fmla="*/ 139 h 292"/>
                <a:gd name="T46" fmla="*/ 4425 w 7569"/>
                <a:gd name="T47" fmla="*/ 279 h 292"/>
                <a:gd name="T48" fmla="*/ 4236 w 7569"/>
                <a:gd name="T49" fmla="*/ 7 h 292"/>
                <a:gd name="T50" fmla="*/ 4068 w 7569"/>
                <a:gd name="T51" fmla="*/ 152 h 292"/>
                <a:gd name="T52" fmla="*/ 4085 w 7569"/>
                <a:gd name="T53" fmla="*/ 7 h 292"/>
                <a:gd name="T54" fmla="*/ 3977 w 7569"/>
                <a:gd name="T55" fmla="*/ 260 h 292"/>
                <a:gd name="T56" fmla="*/ 3893 w 7569"/>
                <a:gd name="T57" fmla="*/ 248 h 292"/>
                <a:gd name="T58" fmla="*/ 3414 w 7569"/>
                <a:gd name="T59" fmla="*/ 7 h 292"/>
                <a:gd name="T60" fmla="*/ 3621 w 7569"/>
                <a:gd name="T61" fmla="*/ 286 h 292"/>
                <a:gd name="T62" fmla="*/ 3247 w 7569"/>
                <a:gd name="T63" fmla="*/ 59 h 292"/>
                <a:gd name="T64" fmla="*/ 3261 w 7569"/>
                <a:gd name="T65" fmla="*/ 7 h 292"/>
                <a:gd name="T66" fmla="*/ 3289 w 7569"/>
                <a:gd name="T67" fmla="*/ 176 h 292"/>
                <a:gd name="T68" fmla="*/ 2941 w 7569"/>
                <a:gd name="T69" fmla="*/ 286 h 292"/>
                <a:gd name="T70" fmla="*/ 3116 w 7569"/>
                <a:gd name="T71" fmla="*/ 282 h 292"/>
                <a:gd name="T72" fmla="*/ 2868 w 7569"/>
                <a:gd name="T73" fmla="*/ 14 h 292"/>
                <a:gd name="T74" fmla="*/ 2713 w 7569"/>
                <a:gd name="T75" fmla="*/ 7 h 292"/>
                <a:gd name="T76" fmla="*/ 2552 w 7569"/>
                <a:gd name="T77" fmla="*/ 122 h 292"/>
                <a:gd name="T78" fmla="*/ 2538 w 7569"/>
                <a:gd name="T79" fmla="*/ 159 h 292"/>
                <a:gd name="T80" fmla="*/ 2552 w 7569"/>
                <a:gd name="T81" fmla="*/ 122 h 292"/>
                <a:gd name="T82" fmla="*/ 2217 w 7569"/>
                <a:gd name="T83" fmla="*/ 61 h 292"/>
                <a:gd name="T84" fmla="*/ 2376 w 7569"/>
                <a:gd name="T85" fmla="*/ 219 h 292"/>
                <a:gd name="T86" fmla="*/ 2116 w 7569"/>
                <a:gd name="T87" fmla="*/ 278 h 292"/>
                <a:gd name="T88" fmla="*/ 1951 w 7569"/>
                <a:gd name="T89" fmla="*/ 282 h 292"/>
                <a:gd name="T90" fmla="*/ 1736 w 7569"/>
                <a:gd name="T91" fmla="*/ 286 h 292"/>
                <a:gd name="T92" fmla="*/ 1455 w 7569"/>
                <a:gd name="T93" fmla="*/ 278 h 292"/>
                <a:gd name="T94" fmla="*/ 1676 w 7569"/>
                <a:gd name="T95" fmla="*/ 14 h 292"/>
                <a:gd name="T96" fmla="*/ 1260 w 7569"/>
                <a:gd name="T97" fmla="*/ 153 h 292"/>
                <a:gd name="T98" fmla="*/ 1284 w 7569"/>
                <a:gd name="T99" fmla="*/ 13 h 292"/>
                <a:gd name="T100" fmla="*/ 1101 w 7569"/>
                <a:gd name="T101" fmla="*/ 280 h 292"/>
                <a:gd name="T102" fmla="*/ 1114 w 7569"/>
                <a:gd name="T103" fmla="*/ 216 h 292"/>
                <a:gd name="T104" fmla="*/ 863 w 7569"/>
                <a:gd name="T105" fmla="*/ 12 h 292"/>
                <a:gd name="T106" fmla="*/ 763 w 7569"/>
                <a:gd name="T107" fmla="*/ 24 h 292"/>
                <a:gd name="T108" fmla="*/ 770 w 7569"/>
                <a:gd name="T109" fmla="*/ 267 h 292"/>
                <a:gd name="T110" fmla="*/ 669 w 7569"/>
                <a:gd name="T111" fmla="*/ 25 h 292"/>
                <a:gd name="T112" fmla="*/ 591 w 7569"/>
                <a:gd name="T113" fmla="*/ 278 h 292"/>
                <a:gd name="T114" fmla="*/ 347 w 7569"/>
                <a:gd name="T115" fmla="*/ 24 h 292"/>
                <a:gd name="T116" fmla="*/ 133 w 7569"/>
                <a:gd name="T117" fmla="*/ 171 h 292"/>
                <a:gd name="T118" fmla="*/ 39 w 7569"/>
                <a:gd name="T119" fmla="*/ 129 h 292"/>
                <a:gd name="T120" fmla="*/ 170 w 7569"/>
                <a:gd name="T121" fmla="*/ 71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569" h="292">
                  <a:moveTo>
                    <a:pt x="7383" y="30"/>
                  </a:moveTo>
                  <a:cubicBezTo>
                    <a:pt x="7390" y="29"/>
                    <a:pt x="7396" y="28"/>
                    <a:pt x="7408" y="28"/>
                  </a:cubicBezTo>
                  <a:cubicBezTo>
                    <a:pt x="7445" y="28"/>
                    <a:pt x="7476" y="37"/>
                    <a:pt x="7498" y="62"/>
                  </a:cubicBezTo>
                  <a:cubicBezTo>
                    <a:pt x="7519" y="85"/>
                    <a:pt x="7526" y="115"/>
                    <a:pt x="7526" y="145"/>
                  </a:cubicBezTo>
                  <a:cubicBezTo>
                    <a:pt x="7526" y="216"/>
                    <a:pt x="7488" y="264"/>
                    <a:pt x="7404" y="264"/>
                  </a:cubicBezTo>
                  <a:cubicBezTo>
                    <a:pt x="7394" y="264"/>
                    <a:pt x="7388" y="263"/>
                    <a:pt x="7383" y="262"/>
                  </a:cubicBezTo>
                  <a:lnTo>
                    <a:pt x="7383" y="30"/>
                  </a:lnTo>
                  <a:close/>
                  <a:moveTo>
                    <a:pt x="7343" y="275"/>
                  </a:moveTo>
                  <a:cubicBezTo>
                    <a:pt x="7343" y="280"/>
                    <a:pt x="7344" y="283"/>
                    <a:pt x="7350" y="285"/>
                  </a:cubicBezTo>
                  <a:cubicBezTo>
                    <a:pt x="7361" y="287"/>
                    <a:pt x="7389" y="288"/>
                    <a:pt x="7403" y="288"/>
                  </a:cubicBezTo>
                  <a:cubicBezTo>
                    <a:pt x="7447" y="288"/>
                    <a:pt x="7492" y="279"/>
                    <a:pt x="7526" y="250"/>
                  </a:cubicBezTo>
                  <a:cubicBezTo>
                    <a:pt x="7541" y="236"/>
                    <a:pt x="7569" y="204"/>
                    <a:pt x="7569" y="147"/>
                  </a:cubicBezTo>
                  <a:cubicBezTo>
                    <a:pt x="7569" y="82"/>
                    <a:pt x="7530" y="4"/>
                    <a:pt x="7413" y="4"/>
                  </a:cubicBezTo>
                  <a:cubicBezTo>
                    <a:pt x="7389" y="4"/>
                    <a:pt x="7359" y="7"/>
                    <a:pt x="7349" y="11"/>
                  </a:cubicBezTo>
                  <a:cubicBezTo>
                    <a:pt x="7345" y="12"/>
                    <a:pt x="7343" y="13"/>
                    <a:pt x="7343" y="22"/>
                  </a:cubicBezTo>
                  <a:lnTo>
                    <a:pt x="7343" y="275"/>
                  </a:lnTo>
                  <a:close/>
                  <a:moveTo>
                    <a:pt x="7266" y="152"/>
                  </a:moveTo>
                  <a:cubicBezTo>
                    <a:pt x="7270" y="152"/>
                    <a:pt x="7272" y="152"/>
                    <a:pt x="7273" y="149"/>
                  </a:cubicBezTo>
                  <a:cubicBezTo>
                    <a:pt x="7273" y="147"/>
                    <a:pt x="7273" y="138"/>
                    <a:pt x="7273" y="133"/>
                  </a:cubicBezTo>
                  <a:cubicBezTo>
                    <a:pt x="7273" y="127"/>
                    <a:pt x="7270" y="127"/>
                    <a:pt x="7266" y="127"/>
                  </a:cubicBezTo>
                  <a:lnTo>
                    <a:pt x="7175" y="127"/>
                  </a:lnTo>
                  <a:lnTo>
                    <a:pt x="7175" y="32"/>
                  </a:lnTo>
                  <a:lnTo>
                    <a:pt x="7282" y="32"/>
                  </a:lnTo>
                  <a:cubicBezTo>
                    <a:pt x="7288" y="32"/>
                    <a:pt x="7289" y="31"/>
                    <a:pt x="7290" y="28"/>
                  </a:cubicBezTo>
                  <a:cubicBezTo>
                    <a:pt x="7290" y="26"/>
                    <a:pt x="7290" y="18"/>
                    <a:pt x="7290" y="13"/>
                  </a:cubicBezTo>
                  <a:cubicBezTo>
                    <a:pt x="7290" y="7"/>
                    <a:pt x="7287" y="7"/>
                    <a:pt x="7282" y="7"/>
                  </a:cubicBezTo>
                  <a:lnTo>
                    <a:pt x="7144" y="7"/>
                  </a:lnTo>
                  <a:cubicBezTo>
                    <a:pt x="7137" y="7"/>
                    <a:pt x="7136" y="9"/>
                    <a:pt x="7136" y="16"/>
                  </a:cubicBezTo>
                  <a:lnTo>
                    <a:pt x="7136" y="279"/>
                  </a:lnTo>
                  <a:cubicBezTo>
                    <a:pt x="7136" y="285"/>
                    <a:pt x="7138" y="286"/>
                    <a:pt x="7144" y="286"/>
                  </a:cubicBezTo>
                  <a:lnTo>
                    <a:pt x="7282" y="286"/>
                  </a:lnTo>
                  <a:cubicBezTo>
                    <a:pt x="7287" y="286"/>
                    <a:pt x="7290" y="285"/>
                    <a:pt x="7290" y="279"/>
                  </a:cubicBezTo>
                  <a:lnTo>
                    <a:pt x="7290" y="267"/>
                  </a:lnTo>
                  <a:cubicBezTo>
                    <a:pt x="7290" y="260"/>
                    <a:pt x="7288" y="260"/>
                    <a:pt x="7282" y="260"/>
                  </a:cubicBezTo>
                  <a:lnTo>
                    <a:pt x="7175" y="260"/>
                  </a:lnTo>
                  <a:lnTo>
                    <a:pt x="7175" y="152"/>
                  </a:lnTo>
                  <a:lnTo>
                    <a:pt x="7266" y="152"/>
                  </a:lnTo>
                  <a:close/>
                  <a:moveTo>
                    <a:pt x="7099" y="32"/>
                  </a:moveTo>
                  <a:cubicBezTo>
                    <a:pt x="7105" y="32"/>
                    <a:pt x="7107" y="30"/>
                    <a:pt x="7107" y="25"/>
                  </a:cubicBezTo>
                  <a:cubicBezTo>
                    <a:pt x="7107" y="8"/>
                    <a:pt x="7107" y="7"/>
                    <a:pt x="7099" y="7"/>
                  </a:cubicBezTo>
                  <a:lnTo>
                    <a:pt x="6921" y="7"/>
                  </a:lnTo>
                  <a:cubicBezTo>
                    <a:pt x="6913" y="7"/>
                    <a:pt x="6913" y="9"/>
                    <a:pt x="6913" y="24"/>
                  </a:cubicBezTo>
                  <a:cubicBezTo>
                    <a:pt x="6913" y="30"/>
                    <a:pt x="6915" y="32"/>
                    <a:pt x="6921" y="32"/>
                  </a:cubicBezTo>
                  <a:lnTo>
                    <a:pt x="6990" y="32"/>
                  </a:lnTo>
                  <a:lnTo>
                    <a:pt x="6990" y="278"/>
                  </a:lnTo>
                  <a:cubicBezTo>
                    <a:pt x="6991" y="285"/>
                    <a:pt x="6993" y="286"/>
                    <a:pt x="6999" y="286"/>
                  </a:cubicBezTo>
                  <a:lnTo>
                    <a:pt x="7022" y="286"/>
                  </a:lnTo>
                  <a:cubicBezTo>
                    <a:pt x="7029" y="286"/>
                    <a:pt x="7029" y="284"/>
                    <a:pt x="7029" y="278"/>
                  </a:cubicBezTo>
                  <a:lnTo>
                    <a:pt x="7029" y="32"/>
                  </a:lnTo>
                  <a:lnTo>
                    <a:pt x="7099" y="32"/>
                  </a:lnTo>
                  <a:close/>
                  <a:moveTo>
                    <a:pt x="6884" y="14"/>
                  </a:moveTo>
                  <a:cubicBezTo>
                    <a:pt x="6884" y="7"/>
                    <a:pt x="6882" y="7"/>
                    <a:pt x="6876" y="7"/>
                  </a:cubicBezTo>
                  <a:lnTo>
                    <a:pt x="6852" y="7"/>
                  </a:lnTo>
                  <a:cubicBezTo>
                    <a:pt x="6846" y="6"/>
                    <a:pt x="6845" y="8"/>
                    <a:pt x="6845" y="15"/>
                  </a:cubicBezTo>
                  <a:lnTo>
                    <a:pt x="6845" y="278"/>
                  </a:lnTo>
                  <a:cubicBezTo>
                    <a:pt x="6845" y="285"/>
                    <a:pt x="6848" y="286"/>
                    <a:pt x="6852" y="286"/>
                  </a:cubicBezTo>
                  <a:lnTo>
                    <a:pt x="6876" y="286"/>
                  </a:lnTo>
                  <a:cubicBezTo>
                    <a:pt x="6882" y="286"/>
                    <a:pt x="6884" y="285"/>
                    <a:pt x="6884" y="278"/>
                  </a:cubicBezTo>
                  <a:lnTo>
                    <a:pt x="6884" y="14"/>
                  </a:lnTo>
                  <a:close/>
                  <a:moveTo>
                    <a:pt x="6738" y="278"/>
                  </a:moveTo>
                  <a:cubicBezTo>
                    <a:pt x="6738" y="285"/>
                    <a:pt x="6739" y="286"/>
                    <a:pt x="6745" y="286"/>
                  </a:cubicBezTo>
                  <a:lnTo>
                    <a:pt x="6767" y="286"/>
                  </a:lnTo>
                  <a:cubicBezTo>
                    <a:pt x="6774" y="286"/>
                    <a:pt x="6775" y="285"/>
                    <a:pt x="6775" y="279"/>
                  </a:cubicBezTo>
                  <a:lnTo>
                    <a:pt x="6775" y="13"/>
                  </a:lnTo>
                  <a:cubicBezTo>
                    <a:pt x="6775" y="7"/>
                    <a:pt x="6773" y="7"/>
                    <a:pt x="6767" y="7"/>
                  </a:cubicBezTo>
                  <a:lnTo>
                    <a:pt x="6740" y="7"/>
                  </a:lnTo>
                  <a:cubicBezTo>
                    <a:pt x="6733" y="7"/>
                    <a:pt x="6733" y="7"/>
                    <a:pt x="6730" y="15"/>
                  </a:cubicBezTo>
                  <a:lnTo>
                    <a:pt x="6645" y="219"/>
                  </a:lnTo>
                  <a:lnTo>
                    <a:pt x="6557" y="14"/>
                  </a:lnTo>
                  <a:cubicBezTo>
                    <a:pt x="6554" y="7"/>
                    <a:pt x="6553" y="7"/>
                    <a:pt x="6547" y="7"/>
                  </a:cubicBezTo>
                  <a:lnTo>
                    <a:pt x="6520" y="7"/>
                  </a:lnTo>
                  <a:cubicBezTo>
                    <a:pt x="6514" y="7"/>
                    <a:pt x="6513" y="8"/>
                    <a:pt x="6513" y="14"/>
                  </a:cubicBezTo>
                  <a:lnTo>
                    <a:pt x="6513" y="278"/>
                  </a:lnTo>
                  <a:cubicBezTo>
                    <a:pt x="6513" y="283"/>
                    <a:pt x="6513" y="285"/>
                    <a:pt x="6517" y="286"/>
                  </a:cubicBezTo>
                  <a:lnTo>
                    <a:pt x="6536" y="286"/>
                  </a:lnTo>
                  <a:cubicBezTo>
                    <a:pt x="6541" y="286"/>
                    <a:pt x="6543" y="285"/>
                    <a:pt x="6543" y="279"/>
                  </a:cubicBezTo>
                  <a:lnTo>
                    <a:pt x="6543" y="65"/>
                  </a:lnTo>
                  <a:lnTo>
                    <a:pt x="6633" y="278"/>
                  </a:lnTo>
                  <a:cubicBezTo>
                    <a:pt x="6636" y="285"/>
                    <a:pt x="6637" y="287"/>
                    <a:pt x="6642" y="287"/>
                  </a:cubicBezTo>
                  <a:cubicBezTo>
                    <a:pt x="6646" y="287"/>
                    <a:pt x="6646" y="286"/>
                    <a:pt x="6650" y="278"/>
                  </a:cubicBezTo>
                  <a:lnTo>
                    <a:pt x="6738" y="65"/>
                  </a:lnTo>
                  <a:lnTo>
                    <a:pt x="6738" y="278"/>
                  </a:lnTo>
                  <a:close/>
                  <a:moveTo>
                    <a:pt x="6444" y="14"/>
                  </a:moveTo>
                  <a:cubicBezTo>
                    <a:pt x="6444" y="7"/>
                    <a:pt x="6441" y="7"/>
                    <a:pt x="6436" y="7"/>
                  </a:cubicBezTo>
                  <a:lnTo>
                    <a:pt x="6412" y="7"/>
                  </a:lnTo>
                  <a:cubicBezTo>
                    <a:pt x="6406" y="6"/>
                    <a:pt x="6404" y="8"/>
                    <a:pt x="6404" y="15"/>
                  </a:cubicBezTo>
                  <a:lnTo>
                    <a:pt x="6404" y="278"/>
                  </a:lnTo>
                  <a:cubicBezTo>
                    <a:pt x="6404" y="285"/>
                    <a:pt x="6407" y="286"/>
                    <a:pt x="6412" y="286"/>
                  </a:cubicBezTo>
                  <a:lnTo>
                    <a:pt x="6436" y="286"/>
                  </a:lnTo>
                  <a:cubicBezTo>
                    <a:pt x="6442" y="286"/>
                    <a:pt x="6444" y="285"/>
                    <a:pt x="6444" y="278"/>
                  </a:cubicBezTo>
                  <a:lnTo>
                    <a:pt x="6444" y="14"/>
                  </a:lnTo>
                  <a:close/>
                  <a:moveTo>
                    <a:pt x="6253" y="14"/>
                  </a:moveTo>
                  <a:cubicBezTo>
                    <a:pt x="6253" y="8"/>
                    <a:pt x="6252" y="7"/>
                    <a:pt x="6246" y="7"/>
                  </a:cubicBezTo>
                  <a:lnTo>
                    <a:pt x="6221" y="7"/>
                  </a:lnTo>
                  <a:cubicBezTo>
                    <a:pt x="6216" y="7"/>
                    <a:pt x="6214" y="7"/>
                    <a:pt x="6214" y="14"/>
                  </a:cubicBezTo>
                  <a:lnTo>
                    <a:pt x="6214" y="279"/>
                  </a:lnTo>
                  <a:cubicBezTo>
                    <a:pt x="6214" y="283"/>
                    <a:pt x="6215" y="286"/>
                    <a:pt x="6221" y="286"/>
                  </a:cubicBezTo>
                  <a:lnTo>
                    <a:pt x="6358" y="286"/>
                  </a:lnTo>
                  <a:cubicBezTo>
                    <a:pt x="6361" y="286"/>
                    <a:pt x="6364" y="286"/>
                    <a:pt x="6365" y="282"/>
                  </a:cubicBezTo>
                  <a:lnTo>
                    <a:pt x="6365" y="267"/>
                  </a:lnTo>
                  <a:cubicBezTo>
                    <a:pt x="6365" y="262"/>
                    <a:pt x="6364" y="260"/>
                    <a:pt x="6358" y="260"/>
                  </a:cubicBezTo>
                  <a:lnTo>
                    <a:pt x="6253" y="260"/>
                  </a:lnTo>
                  <a:lnTo>
                    <a:pt x="6253" y="14"/>
                  </a:lnTo>
                  <a:close/>
                  <a:moveTo>
                    <a:pt x="5991" y="122"/>
                  </a:moveTo>
                  <a:cubicBezTo>
                    <a:pt x="5960" y="109"/>
                    <a:pt x="5936" y="98"/>
                    <a:pt x="5936" y="67"/>
                  </a:cubicBezTo>
                  <a:cubicBezTo>
                    <a:pt x="5936" y="44"/>
                    <a:pt x="5954" y="24"/>
                    <a:pt x="5980" y="24"/>
                  </a:cubicBezTo>
                  <a:cubicBezTo>
                    <a:pt x="6005" y="24"/>
                    <a:pt x="6017" y="41"/>
                    <a:pt x="6025" y="53"/>
                  </a:cubicBezTo>
                  <a:cubicBezTo>
                    <a:pt x="6029" y="60"/>
                    <a:pt x="6034" y="67"/>
                    <a:pt x="6044" y="67"/>
                  </a:cubicBezTo>
                  <a:cubicBezTo>
                    <a:pt x="6054" y="67"/>
                    <a:pt x="6061" y="59"/>
                    <a:pt x="6061" y="49"/>
                  </a:cubicBezTo>
                  <a:cubicBezTo>
                    <a:pt x="6061" y="29"/>
                    <a:pt x="6029" y="1"/>
                    <a:pt x="5982" y="1"/>
                  </a:cubicBezTo>
                  <a:cubicBezTo>
                    <a:pt x="5931" y="1"/>
                    <a:pt x="5899" y="33"/>
                    <a:pt x="5899" y="75"/>
                  </a:cubicBezTo>
                  <a:cubicBezTo>
                    <a:pt x="5899" y="122"/>
                    <a:pt x="5940" y="141"/>
                    <a:pt x="5956" y="149"/>
                  </a:cubicBezTo>
                  <a:lnTo>
                    <a:pt x="5977" y="159"/>
                  </a:lnTo>
                  <a:cubicBezTo>
                    <a:pt x="6008" y="173"/>
                    <a:pt x="6035" y="187"/>
                    <a:pt x="6035" y="221"/>
                  </a:cubicBezTo>
                  <a:cubicBezTo>
                    <a:pt x="6035" y="246"/>
                    <a:pt x="6017" y="267"/>
                    <a:pt x="5987" y="267"/>
                  </a:cubicBezTo>
                  <a:cubicBezTo>
                    <a:pt x="5954" y="267"/>
                    <a:pt x="5941" y="242"/>
                    <a:pt x="5935" y="230"/>
                  </a:cubicBezTo>
                  <a:cubicBezTo>
                    <a:pt x="5931" y="221"/>
                    <a:pt x="5926" y="213"/>
                    <a:pt x="5915" y="213"/>
                  </a:cubicBezTo>
                  <a:cubicBezTo>
                    <a:pt x="5905" y="213"/>
                    <a:pt x="5896" y="219"/>
                    <a:pt x="5896" y="232"/>
                  </a:cubicBezTo>
                  <a:cubicBezTo>
                    <a:pt x="5896" y="249"/>
                    <a:pt x="5920" y="292"/>
                    <a:pt x="5984" y="292"/>
                  </a:cubicBezTo>
                  <a:cubicBezTo>
                    <a:pt x="6036" y="292"/>
                    <a:pt x="6072" y="259"/>
                    <a:pt x="6072" y="212"/>
                  </a:cubicBezTo>
                  <a:cubicBezTo>
                    <a:pt x="6072" y="162"/>
                    <a:pt x="6031" y="142"/>
                    <a:pt x="6011" y="132"/>
                  </a:cubicBezTo>
                  <a:lnTo>
                    <a:pt x="5991" y="122"/>
                  </a:lnTo>
                  <a:close/>
                  <a:moveTo>
                    <a:pt x="5814" y="228"/>
                  </a:moveTo>
                  <a:cubicBezTo>
                    <a:pt x="5814" y="241"/>
                    <a:pt x="5813" y="249"/>
                    <a:pt x="5803" y="256"/>
                  </a:cubicBezTo>
                  <a:cubicBezTo>
                    <a:pt x="5793" y="263"/>
                    <a:pt x="5777" y="266"/>
                    <a:pt x="5762" y="266"/>
                  </a:cubicBezTo>
                  <a:cubicBezTo>
                    <a:pt x="5699" y="266"/>
                    <a:pt x="5663" y="210"/>
                    <a:pt x="5663" y="140"/>
                  </a:cubicBezTo>
                  <a:cubicBezTo>
                    <a:pt x="5663" y="62"/>
                    <a:pt x="5707" y="25"/>
                    <a:pt x="5752" y="25"/>
                  </a:cubicBezTo>
                  <a:cubicBezTo>
                    <a:pt x="5787" y="25"/>
                    <a:pt x="5803" y="47"/>
                    <a:pt x="5811" y="59"/>
                  </a:cubicBezTo>
                  <a:cubicBezTo>
                    <a:pt x="5819" y="71"/>
                    <a:pt x="5824" y="79"/>
                    <a:pt x="5834" y="79"/>
                  </a:cubicBezTo>
                  <a:cubicBezTo>
                    <a:pt x="5843" y="79"/>
                    <a:pt x="5853" y="72"/>
                    <a:pt x="5853" y="60"/>
                  </a:cubicBezTo>
                  <a:cubicBezTo>
                    <a:pt x="5853" y="41"/>
                    <a:pt x="5819" y="1"/>
                    <a:pt x="5753" y="1"/>
                  </a:cubicBezTo>
                  <a:cubicBezTo>
                    <a:pt x="5673" y="1"/>
                    <a:pt x="5621" y="61"/>
                    <a:pt x="5621" y="146"/>
                  </a:cubicBezTo>
                  <a:cubicBezTo>
                    <a:pt x="5621" y="223"/>
                    <a:pt x="5662" y="292"/>
                    <a:pt x="5759" y="292"/>
                  </a:cubicBezTo>
                  <a:cubicBezTo>
                    <a:pt x="5802" y="292"/>
                    <a:pt x="5834" y="277"/>
                    <a:pt x="5847" y="260"/>
                  </a:cubicBezTo>
                  <a:cubicBezTo>
                    <a:pt x="5852" y="254"/>
                    <a:pt x="5852" y="252"/>
                    <a:pt x="5852" y="238"/>
                  </a:cubicBezTo>
                  <a:lnTo>
                    <a:pt x="5852" y="155"/>
                  </a:lnTo>
                  <a:cubicBezTo>
                    <a:pt x="5852" y="150"/>
                    <a:pt x="5852" y="147"/>
                    <a:pt x="5845" y="147"/>
                  </a:cubicBezTo>
                  <a:lnTo>
                    <a:pt x="5760" y="147"/>
                  </a:lnTo>
                  <a:cubicBezTo>
                    <a:pt x="5756" y="147"/>
                    <a:pt x="5753" y="147"/>
                    <a:pt x="5752" y="151"/>
                  </a:cubicBezTo>
                  <a:lnTo>
                    <a:pt x="5752" y="163"/>
                  </a:lnTo>
                  <a:cubicBezTo>
                    <a:pt x="5752" y="170"/>
                    <a:pt x="5753" y="170"/>
                    <a:pt x="5760" y="170"/>
                  </a:cubicBezTo>
                  <a:lnTo>
                    <a:pt x="5814" y="170"/>
                  </a:lnTo>
                  <a:lnTo>
                    <a:pt x="5814" y="228"/>
                  </a:lnTo>
                  <a:close/>
                  <a:moveTo>
                    <a:pt x="5390" y="13"/>
                  </a:moveTo>
                  <a:cubicBezTo>
                    <a:pt x="5386" y="7"/>
                    <a:pt x="5386" y="7"/>
                    <a:pt x="5381" y="7"/>
                  </a:cubicBezTo>
                  <a:lnTo>
                    <a:pt x="5358" y="7"/>
                  </a:lnTo>
                  <a:cubicBezTo>
                    <a:pt x="5351" y="7"/>
                    <a:pt x="5350" y="8"/>
                    <a:pt x="5350" y="14"/>
                  </a:cubicBezTo>
                  <a:lnTo>
                    <a:pt x="5350" y="278"/>
                  </a:lnTo>
                  <a:cubicBezTo>
                    <a:pt x="5350" y="284"/>
                    <a:pt x="5351" y="286"/>
                    <a:pt x="5357" y="286"/>
                  </a:cubicBezTo>
                  <a:cubicBezTo>
                    <a:pt x="5364" y="286"/>
                    <a:pt x="5377" y="286"/>
                    <a:pt x="5378" y="285"/>
                  </a:cubicBezTo>
                  <a:cubicBezTo>
                    <a:pt x="5381" y="285"/>
                    <a:pt x="5381" y="283"/>
                    <a:pt x="5381" y="278"/>
                  </a:cubicBezTo>
                  <a:lnTo>
                    <a:pt x="5381" y="61"/>
                  </a:lnTo>
                  <a:lnTo>
                    <a:pt x="5540" y="280"/>
                  </a:lnTo>
                  <a:cubicBezTo>
                    <a:pt x="5544" y="285"/>
                    <a:pt x="5545" y="285"/>
                    <a:pt x="5549" y="286"/>
                  </a:cubicBezTo>
                  <a:lnTo>
                    <a:pt x="5564" y="286"/>
                  </a:lnTo>
                  <a:cubicBezTo>
                    <a:pt x="5569" y="286"/>
                    <a:pt x="5571" y="285"/>
                    <a:pt x="5571" y="279"/>
                  </a:cubicBezTo>
                  <a:lnTo>
                    <a:pt x="5571" y="14"/>
                  </a:lnTo>
                  <a:cubicBezTo>
                    <a:pt x="5571" y="8"/>
                    <a:pt x="5570" y="7"/>
                    <a:pt x="5565" y="7"/>
                  </a:cubicBezTo>
                  <a:lnTo>
                    <a:pt x="5544" y="7"/>
                  </a:lnTo>
                  <a:cubicBezTo>
                    <a:pt x="5541" y="7"/>
                    <a:pt x="5540" y="9"/>
                    <a:pt x="5540" y="14"/>
                  </a:cubicBezTo>
                  <a:lnTo>
                    <a:pt x="5540" y="219"/>
                  </a:lnTo>
                  <a:lnTo>
                    <a:pt x="5390" y="13"/>
                  </a:lnTo>
                  <a:close/>
                  <a:moveTo>
                    <a:pt x="5281" y="14"/>
                  </a:moveTo>
                  <a:cubicBezTo>
                    <a:pt x="5281" y="7"/>
                    <a:pt x="5278" y="7"/>
                    <a:pt x="5273" y="7"/>
                  </a:cubicBezTo>
                  <a:lnTo>
                    <a:pt x="5249" y="7"/>
                  </a:lnTo>
                  <a:cubicBezTo>
                    <a:pt x="5243" y="6"/>
                    <a:pt x="5242" y="8"/>
                    <a:pt x="5242" y="15"/>
                  </a:cubicBezTo>
                  <a:lnTo>
                    <a:pt x="5242" y="278"/>
                  </a:lnTo>
                  <a:cubicBezTo>
                    <a:pt x="5242" y="285"/>
                    <a:pt x="5244" y="286"/>
                    <a:pt x="5249" y="286"/>
                  </a:cubicBezTo>
                  <a:lnTo>
                    <a:pt x="5273" y="286"/>
                  </a:lnTo>
                  <a:cubicBezTo>
                    <a:pt x="5279" y="286"/>
                    <a:pt x="5281" y="285"/>
                    <a:pt x="5281" y="278"/>
                  </a:cubicBezTo>
                  <a:lnTo>
                    <a:pt x="5281" y="14"/>
                  </a:lnTo>
                  <a:close/>
                  <a:moveTo>
                    <a:pt x="5007" y="30"/>
                  </a:moveTo>
                  <a:cubicBezTo>
                    <a:pt x="5014" y="29"/>
                    <a:pt x="5021" y="28"/>
                    <a:pt x="5032" y="28"/>
                  </a:cubicBezTo>
                  <a:cubicBezTo>
                    <a:pt x="5069" y="28"/>
                    <a:pt x="5100" y="37"/>
                    <a:pt x="5123" y="62"/>
                  </a:cubicBezTo>
                  <a:cubicBezTo>
                    <a:pt x="5143" y="85"/>
                    <a:pt x="5151" y="115"/>
                    <a:pt x="5151" y="145"/>
                  </a:cubicBezTo>
                  <a:cubicBezTo>
                    <a:pt x="5151" y="216"/>
                    <a:pt x="5113" y="264"/>
                    <a:pt x="5028" y="264"/>
                  </a:cubicBezTo>
                  <a:cubicBezTo>
                    <a:pt x="5019" y="264"/>
                    <a:pt x="5012" y="263"/>
                    <a:pt x="5007" y="262"/>
                  </a:cubicBezTo>
                  <a:lnTo>
                    <a:pt x="5007" y="30"/>
                  </a:lnTo>
                  <a:close/>
                  <a:moveTo>
                    <a:pt x="4968" y="275"/>
                  </a:moveTo>
                  <a:cubicBezTo>
                    <a:pt x="4968" y="280"/>
                    <a:pt x="4968" y="283"/>
                    <a:pt x="4974" y="285"/>
                  </a:cubicBezTo>
                  <a:cubicBezTo>
                    <a:pt x="4985" y="287"/>
                    <a:pt x="5013" y="288"/>
                    <a:pt x="5027" y="288"/>
                  </a:cubicBezTo>
                  <a:cubicBezTo>
                    <a:pt x="5072" y="288"/>
                    <a:pt x="5117" y="279"/>
                    <a:pt x="5150" y="250"/>
                  </a:cubicBezTo>
                  <a:cubicBezTo>
                    <a:pt x="5165" y="236"/>
                    <a:pt x="5193" y="204"/>
                    <a:pt x="5193" y="147"/>
                  </a:cubicBezTo>
                  <a:cubicBezTo>
                    <a:pt x="5193" y="82"/>
                    <a:pt x="5154" y="4"/>
                    <a:pt x="5037" y="4"/>
                  </a:cubicBezTo>
                  <a:cubicBezTo>
                    <a:pt x="5013" y="4"/>
                    <a:pt x="4984" y="7"/>
                    <a:pt x="4974" y="11"/>
                  </a:cubicBezTo>
                  <a:cubicBezTo>
                    <a:pt x="4969" y="12"/>
                    <a:pt x="4968" y="13"/>
                    <a:pt x="4968" y="22"/>
                  </a:cubicBezTo>
                  <a:lnTo>
                    <a:pt x="4968" y="275"/>
                  </a:lnTo>
                  <a:close/>
                  <a:moveTo>
                    <a:pt x="4816" y="14"/>
                  </a:moveTo>
                  <a:cubicBezTo>
                    <a:pt x="4816" y="8"/>
                    <a:pt x="4815" y="7"/>
                    <a:pt x="4809" y="7"/>
                  </a:cubicBezTo>
                  <a:lnTo>
                    <a:pt x="4784" y="7"/>
                  </a:lnTo>
                  <a:cubicBezTo>
                    <a:pt x="4779" y="7"/>
                    <a:pt x="4777" y="7"/>
                    <a:pt x="4777" y="14"/>
                  </a:cubicBezTo>
                  <a:lnTo>
                    <a:pt x="4777" y="279"/>
                  </a:lnTo>
                  <a:cubicBezTo>
                    <a:pt x="4777" y="283"/>
                    <a:pt x="4778" y="286"/>
                    <a:pt x="4784" y="286"/>
                  </a:cubicBezTo>
                  <a:lnTo>
                    <a:pt x="4921" y="286"/>
                  </a:lnTo>
                  <a:cubicBezTo>
                    <a:pt x="4924" y="286"/>
                    <a:pt x="4927" y="286"/>
                    <a:pt x="4928" y="282"/>
                  </a:cubicBezTo>
                  <a:lnTo>
                    <a:pt x="4928" y="267"/>
                  </a:lnTo>
                  <a:cubicBezTo>
                    <a:pt x="4928" y="262"/>
                    <a:pt x="4927" y="260"/>
                    <a:pt x="4921" y="260"/>
                  </a:cubicBezTo>
                  <a:lnTo>
                    <a:pt x="4816" y="260"/>
                  </a:lnTo>
                  <a:lnTo>
                    <a:pt x="4816" y="14"/>
                  </a:lnTo>
                  <a:close/>
                  <a:moveTo>
                    <a:pt x="4687" y="139"/>
                  </a:moveTo>
                  <a:cubicBezTo>
                    <a:pt x="4687" y="161"/>
                    <a:pt x="4686" y="198"/>
                    <a:pt x="4667" y="227"/>
                  </a:cubicBezTo>
                  <a:cubicBezTo>
                    <a:pt x="4650" y="254"/>
                    <a:pt x="4624" y="265"/>
                    <a:pt x="4601" y="265"/>
                  </a:cubicBezTo>
                  <a:cubicBezTo>
                    <a:pt x="4565" y="265"/>
                    <a:pt x="4530" y="238"/>
                    <a:pt x="4519" y="185"/>
                  </a:cubicBezTo>
                  <a:cubicBezTo>
                    <a:pt x="4516" y="173"/>
                    <a:pt x="4515" y="159"/>
                    <a:pt x="4515" y="144"/>
                  </a:cubicBezTo>
                  <a:cubicBezTo>
                    <a:pt x="4515" y="98"/>
                    <a:pt x="4527" y="55"/>
                    <a:pt x="4564" y="34"/>
                  </a:cubicBezTo>
                  <a:cubicBezTo>
                    <a:pt x="4575" y="28"/>
                    <a:pt x="4588" y="24"/>
                    <a:pt x="4601" y="24"/>
                  </a:cubicBezTo>
                  <a:cubicBezTo>
                    <a:pt x="4630" y="24"/>
                    <a:pt x="4684" y="46"/>
                    <a:pt x="4687" y="139"/>
                  </a:cubicBezTo>
                  <a:close/>
                  <a:moveTo>
                    <a:pt x="4728" y="138"/>
                  </a:moveTo>
                  <a:cubicBezTo>
                    <a:pt x="4725" y="69"/>
                    <a:pt x="4683" y="0"/>
                    <a:pt x="4602" y="0"/>
                  </a:cubicBezTo>
                  <a:cubicBezTo>
                    <a:pt x="4514" y="0"/>
                    <a:pt x="4474" y="76"/>
                    <a:pt x="4474" y="146"/>
                  </a:cubicBezTo>
                  <a:cubicBezTo>
                    <a:pt x="4474" y="232"/>
                    <a:pt x="4529" y="292"/>
                    <a:pt x="4602" y="292"/>
                  </a:cubicBezTo>
                  <a:cubicBezTo>
                    <a:pt x="4678" y="292"/>
                    <a:pt x="4732" y="224"/>
                    <a:pt x="4728" y="138"/>
                  </a:cubicBezTo>
                  <a:close/>
                  <a:moveTo>
                    <a:pt x="4386" y="278"/>
                  </a:moveTo>
                  <a:cubicBezTo>
                    <a:pt x="4386" y="285"/>
                    <a:pt x="4387" y="286"/>
                    <a:pt x="4393" y="286"/>
                  </a:cubicBezTo>
                  <a:lnTo>
                    <a:pt x="4418" y="286"/>
                  </a:lnTo>
                  <a:cubicBezTo>
                    <a:pt x="4423" y="286"/>
                    <a:pt x="4425" y="286"/>
                    <a:pt x="4425" y="279"/>
                  </a:cubicBezTo>
                  <a:lnTo>
                    <a:pt x="4425" y="13"/>
                  </a:lnTo>
                  <a:cubicBezTo>
                    <a:pt x="4425" y="7"/>
                    <a:pt x="4424" y="7"/>
                    <a:pt x="4418" y="7"/>
                  </a:cubicBezTo>
                  <a:lnTo>
                    <a:pt x="4393" y="7"/>
                  </a:lnTo>
                  <a:cubicBezTo>
                    <a:pt x="4386" y="6"/>
                    <a:pt x="4386" y="9"/>
                    <a:pt x="4386" y="15"/>
                  </a:cubicBezTo>
                  <a:lnTo>
                    <a:pt x="4386" y="127"/>
                  </a:lnTo>
                  <a:lnTo>
                    <a:pt x="4268" y="127"/>
                  </a:lnTo>
                  <a:lnTo>
                    <a:pt x="4268" y="13"/>
                  </a:lnTo>
                  <a:cubicBezTo>
                    <a:pt x="4268" y="7"/>
                    <a:pt x="4266" y="6"/>
                    <a:pt x="4261" y="7"/>
                  </a:cubicBezTo>
                  <a:lnTo>
                    <a:pt x="4236" y="7"/>
                  </a:lnTo>
                  <a:cubicBezTo>
                    <a:pt x="4231" y="7"/>
                    <a:pt x="4229" y="8"/>
                    <a:pt x="4229" y="13"/>
                  </a:cubicBezTo>
                  <a:lnTo>
                    <a:pt x="4229" y="278"/>
                  </a:lnTo>
                  <a:cubicBezTo>
                    <a:pt x="4229" y="285"/>
                    <a:pt x="4231" y="286"/>
                    <a:pt x="4236" y="286"/>
                  </a:cubicBezTo>
                  <a:lnTo>
                    <a:pt x="4261" y="286"/>
                  </a:lnTo>
                  <a:cubicBezTo>
                    <a:pt x="4266" y="286"/>
                    <a:pt x="4268" y="285"/>
                    <a:pt x="4268" y="278"/>
                  </a:cubicBezTo>
                  <a:lnTo>
                    <a:pt x="4268" y="152"/>
                  </a:lnTo>
                  <a:lnTo>
                    <a:pt x="4386" y="152"/>
                  </a:lnTo>
                  <a:lnTo>
                    <a:pt x="4386" y="278"/>
                  </a:lnTo>
                  <a:close/>
                  <a:moveTo>
                    <a:pt x="4068" y="152"/>
                  </a:moveTo>
                  <a:cubicBezTo>
                    <a:pt x="4072" y="152"/>
                    <a:pt x="4074" y="152"/>
                    <a:pt x="4075" y="149"/>
                  </a:cubicBezTo>
                  <a:cubicBezTo>
                    <a:pt x="4076" y="147"/>
                    <a:pt x="4076" y="138"/>
                    <a:pt x="4076" y="133"/>
                  </a:cubicBezTo>
                  <a:cubicBezTo>
                    <a:pt x="4076" y="127"/>
                    <a:pt x="4072" y="127"/>
                    <a:pt x="4068" y="127"/>
                  </a:cubicBezTo>
                  <a:lnTo>
                    <a:pt x="3977" y="127"/>
                  </a:lnTo>
                  <a:lnTo>
                    <a:pt x="3977" y="32"/>
                  </a:lnTo>
                  <a:lnTo>
                    <a:pt x="4085" y="32"/>
                  </a:lnTo>
                  <a:cubicBezTo>
                    <a:pt x="4090" y="32"/>
                    <a:pt x="4092" y="31"/>
                    <a:pt x="4092" y="28"/>
                  </a:cubicBezTo>
                  <a:cubicBezTo>
                    <a:pt x="4092" y="26"/>
                    <a:pt x="4092" y="18"/>
                    <a:pt x="4092" y="13"/>
                  </a:cubicBezTo>
                  <a:cubicBezTo>
                    <a:pt x="4092" y="7"/>
                    <a:pt x="4089" y="7"/>
                    <a:pt x="4085" y="7"/>
                  </a:cubicBezTo>
                  <a:lnTo>
                    <a:pt x="3946" y="7"/>
                  </a:lnTo>
                  <a:cubicBezTo>
                    <a:pt x="3939" y="7"/>
                    <a:pt x="3938" y="9"/>
                    <a:pt x="3938" y="16"/>
                  </a:cubicBezTo>
                  <a:lnTo>
                    <a:pt x="3938" y="279"/>
                  </a:lnTo>
                  <a:cubicBezTo>
                    <a:pt x="3938" y="285"/>
                    <a:pt x="3940" y="286"/>
                    <a:pt x="3946" y="286"/>
                  </a:cubicBezTo>
                  <a:lnTo>
                    <a:pt x="4085" y="286"/>
                  </a:lnTo>
                  <a:cubicBezTo>
                    <a:pt x="4090" y="286"/>
                    <a:pt x="4092" y="285"/>
                    <a:pt x="4092" y="279"/>
                  </a:cubicBezTo>
                  <a:lnTo>
                    <a:pt x="4092" y="267"/>
                  </a:lnTo>
                  <a:cubicBezTo>
                    <a:pt x="4092" y="260"/>
                    <a:pt x="4090" y="260"/>
                    <a:pt x="4085" y="260"/>
                  </a:cubicBezTo>
                  <a:lnTo>
                    <a:pt x="3977" y="260"/>
                  </a:lnTo>
                  <a:lnTo>
                    <a:pt x="3977" y="152"/>
                  </a:lnTo>
                  <a:lnTo>
                    <a:pt x="4068" y="152"/>
                  </a:lnTo>
                  <a:close/>
                  <a:moveTo>
                    <a:pt x="3861" y="64"/>
                  </a:moveTo>
                  <a:cubicBezTo>
                    <a:pt x="3867" y="73"/>
                    <a:pt x="3874" y="74"/>
                    <a:pt x="3879" y="74"/>
                  </a:cubicBezTo>
                  <a:cubicBezTo>
                    <a:pt x="3888" y="74"/>
                    <a:pt x="3897" y="67"/>
                    <a:pt x="3897" y="56"/>
                  </a:cubicBezTo>
                  <a:cubicBezTo>
                    <a:pt x="3897" y="35"/>
                    <a:pt x="3864" y="1"/>
                    <a:pt x="3805" y="1"/>
                  </a:cubicBezTo>
                  <a:cubicBezTo>
                    <a:pt x="3713" y="1"/>
                    <a:pt x="3677" y="77"/>
                    <a:pt x="3677" y="144"/>
                  </a:cubicBezTo>
                  <a:cubicBezTo>
                    <a:pt x="3677" y="222"/>
                    <a:pt x="3720" y="292"/>
                    <a:pt x="3807" y="292"/>
                  </a:cubicBezTo>
                  <a:cubicBezTo>
                    <a:pt x="3858" y="292"/>
                    <a:pt x="3893" y="262"/>
                    <a:pt x="3893" y="248"/>
                  </a:cubicBezTo>
                  <a:cubicBezTo>
                    <a:pt x="3893" y="243"/>
                    <a:pt x="3889" y="239"/>
                    <a:pt x="3884" y="239"/>
                  </a:cubicBezTo>
                  <a:cubicBezTo>
                    <a:pt x="3880" y="239"/>
                    <a:pt x="3877" y="241"/>
                    <a:pt x="3870" y="245"/>
                  </a:cubicBezTo>
                  <a:cubicBezTo>
                    <a:pt x="3853" y="257"/>
                    <a:pt x="3835" y="263"/>
                    <a:pt x="3815" y="263"/>
                  </a:cubicBezTo>
                  <a:cubicBezTo>
                    <a:pt x="3758" y="263"/>
                    <a:pt x="3718" y="209"/>
                    <a:pt x="3718" y="136"/>
                  </a:cubicBezTo>
                  <a:cubicBezTo>
                    <a:pt x="3718" y="67"/>
                    <a:pt x="3755" y="25"/>
                    <a:pt x="3801" y="25"/>
                  </a:cubicBezTo>
                  <a:cubicBezTo>
                    <a:pt x="3838" y="25"/>
                    <a:pt x="3854" y="52"/>
                    <a:pt x="3861" y="64"/>
                  </a:cubicBezTo>
                  <a:close/>
                  <a:moveTo>
                    <a:pt x="3447" y="13"/>
                  </a:moveTo>
                  <a:cubicBezTo>
                    <a:pt x="3443" y="7"/>
                    <a:pt x="3443" y="7"/>
                    <a:pt x="3438" y="7"/>
                  </a:cubicBezTo>
                  <a:lnTo>
                    <a:pt x="3414" y="7"/>
                  </a:lnTo>
                  <a:cubicBezTo>
                    <a:pt x="3408" y="7"/>
                    <a:pt x="3407" y="8"/>
                    <a:pt x="3407" y="14"/>
                  </a:cubicBezTo>
                  <a:lnTo>
                    <a:pt x="3407" y="278"/>
                  </a:lnTo>
                  <a:cubicBezTo>
                    <a:pt x="3407" y="284"/>
                    <a:pt x="3408" y="286"/>
                    <a:pt x="3414" y="286"/>
                  </a:cubicBezTo>
                  <a:cubicBezTo>
                    <a:pt x="3420" y="286"/>
                    <a:pt x="3434" y="286"/>
                    <a:pt x="3434" y="285"/>
                  </a:cubicBezTo>
                  <a:cubicBezTo>
                    <a:pt x="3438" y="285"/>
                    <a:pt x="3438" y="283"/>
                    <a:pt x="3438" y="278"/>
                  </a:cubicBezTo>
                  <a:lnTo>
                    <a:pt x="3438" y="61"/>
                  </a:lnTo>
                  <a:lnTo>
                    <a:pt x="3597" y="280"/>
                  </a:lnTo>
                  <a:cubicBezTo>
                    <a:pt x="3601" y="285"/>
                    <a:pt x="3602" y="285"/>
                    <a:pt x="3606" y="286"/>
                  </a:cubicBezTo>
                  <a:lnTo>
                    <a:pt x="3621" y="286"/>
                  </a:lnTo>
                  <a:cubicBezTo>
                    <a:pt x="3626" y="286"/>
                    <a:pt x="3628" y="285"/>
                    <a:pt x="3628" y="279"/>
                  </a:cubicBezTo>
                  <a:lnTo>
                    <a:pt x="3628" y="14"/>
                  </a:lnTo>
                  <a:cubicBezTo>
                    <a:pt x="3628" y="8"/>
                    <a:pt x="3627" y="7"/>
                    <a:pt x="3622" y="7"/>
                  </a:cubicBezTo>
                  <a:lnTo>
                    <a:pt x="3601" y="7"/>
                  </a:lnTo>
                  <a:cubicBezTo>
                    <a:pt x="3598" y="7"/>
                    <a:pt x="3597" y="9"/>
                    <a:pt x="3597" y="14"/>
                  </a:cubicBezTo>
                  <a:lnTo>
                    <a:pt x="3597" y="219"/>
                  </a:lnTo>
                  <a:lnTo>
                    <a:pt x="3447" y="13"/>
                  </a:lnTo>
                  <a:close/>
                  <a:moveTo>
                    <a:pt x="3212" y="153"/>
                  </a:moveTo>
                  <a:lnTo>
                    <a:pt x="3247" y="59"/>
                  </a:lnTo>
                  <a:lnTo>
                    <a:pt x="3281" y="153"/>
                  </a:lnTo>
                  <a:lnTo>
                    <a:pt x="3212" y="153"/>
                  </a:lnTo>
                  <a:close/>
                  <a:moveTo>
                    <a:pt x="3329" y="280"/>
                  </a:moveTo>
                  <a:cubicBezTo>
                    <a:pt x="3331" y="286"/>
                    <a:pt x="3332" y="286"/>
                    <a:pt x="3339" y="286"/>
                  </a:cubicBezTo>
                  <a:lnTo>
                    <a:pt x="3366" y="286"/>
                  </a:lnTo>
                  <a:cubicBezTo>
                    <a:pt x="3369" y="286"/>
                    <a:pt x="3372" y="286"/>
                    <a:pt x="3372" y="282"/>
                  </a:cubicBezTo>
                  <a:cubicBezTo>
                    <a:pt x="3372" y="280"/>
                    <a:pt x="3371" y="278"/>
                    <a:pt x="3370" y="276"/>
                  </a:cubicBezTo>
                  <a:lnTo>
                    <a:pt x="3267" y="12"/>
                  </a:lnTo>
                  <a:cubicBezTo>
                    <a:pt x="3265" y="7"/>
                    <a:pt x="3264" y="7"/>
                    <a:pt x="3261" y="7"/>
                  </a:cubicBezTo>
                  <a:lnTo>
                    <a:pt x="3244" y="7"/>
                  </a:lnTo>
                  <a:cubicBezTo>
                    <a:pt x="3239" y="7"/>
                    <a:pt x="3238" y="7"/>
                    <a:pt x="3236" y="13"/>
                  </a:cubicBezTo>
                  <a:lnTo>
                    <a:pt x="3133" y="276"/>
                  </a:lnTo>
                  <a:cubicBezTo>
                    <a:pt x="3133" y="277"/>
                    <a:pt x="3131" y="282"/>
                    <a:pt x="3131" y="282"/>
                  </a:cubicBezTo>
                  <a:cubicBezTo>
                    <a:pt x="3131" y="286"/>
                    <a:pt x="3135" y="286"/>
                    <a:pt x="3137" y="286"/>
                  </a:cubicBezTo>
                  <a:lnTo>
                    <a:pt x="3156" y="286"/>
                  </a:lnTo>
                  <a:cubicBezTo>
                    <a:pt x="3161" y="286"/>
                    <a:pt x="3163" y="286"/>
                    <a:pt x="3165" y="279"/>
                  </a:cubicBezTo>
                  <a:lnTo>
                    <a:pt x="3204" y="176"/>
                  </a:lnTo>
                  <a:lnTo>
                    <a:pt x="3289" y="176"/>
                  </a:lnTo>
                  <a:lnTo>
                    <a:pt x="3329" y="280"/>
                  </a:lnTo>
                  <a:close/>
                  <a:moveTo>
                    <a:pt x="2972" y="28"/>
                  </a:moveTo>
                  <a:cubicBezTo>
                    <a:pt x="2980" y="27"/>
                    <a:pt x="2986" y="26"/>
                    <a:pt x="2997" y="26"/>
                  </a:cubicBezTo>
                  <a:cubicBezTo>
                    <a:pt x="3014" y="26"/>
                    <a:pt x="3063" y="26"/>
                    <a:pt x="3063" y="83"/>
                  </a:cubicBezTo>
                  <a:cubicBezTo>
                    <a:pt x="3063" y="119"/>
                    <a:pt x="3038" y="138"/>
                    <a:pt x="3004" y="141"/>
                  </a:cubicBezTo>
                  <a:cubicBezTo>
                    <a:pt x="2998" y="142"/>
                    <a:pt x="2995" y="142"/>
                    <a:pt x="2972" y="141"/>
                  </a:cubicBezTo>
                  <a:lnTo>
                    <a:pt x="2972" y="28"/>
                  </a:lnTo>
                  <a:close/>
                  <a:moveTo>
                    <a:pt x="2933" y="279"/>
                  </a:moveTo>
                  <a:cubicBezTo>
                    <a:pt x="2933" y="285"/>
                    <a:pt x="2935" y="286"/>
                    <a:pt x="2941" y="286"/>
                  </a:cubicBezTo>
                  <a:lnTo>
                    <a:pt x="2964" y="286"/>
                  </a:lnTo>
                  <a:cubicBezTo>
                    <a:pt x="2970" y="286"/>
                    <a:pt x="2972" y="284"/>
                    <a:pt x="2972" y="277"/>
                  </a:cubicBezTo>
                  <a:lnTo>
                    <a:pt x="2972" y="173"/>
                  </a:lnTo>
                  <a:cubicBezTo>
                    <a:pt x="2972" y="169"/>
                    <a:pt x="2971" y="159"/>
                    <a:pt x="2982" y="159"/>
                  </a:cubicBezTo>
                  <a:cubicBezTo>
                    <a:pt x="2993" y="159"/>
                    <a:pt x="3000" y="168"/>
                    <a:pt x="3003" y="174"/>
                  </a:cubicBezTo>
                  <a:lnTo>
                    <a:pt x="3070" y="279"/>
                  </a:lnTo>
                  <a:cubicBezTo>
                    <a:pt x="3074" y="286"/>
                    <a:pt x="3074" y="286"/>
                    <a:pt x="3081" y="286"/>
                  </a:cubicBezTo>
                  <a:lnTo>
                    <a:pt x="3110" y="286"/>
                  </a:lnTo>
                  <a:cubicBezTo>
                    <a:pt x="3112" y="286"/>
                    <a:pt x="3116" y="286"/>
                    <a:pt x="3116" y="282"/>
                  </a:cubicBezTo>
                  <a:cubicBezTo>
                    <a:pt x="3116" y="279"/>
                    <a:pt x="3115" y="277"/>
                    <a:pt x="3114" y="275"/>
                  </a:cubicBezTo>
                  <a:lnTo>
                    <a:pt x="3033" y="154"/>
                  </a:lnTo>
                  <a:cubicBezTo>
                    <a:pt x="3077" y="143"/>
                    <a:pt x="3102" y="116"/>
                    <a:pt x="3102" y="79"/>
                  </a:cubicBezTo>
                  <a:cubicBezTo>
                    <a:pt x="3102" y="43"/>
                    <a:pt x="3082" y="27"/>
                    <a:pt x="3078" y="24"/>
                  </a:cubicBezTo>
                  <a:cubicBezTo>
                    <a:pt x="3057" y="5"/>
                    <a:pt x="3023" y="4"/>
                    <a:pt x="3002" y="4"/>
                  </a:cubicBezTo>
                  <a:cubicBezTo>
                    <a:pt x="2981" y="4"/>
                    <a:pt x="2949" y="6"/>
                    <a:pt x="2940" y="9"/>
                  </a:cubicBezTo>
                  <a:cubicBezTo>
                    <a:pt x="2935" y="11"/>
                    <a:pt x="2933" y="13"/>
                    <a:pt x="2933" y="22"/>
                  </a:cubicBezTo>
                  <a:lnTo>
                    <a:pt x="2933" y="279"/>
                  </a:lnTo>
                  <a:close/>
                  <a:moveTo>
                    <a:pt x="2868" y="14"/>
                  </a:moveTo>
                  <a:cubicBezTo>
                    <a:pt x="2868" y="9"/>
                    <a:pt x="2866" y="7"/>
                    <a:pt x="2863" y="7"/>
                  </a:cubicBezTo>
                  <a:cubicBezTo>
                    <a:pt x="2862" y="7"/>
                    <a:pt x="2850" y="7"/>
                    <a:pt x="2843" y="7"/>
                  </a:cubicBezTo>
                  <a:cubicBezTo>
                    <a:pt x="2838" y="7"/>
                    <a:pt x="2837" y="9"/>
                    <a:pt x="2837" y="14"/>
                  </a:cubicBezTo>
                  <a:lnTo>
                    <a:pt x="2837" y="199"/>
                  </a:lnTo>
                  <a:cubicBezTo>
                    <a:pt x="2837" y="214"/>
                    <a:pt x="2837" y="226"/>
                    <a:pt x="2828" y="239"/>
                  </a:cubicBezTo>
                  <a:cubicBezTo>
                    <a:pt x="2817" y="255"/>
                    <a:pt x="2798" y="262"/>
                    <a:pt x="2778" y="262"/>
                  </a:cubicBezTo>
                  <a:cubicBezTo>
                    <a:pt x="2721" y="262"/>
                    <a:pt x="2720" y="210"/>
                    <a:pt x="2720" y="191"/>
                  </a:cubicBezTo>
                  <a:lnTo>
                    <a:pt x="2720" y="14"/>
                  </a:lnTo>
                  <a:cubicBezTo>
                    <a:pt x="2720" y="7"/>
                    <a:pt x="2719" y="7"/>
                    <a:pt x="2713" y="7"/>
                  </a:cubicBezTo>
                  <a:lnTo>
                    <a:pt x="2688" y="7"/>
                  </a:lnTo>
                  <a:cubicBezTo>
                    <a:pt x="2682" y="7"/>
                    <a:pt x="2680" y="7"/>
                    <a:pt x="2680" y="14"/>
                  </a:cubicBezTo>
                  <a:lnTo>
                    <a:pt x="2680" y="197"/>
                  </a:lnTo>
                  <a:cubicBezTo>
                    <a:pt x="2680" y="213"/>
                    <a:pt x="2681" y="233"/>
                    <a:pt x="2691" y="251"/>
                  </a:cubicBezTo>
                  <a:cubicBezTo>
                    <a:pt x="2697" y="262"/>
                    <a:pt x="2717" y="292"/>
                    <a:pt x="2775" y="292"/>
                  </a:cubicBezTo>
                  <a:cubicBezTo>
                    <a:pt x="2811" y="292"/>
                    <a:pt x="2840" y="281"/>
                    <a:pt x="2856" y="253"/>
                  </a:cubicBezTo>
                  <a:cubicBezTo>
                    <a:pt x="2867" y="236"/>
                    <a:pt x="2867" y="219"/>
                    <a:pt x="2868" y="203"/>
                  </a:cubicBezTo>
                  <a:lnTo>
                    <a:pt x="2868" y="14"/>
                  </a:lnTo>
                  <a:close/>
                  <a:moveTo>
                    <a:pt x="2552" y="122"/>
                  </a:moveTo>
                  <a:cubicBezTo>
                    <a:pt x="2522" y="109"/>
                    <a:pt x="2497" y="98"/>
                    <a:pt x="2497" y="67"/>
                  </a:cubicBezTo>
                  <a:cubicBezTo>
                    <a:pt x="2497" y="44"/>
                    <a:pt x="2515" y="24"/>
                    <a:pt x="2541" y="24"/>
                  </a:cubicBezTo>
                  <a:cubicBezTo>
                    <a:pt x="2567" y="24"/>
                    <a:pt x="2578" y="41"/>
                    <a:pt x="2586" y="53"/>
                  </a:cubicBezTo>
                  <a:cubicBezTo>
                    <a:pt x="2590" y="60"/>
                    <a:pt x="2595" y="67"/>
                    <a:pt x="2605" y="67"/>
                  </a:cubicBezTo>
                  <a:cubicBezTo>
                    <a:pt x="2615" y="67"/>
                    <a:pt x="2622" y="59"/>
                    <a:pt x="2622" y="49"/>
                  </a:cubicBezTo>
                  <a:cubicBezTo>
                    <a:pt x="2622" y="29"/>
                    <a:pt x="2591" y="1"/>
                    <a:pt x="2543" y="1"/>
                  </a:cubicBezTo>
                  <a:cubicBezTo>
                    <a:pt x="2493" y="1"/>
                    <a:pt x="2461" y="33"/>
                    <a:pt x="2461" y="75"/>
                  </a:cubicBezTo>
                  <a:cubicBezTo>
                    <a:pt x="2461" y="122"/>
                    <a:pt x="2501" y="141"/>
                    <a:pt x="2517" y="149"/>
                  </a:cubicBezTo>
                  <a:lnTo>
                    <a:pt x="2538" y="159"/>
                  </a:lnTo>
                  <a:cubicBezTo>
                    <a:pt x="2569" y="173"/>
                    <a:pt x="2597" y="187"/>
                    <a:pt x="2597" y="221"/>
                  </a:cubicBezTo>
                  <a:cubicBezTo>
                    <a:pt x="2597" y="246"/>
                    <a:pt x="2578" y="267"/>
                    <a:pt x="2548" y="267"/>
                  </a:cubicBezTo>
                  <a:cubicBezTo>
                    <a:pt x="2515" y="267"/>
                    <a:pt x="2503" y="242"/>
                    <a:pt x="2497" y="230"/>
                  </a:cubicBezTo>
                  <a:cubicBezTo>
                    <a:pt x="2492" y="221"/>
                    <a:pt x="2487" y="213"/>
                    <a:pt x="2476" y="213"/>
                  </a:cubicBezTo>
                  <a:cubicBezTo>
                    <a:pt x="2467" y="213"/>
                    <a:pt x="2457" y="219"/>
                    <a:pt x="2457" y="232"/>
                  </a:cubicBezTo>
                  <a:cubicBezTo>
                    <a:pt x="2457" y="249"/>
                    <a:pt x="2481" y="292"/>
                    <a:pt x="2546" y="292"/>
                  </a:cubicBezTo>
                  <a:cubicBezTo>
                    <a:pt x="2597" y="292"/>
                    <a:pt x="2634" y="259"/>
                    <a:pt x="2634" y="212"/>
                  </a:cubicBezTo>
                  <a:cubicBezTo>
                    <a:pt x="2634" y="162"/>
                    <a:pt x="2593" y="142"/>
                    <a:pt x="2573" y="132"/>
                  </a:cubicBezTo>
                  <a:lnTo>
                    <a:pt x="2552" y="122"/>
                  </a:lnTo>
                  <a:close/>
                  <a:moveTo>
                    <a:pt x="2226" y="13"/>
                  </a:moveTo>
                  <a:cubicBezTo>
                    <a:pt x="2222" y="7"/>
                    <a:pt x="2222" y="7"/>
                    <a:pt x="2216" y="7"/>
                  </a:cubicBezTo>
                  <a:lnTo>
                    <a:pt x="2193" y="7"/>
                  </a:lnTo>
                  <a:cubicBezTo>
                    <a:pt x="2187" y="7"/>
                    <a:pt x="2186" y="8"/>
                    <a:pt x="2186" y="14"/>
                  </a:cubicBezTo>
                  <a:lnTo>
                    <a:pt x="2186" y="278"/>
                  </a:lnTo>
                  <a:cubicBezTo>
                    <a:pt x="2186" y="284"/>
                    <a:pt x="2187" y="286"/>
                    <a:pt x="2193" y="286"/>
                  </a:cubicBezTo>
                  <a:cubicBezTo>
                    <a:pt x="2199" y="286"/>
                    <a:pt x="2212" y="286"/>
                    <a:pt x="2213" y="285"/>
                  </a:cubicBezTo>
                  <a:cubicBezTo>
                    <a:pt x="2216" y="285"/>
                    <a:pt x="2217" y="283"/>
                    <a:pt x="2217" y="278"/>
                  </a:cubicBezTo>
                  <a:lnTo>
                    <a:pt x="2217" y="61"/>
                  </a:lnTo>
                  <a:lnTo>
                    <a:pt x="2376" y="280"/>
                  </a:lnTo>
                  <a:cubicBezTo>
                    <a:pt x="2379" y="285"/>
                    <a:pt x="2381" y="285"/>
                    <a:pt x="2385" y="286"/>
                  </a:cubicBezTo>
                  <a:lnTo>
                    <a:pt x="2400" y="286"/>
                  </a:lnTo>
                  <a:cubicBezTo>
                    <a:pt x="2405" y="286"/>
                    <a:pt x="2407" y="285"/>
                    <a:pt x="2407" y="279"/>
                  </a:cubicBezTo>
                  <a:lnTo>
                    <a:pt x="2407" y="14"/>
                  </a:lnTo>
                  <a:cubicBezTo>
                    <a:pt x="2407" y="8"/>
                    <a:pt x="2406" y="7"/>
                    <a:pt x="2401" y="7"/>
                  </a:cubicBezTo>
                  <a:lnTo>
                    <a:pt x="2380" y="7"/>
                  </a:lnTo>
                  <a:cubicBezTo>
                    <a:pt x="2377" y="7"/>
                    <a:pt x="2376" y="9"/>
                    <a:pt x="2376" y="14"/>
                  </a:cubicBezTo>
                  <a:lnTo>
                    <a:pt x="2376" y="219"/>
                  </a:lnTo>
                  <a:lnTo>
                    <a:pt x="2226" y="13"/>
                  </a:lnTo>
                  <a:close/>
                  <a:moveTo>
                    <a:pt x="2116" y="14"/>
                  </a:moveTo>
                  <a:cubicBezTo>
                    <a:pt x="2116" y="7"/>
                    <a:pt x="2114" y="7"/>
                    <a:pt x="2108" y="7"/>
                  </a:cubicBezTo>
                  <a:lnTo>
                    <a:pt x="2084" y="7"/>
                  </a:lnTo>
                  <a:cubicBezTo>
                    <a:pt x="2079" y="6"/>
                    <a:pt x="2077" y="8"/>
                    <a:pt x="2077" y="15"/>
                  </a:cubicBezTo>
                  <a:lnTo>
                    <a:pt x="2077" y="278"/>
                  </a:lnTo>
                  <a:cubicBezTo>
                    <a:pt x="2077" y="285"/>
                    <a:pt x="2080" y="286"/>
                    <a:pt x="2084" y="286"/>
                  </a:cubicBezTo>
                  <a:lnTo>
                    <a:pt x="2108" y="286"/>
                  </a:lnTo>
                  <a:cubicBezTo>
                    <a:pt x="2114" y="286"/>
                    <a:pt x="2116" y="285"/>
                    <a:pt x="2116" y="278"/>
                  </a:cubicBezTo>
                  <a:lnTo>
                    <a:pt x="2116" y="14"/>
                  </a:lnTo>
                  <a:close/>
                  <a:moveTo>
                    <a:pt x="1792" y="153"/>
                  </a:moveTo>
                  <a:lnTo>
                    <a:pt x="1826" y="59"/>
                  </a:lnTo>
                  <a:lnTo>
                    <a:pt x="1860" y="153"/>
                  </a:lnTo>
                  <a:lnTo>
                    <a:pt x="1792" y="153"/>
                  </a:lnTo>
                  <a:close/>
                  <a:moveTo>
                    <a:pt x="1908" y="280"/>
                  </a:moveTo>
                  <a:cubicBezTo>
                    <a:pt x="1911" y="286"/>
                    <a:pt x="1911" y="286"/>
                    <a:pt x="1918" y="286"/>
                  </a:cubicBezTo>
                  <a:lnTo>
                    <a:pt x="1946" y="286"/>
                  </a:lnTo>
                  <a:cubicBezTo>
                    <a:pt x="1949" y="286"/>
                    <a:pt x="1951" y="286"/>
                    <a:pt x="1951" y="282"/>
                  </a:cubicBezTo>
                  <a:cubicBezTo>
                    <a:pt x="1951" y="280"/>
                    <a:pt x="1951" y="278"/>
                    <a:pt x="1950" y="276"/>
                  </a:cubicBezTo>
                  <a:lnTo>
                    <a:pt x="1846" y="12"/>
                  </a:lnTo>
                  <a:cubicBezTo>
                    <a:pt x="1844" y="7"/>
                    <a:pt x="1843" y="7"/>
                    <a:pt x="1841" y="7"/>
                  </a:cubicBezTo>
                  <a:lnTo>
                    <a:pt x="1823" y="7"/>
                  </a:lnTo>
                  <a:cubicBezTo>
                    <a:pt x="1819" y="7"/>
                    <a:pt x="1818" y="7"/>
                    <a:pt x="1816" y="13"/>
                  </a:cubicBezTo>
                  <a:lnTo>
                    <a:pt x="1713" y="276"/>
                  </a:lnTo>
                  <a:cubicBezTo>
                    <a:pt x="1713" y="277"/>
                    <a:pt x="1711" y="282"/>
                    <a:pt x="1711" y="282"/>
                  </a:cubicBezTo>
                  <a:cubicBezTo>
                    <a:pt x="1711" y="286"/>
                    <a:pt x="1714" y="286"/>
                    <a:pt x="1717" y="286"/>
                  </a:cubicBezTo>
                  <a:lnTo>
                    <a:pt x="1736" y="286"/>
                  </a:lnTo>
                  <a:cubicBezTo>
                    <a:pt x="1741" y="286"/>
                    <a:pt x="1742" y="286"/>
                    <a:pt x="1745" y="279"/>
                  </a:cubicBezTo>
                  <a:lnTo>
                    <a:pt x="1783" y="176"/>
                  </a:lnTo>
                  <a:lnTo>
                    <a:pt x="1869" y="176"/>
                  </a:lnTo>
                  <a:lnTo>
                    <a:pt x="1908" y="280"/>
                  </a:lnTo>
                  <a:close/>
                  <a:moveTo>
                    <a:pt x="1495" y="13"/>
                  </a:moveTo>
                  <a:cubicBezTo>
                    <a:pt x="1491" y="7"/>
                    <a:pt x="1491" y="7"/>
                    <a:pt x="1485" y="7"/>
                  </a:cubicBezTo>
                  <a:lnTo>
                    <a:pt x="1462" y="7"/>
                  </a:lnTo>
                  <a:cubicBezTo>
                    <a:pt x="1456" y="7"/>
                    <a:pt x="1455" y="8"/>
                    <a:pt x="1455" y="14"/>
                  </a:cubicBezTo>
                  <a:lnTo>
                    <a:pt x="1455" y="278"/>
                  </a:lnTo>
                  <a:cubicBezTo>
                    <a:pt x="1455" y="284"/>
                    <a:pt x="1456" y="286"/>
                    <a:pt x="1462" y="286"/>
                  </a:cubicBezTo>
                  <a:cubicBezTo>
                    <a:pt x="1468" y="286"/>
                    <a:pt x="1481" y="286"/>
                    <a:pt x="1482" y="285"/>
                  </a:cubicBezTo>
                  <a:cubicBezTo>
                    <a:pt x="1485" y="285"/>
                    <a:pt x="1486" y="283"/>
                    <a:pt x="1486" y="278"/>
                  </a:cubicBezTo>
                  <a:lnTo>
                    <a:pt x="1486" y="61"/>
                  </a:lnTo>
                  <a:lnTo>
                    <a:pt x="1645" y="280"/>
                  </a:lnTo>
                  <a:cubicBezTo>
                    <a:pt x="1649" y="285"/>
                    <a:pt x="1650" y="285"/>
                    <a:pt x="1654" y="286"/>
                  </a:cubicBezTo>
                  <a:lnTo>
                    <a:pt x="1669" y="286"/>
                  </a:lnTo>
                  <a:cubicBezTo>
                    <a:pt x="1674" y="286"/>
                    <a:pt x="1676" y="285"/>
                    <a:pt x="1676" y="279"/>
                  </a:cubicBezTo>
                  <a:lnTo>
                    <a:pt x="1676" y="14"/>
                  </a:lnTo>
                  <a:cubicBezTo>
                    <a:pt x="1676" y="8"/>
                    <a:pt x="1675" y="7"/>
                    <a:pt x="1670" y="7"/>
                  </a:cubicBezTo>
                  <a:lnTo>
                    <a:pt x="1649" y="7"/>
                  </a:lnTo>
                  <a:cubicBezTo>
                    <a:pt x="1646" y="7"/>
                    <a:pt x="1645" y="9"/>
                    <a:pt x="1645" y="14"/>
                  </a:cubicBezTo>
                  <a:lnTo>
                    <a:pt x="1645" y="219"/>
                  </a:lnTo>
                  <a:lnTo>
                    <a:pt x="1495" y="13"/>
                  </a:lnTo>
                  <a:close/>
                  <a:moveTo>
                    <a:pt x="1260" y="153"/>
                  </a:moveTo>
                  <a:lnTo>
                    <a:pt x="1295" y="59"/>
                  </a:lnTo>
                  <a:lnTo>
                    <a:pt x="1329" y="153"/>
                  </a:lnTo>
                  <a:lnTo>
                    <a:pt x="1260" y="153"/>
                  </a:lnTo>
                  <a:close/>
                  <a:moveTo>
                    <a:pt x="1377" y="280"/>
                  </a:moveTo>
                  <a:cubicBezTo>
                    <a:pt x="1379" y="286"/>
                    <a:pt x="1380" y="286"/>
                    <a:pt x="1387" y="286"/>
                  </a:cubicBezTo>
                  <a:lnTo>
                    <a:pt x="1414" y="286"/>
                  </a:lnTo>
                  <a:cubicBezTo>
                    <a:pt x="1417" y="286"/>
                    <a:pt x="1420" y="286"/>
                    <a:pt x="1420" y="282"/>
                  </a:cubicBezTo>
                  <a:cubicBezTo>
                    <a:pt x="1420" y="280"/>
                    <a:pt x="1419" y="278"/>
                    <a:pt x="1418" y="276"/>
                  </a:cubicBezTo>
                  <a:lnTo>
                    <a:pt x="1314" y="12"/>
                  </a:lnTo>
                  <a:cubicBezTo>
                    <a:pt x="1312" y="7"/>
                    <a:pt x="1312" y="7"/>
                    <a:pt x="1309" y="7"/>
                  </a:cubicBezTo>
                  <a:lnTo>
                    <a:pt x="1292" y="7"/>
                  </a:lnTo>
                  <a:cubicBezTo>
                    <a:pt x="1287" y="7"/>
                    <a:pt x="1286" y="7"/>
                    <a:pt x="1284" y="13"/>
                  </a:cubicBezTo>
                  <a:lnTo>
                    <a:pt x="1181" y="276"/>
                  </a:lnTo>
                  <a:cubicBezTo>
                    <a:pt x="1181" y="277"/>
                    <a:pt x="1179" y="282"/>
                    <a:pt x="1179" y="282"/>
                  </a:cubicBezTo>
                  <a:cubicBezTo>
                    <a:pt x="1179" y="286"/>
                    <a:pt x="1183" y="286"/>
                    <a:pt x="1185" y="286"/>
                  </a:cubicBezTo>
                  <a:lnTo>
                    <a:pt x="1204" y="286"/>
                  </a:lnTo>
                  <a:cubicBezTo>
                    <a:pt x="1209" y="286"/>
                    <a:pt x="1210" y="286"/>
                    <a:pt x="1213" y="279"/>
                  </a:cubicBezTo>
                  <a:lnTo>
                    <a:pt x="1252" y="176"/>
                  </a:lnTo>
                  <a:lnTo>
                    <a:pt x="1337" y="176"/>
                  </a:lnTo>
                  <a:lnTo>
                    <a:pt x="1377" y="280"/>
                  </a:lnTo>
                  <a:close/>
                  <a:moveTo>
                    <a:pt x="1101" y="280"/>
                  </a:moveTo>
                  <a:cubicBezTo>
                    <a:pt x="1102" y="284"/>
                    <a:pt x="1104" y="285"/>
                    <a:pt x="1106" y="286"/>
                  </a:cubicBezTo>
                  <a:lnTo>
                    <a:pt x="1118" y="286"/>
                  </a:lnTo>
                  <a:cubicBezTo>
                    <a:pt x="1122" y="286"/>
                    <a:pt x="1123" y="285"/>
                    <a:pt x="1125" y="279"/>
                  </a:cubicBezTo>
                  <a:lnTo>
                    <a:pt x="1202" y="19"/>
                  </a:lnTo>
                  <a:cubicBezTo>
                    <a:pt x="1204" y="13"/>
                    <a:pt x="1204" y="13"/>
                    <a:pt x="1204" y="11"/>
                  </a:cubicBezTo>
                  <a:cubicBezTo>
                    <a:pt x="1204" y="7"/>
                    <a:pt x="1201" y="7"/>
                    <a:pt x="1199" y="7"/>
                  </a:cubicBezTo>
                  <a:lnTo>
                    <a:pt x="1178" y="7"/>
                  </a:lnTo>
                  <a:cubicBezTo>
                    <a:pt x="1173" y="7"/>
                    <a:pt x="1172" y="8"/>
                    <a:pt x="1170" y="14"/>
                  </a:cubicBezTo>
                  <a:lnTo>
                    <a:pt x="1114" y="216"/>
                  </a:lnTo>
                  <a:lnTo>
                    <a:pt x="1045" y="14"/>
                  </a:lnTo>
                  <a:cubicBezTo>
                    <a:pt x="1043" y="8"/>
                    <a:pt x="1043" y="7"/>
                    <a:pt x="1041" y="7"/>
                  </a:cubicBezTo>
                  <a:lnTo>
                    <a:pt x="1031" y="7"/>
                  </a:lnTo>
                  <a:cubicBezTo>
                    <a:pt x="1028" y="7"/>
                    <a:pt x="1028" y="7"/>
                    <a:pt x="1025" y="16"/>
                  </a:cubicBezTo>
                  <a:lnTo>
                    <a:pt x="959" y="216"/>
                  </a:lnTo>
                  <a:lnTo>
                    <a:pt x="904" y="15"/>
                  </a:lnTo>
                  <a:cubicBezTo>
                    <a:pt x="903" y="7"/>
                    <a:pt x="901" y="6"/>
                    <a:pt x="895" y="7"/>
                  </a:cubicBezTo>
                  <a:lnTo>
                    <a:pt x="870" y="7"/>
                  </a:lnTo>
                  <a:cubicBezTo>
                    <a:pt x="866" y="7"/>
                    <a:pt x="863" y="8"/>
                    <a:pt x="863" y="12"/>
                  </a:cubicBezTo>
                  <a:cubicBezTo>
                    <a:pt x="863" y="13"/>
                    <a:pt x="863" y="13"/>
                    <a:pt x="865" y="19"/>
                  </a:cubicBezTo>
                  <a:lnTo>
                    <a:pt x="942" y="279"/>
                  </a:lnTo>
                  <a:cubicBezTo>
                    <a:pt x="945" y="286"/>
                    <a:pt x="946" y="286"/>
                    <a:pt x="959" y="286"/>
                  </a:cubicBezTo>
                  <a:cubicBezTo>
                    <a:pt x="965" y="286"/>
                    <a:pt x="965" y="285"/>
                    <a:pt x="967" y="279"/>
                  </a:cubicBezTo>
                  <a:lnTo>
                    <a:pt x="1031" y="84"/>
                  </a:lnTo>
                  <a:lnTo>
                    <a:pt x="1101" y="280"/>
                  </a:lnTo>
                  <a:close/>
                  <a:moveTo>
                    <a:pt x="774" y="122"/>
                  </a:moveTo>
                  <a:cubicBezTo>
                    <a:pt x="744" y="109"/>
                    <a:pt x="719" y="98"/>
                    <a:pt x="719" y="67"/>
                  </a:cubicBezTo>
                  <a:cubicBezTo>
                    <a:pt x="719" y="44"/>
                    <a:pt x="737" y="24"/>
                    <a:pt x="763" y="24"/>
                  </a:cubicBezTo>
                  <a:cubicBezTo>
                    <a:pt x="789" y="24"/>
                    <a:pt x="800" y="41"/>
                    <a:pt x="808" y="53"/>
                  </a:cubicBezTo>
                  <a:cubicBezTo>
                    <a:pt x="812" y="60"/>
                    <a:pt x="817" y="67"/>
                    <a:pt x="827" y="67"/>
                  </a:cubicBezTo>
                  <a:cubicBezTo>
                    <a:pt x="837" y="67"/>
                    <a:pt x="844" y="59"/>
                    <a:pt x="844" y="49"/>
                  </a:cubicBezTo>
                  <a:cubicBezTo>
                    <a:pt x="844" y="29"/>
                    <a:pt x="813" y="1"/>
                    <a:pt x="765" y="1"/>
                  </a:cubicBezTo>
                  <a:cubicBezTo>
                    <a:pt x="714" y="1"/>
                    <a:pt x="683" y="33"/>
                    <a:pt x="683" y="75"/>
                  </a:cubicBezTo>
                  <a:cubicBezTo>
                    <a:pt x="683" y="122"/>
                    <a:pt x="723" y="141"/>
                    <a:pt x="739" y="149"/>
                  </a:cubicBezTo>
                  <a:lnTo>
                    <a:pt x="760" y="159"/>
                  </a:lnTo>
                  <a:cubicBezTo>
                    <a:pt x="791" y="173"/>
                    <a:pt x="819" y="187"/>
                    <a:pt x="819" y="221"/>
                  </a:cubicBezTo>
                  <a:cubicBezTo>
                    <a:pt x="819" y="246"/>
                    <a:pt x="800" y="267"/>
                    <a:pt x="770" y="267"/>
                  </a:cubicBezTo>
                  <a:cubicBezTo>
                    <a:pt x="737" y="267"/>
                    <a:pt x="724" y="242"/>
                    <a:pt x="718" y="230"/>
                  </a:cubicBezTo>
                  <a:cubicBezTo>
                    <a:pt x="714" y="221"/>
                    <a:pt x="709" y="213"/>
                    <a:pt x="698" y="213"/>
                  </a:cubicBezTo>
                  <a:cubicBezTo>
                    <a:pt x="689" y="213"/>
                    <a:pt x="679" y="219"/>
                    <a:pt x="679" y="232"/>
                  </a:cubicBezTo>
                  <a:cubicBezTo>
                    <a:pt x="679" y="249"/>
                    <a:pt x="703" y="292"/>
                    <a:pt x="768" y="292"/>
                  </a:cubicBezTo>
                  <a:cubicBezTo>
                    <a:pt x="819" y="292"/>
                    <a:pt x="856" y="259"/>
                    <a:pt x="856" y="212"/>
                  </a:cubicBezTo>
                  <a:cubicBezTo>
                    <a:pt x="856" y="162"/>
                    <a:pt x="815" y="142"/>
                    <a:pt x="795" y="132"/>
                  </a:cubicBezTo>
                  <a:lnTo>
                    <a:pt x="774" y="122"/>
                  </a:lnTo>
                  <a:close/>
                  <a:moveTo>
                    <a:pt x="661" y="32"/>
                  </a:moveTo>
                  <a:cubicBezTo>
                    <a:pt x="667" y="32"/>
                    <a:pt x="669" y="30"/>
                    <a:pt x="669" y="25"/>
                  </a:cubicBezTo>
                  <a:cubicBezTo>
                    <a:pt x="669" y="8"/>
                    <a:pt x="669" y="7"/>
                    <a:pt x="661" y="7"/>
                  </a:cubicBezTo>
                  <a:lnTo>
                    <a:pt x="482" y="7"/>
                  </a:lnTo>
                  <a:cubicBezTo>
                    <a:pt x="475" y="7"/>
                    <a:pt x="475" y="9"/>
                    <a:pt x="475" y="24"/>
                  </a:cubicBezTo>
                  <a:cubicBezTo>
                    <a:pt x="475" y="30"/>
                    <a:pt x="476" y="32"/>
                    <a:pt x="482" y="32"/>
                  </a:cubicBezTo>
                  <a:lnTo>
                    <a:pt x="552" y="32"/>
                  </a:lnTo>
                  <a:lnTo>
                    <a:pt x="552" y="278"/>
                  </a:lnTo>
                  <a:cubicBezTo>
                    <a:pt x="553" y="285"/>
                    <a:pt x="555" y="286"/>
                    <a:pt x="561" y="286"/>
                  </a:cubicBezTo>
                  <a:lnTo>
                    <a:pt x="584" y="286"/>
                  </a:lnTo>
                  <a:cubicBezTo>
                    <a:pt x="590" y="286"/>
                    <a:pt x="591" y="284"/>
                    <a:pt x="591" y="278"/>
                  </a:cubicBezTo>
                  <a:lnTo>
                    <a:pt x="591" y="32"/>
                  </a:lnTo>
                  <a:lnTo>
                    <a:pt x="661" y="32"/>
                  </a:lnTo>
                  <a:close/>
                  <a:moveTo>
                    <a:pt x="433" y="139"/>
                  </a:moveTo>
                  <a:cubicBezTo>
                    <a:pt x="433" y="161"/>
                    <a:pt x="433" y="198"/>
                    <a:pt x="413" y="227"/>
                  </a:cubicBezTo>
                  <a:cubicBezTo>
                    <a:pt x="396" y="254"/>
                    <a:pt x="370" y="265"/>
                    <a:pt x="348" y="265"/>
                  </a:cubicBezTo>
                  <a:cubicBezTo>
                    <a:pt x="312" y="265"/>
                    <a:pt x="276" y="238"/>
                    <a:pt x="265" y="185"/>
                  </a:cubicBezTo>
                  <a:cubicBezTo>
                    <a:pt x="263" y="173"/>
                    <a:pt x="261" y="159"/>
                    <a:pt x="261" y="144"/>
                  </a:cubicBezTo>
                  <a:cubicBezTo>
                    <a:pt x="261" y="98"/>
                    <a:pt x="273" y="55"/>
                    <a:pt x="310" y="34"/>
                  </a:cubicBezTo>
                  <a:cubicBezTo>
                    <a:pt x="321" y="28"/>
                    <a:pt x="334" y="24"/>
                    <a:pt x="347" y="24"/>
                  </a:cubicBezTo>
                  <a:cubicBezTo>
                    <a:pt x="377" y="24"/>
                    <a:pt x="431" y="46"/>
                    <a:pt x="433" y="139"/>
                  </a:cubicBezTo>
                  <a:close/>
                  <a:moveTo>
                    <a:pt x="474" y="138"/>
                  </a:moveTo>
                  <a:cubicBezTo>
                    <a:pt x="471" y="69"/>
                    <a:pt x="430" y="0"/>
                    <a:pt x="348" y="0"/>
                  </a:cubicBezTo>
                  <a:cubicBezTo>
                    <a:pt x="260" y="0"/>
                    <a:pt x="220" y="76"/>
                    <a:pt x="220" y="146"/>
                  </a:cubicBezTo>
                  <a:cubicBezTo>
                    <a:pt x="220" y="232"/>
                    <a:pt x="275" y="292"/>
                    <a:pt x="348" y="292"/>
                  </a:cubicBezTo>
                  <a:cubicBezTo>
                    <a:pt x="424" y="292"/>
                    <a:pt x="478" y="224"/>
                    <a:pt x="474" y="138"/>
                  </a:cubicBezTo>
                  <a:close/>
                  <a:moveTo>
                    <a:pt x="39" y="150"/>
                  </a:moveTo>
                  <a:cubicBezTo>
                    <a:pt x="48" y="150"/>
                    <a:pt x="54" y="149"/>
                    <a:pt x="65" y="149"/>
                  </a:cubicBezTo>
                  <a:cubicBezTo>
                    <a:pt x="87" y="149"/>
                    <a:pt x="115" y="150"/>
                    <a:pt x="133" y="171"/>
                  </a:cubicBezTo>
                  <a:cubicBezTo>
                    <a:pt x="139" y="177"/>
                    <a:pt x="147" y="190"/>
                    <a:pt x="147" y="211"/>
                  </a:cubicBezTo>
                  <a:cubicBezTo>
                    <a:pt x="147" y="250"/>
                    <a:pt x="115" y="265"/>
                    <a:pt x="72" y="265"/>
                  </a:cubicBezTo>
                  <a:cubicBezTo>
                    <a:pt x="57" y="265"/>
                    <a:pt x="46" y="264"/>
                    <a:pt x="39" y="263"/>
                  </a:cubicBezTo>
                  <a:lnTo>
                    <a:pt x="39" y="150"/>
                  </a:lnTo>
                  <a:close/>
                  <a:moveTo>
                    <a:pt x="39" y="29"/>
                  </a:moveTo>
                  <a:cubicBezTo>
                    <a:pt x="47" y="28"/>
                    <a:pt x="56" y="27"/>
                    <a:pt x="67" y="27"/>
                  </a:cubicBezTo>
                  <a:cubicBezTo>
                    <a:pt x="80" y="27"/>
                    <a:pt x="130" y="27"/>
                    <a:pt x="130" y="78"/>
                  </a:cubicBezTo>
                  <a:cubicBezTo>
                    <a:pt x="130" y="92"/>
                    <a:pt x="124" y="125"/>
                    <a:pt x="72" y="129"/>
                  </a:cubicBezTo>
                  <a:cubicBezTo>
                    <a:pt x="61" y="130"/>
                    <a:pt x="51" y="130"/>
                    <a:pt x="39" y="129"/>
                  </a:cubicBezTo>
                  <a:lnTo>
                    <a:pt x="39" y="29"/>
                  </a:lnTo>
                  <a:close/>
                  <a:moveTo>
                    <a:pt x="0" y="270"/>
                  </a:moveTo>
                  <a:cubicBezTo>
                    <a:pt x="0" y="279"/>
                    <a:pt x="1" y="281"/>
                    <a:pt x="6" y="283"/>
                  </a:cubicBezTo>
                  <a:cubicBezTo>
                    <a:pt x="13" y="285"/>
                    <a:pt x="38" y="288"/>
                    <a:pt x="65" y="288"/>
                  </a:cubicBezTo>
                  <a:cubicBezTo>
                    <a:pt x="95" y="288"/>
                    <a:pt x="189" y="288"/>
                    <a:pt x="189" y="212"/>
                  </a:cubicBezTo>
                  <a:cubicBezTo>
                    <a:pt x="189" y="177"/>
                    <a:pt x="168" y="148"/>
                    <a:pt x="127" y="138"/>
                  </a:cubicBezTo>
                  <a:cubicBezTo>
                    <a:pt x="124" y="138"/>
                    <a:pt x="121" y="137"/>
                    <a:pt x="118" y="136"/>
                  </a:cubicBezTo>
                  <a:cubicBezTo>
                    <a:pt x="121" y="135"/>
                    <a:pt x="124" y="134"/>
                    <a:pt x="127" y="132"/>
                  </a:cubicBezTo>
                  <a:cubicBezTo>
                    <a:pt x="146" y="123"/>
                    <a:pt x="170" y="104"/>
                    <a:pt x="170" y="71"/>
                  </a:cubicBezTo>
                  <a:cubicBezTo>
                    <a:pt x="170" y="51"/>
                    <a:pt x="161" y="32"/>
                    <a:pt x="142" y="20"/>
                  </a:cubicBezTo>
                  <a:cubicBezTo>
                    <a:pt x="120" y="7"/>
                    <a:pt x="90" y="4"/>
                    <a:pt x="67" y="4"/>
                  </a:cubicBezTo>
                  <a:cubicBezTo>
                    <a:pt x="49" y="4"/>
                    <a:pt x="16" y="6"/>
                    <a:pt x="6" y="9"/>
                  </a:cubicBezTo>
                  <a:cubicBezTo>
                    <a:pt x="1" y="11"/>
                    <a:pt x="0" y="13"/>
                    <a:pt x="0" y="20"/>
                  </a:cubicBezTo>
                  <a:lnTo>
                    <a:pt x="0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" name="Freeform 7">
            <a:extLst>
              <a:ext uri="{FF2B5EF4-FFF2-40B4-BE49-F238E27FC236}">
                <a16:creationId xmlns:a16="http://schemas.microsoft.com/office/drawing/2014/main" id="{79D9C9A6-5841-4C0E-8356-E3240153AEF0}"/>
              </a:ext>
            </a:extLst>
          </p:cNvPr>
          <p:cNvSpPr>
            <a:spLocks/>
          </p:cNvSpPr>
          <p:nvPr userDrawn="1"/>
        </p:nvSpPr>
        <p:spPr bwMode="auto">
          <a:xfrm>
            <a:off x="5153227" y="1938543"/>
            <a:ext cx="7055160" cy="4005057"/>
          </a:xfrm>
          <a:custGeom>
            <a:avLst/>
            <a:gdLst>
              <a:gd name="T0" fmla="*/ 23949 w 23949"/>
              <a:gd name="T1" fmla="*/ 11464 h 11980"/>
              <a:gd name="T2" fmla="*/ 22494 w 23949"/>
              <a:gd name="T3" fmla="*/ 10819 h 11980"/>
              <a:gd name="T4" fmla="*/ 15834 w 23949"/>
              <a:gd name="T5" fmla="*/ 2827 h 11980"/>
              <a:gd name="T6" fmla="*/ 7611 w 23949"/>
              <a:gd name="T7" fmla="*/ 1097 h 11980"/>
              <a:gd name="T8" fmla="*/ 5202 w 23949"/>
              <a:gd name="T9" fmla="*/ 9514 h 11980"/>
              <a:gd name="T10" fmla="*/ 3946 w 23949"/>
              <a:gd name="T11" fmla="*/ 5020 h 11980"/>
              <a:gd name="T12" fmla="*/ 3575 w 23949"/>
              <a:gd name="T13" fmla="*/ 5124 h 11980"/>
              <a:gd name="T14" fmla="*/ 5 w 23949"/>
              <a:gd name="T15" fmla="*/ 4187 h 11980"/>
              <a:gd name="T16" fmla="*/ 10 w 23949"/>
              <a:gd name="T17" fmla="*/ 4235 h 11980"/>
              <a:gd name="T18" fmla="*/ 2628 w 23949"/>
              <a:gd name="T19" fmla="*/ 5915 h 11980"/>
              <a:gd name="T20" fmla="*/ 6475 w 23949"/>
              <a:gd name="T21" fmla="*/ 10224 h 11980"/>
              <a:gd name="T22" fmla="*/ 5965 w 23949"/>
              <a:gd name="T23" fmla="*/ 5977 h 11980"/>
              <a:gd name="T24" fmla="*/ 10769 w 23949"/>
              <a:gd name="T25" fmla="*/ 1291 h 11980"/>
              <a:gd name="T26" fmla="*/ 17039 w 23949"/>
              <a:gd name="T27" fmla="*/ 6163 h 11980"/>
              <a:gd name="T28" fmla="*/ 23412 w 23949"/>
              <a:gd name="T29" fmla="*/ 11832 h 11980"/>
              <a:gd name="T30" fmla="*/ 23923 w 23949"/>
              <a:gd name="T31" fmla="*/ 11980 h 11980"/>
              <a:gd name="T32" fmla="*/ 23949 w 23949"/>
              <a:gd name="T33" fmla="*/ 11980 h 11980"/>
              <a:gd name="T34" fmla="*/ 23949 w 23949"/>
              <a:gd name="T35" fmla="*/ 11464 h 119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3949" h="11980">
                <a:moveTo>
                  <a:pt x="23949" y="11464"/>
                </a:moveTo>
                <a:cubicBezTo>
                  <a:pt x="23366" y="11292"/>
                  <a:pt x="22833" y="11046"/>
                  <a:pt x="22494" y="10819"/>
                </a:cubicBezTo>
                <a:cubicBezTo>
                  <a:pt x="19416" y="8749"/>
                  <a:pt x="17585" y="4813"/>
                  <a:pt x="15834" y="2827"/>
                </a:cubicBezTo>
                <a:cubicBezTo>
                  <a:pt x="13391" y="58"/>
                  <a:pt x="9802" y="0"/>
                  <a:pt x="7611" y="1097"/>
                </a:cubicBezTo>
                <a:cubicBezTo>
                  <a:pt x="4876" y="2469"/>
                  <a:pt x="4208" y="6296"/>
                  <a:pt x="5202" y="9514"/>
                </a:cubicBezTo>
                <a:cubicBezTo>
                  <a:pt x="3880" y="9118"/>
                  <a:pt x="3314" y="6534"/>
                  <a:pt x="3946" y="5020"/>
                </a:cubicBezTo>
                <a:cubicBezTo>
                  <a:pt x="3826" y="5059"/>
                  <a:pt x="3702" y="5094"/>
                  <a:pt x="3575" y="5124"/>
                </a:cubicBezTo>
                <a:cubicBezTo>
                  <a:pt x="2168" y="5450"/>
                  <a:pt x="789" y="5046"/>
                  <a:pt x="5" y="4187"/>
                </a:cubicBezTo>
                <a:cubicBezTo>
                  <a:pt x="0" y="4203"/>
                  <a:pt x="2" y="4219"/>
                  <a:pt x="10" y="4235"/>
                </a:cubicBezTo>
                <a:cubicBezTo>
                  <a:pt x="448" y="5248"/>
                  <a:pt x="1347" y="5889"/>
                  <a:pt x="2628" y="5915"/>
                </a:cubicBezTo>
                <a:cubicBezTo>
                  <a:pt x="2546" y="9338"/>
                  <a:pt x="4456" y="10391"/>
                  <a:pt x="6475" y="10224"/>
                </a:cubicBezTo>
                <a:cubicBezTo>
                  <a:pt x="5921" y="9178"/>
                  <a:pt x="5776" y="7348"/>
                  <a:pt x="5965" y="5977"/>
                </a:cubicBezTo>
                <a:cubicBezTo>
                  <a:pt x="6141" y="4696"/>
                  <a:pt x="7263" y="1392"/>
                  <a:pt x="10769" y="1291"/>
                </a:cubicBezTo>
                <a:cubicBezTo>
                  <a:pt x="14142" y="1193"/>
                  <a:pt x="15406" y="4103"/>
                  <a:pt x="17039" y="6163"/>
                </a:cubicBezTo>
                <a:cubicBezTo>
                  <a:pt x="18446" y="7942"/>
                  <a:pt x="20683" y="10910"/>
                  <a:pt x="23412" y="11832"/>
                </a:cubicBezTo>
                <a:cubicBezTo>
                  <a:pt x="23575" y="11887"/>
                  <a:pt x="23746" y="11936"/>
                  <a:pt x="23923" y="11980"/>
                </a:cubicBezTo>
                <a:lnTo>
                  <a:pt x="23949" y="11980"/>
                </a:lnTo>
                <a:lnTo>
                  <a:pt x="23949" y="11464"/>
                </a:lnTo>
                <a:close/>
              </a:path>
            </a:pathLst>
          </a:custGeom>
          <a:solidFill>
            <a:srgbClr val="49B0D9">
              <a:alpha val="2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7" name="Freeform 9">
            <a:extLst>
              <a:ext uri="{FF2B5EF4-FFF2-40B4-BE49-F238E27FC236}">
                <a16:creationId xmlns:a16="http://schemas.microsoft.com/office/drawing/2014/main" id="{6A68BDEC-92EA-6BD5-CB97-BC55C729A70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722394" y="6096000"/>
            <a:ext cx="2625725" cy="425450"/>
          </a:xfrm>
          <a:custGeom>
            <a:avLst/>
            <a:gdLst>
              <a:gd name="T0" fmla="*/ 301 w 7261"/>
              <a:gd name="T1" fmla="*/ 300 h 1168"/>
              <a:gd name="T2" fmla="*/ 330 w 7261"/>
              <a:gd name="T3" fmla="*/ 336 h 1168"/>
              <a:gd name="T4" fmla="*/ 293 w 7261"/>
              <a:gd name="T5" fmla="*/ 325 h 1168"/>
              <a:gd name="T6" fmla="*/ 362 w 7261"/>
              <a:gd name="T7" fmla="*/ 18 h 1168"/>
              <a:gd name="T8" fmla="*/ 248 w 7261"/>
              <a:gd name="T9" fmla="*/ 547 h 1168"/>
              <a:gd name="T10" fmla="*/ 262 w 7261"/>
              <a:gd name="T11" fmla="*/ 492 h 1168"/>
              <a:gd name="T12" fmla="*/ 42 w 7261"/>
              <a:gd name="T13" fmla="*/ 307 h 1168"/>
              <a:gd name="T14" fmla="*/ 407 w 7261"/>
              <a:gd name="T15" fmla="*/ 709 h 1168"/>
              <a:gd name="T16" fmla="*/ 342 w 7261"/>
              <a:gd name="T17" fmla="*/ 701 h 1168"/>
              <a:gd name="T18" fmla="*/ 578 w 7261"/>
              <a:gd name="T19" fmla="*/ 673 h 1168"/>
              <a:gd name="T20" fmla="*/ 781 w 7261"/>
              <a:gd name="T21" fmla="*/ 632 h 1168"/>
              <a:gd name="T22" fmla="*/ 655 w 7261"/>
              <a:gd name="T23" fmla="*/ 1062 h 1168"/>
              <a:gd name="T24" fmla="*/ 836 w 7261"/>
              <a:gd name="T25" fmla="*/ 625 h 1168"/>
              <a:gd name="T26" fmla="*/ 856 w 7261"/>
              <a:gd name="T27" fmla="*/ 464 h 1168"/>
              <a:gd name="T28" fmla="*/ 742 w 7261"/>
              <a:gd name="T29" fmla="*/ 706 h 1168"/>
              <a:gd name="T30" fmla="*/ 1138 w 7261"/>
              <a:gd name="T31" fmla="*/ 451 h 1168"/>
              <a:gd name="T32" fmla="*/ 1061 w 7261"/>
              <a:gd name="T33" fmla="*/ 705 h 1168"/>
              <a:gd name="T34" fmla="*/ 1398 w 7261"/>
              <a:gd name="T35" fmla="*/ 748 h 1168"/>
              <a:gd name="T36" fmla="*/ 1419 w 7261"/>
              <a:gd name="T37" fmla="*/ 710 h 1168"/>
              <a:gd name="T38" fmla="*/ 1664 w 7261"/>
              <a:gd name="T39" fmla="*/ 636 h 1168"/>
              <a:gd name="T40" fmla="*/ 1558 w 7261"/>
              <a:gd name="T41" fmla="*/ 591 h 1168"/>
              <a:gd name="T42" fmla="*/ 1810 w 7261"/>
              <a:gd name="T43" fmla="*/ 579 h 1168"/>
              <a:gd name="T44" fmla="*/ 1995 w 7261"/>
              <a:gd name="T45" fmla="*/ 676 h 1168"/>
              <a:gd name="T46" fmla="*/ 1951 w 7261"/>
              <a:gd name="T47" fmla="*/ 345 h 1168"/>
              <a:gd name="T48" fmla="*/ 2542 w 7261"/>
              <a:gd name="T49" fmla="*/ 667 h 1168"/>
              <a:gd name="T50" fmla="*/ 2153 w 7261"/>
              <a:gd name="T51" fmla="*/ 730 h 1168"/>
              <a:gd name="T52" fmla="*/ 2649 w 7261"/>
              <a:gd name="T53" fmla="*/ 580 h 1168"/>
              <a:gd name="T54" fmla="*/ 2796 w 7261"/>
              <a:gd name="T55" fmla="*/ 819 h 1168"/>
              <a:gd name="T56" fmla="*/ 2526 w 7261"/>
              <a:gd name="T57" fmla="*/ 1001 h 1168"/>
              <a:gd name="T58" fmla="*/ 2745 w 7261"/>
              <a:gd name="T59" fmla="*/ 910 h 1168"/>
              <a:gd name="T60" fmla="*/ 3223 w 7261"/>
              <a:gd name="T61" fmla="*/ 358 h 1168"/>
              <a:gd name="T62" fmla="*/ 3498 w 7261"/>
              <a:gd name="T63" fmla="*/ 672 h 1168"/>
              <a:gd name="T64" fmla="*/ 3231 w 7261"/>
              <a:gd name="T65" fmla="*/ 443 h 1168"/>
              <a:gd name="T66" fmla="*/ 3683 w 7261"/>
              <a:gd name="T67" fmla="*/ 559 h 1168"/>
              <a:gd name="T68" fmla="*/ 3687 w 7261"/>
              <a:gd name="T69" fmla="*/ 727 h 1168"/>
              <a:gd name="T70" fmla="*/ 3988 w 7261"/>
              <a:gd name="T71" fmla="*/ 749 h 1168"/>
              <a:gd name="T72" fmla="*/ 4175 w 7261"/>
              <a:gd name="T73" fmla="*/ 553 h 1168"/>
              <a:gd name="T74" fmla="*/ 4032 w 7261"/>
              <a:gd name="T75" fmla="*/ 556 h 1168"/>
              <a:gd name="T76" fmla="*/ 4585 w 7261"/>
              <a:gd name="T77" fmla="*/ 663 h 1168"/>
              <a:gd name="T78" fmla="*/ 4400 w 7261"/>
              <a:gd name="T79" fmla="*/ 581 h 1168"/>
              <a:gd name="T80" fmla="*/ 4387 w 7261"/>
              <a:gd name="T81" fmla="*/ 744 h 1168"/>
              <a:gd name="T82" fmla="*/ 4908 w 7261"/>
              <a:gd name="T83" fmla="*/ 206 h 1168"/>
              <a:gd name="T84" fmla="*/ 5107 w 7261"/>
              <a:gd name="T85" fmla="*/ 666 h 1168"/>
              <a:gd name="T86" fmla="*/ 4742 w 7261"/>
              <a:gd name="T87" fmla="*/ 600 h 1168"/>
              <a:gd name="T88" fmla="*/ 5616 w 7261"/>
              <a:gd name="T89" fmla="*/ 539 h 1168"/>
              <a:gd name="T90" fmla="*/ 5520 w 7261"/>
              <a:gd name="T91" fmla="*/ 625 h 1168"/>
              <a:gd name="T92" fmla="*/ 5641 w 7261"/>
              <a:gd name="T93" fmla="*/ 707 h 1168"/>
              <a:gd name="T94" fmla="*/ 5597 w 7261"/>
              <a:gd name="T95" fmla="*/ 755 h 1168"/>
              <a:gd name="T96" fmla="*/ 5626 w 7261"/>
              <a:gd name="T97" fmla="*/ 559 h 1168"/>
              <a:gd name="T98" fmla="*/ 5787 w 7261"/>
              <a:gd name="T99" fmla="*/ 324 h 1168"/>
              <a:gd name="T100" fmla="*/ 6014 w 7261"/>
              <a:gd name="T101" fmla="*/ 615 h 1168"/>
              <a:gd name="T102" fmla="*/ 6128 w 7261"/>
              <a:gd name="T103" fmla="*/ 522 h 1168"/>
              <a:gd name="T104" fmla="*/ 6321 w 7261"/>
              <a:gd name="T105" fmla="*/ 510 h 1168"/>
              <a:gd name="T106" fmla="*/ 6091 w 7261"/>
              <a:gd name="T107" fmla="*/ 500 h 1168"/>
              <a:gd name="T108" fmla="*/ 6149 w 7261"/>
              <a:gd name="T109" fmla="*/ 684 h 1168"/>
              <a:gd name="T110" fmla="*/ 6412 w 7261"/>
              <a:gd name="T111" fmla="*/ 628 h 1168"/>
              <a:gd name="T112" fmla="*/ 7015 w 7261"/>
              <a:gd name="T113" fmla="*/ 609 h 1168"/>
              <a:gd name="T114" fmla="*/ 6533 w 7261"/>
              <a:gd name="T115" fmla="*/ 718 h 1168"/>
              <a:gd name="T116" fmla="*/ 6651 w 7261"/>
              <a:gd name="T117" fmla="*/ 603 h 1168"/>
              <a:gd name="T118" fmla="*/ 6776 w 7261"/>
              <a:gd name="T119" fmla="*/ 380 h 1168"/>
              <a:gd name="T120" fmla="*/ 6771 w 7261"/>
              <a:gd name="T121" fmla="*/ 479 h 1168"/>
              <a:gd name="T122" fmla="*/ 6731 w 7261"/>
              <a:gd name="T123" fmla="*/ 718 h 1168"/>
              <a:gd name="T124" fmla="*/ 7147 w 7261"/>
              <a:gd name="T125" fmla="*/ 591 h 1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261" h="1168">
                <a:moveTo>
                  <a:pt x="103" y="1015"/>
                </a:moveTo>
                <a:cubicBezTo>
                  <a:pt x="100" y="1015"/>
                  <a:pt x="97" y="1014"/>
                  <a:pt x="94" y="1013"/>
                </a:cubicBezTo>
                <a:cubicBezTo>
                  <a:pt x="92" y="1012"/>
                  <a:pt x="89" y="1012"/>
                  <a:pt x="87" y="1012"/>
                </a:cubicBezTo>
                <a:cubicBezTo>
                  <a:pt x="84" y="1013"/>
                  <a:pt x="82" y="1014"/>
                  <a:pt x="79" y="1014"/>
                </a:cubicBezTo>
                <a:cubicBezTo>
                  <a:pt x="74" y="1014"/>
                  <a:pt x="69" y="1012"/>
                  <a:pt x="66" y="1007"/>
                </a:cubicBezTo>
                <a:cubicBezTo>
                  <a:pt x="62" y="1001"/>
                  <a:pt x="60" y="995"/>
                  <a:pt x="60" y="990"/>
                </a:cubicBezTo>
                <a:cubicBezTo>
                  <a:pt x="60" y="987"/>
                  <a:pt x="61" y="986"/>
                  <a:pt x="62" y="985"/>
                </a:cubicBezTo>
                <a:cubicBezTo>
                  <a:pt x="64" y="983"/>
                  <a:pt x="64" y="982"/>
                  <a:pt x="64" y="980"/>
                </a:cubicBezTo>
                <a:cubicBezTo>
                  <a:pt x="64" y="978"/>
                  <a:pt x="65" y="977"/>
                  <a:pt x="66" y="977"/>
                </a:cubicBezTo>
                <a:lnTo>
                  <a:pt x="67" y="977"/>
                </a:lnTo>
                <a:cubicBezTo>
                  <a:pt x="67" y="977"/>
                  <a:pt x="68" y="977"/>
                  <a:pt x="68" y="976"/>
                </a:cubicBezTo>
                <a:lnTo>
                  <a:pt x="67" y="973"/>
                </a:lnTo>
                <a:cubicBezTo>
                  <a:pt x="67" y="970"/>
                  <a:pt x="68" y="968"/>
                  <a:pt x="69" y="968"/>
                </a:cubicBezTo>
                <a:cubicBezTo>
                  <a:pt x="69" y="968"/>
                  <a:pt x="70" y="966"/>
                  <a:pt x="70" y="963"/>
                </a:cubicBezTo>
                <a:lnTo>
                  <a:pt x="69" y="961"/>
                </a:lnTo>
                <a:cubicBezTo>
                  <a:pt x="69" y="960"/>
                  <a:pt x="69" y="960"/>
                  <a:pt x="70" y="960"/>
                </a:cubicBezTo>
                <a:cubicBezTo>
                  <a:pt x="71" y="960"/>
                  <a:pt x="71" y="958"/>
                  <a:pt x="71" y="954"/>
                </a:cubicBezTo>
                <a:lnTo>
                  <a:pt x="70" y="951"/>
                </a:lnTo>
                <a:cubicBezTo>
                  <a:pt x="71" y="951"/>
                  <a:pt x="71" y="951"/>
                  <a:pt x="71" y="951"/>
                </a:cubicBezTo>
                <a:cubicBezTo>
                  <a:pt x="71" y="952"/>
                  <a:pt x="71" y="952"/>
                  <a:pt x="72" y="952"/>
                </a:cubicBezTo>
                <a:cubicBezTo>
                  <a:pt x="72" y="952"/>
                  <a:pt x="74" y="948"/>
                  <a:pt x="77" y="938"/>
                </a:cubicBezTo>
                <a:cubicBezTo>
                  <a:pt x="80" y="929"/>
                  <a:pt x="81" y="924"/>
                  <a:pt x="81" y="921"/>
                </a:cubicBezTo>
                <a:lnTo>
                  <a:pt x="81" y="918"/>
                </a:lnTo>
                <a:lnTo>
                  <a:pt x="82" y="916"/>
                </a:lnTo>
                <a:cubicBezTo>
                  <a:pt x="82" y="916"/>
                  <a:pt x="84" y="914"/>
                  <a:pt x="85" y="911"/>
                </a:cubicBezTo>
                <a:cubicBezTo>
                  <a:pt x="87" y="903"/>
                  <a:pt x="89" y="895"/>
                  <a:pt x="90" y="887"/>
                </a:cubicBezTo>
                <a:cubicBezTo>
                  <a:pt x="90" y="884"/>
                  <a:pt x="90" y="882"/>
                  <a:pt x="91" y="882"/>
                </a:cubicBezTo>
                <a:lnTo>
                  <a:pt x="92" y="883"/>
                </a:lnTo>
                <a:cubicBezTo>
                  <a:pt x="92" y="883"/>
                  <a:pt x="92" y="884"/>
                  <a:pt x="92" y="884"/>
                </a:cubicBezTo>
                <a:cubicBezTo>
                  <a:pt x="93" y="884"/>
                  <a:pt x="93" y="883"/>
                  <a:pt x="93" y="881"/>
                </a:cubicBezTo>
                <a:cubicBezTo>
                  <a:pt x="93" y="879"/>
                  <a:pt x="94" y="878"/>
                  <a:pt x="95" y="878"/>
                </a:cubicBezTo>
                <a:cubicBezTo>
                  <a:pt x="96" y="878"/>
                  <a:pt x="97" y="872"/>
                  <a:pt x="98" y="861"/>
                </a:cubicBezTo>
                <a:cubicBezTo>
                  <a:pt x="98" y="859"/>
                  <a:pt x="98" y="857"/>
                  <a:pt x="99" y="857"/>
                </a:cubicBezTo>
                <a:lnTo>
                  <a:pt x="99" y="857"/>
                </a:lnTo>
                <a:cubicBezTo>
                  <a:pt x="100" y="857"/>
                  <a:pt x="100" y="856"/>
                  <a:pt x="101" y="854"/>
                </a:cubicBezTo>
                <a:cubicBezTo>
                  <a:pt x="103" y="848"/>
                  <a:pt x="104" y="844"/>
                  <a:pt x="104" y="841"/>
                </a:cubicBezTo>
                <a:cubicBezTo>
                  <a:pt x="104" y="840"/>
                  <a:pt x="104" y="839"/>
                  <a:pt x="104" y="839"/>
                </a:cubicBezTo>
                <a:cubicBezTo>
                  <a:pt x="103" y="838"/>
                  <a:pt x="103" y="838"/>
                  <a:pt x="103" y="838"/>
                </a:cubicBezTo>
                <a:lnTo>
                  <a:pt x="105" y="838"/>
                </a:lnTo>
                <a:cubicBezTo>
                  <a:pt x="105" y="838"/>
                  <a:pt x="106" y="838"/>
                  <a:pt x="107" y="836"/>
                </a:cubicBezTo>
                <a:cubicBezTo>
                  <a:pt x="108" y="835"/>
                  <a:pt x="109" y="833"/>
                  <a:pt x="109" y="831"/>
                </a:cubicBezTo>
                <a:cubicBezTo>
                  <a:pt x="109" y="829"/>
                  <a:pt x="110" y="827"/>
                  <a:pt x="110" y="826"/>
                </a:cubicBezTo>
                <a:cubicBezTo>
                  <a:pt x="110" y="825"/>
                  <a:pt x="110" y="824"/>
                  <a:pt x="109" y="823"/>
                </a:cubicBezTo>
                <a:cubicBezTo>
                  <a:pt x="109" y="823"/>
                  <a:pt x="109" y="822"/>
                  <a:pt x="109" y="821"/>
                </a:cubicBezTo>
                <a:cubicBezTo>
                  <a:pt x="109" y="820"/>
                  <a:pt x="109" y="818"/>
                  <a:pt x="110" y="816"/>
                </a:cubicBezTo>
                <a:cubicBezTo>
                  <a:pt x="110" y="813"/>
                  <a:pt x="111" y="812"/>
                  <a:pt x="112" y="810"/>
                </a:cubicBezTo>
                <a:cubicBezTo>
                  <a:pt x="113" y="809"/>
                  <a:pt x="114" y="808"/>
                  <a:pt x="114" y="808"/>
                </a:cubicBezTo>
                <a:lnTo>
                  <a:pt x="115" y="808"/>
                </a:lnTo>
                <a:cubicBezTo>
                  <a:pt x="115" y="808"/>
                  <a:pt x="115" y="808"/>
                  <a:pt x="115" y="807"/>
                </a:cubicBezTo>
                <a:cubicBezTo>
                  <a:pt x="115" y="807"/>
                  <a:pt x="115" y="806"/>
                  <a:pt x="115" y="806"/>
                </a:cubicBezTo>
                <a:cubicBezTo>
                  <a:pt x="115" y="805"/>
                  <a:pt x="115" y="805"/>
                  <a:pt x="115" y="804"/>
                </a:cubicBezTo>
                <a:cubicBezTo>
                  <a:pt x="115" y="802"/>
                  <a:pt x="115" y="800"/>
                  <a:pt x="115" y="798"/>
                </a:cubicBezTo>
                <a:cubicBezTo>
                  <a:pt x="117" y="792"/>
                  <a:pt x="119" y="790"/>
                  <a:pt x="120" y="790"/>
                </a:cubicBezTo>
                <a:lnTo>
                  <a:pt x="120" y="790"/>
                </a:lnTo>
                <a:cubicBezTo>
                  <a:pt x="120" y="790"/>
                  <a:pt x="121" y="789"/>
                  <a:pt x="121" y="786"/>
                </a:cubicBezTo>
                <a:lnTo>
                  <a:pt x="120" y="784"/>
                </a:lnTo>
                <a:cubicBezTo>
                  <a:pt x="120" y="783"/>
                  <a:pt x="120" y="783"/>
                  <a:pt x="121" y="783"/>
                </a:cubicBezTo>
                <a:lnTo>
                  <a:pt x="122" y="784"/>
                </a:lnTo>
                <a:cubicBezTo>
                  <a:pt x="122" y="784"/>
                  <a:pt x="123" y="782"/>
                  <a:pt x="123" y="780"/>
                </a:cubicBezTo>
                <a:lnTo>
                  <a:pt x="122" y="778"/>
                </a:lnTo>
                <a:cubicBezTo>
                  <a:pt x="122" y="777"/>
                  <a:pt x="122" y="777"/>
                  <a:pt x="123" y="777"/>
                </a:cubicBezTo>
                <a:lnTo>
                  <a:pt x="125" y="778"/>
                </a:lnTo>
                <a:lnTo>
                  <a:pt x="125" y="776"/>
                </a:lnTo>
                <a:cubicBezTo>
                  <a:pt x="125" y="774"/>
                  <a:pt x="127" y="765"/>
                  <a:pt x="132" y="750"/>
                </a:cubicBezTo>
                <a:cubicBezTo>
                  <a:pt x="136" y="737"/>
                  <a:pt x="139" y="729"/>
                  <a:pt x="139" y="726"/>
                </a:cubicBezTo>
                <a:cubicBezTo>
                  <a:pt x="139" y="725"/>
                  <a:pt x="138" y="725"/>
                  <a:pt x="138" y="725"/>
                </a:cubicBezTo>
                <a:cubicBezTo>
                  <a:pt x="137" y="725"/>
                  <a:pt x="137" y="726"/>
                  <a:pt x="135" y="728"/>
                </a:cubicBezTo>
                <a:lnTo>
                  <a:pt x="134" y="729"/>
                </a:lnTo>
                <a:cubicBezTo>
                  <a:pt x="134" y="728"/>
                  <a:pt x="134" y="728"/>
                  <a:pt x="135" y="726"/>
                </a:cubicBezTo>
                <a:cubicBezTo>
                  <a:pt x="135" y="725"/>
                  <a:pt x="136" y="723"/>
                  <a:pt x="136" y="722"/>
                </a:cubicBezTo>
                <a:lnTo>
                  <a:pt x="141" y="723"/>
                </a:lnTo>
                <a:cubicBezTo>
                  <a:pt x="141" y="722"/>
                  <a:pt x="146" y="708"/>
                  <a:pt x="154" y="683"/>
                </a:cubicBezTo>
                <a:cubicBezTo>
                  <a:pt x="163" y="657"/>
                  <a:pt x="167" y="644"/>
                  <a:pt x="167" y="644"/>
                </a:cubicBezTo>
                <a:cubicBezTo>
                  <a:pt x="167" y="643"/>
                  <a:pt x="167" y="643"/>
                  <a:pt x="167" y="643"/>
                </a:cubicBezTo>
                <a:cubicBezTo>
                  <a:pt x="166" y="643"/>
                  <a:pt x="163" y="649"/>
                  <a:pt x="159" y="661"/>
                </a:cubicBezTo>
                <a:cubicBezTo>
                  <a:pt x="154" y="671"/>
                  <a:pt x="151" y="676"/>
                  <a:pt x="150" y="676"/>
                </a:cubicBezTo>
                <a:cubicBezTo>
                  <a:pt x="149" y="676"/>
                  <a:pt x="148" y="677"/>
                  <a:pt x="148" y="677"/>
                </a:cubicBezTo>
                <a:cubicBezTo>
                  <a:pt x="148" y="677"/>
                  <a:pt x="148" y="678"/>
                  <a:pt x="149" y="678"/>
                </a:cubicBezTo>
                <a:cubicBezTo>
                  <a:pt x="151" y="679"/>
                  <a:pt x="151" y="680"/>
                  <a:pt x="151" y="681"/>
                </a:cubicBezTo>
                <a:cubicBezTo>
                  <a:pt x="151" y="683"/>
                  <a:pt x="151" y="684"/>
                  <a:pt x="149" y="684"/>
                </a:cubicBezTo>
                <a:lnTo>
                  <a:pt x="145" y="683"/>
                </a:lnTo>
                <a:cubicBezTo>
                  <a:pt x="145" y="683"/>
                  <a:pt x="146" y="684"/>
                  <a:pt x="147" y="686"/>
                </a:cubicBezTo>
                <a:cubicBezTo>
                  <a:pt x="149" y="687"/>
                  <a:pt x="149" y="688"/>
                  <a:pt x="149" y="689"/>
                </a:cubicBezTo>
                <a:cubicBezTo>
                  <a:pt x="149" y="689"/>
                  <a:pt x="149" y="690"/>
                  <a:pt x="148" y="690"/>
                </a:cubicBezTo>
                <a:lnTo>
                  <a:pt x="143" y="687"/>
                </a:lnTo>
                <a:cubicBezTo>
                  <a:pt x="143" y="687"/>
                  <a:pt x="144" y="689"/>
                  <a:pt x="145" y="691"/>
                </a:cubicBezTo>
                <a:cubicBezTo>
                  <a:pt x="147" y="693"/>
                  <a:pt x="147" y="695"/>
                  <a:pt x="147" y="696"/>
                </a:cubicBezTo>
                <a:cubicBezTo>
                  <a:pt x="147" y="696"/>
                  <a:pt x="147" y="696"/>
                  <a:pt x="147" y="696"/>
                </a:cubicBezTo>
                <a:cubicBezTo>
                  <a:pt x="146" y="696"/>
                  <a:pt x="145" y="696"/>
                  <a:pt x="144" y="695"/>
                </a:cubicBezTo>
                <a:lnTo>
                  <a:pt x="141" y="693"/>
                </a:lnTo>
                <a:lnTo>
                  <a:pt x="142" y="696"/>
                </a:lnTo>
                <a:cubicBezTo>
                  <a:pt x="142" y="696"/>
                  <a:pt x="142" y="697"/>
                  <a:pt x="142" y="697"/>
                </a:cubicBezTo>
                <a:cubicBezTo>
                  <a:pt x="141" y="697"/>
                  <a:pt x="141" y="697"/>
                  <a:pt x="140" y="698"/>
                </a:cubicBezTo>
                <a:cubicBezTo>
                  <a:pt x="140" y="698"/>
                  <a:pt x="139" y="699"/>
                  <a:pt x="139" y="700"/>
                </a:cubicBezTo>
                <a:cubicBezTo>
                  <a:pt x="139" y="702"/>
                  <a:pt x="140" y="703"/>
                  <a:pt x="141" y="703"/>
                </a:cubicBezTo>
                <a:cubicBezTo>
                  <a:pt x="142" y="703"/>
                  <a:pt x="143" y="702"/>
                  <a:pt x="144" y="700"/>
                </a:cubicBezTo>
                <a:cubicBezTo>
                  <a:pt x="144" y="700"/>
                  <a:pt x="144" y="700"/>
                  <a:pt x="144" y="700"/>
                </a:cubicBezTo>
                <a:cubicBezTo>
                  <a:pt x="144" y="700"/>
                  <a:pt x="145" y="701"/>
                  <a:pt x="145" y="702"/>
                </a:cubicBezTo>
                <a:cubicBezTo>
                  <a:pt x="144" y="705"/>
                  <a:pt x="143" y="706"/>
                  <a:pt x="141" y="706"/>
                </a:cubicBezTo>
                <a:cubicBezTo>
                  <a:pt x="139" y="706"/>
                  <a:pt x="137" y="708"/>
                  <a:pt x="136" y="710"/>
                </a:cubicBezTo>
                <a:cubicBezTo>
                  <a:pt x="135" y="713"/>
                  <a:pt x="134" y="717"/>
                  <a:pt x="132" y="724"/>
                </a:cubicBezTo>
                <a:cubicBezTo>
                  <a:pt x="129" y="733"/>
                  <a:pt x="127" y="739"/>
                  <a:pt x="127" y="741"/>
                </a:cubicBezTo>
                <a:cubicBezTo>
                  <a:pt x="127" y="741"/>
                  <a:pt x="128" y="742"/>
                  <a:pt x="128" y="742"/>
                </a:cubicBezTo>
                <a:cubicBezTo>
                  <a:pt x="129" y="742"/>
                  <a:pt x="130" y="741"/>
                  <a:pt x="130" y="740"/>
                </a:cubicBezTo>
                <a:cubicBezTo>
                  <a:pt x="130" y="739"/>
                  <a:pt x="131" y="738"/>
                  <a:pt x="131" y="738"/>
                </a:cubicBezTo>
                <a:lnTo>
                  <a:pt x="131" y="739"/>
                </a:lnTo>
                <a:cubicBezTo>
                  <a:pt x="131" y="740"/>
                  <a:pt x="131" y="742"/>
                  <a:pt x="129" y="742"/>
                </a:cubicBezTo>
                <a:cubicBezTo>
                  <a:pt x="128" y="744"/>
                  <a:pt x="127" y="746"/>
                  <a:pt x="125" y="748"/>
                </a:cubicBezTo>
                <a:cubicBezTo>
                  <a:pt x="124" y="751"/>
                  <a:pt x="123" y="753"/>
                  <a:pt x="122" y="753"/>
                </a:cubicBezTo>
                <a:lnTo>
                  <a:pt x="121" y="753"/>
                </a:lnTo>
                <a:lnTo>
                  <a:pt x="120" y="752"/>
                </a:lnTo>
                <a:cubicBezTo>
                  <a:pt x="120" y="752"/>
                  <a:pt x="120" y="752"/>
                  <a:pt x="121" y="753"/>
                </a:cubicBezTo>
                <a:cubicBezTo>
                  <a:pt x="122" y="754"/>
                  <a:pt x="122" y="756"/>
                  <a:pt x="122" y="757"/>
                </a:cubicBezTo>
                <a:cubicBezTo>
                  <a:pt x="122" y="760"/>
                  <a:pt x="122" y="762"/>
                  <a:pt x="121" y="765"/>
                </a:cubicBezTo>
                <a:cubicBezTo>
                  <a:pt x="120" y="769"/>
                  <a:pt x="120" y="771"/>
                  <a:pt x="119" y="774"/>
                </a:cubicBezTo>
                <a:cubicBezTo>
                  <a:pt x="118" y="777"/>
                  <a:pt x="117" y="778"/>
                  <a:pt x="116" y="779"/>
                </a:cubicBezTo>
                <a:cubicBezTo>
                  <a:pt x="115" y="779"/>
                  <a:pt x="115" y="780"/>
                  <a:pt x="115" y="781"/>
                </a:cubicBezTo>
                <a:cubicBezTo>
                  <a:pt x="115" y="781"/>
                  <a:pt x="115" y="781"/>
                  <a:pt x="115" y="782"/>
                </a:cubicBezTo>
                <a:cubicBezTo>
                  <a:pt x="115" y="782"/>
                  <a:pt x="115" y="783"/>
                  <a:pt x="115" y="784"/>
                </a:cubicBezTo>
                <a:cubicBezTo>
                  <a:pt x="115" y="784"/>
                  <a:pt x="115" y="785"/>
                  <a:pt x="114" y="786"/>
                </a:cubicBezTo>
                <a:cubicBezTo>
                  <a:pt x="113" y="786"/>
                  <a:pt x="112" y="789"/>
                  <a:pt x="112" y="794"/>
                </a:cubicBezTo>
                <a:cubicBezTo>
                  <a:pt x="111" y="799"/>
                  <a:pt x="110" y="802"/>
                  <a:pt x="108" y="802"/>
                </a:cubicBezTo>
                <a:lnTo>
                  <a:pt x="106" y="802"/>
                </a:lnTo>
                <a:cubicBezTo>
                  <a:pt x="105" y="802"/>
                  <a:pt x="105" y="802"/>
                  <a:pt x="105" y="803"/>
                </a:cubicBezTo>
                <a:cubicBezTo>
                  <a:pt x="105" y="803"/>
                  <a:pt x="105" y="804"/>
                  <a:pt x="105" y="804"/>
                </a:cubicBezTo>
                <a:cubicBezTo>
                  <a:pt x="106" y="805"/>
                  <a:pt x="106" y="805"/>
                  <a:pt x="107" y="805"/>
                </a:cubicBezTo>
                <a:cubicBezTo>
                  <a:pt x="108" y="805"/>
                  <a:pt x="108" y="806"/>
                  <a:pt x="108" y="807"/>
                </a:cubicBezTo>
                <a:cubicBezTo>
                  <a:pt x="108" y="808"/>
                  <a:pt x="108" y="809"/>
                  <a:pt x="107" y="810"/>
                </a:cubicBezTo>
                <a:cubicBezTo>
                  <a:pt x="107" y="811"/>
                  <a:pt x="107" y="811"/>
                  <a:pt x="107" y="812"/>
                </a:cubicBezTo>
                <a:cubicBezTo>
                  <a:pt x="106" y="812"/>
                  <a:pt x="106" y="812"/>
                  <a:pt x="105" y="812"/>
                </a:cubicBezTo>
                <a:cubicBezTo>
                  <a:pt x="105" y="812"/>
                  <a:pt x="105" y="812"/>
                  <a:pt x="105" y="810"/>
                </a:cubicBezTo>
                <a:cubicBezTo>
                  <a:pt x="105" y="809"/>
                  <a:pt x="104" y="808"/>
                  <a:pt x="104" y="807"/>
                </a:cubicBezTo>
                <a:lnTo>
                  <a:pt x="102" y="808"/>
                </a:lnTo>
                <a:cubicBezTo>
                  <a:pt x="101" y="808"/>
                  <a:pt x="101" y="808"/>
                  <a:pt x="101" y="807"/>
                </a:cubicBezTo>
                <a:cubicBezTo>
                  <a:pt x="101" y="806"/>
                  <a:pt x="102" y="803"/>
                  <a:pt x="103" y="799"/>
                </a:cubicBezTo>
                <a:cubicBezTo>
                  <a:pt x="105" y="795"/>
                  <a:pt x="106" y="793"/>
                  <a:pt x="108" y="793"/>
                </a:cubicBezTo>
                <a:cubicBezTo>
                  <a:pt x="109" y="793"/>
                  <a:pt x="110" y="792"/>
                  <a:pt x="110" y="790"/>
                </a:cubicBezTo>
                <a:cubicBezTo>
                  <a:pt x="110" y="789"/>
                  <a:pt x="110" y="789"/>
                  <a:pt x="110" y="789"/>
                </a:cubicBezTo>
                <a:lnTo>
                  <a:pt x="107" y="790"/>
                </a:lnTo>
                <a:cubicBezTo>
                  <a:pt x="107" y="790"/>
                  <a:pt x="106" y="790"/>
                  <a:pt x="106" y="789"/>
                </a:cubicBezTo>
                <a:cubicBezTo>
                  <a:pt x="106" y="789"/>
                  <a:pt x="108" y="783"/>
                  <a:pt x="112" y="772"/>
                </a:cubicBezTo>
                <a:cubicBezTo>
                  <a:pt x="115" y="761"/>
                  <a:pt x="120" y="748"/>
                  <a:pt x="124" y="734"/>
                </a:cubicBezTo>
                <a:cubicBezTo>
                  <a:pt x="129" y="719"/>
                  <a:pt x="133" y="706"/>
                  <a:pt x="137" y="695"/>
                </a:cubicBezTo>
                <a:cubicBezTo>
                  <a:pt x="141" y="683"/>
                  <a:pt x="144" y="676"/>
                  <a:pt x="145" y="674"/>
                </a:cubicBezTo>
                <a:cubicBezTo>
                  <a:pt x="146" y="672"/>
                  <a:pt x="147" y="670"/>
                  <a:pt x="147" y="667"/>
                </a:cubicBezTo>
                <a:cubicBezTo>
                  <a:pt x="148" y="665"/>
                  <a:pt x="149" y="662"/>
                  <a:pt x="150" y="659"/>
                </a:cubicBezTo>
                <a:cubicBezTo>
                  <a:pt x="151" y="656"/>
                  <a:pt x="152" y="653"/>
                  <a:pt x="153" y="651"/>
                </a:cubicBezTo>
                <a:cubicBezTo>
                  <a:pt x="154" y="649"/>
                  <a:pt x="155" y="648"/>
                  <a:pt x="155" y="648"/>
                </a:cubicBezTo>
                <a:cubicBezTo>
                  <a:pt x="156" y="648"/>
                  <a:pt x="156" y="648"/>
                  <a:pt x="156" y="648"/>
                </a:cubicBezTo>
                <a:cubicBezTo>
                  <a:pt x="156" y="649"/>
                  <a:pt x="156" y="650"/>
                  <a:pt x="155" y="651"/>
                </a:cubicBezTo>
                <a:cubicBezTo>
                  <a:pt x="154" y="652"/>
                  <a:pt x="154" y="653"/>
                  <a:pt x="154" y="654"/>
                </a:cubicBezTo>
                <a:lnTo>
                  <a:pt x="154" y="655"/>
                </a:lnTo>
                <a:lnTo>
                  <a:pt x="155" y="655"/>
                </a:lnTo>
                <a:cubicBezTo>
                  <a:pt x="156" y="655"/>
                  <a:pt x="158" y="652"/>
                  <a:pt x="159" y="647"/>
                </a:cubicBezTo>
                <a:cubicBezTo>
                  <a:pt x="159" y="645"/>
                  <a:pt x="159" y="644"/>
                  <a:pt x="160" y="642"/>
                </a:cubicBezTo>
                <a:cubicBezTo>
                  <a:pt x="160" y="641"/>
                  <a:pt x="161" y="640"/>
                  <a:pt x="161" y="640"/>
                </a:cubicBezTo>
                <a:lnTo>
                  <a:pt x="158" y="643"/>
                </a:lnTo>
                <a:cubicBezTo>
                  <a:pt x="157" y="645"/>
                  <a:pt x="156" y="646"/>
                  <a:pt x="155" y="646"/>
                </a:cubicBezTo>
                <a:lnTo>
                  <a:pt x="155" y="645"/>
                </a:lnTo>
                <a:cubicBezTo>
                  <a:pt x="155" y="644"/>
                  <a:pt x="156" y="639"/>
                  <a:pt x="159" y="632"/>
                </a:cubicBezTo>
                <a:cubicBezTo>
                  <a:pt x="161" y="625"/>
                  <a:pt x="164" y="621"/>
                  <a:pt x="167" y="621"/>
                </a:cubicBezTo>
                <a:lnTo>
                  <a:pt x="170" y="621"/>
                </a:lnTo>
                <a:cubicBezTo>
                  <a:pt x="170" y="621"/>
                  <a:pt x="169" y="620"/>
                  <a:pt x="167" y="620"/>
                </a:cubicBezTo>
                <a:cubicBezTo>
                  <a:pt x="166" y="620"/>
                  <a:pt x="165" y="618"/>
                  <a:pt x="165" y="616"/>
                </a:cubicBezTo>
                <a:cubicBezTo>
                  <a:pt x="166" y="615"/>
                  <a:pt x="167" y="613"/>
                  <a:pt x="167" y="611"/>
                </a:cubicBezTo>
                <a:cubicBezTo>
                  <a:pt x="167" y="610"/>
                  <a:pt x="168" y="608"/>
                  <a:pt x="169" y="606"/>
                </a:cubicBezTo>
                <a:cubicBezTo>
                  <a:pt x="171" y="601"/>
                  <a:pt x="172" y="598"/>
                  <a:pt x="172" y="598"/>
                </a:cubicBezTo>
                <a:cubicBezTo>
                  <a:pt x="172" y="598"/>
                  <a:pt x="172" y="598"/>
                  <a:pt x="172" y="599"/>
                </a:cubicBezTo>
                <a:cubicBezTo>
                  <a:pt x="172" y="600"/>
                  <a:pt x="172" y="603"/>
                  <a:pt x="171" y="606"/>
                </a:cubicBezTo>
                <a:cubicBezTo>
                  <a:pt x="170" y="610"/>
                  <a:pt x="170" y="612"/>
                  <a:pt x="170" y="613"/>
                </a:cubicBezTo>
                <a:lnTo>
                  <a:pt x="170" y="614"/>
                </a:lnTo>
                <a:cubicBezTo>
                  <a:pt x="171" y="614"/>
                  <a:pt x="172" y="612"/>
                  <a:pt x="172" y="610"/>
                </a:cubicBezTo>
                <a:cubicBezTo>
                  <a:pt x="172" y="608"/>
                  <a:pt x="172" y="606"/>
                  <a:pt x="174" y="604"/>
                </a:cubicBezTo>
                <a:cubicBezTo>
                  <a:pt x="176" y="600"/>
                  <a:pt x="177" y="596"/>
                  <a:pt x="179" y="590"/>
                </a:cubicBezTo>
                <a:cubicBezTo>
                  <a:pt x="180" y="585"/>
                  <a:pt x="181" y="580"/>
                  <a:pt x="181" y="578"/>
                </a:cubicBezTo>
                <a:cubicBezTo>
                  <a:pt x="181" y="577"/>
                  <a:pt x="181" y="577"/>
                  <a:pt x="181" y="576"/>
                </a:cubicBezTo>
                <a:cubicBezTo>
                  <a:pt x="181" y="576"/>
                  <a:pt x="180" y="575"/>
                  <a:pt x="180" y="575"/>
                </a:cubicBezTo>
                <a:lnTo>
                  <a:pt x="181" y="575"/>
                </a:lnTo>
                <a:cubicBezTo>
                  <a:pt x="182" y="575"/>
                  <a:pt x="183" y="573"/>
                  <a:pt x="184" y="571"/>
                </a:cubicBezTo>
                <a:cubicBezTo>
                  <a:pt x="186" y="568"/>
                  <a:pt x="187" y="565"/>
                  <a:pt x="188" y="561"/>
                </a:cubicBezTo>
                <a:cubicBezTo>
                  <a:pt x="205" y="513"/>
                  <a:pt x="215" y="489"/>
                  <a:pt x="217" y="489"/>
                </a:cubicBezTo>
                <a:lnTo>
                  <a:pt x="218" y="489"/>
                </a:lnTo>
                <a:cubicBezTo>
                  <a:pt x="218" y="490"/>
                  <a:pt x="218" y="490"/>
                  <a:pt x="218" y="491"/>
                </a:cubicBezTo>
                <a:cubicBezTo>
                  <a:pt x="218" y="492"/>
                  <a:pt x="218" y="492"/>
                  <a:pt x="218" y="492"/>
                </a:cubicBezTo>
                <a:cubicBezTo>
                  <a:pt x="216" y="494"/>
                  <a:pt x="215" y="496"/>
                  <a:pt x="215" y="499"/>
                </a:cubicBezTo>
                <a:cubicBezTo>
                  <a:pt x="214" y="501"/>
                  <a:pt x="214" y="502"/>
                  <a:pt x="213" y="502"/>
                </a:cubicBezTo>
                <a:cubicBezTo>
                  <a:pt x="212" y="503"/>
                  <a:pt x="212" y="504"/>
                  <a:pt x="212" y="505"/>
                </a:cubicBezTo>
                <a:lnTo>
                  <a:pt x="212" y="507"/>
                </a:lnTo>
                <a:cubicBezTo>
                  <a:pt x="212" y="508"/>
                  <a:pt x="212" y="509"/>
                  <a:pt x="211" y="509"/>
                </a:cubicBezTo>
                <a:cubicBezTo>
                  <a:pt x="210" y="509"/>
                  <a:pt x="210" y="510"/>
                  <a:pt x="210" y="511"/>
                </a:cubicBezTo>
                <a:lnTo>
                  <a:pt x="211" y="515"/>
                </a:lnTo>
                <a:cubicBezTo>
                  <a:pt x="211" y="515"/>
                  <a:pt x="211" y="515"/>
                  <a:pt x="210" y="515"/>
                </a:cubicBezTo>
                <a:lnTo>
                  <a:pt x="208" y="514"/>
                </a:lnTo>
                <a:lnTo>
                  <a:pt x="208" y="515"/>
                </a:lnTo>
                <a:cubicBezTo>
                  <a:pt x="208" y="518"/>
                  <a:pt x="206" y="524"/>
                  <a:pt x="203" y="534"/>
                </a:cubicBezTo>
                <a:cubicBezTo>
                  <a:pt x="200" y="543"/>
                  <a:pt x="199" y="549"/>
                  <a:pt x="199" y="553"/>
                </a:cubicBezTo>
                <a:cubicBezTo>
                  <a:pt x="199" y="554"/>
                  <a:pt x="199" y="554"/>
                  <a:pt x="199" y="555"/>
                </a:cubicBezTo>
                <a:cubicBezTo>
                  <a:pt x="200" y="555"/>
                  <a:pt x="200" y="554"/>
                  <a:pt x="201" y="552"/>
                </a:cubicBezTo>
                <a:cubicBezTo>
                  <a:pt x="202" y="551"/>
                  <a:pt x="203" y="549"/>
                  <a:pt x="203" y="548"/>
                </a:cubicBezTo>
                <a:cubicBezTo>
                  <a:pt x="203" y="547"/>
                  <a:pt x="203" y="546"/>
                  <a:pt x="202" y="546"/>
                </a:cubicBezTo>
                <a:cubicBezTo>
                  <a:pt x="202" y="546"/>
                  <a:pt x="202" y="545"/>
                  <a:pt x="202" y="545"/>
                </a:cubicBezTo>
                <a:cubicBezTo>
                  <a:pt x="202" y="544"/>
                  <a:pt x="202" y="544"/>
                  <a:pt x="203" y="544"/>
                </a:cubicBezTo>
                <a:cubicBezTo>
                  <a:pt x="204" y="544"/>
                  <a:pt x="207" y="538"/>
                  <a:pt x="212" y="524"/>
                </a:cubicBezTo>
                <a:cubicBezTo>
                  <a:pt x="217" y="511"/>
                  <a:pt x="219" y="504"/>
                  <a:pt x="220" y="504"/>
                </a:cubicBezTo>
                <a:cubicBezTo>
                  <a:pt x="221" y="503"/>
                  <a:pt x="221" y="502"/>
                  <a:pt x="221" y="500"/>
                </a:cubicBezTo>
                <a:cubicBezTo>
                  <a:pt x="221" y="498"/>
                  <a:pt x="222" y="497"/>
                  <a:pt x="224" y="496"/>
                </a:cubicBezTo>
                <a:cubicBezTo>
                  <a:pt x="225" y="496"/>
                  <a:pt x="226" y="495"/>
                  <a:pt x="226" y="493"/>
                </a:cubicBezTo>
                <a:lnTo>
                  <a:pt x="225" y="488"/>
                </a:lnTo>
                <a:cubicBezTo>
                  <a:pt x="225" y="488"/>
                  <a:pt x="225" y="487"/>
                  <a:pt x="225" y="487"/>
                </a:cubicBezTo>
                <a:lnTo>
                  <a:pt x="228" y="488"/>
                </a:lnTo>
                <a:cubicBezTo>
                  <a:pt x="228" y="488"/>
                  <a:pt x="228" y="488"/>
                  <a:pt x="228" y="488"/>
                </a:cubicBezTo>
                <a:cubicBezTo>
                  <a:pt x="228" y="487"/>
                  <a:pt x="228" y="487"/>
                  <a:pt x="228" y="486"/>
                </a:cubicBezTo>
                <a:cubicBezTo>
                  <a:pt x="227" y="486"/>
                  <a:pt x="227" y="485"/>
                  <a:pt x="227" y="484"/>
                </a:cubicBezTo>
                <a:cubicBezTo>
                  <a:pt x="227" y="484"/>
                  <a:pt x="227" y="484"/>
                  <a:pt x="228" y="484"/>
                </a:cubicBezTo>
                <a:lnTo>
                  <a:pt x="232" y="485"/>
                </a:lnTo>
                <a:cubicBezTo>
                  <a:pt x="232" y="485"/>
                  <a:pt x="231" y="483"/>
                  <a:pt x="230" y="482"/>
                </a:cubicBezTo>
                <a:cubicBezTo>
                  <a:pt x="229" y="480"/>
                  <a:pt x="229" y="479"/>
                  <a:pt x="229" y="478"/>
                </a:cubicBezTo>
                <a:lnTo>
                  <a:pt x="229" y="477"/>
                </a:lnTo>
                <a:lnTo>
                  <a:pt x="229" y="477"/>
                </a:lnTo>
                <a:cubicBezTo>
                  <a:pt x="230" y="477"/>
                  <a:pt x="230" y="478"/>
                  <a:pt x="230" y="479"/>
                </a:cubicBezTo>
                <a:cubicBezTo>
                  <a:pt x="231" y="480"/>
                  <a:pt x="231" y="480"/>
                  <a:pt x="231" y="480"/>
                </a:cubicBezTo>
                <a:cubicBezTo>
                  <a:pt x="231" y="480"/>
                  <a:pt x="232" y="480"/>
                  <a:pt x="233" y="478"/>
                </a:cubicBezTo>
                <a:cubicBezTo>
                  <a:pt x="234" y="476"/>
                  <a:pt x="235" y="475"/>
                  <a:pt x="235" y="474"/>
                </a:cubicBezTo>
                <a:cubicBezTo>
                  <a:pt x="235" y="473"/>
                  <a:pt x="234" y="472"/>
                  <a:pt x="234" y="471"/>
                </a:cubicBezTo>
                <a:cubicBezTo>
                  <a:pt x="233" y="470"/>
                  <a:pt x="232" y="469"/>
                  <a:pt x="232" y="468"/>
                </a:cubicBezTo>
                <a:lnTo>
                  <a:pt x="233" y="467"/>
                </a:lnTo>
                <a:lnTo>
                  <a:pt x="233" y="467"/>
                </a:lnTo>
                <a:cubicBezTo>
                  <a:pt x="234" y="467"/>
                  <a:pt x="234" y="468"/>
                  <a:pt x="234" y="469"/>
                </a:cubicBezTo>
                <a:cubicBezTo>
                  <a:pt x="234" y="470"/>
                  <a:pt x="234" y="470"/>
                  <a:pt x="235" y="470"/>
                </a:cubicBezTo>
                <a:cubicBezTo>
                  <a:pt x="235" y="470"/>
                  <a:pt x="236" y="470"/>
                  <a:pt x="237" y="469"/>
                </a:cubicBezTo>
                <a:cubicBezTo>
                  <a:pt x="239" y="467"/>
                  <a:pt x="239" y="465"/>
                  <a:pt x="239" y="463"/>
                </a:cubicBezTo>
                <a:cubicBezTo>
                  <a:pt x="239" y="462"/>
                  <a:pt x="239" y="461"/>
                  <a:pt x="238" y="461"/>
                </a:cubicBezTo>
                <a:cubicBezTo>
                  <a:pt x="238" y="460"/>
                  <a:pt x="237" y="460"/>
                  <a:pt x="236" y="460"/>
                </a:cubicBezTo>
                <a:cubicBezTo>
                  <a:pt x="236" y="459"/>
                  <a:pt x="236" y="459"/>
                  <a:pt x="236" y="459"/>
                </a:cubicBezTo>
                <a:cubicBezTo>
                  <a:pt x="236" y="458"/>
                  <a:pt x="236" y="458"/>
                  <a:pt x="236" y="457"/>
                </a:cubicBezTo>
                <a:cubicBezTo>
                  <a:pt x="236" y="457"/>
                  <a:pt x="238" y="457"/>
                  <a:pt x="240" y="457"/>
                </a:cubicBezTo>
                <a:cubicBezTo>
                  <a:pt x="242" y="457"/>
                  <a:pt x="245" y="452"/>
                  <a:pt x="249" y="441"/>
                </a:cubicBezTo>
                <a:cubicBezTo>
                  <a:pt x="250" y="437"/>
                  <a:pt x="251" y="434"/>
                  <a:pt x="251" y="431"/>
                </a:cubicBezTo>
                <a:cubicBezTo>
                  <a:pt x="251" y="431"/>
                  <a:pt x="251" y="430"/>
                  <a:pt x="250" y="430"/>
                </a:cubicBezTo>
                <a:cubicBezTo>
                  <a:pt x="250" y="429"/>
                  <a:pt x="250" y="429"/>
                  <a:pt x="250" y="429"/>
                </a:cubicBezTo>
                <a:cubicBezTo>
                  <a:pt x="249" y="429"/>
                  <a:pt x="247" y="433"/>
                  <a:pt x="244" y="439"/>
                </a:cubicBezTo>
                <a:lnTo>
                  <a:pt x="242" y="447"/>
                </a:lnTo>
                <a:cubicBezTo>
                  <a:pt x="241" y="451"/>
                  <a:pt x="241" y="453"/>
                  <a:pt x="241" y="454"/>
                </a:cubicBezTo>
                <a:cubicBezTo>
                  <a:pt x="241" y="454"/>
                  <a:pt x="240" y="455"/>
                  <a:pt x="239" y="455"/>
                </a:cubicBezTo>
                <a:cubicBezTo>
                  <a:pt x="239" y="455"/>
                  <a:pt x="238" y="454"/>
                  <a:pt x="238" y="452"/>
                </a:cubicBezTo>
                <a:cubicBezTo>
                  <a:pt x="238" y="449"/>
                  <a:pt x="240" y="443"/>
                  <a:pt x="244" y="433"/>
                </a:cubicBezTo>
                <a:cubicBezTo>
                  <a:pt x="248" y="426"/>
                  <a:pt x="251" y="422"/>
                  <a:pt x="251" y="422"/>
                </a:cubicBezTo>
                <a:cubicBezTo>
                  <a:pt x="253" y="422"/>
                  <a:pt x="253" y="422"/>
                  <a:pt x="253" y="422"/>
                </a:cubicBezTo>
                <a:cubicBezTo>
                  <a:pt x="253" y="423"/>
                  <a:pt x="253" y="423"/>
                  <a:pt x="251" y="424"/>
                </a:cubicBezTo>
                <a:cubicBezTo>
                  <a:pt x="250" y="424"/>
                  <a:pt x="250" y="425"/>
                  <a:pt x="250" y="426"/>
                </a:cubicBezTo>
                <a:cubicBezTo>
                  <a:pt x="250" y="426"/>
                  <a:pt x="250" y="427"/>
                  <a:pt x="250" y="427"/>
                </a:cubicBezTo>
                <a:cubicBezTo>
                  <a:pt x="251" y="428"/>
                  <a:pt x="251" y="428"/>
                  <a:pt x="251" y="428"/>
                </a:cubicBezTo>
                <a:cubicBezTo>
                  <a:pt x="253" y="428"/>
                  <a:pt x="255" y="425"/>
                  <a:pt x="257" y="419"/>
                </a:cubicBezTo>
                <a:lnTo>
                  <a:pt x="261" y="406"/>
                </a:lnTo>
                <a:cubicBezTo>
                  <a:pt x="260" y="406"/>
                  <a:pt x="260" y="406"/>
                  <a:pt x="259" y="406"/>
                </a:cubicBezTo>
                <a:lnTo>
                  <a:pt x="258" y="406"/>
                </a:lnTo>
                <a:cubicBezTo>
                  <a:pt x="258" y="406"/>
                  <a:pt x="257" y="406"/>
                  <a:pt x="257" y="406"/>
                </a:cubicBezTo>
                <a:cubicBezTo>
                  <a:pt x="257" y="405"/>
                  <a:pt x="258" y="404"/>
                  <a:pt x="260" y="404"/>
                </a:cubicBezTo>
                <a:lnTo>
                  <a:pt x="262" y="404"/>
                </a:lnTo>
                <a:cubicBezTo>
                  <a:pt x="263" y="404"/>
                  <a:pt x="263" y="404"/>
                  <a:pt x="263" y="402"/>
                </a:cubicBezTo>
                <a:cubicBezTo>
                  <a:pt x="263" y="401"/>
                  <a:pt x="263" y="400"/>
                  <a:pt x="262" y="400"/>
                </a:cubicBezTo>
                <a:lnTo>
                  <a:pt x="260" y="401"/>
                </a:lnTo>
                <a:cubicBezTo>
                  <a:pt x="260" y="401"/>
                  <a:pt x="259" y="401"/>
                  <a:pt x="259" y="400"/>
                </a:cubicBezTo>
                <a:cubicBezTo>
                  <a:pt x="259" y="399"/>
                  <a:pt x="260" y="397"/>
                  <a:pt x="262" y="395"/>
                </a:cubicBezTo>
                <a:cubicBezTo>
                  <a:pt x="262" y="394"/>
                  <a:pt x="263" y="393"/>
                  <a:pt x="263" y="393"/>
                </a:cubicBezTo>
                <a:cubicBezTo>
                  <a:pt x="263" y="393"/>
                  <a:pt x="264" y="393"/>
                  <a:pt x="265" y="392"/>
                </a:cubicBezTo>
                <a:lnTo>
                  <a:pt x="266" y="393"/>
                </a:lnTo>
                <a:cubicBezTo>
                  <a:pt x="266" y="393"/>
                  <a:pt x="267" y="392"/>
                  <a:pt x="267" y="391"/>
                </a:cubicBezTo>
                <a:cubicBezTo>
                  <a:pt x="267" y="390"/>
                  <a:pt x="267" y="389"/>
                  <a:pt x="268" y="388"/>
                </a:cubicBezTo>
                <a:cubicBezTo>
                  <a:pt x="268" y="388"/>
                  <a:pt x="269" y="387"/>
                  <a:pt x="269" y="387"/>
                </a:cubicBezTo>
                <a:cubicBezTo>
                  <a:pt x="270" y="387"/>
                  <a:pt x="270" y="387"/>
                  <a:pt x="270" y="385"/>
                </a:cubicBezTo>
                <a:cubicBezTo>
                  <a:pt x="269" y="384"/>
                  <a:pt x="268" y="384"/>
                  <a:pt x="268" y="384"/>
                </a:cubicBezTo>
                <a:lnTo>
                  <a:pt x="266" y="385"/>
                </a:lnTo>
                <a:lnTo>
                  <a:pt x="266" y="384"/>
                </a:lnTo>
                <a:cubicBezTo>
                  <a:pt x="266" y="384"/>
                  <a:pt x="266" y="383"/>
                  <a:pt x="267" y="381"/>
                </a:cubicBezTo>
                <a:cubicBezTo>
                  <a:pt x="268" y="380"/>
                  <a:pt x="268" y="379"/>
                  <a:pt x="269" y="378"/>
                </a:cubicBezTo>
                <a:cubicBezTo>
                  <a:pt x="270" y="377"/>
                  <a:pt x="271" y="377"/>
                  <a:pt x="272" y="377"/>
                </a:cubicBezTo>
                <a:cubicBezTo>
                  <a:pt x="273" y="377"/>
                  <a:pt x="274" y="377"/>
                  <a:pt x="274" y="376"/>
                </a:cubicBezTo>
                <a:lnTo>
                  <a:pt x="273" y="376"/>
                </a:lnTo>
                <a:cubicBezTo>
                  <a:pt x="272" y="375"/>
                  <a:pt x="272" y="375"/>
                  <a:pt x="272" y="374"/>
                </a:cubicBezTo>
                <a:cubicBezTo>
                  <a:pt x="272" y="373"/>
                  <a:pt x="273" y="372"/>
                  <a:pt x="274" y="371"/>
                </a:cubicBezTo>
                <a:lnTo>
                  <a:pt x="276" y="370"/>
                </a:lnTo>
                <a:lnTo>
                  <a:pt x="273" y="370"/>
                </a:lnTo>
                <a:cubicBezTo>
                  <a:pt x="273" y="370"/>
                  <a:pt x="273" y="370"/>
                  <a:pt x="273" y="370"/>
                </a:cubicBezTo>
                <a:cubicBezTo>
                  <a:pt x="273" y="369"/>
                  <a:pt x="273" y="368"/>
                  <a:pt x="275" y="366"/>
                </a:cubicBezTo>
                <a:cubicBezTo>
                  <a:pt x="276" y="364"/>
                  <a:pt x="277" y="362"/>
                  <a:pt x="277" y="362"/>
                </a:cubicBezTo>
                <a:cubicBezTo>
                  <a:pt x="277" y="361"/>
                  <a:pt x="277" y="360"/>
                  <a:pt x="277" y="360"/>
                </a:cubicBezTo>
                <a:lnTo>
                  <a:pt x="277" y="359"/>
                </a:lnTo>
                <a:lnTo>
                  <a:pt x="279" y="360"/>
                </a:lnTo>
                <a:cubicBezTo>
                  <a:pt x="280" y="360"/>
                  <a:pt x="280" y="360"/>
                  <a:pt x="280" y="359"/>
                </a:cubicBezTo>
                <a:cubicBezTo>
                  <a:pt x="280" y="357"/>
                  <a:pt x="280" y="357"/>
                  <a:pt x="279" y="357"/>
                </a:cubicBezTo>
                <a:cubicBezTo>
                  <a:pt x="278" y="357"/>
                  <a:pt x="277" y="356"/>
                  <a:pt x="277" y="355"/>
                </a:cubicBezTo>
                <a:cubicBezTo>
                  <a:pt x="277" y="355"/>
                  <a:pt x="278" y="354"/>
                  <a:pt x="279" y="352"/>
                </a:cubicBezTo>
                <a:cubicBezTo>
                  <a:pt x="280" y="350"/>
                  <a:pt x="281" y="350"/>
                  <a:pt x="283" y="350"/>
                </a:cubicBezTo>
                <a:lnTo>
                  <a:pt x="284" y="350"/>
                </a:lnTo>
                <a:lnTo>
                  <a:pt x="283" y="344"/>
                </a:lnTo>
                <a:cubicBezTo>
                  <a:pt x="283" y="343"/>
                  <a:pt x="283" y="343"/>
                  <a:pt x="283" y="343"/>
                </a:cubicBezTo>
                <a:lnTo>
                  <a:pt x="285" y="343"/>
                </a:lnTo>
                <a:cubicBezTo>
                  <a:pt x="286" y="343"/>
                  <a:pt x="288" y="342"/>
                  <a:pt x="290" y="338"/>
                </a:cubicBezTo>
                <a:cubicBezTo>
                  <a:pt x="291" y="334"/>
                  <a:pt x="292" y="331"/>
                  <a:pt x="292" y="330"/>
                </a:cubicBezTo>
                <a:cubicBezTo>
                  <a:pt x="292" y="329"/>
                  <a:pt x="291" y="329"/>
                  <a:pt x="291" y="329"/>
                </a:cubicBezTo>
                <a:lnTo>
                  <a:pt x="289" y="329"/>
                </a:lnTo>
                <a:lnTo>
                  <a:pt x="289" y="329"/>
                </a:lnTo>
                <a:cubicBezTo>
                  <a:pt x="289" y="328"/>
                  <a:pt x="290" y="327"/>
                  <a:pt x="291" y="325"/>
                </a:cubicBezTo>
                <a:cubicBezTo>
                  <a:pt x="291" y="323"/>
                  <a:pt x="292" y="322"/>
                  <a:pt x="293" y="322"/>
                </a:cubicBezTo>
                <a:cubicBezTo>
                  <a:pt x="293" y="322"/>
                  <a:pt x="294" y="322"/>
                  <a:pt x="294" y="322"/>
                </a:cubicBezTo>
                <a:cubicBezTo>
                  <a:pt x="294" y="322"/>
                  <a:pt x="294" y="323"/>
                  <a:pt x="295" y="323"/>
                </a:cubicBezTo>
                <a:cubicBezTo>
                  <a:pt x="295" y="323"/>
                  <a:pt x="296" y="322"/>
                  <a:pt x="296" y="321"/>
                </a:cubicBezTo>
                <a:cubicBezTo>
                  <a:pt x="296" y="319"/>
                  <a:pt x="296" y="318"/>
                  <a:pt x="296" y="318"/>
                </a:cubicBezTo>
                <a:cubicBezTo>
                  <a:pt x="296" y="317"/>
                  <a:pt x="296" y="317"/>
                  <a:pt x="296" y="317"/>
                </a:cubicBezTo>
                <a:lnTo>
                  <a:pt x="294" y="318"/>
                </a:lnTo>
                <a:cubicBezTo>
                  <a:pt x="294" y="318"/>
                  <a:pt x="294" y="317"/>
                  <a:pt x="294" y="317"/>
                </a:cubicBezTo>
                <a:cubicBezTo>
                  <a:pt x="294" y="317"/>
                  <a:pt x="294" y="316"/>
                  <a:pt x="294" y="316"/>
                </a:cubicBezTo>
                <a:cubicBezTo>
                  <a:pt x="295" y="315"/>
                  <a:pt x="296" y="313"/>
                  <a:pt x="299" y="311"/>
                </a:cubicBezTo>
                <a:lnTo>
                  <a:pt x="298" y="311"/>
                </a:lnTo>
                <a:cubicBezTo>
                  <a:pt x="297" y="311"/>
                  <a:pt x="297" y="311"/>
                  <a:pt x="297" y="310"/>
                </a:cubicBezTo>
                <a:cubicBezTo>
                  <a:pt x="297" y="309"/>
                  <a:pt x="298" y="308"/>
                  <a:pt x="298" y="305"/>
                </a:cubicBezTo>
                <a:cubicBezTo>
                  <a:pt x="299" y="302"/>
                  <a:pt x="300" y="300"/>
                  <a:pt x="301" y="300"/>
                </a:cubicBezTo>
                <a:lnTo>
                  <a:pt x="302" y="301"/>
                </a:lnTo>
                <a:cubicBezTo>
                  <a:pt x="302" y="301"/>
                  <a:pt x="303" y="301"/>
                  <a:pt x="303" y="301"/>
                </a:cubicBezTo>
                <a:cubicBezTo>
                  <a:pt x="303" y="301"/>
                  <a:pt x="303" y="301"/>
                  <a:pt x="303" y="300"/>
                </a:cubicBezTo>
                <a:lnTo>
                  <a:pt x="302" y="297"/>
                </a:lnTo>
                <a:cubicBezTo>
                  <a:pt x="302" y="296"/>
                  <a:pt x="303" y="295"/>
                  <a:pt x="304" y="295"/>
                </a:cubicBezTo>
                <a:cubicBezTo>
                  <a:pt x="305" y="295"/>
                  <a:pt x="305" y="295"/>
                  <a:pt x="305" y="294"/>
                </a:cubicBezTo>
                <a:lnTo>
                  <a:pt x="304" y="292"/>
                </a:lnTo>
                <a:cubicBezTo>
                  <a:pt x="304" y="291"/>
                  <a:pt x="305" y="287"/>
                  <a:pt x="308" y="281"/>
                </a:cubicBezTo>
                <a:cubicBezTo>
                  <a:pt x="311" y="272"/>
                  <a:pt x="316" y="259"/>
                  <a:pt x="323" y="243"/>
                </a:cubicBezTo>
                <a:lnTo>
                  <a:pt x="328" y="236"/>
                </a:lnTo>
                <a:lnTo>
                  <a:pt x="329" y="236"/>
                </a:lnTo>
                <a:cubicBezTo>
                  <a:pt x="329" y="236"/>
                  <a:pt x="328" y="235"/>
                  <a:pt x="328" y="235"/>
                </a:cubicBezTo>
                <a:cubicBezTo>
                  <a:pt x="328" y="235"/>
                  <a:pt x="327" y="234"/>
                  <a:pt x="327" y="233"/>
                </a:cubicBezTo>
                <a:cubicBezTo>
                  <a:pt x="327" y="232"/>
                  <a:pt x="328" y="230"/>
                  <a:pt x="330" y="227"/>
                </a:cubicBezTo>
                <a:cubicBezTo>
                  <a:pt x="331" y="225"/>
                  <a:pt x="332" y="223"/>
                  <a:pt x="332" y="222"/>
                </a:cubicBezTo>
                <a:lnTo>
                  <a:pt x="332" y="222"/>
                </a:lnTo>
                <a:cubicBezTo>
                  <a:pt x="332" y="221"/>
                  <a:pt x="332" y="219"/>
                  <a:pt x="333" y="217"/>
                </a:cubicBezTo>
                <a:cubicBezTo>
                  <a:pt x="335" y="214"/>
                  <a:pt x="335" y="213"/>
                  <a:pt x="335" y="212"/>
                </a:cubicBezTo>
                <a:lnTo>
                  <a:pt x="338" y="206"/>
                </a:lnTo>
                <a:cubicBezTo>
                  <a:pt x="340" y="201"/>
                  <a:pt x="341" y="198"/>
                  <a:pt x="342" y="198"/>
                </a:cubicBezTo>
                <a:cubicBezTo>
                  <a:pt x="343" y="198"/>
                  <a:pt x="343" y="197"/>
                  <a:pt x="343" y="196"/>
                </a:cubicBezTo>
                <a:lnTo>
                  <a:pt x="343" y="194"/>
                </a:lnTo>
                <a:cubicBezTo>
                  <a:pt x="343" y="191"/>
                  <a:pt x="343" y="189"/>
                  <a:pt x="345" y="188"/>
                </a:cubicBezTo>
                <a:cubicBezTo>
                  <a:pt x="346" y="188"/>
                  <a:pt x="347" y="186"/>
                  <a:pt x="347" y="184"/>
                </a:cubicBezTo>
                <a:cubicBezTo>
                  <a:pt x="347" y="182"/>
                  <a:pt x="347" y="181"/>
                  <a:pt x="348" y="179"/>
                </a:cubicBezTo>
                <a:cubicBezTo>
                  <a:pt x="349" y="178"/>
                  <a:pt x="350" y="177"/>
                  <a:pt x="350" y="177"/>
                </a:cubicBezTo>
                <a:cubicBezTo>
                  <a:pt x="350" y="177"/>
                  <a:pt x="350" y="176"/>
                  <a:pt x="351" y="175"/>
                </a:cubicBezTo>
                <a:lnTo>
                  <a:pt x="351" y="174"/>
                </a:lnTo>
                <a:cubicBezTo>
                  <a:pt x="351" y="171"/>
                  <a:pt x="353" y="164"/>
                  <a:pt x="357" y="154"/>
                </a:cubicBezTo>
                <a:cubicBezTo>
                  <a:pt x="361" y="144"/>
                  <a:pt x="363" y="139"/>
                  <a:pt x="364" y="139"/>
                </a:cubicBezTo>
                <a:cubicBezTo>
                  <a:pt x="364" y="139"/>
                  <a:pt x="365" y="138"/>
                  <a:pt x="365" y="137"/>
                </a:cubicBezTo>
                <a:lnTo>
                  <a:pt x="365" y="136"/>
                </a:lnTo>
                <a:cubicBezTo>
                  <a:pt x="365" y="133"/>
                  <a:pt x="367" y="127"/>
                  <a:pt x="370" y="116"/>
                </a:cubicBezTo>
                <a:cubicBezTo>
                  <a:pt x="375" y="104"/>
                  <a:pt x="379" y="90"/>
                  <a:pt x="383" y="74"/>
                </a:cubicBezTo>
                <a:cubicBezTo>
                  <a:pt x="387" y="58"/>
                  <a:pt x="389" y="48"/>
                  <a:pt x="389" y="42"/>
                </a:cubicBezTo>
                <a:cubicBezTo>
                  <a:pt x="389" y="37"/>
                  <a:pt x="387" y="34"/>
                  <a:pt x="384" y="34"/>
                </a:cubicBezTo>
                <a:cubicBezTo>
                  <a:pt x="381" y="34"/>
                  <a:pt x="375" y="36"/>
                  <a:pt x="365" y="41"/>
                </a:cubicBezTo>
                <a:cubicBezTo>
                  <a:pt x="359" y="43"/>
                  <a:pt x="355" y="45"/>
                  <a:pt x="353" y="45"/>
                </a:cubicBezTo>
                <a:cubicBezTo>
                  <a:pt x="351" y="45"/>
                  <a:pt x="350" y="44"/>
                  <a:pt x="350" y="44"/>
                </a:cubicBezTo>
                <a:cubicBezTo>
                  <a:pt x="350" y="43"/>
                  <a:pt x="349" y="43"/>
                  <a:pt x="348" y="43"/>
                </a:cubicBezTo>
                <a:cubicBezTo>
                  <a:pt x="347" y="43"/>
                  <a:pt x="344" y="44"/>
                  <a:pt x="340" y="46"/>
                </a:cubicBezTo>
                <a:cubicBezTo>
                  <a:pt x="336" y="48"/>
                  <a:pt x="333" y="50"/>
                  <a:pt x="333" y="51"/>
                </a:cubicBezTo>
                <a:lnTo>
                  <a:pt x="335" y="52"/>
                </a:lnTo>
                <a:cubicBezTo>
                  <a:pt x="336" y="52"/>
                  <a:pt x="336" y="52"/>
                  <a:pt x="336" y="51"/>
                </a:cubicBezTo>
                <a:cubicBezTo>
                  <a:pt x="336" y="50"/>
                  <a:pt x="337" y="50"/>
                  <a:pt x="337" y="50"/>
                </a:cubicBezTo>
                <a:lnTo>
                  <a:pt x="339" y="50"/>
                </a:lnTo>
                <a:cubicBezTo>
                  <a:pt x="340" y="50"/>
                  <a:pt x="340" y="50"/>
                  <a:pt x="340" y="49"/>
                </a:cubicBezTo>
                <a:cubicBezTo>
                  <a:pt x="340" y="48"/>
                  <a:pt x="341" y="48"/>
                  <a:pt x="342" y="48"/>
                </a:cubicBezTo>
                <a:cubicBezTo>
                  <a:pt x="342" y="48"/>
                  <a:pt x="343" y="48"/>
                  <a:pt x="343" y="48"/>
                </a:cubicBezTo>
                <a:cubicBezTo>
                  <a:pt x="344" y="48"/>
                  <a:pt x="345" y="48"/>
                  <a:pt x="345" y="46"/>
                </a:cubicBezTo>
                <a:cubicBezTo>
                  <a:pt x="346" y="45"/>
                  <a:pt x="347" y="45"/>
                  <a:pt x="348" y="45"/>
                </a:cubicBezTo>
                <a:cubicBezTo>
                  <a:pt x="349" y="45"/>
                  <a:pt x="349" y="45"/>
                  <a:pt x="350" y="47"/>
                </a:cubicBezTo>
                <a:cubicBezTo>
                  <a:pt x="350" y="47"/>
                  <a:pt x="349" y="48"/>
                  <a:pt x="348" y="49"/>
                </a:cubicBezTo>
                <a:cubicBezTo>
                  <a:pt x="347" y="50"/>
                  <a:pt x="345" y="51"/>
                  <a:pt x="343" y="51"/>
                </a:cubicBezTo>
                <a:cubicBezTo>
                  <a:pt x="340" y="53"/>
                  <a:pt x="338" y="54"/>
                  <a:pt x="335" y="56"/>
                </a:cubicBezTo>
                <a:cubicBezTo>
                  <a:pt x="333" y="58"/>
                  <a:pt x="331" y="59"/>
                  <a:pt x="329" y="59"/>
                </a:cubicBezTo>
                <a:cubicBezTo>
                  <a:pt x="327" y="60"/>
                  <a:pt x="325" y="62"/>
                  <a:pt x="323" y="63"/>
                </a:cubicBezTo>
                <a:cubicBezTo>
                  <a:pt x="321" y="66"/>
                  <a:pt x="319" y="66"/>
                  <a:pt x="318" y="66"/>
                </a:cubicBezTo>
                <a:lnTo>
                  <a:pt x="317" y="66"/>
                </a:lnTo>
                <a:cubicBezTo>
                  <a:pt x="316" y="66"/>
                  <a:pt x="315" y="66"/>
                  <a:pt x="315" y="67"/>
                </a:cubicBezTo>
                <a:cubicBezTo>
                  <a:pt x="315" y="68"/>
                  <a:pt x="314" y="69"/>
                  <a:pt x="311" y="71"/>
                </a:cubicBezTo>
                <a:cubicBezTo>
                  <a:pt x="309" y="73"/>
                  <a:pt x="306" y="75"/>
                  <a:pt x="303" y="76"/>
                </a:cubicBezTo>
                <a:cubicBezTo>
                  <a:pt x="300" y="78"/>
                  <a:pt x="297" y="78"/>
                  <a:pt x="296" y="78"/>
                </a:cubicBezTo>
                <a:lnTo>
                  <a:pt x="294" y="78"/>
                </a:lnTo>
                <a:lnTo>
                  <a:pt x="295" y="78"/>
                </a:lnTo>
                <a:cubicBezTo>
                  <a:pt x="295" y="79"/>
                  <a:pt x="295" y="80"/>
                  <a:pt x="295" y="81"/>
                </a:cubicBezTo>
                <a:cubicBezTo>
                  <a:pt x="295" y="81"/>
                  <a:pt x="295" y="82"/>
                  <a:pt x="294" y="82"/>
                </a:cubicBezTo>
                <a:cubicBezTo>
                  <a:pt x="293" y="83"/>
                  <a:pt x="293" y="83"/>
                  <a:pt x="292" y="83"/>
                </a:cubicBezTo>
                <a:cubicBezTo>
                  <a:pt x="291" y="83"/>
                  <a:pt x="290" y="83"/>
                  <a:pt x="289" y="81"/>
                </a:cubicBezTo>
                <a:cubicBezTo>
                  <a:pt x="288" y="80"/>
                  <a:pt x="286" y="80"/>
                  <a:pt x="284" y="80"/>
                </a:cubicBezTo>
                <a:cubicBezTo>
                  <a:pt x="283" y="80"/>
                  <a:pt x="283" y="80"/>
                  <a:pt x="283" y="80"/>
                </a:cubicBezTo>
                <a:cubicBezTo>
                  <a:pt x="283" y="80"/>
                  <a:pt x="284" y="81"/>
                  <a:pt x="286" y="82"/>
                </a:cubicBezTo>
                <a:cubicBezTo>
                  <a:pt x="288" y="83"/>
                  <a:pt x="289" y="84"/>
                  <a:pt x="289" y="85"/>
                </a:cubicBezTo>
                <a:cubicBezTo>
                  <a:pt x="289" y="85"/>
                  <a:pt x="289" y="85"/>
                  <a:pt x="288" y="86"/>
                </a:cubicBezTo>
                <a:cubicBezTo>
                  <a:pt x="288" y="86"/>
                  <a:pt x="287" y="87"/>
                  <a:pt x="286" y="87"/>
                </a:cubicBezTo>
                <a:cubicBezTo>
                  <a:pt x="285" y="87"/>
                  <a:pt x="284" y="86"/>
                  <a:pt x="283" y="86"/>
                </a:cubicBezTo>
                <a:cubicBezTo>
                  <a:pt x="282" y="85"/>
                  <a:pt x="281" y="85"/>
                  <a:pt x="281" y="85"/>
                </a:cubicBezTo>
                <a:cubicBezTo>
                  <a:pt x="276" y="85"/>
                  <a:pt x="263" y="94"/>
                  <a:pt x="242" y="110"/>
                </a:cubicBezTo>
                <a:cubicBezTo>
                  <a:pt x="235" y="117"/>
                  <a:pt x="231" y="120"/>
                  <a:pt x="229" y="120"/>
                </a:cubicBezTo>
                <a:cubicBezTo>
                  <a:pt x="229" y="118"/>
                  <a:pt x="238" y="110"/>
                  <a:pt x="257" y="97"/>
                </a:cubicBezTo>
                <a:cubicBezTo>
                  <a:pt x="275" y="83"/>
                  <a:pt x="286" y="76"/>
                  <a:pt x="288" y="76"/>
                </a:cubicBezTo>
                <a:lnTo>
                  <a:pt x="289" y="77"/>
                </a:lnTo>
                <a:cubicBezTo>
                  <a:pt x="289" y="77"/>
                  <a:pt x="289" y="77"/>
                  <a:pt x="289" y="76"/>
                </a:cubicBezTo>
                <a:cubicBezTo>
                  <a:pt x="289" y="74"/>
                  <a:pt x="290" y="73"/>
                  <a:pt x="292" y="73"/>
                </a:cubicBezTo>
                <a:cubicBezTo>
                  <a:pt x="294" y="73"/>
                  <a:pt x="295" y="72"/>
                  <a:pt x="295" y="71"/>
                </a:cubicBezTo>
                <a:lnTo>
                  <a:pt x="295" y="71"/>
                </a:lnTo>
                <a:cubicBezTo>
                  <a:pt x="295" y="69"/>
                  <a:pt x="296" y="68"/>
                  <a:pt x="298" y="68"/>
                </a:cubicBezTo>
                <a:cubicBezTo>
                  <a:pt x="300" y="68"/>
                  <a:pt x="300" y="68"/>
                  <a:pt x="300" y="68"/>
                </a:cubicBezTo>
                <a:lnTo>
                  <a:pt x="300" y="67"/>
                </a:lnTo>
                <a:cubicBezTo>
                  <a:pt x="300" y="65"/>
                  <a:pt x="308" y="60"/>
                  <a:pt x="323" y="52"/>
                </a:cubicBezTo>
                <a:cubicBezTo>
                  <a:pt x="338" y="44"/>
                  <a:pt x="348" y="40"/>
                  <a:pt x="353" y="40"/>
                </a:cubicBezTo>
                <a:cubicBezTo>
                  <a:pt x="361" y="40"/>
                  <a:pt x="365" y="39"/>
                  <a:pt x="365" y="38"/>
                </a:cubicBezTo>
                <a:cubicBezTo>
                  <a:pt x="365" y="38"/>
                  <a:pt x="365" y="37"/>
                  <a:pt x="364" y="36"/>
                </a:cubicBezTo>
                <a:cubicBezTo>
                  <a:pt x="363" y="35"/>
                  <a:pt x="363" y="34"/>
                  <a:pt x="363" y="34"/>
                </a:cubicBezTo>
                <a:cubicBezTo>
                  <a:pt x="363" y="33"/>
                  <a:pt x="363" y="32"/>
                  <a:pt x="365" y="32"/>
                </a:cubicBezTo>
                <a:cubicBezTo>
                  <a:pt x="367" y="31"/>
                  <a:pt x="370" y="31"/>
                  <a:pt x="372" y="31"/>
                </a:cubicBezTo>
                <a:cubicBezTo>
                  <a:pt x="373" y="31"/>
                  <a:pt x="374" y="31"/>
                  <a:pt x="375" y="31"/>
                </a:cubicBezTo>
                <a:cubicBezTo>
                  <a:pt x="375" y="31"/>
                  <a:pt x="375" y="32"/>
                  <a:pt x="376" y="32"/>
                </a:cubicBezTo>
                <a:lnTo>
                  <a:pt x="375" y="34"/>
                </a:lnTo>
                <a:cubicBezTo>
                  <a:pt x="375" y="34"/>
                  <a:pt x="376" y="34"/>
                  <a:pt x="377" y="34"/>
                </a:cubicBezTo>
                <a:cubicBezTo>
                  <a:pt x="377" y="34"/>
                  <a:pt x="378" y="34"/>
                  <a:pt x="379" y="33"/>
                </a:cubicBezTo>
                <a:cubicBezTo>
                  <a:pt x="379" y="33"/>
                  <a:pt x="380" y="32"/>
                  <a:pt x="380" y="32"/>
                </a:cubicBezTo>
                <a:cubicBezTo>
                  <a:pt x="380" y="31"/>
                  <a:pt x="379" y="30"/>
                  <a:pt x="377" y="28"/>
                </a:cubicBezTo>
                <a:cubicBezTo>
                  <a:pt x="375" y="26"/>
                  <a:pt x="374" y="25"/>
                  <a:pt x="373" y="25"/>
                </a:cubicBezTo>
                <a:cubicBezTo>
                  <a:pt x="372" y="25"/>
                  <a:pt x="372" y="26"/>
                  <a:pt x="371" y="27"/>
                </a:cubicBezTo>
                <a:cubicBezTo>
                  <a:pt x="370" y="27"/>
                  <a:pt x="367" y="29"/>
                  <a:pt x="361" y="30"/>
                </a:cubicBezTo>
                <a:cubicBezTo>
                  <a:pt x="355" y="31"/>
                  <a:pt x="348" y="34"/>
                  <a:pt x="341" y="38"/>
                </a:cubicBezTo>
                <a:cubicBezTo>
                  <a:pt x="335" y="42"/>
                  <a:pt x="331" y="44"/>
                  <a:pt x="330" y="44"/>
                </a:cubicBezTo>
                <a:cubicBezTo>
                  <a:pt x="329" y="44"/>
                  <a:pt x="328" y="42"/>
                  <a:pt x="328" y="40"/>
                </a:cubicBezTo>
                <a:cubicBezTo>
                  <a:pt x="327" y="40"/>
                  <a:pt x="324" y="41"/>
                  <a:pt x="321" y="43"/>
                </a:cubicBezTo>
                <a:cubicBezTo>
                  <a:pt x="317" y="44"/>
                  <a:pt x="315" y="45"/>
                  <a:pt x="314" y="45"/>
                </a:cubicBezTo>
                <a:cubicBezTo>
                  <a:pt x="312" y="45"/>
                  <a:pt x="312" y="45"/>
                  <a:pt x="312" y="44"/>
                </a:cubicBezTo>
                <a:cubicBezTo>
                  <a:pt x="312" y="43"/>
                  <a:pt x="313" y="41"/>
                  <a:pt x="315" y="39"/>
                </a:cubicBezTo>
                <a:cubicBezTo>
                  <a:pt x="316" y="37"/>
                  <a:pt x="317" y="36"/>
                  <a:pt x="317" y="35"/>
                </a:cubicBezTo>
                <a:cubicBezTo>
                  <a:pt x="317" y="34"/>
                  <a:pt x="317" y="34"/>
                  <a:pt x="316" y="34"/>
                </a:cubicBezTo>
                <a:cubicBezTo>
                  <a:pt x="315" y="34"/>
                  <a:pt x="314" y="34"/>
                  <a:pt x="312" y="35"/>
                </a:cubicBezTo>
                <a:cubicBezTo>
                  <a:pt x="311" y="36"/>
                  <a:pt x="310" y="36"/>
                  <a:pt x="310" y="36"/>
                </a:cubicBezTo>
                <a:lnTo>
                  <a:pt x="312" y="33"/>
                </a:lnTo>
                <a:cubicBezTo>
                  <a:pt x="314" y="31"/>
                  <a:pt x="315" y="29"/>
                  <a:pt x="315" y="29"/>
                </a:cubicBezTo>
                <a:cubicBezTo>
                  <a:pt x="315" y="28"/>
                  <a:pt x="315" y="27"/>
                  <a:pt x="314" y="27"/>
                </a:cubicBezTo>
                <a:cubicBezTo>
                  <a:pt x="313" y="27"/>
                  <a:pt x="313" y="27"/>
                  <a:pt x="312" y="27"/>
                </a:cubicBezTo>
                <a:cubicBezTo>
                  <a:pt x="311" y="28"/>
                  <a:pt x="310" y="28"/>
                  <a:pt x="310" y="28"/>
                </a:cubicBezTo>
                <a:cubicBezTo>
                  <a:pt x="310" y="28"/>
                  <a:pt x="310" y="28"/>
                  <a:pt x="310" y="27"/>
                </a:cubicBezTo>
                <a:cubicBezTo>
                  <a:pt x="310" y="27"/>
                  <a:pt x="313" y="24"/>
                  <a:pt x="321" y="20"/>
                </a:cubicBezTo>
                <a:cubicBezTo>
                  <a:pt x="327" y="17"/>
                  <a:pt x="330" y="16"/>
                  <a:pt x="332" y="16"/>
                </a:cubicBezTo>
                <a:cubicBezTo>
                  <a:pt x="332" y="16"/>
                  <a:pt x="332" y="16"/>
                  <a:pt x="332" y="16"/>
                </a:cubicBezTo>
                <a:cubicBezTo>
                  <a:pt x="332" y="19"/>
                  <a:pt x="330" y="20"/>
                  <a:pt x="324" y="22"/>
                </a:cubicBezTo>
                <a:cubicBezTo>
                  <a:pt x="320" y="24"/>
                  <a:pt x="317" y="25"/>
                  <a:pt x="317" y="27"/>
                </a:cubicBezTo>
                <a:lnTo>
                  <a:pt x="318" y="28"/>
                </a:lnTo>
                <a:lnTo>
                  <a:pt x="333" y="20"/>
                </a:lnTo>
                <a:cubicBezTo>
                  <a:pt x="347" y="13"/>
                  <a:pt x="360" y="8"/>
                  <a:pt x="372" y="5"/>
                </a:cubicBezTo>
                <a:cubicBezTo>
                  <a:pt x="375" y="5"/>
                  <a:pt x="377" y="4"/>
                  <a:pt x="377" y="4"/>
                </a:cubicBezTo>
                <a:cubicBezTo>
                  <a:pt x="377" y="3"/>
                  <a:pt x="376" y="3"/>
                  <a:pt x="374" y="2"/>
                </a:cubicBezTo>
                <a:cubicBezTo>
                  <a:pt x="372" y="2"/>
                  <a:pt x="371" y="1"/>
                  <a:pt x="371" y="1"/>
                </a:cubicBezTo>
                <a:cubicBezTo>
                  <a:pt x="371" y="0"/>
                  <a:pt x="373" y="0"/>
                  <a:pt x="377" y="0"/>
                </a:cubicBezTo>
                <a:cubicBezTo>
                  <a:pt x="382" y="0"/>
                  <a:pt x="385" y="1"/>
                  <a:pt x="389" y="2"/>
                </a:cubicBezTo>
                <a:cubicBezTo>
                  <a:pt x="393" y="4"/>
                  <a:pt x="394" y="6"/>
                  <a:pt x="394" y="8"/>
                </a:cubicBezTo>
                <a:cubicBezTo>
                  <a:pt x="394" y="10"/>
                  <a:pt x="396" y="13"/>
                  <a:pt x="399" y="15"/>
                </a:cubicBezTo>
                <a:cubicBezTo>
                  <a:pt x="400" y="16"/>
                  <a:pt x="401" y="17"/>
                  <a:pt x="402" y="17"/>
                </a:cubicBezTo>
                <a:cubicBezTo>
                  <a:pt x="402" y="18"/>
                  <a:pt x="403" y="19"/>
                  <a:pt x="403" y="22"/>
                </a:cubicBezTo>
                <a:lnTo>
                  <a:pt x="403" y="22"/>
                </a:lnTo>
                <a:cubicBezTo>
                  <a:pt x="403" y="23"/>
                  <a:pt x="404" y="24"/>
                  <a:pt x="406" y="24"/>
                </a:cubicBezTo>
                <a:cubicBezTo>
                  <a:pt x="415" y="25"/>
                  <a:pt x="421" y="29"/>
                  <a:pt x="424" y="36"/>
                </a:cubicBezTo>
                <a:cubicBezTo>
                  <a:pt x="427" y="43"/>
                  <a:pt x="428" y="52"/>
                  <a:pt x="428" y="64"/>
                </a:cubicBezTo>
                <a:cubicBezTo>
                  <a:pt x="428" y="78"/>
                  <a:pt x="427" y="92"/>
                  <a:pt x="424" y="106"/>
                </a:cubicBezTo>
                <a:lnTo>
                  <a:pt x="420" y="120"/>
                </a:lnTo>
                <a:cubicBezTo>
                  <a:pt x="417" y="132"/>
                  <a:pt x="412" y="151"/>
                  <a:pt x="403" y="175"/>
                </a:cubicBezTo>
                <a:cubicBezTo>
                  <a:pt x="384" y="227"/>
                  <a:pt x="366" y="275"/>
                  <a:pt x="348" y="318"/>
                </a:cubicBezTo>
                <a:cubicBezTo>
                  <a:pt x="345" y="325"/>
                  <a:pt x="343" y="329"/>
                  <a:pt x="343" y="332"/>
                </a:cubicBezTo>
                <a:cubicBezTo>
                  <a:pt x="343" y="333"/>
                  <a:pt x="342" y="333"/>
                  <a:pt x="342" y="335"/>
                </a:cubicBezTo>
                <a:cubicBezTo>
                  <a:pt x="341" y="336"/>
                  <a:pt x="341" y="337"/>
                  <a:pt x="340" y="337"/>
                </a:cubicBezTo>
                <a:cubicBezTo>
                  <a:pt x="338" y="340"/>
                  <a:pt x="337" y="342"/>
                  <a:pt x="337" y="345"/>
                </a:cubicBezTo>
                <a:cubicBezTo>
                  <a:pt x="336" y="348"/>
                  <a:pt x="334" y="355"/>
                  <a:pt x="330" y="365"/>
                </a:cubicBezTo>
                <a:cubicBezTo>
                  <a:pt x="325" y="375"/>
                  <a:pt x="322" y="381"/>
                  <a:pt x="320" y="383"/>
                </a:cubicBezTo>
                <a:cubicBezTo>
                  <a:pt x="319" y="384"/>
                  <a:pt x="319" y="385"/>
                  <a:pt x="319" y="386"/>
                </a:cubicBezTo>
                <a:cubicBezTo>
                  <a:pt x="319" y="386"/>
                  <a:pt x="320" y="387"/>
                  <a:pt x="320" y="387"/>
                </a:cubicBezTo>
                <a:cubicBezTo>
                  <a:pt x="320" y="389"/>
                  <a:pt x="316" y="399"/>
                  <a:pt x="308" y="417"/>
                </a:cubicBezTo>
                <a:cubicBezTo>
                  <a:pt x="305" y="424"/>
                  <a:pt x="303" y="429"/>
                  <a:pt x="303" y="429"/>
                </a:cubicBezTo>
                <a:cubicBezTo>
                  <a:pt x="303" y="429"/>
                  <a:pt x="296" y="447"/>
                  <a:pt x="281" y="482"/>
                </a:cubicBezTo>
                <a:cubicBezTo>
                  <a:pt x="278" y="489"/>
                  <a:pt x="276" y="492"/>
                  <a:pt x="276" y="494"/>
                </a:cubicBezTo>
                <a:lnTo>
                  <a:pt x="275" y="497"/>
                </a:lnTo>
                <a:cubicBezTo>
                  <a:pt x="273" y="504"/>
                  <a:pt x="271" y="508"/>
                  <a:pt x="271" y="509"/>
                </a:cubicBezTo>
                <a:cubicBezTo>
                  <a:pt x="270" y="510"/>
                  <a:pt x="270" y="511"/>
                  <a:pt x="270" y="511"/>
                </a:cubicBezTo>
                <a:cubicBezTo>
                  <a:pt x="269" y="516"/>
                  <a:pt x="266" y="524"/>
                  <a:pt x="261" y="535"/>
                </a:cubicBezTo>
                <a:cubicBezTo>
                  <a:pt x="255" y="549"/>
                  <a:pt x="252" y="556"/>
                  <a:pt x="252" y="556"/>
                </a:cubicBezTo>
                <a:cubicBezTo>
                  <a:pt x="252" y="552"/>
                  <a:pt x="256" y="539"/>
                  <a:pt x="265" y="516"/>
                </a:cubicBezTo>
                <a:cubicBezTo>
                  <a:pt x="268" y="509"/>
                  <a:pt x="269" y="505"/>
                  <a:pt x="269" y="502"/>
                </a:cubicBezTo>
                <a:cubicBezTo>
                  <a:pt x="269" y="502"/>
                  <a:pt x="269" y="501"/>
                  <a:pt x="269" y="501"/>
                </a:cubicBezTo>
                <a:cubicBezTo>
                  <a:pt x="267" y="501"/>
                  <a:pt x="264" y="507"/>
                  <a:pt x="260" y="518"/>
                </a:cubicBezTo>
                <a:cubicBezTo>
                  <a:pt x="256" y="529"/>
                  <a:pt x="253" y="535"/>
                  <a:pt x="251" y="535"/>
                </a:cubicBezTo>
                <a:lnTo>
                  <a:pt x="251" y="534"/>
                </a:lnTo>
                <a:cubicBezTo>
                  <a:pt x="250" y="533"/>
                  <a:pt x="249" y="533"/>
                  <a:pt x="247" y="533"/>
                </a:cubicBezTo>
                <a:lnTo>
                  <a:pt x="246" y="534"/>
                </a:lnTo>
                <a:cubicBezTo>
                  <a:pt x="246" y="533"/>
                  <a:pt x="246" y="532"/>
                  <a:pt x="247" y="531"/>
                </a:cubicBezTo>
                <a:cubicBezTo>
                  <a:pt x="248" y="530"/>
                  <a:pt x="249" y="530"/>
                  <a:pt x="250" y="530"/>
                </a:cubicBezTo>
                <a:cubicBezTo>
                  <a:pt x="250" y="530"/>
                  <a:pt x="251" y="530"/>
                  <a:pt x="252" y="531"/>
                </a:cubicBezTo>
                <a:lnTo>
                  <a:pt x="253" y="534"/>
                </a:lnTo>
                <a:lnTo>
                  <a:pt x="253" y="528"/>
                </a:lnTo>
                <a:cubicBezTo>
                  <a:pt x="253" y="527"/>
                  <a:pt x="253" y="527"/>
                  <a:pt x="254" y="527"/>
                </a:cubicBezTo>
                <a:lnTo>
                  <a:pt x="255" y="527"/>
                </a:lnTo>
                <a:cubicBezTo>
                  <a:pt x="255" y="527"/>
                  <a:pt x="255" y="527"/>
                  <a:pt x="255" y="525"/>
                </a:cubicBezTo>
                <a:cubicBezTo>
                  <a:pt x="254" y="524"/>
                  <a:pt x="253" y="523"/>
                  <a:pt x="252" y="523"/>
                </a:cubicBezTo>
                <a:cubicBezTo>
                  <a:pt x="251" y="523"/>
                  <a:pt x="250" y="523"/>
                  <a:pt x="250" y="522"/>
                </a:cubicBezTo>
                <a:lnTo>
                  <a:pt x="251" y="521"/>
                </a:lnTo>
                <a:cubicBezTo>
                  <a:pt x="251" y="521"/>
                  <a:pt x="253" y="520"/>
                  <a:pt x="255" y="520"/>
                </a:cubicBezTo>
                <a:cubicBezTo>
                  <a:pt x="256" y="520"/>
                  <a:pt x="257" y="520"/>
                  <a:pt x="257" y="519"/>
                </a:cubicBezTo>
                <a:cubicBezTo>
                  <a:pt x="257" y="519"/>
                  <a:pt x="257" y="518"/>
                  <a:pt x="256" y="517"/>
                </a:cubicBezTo>
                <a:lnTo>
                  <a:pt x="257" y="517"/>
                </a:lnTo>
                <a:cubicBezTo>
                  <a:pt x="258" y="517"/>
                  <a:pt x="259" y="516"/>
                  <a:pt x="259" y="515"/>
                </a:cubicBezTo>
                <a:lnTo>
                  <a:pt x="259" y="515"/>
                </a:lnTo>
                <a:cubicBezTo>
                  <a:pt x="258" y="514"/>
                  <a:pt x="257" y="513"/>
                  <a:pt x="256" y="513"/>
                </a:cubicBezTo>
                <a:cubicBezTo>
                  <a:pt x="255" y="513"/>
                  <a:pt x="254" y="513"/>
                  <a:pt x="254" y="512"/>
                </a:cubicBezTo>
                <a:lnTo>
                  <a:pt x="255" y="511"/>
                </a:lnTo>
                <a:cubicBezTo>
                  <a:pt x="255" y="510"/>
                  <a:pt x="256" y="510"/>
                  <a:pt x="258" y="510"/>
                </a:cubicBezTo>
                <a:lnTo>
                  <a:pt x="260" y="511"/>
                </a:lnTo>
                <a:cubicBezTo>
                  <a:pt x="261" y="511"/>
                  <a:pt x="261" y="510"/>
                  <a:pt x="261" y="510"/>
                </a:cubicBezTo>
                <a:cubicBezTo>
                  <a:pt x="261" y="508"/>
                  <a:pt x="261" y="507"/>
                  <a:pt x="259" y="507"/>
                </a:cubicBezTo>
                <a:cubicBezTo>
                  <a:pt x="258" y="506"/>
                  <a:pt x="257" y="505"/>
                  <a:pt x="257" y="505"/>
                </a:cubicBezTo>
                <a:cubicBezTo>
                  <a:pt x="257" y="503"/>
                  <a:pt x="258" y="502"/>
                  <a:pt x="259" y="501"/>
                </a:cubicBezTo>
                <a:cubicBezTo>
                  <a:pt x="260" y="500"/>
                  <a:pt x="260" y="499"/>
                  <a:pt x="262" y="499"/>
                </a:cubicBezTo>
                <a:cubicBezTo>
                  <a:pt x="262" y="499"/>
                  <a:pt x="263" y="499"/>
                  <a:pt x="263" y="500"/>
                </a:cubicBezTo>
                <a:cubicBezTo>
                  <a:pt x="263" y="500"/>
                  <a:pt x="262" y="500"/>
                  <a:pt x="261" y="501"/>
                </a:cubicBezTo>
                <a:cubicBezTo>
                  <a:pt x="260" y="502"/>
                  <a:pt x="259" y="503"/>
                  <a:pt x="259" y="504"/>
                </a:cubicBezTo>
                <a:cubicBezTo>
                  <a:pt x="259" y="504"/>
                  <a:pt x="260" y="505"/>
                  <a:pt x="260" y="505"/>
                </a:cubicBezTo>
                <a:cubicBezTo>
                  <a:pt x="261" y="506"/>
                  <a:pt x="261" y="507"/>
                  <a:pt x="262" y="507"/>
                </a:cubicBezTo>
                <a:cubicBezTo>
                  <a:pt x="263" y="507"/>
                  <a:pt x="263" y="505"/>
                  <a:pt x="264" y="503"/>
                </a:cubicBezTo>
                <a:lnTo>
                  <a:pt x="265" y="501"/>
                </a:lnTo>
                <a:cubicBezTo>
                  <a:pt x="265" y="499"/>
                  <a:pt x="264" y="497"/>
                  <a:pt x="263" y="497"/>
                </a:cubicBezTo>
                <a:lnTo>
                  <a:pt x="261" y="495"/>
                </a:lnTo>
                <a:lnTo>
                  <a:pt x="263" y="496"/>
                </a:lnTo>
                <a:cubicBezTo>
                  <a:pt x="266" y="496"/>
                  <a:pt x="267" y="495"/>
                  <a:pt x="267" y="495"/>
                </a:cubicBezTo>
                <a:lnTo>
                  <a:pt x="268" y="493"/>
                </a:lnTo>
                <a:cubicBezTo>
                  <a:pt x="268" y="493"/>
                  <a:pt x="268" y="494"/>
                  <a:pt x="269" y="496"/>
                </a:cubicBezTo>
                <a:cubicBezTo>
                  <a:pt x="269" y="498"/>
                  <a:pt x="270" y="499"/>
                  <a:pt x="271" y="501"/>
                </a:cubicBezTo>
                <a:lnTo>
                  <a:pt x="272" y="501"/>
                </a:lnTo>
                <a:cubicBezTo>
                  <a:pt x="272" y="501"/>
                  <a:pt x="273" y="501"/>
                  <a:pt x="273" y="500"/>
                </a:cubicBezTo>
                <a:lnTo>
                  <a:pt x="272" y="497"/>
                </a:lnTo>
                <a:cubicBezTo>
                  <a:pt x="272" y="496"/>
                  <a:pt x="272" y="496"/>
                  <a:pt x="272" y="496"/>
                </a:cubicBezTo>
                <a:lnTo>
                  <a:pt x="274" y="497"/>
                </a:lnTo>
                <a:cubicBezTo>
                  <a:pt x="274" y="497"/>
                  <a:pt x="275" y="497"/>
                  <a:pt x="275" y="496"/>
                </a:cubicBezTo>
                <a:cubicBezTo>
                  <a:pt x="275" y="496"/>
                  <a:pt x="275" y="495"/>
                  <a:pt x="274" y="494"/>
                </a:cubicBezTo>
                <a:cubicBezTo>
                  <a:pt x="274" y="494"/>
                  <a:pt x="274" y="493"/>
                  <a:pt x="274" y="492"/>
                </a:cubicBezTo>
                <a:cubicBezTo>
                  <a:pt x="274" y="492"/>
                  <a:pt x="274" y="491"/>
                  <a:pt x="275" y="491"/>
                </a:cubicBezTo>
                <a:cubicBezTo>
                  <a:pt x="276" y="491"/>
                  <a:pt x="276" y="490"/>
                  <a:pt x="276" y="490"/>
                </a:cubicBezTo>
                <a:lnTo>
                  <a:pt x="276" y="484"/>
                </a:lnTo>
                <a:cubicBezTo>
                  <a:pt x="276" y="481"/>
                  <a:pt x="277" y="480"/>
                  <a:pt x="279" y="480"/>
                </a:cubicBezTo>
                <a:cubicBezTo>
                  <a:pt x="280" y="480"/>
                  <a:pt x="280" y="479"/>
                  <a:pt x="281" y="478"/>
                </a:cubicBezTo>
                <a:cubicBezTo>
                  <a:pt x="281" y="478"/>
                  <a:pt x="281" y="477"/>
                  <a:pt x="281" y="476"/>
                </a:cubicBezTo>
                <a:cubicBezTo>
                  <a:pt x="281" y="476"/>
                  <a:pt x="281" y="476"/>
                  <a:pt x="280" y="476"/>
                </a:cubicBezTo>
                <a:lnTo>
                  <a:pt x="277" y="476"/>
                </a:lnTo>
                <a:cubicBezTo>
                  <a:pt x="275" y="476"/>
                  <a:pt x="275" y="475"/>
                  <a:pt x="275" y="475"/>
                </a:cubicBezTo>
                <a:cubicBezTo>
                  <a:pt x="275" y="473"/>
                  <a:pt x="275" y="473"/>
                  <a:pt x="277" y="473"/>
                </a:cubicBezTo>
                <a:cubicBezTo>
                  <a:pt x="279" y="473"/>
                  <a:pt x="280" y="472"/>
                  <a:pt x="280" y="471"/>
                </a:cubicBezTo>
                <a:lnTo>
                  <a:pt x="279" y="467"/>
                </a:lnTo>
                <a:cubicBezTo>
                  <a:pt x="279" y="465"/>
                  <a:pt x="281" y="463"/>
                  <a:pt x="284" y="462"/>
                </a:cubicBezTo>
                <a:cubicBezTo>
                  <a:pt x="286" y="460"/>
                  <a:pt x="288" y="459"/>
                  <a:pt x="288" y="458"/>
                </a:cubicBezTo>
                <a:cubicBezTo>
                  <a:pt x="288" y="457"/>
                  <a:pt x="287" y="456"/>
                  <a:pt x="286" y="456"/>
                </a:cubicBezTo>
                <a:cubicBezTo>
                  <a:pt x="285" y="456"/>
                  <a:pt x="284" y="456"/>
                  <a:pt x="283" y="458"/>
                </a:cubicBezTo>
                <a:cubicBezTo>
                  <a:pt x="283" y="459"/>
                  <a:pt x="281" y="460"/>
                  <a:pt x="280" y="460"/>
                </a:cubicBezTo>
                <a:lnTo>
                  <a:pt x="278" y="460"/>
                </a:lnTo>
                <a:cubicBezTo>
                  <a:pt x="278" y="460"/>
                  <a:pt x="279" y="459"/>
                  <a:pt x="280" y="459"/>
                </a:cubicBezTo>
                <a:cubicBezTo>
                  <a:pt x="281" y="458"/>
                  <a:pt x="281" y="458"/>
                  <a:pt x="281" y="457"/>
                </a:cubicBezTo>
                <a:lnTo>
                  <a:pt x="281" y="456"/>
                </a:lnTo>
                <a:cubicBezTo>
                  <a:pt x="281" y="455"/>
                  <a:pt x="282" y="455"/>
                  <a:pt x="283" y="455"/>
                </a:cubicBezTo>
                <a:cubicBezTo>
                  <a:pt x="283" y="455"/>
                  <a:pt x="284" y="453"/>
                  <a:pt x="284" y="451"/>
                </a:cubicBezTo>
                <a:lnTo>
                  <a:pt x="283" y="450"/>
                </a:lnTo>
                <a:cubicBezTo>
                  <a:pt x="283" y="448"/>
                  <a:pt x="284" y="448"/>
                  <a:pt x="285" y="448"/>
                </a:cubicBezTo>
                <a:cubicBezTo>
                  <a:pt x="285" y="448"/>
                  <a:pt x="286" y="448"/>
                  <a:pt x="286" y="447"/>
                </a:cubicBezTo>
                <a:lnTo>
                  <a:pt x="285" y="445"/>
                </a:lnTo>
                <a:cubicBezTo>
                  <a:pt x="285" y="445"/>
                  <a:pt x="285" y="444"/>
                  <a:pt x="285" y="444"/>
                </a:cubicBezTo>
                <a:lnTo>
                  <a:pt x="289" y="446"/>
                </a:lnTo>
                <a:cubicBezTo>
                  <a:pt x="289" y="446"/>
                  <a:pt x="289" y="445"/>
                  <a:pt x="289" y="445"/>
                </a:cubicBezTo>
                <a:lnTo>
                  <a:pt x="289" y="444"/>
                </a:lnTo>
                <a:lnTo>
                  <a:pt x="289" y="442"/>
                </a:lnTo>
                <a:lnTo>
                  <a:pt x="290" y="441"/>
                </a:lnTo>
                <a:lnTo>
                  <a:pt x="288" y="441"/>
                </a:lnTo>
                <a:lnTo>
                  <a:pt x="286" y="441"/>
                </a:lnTo>
                <a:cubicBezTo>
                  <a:pt x="286" y="441"/>
                  <a:pt x="287" y="440"/>
                  <a:pt x="288" y="439"/>
                </a:cubicBezTo>
                <a:cubicBezTo>
                  <a:pt x="289" y="438"/>
                  <a:pt x="289" y="437"/>
                  <a:pt x="289" y="436"/>
                </a:cubicBezTo>
                <a:cubicBezTo>
                  <a:pt x="289" y="436"/>
                  <a:pt x="289" y="436"/>
                  <a:pt x="288" y="436"/>
                </a:cubicBezTo>
                <a:cubicBezTo>
                  <a:pt x="287" y="436"/>
                  <a:pt x="286" y="437"/>
                  <a:pt x="285" y="439"/>
                </a:cubicBezTo>
                <a:lnTo>
                  <a:pt x="283" y="442"/>
                </a:lnTo>
                <a:cubicBezTo>
                  <a:pt x="283" y="442"/>
                  <a:pt x="283" y="441"/>
                  <a:pt x="283" y="439"/>
                </a:cubicBezTo>
                <a:cubicBezTo>
                  <a:pt x="284" y="437"/>
                  <a:pt x="284" y="436"/>
                  <a:pt x="284" y="435"/>
                </a:cubicBezTo>
                <a:cubicBezTo>
                  <a:pt x="284" y="434"/>
                  <a:pt x="285" y="434"/>
                  <a:pt x="287" y="434"/>
                </a:cubicBezTo>
                <a:cubicBezTo>
                  <a:pt x="288" y="434"/>
                  <a:pt x="290" y="432"/>
                  <a:pt x="290" y="430"/>
                </a:cubicBezTo>
                <a:lnTo>
                  <a:pt x="291" y="428"/>
                </a:lnTo>
                <a:lnTo>
                  <a:pt x="290" y="427"/>
                </a:lnTo>
                <a:lnTo>
                  <a:pt x="289" y="427"/>
                </a:lnTo>
                <a:cubicBezTo>
                  <a:pt x="288" y="427"/>
                  <a:pt x="288" y="427"/>
                  <a:pt x="288" y="426"/>
                </a:cubicBezTo>
                <a:cubicBezTo>
                  <a:pt x="288" y="424"/>
                  <a:pt x="289" y="424"/>
                  <a:pt x="291" y="424"/>
                </a:cubicBezTo>
                <a:cubicBezTo>
                  <a:pt x="293" y="424"/>
                  <a:pt x="294" y="423"/>
                  <a:pt x="294" y="421"/>
                </a:cubicBezTo>
                <a:lnTo>
                  <a:pt x="295" y="418"/>
                </a:lnTo>
                <a:lnTo>
                  <a:pt x="296" y="418"/>
                </a:lnTo>
                <a:cubicBezTo>
                  <a:pt x="296" y="418"/>
                  <a:pt x="297" y="417"/>
                  <a:pt x="297" y="415"/>
                </a:cubicBezTo>
                <a:cubicBezTo>
                  <a:pt x="297" y="412"/>
                  <a:pt x="297" y="411"/>
                  <a:pt x="296" y="411"/>
                </a:cubicBezTo>
                <a:cubicBezTo>
                  <a:pt x="295" y="411"/>
                  <a:pt x="295" y="410"/>
                  <a:pt x="295" y="410"/>
                </a:cubicBezTo>
                <a:lnTo>
                  <a:pt x="296" y="406"/>
                </a:lnTo>
                <a:cubicBezTo>
                  <a:pt x="296" y="406"/>
                  <a:pt x="295" y="406"/>
                  <a:pt x="295" y="406"/>
                </a:cubicBezTo>
                <a:lnTo>
                  <a:pt x="293" y="407"/>
                </a:lnTo>
                <a:cubicBezTo>
                  <a:pt x="293" y="407"/>
                  <a:pt x="293" y="407"/>
                  <a:pt x="293" y="406"/>
                </a:cubicBezTo>
                <a:cubicBezTo>
                  <a:pt x="293" y="406"/>
                  <a:pt x="293" y="405"/>
                  <a:pt x="295" y="404"/>
                </a:cubicBezTo>
                <a:cubicBezTo>
                  <a:pt x="296" y="402"/>
                  <a:pt x="298" y="401"/>
                  <a:pt x="298" y="399"/>
                </a:cubicBezTo>
                <a:cubicBezTo>
                  <a:pt x="299" y="398"/>
                  <a:pt x="300" y="397"/>
                  <a:pt x="300" y="397"/>
                </a:cubicBezTo>
                <a:cubicBezTo>
                  <a:pt x="300" y="396"/>
                  <a:pt x="299" y="396"/>
                  <a:pt x="299" y="396"/>
                </a:cubicBezTo>
                <a:lnTo>
                  <a:pt x="296" y="397"/>
                </a:lnTo>
                <a:cubicBezTo>
                  <a:pt x="296" y="397"/>
                  <a:pt x="296" y="396"/>
                  <a:pt x="296" y="395"/>
                </a:cubicBezTo>
                <a:cubicBezTo>
                  <a:pt x="296" y="394"/>
                  <a:pt x="296" y="393"/>
                  <a:pt x="298" y="393"/>
                </a:cubicBezTo>
                <a:cubicBezTo>
                  <a:pt x="300" y="393"/>
                  <a:pt x="301" y="392"/>
                  <a:pt x="301" y="390"/>
                </a:cubicBezTo>
                <a:cubicBezTo>
                  <a:pt x="301" y="388"/>
                  <a:pt x="301" y="387"/>
                  <a:pt x="301" y="386"/>
                </a:cubicBezTo>
                <a:cubicBezTo>
                  <a:pt x="302" y="385"/>
                  <a:pt x="303" y="385"/>
                  <a:pt x="306" y="385"/>
                </a:cubicBezTo>
                <a:cubicBezTo>
                  <a:pt x="310" y="385"/>
                  <a:pt x="312" y="384"/>
                  <a:pt x="312" y="382"/>
                </a:cubicBezTo>
                <a:cubicBezTo>
                  <a:pt x="312" y="381"/>
                  <a:pt x="312" y="380"/>
                  <a:pt x="311" y="379"/>
                </a:cubicBezTo>
                <a:lnTo>
                  <a:pt x="310" y="377"/>
                </a:lnTo>
                <a:lnTo>
                  <a:pt x="310" y="379"/>
                </a:lnTo>
                <a:cubicBezTo>
                  <a:pt x="310" y="381"/>
                  <a:pt x="309" y="382"/>
                  <a:pt x="308" y="382"/>
                </a:cubicBezTo>
                <a:cubicBezTo>
                  <a:pt x="308" y="382"/>
                  <a:pt x="308" y="382"/>
                  <a:pt x="307" y="381"/>
                </a:cubicBezTo>
                <a:cubicBezTo>
                  <a:pt x="306" y="380"/>
                  <a:pt x="306" y="379"/>
                  <a:pt x="306" y="378"/>
                </a:cubicBezTo>
                <a:cubicBezTo>
                  <a:pt x="306" y="377"/>
                  <a:pt x="306" y="376"/>
                  <a:pt x="306" y="376"/>
                </a:cubicBezTo>
                <a:cubicBezTo>
                  <a:pt x="306" y="375"/>
                  <a:pt x="307" y="375"/>
                  <a:pt x="308" y="374"/>
                </a:cubicBezTo>
                <a:lnTo>
                  <a:pt x="308" y="374"/>
                </a:lnTo>
                <a:cubicBezTo>
                  <a:pt x="309" y="374"/>
                  <a:pt x="309" y="374"/>
                  <a:pt x="309" y="373"/>
                </a:cubicBezTo>
                <a:lnTo>
                  <a:pt x="308" y="368"/>
                </a:lnTo>
                <a:lnTo>
                  <a:pt x="310" y="369"/>
                </a:lnTo>
                <a:cubicBezTo>
                  <a:pt x="311" y="369"/>
                  <a:pt x="313" y="366"/>
                  <a:pt x="315" y="359"/>
                </a:cubicBezTo>
                <a:lnTo>
                  <a:pt x="320" y="346"/>
                </a:lnTo>
                <a:lnTo>
                  <a:pt x="320" y="351"/>
                </a:lnTo>
                <a:cubicBezTo>
                  <a:pt x="320" y="355"/>
                  <a:pt x="320" y="357"/>
                  <a:pt x="321" y="357"/>
                </a:cubicBezTo>
                <a:cubicBezTo>
                  <a:pt x="322" y="357"/>
                  <a:pt x="322" y="357"/>
                  <a:pt x="322" y="357"/>
                </a:cubicBezTo>
                <a:cubicBezTo>
                  <a:pt x="323" y="357"/>
                  <a:pt x="324" y="355"/>
                  <a:pt x="324" y="351"/>
                </a:cubicBezTo>
                <a:cubicBezTo>
                  <a:pt x="324" y="350"/>
                  <a:pt x="324" y="349"/>
                  <a:pt x="326" y="349"/>
                </a:cubicBezTo>
                <a:cubicBezTo>
                  <a:pt x="327" y="349"/>
                  <a:pt x="328" y="348"/>
                  <a:pt x="328" y="346"/>
                </a:cubicBezTo>
                <a:cubicBezTo>
                  <a:pt x="328" y="345"/>
                  <a:pt x="328" y="345"/>
                  <a:pt x="328" y="345"/>
                </a:cubicBezTo>
                <a:lnTo>
                  <a:pt x="326" y="345"/>
                </a:lnTo>
                <a:cubicBezTo>
                  <a:pt x="325" y="345"/>
                  <a:pt x="325" y="345"/>
                  <a:pt x="325" y="344"/>
                </a:cubicBezTo>
                <a:cubicBezTo>
                  <a:pt x="325" y="343"/>
                  <a:pt x="326" y="342"/>
                  <a:pt x="328" y="342"/>
                </a:cubicBezTo>
                <a:cubicBezTo>
                  <a:pt x="329" y="342"/>
                  <a:pt x="330" y="342"/>
                  <a:pt x="330" y="340"/>
                </a:cubicBezTo>
                <a:lnTo>
                  <a:pt x="330" y="336"/>
                </a:lnTo>
                <a:cubicBezTo>
                  <a:pt x="330" y="335"/>
                  <a:pt x="330" y="334"/>
                  <a:pt x="331" y="334"/>
                </a:cubicBezTo>
                <a:cubicBezTo>
                  <a:pt x="332" y="334"/>
                  <a:pt x="333" y="333"/>
                  <a:pt x="334" y="329"/>
                </a:cubicBezTo>
                <a:cubicBezTo>
                  <a:pt x="335" y="326"/>
                  <a:pt x="335" y="324"/>
                  <a:pt x="336" y="324"/>
                </a:cubicBezTo>
                <a:cubicBezTo>
                  <a:pt x="336" y="324"/>
                  <a:pt x="337" y="324"/>
                  <a:pt x="338" y="323"/>
                </a:cubicBezTo>
                <a:lnTo>
                  <a:pt x="338" y="323"/>
                </a:lnTo>
                <a:cubicBezTo>
                  <a:pt x="338" y="319"/>
                  <a:pt x="338" y="317"/>
                  <a:pt x="338" y="316"/>
                </a:cubicBezTo>
                <a:cubicBezTo>
                  <a:pt x="338" y="315"/>
                  <a:pt x="339" y="315"/>
                  <a:pt x="340" y="315"/>
                </a:cubicBezTo>
                <a:lnTo>
                  <a:pt x="341" y="315"/>
                </a:lnTo>
                <a:cubicBezTo>
                  <a:pt x="342" y="315"/>
                  <a:pt x="342" y="315"/>
                  <a:pt x="342" y="314"/>
                </a:cubicBezTo>
                <a:cubicBezTo>
                  <a:pt x="342" y="312"/>
                  <a:pt x="342" y="311"/>
                  <a:pt x="340" y="311"/>
                </a:cubicBezTo>
                <a:cubicBezTo>
                  <a:pt x="339" y="311"/>
                  <a:pt x="339" y="311"/>
                  <a:pt x="339" y="311"/>
                </a:cubicBezTo>
                <a:cubicBezTo>
                  <a:pt x="339" y="309"/>
                  <a:pt x="339" y="308"/>
                  <a:pt x="341" y="308"/>
                </a:cubicBezTo>
                <a:cubicBezTo>
                  <a:pt x="341" y="308"/>
                  <a:pt x="342" y="309"/>
                  <a:pt x="342" y="309"/>
                </a:cubicBezTo>
                <a:lnTo>
                  <a:pt x="343" y="309"/>
                </a:lnTo>
                <a:cubicBezTo>
                  <a:pt x="343" y="309"/>
                  <a:pt x="343" y="309"/>
                  <a:pt x="343" y="308"/>
                </a:cubicBezTo>
                <a:lnTo>
                  <a:pt x="342" y="304"/>
                </a:lnTo>
                <a:cubicBezTo>
                  <a:pt x="342" y="304"/>
                  <a:pt x="342" y="304"/>
                  <a:pt x="343" y="304"/>
                </a:cubicBezTo>
                <a:lnTo>
                  <a:pt x="345" y="306"/>
                </a:lnTo>
                <a:cubicBezTo>
                  <a:pt x="346" y="306"/>
                  <a:pt x="346" y="305"/>
                  <a:pt x="346" y="305"/>
                </a:cubicBezTo>
                <a:lnTo>
                  <a:pt x="345" y="303"/>
                </a:lnTo>
                <a:cubicBezTo>
                  <a:pt x="345" y="301"/>
                  <a:pt x="346" y="299"/>
                  <a:pt x="347" y="297"/>
                </a:cubicBezTo>
                <a:cubicBezTo>
                  <a:pt x="348" y="296"/>
                  <a:pt x="349" y="294"/>
                  <a:pt x="349" y="293"/>
                </a:cubicBezTo>
                <a:cubicBezTo>
                  <a:pt x="349" y="292"/>
                  <a:pt x="350" y="290"/>
                  <a:pt x="351" y="287"/>
                </a:cubicBezTo>
                <a:cubicBezTo>
                  <a:pt x="353" y="279"/>
                  <a:pt x="355" y="275"/>
                  <a:pt x="356" y="275"/>
                </a:cubicBezTo>
                <a:cubicBezTo>
                  <a:pt x="357" y="275"/>
                  <a:pt x="357" y="275"/>
                  <a:pt x="357" y="274"/>
                </a:cubicBezTo>
                <a:lnTo>
                  <a:pt x="357" y="272"/>
                </a:lnTo>
                <a:cubicBezTo>
                  <a:pt x="357" y="272"/>
                  <a:pt x="357" y="271"/>
                  <a:pt x="357" y="271"/>
                </a:cubicBezTo>
                <a:cubicBezTo>
                  <a:pt x="358" y="271"/>
                  <a:pt x="358" y="270"/>
                  <a:pt x="358" y="268"/>
                </a:cubicBezTo>
                <a:lnTo>
                  <a:pt x="358" y="267"/>
                </a:lnTo>
                <a:cubicBezTo>
                  <a:pt x="358" y="266"/>
                  <a:pt x="358" y="265"/>
                  <a:pt x="359" y="265"/>
                </a:cubicBezTo>
                <a:cubicBezTo>
                  <a:pt x="360" y="265"/>
                  <a:pt x="360" y="264"/>
                  <a:pt x="360" y="262"/>
                </a:cubicBezTo>
                <a:lnTo>
                  <a:pt x="360" y="259"/>
                </a:lnTo>
                <a:cubicBezTo>
                  <a:pt x="360" y="259"/>
                  <a:pt x="360" y="259"/>
                  <a:pt x="360" y="259"/>
                </a:cubicBezTo>
                <a:lnTo>
                  <a:pt x="361" y="259"/>
                </a:lnTo>
                <a:cubicBezTo>
                  <a:pt x="361" y="260"/>
                  <a:pt x="362" y="260"/>
                  <a:pt x="362" y="260"/>
                </a:cubicBezTo>
                <a:cubicBezTo>
                  <a:pt x="364" y="260"/>
                  <a:pt x="365" y="258"/>
                  <a:pt x="365" y="255"/>
                </a:cubicBezTo>
                <a:cubicBezTo>
                  <a:pt x="365" y="253"/>
                  <a:pt x="364" y="252"/>
                  <a:pt x="364" y="252"/>
                </a:cubicBezTo>
                <a:cubicBezTo>
                  <a:pt x="364" y="251"/>
                  <a:pt x="363" y="250"/>
                  <a:pt x="363" y="249"/>
                </a:cubicBezTo>
                <a:cubicBezTo>
                  <a:pt x="363" y="249"/>
                  <a:pt x="364" y="249"/>
                  <a:pt x="364" y="249"/>
                </a:cubicBezTo>
                <a:lnTo>
                  <a:pt x="365" y="249"/>
                </a:lnTo>
                <a:cubicBezTo>
                  <a:pt x="366" y="249"/>
                  <a:pt x="367" y="249"/>
                  <a:pt x="368" y="248"/>
                </a:cubicBezTo>
                <a:cubicBezTo>
                  <a:pt x="368" y="247"/>
                  <a:pt x="369" y="246"/>
                  <a:pt x="369" y="246"/>
                </a:cubicBezTo>
                <a:cubicBezTo>
                  <a:pt x="369" y="245"/>
                  <a:pt x="368" y="245"/>
                  <a:pt x="368" y="245"/>
                </a:cubicBezTo>
                <a:lnTo>
                  <a:pt x="366" y="246"/>
                </a:lnTo>
                <a:lnTo>
                  <a:pt x="368" y="244"/>
                </a:lnTo>
                <a:cubicBezTo>
                  <a:pt x="369" y="243"/>
                  <a:pt x="370" y="241"/>
                  <a:pt x="371" y="240"/>
                </a:cubicBezTo>
                <a:cubicBezTo>
                  <a:pt x="372" y="238"/>
                  <a:pt x="372" y="237"/>
                  <a:pt x="372" y="236"/>
                </a:cubicBezTo>
                <a:cubicBezTo>
                  <a:pt x="372" y="235"/>
                  <a:pt x="372" y="235"/>
                  <a:pt x="371" y="235"/>
                </a:cubicBezTo>
                <a:lnTo>
                  <a:pt x="370" y="236"/>
                </a:lnTo>
                <a:cubicBezTo>
                  <a:pt x="370" y="235"/>
                  <a:pt x="371" y="234"/>
                  <a:pt x="372" y="232"/>
                </a:cubicBezTo>
                <a:lnTo>
                  <a:pt x="374" y="229"/>
                </a:lnTo>
                <a:lnTo>
                  <a:pt x="372" y="230"/>
                </a:lnTo>
                <a:cubicBezTo>
                  <a:pt x="372" y="230"/>
                  <a:pt x="372" y="230"/>
                  <a:pt x="372" y="229"/>
                </a:cubicBezTo>
                <a:cubicBezTo>
                  <a:pt x="372" y="228"/>
                  <a:pt x="372" y="228"/>
                  <a:pt x="373" y="227"/>
                </a:cubicBezTo>
                <a:cubicBezTo>
                  <a:pt x="373" y="226"/>
                  <a:pt x="374" y="225"/>
                  <a:pt x="374" y="225"/>
                </a:cubicBezTo>
                <a:cubicBezTo>
                  <a:pt x="375" y="225"/>
                  <a:pt x="375" y="224"/>
                  <a:pt x="375" y="222"/>
                </a:cubicBezTo>
                <a:lnTo>
                  <a:pt x="375" y="220"/>
                </a:lnTo>
                <a:cubicBezTo>
                  <a:pt x="375" y="219"/>
                  <a:pt x="376" y="218"/>
                  <a:pt x="377" y="218"/>
                </a:cubicBezTo>
                <a:lnTo>
                  <a:pt x="377" y="219"/>
                </a:lnTo>
                <a:cubicBezTo>
                  <a:pt x="378" y="219"/>
                  <a:pt x="378" y="219"/>
                  <a:pt x="379" y="218"/>
                </a:cubicBezTo>
                <a:cubicBezTo>
                  <a:pt x="380" y="217"/>
                  <a:pt x="380" y="216"/>
                  <a:pt x="380" y="215"/>
                </a:cubicBezTo>
                <a:cubicBezTo>
                  <a:pt x="380" y="215"/>
                  <a:pt x="380" y="215"/>
                  <a:pt x="379" y="215"/>
                </a:cubicBezTo>
                <a:lnTo>
                  <a:pt x="377" y="215"/>
                </a:lnTo>
                <a:cubicBezTo>
                  <a:pt x="377" y="215"/>
                  <a:pt x="377" y="215"/>
                  <a:pt x="377" y="215"/>
                </a:cubicBezTo>
                <a:cubicBezTo>
                  <a:pt x="377" y="214"/>
                  <a:pt x="378" y="212"/>
                  <a:pt x="379" y="208"/>
                </a:cubicBezTo>
                <a:cubicBezTo>
                  <a:pt x="379" y="206"/>
                  <a:pt x="380" y="205"/>
                  <a:pt x="380" y="205"/>
                </a:cubicBezTo>
                <a:cubicBezTo>
                  <a:pt x="380" y="204"/>
                  <a:pt x="381" y="203"/>
                  <a:pt x="383" y="203"/>
                </a:cubicBezTo>
                <a:cubicBezTo>
                  <a:pt x="383" y="203"/>
                  <a:pt x="383" y="202"/>
                  <a:pt x="383" y="199"/>
                </a:cubicBezTo>
                <a:cubicBezTo>
                  <a:pt x="383" y="197"/>
                  <a:pt x="384" y="195"/>
                  <a:pt x="385" y="194"/>
                </a:cubicBezTo>
                <a:cubicBezTo>
                  <a:pt x="387" y="193"/>
                  <a:pt x="388" y="193"/>
                  <a:pt x="388" y="192"/>
                </a:cubicBezTo>
                <a:lnTo>
                  <a:pt x="388" y="191"/>
                </a:lnTo>
                <a:cubicBezTo>
                  <a:pt x="387" y="191"/>
                  <a:pt x="387" y="190"/>
                  <a:pt x="387" y="189"/>
                </a:cubicBezTo>
                <a:cubicBezTo>
                  <a:pt x="387" y="188"/>
                  <a:pt x="388" y="185"/>
                  <a:pt x="389" y="183"/>
                </a:cubicBezTo>
                <a:cubicBezTo>
                  <a:pt x="390" y="176"/>
                  <a:pt x="392" y="173"/>
                  <a:pt x="394" y="173"/>
                </a:cubicBezTo>
                <a:cubicBezTo>
                  <a:pt x="395" y="173"/>
                  <a:pt x="396" y="172"/>
                  <a:pt x="396" y="171"/>
                </a:cubicBezTo>
                <a:cubicBezTo>
                  <a:pt x="396" y="170"/>
                  <a:pt x="397" y="168"/>
                  <a:pt x="397" y="166"/>
                </a:cubicBezTo>
                <a:lnTo>
                  <a:pt x="398" y="163"/>
                </a:lnTo>
                <a:lnTo>
                  <a:pt x="395" y="166"/>
                </a:lnTo>
                <a:cubicBezTo>
                  <a:pt x="395" y="166"/>
                  <a:pt x="395" y="166"/>
                  <a:pt x="395" y="165"/>
                </a:cubicBezTo>
                <a:cubicBezTo>
                  <a:pt x="395" y="164"/>
                  <a:pt x="396" y="161"/>
                  <a:pt x="398" y="155"/>
                </a:cubicBezTo>
                <a:lnTo>
                  <a:pt x="398" y="154"/>
                </a:lnTo>
                <a:cubicBezTo>
                  <a:pt x="398" y="154"/>
                  <a:pt x="397" y="153"/>
                  <a:pt x="396" y="153"/>
                </a:cubicBezTo>
                <a:cubicBezTo>
                  <a:pt x="395" y="154"/>
                  <a:pt x="394" y="155"/>
                  <a:pt x="393" y="156"/>
                </a:cubicBezTo>
                <a:lnTo>
                  <a:pt x="392" y="160"/>
                </a:lnTo>
                <a:cubicBezTo>
                  <a:pt x="392" y="161"/>
                  <a:pt x="391" y="163"/>
                  <a:pt x="391" y="164"/>
                </a:cubicBezTo>
                <a:cubicBezTo>
                  <a:pt x="390" y="168"/>
                  <a:pt x="389" y="171"/>
                  <a:pt x="387" y="174"/>
                </a:cubicBezTo>
                <a:lnTo>
                  <a:pt x="384" y="180"/>
                </a:lnTo>
                <a:cubicBezTo>
                  <a:pt x="384" y="183"/>
                  <a:pt x="384" y="185"/>
                  <a:pt x="384" y="185"/>
                </a:cubicBezTo>
                <a:cubicBezTo>
                  <a:pt x="382" y="185"/>
                  <a:pt x="382" y="184"/>
                  <a:pt x="382" y="182"/>
                </a:cubicBezTo>
                <a:lnTo>
                  <a:pt x="382" y="180"/>
                </a:lnTo>
                <a:cubicBezTo>
                  <a:pt x="384" y="175"/>
                  <a:pt x="386" y="170"/>
                  <a:pt x="388" y="163"/>
                </a:cubicBezTo>
                <a:cubicBezTo>
                  <a:pt x="390" y="157"/>
                  <a:pt x="391" y="152"/>
                  <a:pt x="391" y="148"/>
                </a:cubicBezTo>
                <a:lnTo>
                  <a:pt x="390" y="147"/>
                </a:lnTo>
                <a:lnTo>
                  <a:pt x="394" y="148"/>
                </a:lnTo>
                <a:cubicBezTo>
                  <a:pt x="394" y="148"/>
                  <a:pt x="394" y="148"/>
                  <a:pt x="394" y="147"/>
                </a:cubicBezTo>
                <a:lnTo>
                  <a:pt x="393" y="143"/>
                </a:lnTo>
                <a:cubicBezTo>
                  <a:pt x="393" y="142"/>
                  <a:pt x="394" y="142"/>
                  <a:pt x="395" y="142"/>
                </a:cubicBezTo>
                <a:lnTo>
                  <a:pt x="396" y="142"/>
                </a:lnTo>
                <a:cubicBezTo>
                  <a:pt x="396" y="142"/>
                  <a:pt x="396" y="142"/>
                  <a:pt x="396" y="141"/>
                </a:cubicBezTo>
                <a:lnTo>
                  <a:pt x="395" y="137"/>
                </a:lnTo>
                <a:cubicBezTo>
                  <a:pt x="395" y="136"/>
                  <a:pt x="396" y="136"/>
                  <a:pt x="397" y="136"/>
                </a:cubicBezTo>
                <a:lnTo>
                  <a:pt x="398" y="136"/>
                </a:lnTo>
                <a:cubicBezTo>
                  <a:pt x="398" y="136"/>
                  <a:pt x="398" y="136"/>
                  <a:pt x="398" y="135"/>
                </a:cubicBezTo>
                <a:lnTo>
                  <a:pt x="398" y="133"/>
                </a:lnTo>
                <a:cubicBezTo>
                  <a:pt x="398" y="130"/>
                  <a:pt x="398" y="128"/>
                  <a:pt x="400" y="127"/>
                </a:cubicBezTo>
                <a:cubicBezTo>
                  <a:pt x="401" y="125"/>
                  <a:pt x="401" y="123"/>
                  <a:pt x="401" y="120"/>
                </a:cubicBezTo>
                <a:lnTo>
                  <a:pt x="401" y="118"/>
                </a:lnTo>
                <a:cubicBezTo>
                  <a:pt x="401" y="117"/>
                  <a:pt x="401" y="117"/>
                  <a:pt x="401" y="117"/>
                </a:cubicBezTo>
                <a:lnTo>
                  <a:pt x="402" y="117"/>
                </a:lnTo>
                <a:cubicBezTo>
                  <a:pt x="402" y="118"/>
                  <a:pt x="403" y="118"/>
                  <a:pt x="403" y="118"/>
                </a:cubicBezTo>
                <a:cubicBezTo>
                  <a:pt x="404" y="118"/>
                  <a:pt x="405" y="116"/>
                  <a:pt x="405" y="111"/>
                </a:cubicBezTo>
                <a:cubicBezTo>
                  <a:pt x="405" y="106"/>
                  <a:pt x="404" y="102"/>
                  <a:pt x="402" y="100"/>
                </a:cubicBezTo>
                <a:cubicBezTo>
                  <a:pt x="400" y="98"/>
                  <a:pt x="399" y="97"/>
                  <a:pt x="399" y="97"/>
                </a:cubicBezTo>
                <a:cubicBezTo>
                  <a:pt x="398" y="97"/>
                  <a:pt x="398" y="97"/>
                  <a:pt x="398" y="97"/>
                </a:cubicBezTo>
                <a:cubicBezTo>
                  <a:pt x="398" y="101"/>
                  <a:pt x="399" y="103"/>
                  <a:pt x="401" y="104"/>
                </a:cubicBezTo>
                <a:lnTo>
                  <a:pt x="401" y="105"/>
                </a:lnTo>
                <a:cubicBezTo>
                  <a:pt x="401" y="106"/>
                  <a:pt x="400" y="106"/>
                  <a:pt x="399" y="106"/>
                </a:cubicBezTo>
                <a:cubicBezTo>
                  <a:pt x="397" y="106"/>
                  <a:pt x="396" y="107"/>
                  <a:pt x="396" y="108"/>
                </a:cubicBezTo>
                <a:cubicBezTo>
                  <a:pt x="396" y="109"/>
                  <a:pt x="397" y="109"/>
                  <a:pt x="398" y="109"/>
                </a:cubicBezTo>
                <a:lnTo>
                  <a:pt x="398" y="109"/>
                </a:lnTo>
                <a:cubicBezTo>
                  <a:pt x="398" y="109"/>
                  <a:pt x="399" y="110"/>
                  <a:pt x="399" y="110"/>
                </a:cubicBezTo>
                <a:cubicBezTo>
                  <a:pt x="399" y="113"/>
                  <a:pt x="398" y="115"/>
                  <a:pt x="397" y="115"/>
                </a:cubicBezTo>
                <a:cubicBezTo>
                  <a:pt x="397" y="115"/>
                  <a:pt x="397" y="115"/>
                  <a:pt x="396" y="114"/>
                </a:cubicBezTo>
                <a:cubicBezTo>
                  <a:pt x="396" y="114"/>
                  <a:pt x="395" y="113"/>
                  <a:pt x="395" y="113"/>
                </a:cubicBezTo>
                <a:cubicBezTo>
                  <a:pt x="395" y="113"/>
                  <a:pt x="394" y="114"/>
                  <a:pt x="394" y="115"/>
                </a:cubicBezTo>
                <a:cubicBezTo>
                  <a:pt x="394" y="117"/>
                  <a:pt x="393" y="118"/>
                  <a:pt x="393" y="118"/>
                </a:cubicBezTo>
                <a:cubicBezTo>
                  <a:pt x="393" y="119"/>
                  <a:pt x="394" y="120"/>
                  <a:pt x="394" y="120"/>
                </a:cubicBezTo>
                <a:lnTo>
                  <a:pt x="396" y="118"/>
                </a:lnTo>
                <a:cubicBezTo>
                  <a:pt x="396" y="118"/>
                  <a:pt x="396" y="119"/>
                  <a:pt x="396" y="119"/>
                </a:cubicBezTo>
                <a:cubicBezTo>
                  <a:pt x="396" y="120"/>
                  <a:pt x="396" y="122"/>
                  <a:pt x="394" y="126"/>
                </a:cubicBezTo>
                <a:cubicBezTo>
                  <a:pt x="393" y="130"/>
                  <a:pt x="392" y="132"/>
                  <a:pt x="390" y="132"/>
                </a:cubicBezTo>
                <a:lnTo>
                  <a:pt x="389" y="131"/>
                </a:lnTo>
                <a:lnTo>
                  <a:pt x="389" y="131"/>
                </a:lnTo>
                <a:cubicBezTo>
                  <a:pt x="389" y="131"/>
                  <a:pt x="389" y="132"/>
                  <a:pt x="390" y="133"/>
                </a:cubicBezTo>
                <a:cubicBezTo>
                  <a:pt x="391" y="134"/>
                  <a:pt x="391" y="135"/>
                  <a:pt x="391" y="136"/>
                </a:cubicBezTo>
                <a:cubicBezTo>
                  <a:pt x="391" y="137"/>
                  <a:pt x="391" y="137"/>
                  <a:pt x="390" y="137"/>
                </a:cubicBezTo>
                <a:cubicBezTo>
                  <a:pt x="390" y="138"/>
                  <a:pt x="389" y="138"/>
                  <a:pt x="389" y="138"/>
                </a:cubicBezTo>
                <a:lnTo>
                  <a:pt x="390" y="134"/>
                </a:lnTo>
                <a:lnTo>
                  <a:pt x="389" y="135"/>
                </a:lnTo>
                <a:cubicBezTo>
                  <a:pt x="389" y="136"/>
                  <a:pt x="389" y="137"/>
                  <a:pt x="388" y="137"/>
                </a:cubicBezTo>
                <a:cubicBezTo>
                  <a:pt x="388" y="137"/>
                  <a:pt x="388" y="138"/>
                  <a:pt x="388" y="139"/>
                </a:cubicBezTo>
                <a:cubicBezTo>
                  <a:pt x="388" y="140"/>
                  <a:pt x="387" y="141"/>
                  <a:pt x="386" y="142"/>
                </a:cubicBezTo>
                <a:cubicBezTo>
                  <a:pt x="385" y="143"/>
                  <a:pt x="385" y="144"/>
                  <a:pt x="385" y="144"/>
                </a:cubicBezTo>
                <a:lnTo>
                  <a:pt x="389" y="143"/>
                </a:lnTo>
                <a:cubicBezTo>
                  <a:pt x="389" y="143"/>
                  <a:pt x="388" y="144"/>
                  <a:pt x="387" y="145"/>
                </a:cubicBezTo>
                <a:cubicBezTo>
                  <a:pt x="386" y="146"/>
                  <a:pt x="386" y="147"/>
                  <a:pt x="386" y="148"/>
                </a:cubicBezTo>
                <a:cubicBezTo>
                  <a:pt x="386" y="149"/>
                  <a:pt x="386" y="149"/>
                  <a:pt x="386" y="150"/>
                </a:cubicBezTo>
                <a:lnTo>
                  <a:pt x="386" y="150"/>
                </a:lnTo>
                <a:lnTo>
                  <a:pt x="385" y="150"/>
                </a:lnTo>
                <a:cubicBezTo>
                  <a:pt x="384" y="150"/>
                  <a:pt x="383" y="150"/>
                  <a:pt x="383" y="151"/>
                </a:cubicBezTo>
                <a:cubicBezTo>
                  <a:pt x="383" y="152"/>
                  <a:pt x="382" y="153"/>
                  <a:pt x="382" y="154"/>
                </a:cubicBezTo>
                <a:cubicBezTo>
                  <a:pt x="382" y="154"/>
                  <a:pt x="381" y="155"/>
                  <a:pt x="380" y="155"/>
                </a:cubicBezTo>
                <a:cubicBezTo>
                  <a:pt x="380" y="155"/>
                  <a:pt x="379" y="155"/>
                  <a:pt x="379" y="156"/>
                </a:cubicBezTo>
                <a:cubicBezTo>
                  <a:pt x="379" y="157"/>
                  <a:pt x="380" y="158"/>
                  <a:pt x="382" y="158"/>
                </a:cubicBezTo>
                <a:lnTo>
                  <a:pt x="384" y="158"/>
                </a:lnTo>
                <a:cubicBezTo>
                  <a:pt x="384" y="158"/>
                  <a:pt x="383" y="159"/>
                  <a:pt x="381" y="161"/>
                </a:cubicBezTo>
                <a:cubicBezTo>
                  <a:pt x="379" y="164"/>
                  <a:pt x="377" y="166"/>
                  <a:pt x="377" y="166"/>
                </a:cubicBezTo>
                <a:cubicBezTo>
                  <a:pt x="377" y="167"/>
                  <a:pt x="377" y="167"/>
                  <a:pt x="377" y="167"/>
                </a:cubicBezTo>
                <a:cubicBezTo>
                  <a:pt x="378" y="167"/>
                  <a:pt x="378" y="167"/>
                  <a:pt x="379" y="166"/>
                </a:cubicBezTo>
                <a:lnTo>
                  <a:pt x="380" y="165"/>
                </a:lnTo>
                <a:cubicBezTo>
                  <a:pt x="380" y="166"/>
                  <a:pt x="379" y="168"/>
                  <a:pt x="377" y="170"/>
                </a:cubicBezTo>
                <a:cubicBezTo>
                  <a:pt x="375" y="173"/>
                  <a:pt x="374" y="174"/>
                  <a:pt x="374" y="175"/>
                </a:cubicBezTo>
                <a:cubicBezTo>
                  <a:pt x="374" y="175"/>
                  <a:pt x="374" y="175"/>
                  <a:pt x="374" y="175"/>
                </a:cubicBezTo>
                <a:lnTo>
                  <a:pt x="379" y="174"/>
                </a:lnTo>
                <a:cubicBezTo>
                  <a:pt x="379" y="174"/>
                  <a:pt x="378" y="175"/>
                  <a:pt x="377" y="176"/>
                </a:cubicBezTo>
                <a:cubicBezTo>
                  <a:pt x="376" y="178"/>
                  <a:pt x="375" y="178"/>
                  <a:pt x="375" y="179"/>
                </a:cubicBezTo>
                <a:cubicBezTo>
                  <a:pt x="375" y="179"/>
                  <a:pt x="376" y="179"/>
                  <a:pt x="376" y="179"/>
                </a:cubicBezTo>
                <a:cubicBezTo>
                  <a:pt x="376" y="179"/>
                  <a:pt x="377" y="179"/>
                  <a:pt x="377" y="180"/>
                </a:cubicBezTo>
                <a:cubicBezTo>
                  <a:pt x="377" y="180"/>
                  <a:pt x="375" y="182"/>
                  <a:pt x="372" y="186"/>
                </a:cubicBezTo>
                <a:cubicBezTo>
                  <a:pt x="370" y="188"/>
                  <a:pt x="369" y="190"/>
                  <a:pt x="369" y="191"/>
                </a:cubicBezTo>
                <a:cubicBezTo>
                  <a:pt x="369" y="191"/>
                  <a:pt x="369" y="192"/>
                  <a:pt x="370" y="192"/>
                </a:cubicBezTo>
                <a:cubicBezTo>
                  <a:pt x="370" y="192"/>
                  <a:pt x="370" y="192"/>
                  <a:pt x="370" y="192"/>
                </a:cubicBezTo>
                <a:lnTo>
                  <a:pt x="370" y="192"/>
                </a:lnTo>
                <a:cubicBezTo>
                  <a:pt x="370" y="193"/>
                  <a:pt x="370" y="194"/>
                  <a:pt x="368" y="195"/>
                </a:cubicBezTo>
                <a:cubicBezTo>
                  <a:pt x="366" y="197"/>
                  <a:pt x="365" y="198"/>
                  <a:pt x="365" y="199"/>
                </a:cubicBezTo>
                <a:lnTo>
                  <a:pt x="366" y="200"/>
                </a:lnTo>
                <a:cubicBezTo>
                  <a:pt x="366" y="203"/>
                  <a:pt x="366" y="204"/>
                  <a:pt x="365" y="204"/>
                </a:cubicBezTo>
                <a:lnTo>
                  <a:pt x="364" y="206"/>
                </a:lnTo>
                <a:cubicBezTo>
                  <a:pt x="364" y="206"/>
                  <a:pt x="363" y="205"/>
                  <a:pt x="363" y="205"/>
                </a:cubicBezTo>
                <a:lnTo>
                  <a:pt x="365" y="202"/>
                </a:lnTo>
                <a:cubicBezTo>
                  <a:pt x="364" y="202"/>
                  <a:pt x="364" y="202"/>
                  <a:pt x="363" y="203"/>
                </a:cubicBezTo>
                <a:cubicBezTo>
                  <a:pt x="363" y="203"/>
                  <a:pt x="362" y="204"/>
                  <a:pt x="362" y="205"/>
                </a:cubicBezTo>
                <a:cubicBezTo>
                  <a:pt x="362" y="206"/>
                  <a:pt x="361" y="206"/>
                  <a:pt x="361" y="207"/>
                </a:cubicBezTo>
                <a:cubicBezTo>
                  <a:pt x="361" y="208"/>
                  <a:pt x="362" y="209"/>
                  <a:pt x="362" y="209"/>
                </a:cubicBezTo>
                <a:lnTo>
                  <a:pt x="364" y="209"/>
                </a:lnTo>
                <a:lnTo>
                  <a:pt x="363" y="215"/>
                </a:lnTo>
                <a:cubicBezTo>
                  <a:pt x="360" y="220"/>
                  <a:pt x="359" y="223"/>
                  <a:pt x="359" y="224"/>
                </a:cubicBezTo>
                <a:cubicBezTo>
                  <a:pt x="358" y="224"/>
                  <a:pt x="358" y="223"/>
                  <a:pt x="357" y="223"/>
                </a:cubicBezTo>
                <a:cubicBezTo>
                  <a:pt x="357" y="223"/>
                  <a:pt x="357" y="223"/>
                  <a:pt x="357" y="224"/>
                </a:cubicBezTo>
                <a:lnTo>
                  <a:pt x="357" y="225"/>
                </a:lnTo>
                <a:cubicBezTo>
                  <a:pt x="357" y="227"/>
                  <a:pt x="356" y="228"/>
                  <a:pt x="355" y="228"/>
                </a:cubicBezTo>
                <a:cubicBezTo>
                  <a:pt x="355" y="228"/>
                  <a:pt x="354" y="230"/>
                  <a:pt x="353" y="233"/>
                </a:cubicBezTo>
                <a:cubicBezTo>
                  <a:pt x="352" y="236"/>
                  <a:pt x="352" y="238"/>
                  <a:pt x="350" y="238"/>
                </a:cubicBezTo>
                <a:cubicBezTo>
                  <a:pt x="349" y="238"/>
                  <a:pt x="348" y="237"/>
                  <a:pt x="347" y="234"/>
                </a:cubicBezTo>
                <a:lnTo>
                  <a:pt x="347" y="232"/>
                </a:lnTo>
                <a:cubicBezTo>
                  <a:pt x="347" y="231"/>
                  <a:pt x="347" y="231"/>
                  <a:pt x="347" y="231"/>
                </a:cubicBezTo>
                <a:lnTo>
                  <a:pt x="349" y="232"/>
                </a:lnTo>
                <a:cubicBezTo>
                  <a:pt x="350" y="232"/>
                  <a:pt x="350" y="232"/>
                  <a:pt x="350" y="231"/>
                </a:cubicBezTo>
                <a:cubicBezTo>
                  <a:pt x="350" y="231"/>
                  <a:pt x="350" y="230"/>
                  <a:pt x="349" y="230"/>
                </a:cubicBezTo>
                <a:cubicBezTo>
                  <a:pt x="349" y="229"/>
                  <a:pt x="349" y="228"/>
                  <a:pt x="349" y="228"/>
                </a:cubicBezTo>
                <a:cubicBezTo>
                  <a:pt x="349" y="227"/>
                  <a:pt x="349" y="227"/>
                  <a:pt x="350" y="227"/>
                </a:cubicBezTo>
                <a:cubicBezTo>
                  <a:pt x="351" y="227"/>
                  <a:pt x="352" y="226"/>
                  <a:pt x="353" y="225"/>
                </a:cubicBezTo>
                <a:cubicBezTo>
                  <a:pt x="355" y="220"/>
                  <a:pt x="356" y="216"/>
                  <a:pt x="356" y="213"/>
                </a:cubicBezTo>
                <a:cubicBezTo>
                  <a:pt x="356" y="210"/>
                  <a:pt x="356" y="209"/>
                  <a:pt x="357" y="209"/>
                </a:cubicBezTo>
                <a:lnTo>
                  <a:pt x="358" y="209"/>
                </a:lnTo>
                <a:lnTo>
                  <a:pt x="359" y="209"/>
                </a:lnTo>
                <a:lnTo>
                  <a:pt x="358" y="207"/>
                </a:lnTo>
                <a:cubicBezTo>
                  <a:pt x="357" y="206"/>
                  <a:pt x="357" y="206"/>
                  <a:pt x="357" y="205"/>
                </a:cubicBezTo>
                <a:cubicBezTo>
                  <a:pt x="357" y="204"/>
                  <a:pt x="357" y="203"/>
                  <a:pt x="359" y="201"/>
                </a:cubicBezTo>
                <a:cubicBezTo>
                  <a:pt x="361" y="200"/>
                  <a:pt x="362" y="198"/>
                  <a:pt x="362" y="198"/>
                </a:cubicBezTo>
                <a:cubicBezTo>
                  <a:pt x="362" y="198"/>
                  <a:pt x="362" y="198"/>
                  <a:pt x="362" y="198"/>
                </a:cubicBezTo>
                <a:cubicBezTo>
                  <a:pt x="361" y="198"/>
                  <a:pt x="361" y="197"/>
                  <a:pt x="361" y="195"/>
                </a:cubicBezTo>
                <a:cubicBezTo>
                  <a:pt x="362" y="193"/>
                  <a:pt x="362" y="192"/>
                  <a:pt x="363" y="192"/>
                </a:cubicBezTo>
                <a:lnTo>
                  <a:pt x="363" y="192"/>
                </a:lnTo>
                <a:cubicBezTo>
                  <a:pt x="364" y="192"/>
                  <a:pt x="365" y="187"/>
                  <a:pt x="366" y="176"/>
                </a:cubicBezTo>
                <a:cubicBezTo>
                  <a:pt x="366" y="174"/>
                  <a:pt x="366" y="173"/>
                  <a:pt x="367" y="173"/>
                </a:cubicBezTo>
                <a:lnTo>
                  <a:pt x="371" y="175"/>
                </a:lnTo>
                <a:lnTo>
                  <a:pt x="370" y="174"/>
                </a:lnTo>
                <a:cubicBezTo>
                  <a:pt x="370" y="171"/>
                  <a:pt x="371" y="167"/>
                  <a:pt x="372" y="162"/>
                </a:cubicBezTo>
                <a:cubicBezTo>
                  <a:pt x="374" y="158"/>
                  <a:pt x="374" y="154"/>
                  <a:pt x="374" y="151"/>
                </a:cubicBezTo>
                <a:cubicBezTo>
                  <a:pt x="374" y="150"/>
                  <a:pt x="375" y="148"/>
                  <a:pt x="377" y="147"/>
                </a:cubicBezTo>
                <a:cubicBezTo>
                  <a:pt x="378" y="146"/>
                  <a:pt x="379" y="145"/>
                  <a:pt x="379" y="143"/>
                </a:cubicBezTo>
                <a:cubicBezTo>
                  <a:pt x="379" y="142"/>
                  <a:pt x="380" y="140"/>
                  <a:pt x="381" y="138"/>
                </a:cubicBezTo>
                <a:cubicBezTo>
                  <a:pt x="382" y="137"/>
                  <a:pt x="383" y="134"/>
                  <a:pt x="384" y="132"/>
                </a:cubicBezTo>
                <a:cubicBezTo>
                  <a:pt x="384" y="129"/>
                  <a:pt x="385" y="127"/>
                  <a:pt x="385" y="125"/>
                </a:cubicBezTo>
                <a:cubicBezTo>
                  <a:pt x="385" y="124"/>
                  <a:pt x="384" y="124"/>
                  <a:pt x="384" y="124"/>
                </a:cubicBezTo>
                <a:lnTo>
                  <a:pt x="383" y="124"/>
                </a:lnTo>
                <a:lnTo>
                  <a:pt x="384" y="122"/>
                </a:lnTo>
                <a:cubicBezTo>
                  <a:pt x="385" y="120"/>
                  <a:pt x="385" y="119"/>
                  <a:pt x="385" y="117"/>
                </a:cubicBezTo>
                <a:cubicBezTo>
                  <a:pt x="385" y="117"/>
                  <a:pt x="385" y="117"/>
                  <a:pt x="385" y="117"/>
                </a:cubicBezTo>
                <a:lnTo>
                  <a:pt x="386" y="116"/>
                </a:lnTo>
                <a:cubicBezTo>
                  <a:pt x="387" y="116"/>
                  <a:pt x="388" y="116"/>
                  <a:pt x="388" y="115"/>
                </a:cubicBezTo>
                <a:lnTo>
                  <a:pt x="388" y="113"/>
                </a:lnTo>
                <a:cubicBezTo>
                  <a:pt x="388" y="111"/>
                  <a:pt x="388" y="109"/>
                  <a:pt x="389" y="108"/>
                </a:cubicBezTo>
                <a:lnTo>
                  <a:pt x="390" y="106"/>
                </a:lnTo>
                <a:lnTo>
                  <a:pt x="387" y="108"/>
                </a:lnTo>
                <a:cubicBezTo>
                  <a:pt x="387" y="108"/>
                  <a:pt x="387" y="107"/>
                  <a:pt x="387" y="107"/>
                </a:cubicBezTo>
                <a:cubicBezTo>
                  <a:pt x="387" y="107"/>
                  <a:pt x="387" y="106"/>
                  <a:pt x="389" y="105"/>
                </a:cubicBezTo>
                <a:cubicBezTo>
                  <a:pt x="390" y="103"/>
                  <a:pt x="391" y="101"/>
                  <a:pt x="391" y="99"/>
                </a:cubicBezTo>
                <a:lnTo>
                  <a:pt x="391" y="97"/>
                </a:lnTo>
                <a:cubicBezTo>
                  <a:pt x="391" y="96"/>
                  <a:pt x="392" y="96"/>
                  <a:pt x="392" y="96"/>
                </a:cubicBezTo>
                <a:cubicBezTo>
                  <a:pt x="393" y="96"/>
                  <a:pt x="394" y="95"/>
                  <a:pt x="394" y="94"/>
                </a:cubicBezTo>
                <a:lnTo>
                  <a:pt x="393" y="93"/>
                </a:lnTo>
                <a:cubicBezTo>
                  <a:pt x="393" y="90"/>
                  <a:pt x="394" y="90"/>
                  <a:pt x="394" y="90"/>
                </a:cubicBezTo>
                <a:cubicBezTo>
                  <a:pt x="395" y="90"/>
                  <a:pt x="395" y="88"/>
                  <a:pt x="395" y="83"/>
                </a:cubicBezTo>
                <a:cubicBezTo>
                  <a:pt x="395" y="80"/>
                  <a:pt x="396" y="77"/>
                  <a:pt x="397" y="75"/>
                </a:cubicBezTo>
                <a:cubicBezTo>
                  <a:pt x="399" y="74"/>
                  <a:pt x="399" y="73"/>
                  <a:pt x="399" y="72"/>
                </a:cubicBezTo>
                <a:cubicBezTo>
                  <a:pt x="399" y="72"/>
                  <a:pt x="399" y="71"/>
                  <a:pt x="398" y="71"/>
                </a:cubicBezTo>
                <a:cubicBezTo>
                  <a:pt x="397" y="71"/>
                  <a:pt x="397" y="71"/>
                  <a:pt x="397" y="71"/>
                </a:cubicBezTo>
                <a:cubicBezTo>
                  <a:pt x="397" y="70"/>
                  <a:pt x="397" y="69"/>
                  <a:pt x="398" y="67"/>
                </a:cubicBezTo>
                <a:cubicBezTo>
                  <a:pt x="398" y="66"/>
                  <a:pt x="399" y="64"/>
                  <a:pt x="399" y="61"/>
                </a:cubicBezTo>
                <a:lnTo>
                  <a:pt x="398" y="60"/>
                </a:lnTo>
                <a:lnTo>
                  <a:pt x="399" y="60"/>
                </a:lnTo>
                <a:cubicBezTo>
                  <a:pt x="400" y="60"/>
                  <a:pt x="400" y="56"/>
                  <a:pt x="400" y="50"/>
                </a:cubicBezTo>
                <a:cubicBezTo>
                  <a:pt x="400" y="43"/>
                  <a:pt x="400" y="39"/>
                  <a:pt x="400" y="38"/>
                </a:cubicBezTo>
                <a:cubicBezTo>
                  <a:pt x="399" y="37"/>
                  <a:pt x="399" y="37"/>
                  <a:pt x="399" y="37"/>
                </a:cubicBezTo>
                <a:lnTo>
                  <a:pt x="394" y="65"/>
                </a:lnTo>
                <a:cubicBezTo>
                  <a:pt x="394" y="67"/>
                  <a:pt x="394" y="68"/>
                  <a:pt x="394" y="70"/>
                </a:cubicBezTo>
                <a:cubicBezTo>
                  <a:pt x="394" y="71"/>
                  <a:pt x="393" y="71"/>
                  <a:pt x="392" y="71"/>
                </a:cubicBezTo>
                <a:cubicBezTo>
                  <a:pt x="392" y="71"/>
                  <a:pt x="391" y="72"/>
                  <a:pt x="391" y="74"/>
                </a:cubicBezTo>
                <a:lnTo>
                  <a:pt x="391" y="76"/>
                </a:lnTo>
                <a:cubicBezTo>
                  <a:pt x="391" y="77"/>
                  <a:pt x="391" y="78"/>
                  <a:pt x="390" y="78"/>
                </a:cubicBezTo>
                <a:cubicBezTo>
                  <a:pt x="389" y="78"/>
                  <a:pt x="389" y="78"/>
                  <a:pt x="389" y="81"/>
                </a:cubicBezTo>
                <a:lnTo>
                  <a:pt x="389" y="83"/>
                </a:lnTo>
                <a:cubicBezTo>
                  <a:pt x="389" y="83"/>
                  <a:pt x="389" y="83"/>
                  <a:pt x="389" y="83"/>
                </a:cubicBezTo>
                <a:lnTo>
                  <a:pt x="385" y="82"/>
                </a:lnTo>
                <a:lnTo>
                  <a:pt x="385" y="83"/>
                </a:lnTo>
                <a:cubicBezTo>
                  <a:pt x="385" y="83"/>
                  <a:pt x="386" y="84"/>
                  <a:pt x="387" y="85"/>
                </a:cubicBezTo>
                <a:cubicBezTo>
                  <a:pt x="387" y="86"/>
                  <a:pt x="388" y="87"/>
                  <a:pt x="388" y="88"/>
                </a:cubicBezTo>
                <a:cubicBezTo>
                  <a:pt x="388" y="90"/>
                  <a:pt x="387" y="91"/>
                  <a:pt x="385" y="91"/>
                </a:cubicBezTo>
                <a:lnTo>
                  <a:pt x="381" y="90"/>
                </a:lnTo>
                <a:lnTo>
                  <a:pt x="383" y="92"/>
                </a:lnTo>
                <a:cubicBezTo>
                  <a:pt x="385" y="93"/>
                  <a:pt x="386" y="94"/>
                  <a:pt x="386" y="95"/>
                </a:cubicBezTo>
                <a:cubicBezTo>
                  <a:pt x="386" y="96"/>
                  <a:pt x="385" y="97"/>
                  <a:pt x="385" y="98"/>
                </a:cubicBezTo>
                <a:cubicBezTo>
                  <a:pt x="384" y="99"/>
                  <a:pt x="383" y="103"/>
                  <a:pt x="382" y="109"/>
                </a:cubicBezTo>
                <a:cubicBezTo>
                  <a:pt x="380" y="115"/>
                  <a:pt x="380" y="118"/>
                  <a:pt x="379" y="118"/>
                </a:cubicBezTo>
                <a:cubicBezTo>
                  <a:pt x="378" y="118"/>
                  <a:pt x="377" y="119"/>
                  <a:pt x="377" y="120"/>
                </a:cubicBezTo>
                <a:lnTo>
                  <a:pt x="377" y="120"/>
                </a:lnTo>
                <a:cubicBezTo>
                  <a:pt x="377" y="122"/>
                  <a:pt x="377" y="125"/>
                  <a:pt x="375" y="131"/>
                </a:cubicBezTo>
                <a:cubicBezTo>
                  <a:pt x="373" y="141"/>
                  <a:pt x="369" y="152"/>
                  <a:pt x="363" y="166"/>
                </a:cubicBezTo>
                <a:cubicBezTo>
                  <a:pt x="363" y="167"/>
                  <a:pt x="362" y="169"/>
                  <a:pt x="361" y="172"/>
                </a:cubicBezTo>
                <a:cubicBezTo>
                  <a:pt x="360" y="174"/>
                  <a:pt x="359" y="177"/>
                  <a:pt x="358" y="180"/>
                </a:cubicBezTo>
                <a:cubicBezTo>
                  <a:pt x="357" y="182"/>
                  <a:pt x="356" y="185"/>
                  <a:pt x="355" y="188"/>
                </a:cubicBezTo>
                <a:lnTo>
                  <a:pt x="351" y="201"/>
                </a:lnTo>
                <a:cubicBezTo>
                  <a:pt x="349" y="207"/>
                  <a:pt x="347" y="212"/>
                  <a:pt x="345" y="214"/>
                </a:cubicBezTo>
                <a:cubicBezTo>
                  <a:pt x="343" y="215"/>
                  <a:pt x="343" y="218"/>
                  <a:pt x="343" y="220"/>
                </a:cubicBezTo>
                <a:lnTo>
                  <a:pt x="343" y="223"/>
                </a:lnTo>
                <a:cubicBezTo>
                  <a:pt x="343" y="223"/>
                  <a:pt x="343" y="224"/>
                  <a:pt x="343" y="224"/>
                </a:cubicBezTo>
                <a:lnTo>
                  <a:pt x="341" y="223"/>
                </a:lnTo>
                <a:cubicBezTo>
                  <a:pt x="340" y="223"/>
                  <a:pt x="340" y="223"/>
                  <a:pt x="340" y="223"/>
                </a:cubicBezTo>
                <a:lnTo>
                  <a:pt x="341" y="227"/>
                </a:lnTo>
                <a:cubicBezTo>
                  <a:pt x="341" y="228"/>
                  <a:pt x="341" y="228"/>
                  <a:pt x="341" y="228"/>
                </a:cubicBezTo>
                <a:lnTo>
                  <a:pt x="340" y="228"/>
                </a:lnTo>
                <a:cubicBezTo>
                  <a:pt x="339" y="228"/>
                  <a:pt x="338" y="229"/>
                  <a:pt x="337" y="231"/>
                </a:cubicBezTo>
                <a:cubicBezTo>
                  <a:pt x="337" y="233"/>
                  <a:pt x="335" y="236"/>
                  <a:pt x="335" y="238"/>
                </a:cubicBezTo>
                <a:cubicBezTo>
                  <a:pt x="333" y="241"/>
                  <a:pt x="333" y="244"/>
                  <a:pt x="333" y="245"/>
                </a:cubicBezTo>
                <a:cubicBezTo>
                  <a:pt x="333" y="246"/>
                  <a:pt x="333" y="247"/>
                  <a:pt x="333" y="247"/>
                </a:cubicBezTo>
                <a:cubicBezTo>
                  <a:pt x="334" y="247"/>
                  <a:pt x="334" y="248"/>
                  <a:pt x="334" y="248"/>
                </a:cubicBezTo>
                <a:lnTo>
                  <a:pt x="333" y="248"/>
                </a:lnTo>
                <a:cubicBezTo>
                  <a:pt x="332" y="248"/>
                  <a:pt x="330" y="249"/>
                  <a:pt x="330" y="251"/>
                </a:cubicBezTo>
                <a:cubicBezTo>
                  <a:pt x="329" y="254"/>
                  <a:pt x="327" y="255"/>
                  <a:pt x="326" y="255"/>
                </a:cubicBezTo>
                <a:cubicBezTo>
                  <a:pt x="324" y="255"/>
                  <a:pt x="323" y="255"/>
                  <a:pt x="323" y="257"/>
                </a:cubicBezTo>
                <a:cubicBezTo>
                  <a:pt x="323" y="258"/>
                  <a:pt x="323" y="258"/>
                  <a:pt x="325" y="258"/>
                </a:cubicBezTo>
                <a:lnTo>
                  <a:pt x="325" y="257"/>
                </a:lnTo>
                <a:cubicBezTo>
                  <a:pt x="326" y="257"/>
                  <a:pt x="326" y="258"/>
                  <a:pt x="326" y="258"/>
                </a:cubicBezTo>
                <a:cubicBezTo>
                  <a:pt x="326" y="259"/>
                  <a:pt x="325" y="261"/>
                  <a:pt x="324" y="262"/>
                </a:cubicBezTo>
                <a:lnTo>
                  <a:pt x="322" y="262"/>
                </a:lnTo>
                <a:cubicBezTo>
                  <a:pt x="322" y="262"/>
                  <a:pt x="321" y="263"/>
                  <a:pt x="320" y="265"/>
                </a:cubicBezTo>
                <a:cubicBezTo>
                  <a:pt x="319" y="267"/>
                  <a:pt x="317" y="272"/>
                  <a:pt x="314" y="280"/>
                </a:cubicBezTo>
                <a:cubicBezTo>
                  <a:pt x="313" y="283"/>
                  <a:pt x="312" y="286"/>
                  <a:pt x="311" y="289"/>
                </a:cubicBezTo>
                <a:cubicBezTo>
                  <a:pt x="310" y="292"/>
                  <a:pt x="309" y="295"/>
                  <a:pt x="308" y="296"/>
                </a:cubicBezTo>
                <a:cubicBezTo>
                  <a:pt x="307" y="298"/>
                  <a:pt x="306" y="300"/>
                  <a:pt x="306" y="302"/>
                </a:cubicBezTo>
                <a:cubicBezTo>
                  <a:pt x="305" y="304"/>
                  <a:pt x="305" y="306"/>
                  <a:pt x="304" y="307"/>
                </a:cubicBezTo>
                <a:cubicBezTo>
                  <a:pt x="303" y="308"/>
                  <a:pt x="303" y="310"/>
                  <a:pt x="303" y="311"/>
                </a:cubicBezTo>
                <a:cubicBezTo>
                  <a:pt x="303" y="311"/>
                  <a:pt x="303" y="312"/>
                  <a:pt x="303" y="313"/>
                </a:cubicBezTo>
                <a:cubicBezTo>
                  <a:pt x="302" y="314"/>
                  <a:pt x="302" y="316"/>
                  <a:pt x="301" y="317"/>
                </a:cubicBezTo>
                <a:cubicBezTo>
                  <a:pt x="298" y="322"/>
                  <a:pt x="296" y="325"/>
                  <a:pt x="294" y="325"/>
                </a:cubicBezTo>
                <a:lnTo>
                  <a:pt x="293" y="325"/>
                </a:lnTo>
                <a:cubicBezTo>
                  <a:pt x="292" y="325"/>
                  <a:pt x="292" y="325"/>
                  <a:pt x="292" y="326"/>
                </a:cubicBezTo>
                <a:cubicBezTo>
                  <a:pt x="292" y="326"/>
                  <a:pt x="292" y="327"/>
                  <a:pt x="293" y="327"/>
                </a:cubicBezTo>
                <a:cubicBezTo>
                  <a:pt x="293" y="328"/>
                  <a:pt x="293" y="328"/>
                  <a:pt x="294" y="328"/>
                </a:cubicBezTo>
                <a:cubicBezTo>
                  <a:pt x="295" y="328"/>
                  <a:pt x="295" y="329"/>
                  <a:pt x="295" y="330"/>
                </a:cubicBezTo>
                <a:cubicBezTo>
                  <a:pt x="295" y="332"/>
                  <a:pt x="295" y="333"/>
                  <a:pt x="293" y="335"/>
                </a:cubicBezTo>
                <a:cubicBezTo>
                  <a:pt x="293" y="336"/>
                  <a:pt x="293" y="337"/>
                  <a:pt x="293" y="338"/>
                </a:cubicBezTo>
                <a:cubicBezTo>
                  <a:pt x="293" y="339"/>
                  <a:pt x="293" y="340"/>
                  <a:pt x="293" y="341"/>
                </a:cubicBezTo>
                <a:cubicBezTo>
                  <a:pt x="293" y="342"/>
                  <a:pt x="294" y="343"/>
                  <a:pt x="294" y="343"/>
                </a:cubicBezTo>
                <a:cubicBezTo>
                  <a:pt x="294" y="344"/>
                  <a:pt x="293" y="344"/>
                  <a:pt x="293" y="344"/>
                </a:cubicBezTo>
                <a:lnTo>
                  <a:pt x="291" y="344"/>
                </a:lnTo>
                <a:cubicBezTo>
                  <a:pt x="289" y="344"/>
                  <a:pt x="286" y="348"/>
                  <a:pt x="283" y="357"/>
                </a:cubicBezTo>
                <a:cubicBezTo>
                  <a:pt x="280" y="365"/>
                  <a:pt x="278" y="370"/>
                  <a:pt x="278" y="372"/>
                </a:cubicBezTo>
                <a:cubicBezTo>
                  <a:pt x="278" y="372"/>
                  <a:pt x="279" y="372"/>
                  <a:pt x="279" y="372"/>
                </a:cubicBezTo>
                <a:lnTo>
                  <a:pt x="281" y="372"/>
                </a:lnTo>
                <a:cubicBezTo>
                  <a:pt x="282" y="372"/>
                  <a:pt x="282" y="372"/>
                  <a:pt x="282" y="373"/>
                </a:cubicBezTo>
                <a:cubicBezTo>
                  <a:pt x="282" y="374"/>
                  <a:pt x="281" y="374"/>
                  <a:pt x="280" y="374"/>
                </a:cubicBezTo>
                <a:lnTo>
                  <a:pt x="279" y="374"/>
                </a:lnTo>
                <a:cubicBezTo>
                  <a:pt x="278" y="374"/>
                  <a:pt x="276" y="376"/>
                  <a:pt x="274" y="380"/>
                </a:cubicBezTo>
                <a:cubicBezTo>
                  <a:pt x="272" y="384"/>
                  <a:pt x="270" y="388"/>
                  <a:pt x="269" y="393"/>
                </a:cubicBezTo>
                <a:cubicBezTo>
                  <a:pt x="267" y="398"/>
                  <a:pt x="266" y="402"/>
                  <a:pt x="266" y="404"/>
                </a:cubicBezTo>
                <a:cubicBezTo>
                  <a:pt x="266" y="405"/>
                  <a:pt x="267" y="406"/>
                  <a:pt x="267" y="406"/>
                </a:cubicBezTo>
                <a:lnTo>
                  <a:pt x="268" y="407"/>
                </a:lnTo>
                <a:lnTo>
                  <a:pt x="265" y="406"/>
                </a:lnTo>
                <a:cubicBezTo>
                  <a:pt x="263" y="406"/>
                  <a:pt x="263" y="407"/>
                  <a:pt x="263" y="409"/>
                </a:cubicBezTo>
                <a:cubicBezTo>
                  <a:pt x="263" y="410"/>
                  <a:pt x="263" y="411"/>
                  <a:pt x="265" y="412"/>
                </a:cubicBezTo>
                <a:lnTo>
                  <a:pt x="265" y="413"/>
                </a:lnTo>
                <a:lnTo>
                  <a:pt x="263" y="412"/>
                </a:lnTo>
                <a:cubicBezTo>
                  <a:pt x="262" y="412"/>
                  <a:pt x="261" y="413"/>
                  <a:pt x="261" y="415"/>
                </a:cubicBezTo>
                <a:cubicBezTo>
                  <a:pt x="261" y="416"/>
                  <a:pt x="261" y="417"/>
                  <a:pt x="262" y="417"/>
                </a:cubicBezTo>
                <a:lnTo>
                  <a:pt x="264" y="416"/>
                </a:lnTo>
                <a:cubicBezTo>
                  <a:pt x="264" y="416"/>
                  <a:pt x="265" y="416"/>
                  <a:pt x="265" y="417"/>
                </a:cubicBezTo>
                <a:lnTo>
                  <a:pt x="264" y="418"/>
                </a:lnTo>
                <a:cubicBezTo>
                  <a:pt x="263" y="418"/>
                  <a:pt x="263" y="419"/>
                  <a:pt x="261" y="419"/>
                </a:cubicBezTo>
                <a:cubicBezTo>
                  <a:pt x="260" y="419"/>
                  <a:pt x="260" y="420"/>
                  <a:pt x="258" y="424"/>
                </a:cubicBezTo>
                <a:cubicBezTo>
                  <a:pt x="254" y="434"/>
                  <a:pt x="252" y="441"/>
                  <a:pt x="252" y="445"/>
                </a:cubicBezTo>
                <a:lnTo>
                  <a:pt x="253" y="448"/>
                </a:lnTo>
                <a:cubicBezTo>
                  <a:pt x="253" y="448"/>
                  <a:pt x="253" y="448"/>
                  <a:pt x="253" y="448"/>
                </a:cubicBezTo>
                <a:lnTo>
                  <a:pt x="251" y="448"/>
                </a:lnTo>
                <a:cubicBezTo>
                  <a:pt x="251" y="448"/>
                  <a:pt x="250" y="448"/>
                  <a:pt x="250" y="449"/>
                </a:cubicBezTo>
                <a:cubicBezTo>
                  <a:pt x="249" y="451"/>
                  <a:pt x="248" y="452"/>
                  <a:pt x="248" y="454"/>
                </a:cubicBezTo>
                <a:cubicBezTo>
                  <a:pt x="246" y="459"/>
                  <a:pt x="245" y="463"/>
                  <a:pt x="243" y="466"/>
                </a:cubicBezTo>
                <a:cubicBezTo>
                  <a:pt x="241" y="474"/>
                  <a:pt x="239" y="480"/>
                  <a:pt x="238" y="484"/>
                </a:cubicBezTo>
                <a:lnTo>
                  <a:pt x="237" y="491"/>
                </a:lnTo>
                <a:cubicBezTo>
                  <a:pt x="237" y="492"/>
                  <a:pt x="236" y="493"/>
                  <a:pt x="235" y="495"/>
                </a:cubicBezTo>
                <a:cubicBezTo>
                  <a:pt x="233" y="497"/>
                  <a:pt x="233" y="498"/>
                  <a:pt x="233" y="500"/>
                </a:cubicBezTo>
                <a:lnTo>
                  <a:pt x="233" y="501"/>
                </a:lnTo>
                <a:cubicBezTo>
                  <a:pt x="233" y="503"/>
                  <a:pt x="232" y="504"/>
                  <a:pt x="231" y="505"/>
                </a:cubicBezTo>
                <a:cubicBezTo>
                  <a:pt x="231" y="506"/>
                  <a:pt x="230" y="506"/>
                  <a:pt x="229" y="507"/>
                </a:cubicBezTo>
                <a:lnTo>
                  <a:pt x="228" y="517"/>
                </a:lnTo>
                <a:lnTo>
                  <a:pt x="228" y="523"/>
                </a:lnTo>
                <a:lnTo>
                  <a:pt x="229" y="522"/>
                </a:lnTo>
                <a:cubicBezTo>
                  <a:pt x="230" y="522"/>
                  <a:pt x="230" y="522"/>
                  <a:pt x="230" y="522"/>
                </a:cubicBezTo>
                <a:cubicBezTo>
                  <a:pt x="230" y="523"/>
                  <a:pt x="229" y="525"/>
                  <a:pt x="228" y="529"/>
                </a:cubicBezTo>
                <a:lnTo>
                  <a:pt x="227" y="530"/>
                </a:lnTo>
                <a:cubicBezTo>
                  <a:pt x="226" y="533"/>
                  <a:pt x="226" y="535"/>
                  <a:pt x="226" y="536"/>
                </a:cubicBezTo>
                <a:cubicBezTo>
                  <a:pt x="226" y="537"/>
                  <a:pt x="226" y="538"/>
                  <a:pt x="226" y="538"/>
                </a:cubicBezTo>
                <a:cubicBezTo>
                  <a:pt x="227" y="538"/>
                  <a:pt x="228" y="536"/>
                  <a:pt x="230" y="533"/>
                </a:cubicBezTo>
                <a:cubicBezTo>
                  <a:pt x="231" y="531"/>
                  <a:pt x="231" y="530"/>
                  <a:pt x="232" y="529"/>
                </a:cubicBezTo>
                <a:cubicBezTo>
                  <a:pt x="232" y="529"/>
                  <a:pt x="233" y="529"/>
                  <a:pt x="234" y="528"/>
                </a:cubicBezTo>
                <a:lnTo>
                  <a:pt x="235" y="528"/>
                </a:lnTo>
                <a:cubicBezTo>
                  <a:pt x="235" y="528"/>
                  <a:pt x="236" y="528"/>
                  <a:pt x="236" y="528"/>
                </a:cubicBezTo>
                <a:cubicBezTo>
                  <a:pt x="236" y="529"/>
                  <a:pt x="235" y="530"/>
                  <a:pt x="235" y="531"/>
                </a:cubicBezTo>
                <a:cubicBezTo>
                  <a:pt x="227" y="552"/>
                  <a:pt x="223" y="563"/>
                  <a:pt x="223" y="566"/>
                </a:cubicBezTo>
                <a:cubicBezTo>
                  <a:pt x="223" y="566"/>
                  <a:pt x="225" y="563"/>
                  <a:pt x="227" y="557"/>
                </a:cubicBezTo>
                <a:lnTo>
                  <a:pt x="230" y="550"/>
                </a:lnTo>
                <a:lnTo>
                  <a:pt x="233" y="546"/>
                </a:lnTo>
                <a:lnTo>
                  <a:pt x="233" y="547"/>
                </a:lnTo>
                <a:cubicBezTo>
                  <a:pt x="233" y="548"/>
                  <a:pt x="233" y="549"/>
                  <a:pt x="232" y="551"/>
                </a:cubicBezTo>
                <a:cubicBezTo>
                  <a:pt x="231" y="552"/>
                  <a:pt x="231" y="555"/>
                  <a:pt x="231" y="558"/>
                </a:cubicBezTo>
                <a:cubicBezTo>
                  <a:pt x="231" y="559"/>
                  <a:pt x="231" y="560"/>
                  <a:pt x="231" y="560"/>
                </a:cubicBezTo>
                <a:lnTo>
                  <a:pt x="230" y="559"/>
                </a:lnTo>
                <a:cubicBezTo>
                  <a:pt x="230" y="559"/>
                  <a:pt x="229" y="559"/>
                  <a:pt x="229" y="559"/>
                </a:cubicBezTo>
                <a:cubicBezTo>
                  <a:pt x="228" y="559"/>
                  <a:pt x="228" y="559"/>
                  <a:pt x="228" y="561"/>
                </a:cubicBezTo>
                <a:cubicBezTo>
                  <a:pt x="228" y="562"/>
                  <a:pt x="228" y="564"/>
                  <a:pt x="227" y="565"/>
                </a:cubicBezTo>
                <a:cubicBezTo>
                  <a:pt x="226" y="566"/>
                  <a:pt x="226" y="567"/>
                  <a:pt x="226" y="567"/>
                </a:cubicBezTo>
                <a:cubicBezTo>
                  <a:pt x="226" y="568"/>
                  <a:pt x="226" y="568"/>
                  <a:pt x="227" y="568"/>
                </a:cubicBezTo>
                <a:lnTo>
                  <a:pt x="229" y="567"/>
                </a:lnTo>
                <a:lnTo>
                  <a:pt x="229" y="568"/>
                </a:lnTo>
                <a:cubicBezTo>
                  <a:pt x="229" y="568"/>
                  <a:pt x="229" y="569"/>
                  <a:pt x="229" y="570"/>
                </a:cubicBezTo>
                <a:cubicBezTo>
                  <a:pt x="228" y="571"/>
                  <a:pt x="228" y="572"/>
                  <a:pt x="228" y="572"/>
                </a:cubicBezTo>
                <a:cubicBezTo>
                  <a:pt x="227" y="572"/>
                  <a:pt x="227" y="571"/>
                  <a:pt x="227" y="571"/>
                </a:cubicBezTo>
                <a:cubicBezTo>
                  <a:pt x="227" y="571"/>
                  <a:pt x="226" y="570"/>
                  <a:pt x="226" y="570"/>
                </a:cubicBezTo>
                <a:cubicBezTo>
                  <a:pt x="226" y="570"/>
                  <a:pt x="224" y="572"/>
                  <a:pt x="222" y="576"/>
                </a:cubicBezTo>
                <a:cubicBezTo>
                  <a:pt x="219" y="582"/>
                  <a:pt x="218" y="585"/>
                  <a:pt x="217" y="585"/>
                </a:cubicBezTo>
                <a:lnTo>
                  <a:pt x="218" y="579"/>
                </a:lnTo>
                <a:lnTo>
                  <a:pt x="217" y="580"/>
                </a:lnTo>
                <a:cubicBezTo>
                  <a:pt x="216" y="581"/>
                  <a:pt x="216" y="583"/>
                  <a:pt x="216" y="584"/>
                </a:cubicBezTo>
                <a:cubicBezTo>
                  <a:pt x="215" y="585"/>
                  <a:pt x="214" y="587"/>
                  <a:pt x="214" y="589"/>
                </a:cubicBezTo>
                <a:lnTo>
                  <a:pt x="213" y="593"/>
                </a:lnTo>
                <a:cubicBezTo>
                  <a:pt x="213" y="593"/>
                  <a:pt x="214" y="592"/>
                  <a:pt x="216" y="590"/>
                </a:cubicBezTo>
                <a:cubicBezTo>
                  <a:pt x="217" y="588"/>
                  <a:pt x="218" y="587"/>
                  <a:pt x="218" y="587"/>
                </a:cubicBezTo>
                <a:cubicBezTo>
                  <a:pt x="218" y="587"/>
                  <a:pt x="218" y="589"/>
                  <a:pt x="216" y="591"/>
                </a:cubicBezTo>
                <a:cubicBezTo>
                  <a:pt x="215" y="594"/>
                  <a:pt x="214" y="595"/>
                  <a:pt x="213" y="595"/>
                </a:cubicBezTo>
                <a:cubicBezTo>
                  <a:pt x="212" y="595"/>
                  <a:pt x="211" y="596"/>
                  <a:pt x="211" y="598"/>
                </a:cubicBezTo>
                <a:lnTo>
                  <a:pt x="212" y="600"/>
                </a:lnTo>
                <a:cubicBezTo>
                  <a:pt x="212" y="600"/>
                  <a:pt x="211" y="601"/>
                  <a:pt x="211" y="601"/>
                </a:cubicBezTo>
                <a:cubicBezTo>
                  <a:pt x="210" y="601"/>
                  <a:pt x="209" y="601"/>
                  <a:pt x="209" y="602"/>
                </a:cubicBezTo>
                <a:lnTo>
                  <a:pt x="210" y="604"/>
                </a:lnTo>
                <a:cubicBezTo>
                  <a:pt x="210" y="605"/>
                  <a:pt x="210" y="605"/>
                  <a:pt x="210" y="605"/>
                </a:cubicBezTo>
                <a:cubicBezTo>
                  <a:pt x="209" y="605"/>
                  <a:pt x="208" y="606"/>
                  <a:pt x="208" y="607"/>
                </a:cubicBezTo>
                <a:cubicBezTo>
                  <a:pt x="207" y="609"/>
                  <a:pt x="206" y="611"/>
                  <a:pt x="205" y="613"/>
                </a:cubicBezTo>
                <a:cubicBezTo>
                  <a:pt x="204" y="618"/>
                  <a:pt x="203" y="620"/>
                  <a:pt x="201" y="620"/>
                </a:cubicBezTo>
                <a:lnTo>
                  <a:pt x="200" y="620"/>
                </a:lnTo>
                <a:lnTo>
                  <a:pt x="200" y="620"/>
                </a:lnTo>
                <a:lnTo>
                  <a:pt x="201" y="623"/>
                </a:lnTo>
                <a:cubicBezTo>
                  <a:pt x="202" y="625"/>
                  <a:pt x="203" y="627"/>
                  <a:pt x="203" y="628"/>
                </a:cubicBezTo>
                <a:cubicBezTo>
                  <a:pt x="203" y="629"/>
                  <a:pt x="203" y="629"/>
                  <a:pt x="203" y="629"/>
                </a:cubicBezTo>
                <a:lnTo>
                  <a:pt x="201" y="628"/>
                </a:lnTo>
                <a:cubicBezTo>
                  <a:pt x="201" y="628"/>
                  <a:pt x="200" y="629"/>
                  <a:pt x="200" y="630"/>
                </a:cubicBezTo>
                <a:lnTo>
                  <a:pt x="201" y="634"/>
                </a:lnTo>
                <a:cubicBezTo>
                  <a:pt x="201" y="635"/>
                  <a:pt x="201" y="635"/>
                  <a:pt x="200" y="635"/>
                </a:cubicBezTo>
                <a:lnTo>
                  <a:pt x="198" y="634"/>
                </a:lnTo>
                <a:cubicBezTo>
                  <a:pt x="198" y="634"/>
                  <a:pt x="198" y="635"/>
                  <a:pt x="198" y="635"/>
                </a:cubicBezTo>
                <a:cubicBezTo>
                  <a:pt x="198" y="635"/>
                  <a:pt x="198" y="636"/>
                  <a:pt x="198" y="636"/>
                </a:cubicBezTo>
                <a:cubicBezTo>
                  <a:pt x="198" y="636"/>
                  <a:pt x="199" y="637"/>
                  <a:pt x="200" y="639"/>
                </a:cubicBezTo>
                <a:cubicBezTo>
                  <a:pt x="201" y="638"/>
                  <a:pt x="202" y="636"/>
                  <a:pt x="203" y="632"/>
                </a:cubicBezTo>
                <a:cubicBezTo>
                  <a:pt x="204" y="629"/>
                  <a:pt x="206" y="625"/>
                  <a:pt x="208" y="620"/>
                </a:cubicBezTo>
                <a:cubicBezTo>
                  <a:pt x="209" y="615"/>
                  <a:pt x="211" y="610"/>
                  <a:pt x="212" y="606"/>
                </a:cubicBezTo>
                <a:lnTo>
                  <a:pt x="214" y="599"/>
                </a:lnTo>
                <a:lnTo>
                  <a:pt x="213" y="598"/>
                </a:lnTo>
                <a:cubicBezTo>
                  <a:pt x="213" y="597"/>
                  <a:pt x="214" y="597"/>
                  <a:pt x="214" y="597"/>
                </a:cubicBezTo>
                <a:cubicBezTo>
                  <a:pt x="215" y="597"/>
                  <a:pt x="216" y="596"/>
                  <a:pt x="217" y="595"/>
                </a:cubicBezTo>
                <a:cubicBezTo>
                  <a:pt x="218" y="593"/>
                  <a:pt x="219" y="591"/>
                  <a:pt x="220" y="589"/>
                </a:cubicBezTo>
                <a:cubicBezTo>
                  <a:pt x="221" y="587"/>
                  <a:pt x="221" y="585"/>
                  <a:pt x="222" y="583"/>
                </a:cubicBezTo>
                <a:cubicBezTo>
                  <a:pt x="223" y="582"/>
                  <a:pt x="224" y="581"/>
                  <a:pt x="224" y="581"/>
                </a:cubicBezTo>
                <a:cubicBezTo>
                  <a:pt x="224" y="581"/>
                  <a:pt x="225" y="581"/>
                  <a:pt x="225" y="582"/>
                </a:cubicBezTo>
                <a:cubicBezTo>
                  <a:pt x="225" y="583"/>
                  <a:pt x="224" y="585"/>
                  <a:pt x="223" y="588"/>
                </a:cubicBezTo>
                <a:cubicBezTo>
                  <a:pt x="223" y="590"/>
                  <a:pt x="222" y="592"/>
                  <a:pt x="222" y="593"/>
                </a:cubicBezTo>
                <a:cubicBezTo>
                  <a:pt x="222" y="595"/>
                  <a:pt x="222" y="595"/>
                  <a:pt x="223" y="595"/>
                </a:cubicBezTo>
                <a:cubicBezTo>
                  <a:pt x="224" y="595"/>
                  <a:pt x="224" y="596"/>
                  <a:pt x="224" y="597"/>
                </a:cubicBezTo>
                <a:cubicBezTo>
                  <a:pt x="224" y="598"/>
                  <a:pt x="224" y="598"/>
                  <a:pt x="223" y="598"/>
                </a:cubicBezTo>
                <a:lnTo>
                  <a:pt x="221" y="598"/>
                </a:lnTo>
                <a:cubicBezTo>
                  <a:pt x="221" y="598"/>
                  <a:pt x="220" y="598"/>
                  <a:pt x="219" y="599"/>
                </a:cubicBezTo>
                <a:cubicBezTo>
                  <a:pt x="218" y="600"/>
                  <a:pt x="218" y="601"/>
                  <a:pt x="218" y="603"/>
                </a:cubicBezTo>
                <a:cubicBezTo>
                  <a:pt x="217" y="604"/>
                  <a:pt x="217" y="605"/>
                  <a:pt x="217" y="606"/>
                </a:cubicBezTo>
                <a:cubicBezTo>
                  <a:pt x="217" y="607"/>
                  <a:pt x="217" y="608"/>
                  <a:pt x="218" y="609"/>
                </a:cubicBezTo>
                <a:lnTo>
                  <a:pt x="218" y="609"/>
                </a:lnTo>
                <a:cubicBezTo>
                  <a:pt x="218" y="609"/>
                  <a:pt x="218" y="608"/>
                  <a:pt x="218" y="608"/>
                </a:cubicBezTo>
                <a:cubicBezTo>
                  <a:pt x="218" y="607"/>
                  <a:pt x="219" y="607"/>
                  <a:pt x="219" y="606"/>
                </a:cubicBezTo>
                <a:cubicBezTo>
                  <a:pt x="220" y="606"/>
                  <a:pt x="220" y="607"/>
                  <a:pt x="220" y="607"/>
                </a:cubicBezTo>
                <a:cubicBezTo>
                  <a:pt x="220" y="608"/>
                  <a:pt x="220" y="609"/>
                  <a:pt x="219" y="610"/>
                </a:cubicBezTo>
                <a:cubicBezTo>
                  <a:pt x="218" y="611"/>
                  <a:pt x="218" y="612"/>
                  <a:pt x="217" y="612"/>
                </a:cubicBezTo>
                <a:lnTo>
                  <a:pt x="216" y="612"/>
                </a:lnTo>
                <a:cubicBezTo>
                  <a:pt x="215" y="612"/>
                  <a:pt x="215" y="612"/>
                  <a:pt x="215" y="612"/>
                </a:cubicBezTo>
                <a:lnTo>
                  <a:pt x="216" y="616"/>
                </a:lnTo>
                <a:cubicBezTo>
                  <a:pt x="216" y="617"/>
                  <a:pt x="215" y="617"/>
                  <a:pt x="215" y="617"/>
                </a:cubicBezTo>
                <a:lnTo>
                  <a:pt x="213" y="616"/>
                </a:lnTo>
                <a:cubicBezTo>
                  <a:pt x="213" y="616"/>
                  <a:pt x="213" y="616"/>
                  <a:pt x="213" y="616"/>
                </a:cubicBezTo>
                <a:cubicBezTo>
                  <a:pt x="213" y="617"/>
                  <a:pt x="213" y="617"/>
                  <a:pt x="213" y="618"/>
                </a:cubicBezTo>
                <a:cubicBezTo>
                  <a:pt x="214" y="619"/>
                  <a:pt x="214" y="619"/>
                  <a:pt x="214" y="620"/>
                </a:cubicBezTo>
                <a:cubicBezTo>
                  <a:pt x="214" y="621"/>
                  <a:pt x="213" y="621"/>
                  <a:pt x="213" y="621"/>
                </a:cubicBezTo>
                <a:cubicBezTo>
                  <a:pt x="212" y="621"/>
                  <a:pt x="211" y="622"/>
                  <a:pt x="211" y="625"/>
                </a:cubicBezTo>
                <a:lnTo>
                  <a:pt x="212" y="626"/>
                </a:lnTo>
                <a:cubicBezTo>
                  <a:pt x="212" y="627"/>
                  <a:pt x="211" y="627"/>
                  <a:pt x="211" y="627"/>
                </a:cubicBezTo>
                <a:cubicBezTo>
                  <a:pt x="210" y="627"/>
                  <a:pt x="209" y="628"/>
                  <a:pt x="208" y="630"/>
                </a:cubicBezTo>
                <a:cubicBezTo>
                  <a:pt x="206" y="635"/>
                  <a:pt x="205" y="640"/>
                  <a:pt x="205" y="645"/>
                </a:cubicBezTo>
                <a:cubicBezTo>
                  <a:pt x="205" y="647"/>
                  <a:pt x="205" y="649"/>
                  <a:pt x="206" y="650"/>
                </a:cubicBezTo>
                <a:cubicBezTo>
                  <a:pt x="207" y="651"/>
                  <a:pt x="207" y="651"/>
                  <a:pt x="208" y="651"/>
                </a:cubicBezTo>
                <a:cubicBezTo>
                  <a:pt x="208" y="651"/>
                  <a:pt x="208" y="650"/>
                  <a:pt x="208" y="648"/>
                </a:cubicBezTo>
                <a:lnTo>
                  <a:pt x="208" y="646"/>
                </a:lnTo>
                <a:cubicBezTo>
                  <a:pt x="208" y="645"/>
                  <a:pt x="208" y="644"/>
                  <a:pt x="208" y="644"/>
                </a:cubicBezTo>
                <a:cubicBezTo>
                  <a:pt x="208" y="644"/>
                  <a:pt x="209" y="645"/>
                  <a:pt x="210" y="645"/>
                </a:cubicBezTo>
                <a:cubicBezTo>
                  <a:pt x="211" y="646"/>
                  <a:pt x="211" y="647"/>
                  <a:pt x="212" y="647"/>
                </a:cubicBezTo>
                <a:cubicBezTo>
                  <a:pt x="212" y="647"/>
                  <a:pt x="213" y="648"/>
                  <a:pt x="213" y="648"/>
                </a:cubicBezTo>
                <a:lnTo>
                  <a:pt x="214" y="647"/>
                </a:lnTo>
                <a:lnTo>
                  <a:pt x="214" y="647"/>
                </a:lnTo>
                <a:cubicBezTo>
                  <a:pt x="214" y="646"/>
                  <a:pt x="214" y="646"/>
                  <a:pt x="213" y="646"/>
                </a:cubicBezTo>
                <a:cubicBezTo>
                  <a:pt x="212" y="646"/>
                  <a:pt x="212" y="645"/>
                  <a:pt x="212" y="644"/>
                </a:cubicBezTo>
                <a:cubicBezTo>
                  <a:pt x="213" y="643"/>
                  <a:pt x="213" y="643"/>
                  <a:pt x="213" y="643"/>
                </a:cubicBezTo>
                <a:cubicBezTo>
                  <a:pt x="214" y="643"/>
                  <a:pt x="214" y="643"/>
                  <a:pt x="215" y="644"/>
                </a:cubicBezTo>
                <a:cubicBezTo>
                  <a:pt x="216" y="645"/>
                  <a:pt x="216" y="646"/>
                  <a:pt x="216" y="647"/>
                </a:cubicBezTo>
                <a:cubicBezTo>
                  <a:pt x="216" y="647"/>
                  <a:pt x="216" y="648"/>
                  <a:pt x="216" y="649"/>
                </a:cubicBezTo>
                <a:cubicBezTo>
                  <a:pt x="215" y="651"/>
                  <a:pt x="214" y="651"/>
                  <a:pt x="214" y="651"/>
                </a:cubicBezTo>
                <a:lnTo>
                  <a:pt x="213" y="651"/>
                </a:lnTo>
                <a:cubicBezTo>
                  <a:pt x="212" y="651"/>
                  <a:pt x="212" y="651"/>
                  <a:pt x="212" y="653"/>
                </a:cubicBezTo>
                <a:lnTo>
                  <a:pt x="212" y="654"/>
                </a:lnTo>
                <a:cubicBezTo>
                  <a:pt x="212" y="656"/>
                  <a:pt x="211" y="656"/>
                  <a:pt x="210" y="656"/>
                </a:cubicBezTo>
                <a:cubicBezTo>
                  <a:pt x="209" y="656"/>
                  <a:pt x="208" y="655"/>
                  <a:pt x="206" y="653"/>
                </a:cubicBezTo>
                <a:cubicBezTo>
                  <a:pt x="205" y="651"/>
                  <a:pt x="204" y="650"/>
                  <a:pt x="203" y="650"/>
                </a:cubicBezTo>
                <a:cubicBezTo>
                  <a:pt x="202" y="650"/>
                  <a:pt x="202" y="651"/>
                  <a:pt x="201" y="654"/>
                </a:cubicBezTo>
                <a:cubicBezTo>
                  <a:pt x="201" y="656"/>
                  <a:pt x="201" y="658"/>
                  <a:pt x="199" y="659"/>
                </a:cubicBezTo>
                <a:cubicBezTo>
                  <a:pt x="198" y="661"/>
                  <a:pt x="198" y="661"/>
                  <a:pt x="198" y="662"/>
                </a:cubicBezTo>
                <a:cubicBezTo>
                  <a:pt x="198" y="662"/>
                  <a:pt x="198" y="662"/>
                  <a:pt x="198" y="662"/>
                </a:cubicBezTo>
                <a:lnTo>
                  <a:pt x="198" y="663"/>
                </a:lnTo>
                <a:cubicBezTo>
                  <a:pt x="198" y="664"/>
                  <a:pt x="197" y="667"/>
                  <a:pt x="196" y="673"/>
                </a:cubicBezTo>
                <a:lnTo>
                  <a:pt x="192" y="686"/>
                </a:lnTo>
                <a:cubicBezTo>
                  <a:pt x="192" y="686"/>
                  <a:pt x="194" y="682"/>
                  <a:pt x="197" y="674"/>
                </a:cubicBezTo>
                <a:cubicBezTo>
                  <a:pt x="198" y="670"/>
                  <a:pt x="200" y="667"/>
                  <a:pt x="201" y="665"/>
                </a:cubicBezTo>
                <a:lnTo>
                  <a:pt x="204" y="662"/>
                </a:lnTo>
                <a:lnTo>
                  <a:pt x="205" y="662"/>
                </a:lnTo>
                <a:lnTo>
                  <a:pt x="205" y="661"/>
                </a:lnTo>
                <a:cubicBezTo>
                  <a:pt x="204" y="660"/>
                  <a:pt x="204" y="659"/>
                  <a:pt x="204" y="659"/>
                </a:cubicBezTo>
                <a:cubicBezTo>
                  <a:pt x="204" y="659"/>
                  <a:pt x="204" y="658"/>
                  <a:pt x="205" y="658"/>
                </a:cubicBezTo>
                <a:cubicBezTo>
                  <a:pt x="206" y="658"/>
                  <a:pt x="207" y="659"/>
                  <a:pt x="207" y="660"/>
                </a:cubicBezTo>
                <a:cubicBezTo>
                  <a:pt x="207" y="661"/>
                  <a:pt x="207" y="662"/>
                  <a:pt x="208" y="662"/>
                </a:cubicBezTo>
                <a:cubicBezTo>
                  <a:pt x="208" y="662"/>
                  <a:pt x="208" y="661"/>
                  <a:pt x="209" y="660"/>
                </a:cubicBezTo>
                <a:cubicBezTo>
                  <a:pt x="209" y="659"/>
                  <a:pt x="210" y="658"/>
                  <a:pt x="210" y="658"/>
                </a:cubicBezTo>
                <a:lnTo>
                  <a:pt x="204" y="676"/>
                </a:lnTo>
                <a:cubicBezTo>
                  <a:pt x="202" y="684"/>
                  <a:pt x="200" y="688"/>
                  <a:pt x="199" y="688"/>
                </a:cubicBezTo>
                <a:cubicBezTo>
                  <a:pt x="198" y="688"/>
                  <a:pt x="198" y="689"/>
                  <a:pt x="198" y="690"/>
                </a:cubicBezTo>
                <a:lnTo>
                  <a:pt x="198" y="691"/>
                </a:lnTo>
                <a:cubicBezTo>
                  <a:pt x="198" y="694"/>
                  <a:pt x="197" y="700"/>
                  <a:pt x="194" y="708"/>
                </a:cubicBezTo>
                <a:cubicBezTo>
                  <a:pt x="191" y="718"/>
                  <a:pt x="188" y="722"/>
                  <a:pt x="187" y="722"/>
                </a:cubicBezTo>
                <a:lnTo>
                  <a:pt x="186" y="721"/>
                </a:lnTo>
                <a:lnTo>
                  <a:pt x="186" y="723"/>
                </a:lnTo>
                <a:cubicBezTo>
                  <a:pt x="186" y="726"/>
                  <a:pt x="185" y="734"/>
                  <a:pt x="181" y="744"/>
                </a:cubicBezTo>
                <a:cubicBezTo>
                  <a:pt x="176" y="759"/>
                  <a:pt x="173" y="767"/>
                  <a:pt x="173" y="768"/>
                </a:cubicBezTo>
                <a:cubicBezTo>
                  <a:pt x="172" y="772"/>
                  <a:pt x="171" y="774"/>
                  <a:pt x="170" y="774"/>
                </a:cubicBezTo>
                <a:cubicBezTo>
                  <a:pt x="169" y="774"/>
                  <a:pt x="169" y="775"/>
                  <a:pt x="169" y="776"/>
                </a:cubicBezTo>
                <a:cubicBezTo>
                  <a:pt x="169" y="778"/>
                  <a:pt x="168" y="780"/>
                  <a:pt x="167" y="784"/>
                </a:cubicBezTo>
                <a:cubicBezTo>
                  <a:pt x="165" y="788"/>
                  <a:pt x="163" y="795"/>
                  <a:pt x="161" y="803"/>
                </a:cubicBezTo>
                <a:cubicBezTo>
                  <a:pt x="158" y="811"/>
                  <a:pt x="155" y="819"/>
                  <a:pt x="151" y="830"/>
                </a:cubicBezTo>
                <a:cubicBezTo>
                  <a:pt x="149" y="833"/>
                  <a:pt x="149" y="835"/>
                  <a:pt x="149" y="837"/>
                </a:cubicBezTo>
                <a:cubicBezTo>
                  <a:pt x="149" y="838"/>
                  <a:pt x="149" y="839"/>
                  <a:pt x="149" y="840"/>
                </a:cubicBezTo>
                <a:cubicBezTo>
                  <a:pt x="149" y="840"/>
                  <a:pt x="150" y="841"/>
                  <a:pt x="151" y="843"/>
                </a:cubicBezTo>
                <a:lnTo>
                  <a:pt x="149" y="843"/>
                </a:lnTo>
                <a:cubicBezTo>
                  <a:pt x="148" y="843"/>
                  <a:pt x="146" y="847"/>
                  <a:pt x="143" y="855"/>
                </a:cubicBezTo>
                <a:lnTo>
                  <a:pt x="134" y="882"/>
                </a:lnTo>
                <a:cubicBezTo>
                  <a:pt x="128" y="899"/>
                  <a:pt x="124" y="915"/>
                  <a:pt x="120" y="930"/>
                </a:cubicBezTo>
                <a:cubicBezTo>
                  <a:pt x="116" y="945"/>
                  <a:pt x="114" y="954"/>
                  <a:pt x="114" y="958"/>
                </a:cubicBezTo>
                <a:cubicBezTo>
                  <a:pt x="114" y="960"/>
                  <a:pt x="114" y="961"/>
                  <a:pt x="115" y="961"/>
                </a:cubicBezTo>
                <a:cubicBezTo>
                  <a:pt x="115" y="961"/>
                  <a:pt x="115" y="962"/>
                  <a:pt x="115" y="962"/>
                </a:cubicBezTo>
                <a:cubicBezTo>
                  <a:pt x="115" y="963"/>
                  <a:pt x="114" y="964"/>
                  <a:pt x="113" y="965"/>
                </a:cubicBezTo>
                <a:cubicBezTo>
                  <a:pt x="112" y="967"/>
                  <a:pt x="111" y="968"/>
                  <a:pt x="111" y="969"/>
                </a:cubicBezTo>
                <a:cubicBezTo>
                  <a:pt x="111" y="970"/>
                  <a:pt x="112" y="971"/>
                  <a:pt x="114" y="971"/>
                </a:cubicBezTo>
                <a:cubicBezTo>
                  <a:pt x="114" y="971"/>
                  <a:pt x="115" y="970"/>
                  <a:pt x="115" y="967"/>
                </a:cubicBezTo>
                <a:cubicBezTo>
                  <a:pt x="115" y="966"/>
                  <a:pt x="116" y="965"/>
                  <a:pt x="119" y="963"/>
                </a:cubicBezTo>
                <a:cubicBezTo>
                  <a:pt x="120" y="963"/>
                  <a:pt x="121" y="963"/>
                  <a:pt x="122" y="963"/>
                </a:cubicBezTo>
                <a:cubicBezTo>
                  <a:pt x="122" y="962"/>
                  <a:pt x="122" y="961"/>
                  <a:pt x="123" y="960"/>
                </a:cubicBezTo>
                <a:cubicBezTo>
                  <a:pt x="123" y="958"/>
                  <a:pt x="124" y="958"/>
                  <a:pt x="125" y="957"/>
                </a:cubicBezTo>
                <a:cubicBezTo>
                  <a:pt x="126" y="956"/>
                  <a:pt x="127" y="955"/>
                  <a:pt x="127" y="954"/>
                </a:cubicBezTo>
                <a:lnTo>
                  <a:pt x="126" y="952"/>
                </a:lnTo>
                <a:cubicBezTo>
                  <a:pt x="126" y="952"/>
                  <a:pt x="127" y="952"/>
                  <a:pt x="128" y="953"/>
                </a:cubicBezTo>
                <a:cubicBezTo>
                  <a:pt x="129" y="953"/>
                  <a:pt x="129" y="954"/>
                  <a:pt x="129" y="955"/>
                </a:cubicBezTo>
                <a:lnTo>
                  <a:pt x="128" y="962"/>
                </a:lnTo>
                <a:cubicBezTo>
                  <a:pt x="126" y="975"/>
                  <a:pt x="122" y="987"/>
                  <a:pt x="117" y="997"/>
                </a:cubicBezTo>
                <a:cubicBezTo>
                  <a:pt x="112" y="1007"/>
                  <a:pt x="107" y="1013"/>
                  <a:pt x="103" y="1015"/>
                </a:cubicBezTo>
                <a:close/>
                <a:moveTo>
                  <a:pt x="324" y="56"/>
                </a:moveTo>
                <a:lnTo>
                  <a:pt x="333" y="55"/>
                </a:lnTo>
                <a:cubicBezTo>
                  <a:pt x="334" y="55"/>
                  <a:pt x="334" y="55"/>
                  <a:pt x="334" y="54"/>
                </a:cubicBezTo>
                <a:cubicBezTo>
                  <a:pt x="334" y="54"/>
                  <a:pt x="334" y="53"/>
                  <a:pt x="333" y="52"/>
                </a:cubicBezTo>
                <a:cubicBezTo>
                  <a:pt x="332" y="51"/>
                  <a:pt x="332" y="51"/>
                  <a:pt x="331" y="51"/>
                </a:cubicBezTo>
                <a:cubicBezTo>
                  <a:pt x="330" y="51"/>
                  <a:pt x="328" y="52"/>
                  <a:pt x="326" y="53"/>
                </a:cubicBezTo>
                <a:cubicBezTo>
                  <a:pt x="324" y="55"/>
                  <a:pt x="323" y="56"/>
                  <a:pt x="323" y="56"/>
                </a:cubicBezTo>
                <a:lnTo>
                  <a:pt x="324" y="56"/>
                </a:lnTo>
                <a:close/>
                <a:moveTo>
                  <a:pt x="369" y="36"/>
                </a:moveTo>
                <a:cubicBezTo>
                  <a:pt x="369" y="36"/>
                  <a:pt x="369" y="36"/>
                  <a:pt x="369" y="34"/>
                </a:cubicBezTo>
                <a:cubicBezTo>
                  <a:pt x="369" y="33"/>
                  <a:pt x="369" y="32"/>
                  <a:pt x="367" y="32"/>
                </a:cubicBezTo>
                <a:cubicBezTo>
                  <a:pt x="366" y="32"/>
                  <a:pt x="366" y="33"/>
                  <a:pt x="366" y="34"/>
                </a:cubicBezTo>
                <a:cubicBezTo>
                  <a:pt x="366" y="34"/>
                  <a:pt x="366" y="34"/>
                  <a:pt x="367" y="35"/>
                </a:cubicBezTo>
                <a:cubicBezTo>
                  <a:pt x="367" y="35"/>
                  <a:pt x="367" y="36"/>
                  <a:pt x="367" y="36"/>
                </a:cubicBezTo>
                <a:cubicBezTo>
                  <a:pt x="367" y="36"/>
                  <a:pt x="368" y="36"/>
                  <a:pt x="369" y="36"/>
                </a:cubicBezTo>
                <a:close/>
                <a:moveTo>
                  <a:pt x="322" y="39"/>
                </a:moveTo>
                <a:cubicBezTo>
                  <a:pt x="322" y="39"/>
                  <a:pt x="322" y="38"/>
                  <a:pt x="322" y="38"/>
                </a:cubicBezTo>
                <a:lnTo>
                  <a:pt x="322" y="34"/>
                </a:lnTo>
                <a:cubicBezTo>
                  <a:pt x="321" y="32"/>
                  <a:pt x="320" y="32"/>
                  <a:pt x="320" y="32"/>
                </a:cubicBezTo>
                <a:cubicBezTo>
                  <a:pt x="319" y="32"/>
                  <a:pt x="319" y="32"/>
                  <a:pt x="319" y="33"/>
                </a:cubicBezTo>
                <a:cubicBezTo>
                  <a:pt x="319" y="35"/>
                  <a:pt x="320" y="36"/>
                  <a:pt x="320" y="38"/>
                </a:cubicBezTo>
                <a:lnTo>
                  <a:pt x="322" y="39"/>
                </a:lnTo>
                <a:close/>
                <a:moveTo>
                  <a:pt x="347" y="31"/>
                </a:moveTo>
                <a:cubicBezTo>
                  <a:pt x="348" y="31"/>
                  <a:pt x="350" y="30"/>
                  <a:pt x="352" y="29"/>
                </a:cubicBezTo>
                <a:cubicBezTo>
                  <a:pt x="353" y="28"/>
                  <a:pt x="353" y="27"/>
                  <a:pt x="353" y="27"/>
                </a:cubicBezTo>
                <a:cubicBezTo>
                  <a:pt x="353" y="27"/>
                  <a:pt x="353" y="27"/>
                  <a:pt x="353" y="27"/>
                </a:cubicBezTo>
                <a:cubicBezTo>
                  <a:pt x="352" y="27"/>
                  <a:pt x="352" y="27"/>
                  <a:pt x="351" y="27"/>
                </a:cubicBezTo>
                <a:cubicBezTo>
                  <a:pt x="350" y="27"/>
                  <a:pt x="349" y="28"/>
                  <a:pt x="348" y="28"/>
                </a:cubicBezTo>
                <a:cubicBezTo>
                  <a:pt x="347" y="29"/>
                  <a:pt x="346" y="30"/>
                  <a:pt x="346" y="30"/>
                </a:cubicBezTo>
                <a:cubicBezTo>
                  <a:pt x="346" y="30"/>
                  <a:pt x="347" y="31"/>
                  <a:pt x="347" y="31"/>
                </a:cubicBezTo>
                <a:close/>
                <a:moveTo>
                  <a:pt x="325" y="36"/>
                </a:moveTo>
                <a:cubicBezTo>
                  <a:pt x="326" y="36"/>
                  <a:pt x="326" y="36"/>
                  <a:pt x="327" y="34"/>
                </a:cubicBezTo>
                <a:cubicBezTo>
                  <a:pt x="327" y="34"/>
                  <a:pt x="328" y="33"/>
                  <a:pt x="329" y="33"/>
                </a:cubicBezTo>
                <a:lnTo>
                  <a:pt x="332" y="34"/>
                </a:lnTo>
                <a:cubicBezTo>
                  <a:pt x="332" y="34"/>
                  <a:pt x="332" y="34"/>
                  <a:pt x="333" y="33"/>
                </a:cubicBezTo>
                <a:cubicBezTo>
                  <a:pt x="333" y="32"/>
                  <a:pt x="337" y="30"/>
                  <a:pt x="345" y="26"/>
                </a:cubicBezTo>
                <a:cubicBezTo>
                  <a:pt x="352" y="22"/>
                  <a:pt x="356" y="19"/>
                  <a:pt x="356" y="18"/>
                </a:cubicBezTo>
                <a:lnTo>
                  <a:pt x="355" y="15"/>
                </a:lnTo>
                <a:cubicBezTo>
                  <a:pt x="355" y="15"/>
                  <a:pt x="354" y="15"/>
                  <a:pt x="354" y="16"/>
                </a:cubicBezTo>
                <a:cubicBezTo>
                  <a:pt x="354" y="17"/>
                  <a:pt x="353" y="18"/>
                  <a:pt x="353" y="18"/>
                </a:cubicBezTo>
                <a:cubicBezTo>
                  <a:pt x="353" y="18"/>
                  <a:pt x="352" y="17"/>
                  <a:pt x="352" y="16"/>
                </a:cubicBezTo>
                <a:cubicBezTo>
                  <a:pt x="351" y="15"/>
                  <a:pt x="350" y="15"/>
                  <a:pt x="350" y="15"/>
                </a:cubicBezTo>
                <a:cubicBezTo>
                  <a:pt x="350" y="15"/>
                  <a:pt x="350" y="16"/>
                  <a:pt x="350" y="17"/>
                </a:cubicBezTo>
                <a:cubicBezTo>
                  <a:pt x="350" y="19"/>
                  <a:pt x="350" y="20"/>
                  <a:pt x="349" y="20"/>
                </a:cubicBezTo>
                <a:cubicBezTo>
                  <a:pt x="349" y="20"/>
                  <a:pt x="348" y="20"/>
                  <a:pt x="348" y="18"/>
                </a:cubicBezTo>
                <a:cubicBezTo>
                  <a:pt x="347" y="17"/>
                  <a:pt x="347" y="16"/>
                  <a:pt x="346" y="16"/>
                </a:cubicBezTo>
                <a:cubicBezTo>
                  <a:pt x="346" y="16"/>
                  <a:pt x="346" y="17"/>
                  <a:pt x="346" y="19"/>
                </a:cubicBezTo>
                <a:cubicBezTo>
                  <a:pt x="346" y="21"/>
                  <a:pt x="346" y="22"/>
                  <a:pt x="345" y="22"/>
                </a:cubicBezTo>
                <a:cubicBezTo>
                  <a:pt x="345" y="22"/>
                  <a:pt x="345" y="22"/>
                  <a:pt x="344" y="20"/>
                </a:cubicBezTo>
                <a:cubicBezTo>
                  <a:pt x="343" y="19"/>
                  <a:pt x="343" y="18"/>
                  <a:pt x="343" y="18"/>
                </a:cubicBezTo>
                <a:cubicBezTo>
                  <a:pt x="342" y="18"/>
                  <a:pt x="342" y="19"/>
                  <a:pt x="342" y="21"/>
                </a:cubicBezTo>
                <a:cubicBezTo>
                  <a:pt x="342" y="22"/>
                  <a:pt x="342" y="23"/>
                  <a:pt x="340" y="24"/>
                </a:cubicBezTo>
                <a:cubicBezTo>
                  <a:pt x="339" y="25"/>
                  <a:pt x="338" y="25"/>
                  <a:pt x="336" y="25"/>
                </a:cubicBezTo>
                <a:cubicBezTo>
                  <a:pt x="335" y="25"/>
                  <a:pt x="334" y="25"/>
                  <a:pt x="333" y="24"/>
                </a:cubicBezTo>
                <a:lnTo>
                  <a:pt x="333" y="23"/>
                </a:lnTo>
                <a:cubicBezTo>
                  <a:pt x="333" y="23"/>
                  <a:pt x="332" y="24"/>
                  <a:pt x="332" y="26"/>
                </a:cubicBezTo>
                <a:cubicBezTo>
                  <a:pt x="332" y="28"/>
                  <a:pt x="332" y="29"/>
                  <a:pt x="332" y="29"/>
                </a:cubicBezTo>
                <a:cubicBezTo>
                  <a:pt x="332" y="29"/>
                  <a:pt x="331" y="28"/>
                  <a:pt x="331" y="27"/>
                </a:cubicBezTo>
                <a:cubicBezTo>
                  <a:pt x="330" y="26"/>
                  <a:pt x="329" y="25"/>
                  <a:pt x="329" y="25"/>
                </a:cubicBezTo>
                <a:cubicBezTo>
                  <a:pt x="329" y="25"/>
                  <a:pt x="329" y="26"/>
                  <a:pt x="329" y="27"/>
                </a:cubicBezTo>
                <a:cubicBezTo>
                  <a:pt x="329" y="29"/>
                  <a:pt x="328" y="30"/>
                  <a:pt x="328" y="30"/>
                </a:cubicBezTo>
                <a:cubicBezTo>
                  <a:pt x="328" y="30"/>
                  <a:pt x="327" y="29"/>
                  <a:pt x="327" y="29"/>
                </a:cubicBezTo>
                <a:cubicBezTo>
                  <a:pt x="327" y="28"/>
                  <a:pt x="326" y="27"/>
                  <a:pt x="325" y="27"/>
                </a:cubicBezTo>
                <a:cubicBezTo>
                  <a:pt x="325" y="27"/>
                  <a:pt x="325" y="28"/>
                  <a:pt x="324" y="30"/>
                </a:cubicBezTo>
                <a:cubicBezTo>
                  <a:pt x="324" y="31"/>
                  <a:pt x="324" y="33"/>
                  <a:pt x="324" y="34"/>
                </a:cubicBezTo>
                <a:cubicBezTo>
                  <a:pt x="324" y="35"/>
                  <a:pt x="324" y="36"/>
                  <a:pt x="325" y="36"/>
                </a:cubicBezTo>
                <a:close/>
                <a:moveTo>
                  <a:pt x="355" y="27"/>
                </a:moveTo>
                <a:lnTo>
                  <a:pt x="373" y="22"/>
                </a:lnTo>
                <a:cubicBezTo>
                  <a:pt x="378" y="21"/>
                  <a:pt x="381" y="20"/>
                  <a:pt x="381" y="19"/>
                </a:cubicBezTo>
                <a:cubicBezTo>
                  <a:pt x="381" y="19"/>
                  <a:pt x="380" y="18"/>
                  <a:pt x="379" y="18"/>
                </a:cubicBezTo>
                <a:cubicBezTo>
                  <a:pt x="376" y="18"/>
                  <a:pt x="370" y="20"/>
                  <a:pt x="362" y="23"/>
                </a:cubicBezTo>
                <a:cubicBezTo>
                  <a:pt x="358" y="24"/>
                  <a:pt x="355" y="26"/>
                  <a:pt x="355" y="27"/>
                </a:cubicBezTo>
                <a:close/>
                <a:moveTo>
                  <a:pt x="380" y="29"/>
                </a:moveTo>
                <a:cubicBezTo>
                  <a:pt x="380" y="29"/>
                  <a:pt x="382" y="28"/>
                  <a:pt x="383" y="27"/>
                </a:cubicBezTo>
                <a:cubicBezTo>
                  <a:pt x="385" y="27"/>
                  <a:pt x="386" y="26"/>
                  <a:pt x="386" y="25"/>
                </a:cubicBezTo>
                <a:cubicBezTo>
                  <a:pt x="386" y="24"/>
                  <a:pt x="385" y="24"/>
                  <a:pt x="383" y="23"/>
                </a:cubicBezTo>
                <a:cubicBezTo>
                  <a:pt x="383" y="23"/>
                  <a:pt x="382" y="24"/>
                  <a:pt x="380" y="24"/>
                </a:cubicBezTo>
                <a:cubicBezTo>
                  <a:pt x="379" y="25"/>
                  <a:pt x="378" y="26"/>
                  <a:pt x="378" y="27"/>
                </a:cubicBezTo>
                <a:lnTo>
                  <a:pt x="379" y="27"/>
                </a:lnTo>
                <a:cubicBezTo>
                  <a:pt x="379" y="28"/>
                  <a:pt x="379" y="29"/>
                  <a:pt x="380" y="29"/>
                </a:cubicBezTo>
                <a:close/>
                <a:moveTo>
                  <a:pt x="362" y="18"/>
                </a:moveTo>
                <a:cubicBezTo>
                  <a:pt x="363" y="18"/>
                  <a:pt x="364" y="17"/>
                  <a:pt x="365" y="16"/>
                </a:cubicBezTo>
                <a:cubicBezTo>
                  <a:pt x="365" y="14"/>
                  <a:pt x="368" y="14"/>
                  <a:pt x="371" y="13"/>
                </a:cubicBezTo>
                <a:cubicBezTo>
                  <a:pt x="374" y="13"/>
                  <a:pt x="375" y="12"/>
                  <a:pt x="375" y="11"/>
                </a:cubicBezTo>
                <a:lnTo>
                  <a:pt x="375" y="10"/>
                </a:lnTo>
                <a:cubicBezTo>
                  <a:pt x="375" y="9"/>
                  <a:pt x="377" y="9"/>
                  <a:pt x="379" y="9"/>
                </a:cubicBezTo>
                <a:lnTo>
                  <a:pt x="386" y="10"/>
                </a:lnTo>
                <a:lnTo>
                  <a:pt x="381" y="8"/>
                </a:lnTo>
                <a:cubicBezTo>
                  <a:pt x="379" y="7"/>
                  <a:pt x="377" y="6"/>
                  <a:pt x="376" y="6"/>
                </a:cubicBezTo>
                <a:cubicBezTo>
                  <a:pt x="375" y="6"/>
                  <a:pt x="374" y="7"/>
                  <a:pt x="373" y="8"/>
                </a:cubicBezTo>
                <a:cubicBezTo>
                  <a:pt x="372" y="9"/>
                  <a:pt x="371" y="10"/>
                  <a:pt x="370" y="10"/>
                </a:cubicBezTo>
                <a:lnTo>
                  <a:pt x="367" y="9"/>
                </a:lnTo>
                <a:cubicBezTo>
                  <a:pt x="366" y="9"/>
                  <a:pt x="365" y="10"/>
                  <a:pt x="365" y="11"/>
                </a:cubicBezTo>
                <a:cubicBezTo>
                  <a:pt x="365" y="12"/>
                  <a:pt x="365" y="12"/>
                  <a:pt x="363" y="12"/>
                </a:cubicBezTo>
                <a:lnTo>
                  <a:pt x="361" y="12"/>
                </a:lnTo>
                <a:cubicBezTo>
                  <a:pt x="360" y="12"/>
                  <a:pt x="358" y="13"/>
                  <a:pt x="358" y="14"/>
                </a:cubicBezTo>
                <a:lnTo>
                  <a:pt x="359" y="15"/>
                </a:lnTo>
                <a:cubicBezTo>
                  <a:pt x="360" y="17"/>
                  <a:pt x="361" y="18"/>
                  <a:pt x="362" y="18"/>
                </a:cubicBezTo>
                <a:close/>
                <a:moveTo>
                  <a:pt x="194" y="656"/>
                </a:moveTo>
                <a:cubicBezTo>
                  <a:pt x="194" y="656"/>
                  <a:pt x="195" y="655"/>
                  <a:pt x="196" y="654"/>
                </a:cubicBezTo>
                <a:cubicBezTo>
                  <a:pt x="197" y="652"/>
                  <a:pt x="198" y="650"/>
                  <a:pt x="198" y="649"/>
                </a:cubicBezTo>
                <a:cubicBezTo>
                  <a:pt x="198" y="648"/>
                  <a:pt x="197" y="648"/>
                  <a:pt x="197" y="648"/>
                </a:cubicBezTo>
                <a:cubicBezTo>
                  <a:pt x="197" y="648"/>
                  <a:pt x="196" y="649"/>
                  <a:pt x="195" y="651"/>
                </a:cubicBezTo>
                <a:cubicBezTo>
                  <a:pt x="194" y="652"/>
                  <a:pt x="194" y="654"/>
                  <a:pt x="194" y="655"/>
                </a:cubicBezTo>
                <a:cubicBezTo>
                  <a:pt x="194" y="656"/>
                  <a:pt x="194" y="656"/>
                  <a:pt x="194" y="656"/>
                </a:cubicBezTo>
                <a:close/>
                <a:moveTo>
                  <a:pt x="194" y="570"/>
                </a:moveTo>
                <a:cubicBezTo>
                  <a:pt x="194" y="570"/>
                  <a:pt x="195" y="570"/>
                  <a:pt x="196" y="568"/>
                </a:cubicBezTo>
                <a:cubicBezTo>
                  <a:pt x="197" y="566"/>
                  <a:pt x="198" y="565"/>
                  <a:pt x="198" y="563"/>
                </a:cubicBezTo>
                <a:cubicBezTo>
                  <a:pt x="198" y="563"/>
                  <a:pt x="197" y="563"/>
                  <a:pt x="197" y="563"/>
                </a:cubicBezTo>
                <a:cubicBezTo>
                  <a:pt x="197" y="563"/>
                  <a:pt x="196" y="563"/>
                  <a:pt x="196" y="564"/>
                </a:cubicBezTo>
                <a:cubicBezTo>
                  <a:pt x="195" y="565"/>
                  <a:pt x="194" y="566"/>
                  <a:pt x="194" y="567"/>
                </a:cubicBezTo>
                <a:cubicBezTo>
                  <a:pt x="194" y="568"/>
                  <a:pt x="194" y="568"/>
                  <a:pt x="194" y="569"/>
                </a:cubicBezTo>
                <a:cubicBezTo>
                  <a:pt x="194" y="570"/>
                  <a:pt x="194" y="570"/>
                  <a:pt x="194" y="570"/>
                </a:cubicBezTo>
                <a:close/>
                <a:moveTo>
                  <a:pt x="199" y="559"/>
                </a:moveTo>
                <a:lnTo>
                  <a:pt x="199" y="559"/>
                </a:lnTo>
                <a:cubicBezTo>
                  <a:pt x="199" y="558"/>
                  <a:pt x="199" y="557"/>
                  <a:pt x="198" y="556"/>
                </a:cubicBezTo>
                <a:cubicBezTo>
                  <a:pt x="197" y="555"/>
                  <a:pt x="196" y="555"/>
                  <a:pt x="196" y="555"/>
                </a:cubicBezTo>
                <a:cubicBezTo>
                  <a:pt x="196" y="555"/>
                  <a:pt x="196" y="556"/>
                  <a:pt x="197" y="557"/>
                </a:cubicBezTo>
                <a:cubicBezTo>
                  <a:pt x="198" y="558"/>
                  <a:pt x="198" y="559"/>
                  <a:pt x="198" y="559"/>
                </a:cubicBezTo>
                <a:lnTo>
                  <a:pt x="199" y="559"/>
                </a:lnTo>
                <a:close/>
                <a:moveTo>
                  <a:pt x="219" y="576"/>
                </a:moveTo>
                <a:cubicBezTo>
                  <a:pt x="219" y="576"/>
                  <a:pt x="220" y="576"/>
                  <a:pt x="220" y="574"/>
                </a:cubicBezTo>
                <a:cubicBezTo>
                  <a:pt x="222" y="572"/>
                  <a:pt x="222" y="571"/>
                  <a:pt x="222" y="569"/>
                </a:cubicBezTo>
                <a:cubicBezTo>
                  <a:pt x="222" y="569"/>
                  <a:pt x="222" y="569"/>
                  <a:pt x="222" y="569"/>
                </a:cubicBezTo>
                <a:cubicBezTo>
                  <a:pt x="222" y="569"/>
                  <a:pt x="221" y="569"/>
                  <a:pt x="221" y="570"/>
                </a:cubicBezTo>
                <a:cubicBezTo>
                  <a:pt x="220" y="571"/>
                  <a:pt x="219" y="572"/>
                  <a:pt x="219" y="573"/>
                </a:cubicBezTo>
                <a:cubicBezTo>
                  <a:pt x="219" y="574"/>
                  <a:pt x="218" y="575"/>
                  <a:pt x="218" y="575"/>
                </a:cubicBezTo>
                <a:cubicBezTo>
                  <a:pt x="218" y="576"/>
                  <a:pt x="219" y="576"/>
                  <a:pt x="219" y="576"/>
                </a:cubicBezTo>
                <a:close/>
                <a:moveTo>
                  <a:pt x="223" y="550"/>
                </a:moveTo>
                <a:cubicBezTo>
                  <a:pt x="224" y="550"/>
                  <a:pt x="224" y="548"/>
                  <a:pt x="225" y="545"/>
                </a:cubicBezTo>
                <a:lnTo>
                  <a:pt x="225" y="542"/>
                </a:lnTo>
                <a:cubicBezTo>
                  <a:pt x="225" y="541"/>
                  <a:pt x="225" y="540"/>
                  <a:pt x="224" y="540"/>
                </a:cubicBezTo>
                <a:cubicBezTo>
                  <a:pt x="223" y="540"/>
                  <a:pt x="222" y="542"/>
                  <a:pt x="222" y="545"/>
                </a:cubicBezTo>
                <a:cubicBezTo>
                  <a:pt x="222" y="548"/>
                  <a:pt x="223" y="550"/>
                  <a:pt x="223" y="550"/>
                </a:cubicBezTo>
                <a:close/>
                <a:moveTo>
                  <a:pt x="387" y="78"/>
                </a:moveTo>
                <a:cubicBezTo>
                  <a:pt x="387" y="77"/>
                  <a:pt x="388" y="75"/>
                  <a:pt x="389" y="71"/>
                </a:cubicBezTo>
                <a:cubicBezTo>
                  <a:pt x="389" y="68"/>
                  <a:pt x="390" y="66"/>
                  <a:pt x="390" y="65"/>
                </a:cubicBezTo>
                <a:cubicBezTo>
                  <a:pt x="391" y="64"/>
                  <a:pt x="392" y="61"/>
                  <a:pt x="393" y="55"/>
                </a:cubicBezTo>
                <a:lnTo>
                  <a:pt x="395" y="41"/>
                </a:lnTo>
                <a:cubicBezTo>
                  <a:pt x="395" y="38"/>
                  <a:pt x="394" y="36"/>
                  <a:pt x="394" y="36"/>
                </a:cubicBezTo>
                <a:cubicBezTo>
                  <a:pt x="394" y="36"/>
                  <a:pt x="393" y="37"/>
                  <a:pt x="392" y="39"/>
                </a:cubicBezTo>
                <a:cubicBezTo>
                  <a:pt x="391" y="43"/>
                  <a:pt x="390" y="48"/>
                  <a:pt x="390" y="53"/>
                </a:cubicBezTo>
                <a:cubicBezTo>
                  <a:pt x="390" y="59"/>
                  <a:pt x="389" y="62"/>
                  <a:pt x="389" y="64"/>
                </a:cubicBezTo>
                <a:cubicBezTo>
                  <a:pt x="387" y="68"/>
                  <a:pt x="386" y="72"/>
                  <a:pt x="386" y="76"/>
                </a:cubicBezTo>
                <a:cubicBezTo>
                  <a:pt x="386" y="77"/>
                  <a:pt x="386" y="78"/>
                  <a:pt x="386" y="78"/>
                </a:cubicBezTo>
                <a:lnTo>
                  <a:pt x="387" y="78"/>
                </a:lnTo>
                <a:close/>
                <a:moveTo>
                  <a:pt x="372" y="184"/>
                </a:moveTo>
                <a:cubicBezTo>
                  <a:pt x="372" y="184"/>
                  <a:pt x="373" y="183"/>
                  <a:pt x="374" y="182"/>
                </a:cubicBezTo>
                <a:lnTo>
                  <a:pt x="374" y="181"/>
                </a:lnTo>
                <a:cubicBezTo>
                  <a:pt x="374" y="180"/>
                  <a:pt x="374" y="179"/>
                  <a:pt x="373" y="179"/>
                </a:cubicBezTo>
                <a:cubicBezTo>
                  <a:pt x="372" y="179"/>
                  <a:pt x="371" y="180"/>
                  <a:pt x="371" y="182"/>
                </a:cubicBezTo>
                <a:cubicBezTo>
                  <a:pt x="371" y="183"/>
                  <a:pt x="372" y="184"/>
                  <a:pt x="372" y="184"/>
                </a:cubicBezTo>
                <a:close/>
                <a:moveTo>
                  <a:pt x="303" y="411"/>
                </a:moveTo>
                <a:lnTo>
                  <a:pt x="302" y="406"/>
                </a:lnTo>
                <a:lnTo>
                  <a:pt x="302" y="406"/>
                </a:lnTo>
                <a:lnTo>
                  <a:pt x="306" y="408"/>
                </a:lnTo>
                <a:lnTo>
                  <a:pt x="306" y="407"/>
                </a:lnTo>
                <a:lnTo>
                  <a:pt x="304" y="405"/>
                </a:lnTo>
                <a:cubicBezTo>
                  <a:pt x="303" y="404"/>
                  <a:pt x="303" y="402"/>
                  <a:pt x="303" y="400"/>
                </a:cubicBezTo>
                <a:cubicBezTo>
                  <a:pt x="303" y="397"/>
                  <a:pt x="304" y="395"/>
                  <a:pt x="305" y="395"/>
                </a:cubicBezTo>
                <a:cubicBezTo>
                  <a:pt x="306" y="395"/>
                  <a:pt x="307" y="394"/>
                  <a:pt x="307" y="392"/>
                </a:cubicBezTo>
                <a:cubicBezTo>
                  <a:pt x="307" y="391"/>
                  <a:pt x="307" y="390"/>
                  <a:pt x="306" y="388"/>
                </a:cubicBezTo>
                <a:cubicBezTo>
                  <a:pt x="305" y="387"/>
                  <a:pt x="305" y="386"/>
                  <a:pt x="303" y="386"/>
                </a:cubicBezTo>
                <a:cubicBezTo>
                  <a:pt x="302" y="386"/>
                  <a:pt x="301" y="387"/>
                  <a:pt x="301" y="387"/>
                </a:cubicBezTo>
                <a:cubicBezTo>
                  <a:pt x="301" y="389"/>
                  <a:pt x="302" y="389"/>
                  <a:pt x="303" y="389"/>
                </a:cubicBezTo>
                <a:cubicBezTo>
                  <a:pt x="303" y="389"/>
                  <a:pt x="304" y="389"/>
                  <a:pt x="304" y="390"/>
                </a:cubicBezTo>
                <a:cubicBezTo>
                  <a:pt x="304" y="391"/>
                  <a:pt x="303" y="394"/>
                  <a:pt x="301" y="398"/>
                </a:cubicBezTo>
                <a:cubicBezTo>
                  <a:pt x="299" y="402"/>
                  <a:pt x="298" y="405"/>
                  <a:pt x="298" y="407"/>
                </a:cubicBezTo>
                <a:cubicBezTo>
                  <a:pt x="298" y="409"/>
                  <a:pt x="300" y="410"/>
                  <a:pt x="303" y="411"/>
                </a:cubicBezTo>
                <a:close/>
                <a:moveTo>
                  <a:pt x="313" y="375"/>
                </a:moveTo>
                <a:cubicBezTo>
                  <a:pt x="314" y="375"/>
                  <a:pt x="315" y="374"/>
                  <a:pt x="317" y="373"/>
                </a:cubicBezTo>
                <a:cubicBezTo>
                  <a:pt x="318" y="372"/>
                  <a:pt x="318" y="372"/>
                  <a:pt x="318" y="371"/>
                </a:cubicBezTo>
                <a:cubicBezTo>
                  <a:pt x="318" y="371"/>
                  <a:pt x="318" y="370"/>
                  <a:pt x="316" y="369"/>
                </a:cubicBezTo>
                <a:cubicBezTo>
                  <a:pt x="315" y="368"/>
                  <a:pt x="314" y="367"/>
                  <a:pt x="314" y="367"/>
                </a:cubicBezTo>
                <a:lnTo>
                  <a:pt x="315" y="372"/>
                </a:lnTo>
                <a:cubicBezTo>
                  <a:pt x="315" y="372"/>
                  <a:pt x="315" y="373"/>
                  <a:pt x="314" y="373"/>
                </a:cubicBezTo>
                <a:lnTo>
                  <a:pt x="312" y="372"/>
                </a:lnTo>
                <a:cubicBezTo>
                  <a:pt x="312" y="372"/>
                  <a:pt x="311" y="372"/>
                  <a:pt x="311" y="373"/>
                </a:cubicBezTo>
                <a:cubicBezTo>
                  <a:pt x="311" y="374"/>
                  <a:pt x="312" y="375"/>
                  <a:pt x="313" y="375"/>
                </a:cubicBezTo>
                <a:close/>
                <a:moveTo>
                  <a:pt x="317" y="365"/>
                </a:moveTo>
                <a:cubicBezTo>
                  <a:pt x="318" y="365"/>
                  <a:pt x="319" y="365"/>
                  <a:pt x="320" y="364"/>
                </a:cubicBezTo>
                <a:cubicBezTo>
                  <a:pt x="320" y="363"/>
                  <a:pt x="321" y="362"/>
                  <a:pt x="321" y="362"/>
                </a:cubicBezTo>
                <a:cubicBezTo>
                  <a:pt x="321" y="361"/>
                  <a:pt x="321" y="360"/>
                  <a:pt x="320" y="360"/>
                </a:cubicBezTo>
                <a:cubicBezTo>
                  <a:pt x="319" y="359"/>
                  <a:pt x="319" y="358"/>
                  <a:pt x="318" y="358"/>
                </a:cubicBezTo>
                <a:cubicBezTo>
                  <a:pt x="318" y="358"/>
                  <a:pt x="317" y="359"/>
                  <a:pt x="317" y="360"/>
                </a:cubicBezTo>
                <a:cubicBezTo>
                  <a:pt x="316" y="362"/>
                  <a:pt x="316" y="362"/>
                  <a:pt x="316" y="363"/>
                </a:cubicBezTo>
                <a:cubicBezTo>
                  <a:pt x="316" y="365"/>
                  <a:pt x="316" y="365"/>
                  <a:pt x="317" y="365"/>
                </a:cubicBezTo>
                <a:close/>
                <a:moveTo>
                  <a:pt x="391" y="183"/>
                </a:moveTo>
                <a:cubicBezTo>
                  <a:pt x="391" y="183"/>
                  <a:pt x="392" y="183"/>
                  <a:pt x="392" y="182"/>
                </a:cubicBezTo>
                <a:cubicBezTo>
                  <a:pt x="394" y="179"/>
                  <a:pt x="394" y="178"/>
                  <a:pt x="394" y="176"/>
                </a:cubicBezTo>
                <a:cubicBezTo>
                  <a:pt x="394" y="176"/>
                  <a:pt x="394" y="176"/>
                  <a:pt x="394" y="176"/>
                </a:cubicBezTo>
                <a:cubicBezTo>
                  <a:pt x="394" y="176"/>
                  <a:pt x="393" y="176"/>
                  <a:pt x="392" y="178"/>
                </a:cubicBezTo>
                <a:cubicBezTo>
                  <a:pt x="391" y="179"/>
                  <a:pt x="390" y="181"/>
                  <a:pt x="390" y="183"/>
                </a:cubicBezTo>
                <a:cubicBezTo>
                  <a:pt x="390" y="183"/>
                  <a:pt x="391" y="183"/>
                  <a:pt x="391" y="183"/>
                </a:cubicBezTo>
                <a:close/>
                <a:moveTo>
                  <a:pt x="406" y="69"/>
                </a:moveTo>
                <a:cubicBezTo>
                  <a:pt x="407" y="69"/>
                  <a:pt x="408" y="68"/>
                  <a:pt x="408" y="67"/>
                </a:cubicBezTo>
                <a:cubicBezTo>
                  <a:pt x="408" y="66"/>
                  <a:pt x="407" y="65"/>
                  <a:pt x="406" y="65"/>
                </a:cubicBezTo>
                <a:cubicBezTo>
                  <a:pt x="404" y="65"/>
                  <a:pt x="404" y="66"/>
                  <a:pt x="404" y="67"/>
                </a:cubicBezTo>
                <a:cubicBezTo>
                  <a:pt x="404" y="68"/>
                  <a:pt x="404" y="69"/>
                  <a:pt x="406" y="69"/>
                </a:cubicBezTo>
                <a:close/>
                <a:moveTo>
                  <a:pt x="403" y="82"/>
                </a:moveTo>
                <a:cubicBezTo>
                  <a:pt x="403" y="82"/>
                  <a:pt x="404" y="81"/>
                  <a:pt x="404" y="81"/>
                </a:cubicBezTo>
                <a:cubicBezTo>
                  <a:pt x="405" y="80"/>
                  <a:pt x="405" y="79"/>
                  <a:pt x="405" y="78"/>
                </a:cubicBezTo>
                <a:cubicBezTo>
                  <a:pt x="405" y="78"/>
                  <a:pt x="405" y="78"/>
                  <a:pt x="404" y="78"/>
                </a:cubicBezTo>
                <a:cubicBezTo>
                  <a:pt x="402" y="78"/>
                  <a:pt x="402" y="78"/>
                  <a:pt x="402" y="80"/>
                </a:cubicBezTo>
                <a:cubicBezTo>
                  <a:pt x="402" y="81"/>
                  <a:pt x="402" y="82"/>
                  <a:pt x="403" y="82"/>
                </a:cubicBezTo>
                <a:close/>
                <a:moveTo>
                  <a:pt x="407" y="102"/>
                </a:moveTo>
                <a:cubicBezTo>
                  <a:pt x="407" y="102"/>
                  <a:pt x="408" y="101"/>
                  <a:pt x="408" y="101"/>
                </a:cubicBezTo>
                <a:lnTo>
                  <a:pt x="407" y="96"/>
                </a:lnTo>
                <a:cubicBezTo>
                  <a:pt x="407" y="95"/>
                  <a:pt x="408" y="94"/>
                  <a:pt x="409" y="94"/>
                </a:cubicBezTo>
                <a:cubicBezTo>
                  <a:pt x="409" y="93"/>
                  <a:pt x="410" y="90"/>
                  <a:pt x="410" y="83"/>
                </a:cubicBezTo>
                <a:cubicBezTo>
                  <a:pt x="410" y="76"/>
                  <a:pt x="411" y="71"/>
                  <a:pt x="412" y="70"/>
                </a:cubicBezTo>
                <a:cubicBezTo>
                  <a:pt x="413" y="69"/>
                  <a:pt x="414" y="66"/>
                  <a:pt x="414" y="62"/>
                </a:cubicBezTo>
                <a:cubicBezTo>
                  <a:pt x="414" y="55"/>
                  <a:pt x="413" y="51"/>
                  <a:pt x="412" y="51"/>
                </a:cubicBezTo>
                <a:cubicBezTo>
                  <a:pt x="411" y="51"/>
                  <a:pt x="410" y="52"/>
                  <a:pt x="410" y="53"/>
                </a:cubicBezTo>
                <a:lnTo>
                  <a:pt x="410" y="58"/>
                </a:lnTo>
                <a:cubicBezTo>
                  <a:pt x="410" y="60"/>
                  <a:pt x="410" y="61"/>
                  <a:pt x="410" y="62"/>
                </a:cubicBezTo>
                <a:lnTo>
                  <a:pt x="409" y="62"/>
                </a:lnTo>
                <a:cubicBezTo>
                  <a:pt x="408" y="62"/>
                  <a:pt x="408" y="62"/>
                  <a:pt x="408" y="61"/>
                </a:cubicBezTo>
                <a:cubicBezTo>
                  <a:pt x="408" y="60"/>
                  <a:pt x="407" y="60"/>
                  <a:pt x="407" y="60"/>
                </a:cubicBezTo>
                <a:cubicBezTo>
                  <a:pt x="407" y="60"/>
                  <a:pt x="406" y="60"/>
                  <a:pt x="406" y="61"/>
                </a:cubicBezTo>
                <a:cubicBezTo>
                  <a:pt x="406" y="62"/>
                  <a:pt x="407" y="63"/>
                  <a:pt x="407" y="64"/>
                </a:cubicBezTo>
                <a:cubicBezTo>
                  <a:pt x="408" y="65"/>
                  <a:pt x="409" y="66"/>
                  <a:pt x="409" y="68"/>
                </a:cubicBezTo>
                <a:cubicBezTo>
                  <a:pt x="409" y="71"/>
                  <a:pt x="408" y="73"/>
                  <a:pt x="406" y="73"/>
                </a:cubicBezTo>
                <a:lnTo>
                  <a:pt x="405" y="72"/>
                </a:lnTo>
                <a:lnTo>
                  <a:pt x="405" y="73"/>
                </a:lnTo>
                <a:cubicBezTo>
                  <a:pt x="405" y="73"/>
                  <a:pt x="405" y="74"/>
                  <a:pt x="406" y="75"/>
                </a:cubicBezTo>
                <a:cubicBezTo>
                  <a:pt x="407" y="77"/>
                  <a:pt x="407" y="79"/>
                  <a:pt x="407" y="81"/>
                </a:cubicBezTo>
                <a:cubicBezTo>
                  <a:pt x="407" y="84"/>
                  <a:pt x="405" y="87"/>
                  <a:pt x="402" y="89"/>
                </a:cubicBezTo>
                <a:cubicBezTo>
                  <a:pt x="400" y="90"/>
                  <a:pt x="399" y="91"/>
                  <a:pt x="399" y="92"/>
                </a:cubicBezTo>
                <a:lnTo>
                  <a:pt x="400" y="92"/>
                </a:lnTo>
                <a:cubicBezTo>
                  <a:pt x="400" y="92"/>
                  <a:pt x="400" y="92"/>
                  <a:pt x="401" y="93"/>
                </a:cubicBezTo>
                <a:cubicBezTo>
                  <a:pt x="402" y="94"/>
                  <a:pt x="403" y="95"/>
                  <a:pt x="403" y="97"/>
                </a:cubicBezTo>
                <a:cubicBezTo>
                  <a:pt x="405" y="100"/>
                  <a:pt x="406" y="102"/>
                  <a:pt x="407" y="102"/>
                </a:cubicBezTo>
                <a:close/>
                <a:moveTo>
                  <a:pt x="410" y="103"/>
                </a:moveTo>
                <a:cubicBezTo>
                  <a:pt x="411" y="103"/>
                  <a:pt x="412" y="103"/>
                  <a:pt x="412" y="103"/>
                </a:cubicBezTo>
                <a:cubicBezTo>
                  <a:pt x="413" y="102"/>
                  <a:pt x="414" y="101"/>
                  <a:pt x="414" y="100"/>
                </a:cubicBezTo>
                <a:cubicBezTo>
                  <a:pt x="414" y="98"/>
                  <a:pt x="413" y="98"/>
                  <a:pt x="412" y="98"/>
                </a:cubicBezTo>
                <a:cubicBezTo>
                  <a:pt x="410" y="98"/>
                  <a:pt x="410" y="99"/>
                  <a:pt x="410" y="101"/>
                </a:cubicBezTo>
                <a:cubicBezTo>
                  <a:pt x="410" y="103"/>
                  <a:pt x="410" y="103"/>
                  <a:pt x="410" y="103"/>
                </a:cubicBezTo>
                <a:close/>
                <a:moveTo>
                  <a:pt x="401" y="155"/>
                </a:moveTo>
                <a:cubicBezTo>
                  <a:pt x="401" y="155"/>
                  <a:pt x="401" y="154"/>
                  <a:pt x="401" y="152"/>
                </a:cubicBezTo>
                <a:lnTo>
                  <a:pt x="401" y="147"/>
                </a:lnTo>
                <a:cubicBezTo>
                  <a:pt x="401" y="142"/>
                  <a:pt x="402" y="139"/>
                  <a:pt x="404" y="136"/>
                </a:cubicBezTo>
                <a:cubicBezTo>
                  <a:pt x="405" y="134"/>
                  <a:pt x="406" y="132"/>
                  <a:pt x="406" y="130"/>
                </a:cubicBezTo>
                <a:lnTo>
                  <a:pt x="406" y="125"/>
                </a:lnTo>
                <a:lnTo>
                  <a:pt x="406" y="125"/>
                </a:lnTo>
                <a:lnTo>
                  <a:pt x="408" y="125"/>
                </a:lnTo>
                <a:cubicBezTo>
                  <a:pt x="409" y="125"/>
                  <a:pt x="409" y="125"/>
                  <a:pt x="409" y="125"/>
                </a:cubicBezTo>
                <a:lnTo>
                  <a:pt x="408" y="120"/>
                </a:lnTo>
                <a:lnTo>
                  <a:pt x="408" y="118"/>
                </a:lnTo>
                <a:lnTo>
                  <a:pt x="410" y="120"/>
                </a:lnTo>
                <a:cubicBezTo>
                  <a:pt x="410" y="120"/>
                  <a:pt x="410" y="119"/>
                  <a:pt x="410" y="118"/>
                </a:cubicBezTo>
                <a:lnTo>
                  <a:pt x="410" y="115"/>
                </a:lnTo>
                <a:cubicBezTo>
                  <a:pt x="410" y="113"/>
                  <a:pt x="411" y="110"/>
                  <a:pt x="413" y="108"/>
                </a:cubicBezTo>
                <a:cubicBezTo>
                  <a:pt x="414" y="106"/>
                  <a:pt x="415" y="105"/>
                  <a:pt x="415" y="104"/>
                </a:cubicBezTo>
                <a:cubicBezTo>
                  <a:pt x="415" y="104"/>
                  <a:pt x="414" y="105"/>
                  <a:pt x="411" y="106"/>
                </a:cubicBezTo>
                <a:cubicBezTo>
                  <a:pt x="409" y="108"/>
                  <a:pt x="408" y="109"/>
                  <a:pt x="407" y="110"/>
                </a:cubicBezTo>
                <a:cubicBezTo>
                  <a:pt x="407" y="111"/>
                  <a:pt x="407" y="112"/>
                  <a:pt x="407" y="113"/>
                </a:cubicBezTo>
                <a:cubicBezTo>
                  <a:pt x="407" y="114"/>
                  <a:pt x="407" y="115"/>
                  <a:pt x="407" y="116"/>
                </a:cubicBezTo>
                <a:cubicBezTo>
                  <a:pt x="406" y="117"/>
                  <a:pt x="406" y="119"/>
                  <a:pt x="406" y="122"/>
                </a:cubicBezTo>
                <a:cubicBezTo>
                  <a:pt x="406" y="123"/>
                  <a:pt x="405" y="125"/>
                  <a:pt x="403" y="126"/>
                </a:cubicBezTo>
                <a:cubicBezTo>
                  <a:pt x="403" y="127"/>
                  <a:pt x="402" y="127"/>
                  <a:pt x="402" y="128"/>
                </a:cubicBezTo>
                <a:cubicBezTo>
                  <a:pt x="402" y="128"/>
                  <a:pt x="403" y="129"/>
                  <a:pt x="403" y="129"/>
                </a:cubicBezTo>
                <a:cubicBezTo>
                  <a:pt x="403" y="129"/>
                  <a:pt x="403" y="129"/>
                  <a:pt x="403" y="129"/>
                </a:cubicBezTo>
                <a:cubicBezTo>
                  <a:pt x="403" y="129"/>
                  <a:pt x="403" y="130"/>
                  <a:pt x="402" y="131"/>
                </a:cubicBezTo>
                <a:cubicBezTo>
                  <a:pt x="401" y="132"/>
                  <a:pt x="400" y="133"/>
                  <a:pt x="400" y="134"/>
                </a:cubicBezTo>
                <a:cubicBezTo>
                  <a:pt x="400" y="134"/>
                  <a:pt x="401" y="134"/>
                  <a:pt x="401" y="134"/>
                </a:cubicBezTo>
                <a:cubicBezTo>
                  <a:pt x="401" y="134"/>
                  <a:pt x="401" y="135"/>
                  <a:pt x="401" y="135"/>
                </a:cubicBezTo>
                <a:cubicBezTo>
                  <a:pt x="401" y="135"/>
                  <a:pt x="401" y="136"/>
                  <a:pt x="400" y="138"/>
                </a:cubicBezTo>
                <a:cubicBezTo>
                  <a:pt x="399" y="139"/>
                  <a:pt x="399" y="141"/>
                  <a:pt x="399" y="143"/>
                </a:cubicBezTo>
                <a:cubicBezTo>
                  <a:pt x="399" y="145"/>
                  <a:pt x="399" y="146"/>
                  <a:pt x="398" y="146"/>
                </a:cubicBezTo>
                <a:cubicBezTo>
                  <a:pt x="397" y="147"/>
                  <a:pt x="397" y="147"/>
                  <a:pt x="397" y="148"/>
                </a:cubicBezTo>
                <a:cubicBezTo>
                  <a:pt x="397" y="149"/>
                  <a:pt x="398" y="150"/>
                  <a:pt x="399" y="152"/>
                </a:cubicBezTo>
                <a:cubicBezTo>
                  <a:pt x="399" y="153"/>
                  <a:pt x="400" y="154"/>
                  <a:pt x="401" y="155"/>
                </a:cubicBezTo>
                <a:close/>
                <a:moveTo>
                  <a:pt x="412" y="95"/>
                </a:moveTo>
                <a:cubicBezTo>
                  <a:pt x="412" y="95"/>
                  <a:pt x="413" y="94"/>
                  <a:pt x="414" y="93"/>
                </a:cubicBezTo>
                <a:cubicBezTo>
                  <a:pt x="416" y="90"/>
                  <a:pt x="416" y="89"/>
                  <a:pt x="416" y="88"/>
                </a:cubicBezTo>
                <a:lnTo>
                  <a:pt x="415" y="88"/>
                </a:lnTo>
                <a:cubicBezTo>
                  <a:pt x="415" y="88"/>
                  <a:pt x="414" y="88"/>
                  <a:pt x="413" y="89"/>
                </a:cubicBezTo>
                <a:cubicBezTo>
                  <a:pt x="412" y="90"/>
                  <a:pt x="412" y="92"/>
                  <a:pt x="412" y="93"/>
                </a:cubicBezTo>
                <a:cubicBezTo>
                  <a:pt x="412" y="95"/>
                  <a:pt x="412" y="95"/>
                  <a:pt x="412" y="95"/>
                </a:cubicBezTo>
                <a:close/>
                <a:moveTo>
                  <a:pt x="418" y="85"/>
                </a:moveTo>
                <a:lnTo>
                  <a:pt x="420" y="81"/>
                </a:lnTo>
                <a:cubicBezTo>
                  <a:pt x="421" y="78"/>
                  <a:pt x="422" y="73"/>
                  <a:pt x="422" y="66"/>
                </a:cubicBezTo>
                <a:cubicBezTo>
                  <a:pt x="422" y="51"/>
                  <a:pt x="420" y="41"/>
                  <a:pt x="418" y="36"/>
                </a:cubicBezTo>
                <a:cubicBezTo>
                  <a:pt x="417" y="35"/>
                  <a:pt x="417" y="34"/>
                  <a:pt x="417" y="32"/>
                </a:cubicBezTo>
                <a:lnTo>
                  <a:pt x="417" y="31"/>
                </a:lnTo>
                <a:lnTo>
                  <a:pt x="417" y="31"/>
                </a:lnTo>
                <a:lnTo>
                  <a:pt x="414" y="32"/>
                </a:lnTo>
                <a:cubicBezTo>
                  <a:pt x="412" y="32"/>
                  <a:pt x="412" y="31"/>
                  <a:pt x="412" y="30"/>
                </a:cubicBezTo>
                <a:lnTo>
                  <a:pt x="412" y="29"/>
                </a:lnTo>
                <a:cubicBezTo>
                  <a:pt x="412" y="29"/>
                  <a:pt x="412" y="29"/>
                  <a:pt x="411" y="28"/>
                </a:cubicBezTo>
                <a:cubicBezTo>
                  <a:pt x="410" y="27"/>
                  <a:pt x="409" y="27"/>
                  <a:pt x="408" y="27"/>
                </a:cubicBezTo>
                <a:cubicBezTo>
                  <a:pt x="407" y="27"/>
                  <a:pt x="407" y="27"/>
                  <a:pt x="407" y="28"/>
                </a:cubicBezTo>
                <a:lnTo>
                  <a:pt x="409" y="38"/>
                </a:lnTo>
                <a:lnTo>
                  <a:pt x="408" y="40"/>
                </a:lnTo>
                <a:cubicBezTo>
                  <a:pt x="408" y="40"/>
                  <a:pt x="408" y="40"/>
                  <a:pt x="409" y="40"/>
                </a:cubicBezTo>
                <a:lnTo>
                  <a:pt x="414" y="40"/>
                </a:lnTo>
                <a:cubicBezTo>
                  <a:pt x="414" y="40"/>
                  <a:pt x="415" y="40"/>
                  <a:pt x="415" y="41"/>
                </a:cubicBezTo>
                <a:lnTo>
                  <a:pt x="414" y="46"/>
                </a:lnTo>
                <a:cubicBezTo>
                  <a:pt x="414" y="48"/>
                  <a:pt x="414" y="49"/>
                  <a:pt x="415" y="49"/>
                </a:cubicBezTo>
                <a:cubicBezTo>
                  <a:pt x="415" y="50"/>
                  <a:pt x="415" y="51"/>
                  <a:pt x="416" y="52"/>
                </a:cubicBezTo>
                <a:cubicBezTo>
                  <a:pt x="416" y="53"/>
                  <a:pt x="416" y="54"/>
                  <a:pt x="417" y="55"/>
                </a:cubicBezTo>
                <a:cubicBezTo>
                  <a:pt x="417" y="56"/>
                  <a:pt x="417" y="56"/>
                  <a:pt x="417" y="57"/>
                </a:cubicBezTo>
                <a:cubicBezTo>
                  <a:pt x="417" y="58"/>
                  <a:pt x="417" y="58"/>
                  <a:pt x="417" y="60"/>
                </a:cubicBezTo>
                <a:cubicBezTo>
                  <a:pt x="418" y="61"/>
                  <a:pt x="418" y="62"/>
                  <a:pt x="418" y="62"/>
                </a:cubicBezTo>
                <a:cubicBezTo>
                  <a:pt x="418" y="63"/>
                  <a:pt x="419" y="64"/>
                  <a:pt x="419" y="64"/>
                </a:cubicBezTo>
                <a:cubicBezTo>
                  <a:pt x="419" y="65"/>
                  <a:pt x="419" y="66"/>
                  <a:pt x="419" y="66"/>
                </a:cubicBezTo>
                <a:cubicBezTo>
                  <a:pt x="419" y="67"/>
                  <a:pt x="419" y="67"/>
                  <a:pt x="419" y="67"/>
                </a:cubicBezTo>
                <a:lnTo>
                  <a:pt x="417" y="66"/>
                </a:lnTo>
                <a:cubicBezTo>
                  <a:pt x="417" y="66"/>
                  <a:pt x="416" y="67"/>
                  <a:pt x="416" y="68"/>
                </a:cubicBezTo>
                <a:cubicBezTo>
                  <a:pt x="416" y="70"/>
                  <a:pt x="417" y="71"/>
                  <a:pt x="417" y="71"/>
                </a:cubicBezTo>
                <a:lnTo>
                  <a:pt x="419" y="69"/>
                </a:lnTo>
                <a:cubicBezTo>
                  <a:pt x="419" y="69"/>
                  <a:pt x="420" y="70"/>
                  <a:pt x="420" y="71"/>
                </a:cubicBezTo>
                <a:cubicBezTo>
                  <a:pt x="420" y="72"/>
                  <a:pt x="419" y="74"/>
                  <a:pt x="417" y="76"/>
                </a:cubicBezTo>
                <a:cubicBezTo>
                  <a:pt x="415" y="78"/>
                  <a:pt x="414" y="79"/>
                  <a:pt x="414" y="80"/>
                </a:cubicBezTo>
                <a:cubicBezTo>
                  <a:pt x="414" y="80"/>
                  <a:pt x="414" y="81"/>
                  <a:pt x="414" y="81"/>
                </a:cubicBezTo>
                <a:lnTo>
                  <a:pt x="418" y="78"/>
                </a:lnTo>
                <a:cubicBezTo>
                  <a:pt x="419" y="78"/>
                  <a:pt x="419" y="79"/>
                  <a:pt x="419" y="80"/>
                </a:cubicBezTo>
                <a:lnTo>
                  <a:pt x="418" y="85"/>
                </a:lnTo>
                <a:close/>
                <a:moveTo>
                  <a:pt x="419" y="42"/>
                </a:moveTo>
                <a:lnTo>
                  <a:pt x="419" y="42"/>
                </a:lnTo>
                <a:cubicBezTo>
                  <a:pt x="418" y="42"/>
                  <a:pt x="417" y="41"/>
                  <a:pt x="417" y="40"/>
                </a:cubicBezTo>
                <a:lnTo>
                  <a:pt x="416" y="37"/>
                </a:lnTo>
                <a:lnTo>
                  <a:pt x="416" y="37"/>
                </a:lnTo>
                <a:cubicBezTo>
                  <a:pt x="417" y="37"/>
                  <a:pt x="417" y="38"/>
                  <a:pt x="418" y="39"/>
                </a:cubicBezTo>
                <a:cubicBezTo>
                  <a:pt x="419" y="39"/>
                  <a:pt x="419" y="40"/>
                  <a:pt x="419" y="41"/>
                </a:cubicBezTo>
                <a:lnTo>
                  <a:pt x="419" y="42"/>
                </a:lnTo>
                <a:close/>
                <a:moveTo>
                  <a:pt x="238" y="568"/>
                </a:moveTo>
                <a:cubicBezTo>
                  <a:pt x="237" y="568"/>
                  <a:pt x="236" y="568"/>
                  <a:pt x="236" y="568"/>
                </a:cubicBezTo>
                <a:cubicBezTo>
                  <a:pt x="236" y="568"/>
                  <a:pt x="237" y="567"/>
                  <a:pt x="238" y="566"/>
                </a:cubicBezTo>
                <a:cubicBezTo>
                  <a:pt x="239" y="566"/>
                  <a:pt x="239" y="565"/>
                  <a:pt x="239" y="565"/>
                </a:cubicBezTo>
                <a:cubicBezTo>
                  <a:pt x="239" y="564"/>
                  <a:pt x="239" y="564"/>
                  <a:pt x="238" y="564"/>
                </a:cubicBezTo>
                <a:cubicBezTo>
                  <a:pt x="238" y="563"/>
                  <a:pt x="238" y="563"/>
                  <a:pt x="237" y="563"/>
                </a:cubicBezTo>
                <a:cubicBezTo>
                  <a:pt x="236" y="563"/>
                  <a:pt x="235" y="564"/>
                  <a:pt x="234" y="566"/>
                </a:cubicBezTo>
                <a:cubicBezTo>
                  <a:pt x="234" y="567"/>
                  <a:pt x="233" y="568"/>
                  <a:pt x="233" y="568"/>
                </a:cubicBezTo>
                <a:cubicBezTo>
                  <a:pt x="233" y="568"/>
                  <a:pt x="232" y="568"/>
                  <a:pt x="232" y="567"/>
                </a:cubicBezTo>
                <a:lnTo>
                  <a:pt x="232" y="567"/>
                </a:lnTo>
                <a:cubicBezTo>
                  <a:pt x="232" y="565"/>
                  <a:pt x="233" y="564"/>
                  <a:pt x="234" y="563"/>
                </a:cubicBezTo>
                <a:cubicBezTo>
                  <a:pt x="236" y="562"/>
                  <a:pt x="237" y="561"/>
                  <a:pt x="238" y="561"/>
                </a:cubicBezTo>
                <a:cubicBezTo>
                  <a:pt x="239" y="561"/>
                  <a:pt x="239" y="561"/>
                  <a:pt x="240" y="562"/>
                </a:cubicBezTo>
                <a:cubicBezTo>
                  <a:pt x="241" y="564"/>
                  <a:pt x="241" y="565"/>
                  <a:pt x="241" y="566"/>
                </a:cubicBezTo>
                <a:cubicBezTo>
                  <a:pt x="241" y="568"/>
                  <a:pt x="240" y="568"/>
                  <a:pt x="238" y="568"/>
                </a:cubicBezTo>
                <a:close/>
                <a:moveTo>
                  <a:pt x="231" y="611"/>
                </a:moveTo>
                <a:lnTo>
                  <a:pt x="231" y="610"/>
                </a:lnTo>
                <a:cubicBezTo>
                  <a:pt x="231" y="609"/>
                  <a:pt x="233" y="604"/>
                  <a:pt x="236" y="597"/>
                </a:cubicBezTo>
                <a:cubicBezTo>
                  <a:pt x="237" y="593"/>
                  <a:pt x="238" y="592"/>
                  <a:pt x="239" y="592"/>
                </a:cubicBezTo>
                <a:lnTo>
                  <a:pt x="239" y="592"/>
                </a:lnTo>
                <a:lnTo>
                  <a:pt x="237" y="597"/>
                </a:lnTo>
                <a:lnTo>
                  <a:pt x="234" y="606"/>
                </a:lnTo>
                <a:cubicBezTo>
                  <a:pt x="233" y="609"/>
                  <a:pt x="232" y="611"/>
                  <a:pt x="231" y="611"/>
                </a:cubicBezTo>
                <a:close/>
                <a:moveTo>
                  <a:pt x="219" y="128"/>
                </a:moveTo>
                <a:lnTo>
                  <a:pt x="218" y="127"/>
                </a:lnTo>
                <a:lnTo>
                  <a:pt x="221" y="125"/>
                </a:lnTo>
                <a:cubicBezTo>
                  <a:pt x="223" y="123"/>
                  <a:pt x="224" y="122"/>
                  <a:pt x="225" y="122"/>
                </a:cubicBezTo>
                <a:cubicBezTo>
                  <a:pt x="226" y="122"/>
                  <a:pt x="226" y="123"/>
                  <a:pt x="226" y="123"/>
                </a:cubicBezTo>
                <a:cubicBezTo>
                  <a:pt x="226" y="124"/>
                  <a:pt x="224" y="125"/>
                  <a:pt x="223" y="126"/>
                </a:cubicBezTo>
                <a:cubicBezTo>
                  <a:pt x="221" y="127"/>
                  <a:pt x="219" y="128"/>
                  <a:pt x="219" y="128"/>
                </a:cubicBezTo>
                <a:close/>
                <a:moveTo>
                  <a:pt x="235" y="578"/>
                </a:moveTo>
                <a:cubicBezTo>
                  <a:pt x="234" y="578"/>
                  <a:pt x="232" y="578"/>
                  <a:pt x="231" y="576"/>
                </a:cubicBezTo>
                <a:lnTo>
                  <a:pt x="231" y="575"/>
                </a:lnTo>
                <a:cubicBezTo>
                  <a:pt x="231" y="574"/>
                  <a:pt x="231" y="573"/>
                  <a:pt x="232" y="572"/>
                </a:cubicBezTo>
                <a:cubicBezTo>
                  <a:pt x="233" y="571"/>
                  <a:pt x="233" y="570"/>
                  <a:pt x="234" y="570"/>
                </a:cubicBezTo>
                <a:cubicBezTo>
                  <a:pt x="235" y="570"/>
                  <a:pt x="236" y="571"/>
                  <a:pt x="236" y="573"/>
                </a:cubicBezTo>
                <a:cubicBezTo>
                  <a:pt x="236" y="573"/>
                  <a:pt x="235" y="574"/>
                  <a:pt x="235" y="574"/>
                </a:cubicBezTo>
                <a:lnTo>
                  <a:pt x="233" y="573"/>
                </a:lnTo>
                <a:cubicBezTo>
                  <a:pt x="233" y="573"/>
                  <a:pt x="232" y="573"/>
                  <a:pt x="232" y="573"/>
                </a:cubicBezTo>
                <a:lnTo>
                  <a:pt x="233" y="574"/>
                </a:lnTo>
                <a:cubicBezTo>
                  <a:pt x="234" y="575"/>
                  <a:pt x="234" y="576"/>
                  <a:pt x="235" y="576"/>
                </a:cubicBezTo>
                <a:lnTo>
                  <a:pt x="237" y="575"/>
                </a:lnTo>
                <a:cubicBezTo>
                  <a:pt x="237" y="575"/>
                  <a:pt x="238" y="576"/>
                  <a:pt x="238" y="576"/>
                </a:cubicBezTo>
                <a:cubicBezTo>
                  <a:pt x="238" y="578"/>
                  <a:pt x="237" y="578"/>
                  <a:pt x="235" y="578"/>
                </a:cubicBezTo>
                <a:close/>
                <a:moveTo>
                  <a:pt x="219" y="486"/>
                </a:moveTo>
                <a:cubicBezTo>
                  <a:pt x="219" y="486"/>
                  <a:pt x="218" y="485"/>
                  <a:pt x="218" y="483"/>
                </a:cubicBezTo>
                <a:lnTo>
                  <a:pt x="217" y="481"/>
                </a:lnTo>
                <a:cubicBezTo>
                  <a:pt x="217" y="481"/>
                  <a:pt x="218" y="481"/>
                  <a:pt x="219" y="482"/>
                </a:cubicBezTo>
                <a:cubicBezTo>
                  <a:pt x="220" y="483"/>
                  <a:pt x="220" y="485"/>
                  <a:pt x="220" y="485"/>
                </a:cubicBezTo>
                <a:lnTo>
                  <a:pt x="219" y="486"/>
                </a:lnTo>
                <a:close/>
                <a:moveTo>
                  <a:pt x="237" y="558"/>
                </a:moveTo>
                <a:cubicBezTo>
                  <a:pt x="236" y="558"/>
                  <a:pt x="236" y="557"/>
                  <a:pt x="236" y="557"/>
                </a:cubicBezTo>
                <a:cubicBezTo>
                  <a:pt x="236" y="556"/>
                  <a:pt x="236" y="555"/>
                  <a:pt x="237" y="554"/>
                </a:cubicBezTo>
                <a:cubicBezTo>
                  <a:pt x="238" y="553"/>
                  <a:pt x="239" y="552"/>
                  <a:pt x="239" y="551"/>
                </a:cubicBezTo>
                <a:cubicBezTo>
                  <a:pt x="240" y="550"/>
                  <a:pt x="241" y="550"/>
                  <a:pt x="242" y="550"/>
                </a:cubicBezTo>
                <a:cubicBezTo>
                  <a:pt x="243" y="550"/>
                  <a:pt x="244" y="551"/>
                  <a:pt x="244" y="552"/>
                </a:cubicBezTo>
                <a:cubicBezTo>
                  <a:pt x="244" y="553"/>
                  <a:pt x="244" y="554"/>
                  <a:pt x="243" y="554"/>
                </a:cubicBezTo>
                <a:lnTo>
                  <a:pt x="241" y="553"/>
                </a:lnTo>
                <a:cubicBezTo>
                  <a:pt x="240" y="553"/>
                  <a:pt x="239" y="554"/>
                  <a:pt x="238" y="556"/>
                </a:cubicBezTo>
                <a:cubicBezTo>
                  <a:pt x="238" y="557"/>
                  <a:pt x="237" y="558"/>
                  <a:pt x="237" y="558"/>
                </a:cubicBezTo>
                <a:close/>
                <a:moveTo>
                  <a:pt x="239" y="515"/>
                </a:moveTo>
                <a:cubicBezTo>
                  <a:pt x="238" y="515"/>
                  <a:pt x="238" y="515"/>
                  <a:pt x="238" y="513"/>
                </a:cubicBezTo>
                <a:cubicBezTo>
                  <a:pt x="238" y="512"/>
                  <a:pt x="238" y="512"/>
                  <a:pt x="238" y="512"/>
                </a:cubicBezTo>
                <a:cubicBezTo>
                  <a:pt x="238" y="512"/>
                  <a:pt x="239" y="512"/>
                  <a:pt x="240" y="511"/>
                </a:cubicBezTo>
                <a:cubicBezTo>
                  <a:pt x="241" y="511"/>
                  <a:pt x="241" y="511"/>
                  <a:pt x="241" y="510"/>
                </a:cubicBezTo>
                <a:lnTo>
                  <a:pt x="241" y="508"/>
                </a:lnTo>
                <a:cubicBezTo>
                  <a:pt x="241" y="507"/>
                  <a:pt x="241" y="507"/>
                  <a:pt x="241" y="507"/>
                </a:cubicBezTo>
                <a:cubicBezTo>
                  <a:pt x="243" y="507"/>
                  <a:pt x="243" y="507"/>
                  <a:pt x="243" y="508"/>
                </a:cubicBezTo>
                <a:cubicBezTo>
                  <a:pt x="243" y="509"/>
                  <a:pt x="243" y="510"/>
                  <a:pt x="242" y="512"/>
                </a:cubicBezTo>
                <a:cubicBezTo>
                  <a:pt x="241" y="514"/>
                  <a:pt x="240" y="515"/>
                  <a:pt x="239" y="515"/>
                </a:cubicBezTo>
                <a:close/>
                <a:moveTo>
                  <a:pt x="248" y="547"/>
                </a:moveTo>
                <a:cubicBezTo>
                  <a:pt x="248" y="547"/>
                  <a:pt x="248" y="546"/>
                  <a:pt x="247" y="545"/>
                </a:cubicBezTo>
                <a:cubicBezTo>
                  <a:pt x="246" y="544"/>
                  <a:pt x="245" y="543"/>
                  <a:pt x="244" y="543"/>
                </a:cubicBezTo>
                <a:lnTo>
                  <a:pt x="242" y="544"/>
                </a:lnTo>
                <a:lnTo>
                  <a:pt x="243" y="542"/>
                </a:lnTo>
                <a:cubicBezTo>
                  <a:pt x="244" y="541"/>
                  <a:pt x="245" y="540"/>
                  <a:pt x="246" y="540"/>
                </a:cubicBezTo>
                <a:cubicBezTo>
                  <a:pt x="246" y="540"/>
                  <a:pt x="247" y="541"/>
                  <a:pt x="248" y="542"/>
                </a:cubicBezTo>
                <a:cubicBezTo>
                  <a:pt x="248" y="544"/>
                  <a:pt x="249" y="544"/>
                  <a:pt x="249" y="544"/>
                </a:cubicBezTo>
                <a:cubicBezTo>
                  <a:pt x="250" y="544"/>
                  <a:pt x="250" y="544"/>
                  <a:pt x="250" y="542"/>
                </a:cubicBezTo>
                <a:cubicBezTo>
                  <a:pt x="250" y="541"/>
                  <a:pt x="250" y="541"/>
                  <a:pt x="250" y="541"/>
                </a:cubicBezTo>
                <a:cubicBezTo>
                  <a:pt x="250" y="541"/>
                  <a:pt x="251" y="541"/>
                  <a:pt x="251" y="542"/>
                </a:cubicBezTo>
                <a:cubicBezTo>
                  <a:pt x="251" y="543"/>
                  <a:pt x="251" y="544"/>
                  <a:pt x="250" y="545"/>
                </a:cubicBezTo>
                <a:cubicBezTo>
                  <a:pt x="249" y="546"/>
                  <a:pt x="248" y="547"/>
                  <a:pt x="248" y="547"/>
                </a:cubicBezTo>
                <a:close/>
                <a:moveTo>
                  <a:pt x="248" y="495"/>
                </a:moveTo>
                <a:cubicBezTo>
                  <a:pt x="246" y="495"/>
                  <a:pt x="246" y="495"/>
                  <a:pt x="246" y="493"/>
                </a:cubicBezTo>
                <a:cubicBezTo>
                  <a:pt x="246" y="492"/>
                  <a:pt x="246" y="491"/>
                  <a:pt x="248" y="491"/>
                </a:cubicBezTo>
                <a:cubicBezTo>
                  <a:pt x="249" y="491"/>
                  <a:pt x="249" y="492"/>
                  <a:pt x="250" y="493"/>
                </a:cubicBezTo>
                <a:cubicBezTo>
                  <a:pt x="249" y="495"/>
                  <a:pt x="249" y="495"/>
                  <a:pt x="248" y="495"/>
                </a:cubicBezTo>
                <a:close/>
                <a:moveTo>
                  <a:pt x="219" y="140"/>
                </a:moveTo>
                <a:cubicBezTo>
                  <a:pt x="219" y="140"/>
                  <a:pt x="218" y="139"/>
                  <a:pt x="218" y="139"/>
                </a:cubicBezTo>
                <a:cubicBezTo>
                  <a:pt x="218" y="138"/>
                  <a:pt x="219" y="137"/>
                  <a:pt x="219" y="136"/>
                </a:cubicBezTo>
                <a:cubicBezTo>
                  <a:pt x="220" y="135"/>
                  <a:pt x="221" y="135"/>
                  <a:pt x="221" y="135"/>
                </a:cubicBezTo>
                <a:cubicBezTo>
                  <a:pt x="222" y="135"/>
                  <a:pt x="222" y="135"/>
                  <a:pt x="222" y="136"/>
                </a:cubicBezTo>
                <a:cubicBezTo>
                  <a:pt x="222" y="137"/>
                  <a:pt x="222" y="139"/>
                  <a:pt x="220" y="140"/>
                </a:cubicBezTo>
                <a:lnTo>
                  <a:pt x="219" y="140"/>
                </a:lnTo>
                <a:close/>
                <a:moveTo>
                  <a:pt x="286" y="414"/>
                </a:moveTo>
                <a:cubicBezTo>
                  <a:pt x="285" y="414"/>
                  <a:pt x="285" y="414"/>
                  <a:pt x="285" y="413"/>
                </a:cubicBezTo>
                <a:cubicBezTo>
                  <a:pt x="285" y="412"/>
                  <a:pt x="286" y="410"/>
                  <a:pt x="286" y="408"/>
                </a:cubicBezTo>
                <a:cubicBezTo>
                  <a:pt x="287" y="404"/>
                  <a:pt x="288" y="402"/>
                  <a:pt x="289" y="402"/>
                </a:cubicBezTo>
                <a:lnTo>
                  <a:pt x="289" y="402"/>
                </a:lnTo>
                <a:cubicBezTo>
                  <a:pt x="289" y="404"/>
                  <a:pt x="289" y="405"/>
                  <a:pt x="289" y="406"/>
                </a:cubicBezTo>
                <a:cubicBezTo>
                  <a:pt x="288" y="408"/>
                  <a:pt x="288" y="410"/>
                  <a:pt x="287" y="411"/>
                </a:cubicBezTo>
                <a:cubicBezTo>
                  <a:pt x="286" y="413"/>
                  <a:pt x="286" y="414"/>
                  <a:pt x="286" y="414"/>
                </a:cubicBezTo>
                <a:close/>
                <a:moveTo>
                  <a:pt x="266" y="66"/>
                </a:moveTo>
                <a:cubicBezTo>
                  <a:pt x="265" y="66"/>
                  <a:pt x="264" y="66"/>
                  <a:pt x="264" y="65"/>
                </a:cubicBezTo>
                <a:lnTo>
                  <a:pt x="264" y="65"/>
                </a:lnTo>
                <a:cubicBezTo>
                  <a:pt x="265" y="64"/>
                  <a:pt x="265" y="64"/>
                  <a:pt x="266" y="64"/>
                </a:cubicBezTo>
                <a:cubicBezTo>
                  <a:pt x="266" y="64"/>
                  <a:pt x="267" y="64"/>
                  <a:pt x="268" y="64"/>
                </a:cubicBezTo>
                <a:cubicBezTo>
                  <a:pt x="268" y="65"/>
                  <a:pt x="269" y="66"/>
                  <a:pt x="269" y="66"/>
                </a:cubicBezTo>
                <a:cubicBezTo>
                  <a:pt x="269" y="66"/>
                  <a:pt x="268" y="66"/>
                  <a:pt x="266" y="66"/>
                </a:cubicBezTo>
                <a:close/>
                <a:moveTo>
                  <a:pt x="267" y="56"/>
                </a:moveTo>
                <a:cubicBezTo>
                  <a:pt x="267" y="56"/>
                  <a:pt x="268" y="54"/>
                  <a:pt x="272" y="52"/>
                </a:cubicBezTo>
                <a:cubicBezTo>
                  <a:pt x="275" y="49"/>
                  <a:pt x="279" y="46"/>
                  <a:pt x="284" y="43"/>
                </a:cubicBezTo>
                <a:cubicBezTo>
                  <a:pt x="289" y="39"/>
                  <a:pt x="293" y="37"/>
                  <a:pt x="296" y="34"/>
                </a:cubicBezTo>
                <a:cubicBezTo>
                  <a:pt x="300" y="32"/>
                  <a:pt x="302" y="32"/>
                  <a:pt x="303" y="32"/>
                </a:cubicBezTo>
                <a:cubicBezTo>
                  <a:pt x="303" y="32"/>
                  <a:pt x="296" y="37"/>
                  <a:pt x="284" y="45"/>
                </a:cubicBezTo>
                <a:cubicBezTo>
                  <a:pt x="273" y="53"/>
                  <a:pt x="268" y="56"/>
                  <a:pt x="267" y="56"/>
                </a:cubicBezTo>
                <a:close/>
                <a:moveTo>
                  <a:pt x="233" y="82"/>
                </a:moveTo>
                <a:cubicBezTo>
                  <a:pt x="233" y="81"/>
                  <a:pt x="235" y="79"/>
                  <a:pt x="239" y="76"/>
                </a:cubicBezTo>
                <a:cubicBezTo>
                  <a:pt x="248" y="69"/>
                  <a:pt x="252" y="66"/>
                  <a:pt x="253" y="66"/>
                </a:cubicBezTo>
                <a:cubicBezTo>
                  <a:pt x="253" y="66"/>
                  <a:pt x="252" y="67"/>
                  <a:pt x="250" y="69"/>
                </a:cubicBezTo>
                <a:cubicBezTo>
                  <a:pt x="240" y="78"/>
                  <a:pt x="235" y="82"/>
                  <a:pt x="233" y="82"/>
                </a:cubicBezTo>
                <a:close/>
                <a:moveTo>
                  <a:pt x="252" y="78"/>
                </a:moveTo>
                <a:cubicBezTo>
                  <a:pt x="252" y="78"/>
                  <a:pt x="251" y="77"/>
                  <a:pt x="251" y="76"/>
                </a:cubicBezTo>
                <a:cubicBezTo>
                  <a:pt x="251" y="74"/>
                  <a:pt x="252" y="73"/>
                  <a:pt x="253" y="73"/>
                </a:cubicBezTo>
                <a:lnTo>
                  <a:pt x="254" y="72"/>
                </a:lnTo>
                <a:cubicBezTo>
                  <a:pt x="254" y="72"/>
                  <a:pt x="255" y="72"/>
                  <a:pt x="255" y="73"/>
                </a:cubicBezTo>
                <a:lnTo>
                  <a:pt x="254" y="74"/>
                </a:lnTo>
                <a:cubicBezTo>
                  <a:pt x="253" y="76"/>
                  <a:pt x="253" y="78"/>
                  <a:pt x="252" y="78"/>
                </a:cubicBezTo>
                <a:close/>
                <a:moveTo>
                  <a:pt x="239" y="87"/>
                </a:moveTo>
                <a:cubicBezTo>
                  <a:pt x="238" y="87"/>
                  <a:pt x="238" y="87"/>
                  <a:pt x="238" y="86"/>
                </a:cubicBezTo>
                <a:cubicBezTo>
                  <a:pt x="238" y="85"/>
                  <a:pt x="238" y="85"/>
                  <a:pt x="239" y="84"/>
                </a:cubicBezTo>
                <a:cubicBezTo>
                  <a:pt x="239" y="83"/>
                  <a:pt x="240" y="82"/>
                  <a:pt x="241" y="81"/>
                </a:cubicBezTo>
                <a:cubicBezTo>
                  <a:pt x="242" y="80"/>
                  <a:pt x="243" y="80"/>
                  <a:pt x="243" y="80"/>
                </a:cubicBezTo>
                <a:cubicBezTo>
                  <a:pt x="244" y="80"/>
                  <a:pt x="244" y="80"/>
                  <a:pt x="244" y="81"/>
                </a:cubicBezTo>
                <a:lnTo>
                  <a:pt x="244" y="81"/>
                </a:lnTo>
                <a:cubicBezTo>
                  <a:pt x="244" y="81"/>
                  <a:pt x="245" y="80"/>
                  <a:pt x="247" y="78"/>
                </a:cubicBezTo>
                <a:cubicBezTo>
                  <a:pt x="248" y="76"/>
                  <a:pt x="249" y="76"/>
                  <a:pt x="249" y="76"/>
                </a:cubicBezTo>
                <a:cubicBezTo>
                  <a:pt x="249" y="76"/>
                  <a:pt x="249" y="77"/>
                  <a:pt x="248" y="80"/>
                </a:cubicBezTo>
                <a:cubicBezTo>
                  <a:pt x="246" y="82"/>
                  <a:pt x="246" y="83"/>
                  <a:pt x="245" y="83"/>
                </a:cubicBezTo>
                <a:lnTo>
                  <a:pt x="244" y="83"/>
                </a:lnTo>
                <a:cubicBezTo>
                  <a:pt x="243" y="83"/>
                  <a:pt x="242" y="83"/>
                  <a:pt x="241" y="85"/>
                </a:cubicBezTo>
                <a:cubicBezTo>
                  <a:pt x="240" y="86"/>
                  <a:pt x="239" y="87"/>
                  <a:pt x="239" y="87"/>
                </a:cubicBezTo>
                <a:close/>
                <a:moveTo>
                  <a:pt x="238" y="87"/>
                </a:moveTo>
                <a:close/>
                <a:moveTo>
                  <a:pt x="258" y="73"/>
                </a:moveTo>
                <a:cubicBezTo>
                  <a:pt x="258" y="73"/>
                  <a:pt x="257" y="73"/>
                  <a:pt x="257" y="71"/>
                </a:cubicBezTo>
                <a:cubicBezTo>
                  <a:pt x="257" y="70"/>
                  <a:pt x="258" y="69"/>
                  <a:pt x="259" y="68"/>
                </a:cubicBezTo>
                <a:lnTo>
                  <a:pt x="260" y="68"/>
                </a:lnTo>
                <a:cubicBezTo>
                  <a:pt x="260" y="68"/>
                  <a:pt x="260" y="68"/>
                  <a:pt x="260" y="68"/>
                </a:cubicBezTo>
                <a:cubicBezTo>
                  <a:pt x="260" y="69"/>
                  <a:pt x="260" y="70"/>
                  <a:pt x="260" y="71"/>
                </a:cubicBezTo>
                <a:cubicBezTo>
                  <a:pt x="259" y="73"/>
                  <a:pt x="258" y="73"/>
                  <a:pt x="258" y="73"/>
                </a:cubicBezTo>
                <a:close/>
                <a:moveTo>
                  <a:pt x="226" y="95"/>
                </a:moveTo>
                <a:lnTo>
                  <a:pt x="224" y="95"/>
                </a:lnTo>
                <a:cubicBezTo>
                  <a:pt x="224" y="94"/>
                  <a:pt x="225" y="93"/>
                  <a:pt x="226" y="92"/>
                </a:cubicBezTo>
                <a:cubicBezTo>
                  <a:pt x="227" y="91"/>
                  <a:pt x="228" y="91"/>
                  <a:pt x="229" y="91"/>
                </a:cubicBezTo>
                <a:cubicBezTo>
                  <a:pt x="231" y="91"/>
                  <a:pt x="232" y="92"/>
                  <a:pt x="232" y="94"/>
                </a:cubicBezTo>
                <a:lnTo>
                  <a:pt x="230" y="93"/>
                </a:lnTo>
                <a:cubicBezTo>
                  <a:pt x="229" y="93"/>
                  <a:pt x="228" y="93"/>
                  <a:pt x="228" y="93"/>
                </a:cubicBezTo>
                <a:cubicBezTo>
                  <a:pt x="227" y="94"/>
                  <a:pt x="226" y="95"/>
                  <a:pt x="226" y="95"/>
                </a:cubicBezTo>
                <a:close/>
                <a:moveTo>
                  <a:pt x="345" y="11"/>
                </a:moveTo>
                <a:lnTo>
                  <a:pt x="343" y="11"/>
                </a:lnTo>
                <a:lnTo>
                  <a:pt x="343" y="10"/>
                </a:lnTo>
                <a:cubicBezTo>
                  <a:pt x="343" y="9"/>
                  <a:pt x="344" y="9"/>
                  <a:pt x="345" y="8"/>
                </a:cubicBezTo>
                <a:cubicBezTo>
                  <a:pt x="346" y="7"/>
                  <a:pt x="347" y="7"/>
                  <a:pt x="348" y="6"/>
                </a:cubicBezTo>
                <a:cubicBezTo>
                  <a:pt x="350" y="5"/>
                  <a:pt x="351" y="5"/>
                  <a:pt x="352" y="5"/>
                </a:cubicBezTo>
                <a:lnTo>
                  <a:pt x="355" y="5"/>
                </a:lnTo>
                <a:cubicBezTo>
                  <a:pt x="355" y="5"/>
                  <a:pt x="356" y="5"/>
                  <a:pt x="356" y="4"/>
                </a:cubicBezTo>
                <a:cubicBezTo>
                  <a:pt x="356" y="3"/>
                  <a:pt x="358" y="2"/>
                  <a:pt x="360" y="2"/>
                </a:cubicBezTo>
                <a:cubicBezTo>
                  <a:pt x="362" y="1"/>
                  <a:pt x="363" y="1"/>
                  <a:pt x="365" y="1"/>
                </a:cubicBezTo>
                <a:cubicBezTo>
                  <a:pt x="366" y="1"/>
                  <a:pt x="367" y="1"/>
                  <a:pt x="367" y="2"/>
                </a:cubicBezTo>
                <a:cubicBezTo>
                  <a:pt x="367" y="3"/>
                  <a:pt x="365" y="5"/>
                  <a:pt x="362" y="5"/>
                </a:cubicBezTo>
                <a:lnTo>
                  <a:pt x="360" y="5"/>
                </a:lnTo>
                <a:cubicBezTo>
                  <a:pt x="354" y="7"/>
                  <a:pt x="351" y="8"/>
                  <a:pt x="349" y="8"/>
                </a:cubicBezTo>
                <a:lnTo>
                  <a:pt x="349" y="8"/>
                </a:lnTo>
                <a:cubicBezTo>
                  <a:pt x="348" y="8"/>
                  <a:pt x="347" y="9"/>
                  <a:pt x="346" y="10"/>
                </a:cubicBezTo>
                <a:cubicBezTo>
                  <a:pt x="345" y="11"/>
                  <a:pt x="345" y="11"/>
                  <a:pt x="345" y="11"/>
                </a:cubicBezTo>
                <a:close/>
                <a:moveTo>
                  <a:pt x="269" y="490"/>
                </a:moveTo>
                <a:cubicBezTo>
                  <a:pt x="269" y="490"/>
                  <a:pt x="269" y="490"/>
                  <a:pt x="269" y="490"/>
                </a:cubicBezTo>
                <a:cubicBezTo>
                  <a:pt x="269" y="489"/>
                  <a:pt x="269" y="488"/>
                  <a:pt x="269" y="487"/>
                </a:cubicBezTo>
                <a:cubicBezTo>
                  <a:pt x="270" y="487"/>
                  <a:pt x="270" y="485"/>
                  <a:pt x="271" y="485"/>
                </a:cubicBezTo>
                <a:cubicBezTo>
                  <a:pt x="271" y="484"/>
                  <a:pt x="272" y="483"/>
                  <a:pt x="272" y="483"/>
                </a:cubicBezTo>
                <a:cubicBezTo>
                  <a:pt x="272" y="483"/>
                  <a:pt x="273" y="484"/>
                  <a:pt x="273" y="484"/>
                </a:cubicBezTo>
                <a:cubicBezTo>
                  <a:pt x="273" y="484"/>
                  <a:pt x="273" y="485"/>
                  <a:pt x="272" y="486"/>
                </a:cubicBezTo>
                <a:cubicBezTo>
                  <a:pt x="272" y="487"/>
                  <a:pt x="271" y="488"/>
                  <a:pt x="271" y="489"/>
                </a:cubicBezTo>
                <a:cubicBezTo>
                  <a:pt x="270" y="490"/>
                  <a:pt x="270" y="490"/>
                  <a:pt x="269" y="490"/>
                </a:cubicBezTo>
                <a:close/>
                <a:moveTo>
                  <a:pt x="273" y="466"/>
                </a:moveTo>
                <a:cubicBezTo>
                  <a:pt x="273" y="466"/>
                  <a:pt x="273" y="465"/>
                  <a:pt x="273" y="464"/>
                </a:cubicBezTo>
                <a:cubicBezTo>
                  <a:pt x="273" y="462"/>
                  <a:pt x="273" y="460"/>
                  <a:pt x="275" y="460"/>
                </a:cubicBezTo>
                <a:lnTo>
                  <a:pt x="275" y="460"/>
                </a:lnTo>
                <a:cubicBezTo>
                  <a:pt x="275" y="460"/>
                  <a:pt x="275" y="460"/>
                  <a:pt x="275" y="460"/>
                </a:cubicBezTo>
                <a:lnTo>
                  <a:pt x="275" y="463"/>
                </a:lnTo>
                <a:cubicBezTo>
                  <a:pt x="274" y="465"/>
                  <a:pt x="274" y="466"/>
                  <a:pt x="273" y="466"/>
                </a:cubicBezTo>
                <a:close/>
                <a:moveTo>
                  <a:pt x="236" y="557"/>
                </a:moveTo>
                <a:close/>
                <a:moveTo>
                  <a:pt x="188" y="154"/>
                </a:moveTo>
                <a:lnTo>
                  <a:pt x="188" y="154"/>
                </a:lnTo>
                <a:lnTo>
                  <a:pt x="189" y="153"/>
                </a:lnTo>
                <a:cubicBezTo>
                  <a:pt x="189" y="152"/>
                  <a:pt x="190" y="152"/>
                  <a:pt x="191" y="151"/>
                </a:cubicBezTo>
                <a:cubicBezTo>
                  <a:pt x="192" y="150"/>
                  <a:pt x="192" y="150"/>
                  <a:pt x="193" y="150"/>
                </a:cubicBezTo>
                <a:cubicBezTo>
                  <a:pt x="193" y="150"/>
                  <a:pt x="194" y="150"/>
                  <a:pt x="194" y="150"/>
                </a:cubicBezTo>
                <a:cubicBezTo>
                  <a:pt x="194" y="151"/>
                  <a:pt x="193" y="152"/>
                  <a:pt x="192" y="153"/>
                </a:cubicBezTo>
                <a:cubicBezTo>
                  <a:pt x="191" y="154"/>
                  <a:pt x="190" y="154"/>
                  <a:pt x="188" y="154"/>
                </a:cubicBezTo>
                <a:close/>
                <a:moveTo>
                  <a:pt x="136" y="208"/>
                </a:moveTo>
                <a:cubicBezTo>
                  <a:pt x="136" y="207"/>
                  <a:pt x="137" y="205"/>
                  <a:pt x="139" y="203"/>
                </a:cubicBezTo>
                <a:cubicBezTo>
                  <a:pt x="141" y="201"/>
                  <a:pt x="142" y="200"/>
                  <a:pt x="143" y="200"/>
                </a:cubicBezTo>
                <a:cubicBezTo>
                  <a:pt x="143" y="201"/>
                  <a:pt x="142" y="202"/>
                  <a:pt x="141" y="204"/>
                </a:cubicBezTo>
                <a:cubicBezTo>
                  <a:pt x="138" y="206"/>
                  <a:pt x="136" y="208"/>
                  <a:pt x="136" y="208"/>
                </a:cubicBezTo>
                <a:close/>
                <a:moveTo>
                  <a:pt x="267" y="482"/>
                </a:moveTo>
                <a:lnTo>
                  <a:pt x="266" y="482"/>
                </a:lnTo>
                <a:cubicBezTo>
                  <a:pt x="266" y="482"/>
                  <a:pt x="266" y="482"/>
                  <a:pt x="266" y="481"/>
                </a:cubicBezTo>
                <a:cubicBezTo>
                  <a:pt x="266" y="481"/>
                  <a:pt x="266" y="479"/>
                  <a:pt x="267" y="477"/>
                </a:cubicBezTo>
                <a:cubicBezTo>
                  <a:pt x="270" y="472"/>
                  <a:pt x="271" y="470"/>
                  <a:pt x="272" y="470"/>
                </a:cubicBezTo>
                <a:lnTo>
                  <a:pt x="272" y="470"/>
                </a:lnTo>
                <a:cubicBezTo>
                  <a:pt x="272" y="471"/>
                  <a:pt x="271" y="472"/>
                  <a:pt x="271" y="474"/>
                </a:cubicBezTo>
                <a:cubicBezTo>
                  <a:pt x="270" y="476"/>
                  <a:pt x="270" y="478"/>
                  <a:pt x="269" y="479"/>
                </a:cubicBezTo>
                <a:cubicBezTo>
                  <a:pt x="268" y="480"/>
                  <a:pt x="268" y="482"/>
                  <a:pt x="267" y="482"/>
                </a:cubicBezTo>
                <a:close/>
                <a:moveTo>
                  <a:pt x="269" y="404"/>
                </a:moveTo>
                <a:cubicBezTo>
                  <a:pt x="268" y="404"/>
                  <a:pt x="267" y="403"/>
                  <a:pt x="267" y="402"/>
                </a:cubicBezTo>
                <a:cubicBezTo>
                  <a:pt x="268" y="402"/>
                  <a:pt x="268" y="401"/>
                  <a:pt x="268" y="401"/>
                </a:cubicBezTo>
                <a:cubicBezTo>
                  <a:pt x="269" y="400"/>
                  <a:pt x="269" y="400"/>
                  <a:pt x="270" y="399"/>
                </a:cubicBezTo>
                <a:cubicBezTo>
                  <a:pt x="270" y="399"/>
                  <a:pt x="271" y="400"/>
                  <a:pt x="271" y="402"/>
                </a:cubicBezTo>
                <a:cubicBezTo>
                  <a:pt x="271" y="403"/>
                  <a:pt x="270" y="404"/>
                  <a:pt x="269" y="404"/>
                </a:cubicBezTo>
                <a:close/>
                <a:moveTo>
                  <a:pt x="277" y="420"/>
                </a:moveTo>
                <a:lnTo>
                  <a:pt x="277" y="420"/>
                </a:lnTo>
                <a:lnTo>
                  <a:pt x="277" y="417"/>
                </a:lnTo>
                <a:cubicBezTo>
                  <a:pt x="283" y="400"/>
                  <a:pt x="286" y="392"/>
                  <a:pt x="288" y="392"/>
                </a:cubicBezTo>
                <a:lnTo>
                  <a:pt x="288" y="392"/>
                </a:lnTo>
                <a:cubicBezTo>
                  <a:pt x="288" y="393"/>
                  <a:pt x="287" y="396"/>
                  <a:pt x="285" y="400"/>
                </a:cubicBezTo>
                <a:cubicBezTo>
                  <a:pt x="284" y="404"/>
                  <a:pt x="282" y="409"/>
                  <a:pt x="281" y="412"/>
                </a:cubicBezTo>
                <a:cubicBezTo>
                  <a:pt x="279" y="416"/>
                  <a:pt x="278" y="419"/>
                  <a:pt x="277" y="420"/>
                </a:cubicBezTo>
                <a:close/>
                <a:moveTo>
                  <a:pt x="139" y="719"/>
                </a:moveTo>
                <a:cubicBezTo>
                  <a:pt x="139" y="719"/>
                  <a:pt x="138" y="719"/>
                  <a:pt x="138" y="718"/>
                </a:cubicBezTo>
                <a:lnTo>
                  <a:pt x="138" y="716"/>
                </a:lnTo>
                <a:cubicBezTo>
                  <a:pt x="139" y="714"/>
                  <a:pt x="139" y="713"/>
                  <a:pt x="139" y="712"/>
                </a:cubicBezTo>
                <a:cubicBezTo>
                  <a:pt x="139" y="710"/>
                  <a:pt x="140" y="710"/>
                  <a:pt x="141" y="710"/>
                </a:cubicBezTo>
                <a:lnTo>
                  <a:pt x="141" y="710"/>
                </a:lnTo>
                <a:cubicBezTo>
                  <a:pt x="142" y="710"/>
                  <a:pt x="142" y="711"/>
                  <a:pt x="142" y="712"/>
                </a:cubicBezTo>
                <a:cubicBezTo>
                  <a:pt x="142" y="713"/>
                  <a:pt x="142" y="713"/>
                  <a:pt x="142" y="714"/>
                </a:cubicBezTo>
                <a:cubicBezTo>
                  <a:pt x="141" y="715"/>
                  <a:pt x="141" y="716"/>
                  <a:pt x="141" y="716"/>
                </a:cubicBezTo>
                <a:lnTo>
                  <a:pt x="141" y="718"/>
                </a:lnTo>
                <a:cubicBezTo>
                  <a:pt x="141" y="719"/>
                  <a:pt x="140" y="719"/>
                  <a:pt x="139" y="719"/>
                </a:cubicBezTo>
                <a:close/>
                <a:moveTo>
                  <a:pt x="359" y="246"/>
                </a:moveTo>
                <a:lnTo>
                  <a:pt x="359" y="246"/>
                </a:lnTo>
                <a:cubicBezTo>
                  <a:pt x="359" y="244"/>
                  <a:pt x="361" y="238"/>
                  <a:pt x="365" y="229"/>
                </a:cubicBezTo>
                <a:lnTo>
                  <a:pt x="371" y="210"/>
                </a:lnTo>
                <a:cubicBezTo>
                  <a:pt x="376" y="199"/>
                  <a:pt x="379" y="192"/>
                  <a:pt x="379" y="190"/>
                </a:cubicBezTo>
                <a:cubicBezTo>
                  <a:pt x="380" y="188"/>
                  <a:pt x="381" y="188"/>
                  <a:pt x="381" y="188"/>
                </a:cubicBezTo>
                <a:cubicBezTo>
                  <a:pt x="382" y="188"/>
                  <a:pt x="383" y="188"/>
                  <a:pt x="383" y="189"/>
                </a:cubicBezTo>
                <a:cubicBezTo>
                  <a:pt x="383" y="190"/>
                  <a:pt x="382" y="191"/>
                  <a:pt x="382" y="192"/>
                </a:cubicBezTo>
                <a:cubicBezTo>
                  <a:pt x="381" y="193"/>
                  <a:pt x="380" y="195"/>
                  <a:pt x="380" y="198"/>
                </a:cubicBezTo>
                <a:cubicBezTo>
                  <a:pt x="379" y="202"/>
                  <a:pt x="378" y="205"/>
                  <a:pt x="376" y="207"/>
                </a:cubicBezTo>
                <a:cubicBezTo>
                  <a:pt x="375" y="209"/>
                  <a:pt x="374" y="211"/>
                  <a:pt x="374" y="211"/>
                </a:cubicBezTo>
                <a:lnTo>
                  <a:pt x="374" y="213"/>
                </a:lnTo>
                <a:cubicBezTo>
                  <a:pt x="374" y="213"/>
                  <a:pt x="374" y="215"/>
                  <a:pt x="372" y="217"/>
                </a:cubicBezTo>
                <a:cubicBezTo>
                  <a:pt x="371" y="219"/>
                  <a:pt x="370" y="221"/>
                  <a:pt x="370" y="221"/>
                </a:cubicBezTo>
                <a:cubicBezTo>
                  <a:pt x="370" y="222"/>
                  <a:pt x="370" y="223"/>
                  <a:pt x="369" y="224"/>
                </a:cubicBezTo>
                <a:cubicBezTo>
                  <a:pt x="369" y="225"/>
                  <a:pt x="368" y="226"/>
                  <a:pt x="368" y="227"/>
                </a:cubicBezTo>
                <a:cubicBezTo>
                  <a:pt x="366" y="230"/>
                  <a:pt x="365" y="232"/>
                  <a:pt x="365" y="233"/>
                </a:cubicBezTo>
                <a:cubicBezTo>
                  <a:pt x="365" y="235"/>
                  <a:pt x="365" y="237"/>
                  <a:pt x="363" y="239"/>
                </a:cubicBezTo>
                <a:cubicBezTo>
                  <a:pt x="362" y="244"/>
                  <a:pt x="360" y="246"/>
                  <a:pt x="359" y="246"/>
                </a:cubicBezTo>
                <a:close/>
                <a:moveTo>
                  <a:pt x="326" y="333"/>
                </a:moveTo>
                <a:cubicBezTo>
                  <a:pt x="326" y="333"/>
                  <a:pt x="326" y="332"/>
                  <a:pt x="326" y="329"/>
                </a:cubicBezTo>
                <a:cubicBezTo>
                  <a:pt x="326" y="327"/>
                  <a:pt x="326" y="325"/>
                  <a:pt x="327" y="325"/>
                </a:cubicBezTo>
                <a:lnTo>
                  <a:pt x="328" y="325"/>
                </a:lnTo>
                <a:cubicBezTo>
                  <a:pt x="328" y="325"/>
                  <a:pt x="329" y="325"/>
                  <a:pt x="329" y="324"/>
                </a:cubicBezTo>
                <a:cubicBezTo>
                  <a:pt x="330" y="324"/>
                  <a:pt x="330" y="323"/>
                  <a:pt x="330" y="323"/>
                </a:cubicBezTo>
                <a:cubicBezTo>
                  <a:pt x="330" y="322"/>
                  <a:pt x="329" y="322"/>
                  <a:pt x="328" y="322"/>
                </a:cubicBezTo>
                <a:cubicBezTo>
                  <a:pt x="327" y="322"/>
                  <a:pt x="327" y="321"/>
                  <a:pt x="327" y="320"/>
                </a:cubicBezTo>
                <a:cubicBezTo>
                  <a:pt x="327" y="319"/>
                  <a:pt x="327" y="318"/>
                  <a:pt x="328" y="318"/>
                </a:cubicBezTo>
                <a:lnTo>
                  <a:pt x="329" y="319"/>
                </a:lnTo>
                <a:cubicBezTo>
                  <a:pt x="330" y="319"/>
                  <a:pt x="332" y="316"/>
                  <a:pt x="335" y="308"/>
                </a:cubicBezTo>
                <a:cubicBezTo>
                  <a:pt x="336" y="305"/>
                  <a:pt x="337" y="302"/>
                  <a:pt x="337" y="298"/>
                </a:cubicBezTo>
                <a:cubicBezTo>
                  <a:pt x="338" y="295"/>
                  <a:pt x="338" y="293"/>
                  <a:pt x="339" y="293"/>
                </a:cubicBezTo>
                <a:cubicBezTo>
                  <a:pt x="339" y="293"/>
                  <a:pt x="340" y="293"/>
                  <a:pt x="340" y="292"/>
                </a:cubicBezTo>
                <a:lnTo>
                  <a:pt x="338" y="288"/>
                </a:lnTo>
                <a:cubicBezTo>
                  <a:pt x="338" y="288"/>
                  <a:pt x="338" y="288"/>
                  <a:pt x="339" y="288"/>
                </a:cubicBezTo>
                <a:lnTo>
                  <a:pt x="342" y="289"/>
                </a:lnTo>
                <a:cubicBezTo>
                  <a:pt x="342" y="289"/>
                  <a:pt x="342" y="289"/>
                  <a:pt x="342" y="288"/>
                </a:cubicBezTo>
                <a:lnTo>
                  <a:pt x="341" y="283"/>
                </a:lnTo>
                <a:cubicBezTo>
                  <a:pt x="341" y="282"/>
                  <a:pt x="341" y="282"/>
                  <a:pt x="342" y="282"/>
                </a:cubicBezTo>
                <a:lnTo>
                  <a:pt x="343" y="282"/>
                </a:lnTo>
                <a:cubicBezTo>
                  <a:pt x="343" y="282"/>
                  <a:pt x="344" y="281"/>
                  <a:pt x="345" y="281"/>
                </a:cubicBezTo>
                <a:cubicBezTo>
                  <a:pt x="345" y="280"/>
                  <a:pt x="345" y="279"/>
                  <a:pt x="345" y="279"/>
                </a:cubicBezTo>
                <a:cubicBezTo>
                  <a:pt x="345" y="278"/>
                  <a:pt x="345" y="278"/>
                  <a:pt x="345" y="278"/>
                </a:cubicBezTo>
                <a:lnTo>
                  <a:pt x="343" y="278"/>
                </a:lnTo>
                <a:lnTo>
                  <a:pt x="345" y="276"/>
                </a:lnTo>
                <a:cubicBezTo>
                  <a:pt x="347" y="275"/>
                  <a:pt x="347" y="274"/>
                  <a:pt x="347" y="272"/>
                </a:cubicBezTo>
                <a:lnTo>
                  <a:pt x="347" y="271"/>
                </a:lnTo>
                <a:cubicBezTo>
                  <a:pt x="347" y="270"/>
                  <a:pt x="348" y="269"/>
                  <a:pt x="349" y="269"/>
                </a:cubicBezTo>
                <a:cubicBezTo>
                  <a:pt x="351" y="269"/>
                  <a:pt x="352" y="269"/>
                  <a:pt x="352" y="269"/>
                </a:cubicBezTo>
                <a:cubicBezTo>
                  <a:pt x="352" y="268"/>
                  <a:pt x="351" y="268"/>
                  <a:pt x="350" y="267"/>
                </a:cubicBezTo>
                <a:cubicBezTo>
                  <a:pt x="349" y="266"/>
                  <a:pt x="348" y="266"/>
                  <a:pt x="348" y="266"/>
                </a:cubicBezTo>
                <a:lnTo>
                  <a:pt x="350" y="265"/>
                </a:lnTo>
                <a:cubicBezTo>
                  <a:pt x="351" y="265"/>
                  <a:pt x="351" y="264"/>
                  <a:pt x="351" y="263"/>
                </a:cubicBezTo>
                <a:lnTo>
                  <a:pt x="351" y="260"/>
                </a:lnTo>
                <a:cubicBezTo>
                  <a:pt x="351" y="260"/>
                  <a:pt x="351" y="259"/>
                  <a:pt x="351" y="259"/>
                </a:cubicBezTo>
                <a:lnTo>
                  <a:pt x="353" y="260"/>
                </a:lnTo>
                <a:cubicBezTo>
                  <a:pt x="354" y="260"/>
                  <a:pt x="355" y="259"/>
                  <a:pt x="355" y="257"/>
                </a:cubicBezTo>
                <a:cubicBezTo>
                  <a:pt x="355" y="257"/>
                  <a:pt x="354" y="257"/>
                  <a:pt x="353" y="257"/>
                </a:cubicBezTo>
                <a:cubicBezTo>
                  <a:pt x="353" y="257"/>
                  <a:pt x="352" y="256"/>
                  <a:pt x="352" y="255"/>
                </a:cubicBezTo>
                <a:cubicBezTo>
                  <a:pt x="352" y="254"/>
                  <a:pt x="352" y="253"/>
                  <a:pt x="353" y="253"/>
                </a:cubicBezTo>
                <a:lnTo>
                  <a:pt x="355" y="254"/>
                </a:lnTo>
                <a:cubicBezTo>
                  <a:pt x="355" y="254"/>
                  <a:pt x="357" y="253"/>
                  <a:pt x="357" y="251"/>
                </a:cubicBezTo>
                <a:cubicBezTo>
                  <a:pt x="358" y="250"/>
                  <a:pt x="359" y="249"/>
                  <a:pt x="359" y="249"/>
                </a:cubicBezTo>
                <a:cubicBezTo>
                  <a:pt x="359" y="250"/>
                  <a:pt x="358" y="253"/>
                  <a:pt x="357" y="258"/>
                </a:cubicBezTo>
                <a:cubicBezTo>
                  <a:pt x="355" y="263"/>
                  <a:pt x="353" y="268"/>
                  <a:pt x="351" y="273"/>
                </a:cubicBezTo>
                <a:cubicBezTo>
                  <a:pt x="349" y="278"/>
                  <a:pt x="348" y="281"/>
                  <a:pt x="347" y="283"/>
                </a:cubicBezTo>
                <a:cubicBezTo>
                  <a:pt x="345" y="285"/>
                  <a:pt x="345" y="286"/>
                  <a:pt x="345" y="287"/>
                </a:cubicBezTo>
                <a:cubicBezTo>
                  <a:pt x="345" y="287"/>
                  <a:pt x="345" y="287"/>
                  <a:pt x="345" y="287"/>
                </a:cubicBezTo>
                <a:lnTo>
                  <a:pt x="345" y="287"/>
                </a:lnTo>
                <a:cubicBezTo>
                  <a:pt x="345" y="288"/>
                  <a:pt x="345" y="289"/>
                  <a:pt x="344" y="290"/>
                </a:cubicBezTo>
                <a:cubicBezTo>
                  <a:pt x="343" y="292"/>
                  <a:pt x="342" y="295"/>
                  <a:pt x="340" y="300"/>
                </a:cubicBezTo>
                <a:cubicBezTo>
                  <a:pt x="338" y="305"/>
                  <a:pt x="336" y="311"/>
                  <a:pt x="335" y="316"/>
                </a:cubicBezTo>
                <a:cubicBezTo>
                  <a:pt x="333" y="322"/>
                  <a:pt x="332" y="326"/>
                  <a:pt x="332" y="328"/>
                </a:cubicBezTo>
                <a:lnTo>
                  <a:pt x="332" y="330"/>
                </a:lnTo>
                <a:lnTo>
                  <a:pt x="332" y="330"/>
                </a:lnTo>
                <a:lnTo>
                  <a:pt x="332" y="330"/>
                </a:lnTo>
                <a:cubicBezTo>
                  <a:pt x="331" y="329"/>
                  <a:pt x="331" y="329"/>
                  <a:pt x="331" y="329"/>
                </a:cubicBezTo>
                <a:cubicBezTo>
                  <a:pt x="330" y="329"/>
                  <a:pt x="329" y="330"/>
                  <a:pt x="328" y="331"/>
                </a:cubicBezTo>
                <a:cubicBezTo>
                  <a:pt x="327" y="332"/>
                  <a:pt x="327" y="333"/>
                  <a:pt x="326" y="333"/>
                </a:cubicBezTo>
                <a:close/>
                <a:moveTo>
                  <a:pt x="311" y="332"/>
                </a:moveTo>
                <a:lnTo>
                  <a:pt x="311" y="332"/>
                </a:lnTo>
                <a:cubicBezTo>
                  <a:pt x="311" y="330"/>
                  <a:pt x="313" y="323"/>
                  <a:pt x="318" y="313"/>
                </a:cubicBezTo>
                <a:cubicBezTo>
                  <a:pt x="322" y="301"/>
                  <a:pt x="326" y="292"/>
                  <a:pt x="329" y="285"/>
                </a:cubicBezTo>
                <a:cubicBezTo>
                  <a:pt x="337" y="266"/>
                  <a:pt x="341" y="254"/>
                  <a:pt x="341" y="249"/>
                </a:cubicBezTo>
                <a:lnTo>
                  <a:pt x="341" y="247"/>
                </a:lnTo>
                <a:cubicBezTo>
                  <a:pt x="341" y="247"/>
                  <a:pt x="341" y="247"/>
                  <a:pt x="341" y="247"/>
                </a:cubicBezTo>
                <a:lnTo>
                  <a:pt x="343" y="248"/>
                </a:lnTo>
                <a:cubicBezTo>
                  <a:pt x="344" y="248"/>
                  <a:pt x="344" y="248"/>
                  <a:pt x="344" y="247"/>
                </a:cubicBezTo>
                <a:lnTo>
                  <a:pt x="343" y="244"/>
                </a:lnTo>
                <a:cubicBezTo>
                  <a:pt x="343" y="242"/>
                  <a:pt x="344" y="241"/>
                  <a:pt x="346" y="241"/>
                </a:cubicBezTo>
                <a:cubicBezTo>
                  <a:pt x="348" y="241"/>
                  <a:pt x="348" y="241"/>
                  <a:pt x="348" y="243"/>
                </a:cubicBezTo>
                <a:cubicBezTo>
                  <a:pt x="348" y="245"/>
                  <a:pt x="347" y="249"/>
                  <a:pt x="343" y="256"/>
                </a:cubicBezTo>
                <a:cubicBezTo>
                  <a:pt x="340" y="264"/>
                  <a:pt x="337" y="271"/>
                  <a:pt x="335" y="279"/>
                </a:cubicBezTo>
                <a:cubicBezTo>
                  <a:pt x="332" y="286"/>
                  <a:pt x="329" y="295"/>
                  <a:pt x="325" y="304"/>
                </a:cubicBezTo>
                <a:cubicBezTo>
                  <a:pt x="322" y="310"/>
                  <a:pt x="320" y="316"/>
                  <a:pt x="318" y="321"/>
                </a:cubicBezTo>
                <a:lnTo>
                  <a:pt x="316" y="325"/>
                </a:lnTo>
                <a:cubicBezTo>
                  <a:pt x="314" y="330"/>
                  <a:pt x="313" y="332"/>
                  <a:pt x="311" y="332"/>
                </a:cubicBezTo>
                <a:close/>
                <a:moveTo>
                  <a:pt x="241" y="584"/>
                </a:moveTo>
                <a:lnTo>
                  <a:pt x="241" y="583"/>
                </a:lnTo>
                <a:cubicBezTo>
                  <a:pt x="241" y="583"/>
                  <a:pt x="242" y="580"/>
                  <a:pt x="243" y="576"/>
                </a:cubicBezTo>
                <a:cubicBezTo>
                  <a:pt x="247" y="566"/>
                  <a:pt x="250" y="561"/>
                  <a:pt x="250" y="561"/>
                </a:cubicBezTo>
                <a:lnTo>
                  <a:pt x="251" y="561"/>
                </a:lnTo>
                <a:cubicBezTo>
                  <a:pt x="251" y="563"/>
                  <a:pt x="248" y="568"/>
                  <a:pt x="244" y="577"/>
                </a:cubicBezTo>
                <a:cubicBezTo>
                  <a:pt x="242" y="582"/>
                  <a:pt x="241" y="584"/>
                  <a:pt x="241" y="584"/>
                </a:cubicBezTo>
                <a:close/>
                <a:moveTo>
                  <a:pt x="251" y="485"/>
                </a:moveTo>
                <a:cubicBezTo>
                  <a:pt x="250" y="485"/>
                  <a:pt x="250" y="485"/>
                  <a:pt x="250" y="484"/>
                </a:cubicBezTo>
                <a:cubicBezTo>
                  <a:pt x="250" y="484"/>
                  <a:pt x="250" y="483"/>
                  <a:pt x="251" y="482"/>
                </a:cubicBezTo>
                <a:cubicBezTo>
                  <a:pt x="251" y="481"/>
                  <a:pt x="252" y="481"/>
                  <a:pt x="253" y="481"/>
                </a:cubicBezTo>
                <a:cubicBezTo>
                  <a:pt x="253" y="481"/>
                  <a:pt x="253" y="481"/>
                  <a:pt x="253" y="483"/>
                </a:cubicBezTo>
                <a:cubicBezTo>
                  <a:pt x="253" y="484"/>
                  <a:pt x="253" y="485"/>
                  <a:pt x="251" y="485"/>
                </a:cubicBezTo>
                <a:close/>
                <a:moveTo>
                  <a:pt x="199" y="144"/>
                </a:moveTo>
                <a:lnTo>
                  <a:pt x="202" y="141"/>
                </a:lnTo>
                <a:cubicBezTo>
                  <a:pt x="204" y="138"/>
                  <a:pt x="206" y="137"/>
                  <a:pt x="206" y="137"/>
                </a:cubicBezTo>
                <a:cubicBezTo>
                  <a:pt x="207" y="137"/>
                  <a:pt x="207" y="137"/>
                  <a:pt x="207" y="139"/>
                </a:cubicBezTo>
                <a:cubicBezTo>
                  <a:pt x="207" y="140"/>
                  <a:pt x="206" y="141"/>
                  <a:pt x="203" y="142"/>
                </a:cubicBezTo>
                <a:cubicBezTo>
                  <a:pt x="201" y="144"/>
                  <a:pt x="200" y="144"/>
                  <a:pt x="199" y="144"/>
                </a:cubicBezTo>
                <a:close/>
                <a:moveTo>
                  <a:pt x="214" y="134"/>
                </a:moveTo>
                <a:cubicBezTo>
                  <a:pt x="213" y="134"/>
                  <a:pt x="213" y="134"/>
                  <a:pt x="213" y="133"/>
                </a:cubicBezTo>
                <a:cubicBezTo>
                  <a:pt x="213" y="131"/>
                  <a:pt x="213" y="131"/>
                  <a:pt x="215" y="131"/>
                </a:cubicBezTo>
                <a:cubicBezTo>
                  <a:pt x="216" y="131"/>
                  <a:pt x="216" y="131"/>
                  <a:pt x="216" y="132"/>
                </a:cubicBezTo>
                <a:lnTo>
                  <a:pt x="216" y="133"/>
                </a:lnTo>
                <a:cubicBezTo>
                  <a:pt x="215" y="134"/>
                  <a:pt x="214" y="134"/>
                  <a:pt x="214" y="134"/>
                </a:cubicBezTo>
                <a:close/>
                <a:moveTo>
                  <a:pt x="206" y="150"/>
                </a:moveTo>
                <a:cubicBezTo>
                  <a:pt x="205" y="150"/>
                  <a:pt x="205" y="149"/>
                  <a:pt x="205" y="149"/>
                </a:cubicBezTo>
                <a:cubicBezTo>
                  <a:pt x="205" y="148"/>
                  <a:pt x="206" y="147"/>
                  <a:pt x="209" y="145"/>
                </a:cubicBezTo>
                <a:cubicBezTo>
                  <a:pt x="212" y="144"/>
                  <a:pt x="214" y="144"/>
                  <a:pt x="214" y="144"/>
                </a:cubicBezTo>
                <a:lnTo>
                  <a:pt x="215" y="144"/>
                </a:lnTo>
                <a:lnTo>
                  <a:pt x="213" y="145"/>
                </a:lnTo>
                <a:cubicBezTo>
                  <a:pt x="213" y="146"/>
                  <a:pt x="211" y="147"/>
                  <a:pt x="209" y="148"/>
                </a:cubicBezTo>
                <a:cubicBezTo>
                  <a:pt x="208" y="149"/>
                  <a:pt x="206" y="150"/>
                  <a:pt x="206" y="150"/>
                </a:cubicBezTo>
                <a:close/>
                <a:moveTo>
                  <a:pt x="202" y="515"/>
                </a:moveTo>
                <a:cubicBezTo>
                  <a:pt x="201" y="515"/>
                  <a:pt x="201" y="515"/>
                  <a:pt x="201" y="515"/>
                </a:cubicBezTo>
                <a:cubicBezTo>
                  <a:pt x="201" y="513"/>
                  <a:pt x="202" y="511"/>
                  <a:pt x="203" y="509"/>
                </a:cubicBezTo>
                <a:cubicBezTo>
                  <a:pt x="204" y="508"/>
                  <a:pt x="204" y="508"/>
                  <a:pt x="205" y="508"/>
                </a:cubicBezTo>
                <a:cubicBezTo>
                  <a:pt x="205" y="508"/>
                  <a:pt x="205" y="508"/>
                  <a:pt x="205" y="508"/>
                </a:cubicBezTo>
                <a:cubicBezTo>
                  <a:pt x="205" y="509"/>
                  <a:pt x="205" y="510"/>
                  <a:pt x="205" y="511"/>
                </a:cubicBezTo>
                <a:cubicBezTo>
                  <a:pt x="204" y="512"/>
                  <a:pt x="204" y="513"/>
                  <a:pt x="203" y="514"/>
                </a:cubicBezTo>
                <a:cubicBezTo>
                  <a:pt x="203" y="515"/>
                  <a:pt x="202" y="515"/>
                  <a:pt x="202" y="515"/>
                </a:cubicBezTo>
                <a:close/>
                <a:moveTo>
                  <a:pt x="198" y="525"/>
                </a:moveTo>
                <a:cubicBezTo>
                  <a:pt x="198" y="525"/>
                  <a:pt x="198" y="525"/>
                  <a:pt x="198" y="525"/>
                </a:cubicBezTo>
                <a:cubicBezTo>
                  <a:pt x="198" y="524"/>
                  <a:pt x="198" y="523"/>
                  <a:pt x="198" y="522"/>
                </a:cubicBezTo>
                <a:cubicBezTo>
                  <a:pt x="198" y="521"/>
                  <a:pt x="199" y="520"/>
                  <a:pt x="199" y="519"/>
                </a:cubicBezTo>
                <a:cubicBezTo>
                  <a:pt x="200" y="518"/>
                  <a:pt x="201" y="518"/>
                  <a:pt x="201" y="518"/>
                </a:cubicBezTo>
                <a:cubicBezTo>
                  <a:pt x="201" y="518"/>
                  <a:pt x="201" y="518"/>
                  <a:pt x="201" y="519"/>
                </a:cubicBezTo>
                <a:cubicBezTo>
                  <a:pt x="201" y="519"/>
                  <a:pt x="201" y="520"/>
                  <a:pt x="201" y="521"/>
                </a:cubicBezTo>
                <a:cubicBezTo>
                  <a:pt x="201" y="522"/>
                  <a:pt x="200" y="523"/>
                  <a:pt x="199" y="524"/>
                </a:cubicBezTo>
                <a:cubicBezTo>
                  <a:pt x="199" y="525"/>
                  <a:pt x="198" y="525"/>
                  <a:pt x="198" y="525"/>
                </a:cubicBezTo>
                <a:close/>
                <a:moveTo>
                  <a:pt x="263" y="492"/>
                </a:moveTo>
                <a:cubicBezTo>
                  <a:pt x="262" y="492"/>
                  <a:pt x="262" y="492"/>
                  <a:pt x="262" y="492"/>
                </a:cubicBezTo>
                <a:cubicBezTo>
                  <a:pt x="262" y="491"/>
                  <a:pt x="262" y="490"/>
                  <a:pt x="263" y="489"/>
                </a:cubicBezTo>
                <a:cubicBezTo>
                  <a:pt x="265" y="487"/>
                  <a:pt x="265" y="485"/>
                  <a:pt x="266" y="485"/>
                </a:cubicBezTo>
                <a:cubicBezTo>
                  <a:pt x="266" y="485"/>
                  <a:pt x="266" y="486"/>
                  <a:pt x="266" y="488"/>
                </a:cubicBezTo>
                <a:cubicBezTo>
                  <a:pt x="266" y="490"/>
                  <a:pt x="265" y="491"/>
                  <a:pt x="263" y="492"/>
                </a:cubicBezTo>
                <a:close/>
                <a:moveTo>
                  <a:pt x="220" y="634"/>
                </a:moveTo>
                <a:cubicBezTo>
                  <a:pt x="219" y="634"/>
                  <a:pt x="219" y="633"/>
                  <a:pt x="219" y="631"/>
                </a:cubicBezTo>
                <a:cubicBezTo>
                  <a:pt x="219" y="629"/>
                  <a:pt x="219" y="628"/>
                  <a:pt x="219" y="627"/>
                </a:cubicBezTo>
                <a:cubicBezTo>
                  <a:pt x="219" y="627"/>
                  <a:pt x="220" y="626"/>
                  <a:pt x="221" y="625"/>
                </a:cubicBezTo>
                <a:cubicBezTo>
                  <a:pt x="222" y="625"/>
                  <a:pt x="222" y="626"/>
                  <a:pt x="222" y="628"/>
                </a:cubicBezTo>
                <a:cubicBezTo>
                  <a:pt x="222" y="630"/>
                  <a:pt x="222" y="632"/>
                  <a:pt x="221" y="634"/>
                </a:cubicBezTo>
                <a:lnTo>
                  <a:pt x="220" y="634"/>
                </a:lnTo>
                <a:close/>
                <a:moveTo>
                  <a:pt x="218" y="642"/>
                </a:moveTo>
                <a:cubicBezTo>
                  <a:pt x="217" y="642"/>
                  <a:pt x="217" y="641"/>
                  <a:pt x="216" y="640"/>
                </a:cubicBezTo>
                <a:cubicBezTo>
                  <a:pt x="216" y="640"/>
                  <a:pt x="216" y="639"/>
                  <a:pt x="216" y="639"/>
                </a:cubicBezTo>
                <a:cubicBezTo>
                  <a:pt x="216" y="638"/>
                  <a:pt x="216" y="638"/>
                  <a:pt x="216" y="638"/>
                </a:cubicBezTo>
                <a:lnTo>
                  <a:pt x="217" y="637"/>
                </a:lnTo>
                <a:cubicBezTo>
                  <a:pt x="218" y="637"/>
                  <a:pt x="218" y="638"/>
                  <a:pt x="218" y="639"/>
                </a:cubicBezTo>
                <a:cubicBezTo>
                  <a:pt x="218" y="641"/>
                  <a:pt x="218" y="642"/>
                  <a:pt x="218" y="642"/>
                </a:cubicBezTo>
                <a:close/>
                <a:moveTo>
                  <a:pt x="69" y="928"/>
                </a:moveTo>
                <a:cubicBezTo>
                  <a:pt x="68" y="928"/>
                  <a:pt x="68" y="928"/>
                  <a:pt x="68" y="927"/>
                </a:cubicBezTo>
                <a:cubicBezTo>
                  <a:pt x="68" y="926"/>
                  <a:pt x="69" y="925"/>
                  <a:pt x="69" y="924"/>
                </a:cubicBezTo>
                <a:cubicBezTo>
                  <a:pt x="69" y="922"/>
                  <a:pt x="69" y="921"/>
                  <a:pt x="70" y="920"/>
                </a:cubicBezTo>
                <a:lnTo>
                  <a:pt x="71" y="918"/>
                </a:lnTo>
                <a:cubicBezTo>
                  <a:pt x="71" y="918"/>
                  <a:pt x="72" y="918"/>
                  <a:pt x="72" y="919"/>
                </a:cubicBezTo>
                <a:cubicBezTo>
                  <a:pt x="72" y="921"/>
                  <a:pt x="71" y="924"/>
                  <a:pt x="70" y="926"/>
                </a:cubicBezTo>
                <a:cubicBezTo>
                  <a:pt x="69" y="928"/>
                  <a:pt x="69" y="928"/>
                  <a:pt x="69" y="928"/>
                </a:cubicBezTo>
                <a:close/>
                <a:moveTo>
                  <a:pt x="283" y="369"/>
                </a:moveTo>
                <a:cubicBezTo>
                  <a:pt x="282" y="369"/>
                  <a:pt x="282" y="368"/>
                  <a:pt x="282" y="368"/>
                </a:cubicBezTo>
                <a:cubicBezTo>
                  <a:pt x="282" y="366"/>
                  <a:pt x="283" y="362"/>
                  <a:pt x="285" y="357"/>
                </a:cubicBezTo>
                <a:cubicBezTo>
                  <a:pt x="286" y="355"/>
                  <a:pt x="287" y="352"/>
                  <a:pt x="288" y="350"/>
                </a:cubicBezTo>
                <a:lnTo>
                  <a:pt x="290" y="346"/>
                </a:lnTo>
                <a:cubicBezTo>
                  <a:pt x="291" y="346"/>
                  <a:pt x="291" y="347"/>
                  <a:pt x="291" y="348"/>
                </a:cubicBezTo>
                <a:cubicBezTo>
                  <a:pt x="291" y="348"/>
                  <a:pt x="289" y="353"/>
                  <a:pt x="286" y="362"/>
                </a:cubicBezTo>
                <a:cubicBezTo>
                  <a:pt x="285" y="366"/>
                  <a:pt x="284" y="367"/>
                  <a:pt x="284" y="368"/>
                </a:cubicBezTo>
                <a:cubicBezTo>
                  <a:pt x="284" y="368"/>
                  <a:pt x="283" y="369"/>
                  <a:pt x="283" y="369"/>
                </a:cubicBezTo>
                <a:close/>
                <a:moveTo>
                  <a:pt x="84" y="878"/>
                </a:moveTo>
                <a:cubicBezTo>
                  <a:pt x="83" y="878"/>
                  <a:pt x="82" y="877"/>
                  <a:pt x="82" y="876"/>
                </a:cubicBezTo>
                <a:lnTo>
                  <a:pt x="82" y="875"/>
                </a:lnTo>
                <a:cubicBezTo>
                  <a:pt x="83" y="872"/>
                  <a:pt x="84" y="870"/>
                  <a:pt x="85" y="867"/>
                </a:cubicBezTo>
                <a:cubicBezTo>
                  <a:pt x="85" y="864"/>
                  <a:pt x="87" y="862"/>
                  <a:pt x="89" y="862"/>
                </a:cubicBezTo>
                <a:cubicBezTo>
                  <a:pt x="90" y="862"/>
                  <a:pt x="91" y="863"/>
                  <a:pt x="91" y="865"/>
                </a:cubicBezTo>
                <a:cubicBezTo>
                  <a:pt x="91" y="867"/>
                  <a:pt x="91" y="867"/>
                  <a:pt x="90" y="867"/>
                </a:cubicBezTo>
                <a:lnTo>
                  <a:pt x="88" y="867"/>
                </a:lnTo>
                <a:cubicBezTo>
                  <a:pt x="86" y="867"/>
                  <a:pt x="86" y="868"/>
                  <a:pt x="86" y="868"/>
                </a:cubicBezTo>
                <a:cubicBezTo>
                  <a:pt x="86" y="869"/>
                  <a:pt x="86" y="869"/>
                  <a:pt x="87" y="870"/>
                </a:cubicBezTo>
                <a:cubicBezTo>
                  <a:pt x="89" y="871"/>
                  <a:pt x="89" y="871"/>
                  <a:pt x="89" y="872"/>
                </a:cubicBezTo>
                <a:cubicBezTo>
                  <a:pt x="89" y="873"/>
                  <a:pt x="89" y="873"/>
                  <a:pt x="88" y="874"/>
                </a:cubicBezTo>
                <a:cubicBezTo>
                  <a:pt x="87" y="874"/>
                  <a:pt x="86" y="875"/>
                  <a:pt x="86" y="876"/>
                </a:cubicBezTo>
                <a:lnTo>
                  <a:pt x="87" y="877"/>
                </a:lnTo>
                <a:cubicBezTo>
                  <a:pt x="87" y="878"/>
                  <a:pt x="86" y="878"/>
                  <a:pt x="84" y="878"/>
                </a:cubicBezTo>
                <a:close/>
                <a:moveTo>
                  <a:pt x="276" y="457"/>
                </a:moveTo>
                <a:cubicBezTo>
                  <a:pt x="276" y="457"/>
                  <a:pt x="276" y="456"/>
                  <a:pt x="276" y="456"/>
                </a:cubicBezTo>
                <a:cubicBezTo>
                  <a:pt x="276" y="455"/>
                  <a:pt x="276" y="454"/>
                  <a:pt x="278" y="452"/>
                </a:cubicBezTo>
                <a:cubicBezTo>
                  <a:pt x="278" y="450"/>
                  <a:pt x="279" y="449"/>
                  <a:pt x="280" y="449"/>
                </a:cubicBezTo>
                <a:lnTo>
                  <a:pt x="280" y="450"/>
                </a:lnTo>
                <a:cubicBezTo>
                  <a:pt x="280" y="450"/>
                  <a:pt x="280" y="451"/>
                  <a:pt x="280" y="452"/>
                </a:cubicBezTo>
                <a:cubicBezTo>
                  <a:pt x="279" y="453"/>
                  <a:pt x="279" y="454"/>
                  <a:pt x="278" y="455"/>
                </a:cubicBezTo>
                <a:cubicBezTo>
                  <a:pt x="277" y="456"/>
                  <a:pt x="277" y="457"/>
                  <a:pt x="276" y="457"/>
                </a:cubicBezTo>
                <a:close/>
                <a:moveTo>
                  <a:pt x="310" y="350"/>
                </a:moveTo>
                <a:cubicBezTo>
                  <a:pt x="310" y="350"/>
                  <a:pt x="310" y="350"/>
                  <a:pt x="310" y="348"/>
                </a:cubicBezTo>
                <a:cubicBezTo>
                  <a:pt x="310" y="347"/>
                  <a:pt x="310" y="346"/>
                  <a:pt x="311" y="345"/>
                </a:cubicBezTo>
                <a:lnTo>
                  <a:pt x="312" y="345"/>
                </a:lnTo>
                <a:cubicBezTo>
                  <a:pt x="312" y="345"/>
                  <a:pt x="312" y="345"/>
                  <a:pt x="312" y="346"/>
                </a:cubicBezTo>
                <a:cubicBezTo>
                  <a:pt x="312" y="346"/>
                  <a:pt x="312" y="347"/>
                  <a:pt x="311" y="348"/>
                </a:cubicBezTo>
                <a:cubicBezTo>
                  <a:pt x="311" y="350"/>
                  <a:pt x="310" y="350"/>
                  <a:pt x="310" y="350"/>
                </a:cubicBezTo>
                <a:close/>
                <a:moveTo>
                  <a:pt x="291" y="384"/>
                </a:moveTo>
                <a:cubicBezTo>
                  <a:pt x="290" y="384"/>
                  <a:pt x="290" y="384"/>
                  <a:pt x="290" y="383"/>
                </a:cubicBezTo>
                <a:cubicBezTo>
                  <a:pt x="290" y="381"/>
                  <a:pt x="293" y="372"/>
                  <a:pt x="300" y="357"/>
                </a:cubicBezTo>
                <a:cubicBezTo>
                  <a:pt x="306" y="343"/>
                  <a:pt x="310" y="335"/>
                  <a:pt x="312" y="335"/>
                </a:cubicBezTo>
                <a:cubicBezTo>
                  <a:pt x="313" y="335"/>
                  <a:pt x="315" y="334"/>
                  <a:pt x="317" y="332"/>
                </a:cubicBezTo>
                <a:lnTo>
                  <a:pt x="318" y="331"/>
                </a:lnTo>
                <a:lnTo>
                  <a:pt x="318" y="331"/>
                </a:lnTo>
                <a:cubicBezTo>
                  <a:pt x="318" y="332"/>
                  <a:pt x="317" y="333"/>
                  <a:pt x="316" y="336"/>
                </a:cubicBezTo>
                <a:cubicBezTo>
                  <a:pt x="315" y="339"/>
                  <a:pt x="315" y="340"/>
                  <a:pt x="314" y="340"/>
                </a:cubicBezTo>
                <a:cubicBezTo>
                  <a:pt x="313" y="340"/>
                  <a:pt x="313" y="340"/>
                  <a:pt x="313" y="339"/>
                </a:cubicBezTo>
                <a:cubicBezTo>
                  <a:pt x="313" y="339"/>
                  <a:pt x="313" y="339"/>
                  <a:pt x="313" y="339"/>
                </a:cubicBezTo>
                <a:cubicBezTo>
                  <a:pt x="312" y="339"/>
                  <a:pt x="310" y="342"/>
                  <a:pt x="307" y="348"/>
                </a:cubicBezTo>
                <a:cubicBezTo>
                  <a:pt x="303" y="356"/>
                  <a:pt x="302" y="361"/>
                  <a:pt x="302" y="363"/>
                </a:cubicBezTo>
                <a:cubicBezTo>
                  <a:pt x="302" y="364"/>
                  <a:pt x="302" y="364"/>
                  <a:pt x="302" y="364"/>
                </a:cubicBezTo>
                <a:lnTo>
                  <a:pt x="305" y="364"/>
                </a:lnTo>
                <a:cubicBezTo>
                  <a:pt x="305" y="364"/>
                  <a:pt x="306" y="364"/>
                  <a:pt x="306" y="365"/>
                </a:cubicBezTo>
                <a:cubicBezTo>
                  <a:pt x="306" y="365"/>
                  <a:pt x="305" y="366"/>
                  <a:pt x="304" y="366"/>
                </a:cubicBezTo>
                <a:lnTo>
                  <a:pt x="302" y="366"/>
                </a:lnTo>
                <a:cubicBezTo>
                  <a:pt x="301" y="366"/>
                  <a:pt x="300" y="367"/>
                  <a:pt x="299" y="369"/>
                </a:cubicBezTo>
                <a:cubicBezTo>
                  <a:pt x="297" y="370"/>
                  <a:pt x="296" y="372"/>
                  <a:pt x="295" y="375"/>
                </a:cubicBezTo>
                <a:cubicBezTo>
                  <a:pt x="294" y="377"/>
                  <a:pt x="293" y="379"/>
                  <a:pt x="293" y="380"/>
                </a:cubicBezTo>
                <a:cubicBezTo>
                  <a:pt x="293" y="382"/>
                  <a:pt x="292" y="383"/>
                  <a:pt x="292" y="383"/>
                </a:cubicBezTo>
                <a:cubicBezTo>
                  <a:pt x="291" y="384"/>
                  <a:pt x="291" y="384"/>
                  <a:pt x="291" y="384"/>
                </a:cubicBezTo>
                <a:close/>
                <a:moveTo>
                  <a:pt x="296" y="385"/>
                </a:moveTo>
                <a:cubicBezTo>
                  <a:pt x="296" y="385"/>
                  <a:pt x="296" y="385"/>
                  <a:pt x="296" y="384"/>
                </a:cubicBezTo>
                <a:cubicBezTo>
                  <a:pt x="296" y="383"/>
                  <a:pt x="296" y="380"/>
                  <a:pt x="298" y="375"/>
                </a:cubicBezTo>
                <a:cubicBezTo>
                  <a:pt x="300" y="371"/>
                  <a:pt x="301" y="369"/>
                  <a:pt x="302" y="369"/>
                </a:cubicBezTo>
                <a:cubicBezTo>
                  <a:pt x="303" y="369"/>
                  <a:pt x="303" y="369"/>
                  <a:pt x="303" y="369"/>
                </a:cubicBezTo>
                <a:cubicBezTo>
                  <a:pt x="303" y="371"/>
                  <a:pt x="302" y="373"/>
                  <a:pt x="300" y="376"/>
                </a:cubicBezTo>
                <a:cubicBezTo>
                  <a:pt x="298" y="382"/>
                  <a:pt x="297" y="385"/>
                  <a:pt x="296" y="385"/>
                </a:cubicBezTo>
                <a:close/>
                <a:moveTo>
                  <a:pt x="72" y="914"/>
                </a:moveTo>
                <a:lnTo>
                  <a:pt x="72" y="912"/>
                </a:lnTo>
                <a:cubicBezTo>
                  <a:pt x="72" y="911"/>
                  <a:pt x="72" y="909"/>
                  <a:pt x="73" y="906"/>
                </a:cubicBezTo>
                <a:cubicBezTo>
                  <a:pt x="74" y="904"/>
                  <a:pt x="74" y="902"/>
                  <a:pt x="75" y="899"/>
                </a:cubicBezTo>
                <a:cubicBezTo>
                  <a:pt x="76" y="897"/>
                  <a:pt x="77" y="896"/>
                  <a:pt x="78" y="896"/>
                </a:cubicBezTo>
                <a:cubicBezTo>
                  <a:pt x="79" y="896"/>
                  <a:pt x="80" y="897"/>
                  <a:pt x="80" y="898"/>
                </a:cubicBezTo>
                <a:cubicBezTo>
                  <a:pt x="80" y="899"/>
                  <a:pt x="79" y="901"/>
                  <a:pt x="77" y="904"/>
                </a:cubicBezTo>
                <a:cubicBezTo>
                  <a:pt x="75" y="906"/>
                  <a:pt x="74" y="909"/>
                  <a:pt x="74" y="911"/>
                </a:cubicBezTo>
                <a:cubicBezTo>
                  <a:pt x="73" y="913"/>
                  <a:pt x="73" y="914"/>
                  <a:pt x="72" y="914"/>
                </a:cubicBezTo>
                <a:close/>
                <a:moveTo>
                  <a:pt x="95" y="848"/>
                </a:moveTo>
                <a:cubicBezTo>
                  <a:pt x="95" y="848"/>
                  <a:pt x="95" y="848"/>
                  <a:pt x="95" y="847"/>
                </a:cubicBezTo>
                <a:cubicBezTo>
                  <a:pt x="95" y="845"/>
                  <a:pt x="96" y="842"/>
                  <a:pt x="97" y="837"/>
                </a:cubicBezTo>
                <a:cubicBezTo>
                  <a:pt x="99" y="832"/>
                  <a:pt x="100" y="828"/>
                  <a:pt x="100" y="823"/>
                </a:cubicBezTo>
                <a:lnTo>
                  <a:pt x="100" y="817"/>
                </a:lnTo>
                <a:cubicBezTo>
                  <a:pt x="100" y="815"/>
                  <a:pt x="100" y="814"/>
                  <a:pt x="100" y="814"/>
                </a:cubicBezTo>
                <a:cubicBezTo>
                  <a:pt x="100" y="814"/>
                  <a:pt x="101" y="814"/>
                  <a:pt x="102" y="815"/>
                </a:cubicBezTo>
                <a:cubicBezTo>
                  <a:pt x="103" y="816"/>
                  <a:pt x="103" y="816"/>
                  <a:pt x="104" y="816"/>
                </a:cubicBezTo>
                <a:lnTo>
                  <a:pt x="106" y="816"/>
                </a:lnTo>
                <a:lnTo>
                  <a:pt x="105" y="818"/>
                </a:lnTo>
                <a:cubicBezTo>
                  <a:pt x="105" y="820"/>
                  <a:pt x="104" y="821"/>
                  <a:pt x="103" y="821"/>
                </a:cubicBezTo>
                <a:cubicBezTo>
                  <a:pt x="102" y="821"/>
                  <a:pt x="101" y="822"/>
                  <a:pt x="101" y="823"/>
                </a:cubicBezTo>
                <a:lnTo>
                  <a:pt x="102" y="825"/>
                </a:lnTo>
                <a:cubicBezTo>
                  <a:pt x="102" y="826"/>
                  <a:pt x="101" y="828"/>
                  <a:pt x="101" y="830"/>
                </a:cubicBezTo>
                <a:cubicBezTo>
                  <a:pt x="98" y="842"/>
                  <a:pt x="96" y="848"/>
                  <a:pt x="95" y="848"/>
                </a:cubicBezTo>
                <a:close/>
                <a:moveTo>
                  <a:pt x="92" y="853"/>
                </a:moveTo>
                <a:cubicBezTo>
                  <a:pt x="90" y="853"/>
                  <a:pt x="90" y="853"/>
                  <a:pt x="90" y="853"/>
                </a:cubicBezTo>
                <a:lnTo>
                  <a:pt x="93" y="852"/>
                </a:lnTo>
                <a:cubicBezTo>
                  <a:pt x="94" y="852"/>
                  <a:pt x="94" y="852"/>
                  <a:pt x="94" y="853"/>
                </a:cubicBezTo>
                <a:cubicBezTo>
                  <a:pt x="94" y="853"/>
                  <a:pt x="94" y="853"/>
                  <a:pt x="92" y="853"/>
                </a:cubicBezTo>
                <a:close/>
                <a:moveTo>
                  <a:pt x="322" y="343"/>
                </a:moveTo>
                <a:cubicBezTo>
                  <a:pt x="322" y="343"/>
                  <a:pt x="322" y="342"/>
                  <a:pt x="322" y="340"/>
                </a:cubicBezTo>
                <a:cubicBezTo>
                  <a:pt x="322" y="337"/>
                  <a:pt x="322" y="335"/>
                  <a:pt x="323" y="335"/>
                </a:cubicBezTo>
                <a:cubicBezTo>
                  <a:pt x="324" y="335"/>
                  <a:pt x="324" y="335"/>
                  <a:pt x="325" y="336"/>
                </a:cubicBezTo>
                <a:cubicBezTo>
                  <a:pt x="326" y="337"/>
                  <a:pt x="327" y="338"/>
                  <a:pt x="328" y="338"/>
                </a:cubicBezTo>
                <a:cubicBezTo>
                  <a:pt x="328" y="338"/>
                  <a:pt x="329" y="339"/>
                  <a:pt x="329" y="339"/>
                </a:cubicBezTo>
                <a:cubicBezTo>
                  <a:pt x="329" y="340"/>
                  <a:pt x="328" y="340"/>
                  <a:pt x="328" y="340"/>
                </a:cubicBezTo>
                <a:lnTo>
                  <a:pt x="326" y="339"/>
                </a:lnTo>
                <a:cubicBezTo>
                  <a:pt x="325" y="339"/>
                  <a:pt x="324" y="340"/>
                  <a:pt x="323" y="342"/>
                </a:cubicBezTo>
                <a:lnTo>
                  <a:pt x="322" y="343"/>
                </a:lnTo>
                <a:close/>
                <a:moveTo>
                  <a:pt x="225" y="134"/>
                </a:moveTo>
                <a:cubicBezTo>
                  <a:pt x="225" y="134"/>
                  <a:pt x="225" y="134"/>
                  <a:pt x="225" y="134"/>
                </a:cubicBezTo>
                <a:cubicBezTo>
                  <a:pt x="225" y="134"/>
                  <a:pt x="225" y="133"/>
                  <a:pt x="226" y="133"/>
                </a:cubicBezTo>
                <a:cubicBezTo>
                  <a:pt x="228" y="132"/>
                  <a:pt x="228" y="131"/>
                  <a:pt x="228" y="131"/>
                </a:cubicBezTo>
                <a:cubicBezTo>
                  <a:pt x="228" y="131"/>
                  <a:pt x="228" y="131"/>
                  <a:pt x="228" y="131"/>
                </a:cubicBezTo>
                <a:cubicBezTo>
                  <a:pt x="228" y="129"/>
                  <a:pt x="231" y="126"/>
                  <a:pt x="237" y="122"/>
                </a:cubicBezTo>
                <a:cubicBezTo>
                  <a:pt x="244" y="116"/>
                  <a:pt x="248" y="112"/>
                  <a:pt x="248" y="111"/>
                </a:cubicBezTo>
                <a:cubicBezTo>
                  <a:pt x="248" y="110"/>
                  <a:pt x="249" y="110"/>
                  <a:pt x="251" y="110"/>
                </a:cubicBezTo>
                <a:cubicBezTo>
                  <a:pt x="253" y="110"/>
                  <a:pt x="254" y="109"/>
                  <a:pt x="255" y="107"/>
                </a:cubicBezTo>
                <a:cubicBezTo>
                  <a:pt x="256" y="105"/>
                  <a:pt x="258" y="104"/>
                  <a:pt x="259" y="104"/>
                </a:cubicBezTo>
                <a:cubicBezTo>
                  <a:pt x="260" y="104"/>
                  <a:pt x="260" y="104"/>
                  <a:pt x="260" y="103"/>
                </a:cubicBezTo>
                <a:lnTo>
                  <a:pt x="260" y="102"/>
                </a:lnTo>
                <a:cubicBezTo>
                  <a:pt x="260" y="100"/>
                  <a:pt x="262" y="99"/>
                  <a:pt x="265" y="96"/>
                </a:cubicBezTo>
                <a:cubicBezTo>
                  <a:pt x="269" y="94"/>
                  <a:pt x="271" y="93"/>
                  <a:pt x="271" y="91"/>
                </a:cubicBezTo>
                <a:cubicBezTo>
                  <a:pt x="271" y="90"/>
                  <a:pt x="272" y="90"/>
                  <a:pt x="274" y="90"/>
                </a:cubicBezTo>
                <a:cubicBezTo>
                  <a:pt x="274" y="90"/>
                  <a:pt x="275" y="89"/>
                  <a:pt x="276" y="89"/>
                </a:cubicBezTo>
                <a:cubicBezTo>
                  <a:pt x="276" y="88"/>
                  <a:pt x="276" y="88"/>
                  <a:pt x="276" y="87"/>
                </a:cubicBezTo>
                <a:cubicBezTo>
                  <a:pt x="276" y="86"/>
                  <a:pt x="277" y="85"/>
                  <a:pt x="279" y="85"/>
                </a:cubicBezTo>
                <a:cubicBezTo>
                  <a:pt x="281" y="85"/>
                  <a:pt x="282" y="86"/>
                  <a:pt x="283" y="87"/>
                </a:cubicBezTo>
                <a:cubicBezTo>
                  <a:pt x="283" y="88"/>
                  <a:pt x="280" y="92"/>
                  <a:pt x="273" y="98"/>
                </a:cubicBezTo>
                <a:cubicBezTo>
                  <a:pt x="265" y="103"/>
                  <a:pt x="261" y="106"/>
                  <a:pt x="260" y="107"/>
                </a:cubicBezTo>
                <a:cubicBezTo>
                  <a:pt x="259" y="107"/>
                  <a:pt x="258" y="108"/>
                  <a:pt x="257" y="109"/>
                </a:cubicBezTo>
                <a:cubicBezTo>
                  <a:pt x="255" y="111"/>
                  <a:pt x="254" y="112"/>
                  <a:pt x="252" y="114"/>
                </a:cubicBezTo>
                <a:cubicBezTo>
                  <a:pt x="250" y="115"/>
                  <a:pt x="248" y="117"/>
                  <a:pt x="246" y="118"/>
                </a:cubicBezTo>
                <a:cubicBezTo>
                  <a:pt x="245" y="120"/>
                  <a:pt x="244" y="120"/>
                  <a:pt x="243" y="120"/>
                </a:cubicBezTo>
                <a:cubicBezTo>
                  <a:pt x="242" y="120"/>
                  <a:pt x="237" y="125"/>
                  <a:pt x="228" y="133"/>
                </a:cubicBezTo>
                <a:cubicBezTo>
                  <a:pt x="227" y="134"/>
                  <a:pt x="226" y="134"/>
                  <a:pt x="225" y="134"/>
                </a:cubicBezTo>
                <a:close/>
                <a:moveTo>
                  <a:pt x="290" y="383"/>
                </a:moveTo>
                <a:close/>
                <a:moveTo>
                  <a:pt x="92" y="860"/>
                </a:moveTo>
                <a:cubicBezTo>
                  <a:pt x="90" y="860"/>
                  <a:pt x="89" y="859"/>
                  <a:pt x="88" y="858"/>
                </a:cubicBezTo>
                <a:lnTo>
                  <a:pt x="88" y="856"/>
                </a:lnTo>
                <a:cubicBezTo>
                  <a:pt x="88" y="856"/>
                  <a:pt x="88" y="856"/>
                  <a:pt x="89" y="856"/>
                </a:cubicBezTo>
                <a:cubicBezTo>
                  <a:pt x="90" y="856"/>
                  <a:pt x="91" y="856"/>
                  <a:pt x="92" y="857"/>
                </a:cubicBezTo>
                <a:cubicBezTo>
                  <a:pt x="92" y="858"/>
                  <a:pt x="92" y="859"/>
                  <a:pt x="92" y="859"/>
                </a:cubicBezTo>
                <a:cubicBezTo>
                  <a:pt x="92" y="860"/>
                  <a:pt x="92" y="860"/>
                  <a:pt x="92" y="860"/>
                </a:cubicBezTo>
                <a:close/>
                <a:moveTo>
                  <a:pt x="78" y="894"/>
                </a:moveTo>
                <a:cubicBezTo>
                  <a:pt x="77" y="894"/>
                  <a:pt x="77" y="894"/>
                  <a:pt x="77" y="893"/>
                </a:cubicBezTo>
                <a:cubicBezTo>
                  <a:pt x="77" y="892"/>
                  <a:pt x="77" y="890"/>
                  <a:pt x="78" y="887"/>
                </a:cubicBezTo>
                <a:cubicBezTo>
                  <a:pt x="80" y="882"/>
                  <a:pt x="81" y="880"/>
                  <a:pt x="84" y="880"/>
                </a:cubicBezTo>
                <a:cubicBezTo>
                  <a:pt x="85" y="880"/>
                  <a:pt x="85" y="881"/>
                  <a:pt x="85" y="883"/>
                </a:cubicBezTo>
                <a:cubicBezTo>
                  <a:pt x="85" y="885"/>
                  <a:pt x="85" y="886"/>
                  <a:pt x="84" y="886"/>
                </a:cubicBezTo>
                <a:cubicBezTo>
                  <a:pt x="82" y="886"/>
                  <a:pt x="81" y="888"/>
                  <a:pt x="81" y="890"/>
                </a:cubicBezTo>
                <a:cubicBezTo>
                  <a:pt x="80" y="893"/>
                  <a:pt x="79" y="894"/>
                  <a:pt x="78" y="894"/>
                </a:cubicBezTo>
                <a:close/>
                <a:moveTo>
                  <a:pt x="273" y="393"/>
                </a:moveTo>
                <a:cubicBezTo>
                  <a:pt x="273" y="393"/>
                  <a:pt x="273" y="393"/>
                  <a:pt x="273" y="391"/>
                </a:cubicBezTo>
                <a:cubicBezTo>
                  <a:pt x="273" y="390"/>
                  <a:pt x="273" y="389"/>
                  <a:pt x="275" y="388"/>
                </a:cubicBezTo>
                <a:lnTo>
                  <a:pt x="275" y="388"/>
                </a:lnTo>
                <a:cubicBezTo>
                  <a:pt x="275" y="388"/>
                  <a:pt x="275" y="388"/>
                  <a:pt x="275" y="389"/>
                </a:cubicBezTo>
                <a:lnTo>
                  <a:pt x="275" y="390"/>
                </a:lnTo>
                <a:cubicBezTo>
                  <a:pt x="275" y="392"/>
                  <a:pt x="274" y="393"/>
                  <a:pt x="273" y="393"/>
                </a:cubicBezTo>
                <a:close/>
                <a:moveTo>
                  <a:pt x="237" y="534"/>
                </a:moveTo>
                <a:lnTo>
                  <a:pt x="237" y="534"/>
                </a:lnTo>
                <a:cubicBezTo>
                  <a:pt x="237" y="533"/>
                  <a:pt x="237" y="532"/>
                  <a:pt x="237" y="531"/>
                </a:cubicBezTo>
                <a:cubicBezTo>
                  <a:pt x="238" y="530"/>
                  <a:pt x="238" y="529"/>
                  <a:pt x="239" y="527"/>
                </a:cubicBezTo>
                <a:lnTo>
                  <a:pt x="241" y="526"/>
                </a:lnTo>
                <a:lnTo>
                  <a:pt x="241" y="526"/>
                </a:lnTo>
                <a:cubicBezTo>
                  <a:pt x="241" y="527"/>
                  <a:pt x="241" y="528"/>
                  <a:pt x="240" y="529"/>
                </a:cubicBezTo>
                <a:cubicBezTo>
                  <a:pt x="239" y="531"/>
                  <a:pt x="239" y="532"/>
                  <a:pt x="238" y="533"/>
                </a:cubicBezTo>
                <a:cubicBezTo>
                  <a:pt x="238" y="534"/>
                  <a:pt x="237" y="534"/>
                  <a:pt x="237" y="534"/>
                </a:cubicBezTo>
                <a:close/>
                <a:moveTo>
                  <a:pt x="243" y="558"/>
                </a:moveTo>
                <a:cubicBezTo>
                  <a:pt x="241" y="558"/>
                  <a:pt x="241" y="558"/>
                  <a:pt x="241" y="558"/>
                </a:cubicBezTo>
                <a:cubicBezTo>
                  <a:pt x="241" y="557"/>
                  <a:pt x="242" y="556"/>
                  <a:pt x="243" y="555"/>
                </a:cubicBezTo>
                <a:cubicBezTo>
                  <a:pt x="245" y="552"/>
                  <a:pt x="246" y="551"/>
                  <a:pt x="247" y="551"/>
                </a:cubicBezTo>
                <a:lnTo>
                  <a:pt x="247" y="552"/>
                </a:lnTo>
                <a:cubicBezTo>
                  <a:pt x="247" y="552"/>
                  <a:pt x="247" y="554"/>
                  <a:pt x="246" y="555"/>
                </a:cubicBezTo>
                <a:cubicBezTo>
                  <a:pt x="246" y="557"/>
                  <a:pt x="244" y="558"/>
                  <a:pt x="243" y="558"/>
                </a:cubicBezTo>
                <a:close/>
                <a:moveTo>
                  <a:pt x="252" y="419"/>
                </a:moveTo>
                <a:lnTo>
                  <a:pt x="251" y="419"/>
                </a:lnTo>
                <a:cubicBezTo>
                  <a:pt x="251" y="419"/>
                  <a:pt x="251" y="419"/>
                  <a:pt x="251" y="418"/>
                </a:cubicBezTo>
                <a:cubicBezTo>
                  <a:pt x="251" y="418"/>
                  <a:pt x="251" y="417"/>
                  <a:pt x="253" y="415"/>
                </a:cubicBezTo>
                <a:cubicBezTo>
                  <a:pt x="255" y="412"/>
                  <a:pt x="256" y="411"/>
                  <a:pt x="256" y="411"/>
                </a:cubicBezTo>
                <a:cubicBezTo>
                  <a:pt x="257" y="411"/>
                  <a:pt x="257" y="411"/>
                  <a:pt x="257" y="411"/>
                </a:cubicBezTo>
                <a:cubicBezTo>
                  <a:pt x="257" y="414"/>
                  <a:pt x="255" y="416"/>
                  <a:pt x="252" y="419"/>
                </a:cubicBezTo>
                <a:close/>
                <a:moveTo>
                  <a:pt x="221" y="480"/>
                </a:moveTo>
                <a:cubicBezTo>
                  <a:pt x="221" y="480"/>
                  <a:pt x="220" y="480"/>
                  <a:pt x="220" y="480"/>
                </a:cubicBezTo>
                <a:cubicBezTo>
                  <a:pt x="220" y="480"/>
                  <a:pt x="220" y="479"/>
                  <a:pt x="220" y="479"/>
                </a:cubicBezTo>
                <a:cubicBezTo>
                  <a:pt x="220" y="478"/>
                  <a:pt x="221" y="476"/>
                  <a:pt x="222" y="473"/>
                </a:cubicBezTo>
                <a:cubicBezTo>
                  <a:pt x="223" y="471"/>
                  <a:pt x="224" y="469"/>
                  <a:pt x="224" y="466"/>
                </a:cubicBezTo>
                <a:lnTo>
                  <a:pt x="224" y="464"/>
                </a:lnTo>
                <a:cubicBezTo>
                  <a:pt x="224" y="463"/>
                  <a:pt x="224" y="461"/>
                  <a:pt x="225" y="460"/>
                </a:cubicBezTo>
                <a:cubicBezTo>
                  <a:pt x="226" y="459"/>
                  <a:pt x="227" y="458"/>
                  <a:pt x="227" y="455"/>
                </a:cubicBezTo>
                <a:cubicBezTo>
                  <a:pt x="228" y="452"/>
                  <a:pt x="229" y="451"/>
                  <a:pt x="230" y="451"/>
                </a:cubicBezTo>
                <a:cubicBezTo>
                  <a:pt x="231" y="451"/>
                  <a:pt x="231" y="451"/>
                  <a:pt x="231" y="452"/>
                </a:cubicBezTo>
                <a:cubicBezTo>
                  <a:pt x="231" y="453"/>
                  <a:pt x="229" y="459"/>
                  <a:pt x="226" y="469"/>
                </a:cubicBezTo>
                <a:cubicBezTo>
                  <a:pt x="223" y="477"/>
                  <a:pt x="222" y="480"/>
                  <a:pt x="221" y="480"/>
                </a:cubicBezTo>
                <a:close/>
                <a:moveTo>
                  <a:pt x="231" y="448"/>
                </a:moveTo>
                <a:cubicBezTo>
                  <a:pt x="231" y="448"/>
                  <a:pt x="230" y="447"/>
                  <a:pt x="229" y="446"/>
                </a:cubicBezTo>
                <a:lnTo>
                  <a:pt x="229" y="445"/>
                </a:lnTo>
                <a:cubicBezTo>
                  <a:pt x="229" y="444"/>
                  <a:pt x="229" y="444"/>
                  <a:pt x="230" y="444"/>
                </a:cubicBezTo>
                <a:cubicBezTo>
                  <a:pt x="231" y="444"/>
                  <a:pt x="231" y="444"/>
                  <a:pt x="231" y="443"/>
                </a:cubicBezTo>
                <a:lnTo>
                  <a:pt x="231" y="441"/>
                </a:lnTo>
                <a:cubicBezTo>
                  <a:pt x="231" y="440"/>
                  <a:pt x="231" y="440"/>
                  <a:pt x="232" y="440"/>
                </a:cubicBezTo>
                <a:cubicBezTo>
                  <a:pt x="233" y="440"/>
                  <a:pt x="234" y="436"/>
                  <a:pt x="237" y="429"/>
                </a:cubicBezTo>
                <a:cubicBezTo>
                  <a:pt x="243" y="409"/>
                  <a:pt x="247" y="399"/>
                  <a:pt x="250" y="399"/>
                </a:cubicBezTo>
                <a:cubicBezTo>
                  <a:pt x="250" y="399"/>
                  <a:pt x="251" y="400"/>
                  <a:pt x="251" y="400"/>
                </a:cubicBezTo>
                <a:cubicBezTo>
                  <a:pt x="251" y="401"/>
                  <a:pt x="250" y="402"/>
                  <a:pt x="250" y="403"/>
                </a:cubicBezTo>
                <a:cubicBezTo>
                  <a:pt x="249" y="404"/>
                  <a:pt x="249" y="405"/>
                  <a:pt x="249" y="406"/>
                </a:cubicBezTo>
                <a:lnTo>
                  <a:pt x="239" y="432"/>
                </a:lnTo>
                <a:cubicBezTo>
                  <a:pt x="236" y="443"/>
                  <a:pt x="233" y="448"/>
                  <a:pt x="231" y="448"/>
                </a:cubicBezTo>
                <a:close/>
                <a:moveTo>
                  <a:pt x="236" y="526"/>
                </a:moveTo>
                <a:cubicBezTo>
                  <a:pt x="234" y="526"/>
                  <a:pt x="234" y="525"/>
                  <a:pt x="234" y="523"/>
                </a:cubicBezTo>
                <a:cubicBezTo>
                  <a:pt x="234" y="521"/>
                  <a:pt x="234" y="520"/>
                  <a:pt x="235" y="519"/>
                </a:cubicBezTo>
                <a:cubicBezTo>
                  <a:pt x="236" y="518"/>
                  <a:pt x="237" y="518"/>
                  <a:pt x="238" y="518"/>
                </a:cubicBezTo>
                <a:cubicBezTo>
                  <a:pt x="239" y="518"/>
                  <a:pt x="239" y="518"/>
                  <a:pt x="239" y="519"/>
                </a:cubicBezTo>
                <a:cubicBezTo>
                  <a:pt x="239" y="520"/>
                  <a:pt x="239" y="521"/>
                  <a:pt x="239" y="522"/>
                </a:cubicBezTo>
                <a:cubicBezTo>
                  <a:pt x="238" y="523"/>
                  <a:pt x="238" y="524"/>
                  <a:pt x="238" y="524"/>
                </a:cubicBezTo>
                <a:cubicBezTo>
                  <a:pt x="237" y="525"/>
                  <a:pt x="236" y="526"/>
                  <a:pt x="236" y="526"/>
                </a:cubicBezTo>
                <a:close/>
                <a:moveTo>
                  <a:pt x="244" y="505"/>
                </a:moveTo>
                <a:cubicBezTo>
                  <a:pt x="243" y="505"/>
                  <a:pt x="242" y="505"/>
                  <a:pt x="242" y="503"/>
                </a:cubicBezTo>
                <a:cubicBezTo>
                  <a:pt x="242" y="502"/>
                  <a:pt x="243" y="501"/>
                  <a:pt x="244" y="501"/>
                </a:cubicBezTo>
                <a:cubicBezTo>
                  <a:pt x="245" y="501"/>
                  <a:pt x="246" y="502"/>
                  <a:pt x="246" y="503"/>
                </a:cubicBezTo>
                <a:cubicBezTo>
                  <a:pt x="246" y="505"/>
                  <a:pt x="245" y="505"/>
                  <a:pt x="244" y="505"/>
                </a:cubicBezTo>
                <a:close/>
                <a:moveTo>
                  <a:pt x="233" y="544"/>
                </a:moveTo>
                <a:lnTo>
                  <a:pt x="233" y="544"/>
                </a:lnTo>
                <a:cubicBezTo>
                  <a:pt x="233" y="543"/>
                  <a:pt x="233" y="542"/>
                  <a:pt x="234" y="540"/>
                </a:cubicBezTo>
                <a:cubicBezTo>
                  <a:pt x="235" y="537"/>
                  <a:pt x="236" y="536"/>
                  <a:pt x="237" y="536"/>
                </a:cubicBezTo>
                <a:lnTo>
                  <a:pt x="237" y="536"/>
                </a:lnTo>
                <a:cubicBezTo>
                  <a:pt x="237" y="537"/>
                  <a:pt x="237" y="538"/>
                  <a:pt x="236" y="541"/>
                </a:cubicBezTo>
                <a:cubicBezTo>
                  <a:pt x="234" y="543"/>
                  <a:pt x="234" y="544"/>
                  <a:pt x="233" y="544"/>
                </a:cubicBezTo>
                <a:close/>
                <a:moveTo>
                  <a:pt x="70" y="442"/>
                </a:moveTo>
                <a:cubicBezTo>
                  <a:pt x="67" y="442"/>
                  <a:pt x="66" y="441"/>
                  <a:pt x="66" y="441"/>
                </a:cubicBezTo>
                <a:cubicBezTo>
                  <a:pt x="66" y="439"/>
                  <a:pt x="67" y="439"/>
                  <a:pt x="68" y="439"/>
                </a:cubicBezTo>
                <a:lnTo>
                  <a:pt x="72" y="440"/>
                </a:lnTo>
                <a:cubicBezTo>
                  <a:pt x="72" y="440"/>
                  <a:pt x="72" y="440"/>
                  <a:pt x="72" y="439"/>
                </a:cubicBezTo>
                <a:lnTo>
                  <a:pt x="72" y="438"/>
                </a:lnTo>
                <a:cubicBezTo>
                  <a:pt x="71" y="438"/>
                  <a:pt x="70" y="438"/>
                  <a:pt x="69" y="437"/>
                </a:cubicBezTo>
                <a:cubicBezTo>
                  <a:pt x="67" y="437"/>
                  <a:pt x="66" y="437"/>
                  <a:pt x="65" y="437"/>
                </a:cubicBezTo>
                <a:cubicBezTo>
                  <a:pt x="62" y="437"/>
                  <a:pt x="61" y="437"/>
                  <a:pt x="61" y="438"/>
                </a:cubicBezTo>
                <a:lnTo>
                  <a:pt x="62" y="440"/>
                </a:lnTo>
                <a:cubicBezTo>
                  <a:pt x="62" y="441"/>
                  <a:pt x="60" y="441"/>
                  <a:pt x="57" y="441"/>
                </a:cubicBezTo>
                <a:cubicBezTo>
                  <a:pt x="54" y="441"/>
                  <a:pt x="51" y="441"/>
                  <a:pt x="48" y="440"/>
                </a:cubicBezTo>
                <a:lnTo>
                  <a:pt x="42" y="439"/>
                </a:lnTo>
                <a:cubicBezTo>
                  <a:pt x="41" y="439"/>
                  <a:pt x="41" y="439"/>
                  <a:pt x="41" y="438"/>
                </a:cubicBezTo>
                <a:cubicBezTo>
                  <a:pt x="41" y="437"/>
                  <a:pt x="39" y="436"/>
                  <a:pt x="37" y="435"/>
                </a:cubicBezTo>
                <a:lnTo>
                  <a:pt x="30" y="432"/>
                </a:lnTo>
                <a:cubicBezTo>
                  <a:pt x="17" y="424"/>
                  <a:pt x="8" y="417"/>
                  <a:pt x="5" y="410"/>
                </a:cubicBezTo>
                <a:cubicBezTo>
                  <a:pt x="2" y="404"/>
                  <a:pt x="0" y="395"/>
                  <a:pt x="0" y="385"/>
                </a:cubicBezTo>
                <a:cubicBezTo>
                  <a:pt x="0" y="367"/>
                  <a:pt x="8" y="342"/>
                  <a:pt x="24" y="311"/>
                </a:cubicBezTo>
                <a:cubicBezTo>
                  <a:pt x="39" y="279"/>
                  <a:pt x="57" y="253"/>
                  <a:pt x="77" y="231"/>
                </a:cubicBezTo>
                <a:cubicBezTo>
                  <a:pt x="80" y="228"/>
                  <a:pt x="82" y="226"/>
                  <a:pt x="82" y="225"/>
                </a:cubicBezTo>
                <a:lnTo>
                  <a:pt x="80" y="226"/>
                </a:lnTo>
                <a:cubicBezTo>
                  <a:pt x="79" y="228"/>
                  <a:pt x="78" y="228"/>
                  <a:pt x="78" y="228"/>
                </a:cubicBezTo>
                <a:cubicBezTo>
                  <a:pt x="78" y="228"/>
                  <a:pt x="78" y="227"/>
                  <a:pt x="80" y="225"/>
                </a:cubicBezTo>
                <a:cubicBezTo>
                  <a:pt x="81" y="224"/>
                  <a:pt x="82" y="223"/>
                  <a:pt x="83" y="223"/>
                </a:cubicBezTo>
                <a:lnTo>
                  <a:pt x="84" y="223"/>
                </a:lnTo>
                <a:cubicBezTo>
                  <a:pt x="85" y="223"/>
                  <a:pt x="87" y="221"/>
                  <a:pt x="90" y="218"/>
                </a:cubicBezTo>
                <a:lnTo>
                  <a:pt x="91" y="214"/>
                </a:lnTo>
                <a:cubicBezTo>
                  <a:pt x="91" y="212"/>
                  <a:pt x="93" y="209"/>
                  <a:pt x="97" y="204"/>
                </a:cubicBezTo>
                <a:lnTo>
                  <a:pt x="104" y="199"/>
                </a:lnTo>
                <a:lnTo>
                  <a:pt x="104" y="201"/>
                </a:lnTo>
                <a:cubicBezTo>
                  <a:pt x="104" y="202"/>
                  <a:pt x="104" y="202"/>
                  <a:pt x="104" y="202"/>
                </a:cubicBezTo>
                <a:cubicBezTo>
                  <a:pt x="105" y="202"/>
                  <a:pt x="105" y="202"/>
                  <a:pt x="105" y="203"/>
                </a:cubicBezTo>
                <a:cubicBezTo>
                  <a:pt x="105" y="204"/>
                  <a:pt x="104" y="206"/>
                  <a:pt x="103" y="208"/>
                </a:cubicBezTo>
                <a:cubicBezTo>
                  <a:pt x="101" y="210"/>
                  <a:pt x="100" y="212"/>
                  <a:pt x="99" y="213"/>
                </a:cubicBezTo>
                <a:cubicBezTo>
                  <a:pt x="90" y="228"/>
                  <a:pt x="85" y="235"/>
                  <a:pt x="83" y="235"/>
                </a:cubicBezTo>
                <a:cubicBezTo>
                  <a:pt x="81" y="235"/>
                  <a:pt x="80" y="235"/>
                  <a:pt x="80" y="236"/>
                </a:cubicBezTo>
                <a:lnTo>
                  <a:pt x="80" y="236"/>
                </a:lnTo>
                <a:cubicBezTo>
                  <a:pt x="80" y="238"/>
                  <a:pt x="80" y="240"/>
                  <a:pt x="79" y="242"/>
                </a:cubicBezTo>
                <a:cubicBezTo>
                  <a:pt x="78" y="244"/>
                  <a:pt x="76" y="246"/>
                  <a:pt x="75" y="248"/>
                </a:cubicBezTo>
                <a:cubicBezTo>
                  <a:pt x="73" y="250"/>
                  <a:pt x="72" y="250"/>
                  <a:pt x="71" y="250"/>
                </a:cubicBezTo>
                <a:cubicBezTo>
                  <a:pt x="70" y="250"/>
                  <a:pt x="70" y="251"/>
                  <a:pt x="69" y="251"/>
                </a:cubicBezTo>
                <a:cubicBezTo>
                  <a:pt x="69" y="252"/>
                  <a:pt x="68" y="252"/>
                  <a:pt x="68" y="253"/>
                </a:cubicBezTo>
                <a:cubicBezTo>
                  <a:pt x="68" y="255"/>
                  <a:pt x="68" y="257"/>
                  <a:pt x="67" y="257"/>
                </a:cubicBezTo>
                <a:cubicBezTo>
                  <a:pt x="67" y="258"/>
                  <a:pt x="66" y="260"/>
                  <a:pt x="64" y="262"/>
                </a:cubicBezTo>
                <a:cubicBezTo>
                  <a:pt x="61" y="266"/>
                  <a:pt x="56" y="273"/>
                  <a:pt x="51" y="282"/>
                </a:cubicBezTo>
                <a:cubicBezTo>
                  <a:pt x="36" y="306"/>
                  <a:pt x="28" y="320"/>
                  <a:pt x="28" y="324"/>
                </a:cubicBezTo>
                <a:lnTo>
                  <a:pt x="29" y="325"/>
                </a:lnTo>
                <a:cubicBezTo>
                  <a:pt x="29" y="326"/>
                  <a:pt x="28" y="326"/>
                  <a:pt x="28" y="326"/>
                </a:cubicBezTo>
                <a:cubicBezTo>
                  <a:pt x="28" y="326"/>
                  <a:pt x="27" y="326"/>
                  <a:pt x="26" y="327"/>
                </a:cubicBezTo>
                <a:lnTo>
                  <a:pt x="27" y="328"/>
                </a:lnTo>
                <a:cubicBezTo>
                  <a:pt x="27" y="329"/>
                  <a:pt x="26" y="330"/>
                  <a:pt x="25" y="331"/>
                </a:cubicBezTo>
                <a:cubicBezTo>
                  <a:pt x="23" y="332"/>
                  <a:pt x="23" y="333"/>
                  <a:pt x="23" y="333"/>
                </a:cubicBezTo>
                <a:cubicBezTo>
                  <a:pt x="23" y="333"/>
                  <a:pt x="23" y="333"/>
                  <a:pt x="25" y="333"/>
                </a:cubicBezTo>
                <a:cubicBezTo>
                  <a:pt x="27" y="333"/>
                  <a:pt x="28" y="333"/>
                  <a:pt x="28" y="332"/>
                </a:cubicBezTo>
                <a:lnTo>
                  <a:pt x="28" y="332"/>
                </a:lnTo>
                <a:cubicBezTo>
                  <a:pt x="28" y="331"/>
                  <a:pt x="29" y="330"/>
                  <a:pt x="30" y="329"/>
                </a:cubicBezTo>
                <a:cubicBezTo>
                  <a:pt x="32" y="327"/>
                  <a:pt x="32" y="326"/>
                  <a:pt x="32" y="325"/>
                </a:cubicBezTo>
                <a:cubicBezTo>
                  <a:pt x="32" y="324"/>
                  <a:pt x="32" y="324"/>
                  <a:pt x="31" y="323"/>
                </a:cubicBezTo>
                <a:cubicBezTo>
                  <a:pt x="31" y="322"/>
                  <a:pt x="30" y="321"/>
                  <a:pt x="30" y="321"/>
                </a:cubicBezTo>
                <a:cubicBezTo>
                  <a:pt x="30" y="319"/>
                  <a:pt x="31" y="318"/>
                  <a:pt x="33" y="316"/>
                </a:cubicBezTo>
                <a:cubicBezTo>
                  <a:pt x="36" y="313"/>
                  <a:pt x="37" y="311"/>
                  <a:pt x="37" y="310"/>
                </a:cubicBezTo>
                <a:cubicBezTo>
                  <a:pt x="38" y="309"/>
                  <a:pt x="39" y="309"/>
                  <a:pt x="40" y="309"/>
                </a:cubicBezTo>
                <a:cubicBezTo>
                  <a:pt x="41" y="309"/>
                  <a:pt x="42" y="309"/>
                  <a:pt x="42" y="308"/>
                </a:cubicBezTo>
                <a:lnTo>
                  <a:pt x="42" y="307"/>
                </a:lnTo>
                <a:cubicBezTo>
                  <a:pt x="42" y="306"/>
                  <a:pt x="42" y="306"/>
                  <a:pt x="43" y="306"/>
                </a:cubicBezTo>
                <a:lnTo>
                  <a:pt x="45" y="306"/>
                </a:lnTo>
                <a:cubicBezTo>
                  <a:pt x="45" y="305"/>
                  <a:pt x="44" y="305"/>
                  <a:pt x="44" y="304"/>
                </a:cubicBezTo>
                <a:cubicBezTo>
                  <a:pt x="43" y="304"/>
                  <a:pt x="43" y="303"/>
                  <a:pt x="43" y="302"/>
                </a:cubicBezTo>
                <a:cubicBezTo>
                  <a:pt x="43" y="299"/>
                  <a:pt x="48" y="289"/>
                  <a:pt x="58" y="275"/>
                </a:cubicBezTo>
                <a:cubicBezTo>
                  <a:pt x="69" y="260"/>
                  <a:pt x="81" y="244"/>
                  <a:pt x="95" y="227"/>
                </a:cubicBezTo>
                <a:cubicBezTo>
                  <a:pt x="110" y="209"/>
                  <a:pt x="123" y="195"/>
                  <a:pt x="136" y="182"/>
                </a:cubicBezTo>
                <a:cubicBezTo>
                  <a:pt x="167" y="151"/>
                  <a:pt x="192" y="128"/>
                  <a:pt x="210" y="114"/>
                </a:cubicBezTo>
                <a:cubicBezTo>
                  <a:pt x="217" y="108"/>
                  <a:pt x="225" y="102"/>
                  <a:pt x="233" y="96"/>
                </a:cubicBezTo>
                <a:cubicBezTo>
                  <a:pt x="240" y="90"/>
                  <a:pt x="250" y="83"/>
                  <a:pt x="260" y="75"/>
                </a:cubicBezTo>
                <a:cubicBezTo>
                  <a:pt x="263" y="73"/>
                  <a:pt x="265" y="72"/>
                  <a:pt x="265" y="71"/>
                </a:cubicBezTo>
                <a:cubicBezTo>
                  <a:pt x="266" y="70"/>
                  <a:pt x="267" y="69"/>
                  <a:pt x="270" y="68"/>
                </a:cubicBezTo>
                <a:cubicBezTo>
                  <a:pt x="272" y="66"/>
                  <a:pt x="274" y="65"/>
                  <a:pt x="274" y="63"/>
                </a:cubicBezTo>
                <a:lnTo>
                  <a:pt x="274" y="63"/>
                </a:lnTo>
                <a:cubicBezTo>
                  <a:pt x="273" y="62"/>
                  <a:pt x="273" y="62"/>
                  <a:pt x="272" y="62"/>
                </a:cubicBezTo>
                <a:cubicBezTo>
                  <a:pt x="271" y="62"/>
                  <a:pt x="271" y="62"/>
                  <a:pt x="271" y="62"/>
                </a:cubicBezTo>
                <a:cubicBezTo>
                  <a:pt x="270" y="63"/>
                  <a:pt x="270" y="63"/>
                  <a:pt x="269" y="63"/>
                </a:cubicBezTo>
                <a:cubicBezTo>
                  <a:pt x="269" y="63"/>
                  <a:pt x="269" y="63"/>
                  <a:pt x="269" y="62"/>
                </a:cubicBezTo>
                <a:cubicBezTo>
                  <a:pt x="269" y="61"/>
                  <a:pt x="272" y="59"/>
                  <a:pt x="278" y="54"/>
                </a:cubicBezTo>
                <a:cubicBezTo>
                  <a:pt x="285" y="50"/>
                  <a:pt x="288" y="48"/>
                  <a:pt x="290" y="48"/>
                </a:cubicBezTo>
                <a:cubicBezTo>
                  <a:pt x="291" y="48"/>
                  <a:pt x="292" y="47"/>
                  <a:pt x="293" y="46"/>
                </a:cubicBezTo>
                <a:cubicBezTo>
                  <a:pt x="293" y="44"/>
                  <a:pt x="294" y="44"/>
                  <a:pt x="295" y="44"/>
                </a:cubicBezTo>
                <a:cubicBezTo>
                  <a:pt x="296" y="44"/>
                  <a:pt x="296" y="44"/>
                  <a:pt x="296" y="45"/>
                </a:cubicBezTo>
                <a:cubicBezTo>
                  <a:pt x="296" y="46"/>
                  <a:pt x="296" y="47"/>
                  <a:pt x="295" y="48"/>
                </a:cubicBezTo>
                <a:cubicBezTo>
                  <a:pt x="293" y="50"/>
                  <a:pt x="292" y="50"/>
                  <a:pt x="291" y="50"/>
                </a:cubicBezTo>
                <a:lnTo>
                  <a:pt x="290" y="50"/>
                </a:lnTo>
                <a:cubicBezTo>
                  <a:pt x="289" y="50"/>
                  <a:pt x="288" y="51"/>
                  <a:pt x="288" y="52"/>
                </a:cubicBezTo>
                <a:cubicBezTo>
                  <a:pt x="287" y="54"/>
                  <a:pt x="286" y="54"/>
                  <a:pt x="285" y="54"/>
                </a:cubicBezTo>
                <a:lnTo>
                  <a:pt x="285" y="54"/>
                </a:lnTo>
                <a:cubicBezTo>
                  <a:pt x="283" y="54"/>
                  <a:pt x="282" y="55"/>
                  <a:pt x="281" y="56"/>
                </a:cubicBezTo>
                <a:cubicBezTo>
                  <a:pt x="281" y="58"/>
                  <a:pt x="280" y="59"/>
                  <a:pt x="279" y="59"/>
                </a:cubicBezTo>
                <a:cubicBezTo>
                  <a:pt x="275" y="59"/>
                  <a:pt x="274" y="59"/>
                  <a:pt x="274" y="60"/>
                </a:cubicBezTo>
                <a:cubicBezTo>
                  <a:pt x="274" y="61"/>
                  <a:pt x="274" y="62"/>
                  <a:pt x="275" y="62"/>
                </a:cubicBezTo>
                <a:cubicBezTo>
                  <a:pt x="278" y="62"/>
                  <a:pt x="283" y="59"/>
                  <a:pt x="291" y="54"/>
                </a:cubicBezTo>
                <a:cubicBezTo>
                  <a:pt x="300" y="48"/>
                  <a:pt x="305" y="44"/>
                  <a:pt x="305" y="42"/>
                </a:cubicBezTo>
                <a:cubicBezTo>
                  <a:pt x="305" y="42"/>
                  <a:pt x="305" y="41"/>
                  <a:pt x="304" y="41"/>
                </a:cubicBezTo>
                <a:lnTo>
                  <a:pt x="298" y="43"/>
                </a:lnTo>
                <a:cubicBezTo>
                  <a:pt x="298" y="42"/>
                  <a:pt x="299" y="41"/>
                  <a:pt x="301" y="40"/>
                </a:cubicBezTo>
                <a:cubicBezTo>
                  <a:pt x="303" y="39"/>
                  <a:pt x="305" y="38"/>
                  <a:pt x="306" y="38"/>
                </a:cubicBezTo>
                <a:cubicBezTo>
                  <a:pt x="306" y="38"/>
                  <a:pt x="307" y="39"/>
                  <a:pt x="307" y="40"/>
                </a:cubicBezTo>
                <a:cubicBezTo>
                  <a:pt x="308" y="41"/>
                  <a:pt x="308" y="41"/>
                  <a:pt x="310" y="41"/>
                </a:cubicBezTo>
                <a:lnTo>
                  <a:pt x="311" y="41"/>
                </a:lnTo>
                <a:lnTo>
                  <a:pt x="311" y="42"/>
                </a:lnTo>
                <a:cubicBezTo>
                  <a:pt x="310" y="43"/>
                  <a:pt x="310" y="44"/>
                  <a:pt x="310" y="44"/>
                </a:cubicBezTo>
                <a:cubicBezTo>
                  <a:pt x="310" y="46"/>
                  <a:pt x="311" y="47"/>
                  <a:pt x="314" y="47"/>
                </a:cubicBezTo>
                <a:cubicBezTo>
                  <a:pt x="316" y="47"/>
                  <a:pt x="318" y="46"/>
                  <a:pt x="320" y="46"/>
                </a:cubicBezTo>
                <a:lnTo>
                  <a:pt x="326" y="43"/>
                </a:lnTo>
                <a:cubicBezTo>
                  <a:pt x="326" y="44"/>
                  <a:pt x="322" y="48"/>
                  <a:pt x="312" y="53"/>
                </a:cubicBezTo>
                <a:cubicBezTo>
                  <a:pt x="302" y="59"/>
                  <a:pt x="296" y="62"/>
                  <a:pt x="294" y="62"/>
                </a:cubicBezTo>
                <a:cubicBezTo>
                  <a:pt x="293" y="62"/>
                  <a:pt x="292" y="61"/>
                  <a:pt x="292" y="61"/>
                </a:cubicBezTo>
                <a:lnTo>
                  <a:pt x="294" y="58"/>
                </a:lnTo>
                <a:cubicBezTo>
                  <a:pt x="294" y="58"/>
                  <a:pt x="293" y="57"/>
                  <a:pt x="293" y="57"/>
                </a:cubicBezTo>
                <a:lnTo>
                  <a:pt x="292" y="58"/>
                </a:lnTo>
                <a:cubicBezTo>
                  <a:pt x="291" y="58"/>
                  <a:pt x="291" y="60"/>
                  <a:pt x="291" y="61"/>
                </a:cubicBezTo>
                <a:lnTo>
                  <a:pt x="291" y="65"/>
                </a:lnTo>
                <a:cubicBezTo>
                  <a:pt x="291" y="66"/>
                  <a:pt x="291" y="67"/>
                  <a:pt x="290" y="67"/>
                </a:cubicBezTo>
                <a:cubicBezTo>
                  <a:pt x="290" y="67"/>
                  <a:pt x="289" y="67"/>
                  <a:pt x="289" y="67"/>
                </a:cubicBezTo>
                <a:cubicBezTo>
                  <a:pt x="289" y="66"/>
                  <a:pt x="289" y="66"/>
                  <a:pt x="289" y="65"/>
                </a:cubicBezTo>
                <a:lnTo>
                  <a:pt x="289" y="64"/>
                </a:lnTo>
                <a:lnTo>
                  <a:pt x="288" y="66"/>
                </a:lnTo>
                <a:cubicBezTo>
                  <a:pt x="286" y="67"/>
                  <a:pt x="285" y="68"/>
                  <a:pt x="285" y="68"/>
                </a:cubicBezTo>
                <a:cubicBezTo>
                  <a:pt x="284" y="68"/>
                  <a:pt x="283" y="68"/>
                  <a:pt x="283" y="67"/>
                </a:cubicBezTo>
                <a:cubicBezTo>
                  <a:pt x="282" y="66"/>
                  <a:pt x="281" y="66"/>
                  <a:pt x="281" y="66"/>
                </a:cubicBezTo>
                <a:lnTo>
                  <a:pt x="281" y="68"/>
                </a:lnTo>
                <a:cubicBezTo>
                  <a:pt x="281" y="71"/>
                  <a:pt x="280" y="72"/>
                  <a:pt x="279" y="72"/>
                </a:cubicBezTo>
                <a:cubicBezTo>
                  <a:pt x="277" y="72"/>
                  <a:pt x="276" y="72"/>
                  <a:pt x="276" y="73"/>
                </a:cubicBezTo>
                <a:cubicBezTo>
                  <a:pt x="276" y="73"/>
                  <a:pt x="276" y="74"/>
                  <a:pt x="275" y="76"/>
                </a:cubicBezTo>
                <a:cubicBezTo>
                  <a:pt x="273" y="77"/>
                  <a:pt x="272" y="78"/>
                  <a:pt x="270" y="79"/>
                </a:cubicBezTo>
                <a:cubicBezTo>
                  <a:pt x="250" y="92"/>
                  <a:pt x="218" y="118"/>
                  <a:pt x="174" y="158"/>
                </a:cubicBezTo>
                <a:cubicBezTo>
                  <a:pt x="129" y="199"/>
                  <a:pt x="107" y="222"/>
                  <a:pt x="107" y="227"/>
                </a:cubicBezTo>
                <a:cubicBezTo>
                  <a:pt x="107" y="228"/>
                  <a:pt x="107" y="228"/>
                  <a:pt x="106" y="229"/>
                </a:cubicBezTo>
                <a:cubicBezTo>
                  <a:pt x="105" y="230"/>
                  <a:pt x="104" y="231"/>
                  <a:pt x="103" y="232"/>
                </a:cubicBezTo>
                <a:cubicBezTo>
                  <a:pt x="101" y="232"/>
                  <a:pt x="100" y="233"/>
                  <a:pt x="99" y="234"/>
                </a:cubicBezTo>
                <a:cubicBezTo>
                  <a:pt x="96" y="237"/>
                  <a:pt x="95" y="239"/>
                  <a:pt x="95" y="240"/>
                </a:cubicBezTo>
                <a:lnTo>
                  <a:pt x="101" y="236"/>
                </a:lnTo>
                <a:lnTo>
                  <a:pt x="101" y="237"/>
                </a:lnTo>
                <a:cubicBezTo>
                  <a:pt x="101" y="237"/>
                  <a:pt x="100" y="238"/>
                  <a:pt x="100" y="239"/>
                </a:cubicBezTo>
                <a:cubicBezTo>
                  <a:pt x="99" y="240"/>
                  <a:pt x="98" y="240"/>
                  <a:pt x="97" y="241"/>
                </a:cubicBezTo>
                <a:cubicBezTo>
                  <a:pt x="95" y="242"/>
                  <a:pt x="94" y="242"/>
                  <a:pt x="94" y="242"/>
                </a:cubicBezTo>
                <a:cubicBezTo>
                  <a:pt x="93" y="242"/>
                  <a:pt x="92" y="242"/>
                  <a:pt x="92" y="243"/>
                </a:cubicBezTo>
                <a:lnTo>
                  <a:pt x="93" y="246"/>
                </a:lnTo>
                <a:cubicBezTo>
                  <a:pt x="93" y="246"/>
                  <a:pt x="93" y="246"/>
                  <a:pt x="92" y="246"/>
                </a:cubicBezTo>
                <a:lnTo>
                  <a:pt x="92" y="246"/>
                </a:lnTo>
                <a:cubicBezTo>
                  <a:pt x="91" y="245"/>
                  <a:pt x="91" y="245"/>
                  <a:pt x="90" y="245"/>
                </a:cubicBezTo>
                <a:cubicBezTo>
                  <a:pt x="89" y="245"/>
                  <a:pt x="89" y="246"/>
                  <a:pt x="89" y="247"/>
                </a:cubicBezTo>
                <a:cubicBezTo>
                  <a:pt x="88" y="247"/>
                  <a:pt x="87" y="248"/>
                  <a:pt x="86" y="248"/>
                </a:cubicBezTo>
                <a:lnTo>
                  <a:pt x="85" y="247"/>
                </a:lnTo>
                <a:cubicBezTo>
                  <a:pt x="85" y="247"/>
                  <a:pt x="84" y="247"/>
                  <a:pt x="84" y="248"/>
                </a:cubicBezTo>
                <a:cubicBezTo>
                  <a:pt x="84" y="248"/>
                  <a:pt x="85" y="249"/>
                  <a:pt x="85" y="250"/>
                </a:cubicBezTo>
                <a:cubicBezTo>
                  <a:pt x="85" y="251"/>
                  <a:pt x="87" y="251"/>
                  <a:pt x="88" y="251"/>
                </a:cubicBezTo>
                <a:lnTo>
                  <a:pt x="89" y="251"/>
                </a:lnTo>
                <a:cubicBezTo>
                  <a:pt x="89" y="251"/>
                  <a:pt x="88" y="252"/>
                  <a:pt x="87" y="253"/>
                </a:cubicBezTo>
                <a:cubicBezTo>
                  <a:pt x="86" y="255"/>
                  <a:pt x="84" y="255"/>
                  <a:pt x="82" y="255"/>
                </a:cubicBezTo>
                <a:cubicBezTo>
                  <a:pt x="79" y="255"/>
                  <a:pt x="78" y="256"/>
                  <a:pt x="78" y="256"/>
                </a:cubicBezTo>
                <a:lnTo>
                  <a:pt x="79" y="257"/>
                </a:lnTo>
                <a:cubicBezTo>
                  <a:pt x="79" y="258"/>
                  <a:pt x="78" y="259"/>
                  <a:pt x="76" y="260"/>
                </a:cubicBezTo>
                <a:cubicBezTo>
                  <a:pt x="75" y="262"/>
                  <a:pt x="74" y="262"/>
                  <a:pt x="74" y="262"/>
                </a:cubicBezTo>
                <a:lnTo>
                  <a:pt x="81" y="262"/>
                </a:lnTo>
                <a:cubicBezTo>
                  <a:pt x="81" y="262"/>
                  <a:pt x="80" y="263"/>
                  <a:pt x="79" y="264"/>
                </a:cubicBezTo>
                <a:cubicBezTo>
                  <a:pt x="77" y="265"/>
                  <a:pt x="76" y="267"/>
                  <a:pt x="76" y="268"/>
                </a:cubicBezTo>
                <a:cubicBezTo>
                  <a:pt x="76" y="269"/>
                  <a:pt x="75" y="270"/>
                  <a:pt x="74" y="272"/>
                </a:cubicBezTo>
                <a:cubicBezTo>
                  <a:pt x="69" y="278"/>
                  <a:pt x="66" y="281"/>
                  <a:pt x="64" y="283"/>
                </a:cubicBezTo>
                <a:lnTo>
                  <a:pt x="65" y="281"/>
                </a:lnTo>
                <a:lnTo>
                  <a:pt x="65" y="280"/>
                </a:lnTo>
                <a:cubicBezTo>
                  <a:pt x="65" y="279"/>
                  <a:pt x="65" y="279"/>
                  <a:pt x="64" y="279"/>
                </a:cubicBezTo>
                <a:cubicBezTo>
                  <a:pt x="63" y="279"/>
                  <a:pt x="62" y="280"/>
                  <a:pt x="62" y="281"/>
                </a:cubicBezTo>
                <a:cubicBezTo>
                  <a:pt x="62" y="283"/>
                  <a:pt x="63" y="283"/>
                  <a:pt x="63" y="283"/>
                </a:cubicBezTo>
                <a:lnTo>
                  <a:pt x="61" y="283"/>
                </a:lnTo>
                <a:cubicBezTo>
                  <a:pt x="61" y="282"/>
                  <a:pt x="60" y="282"/>
                  <a:pt x="60" y="282"/>
                </a:cubicBezTo>
                <a:cubicBezTo>
                  <a:pt x="59" y="282"/>
                  <a:pt x="59" y="283"/>
                  <a:pt x="59" y="284"/>
                </a:cubicBezTo>
                <a:cubicBezTo>
                  <a:pt x="59" y="285"/>
                  <a:pt x="59" y="285"/>
                  <a:pt x="60" y="286"/>
                </a:cubicBezTo>
                <a:cubicBezTo>
                  <a:pt x="60" y="286"/>
                  <a:pt x="60" y="286"/>
                  <a:pt x="61" y="287"/>
                </a:cubicBezTo>
                <a:cubicBezTo>
                  <a:pt x="61" y="288"/>
                  <a:pt x="60" y="289"/>
                  <a:pt x="59" y="289"/>
                </a:cubicBezTo>
                <a:cubicBezTo>
                  <a:pt x="57" y="290"/>
                  <a:pt x="56" y="291"/>
                  <a:pt x="55" y="293"/>
                </a:cubicBezTo>
                <a:cubicBezTo>
                  <a:pt x="54" y="294"/>
                  <a:pt x="53" y="295"/>
                  <a:pt x="53" y="296"/>
                </a:cubicBezTo>
                <a:lnTo>
                  <a:pt x="53" y="298"/>
                </a:lnTo>
                <a:lnTo>
                  <a:pt x="54" y="295"/>
                </a:lnTo>
                <a:cubicBezTo>
                  <a:pt x="55" y="294"/>
                  <a:pt x="56" y="293"/>
                  <a:pt x="57" y="293"/>
                </a:cubicBezTo>
                <a:cubicBezTo>
                  <a:pt x="57" y="293"/>
                  <a:pt x="58" y="294"/>
                  <a:pt x="58" y="294"/>
                </a:cubicBezTo>
                <a:cubicBezTo>
                  <a:pt x="58" y="295"/>
                  <a:pt x="57" y="296"/>
                  <a:pt x="56" y="298"/>
                </a:cubicBezTo>
                <a:cubicBezTo>
                  <a:pt x="54" y="301"/>
                  <a:pt x="52" y="302"/>
                  <a:pt x="50" y="302"/>
                </a:cubicBezTo>
                <a:cubicBezTo>
                  <a:pt x="48" y="302"/>
                  <a:pt x="48" y="303"/>
                  <a:pt x="48" y="303"/>
                </a:cubicBezTo>
                <a:cubicBezTo>
                  <a:pt x="48" y="303"/>
                  <a:pt x="48" y="304"/>
                  <a:pt x="48" y="304"/>
                </a:cubicBezTo>
                <a:cubicBezTo>
                  <a:pt x="49" y="305"/>
                  <a:pt x="49" y="306"/>
                  <a:pt x="49" y="306"/>
                </a:cubicBezTo>
                <a:cubicBezTo>
                  <a:pt x="49" y="307"/>
                  <a:pt x="48" y="309"/>
                  <a:pt x="46" y="310"/>
                </a:cubicBezTo>
                <a:cubicBezTo>
                  <a:pt x="44" y="312"/>
                  <a:pt x="43" y="313"/>
                  <a:pt x="43" y="314"/>
                </a:cubicBezTo>
                <a:cubicBezTo>
                  <a:pt x="43" y="315"/>
                  <a:pt x="44" y="316"/>
                  <a:pt x="46" y="317"/>
                </a:cubicBezTo>
                <a:cubicBezTo>
                  <a:pt x="48" y="318"/>
                  <a:pt x="48" y="319"/>
                  <a:pt x="48" y="320"/>
                </a:cubicBezTo>
                <a:lnTo>
                  <a:pt x="48" y="320"/>
                </a:lnTo>
                <a:lnTo>
                  <a:pt x="41" y="318"/>
                </a:lnTo>
                <a:cubicBezTo>
                  <a:pt x="40" y="318"/>
                  <a:pt x="40" y="318"/>
                  <a:pt x="39" y="318"/>
                </a:cubicBezTo>
                <a:lnTo>
                  <a:pt x="40" y="319"/>
                </a:lnTo>
                <a:cubicBezTo>
                  <a:pt x="41" y="320"/>
                  <a:pt x="41" y="321"/>
                  <a:pt x="42" y="322"/>
                </a:cubicBezTo>
                <a:cubicBezTo>
                  <a:pt x="42" y="323"/>
                  <a:pt x="43" y="324"/>
                  <a:pt x="43" y="325"/>
                </a:cubicBezTo>
                <a:cubicBezTo>
                  <a:pt x="43" y="325"/>
                  <a:pt x="42" y="326"/>
                  <a:pt x="42" y="326"/>
                </a:cubicBezTo>
                <a:lnTo>
                  <a:pt x="41" y="325"/>
                </a:lnTo>
                <a:lnTo>
                  <a:pt x="39" y="326"/>
                </a:lnTo>
                <a:cubicBezTo>
                  <a:pt x="37" y="327"/>
                  <a:pt x="36" y="328"/>
                  <a:pt x="36" y="330"/>
                </a:cubicBezTo>
                <a:cubicBezTo>
                  <a:pt x="36" y="330"/>
                  <a:pt x="36" y="330"/>
                  <a:pt x="37" y="330"/>
                </a:cubicBezTo>
                <a:cubicBezTo>
                  <a:pt x="37" y="330"/>
                  <a:pt x="37" y="331"/>
                  <a:pt x="37" y="331"/>
                </a:cubicBezTo>
                <a:cubicBezTo>
                  <a:pt x="37" y="331"/>
                  <a:pt x="37" y="331"/>
                  <a:pt x="35" y="332"/>
                </a:cubicBezTo>
                <a:cubicBezTo>
                  <a:pt x="34" y="333"/>
                  <a:pt x="34" y="333"/>
                  <a:pt x="34" y="334"/>
                </a:cubicBezTo>
                <a:cubicBezTo>
                  <a:pt x="34" y="334"/>
                  <a:pt x="34" y="334"/>
                  <a:pt x="35" y="334"/>
                </a:cubicBezTo>
                <a:cubicBezTo>
                  <a:pt x="36" y="334"/>
                  <a:pt x="37" y="333"/>
                  <a:pt x="38" y="331"/>
                </a:cubicBezTo>
                <a:cubicBezTo>
                  <a:pt x="40" y="329"/>
                  <a:pt x="40" y="328"/>
                  <a:pt x="41" y="328"/>
                </a:cubicBezTo>
                <a:lnTo>
                  <a:pt x="41" y="329"/>
                </a:lnTo>
                <a:cubicBezTo>
                  <a:pt x="41" y="330"/>
                  <a:pt x="39" y="333"/>
                  <a:pt x="37" y="340"/>
                </a:cubicBezTo>
                <a:cubicBezTo>
                  <a:pt x="34" y="346"/>
                  <a:pt x="32" y="349"/>
                  <a:pt x="32" y="350"/>
                </a:cubicBezTo>
                <a:cubicBezTo>
                  <a:pt x="31" y="351"/>
                  <a:pt x="30" y="354"/>
                  <a:pt x="27" y="361"/>
                </a:cubicBezTo>
                <a:cubicBezTo>
                  <a:pt x="25" y="368"/>
                  <a:pt x="23" y="372"/>
                  <a:pt x="23" y="373"/>
                </a:cubicBezTo>
                <a:cubicBezTo>
                  <a:pt x="23" y="374"/>
                  <a:pt x="25" y="374"/>
                  <a:pt x="27" y="374"/>
                </a:cubicBezTo>
                <a:cubicBezTo>
                  <a:pt x="27" y="374"/>
                  <a:pt x="28" y="374"/>
                  <a:pt x="28" y="372"/>
                </a:cubicBezTo>
                <a:lnTo>
                  <a:pt x="28" y="370"/>
                </a:lnTo>
                <a:cubicBezTo>
                  <a:pt x="28" y="367"/>
                  <a:pt x="31" y="358"/>
                  <a:pt x="38" y="345"/>
                </a:cubicBezTo>
                <a:cubicBezTo>
                  <a:pt x="45" y="332"/>
                  <a:pt x="52" y="319"/>
                  <a:pt x="60" y="306"/>
                </a:cubicBezTo>
                <a:cubicBezTo>
                  <a:pt x="69" y="293"/>
                  <a:pt x="75" y="285"/>
                  <a:pt x="79" y="281"/>
                </a:cubicBezTo>
                <a:lnTo>
                  <a:pt x="81" y="280"/>
                </a:lnTo>
                <a:cubicBezTo>
                  <a:pt x="81" y="280"/>
                  <a:pt x="80" y="281"/>
                  <a:pt x="79" y="283"/>
                </a:cubicBezTo>
                <a:cubicBezTo>
                  <a:pt x="75" y="288"/>
                  <a:pt x="73" y="292"/>
                  <a:pt x="71" y="296"/>
                </a:cubicBezTo>
                <a:cubicBezTo>
                  <a:pt x="71" y="297"/>
                  <a:pt x="71" y="297"/>
                  <a:pt x="70" y="297"/>
                </a:cubicBezTo>
                <a:cubicBezTo>
                  <a:pt x="68" y="301"/>
                  <a:pt x="65" y="305"/>
                  <a:pt x="62" y="309"/>
                </a:cubicBezTo>
                <a:cubicBezTo>
                  <a:pt x="58" y="313"/>
                  <a:pt x="57" y="316"/>
                  <a:pt x="57" y="318"/>
                </a:cubicBezTo>
                <a:cubicBezTo>
                  <a:pt x="56" y="323"/>
                  <a:pt x="54" y="326"/>
                  <a:pt x="52" y="326"/>
                </a:cubicBezTo>
                <a:cubicBezTo>
                  <a:pt x="52" y="326"/>
                  <a:pt x="51" y="326"/>
                  <a:pt x="51" y="327"/>
                </a:cubicBezTo>
                <a:lnTo>
                  <a:pt x="51" y="328"/>
                </a:lnTo>
                <a:cubicBezTo>
                  <a:pt x="51" y="330"/>
                  <a:pt x="50" y="332"/>
                  <a:pt x="48" y="334"/>
                </a:cubicBezTo>
                <a:cubicBezTo>
                  <a:pt x="46" y="337"/>
                  <a:pt x="45" y="339"/>
                  <a:pt x="45" y="340"/>
                </a:cubicBezTo>
                <a:cubicBezTo>
                  <a:pt x="45" y="340"/>
                  <a:pt x="45" y="341"/>
                  <a:pt x="46" y="342"/>
                </a:cubicBezTo>
                <a:cubicBezTo>
                  <a:pt x="46" y="343"/>
                  <a:pt x="47" y="344"/>
                  <a:pt x="47" y="344"/>
                </a:cubicBezTo>
                <a:cubicBezTo>
                  <a:pt x="47" y="344"/>
                  <a:pt x="46" y="344"/>
                  <a:pt x="45" y="344"/>
                </a:cubicBezTo>
                <a:lnTo>
                  <a:pt x="44" y="344"/>
                </a:lnTo>
                <a:lnTo>
                  <a:pt x="44" y="346"/>
                </a:lnTo>
                <a:cubicBezTo>
                  <a:pt x="44" y="347"/>
                  <a:pt x="43" y="348"/>
                  <a:pt x="42" y="349"/>
                </a:cubicBezTo>
                <a:cubicBezTo>
                  <a:pt x="40" y="351"/>
                  <a:pt x="39" y="353"/>
                  <a:pt x="39" y="353"/>
                </a:cubicBezTo>
                <a:cubicBezTo>
                  <a:pt x="39" y="356"/>
                  <a:pt x="38" y="358"/>
                  <a:pt x="35" y="360"/>
                </a:cubicBezTo>
                <a:cubicBezTo>
                  <a:pt x="34" y="362"/>
                  <a:pt x="33" y="363"/>
                  <a:pt x="33" y="364"/>
                </a:cubicBezTo>
                <a:cubicBezTo>
                  <a:pt x="33" y="364"/>
                  <a:pt x="33" y="365"/>
                  <a:pt x="34" y="365"/>
                </a:cubicBezTo>
                <a:cubicBezTo>
                  <a:pt x="34" y="365"/>
                  <a:pt x="35" y="365"/>
                  <a:pt x="35" y="365"/>
                </a:cubicBezTo>
                <a:cubicBezTo>
                  <a:pt x="35" y="366"/>
                  <a:pt x="34" y="367"/>
                  <a:pt x="33" y="367"/>
                </a:cubicBezTo>
                <a:cubicBezTo>
                  <a:pt x="32" y="369"/>
                  <a:pt x="32" y="370"/>
                  <a:pt x="32" y="370"/>
                </a:cubicBezTo>
                <a:cubicBezTo>
                  <a:pt x="32" y="370"/>
                  <a:pt x="32" y="371"/>
                  <a:pt x="33" y="371"/>
                </a:cubicBezTo>
                <a:cubicBezTo>
                  <a:pt x="35" y="371"/>
                  <a:pt x="35" y="371"/>
                  <a:pt x="35" y="371"/>
                </a:cubicBezTo>
                <a:cubicBezTo>
                  <a:pt x="35" y="372"/>
                  <a:pt x="35" y="372"/>
                  <a:pt x="34" y="372"/>
                </a:cubicBezTo>
                <a:cubicBezTo>
                  <a:pt x="33" y="373"/>
                  <a:pt x="32" y="376"/>
                  <a:pt x="30" y="380"/>
                </a:cubicBezTo>
                <a:cubicBezTo>
                  <a:pt x="29" y="384"/>
                  <a:pt x="28" y="389"/>
                  <a:pt x="27" y="394"/>
                </a:cubicBezTo>
                <a:cubicBezTo>
                  <a:pt x="27" y="400"/>
                  <a:pt x="26" y="404"/>
                  <a:pt x="26" y="408"/>
                </a:cubicBezTo>
                <a:cubicBezTo>
                  <a:pt x="26" y="411"/>
                  <a:pt x="27" y="412"/>
                  <a:pt x="27" y="412"/>
                </a:cubicBezTo>
                <a:lnTo>
                  <a:pt x="28" y="412"/>
                </a:lnTo>
                <a:cubicBezTo>
                  <a:pt x="29" y="412"/>
                  <a:pt x="29" y="413"/>
                  <a:pt x="29" y="415"/>
                </a:cubicBezTo>
                <a:cubicBezTo>
                  <a:pt x="29" y="417"/>
                  <a:pt x="31" y="418"/>
                  <a:pt x="34" y="418"/>
                </a:cubicBezTo>
                <a:cubicBezTo>
                  <a:pt x="37" y="418"/>
                  <a:pt x="39" y="418"/>
                  <a:pt x="40" y="419"/>
                </a:cubicBezTo>
                <a:cubicBezTo>
                  <a:pt x="40" y="420"/>
                  <a:pt x="42" y="420"/>
                  <a:pt x="45" y="420"/>
                </a:cubicBezTo>
                <a:cubicBezTo>
                  <a:pt x="46" y="420"/>
                  <a:pt x="48" y="420"/>
                  <a:pt x="50" y="419"/>
                </a:cubicBezTo>
                <a:cubicBezTo>
                  <a:pt x="53" y="419"/>
                  <a:pt x="55" y="419"/>
                  <a:pt x="56" y="419"/>
                </a:cubicBezTo>
                <a:cubicBezTo>
                  <a:pt x="58" y="419"/>
                  <a:pt x="59" y="419"/>
                  <a:pt x="60" y="419"/>
                </a:cubicBezTo>
                <a:cubicBezTo>
                  <a:pt x="60" y="420"/>
                  <a:pt x="66" y="421"/>
                  <a:pt x="77" y="421"/>
                </a:cubicBezTo>
                <a:cubicBezTo>
                  <a:pt x="86" y="421"/>
                  <a:pt x="91" y="421"/>
                  <a:pt x="91" y="421"/>
                </a:cubicBezTo>
                <a:lnTo>
                  <a:pt x="91" y="421"/>
                </a:lnTo>
                <a:cubicBezTo>
                  <a:pt x="89" y="422"/>
                  <a:pt x="87" y="423"/>
                  <a:pt x="87" y="424"/>
                </a:cubicBezTo>
                <a:cubicBezTo>
                  <a:pt x="87" y="424"/>
                  <a:pt x="86" y="425"/>
                  <a:pt x="84" y="425"/>
                </a:cubicBezTo>
                <a:lnTo>
                  <a:pt x="83" y="424"/>
                </a:lnTo>
                <a:cubicBezTo>
                  <a:pt x="82" y="424"/>
                  <a:pt x="82" y="425"/>
                  <a:pt x="82" y="426"/>
                </a:cubicBezTo>
                <a:cubicBezTo>
                  <a:pt x="82" y="427"/>
                  <a:pt x="82" y="427"/>
                  <a:pt x="84" y="427"/>
                </a:cubicBezTo>
                <a:lnTo>
                  <a:pt x="97" y="426"/>
                </a:lnTo>
                <a:cubicBezTo>
                  <a:pt x="100" y="426"/>
                  <a:pt x="103" y="426"/>
                  <a:pt x="104" y="427"/>
                </a:cubicBezTo>
                <a:cubicBezTo>
                  <a:pt x="104" y="428"/>
                  <a:pt x="105" y="429"/>
                  <a:pt x="106" y="429"/>
                </a:cubicBezTo>
                <a:cubicBezTo>
                  <a:pt x="107" y="429"/>
                  <a:pt x="108" y="428"/>
                  <a:pt x="108" y="426"/>
                </a:cubicBezTo>
                <a:lnTo>
                  <a:pt x="105" y="427"/>
                </a:lnTo>
                <a:lnTo>
                  <a:pt x="106" y="426"/>
                </a:lnTo>
                <a:cubicBezTo>
                  <a:pt x="107" y="426"/>
                  <a:pt x="109" y="425"/>
                  <a:pt x="112" y="424"/>
                </a:cubicBezTo>
                <a:cubicBezTo>
                  <a:pt x="115" y="424"/>
                  <a:pt x="118" y="423"/>
                  <a:pt x="121" y="423"/>
                </a:cubicBezTo>
                <a:cubicBezTo>
                  <a:pt x="123" y="423"/>
                  <a:pt x="124" y="423"/>
                  <a:pt x="125" y="424"/>
                </a:cubicBezTo>
                <a:cubicBezTo>
                  <a:pt x="126" y="424"/>
                  <a:pt x="127" y="424"/>
                  <a:pt x="129" y="424"/>
                </a:cubicBezTo>
                <a:cubicBezTo>
                  <a:pt x="129" y="424"/>
                  <a:pt x="129" y="425"/>
                  <a:pt x="130" y="426"/>
                </a:cubicBezTo>
                <a:cubicBezTo>
                  <a:pt x="131" y="427"/>
                  <a:pt x="131" y="428"/>
                  <a:pt x="131" y="428"/>
                </a:cubicBezTo>
                <a:cubicBezTo>
                  <a:pt x="131" y="429"/>
                  <a:pt x="131" y="429"/>
                  <a:pt x="131" y="429"/>
                </a:cubicBezTo>
                <a:cubicBezTo>
                  <a:pt x="130" y="429"/>
                  <a:pt x="129" y="429"/>
                  <a:pt x="128" y="428"/>
                </a:cubicBezTo>
                <a:cubicBezTo>
                  <a:pt x="127" y="427"/>
                  <a:pt x="126" y="427"/>
                  <a:pt x="125" y="427"/>
                </a:cubicBezTo>
                <a:cubicBezTo>
                  <a:pt x="124" y="427"/>
                  <a:pt x="123" y="427"/>
                  <a:pt x="123" y="428"/>
                </a:cubicBezTo>
                <a:cubicBezTo>
                  <a:pt x="123" y="429"/>
                  <a:pt x="124" y="430"/>
                  <a:pt x="125" y="431"/>
                </a:cubicBezTo>
                <a:cubicBezTo>
                  <a:pt x="125" y="433"/>
                  <a:pt x="126" y="433"/>
                  <a:pt x="126" y="434"/>
                </a:cubicBezTo>
                <a:cubicBezTo>
                  <a:pt x="126" y="434"/>
                  <a:pt x="125" y="433"/>
                  <a:pt x="123" y="432"/>
                </a:cubicBezTo>
                <a:cubicBezTo>
                  <a:pt x="122" y="431"/>
                  <a:pt x="119" y="431"/>
                  <a:pt x="115" y="431"/>
                </a:cubicBezTo>
                <a:cubicBezTo>
                  <a:pt x="108" y="431"/>
                  <a:pt x="103" y="432"/>
                  <a:pt x="100" y="433"/>
                </a:cubicBezTo>
                <a:cubicBezTo>
                  <a:pt x="99" y="434"/>
                  <a:pt x="95" y="435"/>
                  <a:pt x="89" y="435"/>
                </a:cubicBezTo>
                <a:cubicBezTo>
                  <a:pt x="82" y="436"/>
                  <a:pt x="78" y="437"/>
                  <a:pt x="78" y="437"/>
                </a:cubicBezTo>
                <a:cubicBezTo>
                  <a:pt x="78" y="438"/>
                  <a:pt x="80" y="438"/>
                  <a:pt x="86" y="438"/>
                </a:cubicBezTo>
                <a:cubicBezTo>
                  <a:pt x="92" y="438"/>
                  <a:pt x="95" y="438"/>
                  <a:pt x="95" y="438"/>
                </a:cubicBezTo>
                <a:cubicBezTo>
                  <a:pt x="95" y="439"/>
                  <a:pt x="94" y="439"/>
                  <a:pt x="94" y="439"/>
                </a:cubicBezTo>
                <a:cubicBezTo>
                  <a:pt x="93" y="440"/>
                  <a:pt x="91" y="440"/>
                  <a:pt x="90" y="440"/>
                </a:cubicBezTo>
                <a:cubicBezTo>
                  <a:pt x="88" y="440"/>
                  <a:pt x="86" y="440"/>
                  <a:pt x="83" y="440"/>
                </a:cubicBezTo>
                <a:cubicBezTo>
                  <a:pt x="80" y="441"/>
                  <a:pt x="78" y="441"/>
                  <a:pt x="75" y="441"/>
                </a:cubicBezTo>
                <a:cubicBezTo>
                  <a:pt x="73" y="442"/>
                  <a:pt x="71" y="442"/>
                  <a:pt x="70" y="442"/>
                </a:cubicBezTo>
                <a:close/>
                <a:moveTo>
                  <a:pt x="307" y="53"/>
                </a:moveTo>
                <a:cubicBezTo>
                  <a:pt x="309" y="52"/>
                  <a:pt x="310" y="51"/>
                  <a:pt x="310" y="50"/>
                </a:cubicBezTo>
                <a:cubicBezTo>
                  <a:pt x="309" y="49"/>
                  <a:pt x="309" y="49"/>
                  <a:pt x="308" y="49"/>
                </a:cubicBezTo>
                <a:cubicBezTo>
                  <a:pt x="307" y="49"/>
                  <a:pt x="306" y="50"/>
                  <a:pt x="306" y="51"/>
                </a:cubicBezTo>
                <a:lnTo>
                  <a:pt x="306" y="52"/>
                </a:lnTo>
                <a:cubicBezTo>
                  <a:pt x="306" y="52"/>
                  <a:pt x="306" y="53"/>
                  <a:pt x="306" y="53"/>
                </a:cubicBezTo>
                <a:lnTo>
                  <a:pt x="307" y="53"/>
                </a:lnTo>
                <a:close/>
                <a:moveTo>
                  <a:pt x="298" y="59"/>
                </a:moveTo>
                <a:cubicBezTo>
                  <a:pt x="299" y="59"/>
                  <a:pt x="299" y="58"/>
                  <a:pt x="299" y="56"/>
                </a:cubicBezTo>
                <a:cubicBezTo>
                  <a:pt x="299" y="55"/>
                  <a:pt x="299" y="54"/>
                  <a:pt x="298" y="54"/>
                </a:cubicBezTo>
                <a:lnTo>
                  <a:pt x="298" y="54"/>
                </a:lnTo>
                <a:cubicBezTo>
                  <a:pt x="297" y="55"/>
                  <a:pt x="296" y="55"/>
                  <a:pt x="296" y="56"/>
                </a:cubicBezTo>
                <a:cubicBezTo>
                  <a:pt x="296" y="56"/>
                  <a:pt x="297" y="57"/>
                  <a:pt x="297" y="58"/>
                </a:cubicBezTo>
                <a:cubicBezTo>
                  <a:pt x="298" y="59"/>
                  <a:pt x="298" y="59"/>
                  <a:pt x="298" y="59"/>
                </a:cubicBezTo>
                <a:close/>
                <a:moveTo>
                  <a:pt x="66" y="277"/>
                </a:moveTo>
                <a:cubicBezTo>
                  <a:pt x="68" y="277"/>
                  <a:pt x="68" y="276"/>
                  <a:pt x="68" y="274"/>
                </a:cubicBezTo>
                <a:cubicBezTo>
                  <a:pt x="68" y="273"/>
                  <a:pt x="68" y="272"/>
                  <a:pt x="67" y="272"/>
                </a:cubicBezTo>
                <a:lnTo>
                  <a:pt x="66" y="272"/>
                </a:lnTo>
                <a:cubicBezTo>
                  <a:pt x="65" y="273"/>
                  <a:pt x="64" y="274"/>
                  <a:pt x="64" y="275"/>
                </a:cubicBezTo>
                <a:cubicBezTo>
                  <a:pt x="64" y="277"/>
                  <a:pt x="65" y="277"/>
                  <a:pt x="66" y="277"/>
                </a:cubicBezTo>
                <a:close/>
                <a:moveTo>
                  <a:pt x="32" y="342"/>
                </a:moveTo>
                <a:lnTo>
                  <a:pt x="34" y="340"/>
                </a:lnTo>
                <a:cubicBezTo>
                  <a:pt x="35" y="339"/>
                  <a:pt x="35" y="338"/>
                  <a:pt x="35" y="338"/>
                </a:cubicBezTo>
                <a:cubicBezTo>
                  <a:pt x="35" y="337"/>
                  <a:pt x="35" y="337"/>
                  <a:pt x="35" y="337"/>
                </a:cubicBezTo>
                <a:cubicBezTo>
                  <a:pt x="34" y="337"/>
                  <a:pt x="33" y="338"/>
                  <a:pt x="33" y="340"/>
                </a:cubicBezTo>
                <a:lnTo>
                  <a:pt x="32" y="342"/>
                </a:lnTo>
                <a:close/>
                <a:moveTo>
                  <a:pt x="12" y="385"/>
                </a:moveTo>
                <a:cubicBezTo>
                  <a:pt x="12" y="385"/>
                  <a:pt x="12" y="384"/>
                  <a:pt x="12" y="384"/>
                </a:cubicBezTo>
                <a:cubicBezTo>
                  <a:pt x="12" y="384"/>
                  <a:pt x="12" y="384"/>
                  <a:pt x="11" y="383"/>
                </a:cubicBezTo>
                <a:cubicBezTo>
                  <a:pt x="10" y="382"/>
                  <a:pt x="10" y="382"/>
                  <a:pt x="9" y="382"/>
                </a:cubicBezTo>
                <a:cubicBezTo>
                  <a:pt x="8" y="382"/>
                  <a:pt x="8" y="382"/>
                  <a:pt x="8" y="383"/>
                </a:cubicBezTo>
                <a:cubicBezTo>
                  <a:pt x="8" y="384"/>
                  <a:pt x="8" y="384"/>
                  <a:pt x="8" y="384"/>
                </a:cubicBezTo>
                <a:cubicBezTo>
                  <a:pt x="9" y="384"/>
                  <a:pt x="9" y="384"/>
                  <a:pt x="10" y="385"/>
                </a:cubicBezTo>
                <a:lnTo>
                  <a:pt x="12" y="385"/>
                </a:lnTo>
                <a:close/>
                <a:moveTo>
                  <a:pt x="13" y="366"/>
                </a:moveTo>
                <a:cubicBezTo>
                  <a:pt x="13" y="366"/>
                  <a:pt x="14" y="365"/>
                  <a:pt x="15" y="362"/>
                </a:cubicBezTo>
                <a:cubicBezTo>
                  <a:pt x="17" y="359"/>
                  <a:pt x="18" y="357"/>
                  <a:pt x="18" y="355"/>
                </a:cubicBezTo>
                <a:lnTo>
                  <a:pt x="18" y="355"/>
                </a:lnTo>
                <a:cubicBezTo>
                  <a:pt x="17" y="355"/>
                  <a:pt x="16" y="357"/>
                  <a:pt x="15" y="359"/>
                </a:cubicBezTo>
                <a:cubicBezTo>
                  <a:pt x="13" y="362"/>
                  <a:pt x="12" y="365"/>
                  <a:pt x="12" y="366"/>
                </a:cubicBezTo>
                <a:cubicBezTo>
                  <a:pt x="12" y="366"/>
                  <a:pt x="12" y="366"/>
                  <a:pt x="13" y="366"/>
                </a:cubicBezTo>
                <a:close/>
                <a:moveTo>
                  <a:pt x="20" y="345"/>
                </a:moveTo>
                <a:cubicBezTo>
                  <a:pt x="21" y="345"/>
                  <a:pt x="22" y="345"/>
                  <a:pt x="23" y="344"/>
                </a:cubicBezTo>
                <a:cubicBezTo>
                  <a:pt x="23" y="343"/>
                  <a:pt x="24" y="341"/>
                  <a:pt x="24" y="340"/>
                </a:cubicBezTo>
                <a:lnTo>
                  <a:pt x="24" y="339"/>
                </a:lnTo>
                <a:lnTo>
                  <a:pt x="23" y="339"/>
                </a:lnTo>
                <a:cubicBezTo>
                  <a:pt x="23" y="339"/>
                  <a:pt x="22" y="340"/>
                  <a:pt x="21" y="341"/>
                </a:cubicBezTo>
                <a:cubicBezTo>
                  <a:pt x="20" y="343"/>
                  <a:pt x="20" y="344"/>
                  <a:pt x="20" y="345"/>
                </a:cubicBezTo>
                <a:cubicBezTo>
                  <a:pt x="20" y="345"/>
                  <a:pt x="20" y="345"/>
                  <a:pt x="20" y="345"/>
                </a:cubicBezTo>
                <a:close/>
                <a:moveTo>
                  <a:pt x="95" y="213"/>
                </a:moveTo>
                <a:cubicBezTo>
                  <a:pt x="97" y="212"/>
                  <a:pt x="99" y="210"/>
                  <a:pt x="101" y="207"/>
                </a:cubicBezTo>
                <a:lnTo>
                  <a:pt x="103" y="203"/>
                </a:lnTo>
                <a:lnTo>
                  <a:pt x="103" y="203"/>
                </a:lnTo>
                <a:cubicBezTo>
                  <a:pt x="102" y="203"/>
                  <a:pt x="100" y="205"/>
                  <a:pt x="97" y="208"/>
                </a:cubicBezTo>
                <a:cubicBezTo>
                  <a:pt x="96" y="210"/>
                  <a:pt x="95" y="212"/>
                  <a:pt x="95" y="213"/>
                </a:cubicBezTo>
                <a:lnTo>
                  <a:pt x="95" y="213"/>
                </a:lnTo>
                <a:close/>
                <a:moveTo>
                  <a:pt x="106" y="195"/>
                </a:moveTo>
                <a:close/>
                <a:moveTo>
                  <a:pt x="84" y="275"/>
                </a:moveTo>
                <a:cubicBezTo>
                  <a:pt x="84" y="274"/>
                  <a:pt x="85" y="273"/>
                  <a:pt x="86" y="271"/>
                </a:cubicBezTo>
                <a:cubicBezTo>
                  <a:pt x="89" y="269"/>
                  <a:pt x="90" y="267"/>
                  <a:pt x="91" y="267"/>
                </a:cubicBezTo>
                <a:lnTo>
                  <a:pt x="91" y="267"/>
                </a:lnTo>
                <a:cubicBezTo>
                  <a:pt x="91" y="268"/>
                  <a:pt x="91" y="268"/>
                  <a:pt x="90" y="269"/>
                </a:cubicBezTo>
                <a:cubicBezTo>
                  <a:pt x="89" y="270"/>
                  <a:pt x="89" y="270"/>
                  <a:pt x="88" y="271"/>
                </a:cubicBezTo>
                <a:cubicBezTo>
                  <a:pt x="87" y="272"/>
                  <a:pt x="87" y="273"/>
                  <a:pt x="86" y="274"/>
                </a:cubicBezTo>
                <a:cubicBezTo>
                  <a:pt x="85" y="275"/>
                  <a:pt x="84" y="275"/>
                  <a:pt x="84" y="275"/>
                </a:cubicBezTo>
                <a:close/>
                <a:moveTo>
                  <a:pt x="63" y="283"/>
                </a:moveTo>
                <a:lnTo>
                  <a:pt x="64" y="283"/>
                </a:lnTo>
                <a:lnTo>
                  <a:pt x="63" y="283"/>
                </a:lnTo>
                <a:close/>
                <a:moveTo>
                  <a:pt x="107" y="195"/>
                </a:moveTo>
                <a:cubicBezTo>
                  <a:pt x="107" y="195"/>
                  <a:pt x="106" y="195"/>
                  <a:pt x="106" y="195"/>
                </a:cubicBezTo>
                <a:cubicBezTo>
                  <a:pt x="106" y="194"/>
                  <a:pt x="107" y="194"/>
                  <a:pt x="108" y="193"/>
                </a:cubicBezTo>
                <a:cubicBezTo>
                  <a:pt x="109" y="193"/>
                  <a:pt x="109" y="192"/>
                  <a:pt x="111" y="191"/>
                </a:cubicBezTo>
                <a:lnTo>
                  <a:pt x="112" y="189"/>
                </a:lnTo>
                <a:lnTo>
                  <a:pt x="113" y="190"/>
                </a:lnTo>
                <a:lnTo>
                  <a:pt x="110" y="192"/>
                </a:lnTo>
                <a:cubicBezTo>
                  <a:pt x="109" y="194"/>
                  <a:pt x="108" y="195"/>
                  <a:pt x="107" y="195"/>
                </a:cubicBezTo>
                <a:close/>
                <a:moveTo>
                  <a:pt x="356" y="38"/>
                </a:moveTo>
                <a:lnTo>
                  <a:pt x="353" y="38"/>
                </a:lnTo>
                <a:cubicBezTo>
                  <a:pt x="353" y="38"/>
                  <a:pt x="353" y="37"/>
                  <a:pt x="355" y="36"/>
                </a:cubicBezTo>
                <a:cubicBezTo>
                  <a:pt x="356" y="36"/>
                  <a:pt x="357" y="36"/>
                  <a:pt x="358" y="36"/>
                </a:cubicBezTo>
                <a:cubicBezTo>
                  <a:pt x="358" y="36"/>
                  <a:pt x="359" y="36"/>
                  <a:pt x="359" y="36"/>
                </a:cubicBezTo>
                <a:cubicBezTo>
                  <a:pt x="360" y="36"/>
                  <a:pt x="360" y="36"/>
                  <a:pt x="360" y="36"/>
                </a:cubicBezTo>
                <a:cubicBezTo>
                  <a:pt x="360" y="37"/>
                  <a:pt x="358" y="38"/>
                  <a:pt x="356" y="38"/>
                </a:cubicBezTo>
                <a:close/>
                <a:moveTo>
                  <a:pt x="411" y="709"/>
                </a:moveTo>
                <a:cubicBezTo>
                  <a:pt x="409" y="709"/>
                  <a:pt x="407" y="709"/>
                  <a:pt x="407" y="709"/>
                </a:cubicBezTo>
                <a:cubicBezTo>
                  <a:pt x="407" y="708"/>
                  <a:pt x="408" y="708"/>
                  <a:pt x="409" y="708"/>
                </a:cubicBezTo>
                <a:lnTo>
                  <a:pt x="411" y="707"/>
                </a:lnTo>
                <a:cubicBezTo>
                  <a:pt x="413" y="707"/>
                  <a:pt x="414" y="707"/>
                  <a:pt x="414" y="708"/>
                </a:cubicBezTo>
                <a:cubicBezTo>
                  <a:pt x="414" y="709"/>
                  <a:pt x="413" y="709"/>
                  <a:pt x="411" y="709"/>
                </a:cubicBezTo>
                <a:close/>
                <a:moveTo>
                  <a:pt x="383" y="743"/>
                </a:moveTo>
                <a:cubicBezTo>
                  <a:pt x="382" y="743"/>
                  <a:pt x="382" y="743"/>
                  <a:pt x="382" y="742"/>
                </a:cubicBezTo>
                <a:cubicBezTo>
                  <a:pt x="382" y="741"/>
                  <a:pt x="382" y="740"/>
                  <a:pt x="384" y="737"/>
                </a:cubicBezTo>
                <a:cubicBezTo>
                  <a:pt x="386" y="736"/>
                  <a:pt x="388" y="734"/>
                  <a:pt x="390" y="731"/>
                </a:cubicBezTo>
                <a:cubicBezTo>
                  <a:pt x="392" y="729"/>
                  <a:pt x="395" y="726"/>
                  <a:pt x="397" y="723"/>
                </a:cubicBezTo>
                <a:cubicBezTo>
                  <a:pt x="400" y="719"/>
                  <a:pt x="401" y="718"/>
                  <a:pt x="402" y="718"/>
                </a:cubicBezTo>
                <a:lnTo>
                  <a:pt x="402" y="718"/>
                </a:lnTo>
                <a:cubicBezTo>
                  <a:pt x="402" y="719"/>
                  <a:pt x="399" y="724"/>
                  <a:pt x="393" y="733"/>
                </a:cubicBezTo>
                <a:cubicBezTo>
                  <a:pt x="388" y="740"/>
                  <a:pt x="385" y="743"/>
                  <a:pt x="383" y="743"/>
                </a:cubicBezTo>
                <a:close/>
                <a:moveTo>
                  <a:pt x="501" y="558"/>
                </a:moveTo>
                <a:cubicBezTo>
                  <a:pt x="501" y="558"/>
                  <a:pt x="501" y="558"/>
                  <a:pt x="501" y="556"/>
                </a:cubicBezTo>
                <a:cubicBezTo>
                  <a:pt x="501" y="554"/>
                  <a:pt x="503" y="551"/>
                  <a:pt x="507" y="547"/>
                </a:cubicBezTo>
                <a:cubicBezTo>
                  <a:pt x="510" y="544"/>
                  <a:pt x="512" y="543"/>
                  <a:pt x="513" y="543"/>
                </a:cubicBezTo>
                <a:cubicBezTo>
                  <a:pt x="513" y="543"/>
                  <a:pt x="511" y="545"/>
                  <a:pt x="508" y="549"/>
                </a:cubicBezTo>
                <a:cubicBezTo>
                  <a:pt x="504" y="554"/>
                  <a:pt x="502" y="557"/>
                  <a:pt x="502" y="557"/>
                </a:cubicBezTo>
                <a:cubicBezTo>
                  <a:pt x="502" y="558"/>
                  <a:pt x="502" y="558"/>
                  <a:pt x="501" y="558"/>
                </a:cubicBezTo>
                <a:close/>
                <a:moveTo>
                  <a:pt x="350" y="649"/>
                </a:moveTo>
                <a:cubicBezTo>
                  <a:pt x="349" y="649"/>
                  <a:pt x="348" y="648"/>
                  <a:pt x="347" y="646"/>
                </a:cubicBezTo>
                <a:cubicBezTo>
                  <a:pt x="347" y="645"/>
                  <a:pt x="346" y="644"/>
                  <a:pt x="346" y="643"/>
                </a:cubicBezTo>
                <a:cubicBezTo>
                  <a:pt x="346" y="642"/>
                  <a:pt x="347" y="641"/>
                  <a:pt x="347" y="641"/>
                </a:cubicBezTo>
                <a:cubicBezTo>
                  <a:pt x="348" y="641"/>
                  <a:pt x="349" y="642"/>
                  <a:pt x="350" y="644"/>
                </a:cubicBezTo>
                <a:lnTo>
                  <a:pt x="350" y="648"/>
                </a:lnTo>
                <a:cubicBezTo>
                  <a:pt x="350" y="649"/>
                  <a:pt x="350" y="649"/>
                  <a:pt x="350" y="649"/>
                </a:cubicBezTo>
                <a:close/>
                <a:moveTo>
                  <a:pt x="444" y="634"/>
                </a:moveTo>
                <a:cubicBezTo>
                  <a:pt x="444" y="634"/>
                  <a:pt x="444" y="633"/>
                  <a:pt x="444" y="632"/>
                </a:cubicBezTo>
                <a:cubicBezTo>
                  <a:pt x="444" y="631"/>
                  <a:pt x="444" y="630"/>
                  <a:pt x="446" y="627"/>
                </a:cubicBezTo>
                <a:cubicBezTo>
                  <a:pt x="458" y="612"/>
                  <a:pt x="464" y="605"/>
                  <a:pt x="466" y="605"/>
                </a:cubicBezTo>
                <a:cubicBezTo>
                  <a:pt x="466" y="605"/>
                  <a:pt x="466" y="605"/>
                  <a:pt x="466" y="606"/>
                </a:cubicBezTo>
                <a:cubicBezTo>
                  <a:pt x="466" y="608"/>
                  <a:pt x="466" y="610"/>
                  <a:pt x="464" y="610"/>
                </a:cubicBezTo>
                <a:cubicBezTo>
                  <a:pt x="463" y="610"/>
                  <a:pt x="461" y="613"/>
                  <a:pt x="457" y="620"/>
                </a:cubicBezTo>
                <a:cubicBezTo>
                  <a:pt x="455" y="624"/>
                  <a:pt x="453" y="627"/>
                  <a:pt x="450" y="630"/>
                </a:cubicBezTo>
                <a:cubicBezTo>
                  <a:pt x="448" y="632"/>
                  <a:pt x="446" y="634"/>
                  <a:pt x="444" y="634"/>
                </a:cubicBezTo>
                <a:close/>
                <a:moveTo>
                  <a:pt x="419" y="673"/>
                </a:moveTo>
                <a:lnTo>
                  <a:pt x="419" y="672"/>
                </a:lnTo>
                <a:cubicBezTo>
                  <a:pt x="419" y="672"/>
                  <a:pt x="420" y="670"/>
                  <a:pt x="421" y="666"/>
                </a:cubicBezTo>
                <a:cubicBezTo>
                  <a:pt x="424" y="661"/>
                  <a:pt x="426" y="658"/>
                  <a:pt x="427" y="658"/>
                </a:cubicBezTo>
                <a:cubicBezTo>
                  <a:pt x="429" y="658"/>
                  <a:pt x="429" y="657"/>
                  <a:pt x="429" y="654"/>
                </a:cubicBezTo>
                <a:cubicBezTo>
                  <a:pt x="429" y="651"/>
                  <a:pt x="430" y="649"/>
                  <a:pt x="433" y="648"/>
                </a:cubicBezTo>
                <a:lnTo>
                  <a:pt x="434" y="648"/>
                </a:lnTo>
                <a:cubicBezTo>
                  <a:pt x="435" y="648"/>
                  <a:pt x="435" y="648"/>
                  <a:pt x="435" y="648"/>
                </a:cubicBezTo>
                <a:cubicBezTo>
                  <a:pt x="435" y="650"/>
                  <a:pt x="433" y="654"/>
                  <a:pt x="429" y="660"/>
                </a:cubicBezTo>
                <a:cubicBezTo>
                  <a:pt x="423" y="669"/>
                  <a:pt x="420" y="673"/>
                  <a:pt x="419" y="673"/>
                </a:cubicBezTo>
                <a:close/>
                <a:moveTo>
                  <a:pt x="351" y="666"/>
                </a:moveTo>
                <a:cubicBezTo>
                  <a:pt x="350" y="666"/>
                  <a:pt x="348" y="664"/>
                  <a:pt x="346" y="661"/>
                </a:cubicBezTo>
                <a:cubicBezTo>
                  <a:pt x="344" y="657"/>
                  <a:pt x="343" y="655"/>
                  <a:pt x="343" y="653"/>
                </a:cubicBezTo>
                <a:lnTo>
                  <a:pt x="343" y="653"/>
                </a:lnTo>
                <a:cubicBezTo>
                  <a:pt x="343" y="653"/>
                  <a:pt x="345" y="654"/>
                  <a:pt x="348" y="658"/>
                </a:cubicBezTo>
                <a:cubicBezTo>
                  <a:pt x="350" y="661"/>
                  <a:pt x="351" y="664"/>
                  <a:pt x="351" y="665"/>
                </a:cubicBezTo>
                <a:lnTo>
                  <a:pt x="351" y="666"/>
                </a:lnTo>
                <a:close/>
                <a:moveTo>
                  <a:pt x="353" y="639"/>
                </a:moveTo>
                <a:cubicBezTo>
                  <a:pt x="352" y="639"/>
                  <a:pt x="352" y="639"/>
                  <a:pt x="350" y="637"/>
                </a:cubicBezTo>
                <a:cubicBezTo>
                  <a:pt x="349" y="636"/>
                  <a:pt x="349" y="634"/>
                  <a:pt x="349" y="634"/>
                </a:cubicBezTo>
                <a:cubicBezTo>
                  <a:pt x="349" y="632"/>
                  <a:pt x="349" y="632"/>
                  <a:pt x="350" y="632"/>
                </a:cubicBezTo>
                <a:cubicBezTo>
                  <a:pt x="351" y="632"/>
                  <a:pt x="352" y="633"/>
                  <a:pt x="352" y="635"/>
                </a:cubicBezTo>
                <a:lnTo>
                  <a:pt x="353" y="639"/>
                </a:lnTo>
                <a:cubicBezTo>
                  <a:pt x="353" y="639"/>
                  <a:pt x="353" y="639"/>
                  <a:pt x="353" y="639"/>
                </a:cubicBezTo>
                <a:close/>
                <a:moveTo>
                  <a:pt x="568" y="652"/>
                </a:moveTo>
                <a:cubicBezTo>
                  <a:pt x="567" y="652"/>
                  <a:pt x="567" y="652"/>
                  <a:pt x="567" y="651"/>
                </a:cubicBezTo>
                <a:cubicBezTo>
                  <a:pt x="567" y="650"/>
                  <a:pt x="568" y="649"/>
                  <a:pt x="568" y="649"/>
                </a:cubicBezTo>
                <a:cubicBezTo>
                  <a:pt x="569" y="648"/>
                  <a:pt x="571" y="647"/>
                  <a:pt x="573" y="645"/>
                </a:cubicBezTo>
                <a:cubicBezTo>
                  <a:pt x="574" y="644"/>
                  <a:pt x="575" y="643"/>
                  <a:pt x="576" y="643"/>
                </a:cubicBezTo>
                <a:lnTo>
                  <a:pt x="573" y="647"/>
                </a:lnTo>
                <a:cubicBezTo>
                  <a:pt x="571" y="650"/>
                  <a:pt x="569" y="652"/>
                  <a:pt x="568" y="652"/>
                </a:cubicBezTo>
                <a:close/>
                <a:moveTo>
                  <a:pt x="347" y="679"/>
                </a:moveTo>
                <a:cubicBezTo>
                  <a:pt x="347" y="679"/>
                  <a:pt x="346" y="679"/>
                  <a:pt x="346" y="679"/>
                </a:cubicBezTo>
                <a:lnTo>
                  <a:pt x="345" y="678"/>
                </a:lnTo>
                <a:lnTo>
                  <a:pt x="345" y="674"/>
                </a:lnTo>
                <a:lnTo>
                  <a:pt x="341" y="665"/>
                </a:lnTo>
                <a:cubicBezTo>
                  <a:pt x="342" y="665"/>
                  <a:pt x="343" y="666"/>
                  <a:pt x="345" y="668"/>
                </a:cubicBezTo>
                <a:cubicBezTo>
                  <a:pt x="348" y="669"/>
                  <a:pt x="349" y="671"/>
                  <a:pt x="349" y="672"/>
                </a:cubicBezTo>
                <a:cubicBezTo>
                  <a:pt x="349" y="673"/>
                  <a:pt x="349" y="673"/>
                  <a:pt x="349" y="673"/>
                </a:cubicBezTo>
                <a:cubicBezTo>
                  <a:pt x="347" y="673"/>
                  <a:pt x="347" y="674"/>
                  <a:pt x="347" y="676"/>
                </a:cubicBezTo>
                <a:lnTo>
                  <a:pt x="348" y="679"/>
                </a:lnTo>
                <a:cubicBezTo>
                  <a:pt x="348" y="679"/>
                  <a:pt x="348" y="679"/>
                  <a:pt x="347" y="679"/>
                </a:cubicBezTo>
                <a:close/>
                <a:moveTo>
                  <a:pt x="430" y="421"/>
                </a:moveTo>
                <a:cubicBezTo>
                  <a:pt x="430" y="421"/>
                  <a:pt x="429" y="420"/>
                  <a:pt x="429" y="417"/>
                </a:cubicBezTo>
                <a:cubicBezTo>
                  <a:pt x="429" y="415"/>
                  <a:pt x="430" y="414"/>
                  <a:pt x="430" y="414"/>
                </a:cubicBezTo>
                <a:cubicBezTo>
                  <a:pt x="430" y="414"/>
                  <a:pt x="431" y="414"/>
                  <a:pt x="431" y="415"/>
                </a:cubicBezTo>
                <a:cubicBezTo>
                  <a:pt x="432" y="416"/>
                  <a:pt x="432" y="417"/>
                  <a:pt x="432" y="418"/>
                </a:cubicBezTo>
                <a:cubicBezTo>
                  <a:pt x="432" y="419"/>
                  <a:pt x="432" y="420"/>
                  <a:pt x="431" y="421"/>
                </a:cubicBezTo>
                <a:lnTo>
                  <a:pt x="430" y="421"/>
                </a:lnTo>
                <a:close/>
                <a:moveTo>
                  <a:pt x="330" y="808"/>
                </a:moveTo>
                <a:cubicBezTo>
                  <a:pt x="327" y="808"/>
                  <a:pt x="325" y="807"/>
                  <a:pt x="323" y="805"/>
                </a:cubicBezTo>
                <a:cubicBezTo>
                  <a:pt x="321" y="802"/>
                  <a:pt x="317" y="801"/>
                  <a:pt x="313" y="801"/>
                </a:cubicBezTo>
                <a:cubicBezTo>
                  <a:pt x="301" y="801"/>
                  <a:pt x="295" y="792"/>
                  <a:pt x="295" y="774"/>
                </a:cubicBezTo>
                <a:cubicBezTo>
                  <a:pt x="295" y="758"/>
                  <a:pt x="299" y="735"/>
                  <a:pt x="306" y="704"/>
                </a:cubicBezTo>
                <a:cubicBezTo>
                  <a:pt x="308" y="692"/>
                  <a:pt x="309" y="684"/>
                  <a:pt x="309" y="680"/>
                </a:cubicBezTo>
                <a:cubicBezTo>
                  <a:pt x="309" y="678"/>
                  <a:pt x="309" y="677"/>
                  <a:pt x="308" y="677"/>
                </a:cubicBezTo>
                <a:cubicBezTo>
                  <a:pt x="307" y="676"/>
                  <a:pt x="307" y="676"/>
                  <a:pt x="306" y="675"/>
                </a:cubicBezTo>
                <a:cubicBezTo>
                  <a:pt x="306" y="674"/>
                  <a:pt x="306" y="672"/>
                  <a:pt x="306" y="671"/>
                </a:cubicBezTo>
                <a:cubicBezTo>
                  <a:pt x="306" y="669"/>
                  <a:pt x="306" y="667"/>
                  <a:pt x="306" y="667"/>
                </a:cubicBezTo>
                <a:cubicBezTo>
                  <a:pt x="307" y="667"/>
                  <a:pt x="308" y="668"/>
                  <a:pt x="309" y="670"/>
                </a:cubicBezTo>
                <a:cubicBezTo>
                  <a:pt x="310" y="672"/>
                  <a:pt x="311" y="673"/>
                  <a:pt x="312" y="673"/>
                </a:cubicBezTo>
                <a:cubicBezTo>
                  <a:pt x="313" y="673"/>
                  <a:pt x="314" y="672"/>
                  <a:pt x="314" y="670"/>
                </a:cubicBezTo>
                <a:cubicBezTo>
                  <a:pt x="314" y="669"/>
                  <a:pt x="313" y="668"/>
                  <a:pt x="312" y="666"/>
                </a:cubicBezTo>
                <a:cubicBezTo>
                  <a:pt x="311" y="665"/>
                  <a:pt x="310" y="664"/>
                  <a:pt x="309" y="663"/>
                </a:cubicBezTo>
                <a:cubicBezTo>
                  <a:pt x="309" y="661"/>
                  <a:pt x="308" y="661"/>
                  <a:pt x="308" y="660"/>
                </a:cubicBezTo>
                <a:cubicBezTo>
                  <a:pt x="308" y="659"/>
                  <a:pt x="309" y="659"/>
                  <a:pt x="309" y="659"/>
                </a:cubicBezTo>
                <a:cubicBezTo>
                  <a:pt x="310" y="659"/>
                  <a:pt x="310" y="659"/>
                  <a:pt x="311" y="659"/>
                </a:cubicBezTo>
                <a:cubicBezTo>
                  <a:pt x="312" y="659"/>
                  <a:pt x="312" y="660"/>
                  <a:pt x="313" y="660"/>
                </a:cubicBezTo>
                <a:cubicBezTo>
                  <a:pt x="315" y="660"/>
                  <a:pt x="316" y="659"/>
                  <a:pt x="316" y="657"/>
                </a:cubicBezTo>
                <a:cubicBezTo>
                  <a:pt x="316" y="656"/>
                  <a:pt x="315" y="655"/>
                  <a:pt x="315" y="655"/>
                </a:cubicBezTo>
                <a:cubicBezTo>
                  <a:pt x="314" y="655"/>
                  <a:pt x="313" y="655"/>
                  <a:pt x="313" y="654"/>
                </a:cubicBezTo>
                <a:cubicBezTo>
                  <a:pt x="313" y="653"/>
                  <a:pt x="314" y="652"/>
                  <a:pt x="316" y="649"/>
                </a:cubicBezTo>
                <a:cubicBezTo>
                  <a:pt x="318" y="647"/>
                  <a:pt x="318" y="646"/>
                  <a:pt x="318" y="645"/>
                </a:cubicBezTo>
                <a:cubicBezTo>
                  <a:pt x="318" y="644"/>
                  <a:pt x="318" y="644"/>
                  <a:pt x="318" y="644"/>
                </a:cubicBezTo>
                <a:cubicBezTo>
                  <a:pt x="315" y="643"/>
                  <a:pt x="314" y="640"/>
                  <a:pt x="314" y="637"/>
                </a:cubicBezTo>
                <a:cubicBezTo>
                  <a:pt x="314" y="634"/>
                  <a:pt x="315" y="631"/>
                  <a:pt x="317" y="628"/>
                </a:cubicBezTo>
                <a:lnTo>
                  <a:pt x="318" y="626"/>
                </a:lnTo>
                <a:cubicBezTo>
                  <a:pt x="319" y="626"/>
                  <a:pt x="319" y="626"/>
                  <a:pt x="319" y="627"/>
                </a:cubicBezTo>
                <a:cubicBezTo>
                  <a:pt x="319" y="628"/>
                  <a:pt x="319" y="629"/>
                  <a:pt x="318" y="632"/>
                </a:cubicBezTo>
                <a:cubicBezTo>
                  <a:pt x="318" y="634"/>
                  <a:pt x="318" y="637"/>
                  <a:pt x="318" y="638"/>
                </a:cubicBezTo>
                <a:cubicBezTo>
                  <a:pt x="318" y="639"/>
                  <a:pt x="318" y="639"/>
                  <a:pt x="318" y="639"/>
                </a:cubicBezTo>
                <a:cubicBezTo>
                  <a:pt x="320" y="638"/>
                  <a:pt x="320" y="637"/>
                  <a:pt x="320" y="636"/>
                </a:cubicBezTo>
                <a:cubicBezTo>
                  <a:pt x="320" y="634"/>
                  <a:pt x="321" y="633"/>
                  <a:pt x="321" y="632"/>
                </a:cubicBezTo>
                <a:cubicBezTo>
                  <a:pt x="322" y="631"/>
                  <a:pt x="322" y="630"/>
                  <a:pt x="322" y="629"/>
                </a:cubicBezTo>
                <a:cubicBezTo>
                  <a:pt x="323" y="628"/>
                  <a:pt x="323" y="628"/>
                  <a:pt x="323" y="627"/>
                </a:cubicBezTo>
                <a:cubicBezTo>
                  <a:pt x="324" y="626"/>
                  <a:pt x="324" y="624"/>
                  <a:pt x="324" y="623"/>
                </a:cubicBezTo>
                <a:cubicBezTo>
                  <a:pt x="324" y="622"/>
                  <a:pt x="324" y="622"/>
                  <a:pt x="323" y="621"/>
                </a:cubicBezTo>
                <a:cubicBezTo>
                  <a:pt x="322" y="621"/>
                  <a:pt x="321" y="619"/>
                  <a:pt x="321" y="617"/>
                </a:cubicBezTo>
                <a:cubicBezTo>
                  <a:pt x="321" y="614"/>
                  <a:pt x="322" y="610"/>
                  <a:pt x="323" y="605"/>
                </a:cubicBezTo>
                <a:cubicBezTo>
                  <a:pt x="326" y="592"/>
                  <a:pt x="329" y="584"/>
                  <a:pt x="332" y="581"/>
                </a:cubicBezTo>
                <a:lnTo>
                  <a:pt x="334" y="579"/>
                </a:lnTo>
                <a:lnTo>
                  <a:pt x="332" y="585"/>
                </a:lnTo>
                <a:cubicBezTo>
                  <a:pt x="332" y="585"/>
                  <a:pt x="333" y="585"/>
                  <a:pt x="334" y="584"/>
                </a:cubicBezTo>
                <a:cubicBezTo>
                  <a:pt x="336" y="583"/>
                  <a:pt x="336" y="582"/>
                  <a:pt x="336" y="581"/>
                </a:cubicBezTo>
                <a:cubicBezTo>
                  <a:pt x="336" y="580"/>
                  <a:pt x="335" y="578"/>
                  <a:pt x="334" y="577"/>
                </a:cubicBezTo>
                <a:cubicBezTo>
                  <a:pt x="333" y="575"/>
                  <a:pt x="332" y="574"/>
                  <a:pt x="332" y="574"/>
                </a:cubicBezTo>
                <a:cubicBezTo>
                  <a:pt x="332" y="573"/>
                  <a:pt x="332" y="573"/>
                  <a:pt x="332" y="573"/>
                </a:cubicBezTo>
                <a:lnTo>
                  <a:pt x="335" y="574"/>
                </a:lnTo>
                <a:cubicBezTo>
                  <a:pt x="335" y="574"/>
                  <a:pt x="336" y="574"/>
                  <a:pt x="337" y="573"/>
                </a:cubicBezTo>
                <a:cubicBezTo>
                  <a:pt x="338" y="572"/>
                  <a:pt x="338" y="571"/>
                  <a:pt x="338" y="570"/>
                </a:cubicBezTo>
                <a:cubicBezTo>
                  <a:pt x="338" y="568"/>
                  <a:pt x="338" y="568"/>
                  <a:pt x="337" y="568"/>
                </a:cubicBezTo>
                <a:cubicBezTo>
                  <a:pt x="335" y="567"/>
                  <a:pt x="334" y="567"/>
                  <a:pt x="334" y="567"/>
                </a:cubicBezTo>
                <a:cubicBezTo>
                  <a:pt x="334" y="566"/>
                  <a:pt x="335" y="565"/>
                  <a:pt x="337" y="564"/>
                </a:cubicBezTo>
                <a:cubicBezTo>
                  <a:pt x="338" y="563"/>
                  <a:pt x="339" y="562"/>
                  <a:pt x="339" y="560"/>
                </a:cubicBezTo>
                <a:cubicBezTo>
                  <a:pt x="339" y="559"/>
                  <a:pt x="339" y="559"/>
                  <a:pt x="339" y="558"/>
                </a:cubicBezTo>
                <a:cubicBezTo>
                  <a:pt x="338" y="557"/>
                  <a:pt x="338" y="557"/>
                  <a:pt x="338" y="557"/>
                </a:cubicBezTo>
                <a:cubicBezTo>
                  <a:pt x="338" y="556"/>
                  <a:pt x="339" y="555"/>
                  <a:pt x="340" y="555"/>
                </a:cubicBezTo>
                <a:cubicBezTo>
                  <a:pt x="341" y="555"/>
                  <a:pt x="342" y="555"/>
                  <a:pt x="342" y="554"/>
                </a:cubicBezTo>
                <a:lnTo>
                  <a:pt x="341" y="551"/>
                </a:lnTo>
                <a:cubicBezTo>
                  <a:pt x="341" y="550"/>
                  <a:pt x="342" y="549"/>
                  <a:pt x="343" y="548"/>
                </a:cubicBezTo>
                <a:cubicBezTo>
                  <a:pt x="345" y="548"/>
                  <a:pt x="345" y="547"/>
                  <a:pt x="345" y="546"/>
                </a:cubicBezTo>
                <a:cubicBezTo>
                  <a:pt x="345" y="545"/>
                  <a:pt x="345" y="543"/>
                  <a:pt x="343" y="541"/>
                </a:cubicBezTo>
                <a:cubicBezTo>
                  <a:pt x="342" y="539"/>
                  <a:pt x="341" y="538"/>
                  <a:pt x="341" y="537"/>
                </a:cubicBezTo>
                <a:lnTo>
                  <a:pt x="342" y="538"/>
                </a:lnTo>
                <a:cubicBezTo>
                  <a:pt x="342" y="538"/>
                  <a:pt x="343" y="539"/>
                  <a:pt x="343" y="539"/>
                </a:cubicBezTo>
                <a:cubicBezTo>
                  <a:pt x="345" y="539"/>
                  <a:pt x="346" y="538"/>
                  <a:pt x="348" y="536"/>
                </a:cubicBezTo>
                <a:cubicBezTo>
                  <a:pt x="349" y="535"/>
                  <a:pt x="350" y="532"/>
                  <a:pt x="350" y="530"/>
                </a:cubicBezTo>
                <a:cubicBezTo>
                  <a:pt x="350" y="529"/>
                  <a:pt x="351" y="527"/>
                  <a:pt x="352" y="526"/>
                </a:cubicBezTo>
                <a:cubicBezTo>
                  <a:pt x="353" y="525"/>
                  <a:pt x="353" y="523"/>
                  <a:pt x="353" y="521"/>
                </a:cubicBezTo>
                <a:cubicBezTo>
                  <a:pt x="353" y="517"/>
                  <a:pt x="352" y="514"/>
                  <a:pt x="352" y="514"/>
                </a:cubicBezTo>
                <a:lnTo>
                  <a:pt x="350" y="513"/>
                </a:lnTo>
                <a:cubicBezTo>
                  <a:pt x="349" y="513"/>
                  <a:pt x="349" y="514"/>
                  <a:pt x="349" y="515"/>
                </a:cubicBezTo>
                <a:lnTo>
                  <a:pt x="350" y="521"/>
                </a:lnTo>
                <a:cubicBezTo>
                  <a:pt x="350" y="523"/>
                  <a:pt x="348" y="525"/>
                  <a:pt x="346" y="526"/>
                </a:cubicBezTo>
                <a:cubicBezTo>
                  <a:pt x="344" y="527"/>
                  <a:pt x="343" y="528"/>
                  <a:pt x="343" y="528"/>
                </a:cubicBezTo>
                <a:cubicBezTo>
                  <a:pt x="343" y="529"/>
                  <a:pt x="344" y="530"/>
                  <a:pt x="346" y="531"/>
                </a:cubicBezTo>
                <a:cubicBezTo>
                  <a:pt x="347" y="532"/>
                  <a:pt x="348" y="533"/>
                  <a:pt x="348" y="533"/>
                </a:cubicBezTo>
                <a:lnTo>
                  <a:pt x="347" y="533"/>
                </a:lnTo>
                <a:cubicBezTo>
                  <a:pt x="342" y="533"/>
                  <a:pt x="339" y="532"/>
                  <a:pt x="339" y="531"/>
                </a:cubicBezTo>
                <a:cubicBezTo>
                  <a:pt x="339" y="531"/>
                  <a:pt x="340" y="529"/>
                  <a:pt x="342" y="527"/>
                </a:cubicBezTo>
                <a:cubicBezTo>
                  <a:pt x="344" y="524"/>
                  <a:pt x="345" y="521"/>
                  <a:pt x="345" y="518"/>
                </a:cubicBezTo>
                <a:cubicBezTo>
                  <a:pt x="345" y="517"/>
                  <a:pt x="345" y="516"/>
                  <a:pt x="345" y="515"/>
                </a:cubicBezTo>
                <a:cubicBezTo>
                  <a:pt x="345" y="514"/>
                  <a:pt x="344" y="513"/>
                  <a:pt x="344" y="513"/>
                </a:cubicBezTo>
                <a:cubicBezTo>
                  <a:pt x="344" y="511"/>
                  <a:pt x="345" y="511"/>
                  <a:pt x="345" y="511"/>
                </a:cubicBezTo>
                <a:lnTo>
                  <a:pt x="347" y="512"/>
                </a:lnTo>
                <a:cubicBezTo>
                  <a:pt x="348" y="512"/>
                  <a:pt x="348" y="511"/>
                  <a:pt x="348" y="510"/>
                </a:cubicBezTo>
                <a:cubicBezTo>
                  <a:pt x="348" y="509"/>
                  <a:pt x="348" y="508"/>
                  <a:pt x="348" y="507"/>
                </a:cubicBezTo>
                <a:cubicBezTo>
                  <a:pt x="347" y="505"/>
                  <a:pt x="347" y="504"/>
                  <a:pt x="347" y="503"/>
                </a:cubicBezTo>
                <a:cubicBezTo>
                  <a:pt x="347" y="502"/>
                  <a:pt x="347" y="501"/>
                  <a:pt x="349" y="501"/>
                </a:cubicBezTo>
                <a:cubicBezTo>
                  <a:pt x="350" y="501"/>
                  <a:pt x="351" y="500"/>
                  <a:pt x="351" y="497"/>
                </a:cubicBezTo>
                <a:cubicBezTo>
                  <a:pt x="351" y="497"/>
                  <a:pt x="351" y="496"/>
                  <a:pt x="350" y="495"/>
                </a:cubicBezTo>
                <a:cubicBezTo>
                  <a:pt x="350" y="494"/>
                  <a:pt x="350" y="493"/>
                  <a:pt x="350" y="493"/>
                </a:cubicBezTo>
                <a:cubicBezTo>
                  <a:pt x="350" y="492"/>
                  <a:pt x="350" y="492"/>
                  <a:pt x="350" y="492"/>
                </a:cubicBezTo>
                <a:lnTo>
                  <a:pt x="354" y="493"/>
                </a:lnTo>
                <a:cubicBezTo>
                  <a:pt x="355" y="493"/>
                  <a:pt x="356" y="492"/>
                  <a:pt x="356" y="492"/>
                </a:cubicBezTo>
                <a:cubicBezTo>
                  <a:pt x="356" y="491"/>
                  <a:pt x="356" y="490"/>
                  <a:pt x="355" y="489"/>
                </a:cubicBezTo>
                <a:cubicBezTo>
                  <a:pt x="355" y="489"/>
                  <a:pt x="355" y="488"/>
                  <a:pt x="355" y="488"/>
                </a:cubicBezTo>
                <a:cubicBezTo>
                  <a:pt x="355" y="486"/>
                  <a:pt x="356" y="485"/>
                  <a:pt x="357" y="485"/>
                </a:cubicBezTo>
                <a:cubicBezTo>
                  <a:pt x="358" y="485"/>
                  <a:pt x="359" y="485"/>
                  <a:pt x="359" y="484"/>
                </a:cubicBezTo>
                <a:cubicBezTo>
                  <a:pt x="359" y="484"/>
                  <a:pt x="358" y="482"/>
                  <a:pt x="357" y="480"/>
                </a:cubicBezTo>
                <a:cubicBezTo>
                  <a:pt x="356" y="478"/>
                  <a:pt x="355" y="477"/>
                  <a:pt x="355" y="477"/>
                </a:cubicBezTo>
                <a:cubicBezTo>
                  <a:pt x="355" y="477"/>
                  <a:pt x="355" y="476"/>
                  <a:pt x="355" y="476"/>
                </a:cubicBezTo>
                <a:lnTo>
                  <a:pt x="356" y="477"/>
                </a:lnTo>
                <a:cubicBezTo>
                  <a:pt x="356" y="477"/>
                  <a:pt x="357" y="477"/>
                  <a:pt x="357" y="477"/>
                </a:cubicBezTo>
                <a:cubicBezTo>
                  <a:pt x="358" y="477"/>
                  <a:pt x="360" y="475"/>
                  <a:pt x="362" y="469"/>
                </a:cubicBezTo>
                <a:cubicBezTo>
                  <a:pt x="363" y="464"/>
                  <a:pt x="367" y="454"/>
                  <a:pt x="371" y="440"/>
                </a:cubicBezTo>
                <a:lnTo>
                  <a:pt x="372" y="437"/>
                </a:lnTo>
                <a:cubicBezTo>
                  <a:pt x="371" y="437"/>
                  <a:pt x="370" y="438"/>
                  <a:pt x="369" y="440"/>
                </a:cubicBezTo>
                <a:cubicBezTo>
                  <a:pt x="368" y="442"/>
                  <a:pt x="367" y="443"/>
                  <a:pt x="366" y="443"/>
                </a:cubicBezTo>
                <a:cubicBezTo>
                  <a:pt x="366" y="443"/>
                  <a:pt x="366" y="443"/>
                  <a:pt x="366" y="442"/>
                </a:cubicBezTo>
                <a:cubicBezTo>
                  <a:pt x="366" y="441"/>
                  <a:pt x="367" y="437"/>
                  <a:pt x="369" y="431"/>
                </a:cubicBezTo>
                <a:cubicBezTo>
                  <a:pt x="371" y="426"/>
                  <a:pt x="373" y="423"/>
                  <a:pt x="375" y="423"/>
                </a:cubicBezTo>
                <a:lnTo>
                  <a:pt x="375" y="424"/>
                </a:lnTo>
                <a:cubicBezTo>
                  <a:pt x="376" y="424"/>
                  <a:pt x="376" y="423"/>
                  <a:pt x="376" y="422"/>
                </a:cubicBezTo>
                <a:cubicBezTo>
                  <a:pt x="376" y="421"/>
                  <a:pt x="376" y="421"/>
                  <a:pt x="375" y="419"/>
                </a:cubicBezTo>
                <a:cubicBezTo>
                  <a:pt x="375" y="418"/>
                  <a:pt x="375" y="417"/>
                  <a:pt x="375" y="417"/>
                </a:cubicBezTo>
                <a:cubicBezTo>
                  <a:pt x="375" y="416"/>
                  <a:pt x="375" y="416"/>
                  <a:pt x="375" y="416"/>
                </a:cubicBezTo>
                <a:lnTo>
                  <a:pt x="378" y="417"/>
                </a:lnTo>
                <a:cubicBezTo>
                  <a:pt x="379" y="417"/>
                  <a:pt x="379" y="417"/>
                  <a:pt x="379" y="416"/>
                </a:cubicBezTo>
                <a:cubicBezTo>
                  <a:pt x="379" y="415"/>
                  <a:pt x="379" y="415"/>
                  <a:pt x="379" y="414"/>
                </a:cubicBezTo>
                <a:cubicBezTo>
                  <a:pt x="379" y="414"/>
                  <a:pt x="378" y="413"/>
                  <a:pt x="378" y="411"/>
                </a:cubicBezTo>
                <a:cubicBezTo>
                  <a:pt x="378" y="408"/>
                  <a:pt x="380" y="404"/>
                  <a:pt x="383" y="399"/>
                </a:cubicBezTo>
                <a:cubicBezTo>
                  <a:pt x="386" y="393"/>
                  <a:pt x="390" y="389"/>
                  <a:pt x="393" y="389"/>
                </a:cubicBezTo>
                <a:cubicBezTo>
                  <a:pt x="395" y="389"/>
                  <a:pt x="398" y="390"/>
                  <a:pt x="400" y="391"/>
                </a:cubicBezTo>
                <a:cubicBezTo>
                  <a:pt x="402" y="393"/>
                  <a:pt x="402" y="394"/>
                  <a:pt x="402" y="396"/>
                </a:cubicBezTo>
                <a:cubicBezTo>
                  <a:pt x="402" y="397"/>
                  <a:pt x="402" y="397"/>
                  <a:pt x="402" y="398"/>
                </a:cubicBezTo>
                <a:cubicBezTo>
                  <a:pt x="402" y="398"/>
                  <a:pt x="401" y="399"/>
                  <a:pt x="401" y="399"/>
                </a:cubicBezTo>
                <a:cubicBezTo>
                  <a:pt x="401" y="400"/>
                  <a:pt x="402" y="400"/>
                  <a:pt x="403" y="400"/>
                </a:cubicBezTo>
                <a:cubicBezTo>
                  <a:pt x="404" y="400"/>
                  <a:pt x="405" y="400"/>
                  <a:pt x="406" y="399"/>
                </a:cubicBezTo>
                <a:cubicBezTo>
                  <a:pt x="407" y="398"/>
                  <a:pt x="408" y="397"/>
                  <a:pt x="409" y="394"/>
                </a:cubicBezTo>
                <a:cubicBezTo>
                  <a:pt x="410" y="393"/>
                  <a:pt x="411" y="392"/>
                  <a:pt x="411" y="392"/>
                </a:cubicBezTo>
                <a:cubicBezTo>
                  <a:pt x="412" y="392"/>
                  <a:pt x="412" y="394"/>
                  <a:pt x="412" y="399"/>
                </a:cubicBezTo>
                <a:cubicBezTo>
                  <a:pt x="412" y="403"/>
                  <a:pt x="413" y="406"/>
                  <a:pt x="415" y="406"/>
                </a:cubicBezTo>
                <a:cubicBezTo>
                  <a:pt x="418" y="406"/>
                  <a:pt x="419" y="409"/>
                  <a:pt x="419" y="415"/>
                </a:cubicBezTo>
                <a:cubicBezTo>
                  <a:pt x="419" y="421"/>
                  <a:pt x="417" y="427"/>
                  <a:pt x="414" y="434"/>
                </a:cubicBezTo>
                <a:cubicBezTo>
                  <a:pt x="412" y="438"/>
                  <a:pt x="411" y="441"/>
                  <a:pt x="411" y="443"/>
                </a:cubicBezTo>
                <a:lnTo>
                  <a:pt x="411" y="444"/>
                </a:lnTo>
                <a:cubicBezTo>
                  <a:pt x="411" y="447"/>
                  <a:pt x="410" y="449"/>
                  <a:pt x="408" y="452"/>
                </a:cubicBezTo>
                <a:cubicBezTo>
                  <a:pt x="405" y="455"/>
                  <a:pt x="404" y="456"/>
                  <a:pt x="404" y="457"/>
                </a:cubicBezTo>
                <a:lnTo>
                  <a:pt x="406" y="456"/>
                </a:lnTo>
                <a:cubicBezTo>
                  <a:pt x="407" y="456"/>
                  <a:pt x="407" y="457"/>
                  <a:pt x="407" y="458"/>
                </a:cubicBezTo>
                <a:cubicBezTo>
                  <a:pt x="407" y="460"/>
                  <a:pt x="406" y="462"/>
                  <a:pt x="405" y="466"/>
                </a:cubicBezTo>
                <a:cubicBezTo>
                  <a:pt x="404" y="470"/>
                  <a:pt x="402" y="473"/>
                  <a:pt x="400" y="475"/>
                </a:cubicBezTo>
                <a:cubicBezTo>
                  <a:pt x="399" y="477"/>
                  <a:pt x="399" y="478"/>
                  <a:pt x="399" y="478"/>
                </a:cubicBezTo>
                <a:cubicBezTo>
                  <a:pt x="399" y="479"/>
                  <a:pt x="399" y="479"/>
                  <a:pt x="399" y="479"/>
                </a:cubicBezTo>
                <a:cubicBezTo>
                  <a:pt x="399" y="479"/>
                  <a:pt x="399" y="480"/>
                  <a:pt x="399" y="480"/>
                </a:cubicBezTo>
                <a:cubicBezTo>
                  <a:pt x="399" y="480"/>
                  <a:pt x="399" y="482"/>
                  <a:pt x="397" y="483"/>
                </a:cubicBezTo>
                <a:cubicBezTo>
                  <a:pt x="396" y="485"/>
                  <a:pt x="395" y="487"/>
                  <a:pt x="395" y="489"/>
                </a:cubicBezTo>
                <a:cubicBezTo>
                  <a:pt x="395" y="490"/>
                  <a:pt x="396" y="491"/>
                  <a:pt x="396" y="492"/>
                </a:cubicBezTo>
                <a:cubicBezTo>
                  <a:pt x="397" y="492"/>
                  <a:pt x="397" y="493"/>
                  <a:pt x="397" y="493"/>
                </a:cubicBezTo>
                <a:cubicBezTo>
                  <a:pt x="397" y="494"/>
                  <a:pt x="397" y="494"/>
                  <a:pt x="397" y="494"/>
                </a:cubicBezTo>
                <a:cubicBezTo>
                  <a:pt x="396" y="494"/>
                  <a:pt x="396" y="494"/>
                  <a:pt x="395" y="493"/>
                </a:cubicBezTo>
                <a:cubicBezTo>
                  <a:pt x="394" y="493"/>
                  <a:pt x="394" y="492"/>
                  <a:pt x="393" y="492"/>
                </a:cubicBezTo>
                <a:cubicBezTo>
                  <a:pt x="392" y="492"/>
                  <a:pt x="392" y="498"/>
                  <a:pt x="391" y="509"/>
                </a:cubicBezTo>
                <a:cubicBezTo>
                  <a:pt x="390" y="514"/>
                  <a:pt x="389" y="517"/>
                  <a:pt x="387" y="518"/>
                </a:cubicBezTo>
                <a:cubicBezTo>
                  <a:pt x="385" y="520"/>
                  <a:pt x="384" y="522"/>
                  <a:pt x="384" y="524"/>
                </a:cubicBezTo>
                <a:lnTo>
                  <a:pt x="385" y="528"/>
                </a:lnTo>
                <a:cubicBezTo>
                  <a:pt x="385" y="530"/>
                  <a:pt x="384" y="530"/>
                  <a:pt x="383" y="531"/>
                </a:cubicBezTo>
                <a:cubicBezTo>
                  <a:pt x="381" y="531"/>
                  <a:pt x="381" y="532"/>
                  <a:pt x="381" y="534"/>
                </a:cubicBezTo>
                <a:lnTo>
                  <a:pt x="382" y="538"/>
                </a:lnTo>
                <a:cubicBezTo>
                  <a:pt x="382" y="539"/>
                  <a:pt x="381" y="540"/>
                  <a:pt x="380" y="540"/>
                </a:cubicBezTo>
                <a:cubicBezTo>
                  <a:pt x="379" y="540"/>
                  <a:pt x="378" y="541"/>
                  <a:pt x="377" y="544"/>
                </a:cubicBezTo>
                <a:cubicBezTo>
                  <a:pt x="375" y="546"/>
                  <a:pt x="375" y="549"/>
                  <a:pt x="374" y="553"/>
                </a:cubicBezTo>
                <a:cubicBezTo>
                  <a:pt x="373" y="556"/>
                  <a:pt x="373" y="559"/>
                  <a:pt x="373" y="561"/>
                </a:cubicBezTo>
                <a:cubicBezTo>
                  <a:pt x="373" y="562"/>
                  <a:pt x="373" y="563"/>
                  <a:pt x="373" y="563"/>
                </a:cubicBezTo>
                <a:cubicBezTo>
                  <a:pt x="374" y="564"/>
                  <a:pt x="374" y="565"/>
                  <a:pt x="374" y="565"/>
                </a:cubicBezTo>
                <a:cubicBezTo>
                  <a:pt x="374" y="566"/>
                  <a:pt x="373" y="567"/>
                  <a:pt x="371" y="568"/>
                </a:cubicBezTo>
                <a:cubicBezTo>
                  <a:pt x="370" y="568"/>
                  <a:pt x="369" y="572"/>
                  <a:pt x="368" y="578"/>
                </a:cubicBezTo>
                <a:cubicBezTo>
                  <a:pt x="368" y="583"/>
                  <a:pt x="367" y="587"/>
                  <a:pt x="365" y="589"/>
                </a:cubicBezTo>
                <a:cubicBezTo>
                  <a:pt x="363" y="591"/>
                  <a:pt x="362" y="595"/>
                  <a:pt x="362" y="600"/>
                </a:cubicBezTo>
                <a:cubicBezTo>
                  <a:pt x="361" y="606"/>
                  <a:pt x="360" y="610"/>
                  <a:pt x="359" y="612"/>
                </a:cubicBezTo>
                <a:cubicBezTo>
                  <a:pt x="357" y="613"/>
                  <a:pt x="356" y="614"/>
                  <a:pt x="355" y="614"/>
                </a:cubicBezTo>
                <a:cubicBezTo>
                  <a:pt x="355" y="614"/>
                  <a:pt x="355" y="614"/>
                  <a:pt x="355" y="613"/>
                </a:cubicBezTo>
                <a:cubicBezTo>
                  <a:pt x="355" y="610"/>
                  <a:pt x="357" y="600"/>
                  <a:pt x="361" y="586"/>
                </a:cubicBezTo>
                <a:cubicBezTo>
                  <a:pt x="365" y="573"/>
                  <a:pt x="368" y="562"/>
                  <a:pt x="371" y="552"/>
                </a:cubicBezTo>
                <a:cubicBezTo>
                  <a:pt x="374" y="541"/>
                  <a:pt x="375" y="535"/>
                  <a:pt x="376" y="533"/>
                </a:cubicBezTo>
                <a:cubicBezTo>
                  <a:pt x="376" y="533"/>
                  <a:pt x="376" y="532"/>
                  <a:pt x="376" y="532"/>
                </a:cubicBezTo>
                <a:cubicBezTo>
                  <a:pt x="376" y="531"/>
                  <a:pt x="377" y="531"/>
                  <a:pt x="377" y="530"/>
                </a:cubicBezTo>
                <a:cubicBezTo>
                  <a:pt x="378" y="529"/>
                  <a:pt x="378" y="527"/>
                  <a:pt x="379" y="526"/>
                </a:cubicBezTo>
                <a:cubicBezTo>
                  <a:pt x="379" y="525"/>
                  <a:pt x="380" y="521"/>
                  <a:pt x="382" y="515"/>
                </a:cubicBezTo>
                <a:cubicBezTo>
                  <a:pt x="385" y="508"/>
                  <a:pt x="386" y="503"/>
                  <a:pt x="386" y="500"/>
                </a:cubicBezTo>
                <a:cubicBezTo>
                  <a:pt x="386" y="497"/>
                  <a:pt x="387" y="495"/>
                  <a:pt x="388" y="493"/>
                </a:cubicBezTo>
                <a:cubicBezTo>
                  <a:pt x="389" y="492"/>
                  <a:pt x="390" y="490"/>
                  <a:pt x="390" y="487"/>
                </a:cubicBezTo>
                <a:cubicBezTo>
                  <a:pt x="391" y="484"/>
                  <a:pt x="392" y="481"/>
                  <a:pt x="393" y="477"/>
                </a:cubicBezTo>
                <a:cubicBezTo>
                  <a:pt x="395" y="473"/>
                  <a:pt x="396" y="471"/>
                  <a:pt x="396" y="469"/>
                </a:cubicBezTo>
                <a:cubicBezTo>
                  <a:pt x="396" y="468"/>
                  <a:pt x="397" y="467"/>
                  <a:pt x="399" y="465"/>
                </a:cubicBezTo>
                <a:cubicBezTo>
                  <a:pt x="400" y="464"/>
                  <a:pt x="400" y="460"/>
                  <a:pt x="400" y="455"/>
                </a:cubicBezTo>
                <a:cubicBezTo>
                  <a:pt x="400" y="451"/>
                  <a:pt x="400" y="450"/>
                  <a:pt x="399" y="450"/>
                </a:cubicBezTo>
                <a:cubicBezTo>
                  <a:pt x="399" y="450"/>
                  <a:pt x="393" y="467"/>
                  <a:pt x="383" y="501"/>
                </a:cubicBezTo>
                <a:cubicBezTo>
                  <a:pt x="366" y="555"/>
                  <a:pt x="352" y="602"/>
                  <a:pt x="340" y="643"/>
                </a:cubicBezTo>
                <a:cubicBezTo>
                  <a:pt x="334" y="665"/>
                  <a:pt x="330" y="679"/>
                  <a:pt x="328" y="686"/>
                </a:cubicBezTo>
                <a:cubicBezTo>
                  <a:pt x="327" y="688"/>
                  <a:pt x="325" y="698"/>
                  <a:pt x="321" y="716"/>
                </a:cubicBezTo>
                <a:cubicBezTo>
                  <a:pt x="320" y="723"/>
                  <a:pt x="318" y="730"/>
                  <a:pt x="317" y="735"/>
                </a:cubicBezTo>
                <a:cubicBezTo>
                  <a:pt x="316" y="741"/>
                  <a:pt x="315" y="745"/>
                  <a:pt x="315" y="746"/>
                </a:cubicBezTo>
                <a:cubicBezTo>
                  <a:pt x="315" y="748"/>
                  <a:pt x="314" y="749"/>
                  <a:pt x="314" y="749"/>
                </a:cubicBezTo>
                <a:cubicBezTo>
                  <a:pt x="314" y="750"/>
                  <a:pt x="314" y="751"/>
                  <a:pt x="314" y="752"/>
                </a:cubicBezTo>
                <a:cubicBezTo>
                  <a:pt x="314" y="754"/>
                  <a:pt x="313" y="755"/>
                  <a:pt x="310" y="755"/>
                </a:cubicBezTo>
                <a:cubicBezTo>
                  <a:pt x="310" y="755"/>
                  <a:pt x="309" y="755"/>
                  <a:pt x="309" y="756"/>
                </a:cubicBezTo>
                <a:cubicBezTo>
                  <a:pt x="309" y="757"/>
                  <a:pt x="310" y="757"/>
                  <a:pt x="312" y="759"/>
                </a:cubicBezTo>
                <a:cubicBezTo>
                  <a:pt x="313" y="760"/>
                  <a:pt x="314" y="761"/>
                  <a:pt x="314" y="761"/>
                </a:cubicBezTo>
                <a:cubicBezTo>
                  <a:pt x="314" y="761"/>
                  <a:pt x="313" y="761"/>
                  <a:pt x="311" y="761"/>
                </a:cubicBezTo>
                <a:cubicBezTo>
                  <a:pt x="309" y="761"/>
                  <a:pt x="308" y="762"/>
                  <a:pt x="308" y="762"/>
                </a:cubicBezTo>
                <a:cubicBezTo>
                  <a:pt x="308" y="762"/>
                  <a:pt x="309" y="763"/>
                  <a:pt x="311" y="764"/>
                </a:cubicBezTo>
                <a:cubicBezTo>
                  <a:pt x="313" y="766"/>
                  <a:pt x="314" y="767"/>
                  <a:pt x="314" y="767"/>
                </a:cubicBezTo>
                <a:cubicBezTo>
                  <a:pt x="314" y="767"/>
                  <a:pt x="313" y="767"/>
                  <a:pt x="311" y="767"/>
                </a:cubicBezTo>
                <a:cubicBezTo>
                  <a:pt x="309" y="767"/>
                  <a:pt x="308" y="768"/>
                  <a:pt x="308" y="768"/>
                </a:cubicBezTo>
                <a:cubicBezTo>
                  <a:pt x="308" y="768"/>
                  <a:pt x="309" y="769"/>
                  <a:pt x="311" y="770"/>
                </a:cubicBezTo>
                <a:cubicBezTo>
                  <a:pt x="313" y="772"/>
                  <a:pt x="314" y="772"/>
                  <a:pt x="314" y="773"/>
                </a:cubicBezTo>
                <a:cubicBezTo>
                  <a:pt x="314" y="773"/>
                  <a:pt x="313" y="774"/>
                  <a:pt x="311" y="774"/>
                </a:cubicBezTo>
                <a:cubicBezTo>
                  <a:pt x="310" y="774"/>
                  <a:pt x="309" y="776"/>
                  <a:pt x="308" y="781"/>
                </a:cubicBezTo>
                <a:cubicBezTo>
                  <a:pt x="308" y="786"/>
                  <a:pt x="309" y="789"/>
                  <a:pt x="310" y="789"/>
                </a:cubicBezTo>
                <a:cubicBezTo>
                  <a:pt x="312" y="789"/>
                  <a:pt x="314" y="782"/>
                  <a:pt x="317" y="768"/>
                </a:cubicBezTo>
                <a:cubicBezTo>
                  <a:pt x="318" y="755"/>
                  <a:pt x="320" y="745"/>
                  <a:pt x="322" y="739"/>
                </a:cubicBezTo>
                <a:cubicBezTo>
                  <a:pt x="324" y="727"/>
                  <a:pt x="327" y="719"/>
                  <a:pt x="330" y="717"/>
                </a:cubicBezTo>
                <a:lnTo>
                  <a:pt x="334" y="713"/>
                </a:lnTo>
                <a:cubicBezTo>
                  <a:pt x="333" y="713"/>
                  <a:pt x="332" y="713"/>
                  <a:pt x="330" y="714"/>
                </a:cubicBezTo>
                <a:cubicBezTo>
                  <a:pt x="328" y="715"/>
                  <a:pt x="326" y="715"/>
                  <a:pt x="326" y="715"/>
                </a:cubicBezTo>
                <a:lnTo>
                  <a:pt x="326" y="715"/>
                </a:lnTo>
                <a:cubicBezTo>
                  <a:pt x="326" y="715"/>
                  <a:pt x="327" y="713"/>
                  <a:pt x="330" y="711"/>
                </a:cubicBezTo>
                <a:cubicBezTo>
                  <a:pt x="333" y="709"/>
                  <a:pt x="335" y="705"/>
                  <a:pt x="337" y="698"/>
                </a:cubicBezTo>
                <a:cubicBezTo>
                  <a:pt x="337" y="693"/>
                  <a:pt x="338" y="689"/>
                  <a:pt x="340" y="686"/>
                </a:cubicBezTo>
                <a:cubicBezTo>
                  <a:pt x="341" y="686"/>
                  <a:pt x="341" y="685"/>
                  <a:pt x="341" y="684"/>
                </a:cubicBezTo>
                <a:cubicBezTo>
                  <a:pt x="341" y="682"/>
                  <a:pt x="340" y="681"/>
                  <a:pt x="339" y="679"/>
                </a:cubicBezTo>
                <a:lnTo>
                  <a:pt x="338" y="677"/>
                </a:lnTo>
                <a:cubicBezTo>
                  <a:pt x="338" y="677"/>
                  <a:pt x="340" y="678"/>
                  <a:pt x="343" y="680"/>
                </a:cubicBezTo>
                <a:cubicBezTo>
                  <a:pt x="345" y="682"/>
                  <a:pt x="347" y="683"/>
                  <a:pt x="347" y="685"/>
                </a:cubicBezTo>
                <a:cubicBezTo>
                  <a:pt x="347" y="686"/>
                  <a:pt x="347" y="687"/>
                  <a:pt x="346" y="688"/>
                </a:cubicBezTo>
                <a:cubicBezTo>
                  <a:pt x="345" y="688"/>
                  <a:pt x="344" y="690"/>
                  <a:pt x="344" y="691"/>
                </a:cubicBezTo>
                <a:cubicBezTo>
                  <a:pt x="344" y="691"/>
                  <a:pt x="345" y="692"/>
                  <a:pt x="345" y="692"/>
                </a:cubicBezTo>
                <a:cubicBezTo>
                  <a:pt x="345" y="692"/>
                  <a:pt x="345" y="693"/>
                  <a:pt x="345" y="694"/>
                </a:cubicBezTo>
                <a:cubicBezTo>
                  <a:pt x="345" y="695"/>
                  <a:pt x="345" y="696"/>
                  <a:pt x="344" y="697"/>
                </a:cubicBezTo>
                <a:cubicBezTo>
                  <a:pt x="343" y="699"/>
                  <a:pt x="343" y="700"/>
                  <a:pt x="342" y="701"/>
                </a:cubicBezTo>
                <a:cubicBezTo>
                  <a:pt x="342" y="702"/>
                  <a:pt x="342" y="703"/>
                  <a:pt x="342" y="703"/>
                </a:cubicBezTo>
                <a:cubicBezTo>
                  <a:pt x="341" y="703"/>
                  <a:pt x="341" y="704"/>
                  <a:pt x="341" y="705"/>
                </a:cubicBezTo>
                <a:cubicBezTo>
                  <a:pt x="341" y="706"/>
                  <a:pt x="341" y="707"/>
                  <a:pt x="340" y="708"/>
                </a:cubicBezTo>
                <a:cubicBezTo>
                  <a:pt x="340" y="708"/>
                  <a:pt x="338" y="715"/>
                  <a:pt x="336" y="728"/>
                </a:cubicBezTo>
                <a:cubicBezTo>
                  <a:pt x="335" y="734"/>
                  <a:pt x="334" y="739"/>
                  <a:pt x="334" y="743"/>
                </a:cubicBezTo>
                <a:cubicBezTo>
                  <a:pt x="334" y="748"/>
                  <a:pt x="333" y="751"/>
                  <a:pt x="332" y="752"/>
                </a:cubicBezTo>
                <a:cubicBezTo>
                  <a:pt x="330" y="754"/>
                  <a:pt x="328" y="754"/>
                  <a:pt x="328" y="755"/>
                </a:cubicBezTo>
                <a:cubicBezTo>
                  <a:pt x="328" y="755"/>
                  <a:pt x="329" y="755"/>
                  <a:pt x="331" y="755"/>
                </a:cubicBezTo>
                <a:cubicBezTo>
                  <a:pt x="332" y="755"/>
                  <a:pt x="333" y="756"/>
                  <a:pt x="333" y="758"/>
                </a:cubicBezTo>
                <a:cubicBezTo>
                  <a:pt x="333" y="760"/>
                  <a:pt x="333" y="762"/>
                  <a:pt x="332" y="764"/>
                </a:cubicBezTo>
                <a:cubicBezTo>
                  <a:pt x="332" y="766"/>
                  <a:pt x="332" y="767"/>
                  <a:pt x="332" y="768"/>
                </a:cubicBezTo>
                <a:cubicBezTo>
                  <a:pt x="332" y="768"/>
                  <a:pt x="332" y="768"/>
                  <a:pt x="332" y="768"/>
                </a:cubicBezTo>
                <a:cubicBezTo>
                  <a:pt x="333" y="768"/>
                  <a:pt x="335" y="765"/>
                  <a:pt x="340" y="760"/>
                </a:cubicBezTo>
                <a:lnTo>
                  <a:pt x="344" y="755"/>
                </a:lnTo>
                <a:cubicBezTo>
                  <a:pt x="353" y="744"/>
                  <a:pt x="357" y="738"/>
                  <a:pt x="357" y="737"/>
                </a:cubicBezTo>
                <a:cubicBezTo>
                  <a:pt x="357" y="736"/>
                  <a:pt x="357" y="735"/>
                  <a:pt x="355" y="735"/>
                </a:cubicBezTo>
                <a:lnTo>
                  <a:pt x="352" y="732"/>
                </a:lnTo>
                <a:cubicBezTo>
                  <a:pt x="352" y="731"/>
                  <a:pt x="352" y="731"/>
                  <a:pt x="352" y="731"/>
                </a:cubicBezTo>
                <a:cubicBezTo>
                  <a:pt x="352" y="731"/>
                  <a:pt x="353" y="731"/>
                  <a:pt x="354" y="732"/>
                </a:cubicBezTo>
                <a:cubicBezTo>
                  <a:pt x="355" y="732"/>
                  <a:pt x="356" y="732"/>
                  <a:pt x="357" y="732"/>
                </a:cubicBezTo>
                <a:cubicBezTo>
                  <a:pt x="359" y="732"/>
                  <a:pt x="361" y="732"/>
                  <a:pt x="363" y="730"/>
                </a:cubicBezTo>
                <a:cubicBezTo>
                  <a:pt x="364" y="728"/>
                  <a:pt x="365" y="727"/>
                  <a:pt x="365" y="725"/>
                </a:cubicBezTo>
                <a:cubicBezTo>
                  <a:pt x="365" y="723"/>
                  <a:pt x="365" y="723"/>
                  <a:pt x="364" y="722"/>
                </a:cubicBezTo>
                <a:cubicBezTo>
                  <a:pt x="364" y="721"/>
                  <a:pt x="363" y="720"/>
                  <a:pt x="363" y="720"/>
                </a:cubicBezTo>
                <a:cubicBezTo>
                  <a:pt x="363" y="720"/>
                  <a:pt x="364" y="719"/>
                  <a:pt x="364" y="719"/>
                </a:cubicBezTo>
                <a:lnTo>
                  <a:pt x="366" y="720"/>
                </a:lnTo>
                <a:cubicBezTo>
                  <a:pt x="369" y="720"/>
                  <a:pt x="375" y="713"/>
                  <a:pt x="384" y="698"/>
                </a:cubicBezTo>
                <a:lnTo>
                  <a:pt x="391" y="688"/>
                </a:lnTo>
                <a:cubicBezTo>
                  <a:pt x="393" y="687"/>
                  <a:pt x="394" y="685"/>
                  <a:pt x="394" y="683"/>
                </a:cubicBezTo>
                <a:lnTo>
                  <a:pt x="393" y="679"/>
                </a:lnTo>
                <a:cubicBezTo>
                  <a:pt x="393" y="678"/>
                  <a:pt x="393" y="677"/>
                  <a:pt x="394" y="677"/>
                </a:cubicBezTo>
                <a:lnTo>
                  <a:pt x="395" y="677"/>
                </a:lnTo>
                <a:cubicBezTo>
                  <a:pt x="396" y="677"/>
                  <a:pt x="399" y="675"/>
                  <a:pt x="402" y="671"/>
                </a:cubicBezTo>
                <a:cubicBezTo>
                  <a:pt x="406" y="666"/>
                  <a:pt x="410" y="661"/>
                  <a:pt x="413" y="656"/>
                </a:cubicBezTo>
                <a:cubicBezTo>
                  <a:pt x="416" y="651"/>
                  <a:pt x="418" y="648"/>
                  <a:pt x="418" y="646"/>
                </a:cubicBezTo>
                <a:cubicBezTo>
                  <a:pt x="418" y="645"/>
                  <a:pt x="417" y="644"/>
                  <a:pt x="417" y="644"/>
                </a:cubicBezTo>
                <a:cubicBezTo>
                  <a:pt x="416" y="644"/>
                  <a:pt x="414" y="646"/>
                  <a:pt x="411" y="649"/>
                </a:cubicBezTo>
                <a:cubicBezTo>
                  <a:pt x="409" y="653"/>
                  <a:pt x="407" y="655"/>
                  <a:pt x="407" y="655"/>
                </a:cubicBezTo>
                <a:cubicBezTo>
                  <a:pt x="407" y="654"/>
                  <a:pt x="409" y="651"/>
                  <a:pt x="411" y="647"/>
                </a:cubicBezTo>
                <a:cubicBezTo>
                  <a:pt x="414" y="642"/>
                  <a:pt x="416" y="639"/>
                  <a:pt x="417" y="639"/>
                </a:cubicBezTo>
                <a:lnTo>
                  <a:pt x="418" y="640"/>
                </a:lnTo>
                <a:cubicBezTo>
                  <a:pt x="418" y="640"/>
                  <a:pt x="418" y="641"/>
                  <a:pt x="418" y="641"/>
                </a:cubicBezTo>
                <a:cubicBezTo>
                  <a:pt x="420" y="641"/>
                  <a:pt x="424" y="637"/>
                  <a:pt x="429" y="628"/>
                </a:cubicBezTo>
                <a:cubicBezTo>
                  <a:pt x="433" y="622"/>
                  <a:pt x="435" y="619"/>
                  <a:pt x="435" y="618"/>
                </a:cubicBezTo>
                <a:cubicBezTo>
                  <a:pt x="435" y="618"/>
                  <a:pt x="433" y="620"/>
                  <a:pt x="430" y="624"/>
                </a:cubicBezTo>
                <a:cubicBezTo>
                  <a:pt x="425" y="631"/>
                  <a:pt x="421" y="634"/>
                  <a:pt x="420" y="634"/>
                </a:cubicBezTo>
                <a:cubicBezTo>
                  <a:pt x="420" y="634"/>
                  <a:pt x="420" y="634"/>
                  <a:pt x="420" y="634"/>
                </a:cubicBezTo>
                <a:cubicBezTo>
                  <a:pt x="420" y="632"/>
                  <a:pt x="425" y="623"/>
                  <a:pt x="435" y="608"/>
                </a:cubicBezTo>
                <a:cubicBezTo>
                  <a:pt x="447" y="590"/>
                  <a:pt x="454" y="580"/>
                  <a:pt x="454" y="578"/>
                </a:cubicBezTo>
                <a:cubicBezTo>
                  <a:pt x="454" y="576"/>
                  <a:pt x="455" y="574"/>
                  <a:pt x="458" y="572"/>
                </a:cubicBezTo>
                <a:cubicBezTo>
                  <a:pt x="460" y="571"/>
                  <a:pt x="461" y="570"/>
                  <a:pt x="462" y="568"/>
                </a:cubicBezTo>
                <a:cubicBezTo>
                  <a:pt x="463" y="567"/>
                  <a:pt x="464" y="566"/>
                  <a:pt x="464" y="566"/>
                </a:cubicBezTo>
                <a:cubicBezTo>
                  <a:pt x="464" y="564"/>
                  <a:pt x="466" y="561"/>
                  <a:pt x="471" y="555"/>
                </a:cubicBezTo>
                <a:cubicBezTo>
                  <a:pt x="482" y="544"/>
                  <a:pt x="487" y="536"/>
                  <a:pt x="487" y="534"/>
                </a:cubicBezTo>
                <a:lnTo>
                  <a:pt x="487" y="532"/>
                </a:lnTo>
                <a:cubicBezTo>
                  <a:pt x="487" y="532"/>
                  <a:pt x="487" y="531"/>
                  <a:pt x="487" y="531"/>
                </a:cubicBezTo>
                <a:lnTo>
                  <a:pt x="490" y="533"/>
                </a:lnTo>
                <a:cubicBezTo>
                  <a:pt x="492" y="533"/>
                  <a:pt x="492" y="531"/>
                  <a:pt x="492" y="529"/>
                </a:cubicBezTo>
                <a:cubicBezTo>
                  <a:pt x="492" y="526"/>
                  <a:pt x="493" y="525"/>
                  <a:pt x="496" y="525"/>
                </a:cubicBezTo>
                <a:cubicBezTo>
                  <a:pt x="497" y="525"/>
                  <a:pt x="498" y="526"/>
                  <a:pt x="500" y="528"/>
                </a:cubicBezTo>
                <a:cubicBezTo>
                  <a:pt x="502" y="530"/>
                  <a:pt x="503" y="531"/>
                  <a:pt x="505" y="531"/>
                </a:cubicBezTo>
                <a:cubicBezTo>
                  <a:pt x="506" y="531"/>
                  <a:pt x="507" y="531"/>
                  <a:pt x="507" y="530"/>
                </a:cubicBezTo>
                <a:cubicBezTo>
                  <a:pt x="507" y="530"/>
                  <a:pt x="506" y="529"/>
                  <a:pt x="504" y="528"/>
                </a:cubicBezTo>
                <a:cubicBezTo>
                  <a:pt x="503" y="527"/>
                  <a:pt x="502" y="525"/>
                  <a:pt x="502" y="524"/>
                </a:cubicBezTo>
                <a:cubicBezTo>
                  <a:pt x="502" y="522"/>
                  <a:pt x="503" y="520"/>
                  <a:pt x="504" y="519"/>
                </a:cubicBezTo>
                <a:cubicBezTo>
                  <a:pt x="506" y="517"/>
                  <a:pt x="507" y="517"/>
                  <a:pt x="509" y="516"/>
                </a:cubicBezTo>
                <a:cubicBezTo>
                  <a:pt x="514" y="516"/>
                  <a:pt x="518" y="518"/>
                  <a:pt x="521" y="522"/>
                </a:cubicBezTo>
                <a:cubicBezTo>
                  <a:pt x="524" y="526"/>
                  <a:pt x="528" y="527"/>
                  <a:pt x="532" y="527"/>
                </a:cubicBezTo>
                <a:cubicBezTo>
                  <a:pt x="534" y="527"/>
                  <a:pt x="538" y="527"/>
                  <a:pt x="543" y="524"/>
                </a:cubicBezTo>
                <a:cubicBezTo>
                  <a:pt x="546" y="523"/>
                  <a:pt x="548" y="522"/>
                  <a:pt x="550" y="522"/>
                </a:cubicBezTo>
                <a:cubicBezTo>
                  <a:pt x="555" y="522"/>
                  <a:pt x="558" y="528"/>
                  <a:pt x="560" y="538"/>
                </a:cubicBezTo>
                <a:cubicBezTo>
                  <a:pt x="561" y="548"/>
                  <a:pt x="563" y="567"/>
                  <a:pt x="563" y="594"/>
                </a:cubicBezTo>
                <a:cubicBezTo>
                  <a:pt x="563" y="615"/>
                  <a:pt x="563" y="631"/>
                  <a:pt x="564" y="642"/>
                </a:cubicBezTo>
                <a:cubicBezTo>
                  <a:pt x="565" y="650"/>
                  <a:pt x="566" y="654"/>
                  <a:pt x="570" y="654"/>
                </a:cubicBezTo>
                <a:cubicBezTo>
                  <a:pt x="573" y="654"/>
                  <a:pt x="580" y="647"/>
                  <a:pt x="590" y="635"/>
                </a:cubicBezTo>
                <a:cubicBezTo>
                  <a:pt x="611" y="613"/>
                  <a:pt x="622" y="601"/>
                  <a:pt x="622" y="599"/>
                </a:cubicBezTo>
                <a:cubicBezTo>
                  <a:pt x="622" y="598"/>
                  <a:pt x="622" y="598"/>
                  <a:pt x="621" y="598"/>
                </a:cubicBezTo>
                <a:cubicBezTo>
                  <a:pt x="620" y="598"/>
                  <a:pt x="615" y="603"/>
                  <a:pt x="605" y="613"/>
                </a:cubicBezTo>
                <a:lnTo>
                  <a:pt x="596" y="621"/>
                </a:lnTo>
                <a:cubicBezTo>
                  <a:pt x="596" y="621"/>
                  <a:pt x="600" y="616"/>
                  <a:pt x="609" y="607"/>
                </a:cubicBezTo>
                <a:lnTo>
                  <a:pt x="631" y="585"/>
                </a:lnTo>
                <a:cubicBezTo>
                  <a:pt x="631" y="585"/>
                  <a:pt x="630" y="587"/>
                  <a:pt x="627" y="590"/>
                </a:cubicBezTo>
                <a:cubicBezTo>
                  <a:pt x="626" y="592"/>
                  <a:pt x="625" y="593"/>
                  <a:pt x="625" y="594"/>
                </a:cubicBezTo>
                <a:cubicBezTo>
                  <a:pt x="625" y="594"/>
                  <a:pt x="626" y="595"/>
                  <a:pt x="627" y="595"/>
                </a:cubicBezTo>
                <a:cubicBezTo>
                  <a:pt x="627" y="595"/>
                  <a:pt x="629" y="594"/>
                  <a:pt x="632" y="593"/>
                </a:cubicBezTo>
                <a:cubicBezTo>
                  <a:pt x="634" y="591"/>
                  <a:pt x="636" y="589"/>
                  <a:pt x="638" y="586"/>
                </a:cubicBezTo>
                <a:cubicBezTo>
                  <a:pt x="644" y="581"/>
                  <a:pt x="650" y="576"/>
                  <a:pt x="658" y="572"/>
                </a:cubicBezTo>
                <a:cubicBezTo>
                  <a:pt x="665" y="568"/>
                  <a:pt x="672" y="567"/>
                  <a:pt x="676" y="567"/>
                </a:cubicBezTo>
                <a:cubicBezTo>
                  <a:pt x="680" y="567"/>
                  <a:pt x="682" y="568"/>
                  <a:pt x="684" y="570"/>
                </a:cubicBezTo>
                <a:cubicBezTo>
                  <a:pt x="684" y="571"/>
                  <a:pt x="685" y="571"/>
                  <a:pt x="686" y="571"/>
                </a:cubicBezTo>
                <a:cubicBezTo>
                  <a:pt x="689" y="571"/>
                  <a:pt x="692" y="570"/>
                  <a:pt x="697" y="568"/>
                </a:cubicBezTo>
                <a:cubicBezTo>
                  <a:pt x="701" y="567"/>
                  <a:pt x="705" y="566"/>
                  <a:pt x="707" y="566"/>
                </a:cubicBezTo>
                <a:cubicBezTo>
                  <a:pt x="710" y="566"/>
                  <a:pt x="712" y="566"/>
                  <a:pt x="714" y="568"/>
                </a:cubicBezTo>
                <a:lnTo>
                  <a:pt x="716" y="570"/>
                </a:lnTo>
                <a:lnTo>
                  <a:pt x="716" y="570"/>
                </a:lnTo>
                <a:lnTo>
                  <a:pt x="715" y="566"/>
                </a:lnTo>
                <a:cubicBezTo>
                  <a:pt x="715" y="566"/>
                  <a:pt x="715" y="566"/>
                  <a:pt x="715" y="566"/>
                </a:cubicBezTo>
                <a:cubicBezTo>
                  <a:pt x="716" y="566"/>
                  <a:pt x="718" y="567"/>
                  <a:pt x="721" y="570"/>
                </a:cubicBezTo>
                <a:cubicBezTo>
                  <a:pt x="724" y="572"/>
                  <a:pt x="727" y="574"/>
                  <a:pt x="729" y="576"/>
                </a:cubicBezTo>
                <a:cubicBezTo>
                  <a:pt x="730" y="578"/>
                  <a:pt x="731" y="579"/>
                  <a:pt x="731" y="579"/>
                </a:cubicBezTo>
                <a:cubicBezTo>
                  <a:pt x="731" y="579"/>
                  <a:pt x="731" y="579"/>
                  <a:pt x="731" y="579"/>
                </a:cubicBezTo>
                <a:lnTo>
                  <a:pt x="727" y="577"/>
                </a:lnTo>
                <a:lnTo>
                  <a:pt x="727" y="577"/>
                </a:lnTo>
                <a:cubicBezTo>
                  <a:pt x="727" y="580"/>
                  <a:pt x="729" y="583"/>
                  <a:pt x="734" y="589"/>
                </a:cubicBezTo>
                <a:lnTo>
                  <a:pt x="737" y="592"/>
                </a:lnTo>
                <a:lnTo>
                  <a:pt x="734" y="586"/>
                </a:lnTo>
                <a:cubicBezTo>
                  <a:pt x="734" y="586"/>
                  <a:pt x="734" y="586"/>
                  <a:pt x="735" y="586"/>
                </a:cubicBezTo>
                <a:cubicBezTo>
                  <a:pt x="735" y="586"/>
                  <a:pt x="736" y="586"/>
                  <a:pt x="737" y="587"/>
                </a:cubicBezTo>
                <a:cubicBezTo>
                  <a:pt x="737" y="587"/>
                  <a:pt x="738" y="588"/>
                  <a:pt x="738" y="590"/>
                </a:cubicBezTo>
                <a:lnTo>
                  <a:pt x="737" y="594"/>
                </a:lnTo>
                <a:cubicBezTo>
                  <a:pt x="737" y="597"/>
                  <a:pt x="738" y="598"/>
                  <a:pt x="739" y="599"/>
                </a:cubicBezTo>
                <a:cubicBezTo>
                  <a:pt x="741" y="600"/>
                  <a:pt x="742" y="600"/>
                  <a:pt x="742" y="600"/>
                </a:cubicBezTo>
                <a:lnTo>
                  <a:pt x="742" y="600"/>
                </a:lnTo>
                <a:lnTo>
                  <a:pt x="740" y="595"/>
                </a:lnTo>
                <a:cubicBezTo>
                  <a:pt x="740" y="595"/>
                  <a:pt x="741" y="595"/>
                  <a:pt x="742" y="596"/>
                </a:cubicBezTo>
                <a:cubicBezTo>
                  <a:pt x="744" y="597"/>
                  <a:pt x="744" y="598"/>
                  <a:pt x="744" y="599"/>
                </a:cubicBezTo>
                <a:cubicBezTo>
                  <a:pt x="744" y="600"/>
                  <a:pt x="744" y="600"/>
                  <a:pt x="744" y="601"/>
                </a:cubicBezTo>
                <a:cubicBezTo>
                  <a:pt x="744" y="601"/>
                  <a:pt x="743" y="602"/>
                  <a:pt x="743" y="603"/>
                </a:cubicBezTo>
                <a:cubicBezTo>
                  <a:pt x="743" y="605"/>
                  <a:pt x="744" y="607"/>
                  <a:pt x="747" y="610"/>
                </a:cubicBezTo>
                <a:cubicBezTo>
                  <a:pt x="749" y="612"/>
                  <a:pt x="752" y="614"/>
                  <a:pt x="754" y="614"/>
                </a:cubicBezTo>
                <a:cubicBezTo>
                  <a:pt x="757" y="614"/>
                  <a:pt x="758" y="614"/>
                  <a:pt x="758" y="614"/>
                </a:cubicBezTo>
                <a:cubicBezTo>
                  <a:pt x="758" y="615"/>
                  <a:pt x="757" y="616"/>
                  <a:pt x="757" y="617"/>
                </a:cubicBezTo>
                <a:cubicBezTo>
                  <a:pt x="756" y="618"/>
                  <a:pt x="755" y="619"/>
                  <a:pt x="755" y="620"/>
                </a:cubicBezTo>
                <a:cubicBezTo>
                  <a:pt x="755" y="621"/>
                  <a:pt x="756" y="621"/>
                  <a:pt x="758" y="621"/>
                </a:cubicBezTo>
                <a:cubicBezTo>
                  <a:pt x="761" y="621"/>
                  <a:pt x="764" y="620"/>
                  <a:pt x="769" y="618"/>
                </a:cubicBezTo>
                <a:cubicBezTo>
                  <a:pt x="774" y="616"/>
                  <a:pt x="777" y="613"/>
                  <a:pt x="780" y="610"/>
                </a:cubicBezTo>
                <a:cubicBezTo>
                  <a:pt x="785" y="604"/>
                  <a:pt x="788" y="601"/>
                  <a:pt x="789" y="601"/>
                </a:cubicBezTo>
                <a:cubicBezTo>
                  <a:pt x="790" y="601"/>
                  <a:pt x="790" y="601"/>
                  <a:pt x="790" y="602"/>
                </a:cubicBezTo>
                <a:cubicBezTo>
                  <a:pt x="790" y="603"/>
                  <a:pt x="790" y="604"/>
                  <a:pt x="790" y="606"/>
                </a:cubicBezTo>
                <a:cubicBezTo>
                  <a:pt x="789" y="607"/>
                  <a:pt x="789" y="609"/>
                  <a:pt x="789" y="610"/>
                </a:cubicBezTo>
                <a:cubicBezTo>
                  <a:pt x="789" y="612"/>
                  <a:pt x="789" y="614"/>
                  <a:pt x="789" y="616"/>
                </a:cubicBezTo>
                <a:cubicBezTo>
                  <a:pt x="788" y="618"/>
                  <a:pt x="787" y="621"/>
                  <a:pt x="784" y="624"/>
                </a:cubicBezTo>
                <a:cubicBezTo>
                  <a:pt x="781" y="627"/>
                  <a:pt x="778" y="630"/>
                  <a:pt x="774" y="633"/>
                </a:cubicBezTo>
                <a:cubicBezTo>
                  <a:pt x="770" y="636"/>
                  <a:pt x="767" y="637"/>
                  <a:pt x="764" y="637"/>
                </a:cubicBezTo>
                <a:cubicBezTo>
                  <a:pt x="762" y="637"/>
                  <a:pt x="759" y="637"/>
                  <a:pt x="756" y="635"/>
                </a:cubicBezTo>
                <a:cubicBezTo>
                  <a:pt x="753" y="634"/>
                  <a:pt x="750" y="633"/>
                  <a:pt x="747" y="631"/>
                </a:cubicBezTo>
                <a:cubicBezTo>
                  <a:pt x="745" y="630"/>
                  <a:pt x="744" y="628"/>
                  <a:pt x="744" y="627"/>
                </a:cubicBezTo>
                <a:lnTo>
                  <a:pt x="744" y="627"/>
                </a:lnTo>
                <a:cubicBezTo>
                  <a:pt x="744" y="627"/>
                  <a:pt x="745" y="626"/>
                  <a:pt x="745" y="626"/>
                </a:cubicBezTo>
                <a:cubicBezTo>
                  <a:pt x="745" y="625"/>
                  <a:pt x="744" y="625"/>
                  <a:pt x="743" y="625"/>
                </a:cubicBezTo>
                <a:cubicBezTo>
                  <a:pt x="742" y="625"/>
                  <a:pt x="741" y="625"/>
                  <a:pt x="741" y="625"/>
                </a:cubicBezTo>
                <a:cubicBezTo>
                  <a:pt x="739" y="626"/>
                  <a:pt x="739" y="627"/>
                  <a:pt x="738" y="627"/>
                </a:cubicBezTo>
                <a:cubicBezTo>
                  <a:pt x="738" y="628"/>
                  <a:pt x="737" y="628"/>
                  <a:pt x="737" y="628"/>
                </a:cubicBezTo>
                <a:cubicBezTo>
                  <a:pt x="734" y="628"/>
                  <a:pt x="729" y="626"/>
                  <a:pt x="723" y="620"/>
                </a:cubicBezTo>
                <a:cubicBezTo>
                  <a:pt x="716" y="615"/>
                  <a:pt x="710" y="610"/>
                  <a:pt x="705" y="603"/>
                </a:cubicBezTo>
                <a:cubicBezTo>
                  <a:pt x="699" y="597"/>
                  <a:pt x="696" y="592"/>
                  <a:pt x="696" y="589"/>
                </a:cubicBezTo>
                <a:cubicBezTo>
                  <a:pt x="696" y="587"/>
                  <a:pt x="696" y="586"/>
                  <a:pt x="694" y="586"/>
                </a:cubicBezTo>
                <a:cubicBezTo>
                  <a:pt x="689" y="586"/>
                  <a:pt x="668" y="605"/>
                  <a:pt x="633" y="643"/>
                </a:cubicBezTo>
                <a:cubicBezTo>
                  <a:pt x="618" y="659"/>
                  <a:pt x="606" y="671"/>
                  <a:pt x="597" y="677"/>
                </a:cubicBezTo>
                <a:cubicBezTo>
                  <a:pt x="588" y="684"/>
                  <a:pt x="580" y="688"/>
                  <a:pt x="573" y="688"/>
                </a:cubicBezTo>
                <a:cubicBezTo>
                  <a:pt x="570" y="688"/>
                  <a:pt x="567" y="687"/>
                  <a:pt x="564" y="686"/>
                </a:cubicBezTo>
                <a:cubicBezTo>
                  <a:pt x="561" y="685"/>
                  <a:pt x="559" y="685"/>
                  <a:pt x="559" y="684"/>
                </a:cubicBezTo>
                <a:cubicBezTo>
                  <a:pt x="559" y="684"/>
                  <a:pt x="560" y="683"/>
                  <a:pt x="562" y="682"/>
                </a:cubicBezTo>
                <a:cubicBezTo>
                  <a:pt x="565" y="681"/>
                  <a:pt x="566" y="681"/>
                  <a:pt x="566" y="680"/>
                </a:cubicBezTo>
                <a:cubicBezTo>
                  <a:pt x="566" y="680"/>
                  <a:pt x="563" y="679"/>
                  <a:pt x="559" y="679"/>
                </a:cubicBezTo>
                <a:cubicBezTo>
                  <a:pt x="554" y="679"/>
                  <a:pt x="550" y="679"/>
                  <a:pt x="549" y="676"/>
                </a:cubicBezTo>
                <a:cubicBezTo>
                  <a:pt x="547" y="674"/>
                  <a:pt x="544" y="674"/>
                  <a:pt x="541" y="674"/>
                </a:cubicBezTo>
                <a:cubicBezTo>
                  <a:pt x="536" y="674"/>
                  <a:pt x="532" y="670"/>
                  <a:pt x="526" y="662"/>
                </a:cubicBezTo>
                <a:cubicBezTo>
                  <a:pt x="523" y="660"/>
                  <a:pt x="522" y="657"/>
                  <a:pt x="522" y="656"/>
                </a:cubicBezTo>
                <a:lnTo>
                  <a:pt x="523" y="653"/>
                </a:lnTo>
                <a:cubicBezTo>
                  <a:pt x="523" y="652"/>
                  <a:pt x="522" y="652"/>
                  <a:pt x="521" y="652"/>
                </a:cubicBezTo>
                <a:cubicBezTo>
                  <a:pt x="519" y="652"/>
                  <a:pt x="518" y="651"/>
                  <a:pt x="518" y="648"/>
                </a:cubicBezTo>
                <a:cubicBezTo>
                  <a:pt x="518" y="647"/>
                  <a:pt x="518" y="646"/>
                  <a:pt x="519" y="644"/>
                </a:cubicBezTo>
                <a:cubicBezTo>
                  <a:pt x="519" y="643"/>
                  <a:pt x="520" y="642"/>
                  <a:pt x="521" y="642"/>
                </a:cubicBezTo>
                <a:cubicBezTo>
                  <a:pt x="523" y="642"/>
                  <a:pt x="523" y="641"/>
                  <a:pt x="523" y="641"/>
                </a:cubicBezTo>
                <a:cubicBezTo>
                  <a:pt x="523" y="640"/>
                  <a:pt x="522" y="640"/>
                  <a:pt x="520" y="640"/>
                </a:cubicBezTo>
                <a:cubicBezTo>
                  <a:pt x="518" y="640"/>
                  <a:pt x="517" y="638"/>
                  <a:pt x="516" y="633"/>
                </a:cubicBezTo>
                <a:cubicBezTo>
                  <a:pt x="515" y="628"/>
                  <a:pt x="515" y="620"/>
                  <a:pt x="515" y="608"/>
                </a:cubicBezTo>
                <a:lnTo>
                  <a:pt x="515" y="580"/>
                </a:lnTo>
                <a:cubicBezTo>
                  <a:pt x="515" y="570"/>
                  <a:pt x="514" y="565"/>
                  <a:pt x="513" y="565"/>
                </a:cubicBezTo>
                <a:lnTo>
                  <a:pt x="513" y="565"/>
                </a:lnTo>
                <a:cubicBezTo>
                  <a:pt x="511" y="567"/>
                  <a:pt x="506" y="574"/>
                  <a:pt x="496" y="587"/>
                </a:cubicBezTo>
                <a:cubicBezTo>
                  <a:pt x="472" y="620"/>
                  <a:pt x="450" y="651"/>
                  <a:pt x="431" y="680"/>
                </a:cubicBezTo>
                <a:cubicBezTo>
                  <a:pt x="422" y="694"/>
                  <a:pt x="417" y="701"/>
                  <a:pt x="416" y="701"/>
                </a:cubicBezTo>
                <a:cubicBezTo>
                  <a:pt x="416" y="699"/>
                  <a:pt x="420" y="691"/>
                  <a:pt x="430" y="676"/>
                </a:cubicBezTo>
                <a:cubicBezTo>
                  <a:pt x="452" y="641"/>
                  <a:pt x="473" y="608"/>
                  <a:pt x="494" y="579"/>
                </a:cubicBezTo>
                <a:cubicBezTo>
                  <a:pt x="509" y="558"/>
                  <a:pt x="516" y="545"/>
                  <a:pt x="516" y="539"/>
                </a:cubicBezTo>
                <a:cubicBezTo>
                  <a:pt x="516" y="537"/>
                  <a:pt x="515" y="536"/>
                  <a:pt x="514" y="536"/>
                </a:cubicBezTo>
                <a:cubicBezTo>
                  <a:pt x="513" y="536"/>
                  <a:pt x="511" y="537"/>
                  <a:pt x="508" y="538"/>
                </a:cubicBezTo>
                <a:cubicBezTo>
                  <a:pt x="506" y="540"/>
                  <a:pt x="504" y="542"/>
                  <a:pt x="502" y="544"/>
                </a:cubicBezTo>
                <a:cubicBezTo>
                  <a:pt x="500" y="546"/>
                  <a:pt x="499" y="548"/>
                  <a:pt x="498" y="549"/>
                </a:cubicBezTo>
                <a:cubicBezTo>
                  <a:pt x="497" y="551"/>
                  <a:pt x="496" y="553"/>
                  <a:pt x="495" y="554"/>
                </a:cubicBezTo>
                <a:cubicBezTo>
                  <a:pt x="493" y="555"/>
                  <a:pt x="492" y="555"/>
                  <a:pt x="491" y="555"/>
                </a:cubicBezTo>
                <a:cubicBezTo>
                  <a:pt x="489" y="555"/>
                  <a:pt x="488" y="556"/>
                  <a:pt x="488" y="558"/>
                </a:cubicBezTo>
                <a:lnTo>
                  <a:pt x="489" y="562"/>
                </a:lnTo>
                <a:cubicBezTo>
                  <a:pt x="489" y="564"/>
                  <a:pt x="488" y="564"/>
                  <a:pt x="487" y="564"/>
                </a:cubicBezTo>
                <a:cubicBezTo>
                  <a:pt x="486" y="564"/>
                  <a:pt x="484" y="567"/>
                  <a:pt x="481" y="572"/>
                </a:cubicBezTo>
                <a:cubicBezTo>
                  <a:pt x="481" y="574"/>
                  <a:pt x="480" y="576"/>
                  <a:pt x="480" y="578"/>
                </a:cubicBezTo>
                <a:cubicBezTo>
                  <a:pt x="480" y="579"/>
                  <a:pt x="480" y="579"/>
                  <a:pt x="480" y="579"/>
                </a:cubicBezTo>
                <a:cubicBezTo>
                  <a:pt x="482" y="579"/>
                  <a:pt x="484" y="577"/>
                  <a:pt x="488" y="572"/>
                </a:cubicBezTo>
                <a:cubicBezTo>
                  <a:pt x="491" y="567"/>
                  <a:pt x="494" y="564"/>
                  <a:pt x="496" y="564"/>
                </a:cubicBezTo>
                <a:cubicBezTo>
                  <a:pt x="497" y="564"/>
                  <a:pt x="497" y="564"/>
                  <a:pt x="497" y="565"/>
                </a:cubicBezTo>
                <a:cubicBezTo>
                  <a:pt x="497" y="566"/>
                  <a:pt x="496" y="566"/>
                  <a:pt x="495" y="567"/>
                </a:cubicBezTo>
                <a:cubicBezTo>
                  <a:pt x="493" y="568"/>
                  <a:pt x="492" y="569"/>
                  <a:pt x="491" y="571"/>
                </a:cubicBezTo>
                <a:cubicBezTo>
                  <a:pt x="490" y="572"/>
                  <a:pt x="489" y="573"/>
                  <a:pt x="489" y="574"/>
                </a:cubicBezTo>
                <a:cubicBezTo>
                  <a:pt x="489" y="575"/>
                  <a:pt x="488" y="577"/>
                  <a:pt x="486" y="580"/>
                </a:cubicBezTo>
                <a:cubicBezTo>
                  <a:pt x="484" y="583"/>
                  <a:pt x="482" y="586"/>
                  <a:pt x="478" y="589"/>
                </a:cubicBezTo>
                <a:cubicBezTo>
                  <a:pt x="474" y="592"/>
                  <a:pt x="472" y="594"/>
                  <a:pt x="472" y="594"/>
                </a:cubicBezTo>
                <a:cubicBezTo>
                  <a:pt x="472" y="594"/>
                  <a:pt x="472" y="593"/>
                  <a:pt x="473" y="593"/>
                </a:cubicBezTo>
                <a:cubicBezTo>
                  <a:pt x="476" y="588"/>
                  <a:pt x="478" y="585"/>
                  <a:pt x="478" y="583"/>
                </a:cubicBezTo>
                <a:cubicBezTo>
                  <a:pt x="478" y="581"/>
                  <a:pt x="477" y="581"/>
                  <a:pt x="476" y="581"/>
                </a:cubicBezTo>
                <a:lnTo>
                  <a:pt x="474" y="581"/>
                </a:lnTo>
                <a:cubicBezTo>
                  <a:pt x="471" y="582"/>
                  <a:pt x="469" y="584"/>
                  <a:pt x="469" y="586"/>
                </a:cubicBezTo>
                <a:cubicBezTo>
                  <a:pt x="469" y="589"/>
                  <a:pt x="468" y="592"/>
                  <a:pt x="465" y="594"/>
                </a:cubicBezTo>
                <a:cubicBezTo>
                  <a:pt x="462" y="596"/>
                  <a:pt x="461" y="597"/>
                  <a:pt x="461" y="597"/>
                </a:cubicBezTo>
                <a:cubicBezTo>
                  <a:pt x="461" y="597"/>
                  <a:pt x="461" y="596"/>
                  <a:pt x="462" y="595"/>
                </a:cubicBezTo>
                <a:lnTo>
                  <a:pt x="463" y="592"/>
                </a:lnTo>
                <a:cubicBezTo>
                  <a:pt x="463" y="592"/>
                  <a:pt x="462" y="592"/>
                  <a:pt x="461" y="593"/>
                </a:cubicBezTo>
                <a:cubicBezTo>
                  <a:pt x="459" y="594"/>
                  <a:pt x="459" y="595"/>
                  <a:pt x="459" y="596"/>
                </a:cubicBezTo>
                <a:cubicBezTo>
                  <a:pt x="459" y="597"/>
                  <a:pt x="459" y="597"/>
                  <a:pt x="459" y="598"/>
                </a:cubicBezTo>
                <a:lnTo>
                  <a:pt x="459" y="598"/>
                </a:lnTo>
                <a:cubicBezTo>
                  <a:pt x="459" y="601"/>
                  <a:pt x="456" y="607"/>
                  <a:pt x="449" y="617"/>
                </a:cubicBezTo>
                <a:cubicBezTo>
                  <a:pt x="443" y="626"/>
                  <a:pt x="440" y="632"/>
                  <a:pt x="440" y="635"/>
                </a:cubicBezTo>
                <a:cubicBezTo>
                  <a:pt x="440" y="636"/>
                  <a:pt x="440" y="637"/>
                  <a:pt x="441" y="637"/>
                </a:cubicBezTo>
                <a:cubicBezTo>
                  <a:pt x="442" y="638"/>
                  <a:pt x="442" y="638"/>
                  <a:pt x="442" y="639"/>
                </a:cubicBezTo>
                <a:cubicBezTo>
                  <a:pt x="442" y="640"/>
                  <a:pt x="442" y="640"/>
                  <a:pt x="441" y="641"/>
                </a:cubicBezTo>
                <a:cubicBezTo>
                  <a:pt x="441" y="642"/>
                  <a:pt x="440" y="642"/>
                  <a:pt x="439" y="642"/>
                </a:cubicBezTo>
                <a:cubicBezTo>
                  <a:pt x="438" y="642"/>
                  <a:pt x="438" y="642"/>
                  <a:pt x="438" y="640"/>
                </a:cubicBezTo>
                <a:cubicBezTo>
                  <a:pt x="438" y="639"/>
                  <a:pt x="437" y="639"/>
                  <a:pt x="436" y="639"/>
                </a:cubicBezTo>
                <a:lnTo>
                  <a:pt x="433" y="639"/>
                </a:lnTo>
                <a:cubicBezTo>
                  <a:pt x="431" y="640"/>
                  <a:pt x="430" y="641"/>
                  <a:pt x="430" y="642"/>
                </a:cubicBezTo>
                <a:lnTo>
                  <a:pt x="430" y="643"/>
                </a:lnTo>
                <a:cubicBezTo>
                  <a:pt x="430" y="646"/>
                  <a:pt x="422" y="659"/>
                  <a:pt x="406" y="681"/>
                </a:cubicBezTo>
                <a:cubicBezTo>
                  <a:pt x="385" y="711"/>
                  <a:pt x="375" y="728"/>
                  <a:pt x="375" y="731"/>
                </a:cubicBezTo>
                <a:cubicBezTo>
                  <a:pt x="375" y="732"/>
                  <a:pt x="374" y="732"/>
                  <a:pt x="374" y="733"/>
                </a:cubicBezTo>
                <a:cubicBezTo>
                  <a:pt x="373" y="734"/>
                  <a:pt x="373" y="734"/>
                  <a:pt x="372" y="734"/>
                </a:cubicBezTo>
                <a:cubicBezTo>
                  <a:pt x="372" y="734"/>
                  <a:pt x="370" y="735"/>
                  <a:pt x="368" y="738"/>
                </a:cubicBezTo>
                <a:cubicBezTo>
                  <a:pt x="366" y="741"/>
                  <a:pt x="363" y="744"/>
                  <a:pt x="361" y="748"/>
                </a:cubicBezTo>
                <a:cubicBezTo>
                  <a:pt x="356" y="757"/>
                  <a:pt x="350" y="766"/>
                  <a:pt x="342" y="776"/>
                </a:cubicBezTo>
                <a:cubicBezTo>
                  <a:pt x="335" y="785"/>
                  <a:pt x="332" y="790"/>
                  <a:pt x="332" y="792"/>
                </a:cubicBezTo>
                <a:cubicBezTo>
                  <a:pt x="332" y="794"/>
                  <a:pt x="333" y="796"/>
                  <a:pt x="335" y="796"/>
                </a:cubicBezTo>
                <a:cubicBezTo>
                  <a:pt x="337" y="796"/>
                  <a:pt x="338" y="795"/>
                  <a:pt x="340" y="793"/>
                </a:cubicBezTo>
                <a:cubicBezTo>
                  <a:pt x="341" y="791"/>
                  <a:pt x="342" y="790"/>
                  <a:pt x="342" y="790"/>
                </a:cubicBezTo>
                <a:cubicBezTo>
                  <a:pt x="342" y="789"/>
                  <a:pt x="342" y="789"/>
                  <a:pt x="341" y="789"/>
                </a:cubicBezTo>
                <a:cubicBezTo>
                  <a:pt x="341" y="789"/>
                  <a:pt x="340" y="789"/>
                  <a:pt x="340" y="788"/>
                </a:cubicBezTo>
                <a:cubicBezTo>
                  <a:pt x="340" y="787"/>
                  <a:pt x="342" y="785"/>
                  <a:pt x="346" y="781"/>
                </a:cubicBezTo>
                <a:cubicBezTo>
                  <a:pt x="350" y="778"/>
                  <a:pt x="354" y="776"/>
                  <a:pt x="358" y="776"/>
                </a:cubicBezTo>
                <a:lnTo>
                  <a:pt x="360" y="776"/>
                </a:lnTo>
                <a:cubicBezTo>
                  <a:pt x="363" y="776"/>
                  <a:pt x="367" y="775"/>
                  <a:pt x="369" y="772"/>
                </a:cubicBezTo>
                <a:cubicBezTo>
                  <a:pt x="370" y="769"/>
                  <a:pt x="372" y="768"/>
                  <a:pt x="372" y="768"/>
                </a:cubicBezTo>
                <a:cubicBezTo>
                  <a:pt x="372" y="768"/>
                  <a:pt x="372" y="767"/>
                  <a:pt x="371" y="767"/>
                </a:cubicBezTo>
                <a:lnTo>
                  <a:pt x="367" y="770"/>
                </a:lnTo>
                <a:cubicBezTo>
                  <a:pt x="362" y="772"/>
                  <a:pt x="359" y="774"/>
                  <a:pt x="357" y="774"/>
                </a:cubicBezTo>
                <a:cubicBezTo>
                  <a:pt x="356" y="774"/>
                  <a:pt x="356" y="773"/>
                  <a:pt x="356" y="772"/>
                </a:cubicBezTo>
                <a:cubicBezTo>
                  <a:pt x="356" y="771"/>
                  <a:pt x="356" y="770"/>
                  <a:pt x="357" y="769"/>
                </a:cubicBezTo>
                <a:cubicBezTo>
                  <a:pt x="358" y="767"/>
                  <a:pt x="360" y="767"/>
                  <a:pt x="362" y="766"/>
                </a:cubicBezTo>
                <a:cubicBezTo>
                  <a:pt x="363" y="765"/>
                  <a:pt x="365" y="764"/>
                  <a:pt x="366" y="764"/>
                </a:cubicBezTo>
                <a:cubicBezTo>
                  <a:pt x="368" y="764"/>
                  <a:pt x="369" y="764"/>
                  <a:pt x="370" y="764"/>
                </a:cubicBezTo>
                <a:cubicBezTo>
                  <a:pt x="370" y="763"/>
                  <a:pt x="371" y="763"/>
                  <a:pt x="371" y="762"/>
                </a:cubicBezTo>
                <a:cubicBezTo>
                  <a:pt x="371" y="762"/>
                  <a:pt x="370" y="761"/>
                  <a:pt x="370" y="760"/>
                </a:cubicBezTo>
                <a:cubicBezTo>
                  <a:pt x="370" y="759"/>
                  <a:pt x="369" y="759"/>
                  <a:pt x="367" y="759"/>
                </a:cubicBezTo>
                <a:cubicBezTo>
                  <a:pt x="367" y="759"/>
                  <a:pt x="366" y="759"/>
                  <a:pt x="365" y="760"/>
                </a:cubicBezTo>
                <a:cubicBezTo>
                  <a:pt x="365" y="761"/>
                  <a:pt x="364" y="761"/>
                  <a:pt x="364" y="761"/>
                </a:cubicBezTo>
                <a:cubicBezTo>
                  <a:pt x="364" y="761"/>
                  <a:pt x="363" y="761"/>
                  <a:pt x="363" y="760"/>
                </a:cubicBezTo>
                <a:lnTo>
                  <a:pt x="364" y="759"/>
                </a:lnTo>
                <a:cubicBezTo>
                  <a:pt x="365" y="757"/>
                  <a:pt x="367" y="756"/>
                  <a:pt x="367" y="756"/>
                </a:cubicBezTo>
                <a:cubicBezTo>
                  <a:pt x="368" y="756"/>
                  <a:pt x="369" y="757"/>
                  <a:pt x="369" y="757"/>
                </a:cubicBezTo>
                <a:cubicBezTo>
                  <a:pt x="369" y="757"/>
                  <a:pt x="369" y="757"/>
                  <a:pt x="370" y="757"/>
                </a:cubicBezTo>
                <a:cubicBezTo>
                  <a:pt x="371" y="757"/>
                  <a:pt x="373" y="756"/>
                  <a:pt x="375" y="752"/>
                </a:cubicBezTo>
                <a:cubicBezTo>
                  <a:pt x="375" y="751"/>
                  <a:pt x="376" y="749"/>
                  <a:pt x="377" y="748"/>
                </a:cubicBezTo>
                <a:cubicBezTo>
                  <a:pt x="379" y="747"/>
                  <a:pt x="380" y="746"/>
                  <a:pt x="381" y="746"/>
                </a:cubicBezTo>
                <a:cubicBezTo>
                  <a:pt x="382" y="746"/>
                  <a:pt x="382" y="747"/>
                  <a:pt x="382" y="747"/>
                </a:cubicBezTo>
                <a:cubicBezTo>
                  <a:pt x="382" y="748"/>
                  <a:pt x="382" y="749"/>
                  <a:pt x="380" y="751"/>
                </a:cubicBezTo>
                <a:cubicBezTo>
                  <a:pt x="379" y="752"/>
                  <a:pt x="378" y="754"/>
                  <a:pt x="378" y="756"/>
                </a:cubicBezTo>
                <a:cubicBezTo>
                  <a:pt x="378" y="757"/>
                  <a:pt x="379" y="758"/>
                  <a:pt x="379" y="759"/>
                </a:cubicBezTo>
                <a:cubicBezTo>
                  <a:pt x="380" y="759"/>
                  <a:pt x="380" y="760"/>
                  <a:pt x="380" y="760"/>
                </a:cubicBezTo>
                <a:cubicBezTo>
                  <a:pt x="380" y="761"/>
                  <a:pt x="380" y="761"/>
                  <a:pt x="379" y="761"/>
                </a:cubicBezTo>
                <a:cubicBezTo>
                  <a:pt x="379" y="761"/>
                  <a:pt x="379" y="761"/>
                  <a:pt x="378" y="760"/>
                </a:cubicBezTo>
                <a:cubicBezTo>
                  <a:pt x="378" y="759"/>
                  <a:pt x="377" y="759"/>
                  <a:pt x="376" y="759"/>
                </a:cubicBezTo>
                <a:cubicBezTo>
                  <a:pt x="375" y="759"/>
                  <a:pt x="375" y="761"/>
                  <a:pt x="375" y="763"/>
                </a:cubicBezTo>
                <a:cubicBezTo>
                  <a:pt x="375" y="766"/>
                  <a:pt x="372" y="771"/>
                  <a:pt x="366" y="778"/>
                </a:cubicBezTo>
                <a:cubicBezTo>
                  <a:pt x="360" y="785"/>
                  <a:pt x="355" y="791"/>
                  <a:pt x="349" y="797"/>
                </a:cubicBezTo>
                <a:cubicBezTo>
                  <a:pt x="341" y="805"/>
                  <a:pt x="335" y="808"/>
                  <a:pt x="330" y="808"/>
                </a:cubicBezTo>
                <a:close/>
                <a:moveTo>
                  <a:pt x="736" y="623"/>
                </a:moveTo>
                <a:cubicBezTo>
                  <a:pt x="737" y="623"/>
                  <a:pt x="737" y="622"/>
                  <a:pt x="737" y="621"/>
                </a:cubicBezTo>
                <a:cubicBezTo>
                  <a:pt x="737" y="620"/>
                  <a:pt x="737" y="619"/>
                  <a:pt x="735" y="617"/>
                </a:cubicBezTo>
                <a:cubicBezTo>
                  <a:pt x="733" y="615"/>
                  <a:pt x="732" y="614"/>
                  <a:pt x="732" y="614"/>
                </a:cubicBezTo>
                <a:lnTo>
                  <a:pt x="734" y="614"/>
                </a:lnTo>
                <a:cubicBezTo>
                  <a:pt x="734" y="613"/>
                  <a:pt x="732" y="609"/>
                  <a:pt x="729" y="603"/>
                </a:cubicBezTo>
                <a:cubicBezTo>
                  <a:pt x="719" y="589"/>
                  <a:pt x="712" y="583"/>
                  <a:pt x="705" y="583"/>
                </a:cubicBezTo>
                <a:cubicBezTo>
                  <a:pt x="704" y="583"/>
                  <a:pt x="704" y="583"/>
                  <a:pt x="704" y="584"/>
                </a:cubicBezTo>
                <a:cubicBezTo>
                  <a:pt x="704" y="585"/>
                  <a:pt x="704" y="586"/>
                  <a:pt x="706" y="589"/>
                </a:cubicBezTo>
                <a:cubicBezTo>
                  <a:pt x="707" y="591"/>
                  <a:pt x="709" y="593"/>
                  <a:pt x="711" y="593"/>
                </a:cubicBezTo>
                <a:lnTo>
                  <a:pt x="713" y="592"/>
                </a:lnTo>
                <a:lnTo>
                  <a:pt x="713" y="592"/>
                </a:lnTo>
                <a:cubicBezTo>
                  <a:pt x="713" y="592"/>
                  <a:pt x="712" y="593"/>
                  <a:pt x="711" y="595"/>
                </a:cubicBezTo>
                <a:cubicBezTo>
                  <a:pt x="710" y="598"/>
                  <a:pt x="709" y="599"/>
                  <a:pt x="709" y="600"/>
                </a:cubicBezTo>
                <a:cubicBezTo>
                  <a:pt x="709" y="600"/>
                  <a:pt x="709" y="600"/>
                  <a:pt x="709" y="600"/>
                </a:cubicBezTo>
                <a:lnTo>
                  <a:pt x="714" y="600"/>
                </a:lnTo>
                <a:cubicBezTo>
                  <a:pt x="717" y="600"/>
                  <a:pt x="718" y="600"/>
                  <a:pt x="718" y="602"/>
                </a:cubicBezTo>
                <a:cubicBezTo>
                  <a:pt x="718" y="603"/>
                  <a:pt x="717" y="604"/>
                  <a:pt x="716" y="605"/>
                </a:cubicBezTo>
                <a:cubicBezTo>
                  <a:pt x="715" y="607"/>
                  <a:pt x="714" y="608"/>
                  <a:pt x="714" y="609"/>
                </a:cubicBezTo>
                <a:lnTo>
                  <a:pt x="715" y="609"/>
                </a:lnTo>
                <a:lnTo>
                  <a:pt x="717" y="608"/>
                </a:lnTo>
                <a:cubicBezTo>
                  <a:pt x="719" y="608"/>
                  <a:pt x="721" y="609"/>
                  <a:pt x="724" y="611"/>
                </a:cubicBezTo>
                <a:cubicBezTo>
                  <a:pt x="726" y="613"/>
                  <a:pt x="727" y="614"/>
                  <a:pt x="727" y="614"/>
                </a:cubicBezTo>
                <a:cubicBezTo>
                  <a:pt x="727" y="615"/>
                  <a:pt x="726" y="615"/>
                  <a:pt x="726" y="615"/>
                </a:cubicBezTo>
                <a:lnTo>
                  <a:pt x="724" y="614"/>
                </a:lnTo>
                <a:lnTo>
                  <a:pt x="724" y="614"/>
                </a:lnTo>
                <a:cubicBezTo>
                  <a:pt x="724" y="615"/>
                  <a:pt x="725" y="616"/>
                  <a:pt x="727" y="617"/>
                </a:cubicBezTo>
                <a:cubicBezTo>
                  <a:pt x="729" y="620"/>
                  <a:pt x="731" y="621"/>
                  <a:pt x="732" y="622"/>
                </a:cubicBezTo>
                <a:cubicBezTo>
                  <a:pt x="734" y="623"/>
                  <a:pt x="735" y="623"/>
                  <a:pt x="736" y="623"/>
                </a:cubicBezTo>
                <a:close/>
                <a:moveTo>
                  <a:pt x="578" y="673"/>
                </a:moveTo>
                <a:cubicBezTo>
                  <a:pt x="580" y="673"/>
                  <a:pt x="583" y="671"/>
                  <a:pt x="589" y="668"/>
                </a:cubicBezTo>
                <a:cubicBezTo>
                  <a:pt x="596" y="664"/>
                  <a:pt x="612" y="647"/>
                  <a:pt x="637" y="620"/>
                </a:cubicBezTo>
                <a:cubicBezTo>
                  <a:pt x="645" y="610"/>
                  <a:pt x="654" y="601"/>
                  <a:pt x="665" y="590"/>
                </a:cubicBezTo>
                <a:cubicBezTo>
                  <a:pt x="672" y="583"/>
                  <a:pt x="675" y="579"/>
                  <a:pt x="675" y="578"/>
                </a:cubicBezTo>
                <a:lnTo>
                  <a:pt x="671" y="579"/>
                </a:lnTo>
                <a:cubicBezTo>
                  <a:pt x="671" y="579"/>
                  <a:pt x="670" y="579"/>
                  <a:pt x="670" y="579"/>
                </a:cubicBezTo>
                <a:cubicBezTo>
                  <a:pt x="670" y="579"/>
                  <a:pt x="671" y="577"/>
                  <a:pt x="673" y="575"/>
                </a:cubicBezTo>
                <a:cubicBezTo>
                  <a:pt x="674" y="573"/>
                  <a:pt x="675" y="572"/>
                  <a:pt x="675" y="572"/>
                </a:cubicBezTo>
                <a:cubicBezTo>
                  <a:pt x="675" y="571"/>
                  <a:pt x="675" y="571"/>
                  <a:pt x="675" y="571"/>
                </a:cubicBezTo>
                <a:cubicBezTo>
                  <a:pt x="674" y="571"/>
                  <a:pt x="672" y="572"/>
                  <a:pt x="669" y="573"/>
                </a:cubicBezTo>
                <a:cubicBezTo>
                  <a:pt x="660" y="577"/>
                  <a:pt x="642" y="593"/>
                  <a:pt x="614" y="621"/>
                </a:cubicBezTo>
                <a:cubicBezTo>
                  <a:pt x="587" y="649"/>
                  <a:pt x="573" y="665"/>
                  <a:pt x="573" y="670"/>
                </a:cubicBezTo>
                <a:cubicBezTo>
                  <a:pt x="573" y="670"/>
                  <a:pt x="573" y="671"/>
                  <a:pt x="574" y="671"/>
                </a:cubicBezTo>
                <a:cubicBezTo>
                  <a:pt x="575" y="671"/>
                  <a:pt x="575" y="672"/>
                  <a:pt x="576" y="672"/>
                </a:cubicBezTo>
                <a:cubicBezTo>
                  <a:pt x="577" y="673"/>
                  <a:pt x="578" y="673"/>
                  <a:pt x="578" y="673"/>
                </a:cubicBezTo>
                <a:close/>
                <a:moveTo>
                  <a:pt x="537" y="661"/>
                </a:moveTo>
                <a:lnTo>
                  <a:pt x="537" y="660"/>
                </a:lnTo>
                <a:cubicBezTo>
                  <a:pt x="538" y="659"/>
                  <a:pt x="538" y="659"/>
                  <a:pt x="538" y="658"/>
                </a:cubicBezTo>
                <a:lnTo>
                  <a:pt x="537" y="655"/>
                </a:lnTo>
                <a:cubicBezTo>
                  <a:pt x="537" y="654"/>
                  <a:pt x="537" y="653"/>
                  <a:pt x="536" y="653"/>
                </a:cubicBezTo>
                <a:cubicBezTo>
                  <a:pt x="536" y="653"/>
                  <a:pt x="536" y="654"/>
                  <a:pt x="535" y="656"/>
                </a:cubicBezTo>
                <a:cubicBezTo>
                  <a:pt x="535" y="659"/>
                  <a:pt x="536" y="661"/>
                  <a:pt x="537" y="661"/>
                </a:cubicBezTo>
                <a:close/>
                <a:moveTo>
                  <a:pt x="547" y="665"/>
                </a:moveTo>
                <a:cubicBezTo>
                  <a:pt x="548" y="665"/>
                  <a:pt x="549" y="665"/>
                  <a:pt x="551" y="665"/>
                </a:cubicBezTo>
                <a:cubicBezTo>
                  <a:pt x="552" y="664"/>
                  <a:pt x="553" y="664"/>
                  <a:pt x="554" y="663"/>
                </a:cubicBezTo>
                <a:cubicBezTo>
                  <a:pt x="555" y="662"/>
                  <a:pt x="556" y="661"/>
                  <a:pt x="556" y="661"/>
                </a:cubicBezTo>
                <a:cubicBezTo>
                  <a:pt x="556" y="659"/>
                  <a:pt x="554" y="658"/>
                  <a:pt x="552" y="658"/>
                </a:cubicBezTo>
                <a:cubicBezTo>
                  <a:pt x="551" y="658"/>
                  <a:pt x="550" y="658"/>
                  <a:pt x="550" y="658"/>
                </a:cubicBezTo>
                <a:cubicBezTo>
                  <a:pt x="550" y="657"/>
                  <a:pt x="551" y="656"/>
                  <a:pt x="553" y="655"/>
                </a:cubicBezTo>
                <a:cubicBezTo>
                  <a:pt x="554" y="654"/>
                  <a:pt x="555" y="653"/>
                  <a:pt x="555" y="653"/>
                </a:cubicBezTo>
                <a:cubicBezTo>
                  <a:pt x="555" y="652"/>
                  <a:pt x="555" y="652"/>
                  <a:pt x="553" y="652"/>
                </a:cubicBezTo>
                <a:cubicBezTo>
                  <a:pt x="552" y="652"/>
                  <a:pt x="552" y="644"/>
                  <a:pt x="552" y="629"/>
                </a:cubicBezTo>
                <a:lnTo>
                  <a:pt x="552" y="569"/>
                </a:lnTo>
                <a:cubicBezTo>
                  <a:pt x="552" y="554"/>
                  <a:pt x="552" y="544"/>
                  <a:pt x="551" y="541"/>
                </a:cubicBezTo>
                <a:cubicBezTo>
                  <a:pt x="551" y="539"/>
                  <a:pt x="550" y="537"/>
                  <a:pt x="548" y="536"/>
                </a:cubicBezTo>
                <a:cubicBezTo>
                  <a:pt x="547" y="534"/>
                  <a:pt x="545" y="534"/>
                  <a:pt x="544" y="534"/>
                </a:cubicBezTo>
                <a:cubicBezTo>
                  <a:pt x="543" y="534"/>
                  <a:pt x="542" y="535"/>
                  <a:pt x="541" y="536"/>
                </a:cubicBezTo>
                <a:cubicBezTo>
                  <a:pt x="541" y="538"/>
                  <a:pt x="541" y="539"/>
                  <a:pt x="540" y="539"/>
                </a:cubicBezTo>
                <a:lnTo>
                  <a:pt x="538" y="538"/>
                </a:lnTo>
                <a:cubicBezTo>
                  <a:pt x="536" y="538"/>
                  <a:pt x="535" y="539"/>
                  <a:pt x="534" y="541"/>
                </a:cubicBezTo>
                <a:cubicBezTo>
                  <a:pt x="533" y="548"/>
                  <a:pt x="532" y="571"/>
                  <a:pt x="532" y="611"/>
                </a:cubicBezTo>
                <a:cubicBezTo>
                  <a:pt x="532" y="620"/>
                  <a:pt x="532" y="629"/>
                  <a:pt x="532" y="637"/>
                </a:cubicBezTo>
                <a:cubicBezTo>
                  <a:pt x="533" y="645"/>
                  <a:pt x="533" y="649"/>
                  <a:pt x="534" y="649"/>
                </a:cubicBezTo>
                <a:cubicBezTo>
                  <a:pt x="535" y="649"/>
                  <a:pt x="535" y="648"/>
                  <a:pt x="535" y="646"/>
                </a:cubicBezTo>
                <a:cubicBezTo>
                  <a:pt x="535" y="603"/>
                  <a:pt x="536" y="575"/>
                  <a:pt x="536" y="563"/>
                </a:cubicBezTo>
                <a:cubicBezTo>
                  <a:pt x="537" y="556"/>
                  <a:pt x="538" y="554"/>
                  <a:pt x="539" y="554"/>
                </a:cubicBezTo>
                <a:lnTo>
                  <a:pt x="539" y="554"/>
                </a:lnTo>
                <a:cubicBezTo>
                  <a:pt x="542" y="555"/>
                  <a:pt x="543" y="557"/>
                  <a:pt x="543" y="561"/>
                </a:cubicBezTo>
                <a:cubicBezTo>
                  <a:pt x="543" y="562"/>
                  <a:pt x="543" y="563"/>
                  <a:pt x="543" y="563"/>
                </a:cubicBezTo>
                <a:cubicBezTo>
                  <a:pt x="542" y="564"/>
                  <a:pt x="541" y="564"/>
                  <a:pt x="541" y="564"/>
                </a:cubicBezTo>
                <a:cubicBezTo>
                  <a:pt x="540" y="564"/>
                  <a:pt x="539" y="565"/>
                  <a:pt x="539" y="565"/>
                </a:cubicBezTo>
                <a:cubicBezTo>
                  <a:pt x="539" y="566"/>
                  <a:pt x="540" y="567"/>
                  <a:pt x="541" y="569"/>
                </a:cubicBezTo>
                <a:cubicBezTo>
                  <a:pt x="543" y="571"/>
                  <a:pt x="544" y="572"/>
                  <a:pt x="544" y="572"/>
                </a:cubicBezTo>
                <a:cubicBezTo>
                  <a:pt x="544" y="573"/>
                  <a:pt x="543" y="573"/>
                  <a:pt x="543" y="573"/>
                </a:cubicBezTo>
                <a:lnTo>
                  <a:pt x="542" y="572"/>
                </a:lnTo>
                <a:cubicBezTo>
                  <a:pt x="540" y="572"/>
                  <a:pt x="539" y="583"/>
                  <a:pt x="539" y="605"/>
                </a:cubicBezTo>
                <a:cubicBezTo>
                  <a:pt x="539" y="628"/>
                  <a:pt x="540" y="640"/>
                  <a:pt x="541" y="640"/>
                </a:cubicBezTo>
                <a:cubicBezTo>
                  <a:pt x="542" y="640"/>
                  <a:pt x="543" y="642"/>
                  <a:pt x="543" y="645"/>
                </a:cubicBezTo>
                <a:lnTo>
                  <a:pt x="542" y="658"/>
                </a:lnTo>
                <a:cubicBezTo>
                  <a:pt x="542" y="659"/>
                  <a:pt x="542" y="660"/>
                  <a:pt x="542" y="660"/>
                </a:cubicBezTo>
                <a:cubicBezTo>
                  <a:pt x="542" y="660"/>
                  <a:pt x="543" y="659"/>
                  <a:pt x="544" y="658"/>
                </a:cubicBezTo>
                <a:cubicBezTo>
                  <a:pt x="545" y="656"/>
                  <a:pt x="546" y="656"/>
                  <a:pt x="546" y="656"/>
                </a:cubicBezTo>
                <a:cubicBezTo>
                  <a:pt x="547" y="656"/>
                  <a:pt x="547" y="656"/>
                  <a:pt x="547" y="656"/>
                </a:cubicBezTo>
                <a:lnTo>
                  <a:pt x="546" y="663"/>
                </a:lnTo>
                <a:cubicBezTo>
                  <a:pt x="546" y="664"/>
                  <a:pt x="546" y="665"/>
                  <a:pt x="547" y="665"/>
                </a:cubicBezTo>
                <a:close/>
                <a:moveTo>
                  <a:pt x="492" y="543"/>
                </a:moveTo>
                <a:cubicBezTo>
                  <a:pt x="493" y="543"/>
                  <a:pt x="494" y="543"/>
                  <a:pt x="495" y="542"/>
                </a:cubicBezTo>
                <a:cubicBezTo>
                  <a:pt x="497" y="541"/>
                  <a:pt x="497" y="540"/>
                  <a:pt x="497" y="539"/>
                </a:cubicBezTo>
                <a:cubicBezTo>
                  <a:pt x="497" y="538"/>
                  <a:pt x="497" y="537"/>
                  <a:pt x="496" y="537"/>
                </a:cubicBezTo>
                <a:cubicBezTo>
                  <a:pt x="494" y="537"/>
                  <a:pt x="492" y="538"/>
                  <a:pt x="491" y="540"/>
                </a:cubicBezTo>
                <a:lnTo>
                  <a:pt x="490" y="541"/>
                </a:lnTo>
                <a:cubicBezTo>
                  <a:pt x="490" y="542"/>
                  <a:pt x="491" y="543"/>
                  <a:pt x="492" y="543"/>
                </a:cubicBezTo>
                <a:close/>
                <a:moveTo>
                  <a:pt x="473" y="567"/>
                </a:moveTo>
                <a:cubicBezTo>
                  <a:pt x="473" y="567"/>
                  <a:pt x="474" y="566"/>
                  <a:pt x="476" y="564"/>
                </a:cubicBezTo>
                <a:cubicBezTo>
                  <a:pt x="477" y="563"/>
                  <a:pt x="478" y="562"/>
                  <a:pt x="478" y="561"/>
                </a:cubicBezTo>
                <a:cubicBezTo>
                  <a:pt x="478" y="560"/>
                  <a:pt x="478" y="560"/>
                  <a:pt x="477" y="560"/>
                </a:cubicBezTo>
                <a:lnTo>
                  <a:pt x="477" y="559"/>
                </a:lnTo>
                <a:cubicBezTo>
                  <a:pt x="476" y="559"/>
                  <a:pt x="475" y="561"/>
                  <a:pt x="474" y="563"/>
                </a:cubicBezTo>
                <a:lnTo>
                  <a:pt x="473" y="566"/>
                </a:lnTo>
                <a:lnTo>
                  <a:pt x="473" y="567"/>
                </a:lnTo>
                <a:close/>
                <a:moveTo>
                  <a:pt x="471" y="576"/>
                </a:moveTo>
                <a:cubicBezTo>
                  <a:pt x="474" y="576"/>
                  <a:pt x="475" y="576"/>
                  <a:pt x="475" y="575"/>
                </a:cubicBezTo>
                <a:cubicBezTo>
                  <a:pt x="475" y="574"/>
                  <a:pt x="474" y="573"/>
                  <a:pt x="471" y="572"/>
                </a:cubicBezTo>
                <a:lnTo>
                  <a:pt x="468" y="572"/>
                </a:lnTo>
                <a:cubicBezTo>
                  <a:pt x="467" y="572"/>
                  <a:pt x="466" y="572"/>
                  <a:pt x="466" y="573"/>
                </a:cubicBezTo>
                <a:cubicBezTo>
                  <a:pt x="466" y="574"/>
                  <a:pt x="467" y="575"/>
                  <a:pt x="468" y="575"/>
                </a:cubicBezTo>
                <a:cubicBezTo>
                  <a:pt x="469" y="576"/>
                  <a:pt x="469" y="576"/>
                  <a:pt x="471" y="576"/>
                </a:cubicBezTo>
                <a:close/>
                <a:moveTo>
                  <a:pt x="448" y="599"/>
                </a:moveTo>
                <a:cubicBezTo>
                  <a:pt x="449" y="599"/>
                  <a:pt x="450" y="598"/>
                  <a:pt x="452" y="595"/>
                </a:cubicBezTo>
                <a:cubicBezTo>
                  <a:pt x="455" y="593"/>
                  <a:pt x="457" y="590"/>
                  <a:pt x="459" y="588"/>
                </a:cubicBezTo>
                <a:cubicBezTo>
                  <a:pt x="461" y="585"/>
                  <a:pt x="462" y="583"/>
                  <a:pt x="462" y="581"/>
                </a:cubicBezTo>
                <a:cubicBezTo>
                  <a:pt x="462" y="579"/>
                  <a:pt x="461" y="578"/>
                  <a:pt x="459" y="577"/>
                </a:cubicBezTo>
                <a:cubicBezTo>
                  <a:pt x="457" y="577"/>
                  <a:pt x="457" y="578"/>
                  <a:pt x="456" y="579"/>
                </a:cubicBezTo>
                <a:lnTo>
                  <a:pt x="457" y="581"/>
                </a:lnTo>
                <a:cubicBezTo>
                  <a:pt x="457" y="583"/>
                  <a:pt x="456" y="585"/>
                  <a:pt x="454" y="588"/>
                </a:cubicBezTo>
                <a:cubicBezTo>
                  <a:pt x="450" y="593"/>
                  <a:pt x="448" y="597"/>
                  <a:pt x="448" y="598"/>
                </a:cubicBezTo>
                <a:cubicBezTo>
                  <a:pt x="448" y="598"/>
                  <a:pt x="448" y="599"/>
                  <a:pt x="448" y="599"/>
                </a:cubicBezTo>
                <a:close/>
                <a:moveTo>
                  <a:pt x="439" y="612"/>
                </a:moveTo>
                <a:cubicBezTo>
                  <a:pt x="439" y="612"/>
                  <a:pt x="441" y="612"/>
                  <a:pt x="442" y="611"/>
                </a:cubicBezTo>
                <a:cubicBezTo>
                  <a:pt x="443" y="610"/>
                  <a:pt x="444" y="609"/>
                  <a:pt x="445" y="608"/>
                </a:cubicBezTo>
                <a:cubicBezTo>
                  <a:pt x="446" y="607"/>
                  <a:pt x="446" y="607"/>
                  <a:pt x="446" y="606"/>
                </a:cubicBezTo>
                <a:cubicBezTo>
                  <a:pt x="446" y="605"/>
                  <a:pt x="446" y="605"/>
                  <a:pt x="446" y="605"/>
                </a:cubicBezTo>
                <a:cubicBezTo>
                  <a:pt x="444" y="605"/>
                  <a:pt x="443" y="605"/>
                  <a:pt x="442" y="607"/>
                </a:cubicBezTo>
                <a:cubicBezTo>
                  <a:pt x="439" y="609"/>
                  <a:pt x="438" y="610"/>
                  <a:pt x="438" y="611"/>
                </a:cubicBezTo>
                <a:cubicBezTo>
                  <a:pt x="438" y="612"/>
                  <a:pt x="438" y="612"/>
                  <a:pt x="439" y="612"/>
                </a:cubicBezTo>
                <a:close/>
                <a:moveTo>
                  <a:pt x="325" y="618"/>
                </a:moveTo>
                <a:lnTo>
                  <a:pt x="326" y="617"/>
                </a:lnTo>
                <a:cubicBezTo>
                  <a:pt x="328" y="616"/>
                  <a:pt x="328" y="614"/>
                  <a:pt x="328" y="612"/>
                </a:cubicBezTo>
                <a:cubicBezTo>
                  <a:pt x="328" y="611"/>
                  <a:pt x="328" y="610"/>
                  <a:pt x="326" y="610"/>
                </a:cubicBezTo>
                <a:cubicBezTo>
                  <a:pt x="325" y="610"/>
                  <a:pt x="324" y="610"/>
                  <a:pt x="324" y="611"/>
                </a:cubicBezTo>
                <a:cubicBezTo>
                  <a:pt x="323" y="612"/>
                  <a:pt x="323" y="613"/>
                  <a:pt x="323" y="614"/>
                </a:cubicBezTo>
                <a:cubicBezTo>
                  <a:pt x="323" y="617"/>
                  <a:pt x="323" y="618"/>
                  <a:pt x="325" y="618"/>
                </a:cubicBezTo>
                <a:close/>
                <a:moveTo>
                  <a:pt x="327" y="606"/>
                </a:moveTo>
                <a:cubicBezTo>
                  <a:pt x="327" y="606"/>
                  <a:pt x="327" y="606"/>
                  <a:pt x="328" y="605"/>
                </a:cubicBezTo>
                <a:cubicBezTo>
                  <a:pt x="329" y="605"/>
                  <a:pt x="330" y="604"/>
                  <a:pt x="330" y="602"/>
                </a:cubicBezTo>
                <a:cubicBezTo>
                  <a:pt x="331" y="600"/>
                  <a:pt x="332" y="598"/>
                  <a:pt x="332" y="596"/>
                </a:cubicBezTo>
                <a:lnTo>
                  <a:pt x="332" y="592"/>
                </a:lnTo>
                <a:cubicBezTo>
                  <a:pt x="332" y="590"/>
                  <a:pt x="332" y="588"/>
                  <a:pt x="331" y="588"/>
                </a:cubicBezTo>
                <a:cubicBezTo>
                  <a:pt x="329" y="588"/>
                  <a:pt x="328" y="590"/>
                  <a:pt x="328" y="592"/>
                </a:cubicBezTo>
                <a:cubicBezTo>
                  <a:pt x="328" y="595"/>
                  <a:pt x="328" y="598"/>
                  <a:pt x="327" y="602"/>
                </a:cubicBezTo>
                <a:lnTo>
                  <a:pt x="326" y="605"/>
                </a:lnTo>
                <a:cubicBezTo>
                  <a:pt x="326" y="606"/>
                  <a:pt x="326" y="606"/>
                  <a:pt x="327" y="606"/>
                </a:cubicBezTo>
                <a:close/>
                <a:moveTo>
                  <a:pt x="413" y="430"/>
                </a:moveTo>
                <a:cubicBezTo>
                  <a:pt x="414" y="430"/>
                  <a:pt x="414" y="430"/>
                  <a:pt x="414" y="430"/>
                </a:cubicBezTo>
                <a:lnTo>
                  <a:pt x="413" y="426"/>
                </a:lnTo>
                <a:cubicBezTo>
                  <a:pt x="412" y="424"/>
                  <a:pt x="411" y="423"/>
                  <a:pt x="410" y="422"/>
                </a:cubicBezTo>
                <a:lnTo>
                  <a:pt x="410" y="423"/>
                </a:lnTo>
                <a:cubicBezTo>
                  <a:pt x="410" y="423"/>
                  <a:pt x="409" y="424"/>
                  <a:pt x="409" y="424"/>
                </a:cubicBezTo>
                <a:cubicBezTo>
                  <a:pt x="409" y="425"/>
                  <a:pt x="410" y="426"/>
                  <a:pt x="411" y="428"/>
                </a:cubicBezTo>
                <a:cubicBezTo>
                  <a:pt x="412" y="429"/>
                  <a:pt x="413" y="430"/>
                  <a:pt x="413" y="430"/>
                </a:cubicBezTo>
                <a:close/>
                <a:moveTo>
                  <a:pt x="406" y="437"/>
                </a:moveTo>
                <a:cubicBezTo>
                  <a:pt x="407" y="437"/>
                  <a:pt x="407" y="437"/>
                  <a:pt x="408" y="436"/>
                </a:cubicBezTo>
                <a:cubicBezTo>
                  <a:pt x="409" y="436"/>
                  <a:pt x="409" y="436"/>
                  <a:pt x="409" y="435"/>
                </a:cubicBezTo>
                <a:cubicBezTo>
                  <a:pt x="409" y="435"/>
                  <a:pt x="408" y="434"/>
                  <a:pt x="406" y="432"/>
                </a:cubicBezTo>
                <a:lnTo>
                  <a:pt x="405" y="432"/>
                </a:lnTo>
                <a:cubicBezTo>
                  <a:pt x="404" y="432"/>
                  <a:pt x="403" y="432"/>
                  <a:pt x="403" y="433"/>
                </a:cubicBezTo>
                <a:cubicBezTo>
                  <a:pt x="403" y="436"/>
                  <a:pt x="404" y="437"/>
                  <a:pt x="406" y="437"/>
                </a:cubicBezTo>
                <a:close/>
                <a:moveTo>
                  <a:pt x="403" y="446"/>
                </a:moveTo>
                <a:cubicBezTo>
                  <a:pt x="404" y="446"/>
                  <a:pt x="404" y="446"/>
                  <a:pt x="405" y="446"/>
                </a:cubicBezTo>
                <a:cubicBezTo>
                  <a:pt x="406" y="445"/>
                  <a:pt x="406" y="445"/>
                  <a:pt x="406" y="444"/>
                </a:cubicBezTo>
                <a:cubicBezTo>
                  <a:pt x="406" y="444"/>
                  <a:pt x="405" y="443"/>
                  <a:pt x="403" y="441"/>
                </a:cubicBezTo>
                <a:lnTo>
                  <a:pt x="402" y="441"/>
                </a:lnTo>
                <a:cubicBezTo>
                  <a:pt x="401" y="441"/>
                  <a:pt x="400" y="441"/>
                  <a:pt x="400" y="442"/>
                </a:cubicBezTo>
                <a:cubicBezTo>
                  <a:pt x="400" y="445"/>
                  <a:pt x="401" y="446"/>
                  <a:pt x="403" y="446"/>
                </a:cubicBezTo>
                <a:close/>
                <a:moveTo>
                  <a:pt x="355" y="512"/>
                </a:moveTo>
                <a:cubicBezTo>
                  <a:pt x="356" y="512"/>
                  <a:pt x="356" y="511"/>
                  <a:pt x="356" y="508"/>
                </a:cubicBezTo>
                <a:cubicBezTo>
                  <a:pt x="356" y="505"/>
                  <a:pt x="355" y="504"/>
                  <a:pt x="354" y="504"/>
                </a:cubicBezTo>
                <a:cubicBezTo>
                  <a:pt x="352" y="504"/>
                  <a:pt x="352" y="505"/>
                  <a:pt x="352" y="506"/>
                </a:cubicBezTo>
                <a:cubicBezTo>
                  <a:pt x="352" y="507"/>
                  <a:pt x="352" y="509"/>
                  <a:pt x="353" y="510"/>
                </a:cubicBezTo>
                <a:cubicBezTo>
                  <a:pt x="354" y="512"/>
                  <a:pt x="355" y="512"/>
                  <a:pt x="355" y="512"/>
                </a:cubicBezTo>
                <a:close/>
                <a:moveTo>
                  <a:pt x="373" y="615"/>
                </a:moveTo>
                <a:cubicBezTo>
                  <a:pt x="372" y="615"/>
                  <a:pt x="372" y="614"/>
                  <a:pt x="372" y="613"/>
                </a:cubicBezTo>
                <a:cubicBezTo>
                  <a:pt x="372" y="610"/>
                  <a:pt x="373" y="607"/>
                  <a:pt x="375" y="604"/>
                </a:cubicBezTo>
                <a:cubicBezTo>
                  <a:pt x="375" y="602"/>
                  <a:pt x="376" y="601"/>
                  <a:pt x="376" y="601"/>
                </a:cubicBezTo>
                <a:cubicBezTo>
                  <a:pt x="377" y="601"/>
                  <a:pt x="377" y="601"/>
                  <a:pt x="377" y="602"/>
                </a:cubicBezTo>
                <a:cubicBezTo>
                  <a:pt x="377" y="604"/>
                  <a:pt x="376" y="607"/>
                  <a:pt x="375" y="611"/>
                </a:cubicBezTo>
                <a:cubicBezTo>
                  <a:pt x="374" y="614"/>
                  <a:pt x="373" y="615"/>
                  <a:pt x="373" y="615"/>
                </a:cubicBezTo>
                <a:close/>
                <a:moveTo>
                  <a:pt x="615" y="631"/>
                </a:moveTo>
                <a:cubicBezTo>
                  <a:pt x="615" y="630"/>
                  <a:pt x="618" y="626"/>
                  <a:pt x="623" y="619"/>
                </a:cubicBezTo>
                <a:cubicBezTo>
                  <a:pt x="629" y="612"/>
                  <a:pt x="633" y="608"/>
                  <a:pt x="635" y="608"/>
                </a:cubicBezTo>
                <a:lnTo>
                  <a:pt x="635" y="608"/>
                </a:lnTo>
                <a:lnTo>
                  <a:pt x="635" y="609"/>
                </a:lnTo>
                <a:cubicBezTo>
                  <a:pt x="635" y="610"/>
                  <a:pt x="633" y="614"/>
                  <a:pt x="627" y="621"/>
                </a:cubicBezTo>
                <a:cubicBezTo>
                  <a:pt x="621" y="627"/>
                  <a:pt x="617" y="631"/>
                  <a:pt x="615" y="631"/>
                </a:cubicBezTo>
                <a:close/>
                <a:moveTo>
                  <a:pt x="577" y="670"/>
                </a:moveTo>
                <a:lnTo>
                  <a:pt x="576" y="670"/>
                </a:lnTo>
                <a:cubicBezTo>
                  <a:pt x="576" y="669"/>
                  <a:pt x="578" y="667"/>
                  <a:pt x="581" y="664"/>
                </a:cubicBezTo>
                <a:cubicBezTo>
                  <a:pt x="586" y="661"/>
                  <a:pt x="592" y="654"/>
                  <a:pt x="601" y="645"/>
                </a:cubicBezTo>
                <a:cubicBezTo>
                  <a:pt x="607" y="638"/>
                  <a:pt x="611" y="634"/>
                  <a:pt x="613" y="634"/>
                </a:cubicBezTo>
                <a:cubicBezTo>
                  <a:pt x="613" y="637"/>
                  <a:pt x="607" y="643"/>
                  <a:pt x="596" y="654"/>
                </a:cubicBezTo>
                <a:cubicBezTo>
                  <a:pt x="585" y="665"/>
                  <a:pt x="579" y="670"/>
                  <a:pt x="577" y="670"/>
                </a:cubicBezTo>
                <a:close/>
                <a:moveTo>
                  <a:pt x="385" y="570"/>
                </a:moveTo>
                <a:lnTo>
                  <a:pt x="385" y="569"/>
                </a:lnTo>
                <a:cubicBezTo>
                  <a:pt x="385" y="567"/>
                  <a:pt x="392" y="541"/>
                  <a:pt x="407" y="493"/>
                </a:cubicBezTo>
                <a:cubicBezTo>
                  <a:pt x="421" y="448"/>
                  <a:pt x="428" y="426"/>
                  <a:pt x="429" y="426"/>
                </a:cubicBezTo>
                <a:cubicBezTo>
                  <a:pt x="429" y="432"/>
                  <a:pt x="418" y="468"/>
                  <a:pt x="398" y="532"/>
                </a:cubicBezTo>
                <a:cubicBezTo>
                  <a:pt x="390" y="557"/>
                  <a:pt x="385" y="570"/>
                  <a:pt x="385" y="570"/>
                </a:cubicBezTo>
                <a:close/>
                <a:moveTo>
                  <a:pt x="403" y="664"/>
                </a:moveTo>
                <a:cubicBezTo>
                  <a:pt x="401" y="664"/>
                  <a:pt x="400" y="663"/>
                  <a:pt x="400" y="661"/>
                </a:cubicBezTo>
                <a:cubicBezTo>
                  <a:pt x="400" y="659"/>
                  <a:pt x="401" y="658"/>
                  <a:pt x="403" y="658"/>
                </a:cubicBezTo>
                <a:cubicBezTo>
                  <a:pt x="405" y="658"/>
                  <a:pt x="406" y="659"/>
                  <a:pt x="406" y="661"/>
                </a:cubicBezTo>
                <a:cubicBezTo>
                  <a:pt x="406" y="663"/>
                  <a:pt x="405" y="664"/>
                  <a:pt x="403" y="664"/>
                </a:cubicBezTo>
                <a:close/>
                <a:moveTo>
                  <a:pt x="639" y="607"/>
                </a:moveTo>
                <a:close/>
                <a:moveTo>
                  <a:pt x="639" y="607"/>
                </a:moveTo>
                <a:lnTo>
                  <a:pt x="639" y="607"/>
                </a:lnTo>
                <a:cubicBezTo>
                  <a:pt x="639" y="604"/>
                  <a:pt x="643" y="598"/>
                  <a:pt x="653" y="590"/>
                </a:cubicBezTo>
                <a:cubicBezTo>
                  <a:pt x="659" y="583"/>
                  <a:pt x="664" y="580"/>
                  <a:pt x="666" y="580"/>
                </a:cubicBezTo>
                <a:cubicBezTo>
                  <a:pt x="667" y="580"/>
                  <a:pt x="668" y="581"/>
                  <a:pt x="668" y="583"/>
                </a:cubicBezTo>
                <a:cubicBezTo>
                  <a:pt x="668" y="585"/>
                  <a:pt x="666" y="586"/>
                  <a:pt x="663" y="588"/>
                </a:cubicBezTo>
                <a:cubicBezTo>
                  <a:pt x="659" y="589"/>
                  <a:pt x="655" y="593"/>
                  <a:pt x="648" y="599"/>
                </a:cubicBezTo>
                <a:cubicBezTo>
                  <a:pt x="643" y="605"/>
                  <a:pt x="640" y="607"/>
                  <a:pt x="639" y="607"/>
                </a:cubicBezTo>
                <a:close/>
                <a:moveTo>
                  <a:pt x="910" y="555"/>
                </a:moveTo>
                <a:lnTo>
                  <a:pt x="910" y="555"/>
                </a:lnTo>
                <a:cubicBezTo>
                  <a:pt x="910" y="555"/>
                  <a:pt x="909" y="554"/>
                  <a:pt x="908" y="554"/>
                </a:cubicBezTo>
                <a:cubicBezTo>
                  <a:pt x="907" y="554"/>
                  <a:pt x="906" y="553"/>
                  <a:pt x="905" y="553"/>
                </a:cubicBezTo>
                <a:cubicBezTo>
                  <a:pt x="905" y="552"/>
                  <a:pt x="904" y="552"/>
                  <a:pt x="904" y="552"/>
                </a:cubicBezTo>
                <a:cubicBezTo>
                  <a:pt x="904" y="551"/>
                  <a:pt x="905" y="551"/>
                  <a:pt x="905" y="551"/>
                </a:cubicBezTo>
                <a:cubicBezTo>
                  <a:pt x="905" y="551"/>
                  <a:pt x="906" y="551"/>
                  <a:pt x="907" y="551"/>
                </a:cubicBezTo>
                <a:cubicBezTo>
                  <a:pt x="908" y="552"/>
                  <a:pt x="908" y="552"/>
                  <a:pt x="909" y="553"/>
                </a:cubicBezTo>
                <a:cubicBezTo>
                  <a:pt x="910" y="554"/>
                  <a:pt x="910" y="554"/>
                  <a:pt x="910" y="555"/>
                </a:cubicBezTo>
                <a:close/>
                <a:moveTo>
                  <a:pt x="649" y="1102"/>
                </a:moveTo>
                <a:cubicBezTo>
                  <a:pt x="649" y="1102"/>
                  <a:pt x="648" y="1101"/>
                  <a:pt x="647" y="1100"/>
                </a:cubicBezTo>
                <a:cubicBezTo>
                  <a:pt x="646" y="1099"/>
                  <a:pt x="646" y="1098"/>
                  <a:pt x="646" y="1098"/>
                </a:cubicBezTo>
                <a:lnTo>
                  <a:pt x="647" y="1098"/>
                </a:lnTo>
                <a:cubicBezTo>
                  <a:pt x="648" y="1098"/>
                  <a:pt x="648" y="1098"/>
                  <a:pt x="648" y="1097"/>
                </a:cubicBezTo>
                <a:cubicBezTo>
                  <a:pt x="648" y="1095"/>
                  <a:pt x="647" y="1095"/>
                  <a:pt x="647" y="1095"/>
                </a:cubicBezTo>
                <a:lnTo>
                  <a:pt x="646" y="1095"/>
                </a:lnTo>
                <a:cubicBezTo>
                  <a:pt x="645" y="1095"/>
                  <a:pt x="645" y="1095"/>
                  <a:pt x="645" y="1095"/>
                </a:cubicBezTo>
                <a:cubicBezTo>
                  <a:pt x="645" y="1094"/>
                  <a:pt x="645" y="1093"/>
                  <a:pt x="645" y="1092"/>
                </a:cubicBezTo>
                <a:cubicBezTo>
                  <a:pt x="646" y="1091"/>
                  <a:pt x="647" y="1089"/>
                  <a:pt x="647" y="1087"/>
                </a:cubicBezTo>
                <a:lnTo>
                  <a:pt x="646" y="1084"/>
                </a:lnTo>
                <a:cubicBezTo>
                  <a:pt x="646" y="1083"/>
                  <a:pt x="646" y="1083"/>
                  <a:pt x="647" y="1082"/>
                </a:cubicBezTo>
                <a:cubicBezTo>
                  <a:pt x="647" y="1081"/>
                  <a:pt x="647" y="1080"/>
                  <a:pt x="647" y="1078"/>
                </a:cubicBezTo>
                <a:cubicBezTo>
                  <a:pt x="648" y="1076"/>
                  <a:pt x="648" y="1073"/>
                  <a:pt x="648" y="1071"/>
                </a:cubicBezTo>
                <a:cubicBezTo>
                  <a:pt x="648" y="1068"/>
                  <a:pt x="649" y="1061"/>
                  <a:pt x="652" y="1049"/>
                </a:cubicBezTo>
                <a:cubicBezTo>
                  <a:pt x="658" y="1024"/>
                  <a:pt x="663" y="1004"/>
                  <a:pt x="668" y="989"/>
                </a:cubicBezTo>
                <a:cubicBezTo>
                  <a:pt x="681" y="944"/>
                  <a:pt x="688" y="918"/>
                  <a:pt x="688" y="912"/>
                </a:cubicBezTo>
                <a:lnTo>
                  <a:pt x="688" y="911"/>
                </a:lnTo>
                <a:lnTo>
                  <a:pt x="689" y="911"/>
                </a:lnTo>
                <a:cubicBezTo>
                  <a:pt x="690" y="911"/>
                  <a:pt x="691" y="910"/>
                  <a:pt x="692" y="908"/>
                </a:cubicBezTo>
                <a:cubicBezTo>
                  <a:pt x="694" y="903"/>
                  <a:pt x="695" y="899"/>
                  <a:pt x="695" y="895"/>
                </a:cubicBezTo>
                <a:cubicBezTo>
                  <a:pt x="695" y="894"/>
                  <a:pt x="695" y="893"/>
                  <a:pt x="694" y="893"/>
                </a:cubicBezTo>
                <a:cubicBezTo>
                  <a:pt x="694" y="891"/>
                  <a:pt x="695" y="889"/>
                  <a:pt x="696" y="889"/>
                </a:cubicBezTo>
                <a:cubicBezTo>
                  <a:pt x="697" y="888"/>
                  <a:pt x="697" y="887"/>
                  <a:pt x="697" y="885"/>
                </a:cubicBezTo>
                <a:lnTo>
                  <a:pt x="697" y="884"/>
                </a:lnTo>
                <a:cubicBezTo>
                  <a:pt x="697" y="883"/>
                  <a:pt x="697" y="883"/>
                  <a:pt x="698" y="883"/>
                </a:cubicBezTo>
                <a:cubicBezTo>
                  <a:pt x="699" y="883"/>
                  <a:pt x="699" y="882"/>
                  <a:pt x="699" y="882"/>
                </a:cubicBezTo>
                <a:lnTo>
                  <a:pt x="699" y="881"/>
                </a:lnTo>
                <a:cubicBezTo>
                  <a:pt x="699" y="880"/>
                  <a:pt x="699" y="878"/>
                  <a:pt x="701" y="877"/>
                </a:cubicBezTo>
                <a:cubicBezTo>
                  <a:pt x="702" y="875"/>
                  <a:pt x="703" y="874"/>
                  <a:pt x="703" y="872"/>
                </a:cubicBezTo>
                <a:lnTo>
                  <a:pt x="702" y="867"/>
                </a:lnTo>
                <a:cubicBezTo>
                  <a:pt x="702" y="867"/>
                  <a:pt x="702" y="867"/>
                  <a:pt x="703" y="867"/>
                </a:cubicBezTo>
                <a:cubicBezTo>
                  <a:pt x="704" y="867"/>
                  <a:pt x="705" y="865"/>
                  <a:pt x="705" y="862"/>
                </a:cubicBezTo>
                <a:lnTo>
                  <a:pt x="704" y="860"/>
                </a:lnTo>
                <a:lnTo>
                  <a:pt x="705" y="860"/>
                </a:lnTo>
                <a:lnTo>
                  <a:pt x="705" y="860"/>
                </a:lnTo>
                <a:cubicBezTo>
                  <a:pt x="707" y="860"/>
                  <a:pt x="708" y="857"/>
                  <a:pt x="708" y="852"/>
                </a:cubicBezTo>
                <a:lnTo>
                  <a:pt x="708" y="849"/>
                </a:lnTo>
                <a:cubicBezTo>
                  <a:pt x="708" y="847"/>
                  <a:pt x="708" y="845"/>
                  <a:pt x="709" y="845"/>
                </a:cubicBezTo>
                <a:lnTo>
                  <a:pt x="709" y="845"/>
                </a:lnTo>
                <a:cubicBezTo>
                  <a:pt x="710" y="845"/>
                  <a:pt x="710" y="845"/>
                  <a:pt x="710" y="846"/>
                </a:cubicBezTo>
                <a:lnTo>
                  <a:pt x="710" y="848"/>
                </a:lnTo>
                <a:cubicBezTo>
                  <a:pt x="710" y="848"/>
                  <a:pt x="710" y="848"/>
                  <a:pt x="711" y="846"/>
                </a:cubicBezTo>
                <a:cubicBezTo>
                  <a:pt x="712" y="844"/>
                  <a:pt x="713" y="842"/>
                  <a:pt x="713" y="841"/>
                </a:cubicBezTo>
                <a:cubicBezTo>
                  <a:pt x="713" y="840"/>
                  <a:pt x="712" y="839"/>
                  <a:pt x="712" y="838"/>
                </a:cubicBezTo>
                <a:cubicBezTo>
                  <a:pt x="712" y="838"/>
                  <a:pt x="712" y="837"/>
                  <a:pt x="712" y="837"/>
                </a:cubicBezTo>
                <a:cubicBezTo>
                  <a:pt x="712" y="836"/>
                  <a:pt x="712" y="835"/>
                  <a:pt x="713" y="835"/>
                </a:cubicBezTo>
                <a:lnTo>
                  <a:pt x="714" y="835"/>
                </a:lnTo>
                <a:cubicBezTo>
                  <a:pt x="714" y="835"/>
                  <a:pt x="715" y="835"/>
                  <a:pt x="715" y="834"/>
                </a:cubicBezTo>
                <a:lnTo>
                  <a:pt x="715" y="831"/>
                </a:lnTo>
                <a:cubicBezTo>
                  <a:pt x="715" y="829"/>
                  <a:pt x="717" y="823"/>
                  <a:pt x="720" y="812"/>
                </a:cubicBezTo>
                <a:cubicBezTo>
                  <a:pt x="725" y="798"/>
                  <a:pt x="728" y="790"/>
                  <a:pt x="728" y="788"/>
                </a:cubicBezTo>
                <a:cubicBezTo>
                  <a:pt x="728" y="788"/>
                  <a:pt x="727" y="788"/>
                  <a:pt x="727" y="788"/>
                </a:cubicBezTo>
                <a:cubicBezTo>
                  <a:pt x="726" y="788"/>
                  <a:pt x="725" y="787"/>
                  <a:pt x="725" y="786"/>
                </a:cubicBezTo>
                <a:cubicBezTo>
                  <a:pt x="725" y="786"/>
                  <a:pt x="724" y="785"/>
                  <a:pt x="723" y="784"/>
                </a:cubicBezTo>
                <a:cubicBezTo>
                  <a:pt x="722" y="783"/>
                  <a:pt x="721" y="782"/>
                  <a:pt x="721" y="782"/>
                </a:cubicBezTo>
                <a:cubicBezTo>
                  <a:pt x="721" y="782"/>
                  <a:pt x="721" y="781"/>
                  <a:pt x="722" y="781"/>
                </a:cubicBezTo>
                <a:cubicBezTo>
                  <a:pt x="723" y="781"/>
                  <a:pt x="723" y="781"/>
                  <a:pt x="723" y="781"/>
                </a:cubicBezTo>
                <a:lnTo>
                  <a:pt x="723" y="779"/>
                </a:lnTo>
                <a:cubicBezTo>
                  <a:pt x="723" y="778"/>
                  <a:pt x="723" y="777"/>
                  <a:pt x="724" y="777"/>
                </a:cubicBezTo>
                <a:cubicBezTo>
                  <a:pt x="725" y="776"/>
                  <a:pt x="725" y="774"/>
                  <a:pt x="725" y="772"/>
                </a:cubicBezTo>
                <a:lnTo>
                  <a:pt x="725" y="770"/>
                </a:lnTo>
                <a:cubicBezTo>
                  <a:pt x="725" y="764"/>
                  <a:pt x="727" y="757"/>
                  <a:pt x="731" y="748"/>
                </a:cubicBezTo>
                <a:cubicBezTo>
                  <a:pt x="732" y="745"/>
                  <a:pt x="733" y="743"/>
                  <a:pt x="734" y="743"/>
                </a:cubicBezTo>
                <a:cubicBezTo>
                  <a:pt x="734" y="743"/>
                  <a:pt x="735" y="743"/>
                  <a:pt x="735" y="743"/>
                </a:cubicBezTo>
                <a:lnTo>
                  <a:pt x="734" y="741"/>
                </a:lnTo>
                <a:cubicBezTo>
                  <a:pt x="734" y="740"/>
                  <a:pt x="734" y="739"/>
                  <a:pt x="736" y="738"/>
                </a:cubicBezTo>
                <a:cubicBezTo>
                  <a:pt x="737" y="737"/>
                  <a:pt x="737" y="737"/>
                  <a:pt x="737" y="736"/>
                </a:cubicBezTo>
                <a:lnTo>
                  <a:pt x="737" y="735"/>
                </a:lnTo>
                <a:cubicBezTo>
                  <a:pt x="737" y="733"/>
                  <a:pt x="738" y="731"/>
                  <a:pt x="740" y="729"/>
                </a:cubicBezTo>
                <a:cubicBezTo>
                  <a:pt x="742" y="728"/>
                  <a:pt x="742" y="726"/>
                  <a:pt x="742" y="725"/>
                </a:cubicBezTo>
                <a:cubicBezTo>
                  <a:pt x="742" y="725"/>
                  <a:pt x="742" y="725"/>
                  <a:pt x="742" y="725"/>
                </a:cubicBezTo>
                <a:lnTo>
                  <a:pt x="742" y="724"/>
                </a:lnTo>
                <a:cubicBezTo>
                  <a:pt x="742" y="723"/>
                  <a:pt x="742" y="722"/>
                  <a:pt x="744" y="720"/>
                </a:cubicBezTo>
                <a:cubicBezTo>
                  <a:pt x="745" y="719"/>
                  <a:pt x="746" y="718"/>
                  <a:pt x="746" y="717"/>
                </a:cubicBezTo>
                <a:cubicBezTo>
                  <a:pt x="746" y="717"/>
                  <a:pt x="747" y="716"/>
                  <a:pt x="747" y="715"/>
                </a:cubicBezTo>
                <a:cubicBezTo>
                  <a:pt x="747" y="714"/>
                  <a:pt x="748" y="712"/>
                  <a:pt x="749" y="709"/>
                </a:cubicBezTo>
                <a:cubicBezTo>
                  <a:pt x="751" y="707"/>
                  <a:pt x="752" y="704"/>
                  <a:pt x="752" y="702"/>
                </a:cubicBezTo>
                <a:lnTo>
                  <a:pt x="751" y="701"/>
                </a:lnTo>
                <a:lnTo>
                  <a:pt x="752" y="702"/>
                </a:lnTo>
                <a:cubicBezTo>
                  <a:pt x="752" y="702"/>
                  <a:pt x="753" y="702"/>
                  <a:pt x="753" y="702"/>
                </a:cubicBezTo>
                <a:cubicBezTo>
                  <a:pt x="754" y="702"/>
                  <a:pt x="755" y="702"/>
                  <a:pt x="756" y="701"/>
                </a:cubicBezTo>
                <a:cubicBezTo>
                  <a:pt x="757" y="699"/>
                  <a:pt x="758" y="698"/>
                  <a:pt x="758" y="697"/>
                </a:cubicBezTo>
                <a:cubicBezTo>
                  <a:pt x="757" y="696"/>
                  <a:pt x="757" y="696"/>
                  <a:pt x="757" y="696"/>
                </a:cubicBezTo>
                <a:cubicBezTo>
                  <a:pt x="756" y="696"/>
                  <a:pt x="756" y="697"/>
                  <a:pt x="755" y="698"/>
                </a:cubicBezTo>
                <a:cubicBezTo>
                  <a:pt x="754" y="699"/>
                  <a:pt x="753" y="699"/>
                  <a:pt x="752" y="699"/>
                </a:cubicBezTo>
                <a:cubicBezTo>
                  <a:pt x="752" y="699"/>
                  <a:pt x="751" y="699"/>
                  <a:pt x="751" y="699"/>
                </a:cubicBezTo>
                <a:cubicBezTo>
                  <a:pt x="751" y="698"/>
                  <a:pt x="752" y="698"/>
                  <a:pt x="754" y="696"/>
                </a:cubicBezTo>
                <a:cubicBezTo>
                  <a:pt x="755" y="695"/>
                  <a:pt x="756" y="695"/>
                  <a:pt x="757" y="695"/>
                </a:cubicBezTo>
                <a:cubicBezTo>
                  <a:pt x="759" y="695"/>
                  <a:pt x="760" y="694"/>
                  <a:pt x="761" y="693"/>
                </a:cubicBezTo>
                <a:cubicBezTo>
                  <a:pt x="762" y="691"/>
                  <a:pt x="763" y="688"/>
                  <a:pt x="763" y="685"/>
                </a:cubicBezTo>
                <a:cubicBezTo>
                  <a:pt x="763" y="684"/>
                  <a:pt x="763" y="683"/>
                  <a:pt x="762" y="683"/>
                </a:cubicBezTo>
                <a:lnTo>
                  <a:pt x="761" y="681"/>
                </a:lnTo>
                <a:lnTo>
                  <a:pt x="763" y="683"/>
                </a:lnTo>
                <a:cubicBezTo>
                  <a:pt x="765" y="683"/>
                  <a:pt x="765" y="681"/>
                  <a:pt x="765" y="679"/>
                </a:cubicBezTo>
                <a:cubicBezTo>
                  <a:pt x="765" y="678"/>
                  <a:pt x="765" y="676"/>
                  <a:pt x="764" y="676"/>
                </a:cubicBezTo>
                <a:lnTo>
                  <a:pt x="764" y="676"/>
                </a:lnTo>
                <a:cubicBezTo>
                  <a:pt x="763" y="676"/>
                  <a:pt x="761" y="678"/>
                  <a:pt x="758" y="682"/>
                </a:cubicBezTo>
                <a:cubicBezTo>
                  <a:pt x="755" y="686"/>
                  <a:pt x="753" y="688"/>
                  <a:pt x="751" y="688"/>
                </a:cubicBezTo>
                <a:cubicBezTo>
                  <a:pt x="751" y="688"/>
                  <a:pt x="750" y="688"/>
                  <a:pt x="749" y="688"/>
                </a:cubicBezTo>
                <a:lnTo>
                  <a:pt x="749" y="686"/>
                </a:lnTo>
                <a:lnTo>
                  <a:pt x="752" y="688"/>
                </a:lnTo>
                <a:cubicBezTo>
                  <a:pt x="753" y="688"/>
                  <a:pt x="753" y="688"/>
                  <a:pt x="753" y="688"/>
                </a:cubicBezTo>
                <a:lnTo>
                  <a:pt x="752" y="683"/>
                </a:lnTo>
                <a:cubicBezTo>
                  <a:pt x="752" y="683"/>
                  <a:pt x="752" y="683"/>
                  <a:pt x="752" y="683"/>
                </a:cubicBezTo>
                <a:cubicBezTo>
                  <a:pt x="753" y="683"/>
                  <a:pt x="753" y="683"/>
                  <a:pt x="753" y="682"/>
                </a:cubicBezTo>
                <a:lnTo>
                  <a:pt x="752" y="679"/>
                </a:lnTo>
                <a:lnTo>
                  <a:pt x="754" y="680"/>
                </a:lnTo>
                <a:cubicBezTo>
                  <a:pt x="756" y="680"/>
                  <a:pt x="757" y="679"/>
                  <a:pt x="759" y="676"/>
                </a:cubicBezTo>
                <a:cubicBezTo>
                  <a:pt x="760" y="674"/>
                  <a:pt x="762" y="673"/>
                  <a:pt x="763" y="673"/>
                </a:cubicBezTo>
                <a:cubicBezTo>
                  <a:pt x="764" y="673"/>
                  <a:pt x="764" y="673"/>
                  <a:pt x="765" y="674"/>
                </a:cubicBezTo>
                <a:cubicBezTo>
                  <a:pt x="766" y="675"/>
                  <a:pt x="767" y="675"/>
                  <a:pt x="767" y="675"/>
                </a:cubicBezTo>
                <a:cubicBezTo>
                  <a:pt x="769" y="675"/>
                  <a:pt x="770" y="673"/>
                  <a:pt x="771" y="668"/>
                </a:cubicBezTo>
                <a:lnTo>
                  <a:pt x="771" y="665"/>
                </a:lnTo>
                <a:cubicBezTo>
                  <a:pt x="771" y="665"/>
                  <a:pt x="771" y="665"/>
                  <a:pt x="771" y="665"/>
                </a:cubicBezTo>
                <a:cubicBezTo>
                  <a:pt x="770" y="665"/>
                  <a:pt x="770" y="665"/>
                  <a:pt x="768" y="666"/>
                </a:cubicBezTo>
                <a:cubicBezTo>
                  <a:pt x="767" y="668"/>
                  <a:pt x="767" y="668"/>
                  <a:pt x="766" y="668"/>
                </a:cubicBezTo>
                <a:cubicBezTo>
                  <a:pt x="766" y="668"/>
                  <a:pt x="767" y="667"/>
                  <a:pt x="767" y="666"/>
                </a:cubicBezTo>
                <a:cubicBezTo>
                  <a:pt x="768" y="664"/>
                  <a:pt x="769" y="664"/>
                  <a:pt x="771" y="664"/>
                </a:cubicBezTo>
                <a:lnTo>
                  <a:pt x="772" y="664"/>
                </a:lnTo>
                <a:cubicBezTo>
                  <a:pt x="773" y="664"/>
                  <a:pt x="774" y="662"/>
                  <a:pt x="775" y="658"/>
                </a:cubicBezTo>
                <a:cubicBezTo>
                  <a:pt x="776" y="654"/>
                  <a:pt x="776" y="652"/>
                  <a:pt x="776" y="650"/>
                </a:cubicBezTo>
                <a:cubicBezTo>
                  <a:pt x="776" y="649"/>
                  <a:pt x="776" y="649"/>
                  <a:pt x="776" y="649"/>
                </a:cubicBezTo>
                <a:lnTo>
                  <a:pt x="774" y="650"/>
                </a:lnTo>
                <a:cubicBezTo>
                  <a:pt x="773" y="650"/>
                  <a:pt x="773" y="649"/>
                  <a:pt x="773" y="649"/>
                </a:cubicBezTo>
                <a:lnTo>
                  <a:pt x="774" y="648"/>
                </a:lnTo>
                <a:cubicBezTo>
                  <a:pt x="774" y="647"/>
                  <a:pt x="774" y="647"/>
                  <a:pt x="775" y="647"/>
                </a:cubicBezTo>
                <a:lnTo>
                  <a:pt x="776" y="647"/>
                </a:lnTo>
                <a:cubicBezTo>
                  <a:pt x="777" y="647"/>
                  <a:pt x="777" y="647"/>
                  <a:pt x="778" y="645"/>
                </a:cubicBezTo>
                <a:cubicBezTo>
                  <a:pt x="780" y="641"/>
                  <a:pt x="781" y="638"/>
                  <a:pt x="781" y="636"/>
                </a:cubicBezTo>
                <a:cubicBezTo>
                  <a:pt x="781" y="635"/>
                  <a:pt x="781" y="635"/>
                  <a:pt x="781" y="634"/>
                </a:cubicBezTo>
                <a:cubicBezTo>
                  <a:pt x="781" y="633"/>
                  <a:pt x="780" y="633"/>
                  <a:pt x="780" y="632"/>
                </a:cubicBezTo>
                <a:lnTo>
                  <a:pt x="781" y="632"/>
                </a:lnTo>
                <a:cubicBezTo>
                  <a:pt x="783" y="631"/>
                  <a:pt x="793" y="605"/>
                  <a:pt x="811" y="554"/>
                </a:cubicBezTo>
                <a:cubicBezTo>
                  <a:pt x="816" y="542"/>
                  <a:pt x="819" y="531"/>
                  <a:pt x="823" y="521"/>
                </a:cubicBezTo>
                <a:cubicBezTo>
                  <a:pt x="825" y="516"/>
                  <a:pt x="826" y="511"/>
                  <a:pt x="828" y="507"/>
                </a:cubicBezTo>
                <a:lnTo>
                  <a:pt x="838" y="480"/>
                </a:lnTo>
                <a:cubicBezTo>
                  <a:pt x="842" y="467"/>
                  <a:pt x="845" y="459"/>
                  <a:pt x="845" y="459"/>
                </a:cubicBezTo>
                <a:cubicBezTo>
                  <a:pt x="846" y="458"/>
                  <a:pt x="847" y="457"/>
                  <a:pt x="849" y="455"/>
                </a:cubicBezTo>
                <a:cubicBezTo>
                  <a:pt x="848" y="454"/>
                  <a:pt x="848" y="453"/>
                  <a:pt x="848" y="453"/>
                </a:cubicBezTo>
                <a:cubicBezTo>
                  <a:pt x="848" y="450"/>
                  <a:pt x="849" y="448"/>
                  <a:pt x="850" y="446"/>
                </a:cubicBezTo>
                <a:lnTo>
                  <a:pt x="851" y="444"/>
                </a:lnTo>
                <a:lnTo>
                  <a:pt x="852" y="444"/>
                </a:lnTo>
                <a:cubicBezTo>
                  <a:pt x="852" y="444"/>
                  <a:pt x="853" y="443"/>
                  <a:pt x="853" y="440"/>
                </a:cubicBezTo>
                <a:cubicBezTo>
                  <a:pt x="853" y="437"/>
                  <a:pt x="853" y="436"/>
                  <a:pt x="854" y="435"/>
                </a:cubicBezTo>
                <a:cubicBezTo>
                  <a:pt x="855" y="434"/>
                  <a:pt x="856" y="433"/>
                  <a:pt x="856" y="433"/>
                </a:cubicBezTo>
                <a:cubicBezTo>
                  <a:pt x="856" y="433"/>
                  <a:pt x="856" y="431"/>
                  <a:pt x="856" y="429"/>
                </a:cubicBezTo>
                <a:cubicBezTo>
                  <a:pt x="857" y="429"/>
                  <a:pt x="857" y="429"/>
                  <a:pt x="858" y="430"/>
                </a:cubicBezTo>
                <a:cubicBezTo>
                  <a:pt x="859" y="431"/>
                  <a:pt x="860" y="432"/>
                  <a:pt x="860" y="432"/>
                </a:cubicBezTo>
                <a:cubicBezTo>
                  <a:pt x="861" y="432"/>
                  <a:pt x="862" y="431"/>
                  <a:pt x="863" y="429"/>
                </a:cubicBezTo>
                <a:cubicBezTo>
                  <a:pt x="865" y="426"/>
                  <a:pt x="865" y="425"/>
                  <a:pt x="866" y="425"/>
                </a:cubicBezTo>
                <a:cubicBezTo>
                  <a:pt x="866" y="425"/>
                  <a:pt x="866" y="426"/>
                  <a:pt x="866" y="428"/>
                </a:cubicBezTo>
                <a:cubicBezTo>
                  <a:pt x="866" y="430"/>
                  <a:pt x="866" y="430"/>
                  <a:pt x="866" y="430"/>
                </a:cubicBezTo>
                <a:cubicBezTo>
                  <a:pt x="865" y="430"/>
                  <a:pt x="865" y="431"/>
                  <a:pt x="865" y="434"/>
                </a:cubicBezTo>
                <a:cubicBezTo>
                  <a:pt x="865" y="436"/>
                  <a:pt x="864" y="440"/>
                  <a:pt x="862" y="445"/>
                </a:cubicBezTo>
                <a:cubicBezTo>
                  <a:pt x="860" y="451"/>
                  <a:pt x="859" y="453"/>
                  <a:pt x="858" y="453"/>
                </a:cubicBezTo>
                <a:lnTo>
                  <a:pt x="858" y="453"/>
                </a:lnTo>
                <a:cubicBezTo>
                  <a:pt x="858" y="451"/>
                  <a:pt x="859" y="448"/>
                  <a:pt x="860" y="444"/>
                </a:cubicBezTo>
                <a:cubicBezTo>
                  <a:pt x="861" y="440"/>
                  <a:pt x="862" y="437"/>
                  <a:pt x="862" y="436"/>
                </a:cubicBezTo>
                <a:cubicBezTo>
                  <a:pt x="862" y="435"/>
                  <a:pt x="862" y="435"/>
                  <a:pt x="862" y="435"/>
                </a:cubicBezTo>
                <a:cubicBezTo>
                  <a:pt x="861" y="435"/>
                  <a:pt x="861" y="436"/>
                  <a:pt x="860" y="436"/>
                </a:cubicBezTo>
                <a:cubicBezTo>
                  <a:pt x="859" y="437"/>
                  <a:pt x="859" y="438"/>
                  <a:pt x="859" y="440"/>
                </a:cubicBezTo>
                <a:lnTo>
                  <a:pt x="859" y="441"/>
                </a:lnTo>
                <a:cubicBezTo>
                  <a:pt x="859" y="441"/>
                  <a:pt x="859" y="441"/>
                  <a:pt x="858" y="441"/>
                </a:cubicBezTo>
                <a:cubicBezTo>
                  <a:pt x="858" y="441"/>
                  <a:pt x="858" y="442"/>
                  <a:pt x="857" y="442"/>
                </a:cubicBezTo>
                <a:cubicBezTo>
                  <a:pt x="857" y="444"/>
                  <a:pt x="854" y="452"/>
                  <a:pt x="849" y="467"/>
                </a:cubicBezTo>
                <a:cubicBezTo>
                  <a:pt x="831" y="521"/>
                  <a:pt x="811" y="576"/>
                  <a:pt x="790" y="631"/>
                </a:cubicBezTo>
                <a:cubicBezTo>
                  <a:pt x="785" y="644"/>
                  <a:pt x="782" y="651"/>
                  <a:pt x="782" y="652"/>
                </a:cubicBezTo>
                <a:cubicBezTo>
                  <a:pt x="783" y="652"/>
                  <a:pt x="784" y="651"/>
                  <a:pt x="786" y="648"/>
                </a:cubicBezTo>
                <a:cubicBezTo>
                  <a:pt x="791" y="640"/>
                  <a:pt x="799" y="631"/>
                  <a:pt x="810" y="621"/>
                </a:cubicBezTo>
                <a:lnTo>
                  <a:pt x="814" y="616"/>
                </a:lnTo>
                <a:lnTo>
                  <a:pt x="816" y="612"/>
                </a:lnTo>
                <a:cubicBezTo>
                  <a:pt x="816" y="612"/>
                  <a:pt x="816" y="612"/>
                  <a:pt x="816" y="612"/>
                </a:cubicBezTo>
                <a:lnTo>
                  <a:pt x="820" y="613"/>
                </a:lnTo>
                <a:cubicBezTo>
                  <a:pt x="820" y="613"/>
                  <a:pt x="820" y="613"/>
                  <a:pt x="820" y="613"/>
                </a:cubicBezTo>
                <a:lnTo>
                  <a:pt x="820" y="612"/>
                </a:lnTo>
                <a:cubicBezTo>
                  <a:pt x="820" y="611"/>
                  <a:pt x="822" y="609"/>
                  <a:pt x="825" y="606"/>
                </a:cubicBezTo>
                <a:cubicBezTo>
                  <a:pt x="828" y="603"/>
                  <a:pt x="831" y="600"/>
                  <a:pt x="834" y="597"/>
                </a:cubicBezTo>
                <a:cubicBezTo>
                  <a:pt x="837" y="593"/>
                  <a:pt x="839" y="592"/>
                  <a:pt x="841" y="592"/>
                </a:cubicBezTo>
                <a:cubicBezTo>
                  <a:pt x="843" y="592"/>
                  <a:pt x="846" y="589"/>
                  <a:pt x="851" y="583"/>
                </a:cubicBezTo>
                <a:cubicBezTo>
                  <a:pt x="853" y="581"/>
                  <a:pt x="853" y="580"/>
                  <a:pt x="854" y="580"/>
                </a:cubicBezTo>
                <a:cubicBezTo>
                  <a:pt x="855" y="580"/>
                  <a:pt x="858" y="579"/>
                  <a:pt x="862" y="575"/>
                </a:cubicBezTo>
                <a:lnTo>
                  <a:pt x="866" y="571"/>
                </a:lnTo>
                <a:cubicBezTo>
                  <a:pt x="869" y="571"/>
                  <a:pt x="871" y="570"/>
                  <a:pt x="871" y="570"/>
                </a:cubicBezTo>
                <a:cubicBezTo>
                  <a:pt x="871" y="570"/>
                  <a:pt x="871" y="570"/>
                  <a:pt x="871" y="569"/>
                </a:cubicBezTo>
                <a:lnTo>
                  <a:pt x="871" y="569"/>
                </a:lnTo>
                <a:cubicBezTo>
                  <a:pt x="871" y="568"/>
                  <a:pt x="872" y="568"/>
                  <a:pt x="873" y="568"/>
                </a:cubicBezTo>
                <a:lnTo>
                  <a:pt x="874" y="569"/>
                </a:lnTo>
                <a:cubicBezTo>
                  <a:pt x="874" y="569"/>
                  <a:pt x="874" y="568"/>
                  <a:pt x="874" y="568"/>
                </a:cubicBezTo>
                <a:lnTo>
                  <a:pt x="874" y="568"/>
                </a:lnTo>
                <a:cubicBezTo>
                  <a:pt x="874" y="567"/>
                  <a:pt x="875" y="565"/>
                  <a:pt x="877" y="564"/>
                </a:cubicBezTo>
                <a:lnTo>
                  <a:pt x="880" y="563"/>
                </a:lnTo>
                <a:lnTo>
                  <a:pt x="880" y="564"/>
                </a:lnTo>
                <a:cubicBezTo>
                  <a:pt x="880" y="565"/>
                  <a:pt x="880" y="565"/>
                  <a:pt x="881" y="565"/>
                </a:cubicBezTo>
                <a:cubicBezTo>
                  <a:pt x="882" y="565"/>
                  <a:pt x="883" y="564"/>
                  <a:pt x="883" y="564"/>
                </a:cubicBezTo>
                <a:cubicBezTo>
                  <a:pt x="883" y="564"/>
                  <a:pt x="883" y="563"/>
                  <a:pt x="883" y="562"/>
                </a:cubicBezTo>
                <a:lnTo>
                  <a:pt x="883" y="562"/>
                </a:lnTo>
                <a:cubicBezTo>
                  <a:pt x="883" y="561"/>
                  <a:pt x="884" y="560"/>
                  <a:pt x="886" y="559"/>
                </a:cubicBezTo>
                <a:lnTo>
                  <a:pt x="890" y="558"/>
                </a:lnTo>
                <a:lnTo>
                  <a:pt x="890" y="559"/>
                </a:lnTo>
                <a:cubicBezTo>
                  <a:pt x="890" y="560"/>
                  <a:pt x="890" y="560"/>
                  <a:pt x="891" y="560"/>
                </a:cubicBezTo>
                <a:cubicBezTo>
                  <a:pt x="891" y="560"/>
                  <a:pt x="892" y="561"/>
                  <a:pt x="892" y="561"/>
                </a:cubicBezTo>
                <a:lnTo>
                  <a:pt x="892" y="563"/>
                </a:lnTo>
                <a:cubicBezTo>
                  <a:pt x="892" y="563"/>
                  <a:pt x="892" y="563"/>
                  <a:pt x="892" y="563"/>
                </a:cubicBezTo>
                <a:cubicBezTo>
                  <a:pt x="893" y="563"/>
                  <a:pt x="893" y="563"/>
                  <a:pt x="894" y="563"/>
                </a:cubicBezTo>
                <a:cubicBezTo>
                  <a:pt x="895" y="562"/>
                  <a:pt x="896" y="562"/>
                  <a:pt x="896" y="561"/>
                </a:cubicBezTo>
                <a:cubicBezTo>
                  <a:pt x="896" y="561"/>
                  <a:pt x="895" y="561"/>
                  <a:pt x="894" y="560"/>
                </a:cubicBezTo>
                <a:cubicBezTo>
                  <a:pt x="893" y="559"/>
                  <a:pt x="893" y="559"/>
                  <a:pt x="893" y="559"/>
                </a:cubicBezTo>
                <a:lnTo>
                  <a:pt x="896" y="559"/>
                </a:lnTo>
                <a:cubicBezTo>
                  <a:pt x="898" y="559"/>
                  <a:pt x="898" y="559"/>
                  <a:pt x="898" y="559"/>
                </a:cubicBezTo>
                <a:lnTo>
                  <a:pt x="898" y="558"/>
                </a:lnTo>
                <a:cubicBezTo>
                  <a:pt x="898" y="556"/>
                  <a:pt x="899" y="555"/>
                  <a:pt x="902" y="555"/>
                </a:cubicBezTo>
                <a:cubicBezTo>
                  <a:pt x="903" y="555"/>
                  <a:pt x="903" y="555"/>
                  <a:pt x="904" y="556"/>
                </a:cubicBezTo>
                <a:lnTo>
                  <a:pt x="904" y="556"/>
                </a:lnTo>
                <a:cubicBezTo>
                  <a:pt x="904" y="556"/>
                  <a:pt x="903" y="557"/>
                  <a:pt x="902" y="557"/>
                </a:cubicBezTo>
                <a:cubicBezTo>
                  <a:pt x="901" y="557"/>
                  <a:pt x="901" y="557"/>
                  <a:pt x="901" y="558"/>
                </a:cubicBezTo>
                <a:cubicBezTo>
                  <a:pt x="901" y="558"/>
                  <a:pt x="902" y="559"/>
                  <a:pt x="902" y="559"/>
                </a:cubicBezTo>
                <a:cubicBezTo>
                  <a:pt x="904" y="559"/>
                  <a:pt x="905" y="558"/>
                  <a:pt x="908" y="557"/>
                </a:cubicBezTo>
                <a:cubicBezTo>
                  <a:pt x="910" y="556"/>
                  <a:pt x="912" y="556"/>
                  <a:pt x="913" y="555"/>
                </a:cubicBezTo>
                <a:cubicBezTo>
                  <a:pt x="914" y="554"/>
                  <a:pt x="916" y="553"/>
                  <a:pt x="917" y="553"/>
                </a:cubicBezTo>
                <a:cubicBezTo>
                  <a:pt x="919" y="552"/>
                  <a:pt x="920" y="552"/>
                  <a:pt x="922" y="551"/>
                </a:cubicBezTo>
                <a:cubicBezTo>
                  <a:pt x="924" y="551"/>
                  <a:pt x="926" y="551"/>
                  <a:pt x="928" y="551"/>
                </a:cubicBezTo>
                <a:cubicBezTo>
                  <a:pt x="929" y="550"/>
                  <a:pt x="930" y="550"/>
                  <a:pt x="931" y="549"/>
                </a:cubicBezTo>
                <a:cubicBezTo>
                  <a:pt x="932" y="549"/>
                  <a:pt x="932" y="549"/>
                  <a:pt x="933" y="549"/>
                </a:cubicBezTo>
                <a:cubicBezTo>
                  <a:pt x="933" y="549"/>
                  <a:pt x="934" y="549"/>
                  <a:pt x="934" y="549"/>
                </a:cubicBezTo>
                <a:cubicBezTo>
                  <a:pt x="943" y="549"/>
                  <a:pt x="951" y="551"/>
                  <a:pt x="959" y="556"/>
                </a:cubicBezTo>
                <a:cubicBezTo>
                  <a:pt x="964" y="558"/>
                  <a:pt x="967" y="561"/>
                  <a:pt x="969" y="564"/>
                </a:cubicBezTo>
                <a:cubicBezTo>
                  <a:pt x="971" y="567"/>
                  <a:pt x="974" y="569"/>
                  <a:pt x="977" y="570"/>
                </a:cubicBezTo>
                <a:cubicBezTo>
                  <a:pt x="985" y="574"/>
                  <a:pt x="989" y="582"/>
                  <a:pt x="989" y="594"/>
                </a:cubicBezTo>
                <a:cubicBezTo>
                  <a:pt x="989" y="605"/>
                  <a:pt x="987" y="616"/>
                  <a:pt x="983" y="625"/>
                </a:cubicBezTo>
                <a:cubicBezTo>
                  <a:pt x="980" y="632"/>
                  <a:pt x="975" y="641"/>
                  <a:pt x="967" y="652"/>
                </a:cubicBezTo>
                <a:cubicBezTo>
                  <a:pt x="965" y="654"/>
                  <a:pt x="965" y="656"/>
                  <a:pt x="965" y="658"/>
                </a:cubicBezTo>
                <a:cubicBezTo>
                  <a:pt x="965" y="660"/>
                  <a:pt x="963" y="661"/>
                  <a:pt x="962" y="662"/>
                </a:cubicBezTo>
                <a:cubicBezTo>
                  <a:pt x="960" y="662"/>
                  <a:pt x="958" y="663"/>
                  <a:pt x="958" y="663"/>
                </a:cubicBezTo>
                <a:cubicBezTo>
                  <a:pt x="959" y="664"/>
                  <a:pt x="960" y="664"/>
                  <a:pt x="961" y="664"/>
                </a:cubicBezTo>
                <a:cubicBezTo>
                  <a:pt x="962" y="664"/>
                  <a:pt x="963" y="664"/>
                  <a:pt x="965" y="663"/>
                </a:cubicBezTo>
                <a:cubicBezTo>
                  <a:pt x="966" y="662"/>
                  <a:pt x="967" y="661"/>
                  <a:pt x="967" y="659"/>
                </a:cubicBezTo>
                <a:lnTo>
                  <a:pt x="967" y="659"/>
                </a:lnTo>
                <a:cubicBezTo>
                  <a:pt x="967" y="657"/>
                  <a:pt x="967" y="656"/>
                  <a:pt x="968" y="656"/>
                </a:cubicBezTo>
                <a:lnTo>
                  <a:pt x="971" y="656"/>
                </a:lnTo>
                <a:lnTo>
                  <a:pt x="973" y="655"/>
                </a:lnTo>
                <a:cubicBezTo>
                  <a:pt x="973" y="654"/>
                  <a:pt x="973" y="654"/>
                  <a:pt x="975" y="654"/>
                </a:cubicBezTo>
                <a:lnTo>
                  <a:pt x="976" y="655"/>
                </a:lnTo>
                <a:cubicBezTo>
                  <a:pt x="976" y="655"/>
                  <a:pt x="977" y="654"/>
                  <a:pt x="977" y="654"/>
                </a:cubicBezTo>
                <a:cubicBezTo>
                  <a:pt x="978" y="653"/>
                  <a:pt x="979" y="653"/>
                  <a:pt x="981" y="653"/>
                </a:cubicBezTo>
                <a:cubicBezTo>
                  <a:pt x="983" y="653"/>
                  <a:pt x="985" y="652"/>
                  <a:pt x="985" y="651"/>
                </a:cubicBezTo>
                <a:cubicBezTo>
                  <a:pt x="985" y="649"/>
                  <a:pt x="986" y="649"/>
                  <a:pt x="987" y="649"/>
                </a:cubicBezTo>
                <a:cubicBezTo>
                  <a:pt x="987" y="649"/>
                  <a:pt x="988" y="649"/>
                  <a:pt x="989" y="650"/>
                </a:cubicBezTo>
                <a:cubicBezTo>
                  <a:pt x="990" y="651"/>
                  <a:pt x="991" y="651"/>
                  <a:pt x="991" y="651"/>
                </a:cubicBezTo>
                <a:cubicBezTo>
                  <a:pt x="991" y="651"/>
                  <a:pt x="991" y="651"/>
                  <a:pt x="991" y="650"/>
                </a:cubicBezTo>
                <a:lnTo>
                  <a:pt x="991" y="648"/>
                </a:lnTo>
                <a:cubicBezTo>
                  <a:pt x="992" y="648"/>
                  <a:pt x="992" y="649"/>
                  <a:pt x="993" y="650"/>
                </a:cubicBezTo>
                <a:cubicBezTo>
                  <a:pt x="994" y="651"/>
                  <a:pt x="994" y="651"/>
                  <a:pt x="994" y="651"/>
                </a:cubicBezTo>
                <a:cubicBezTo>
                  <a:pt x="995" y="651"/>
                  <a:pt x="995" y="651"/>
                  <a:pt x="995" y="649"/>
                </a:cubicBezTo>
                <a:cubicBezTo>
                  <a:pt x="995" y="648"/>
                  <a:pt x="996" y="647"/>
                  <a:pt x="997" y="647"/>
                </a:cubicBezTo>
                <a:cubicBezTo>
                  <a:pt x="997" y="647"/>
                  <a:pt x="998" y="647"/>
                  <a:pt x="999" y="648"/>
                </a:cubicBezTo>
                <a:cubicBezTo>
                  <a:pt x="1000" y="649"/>
                  <a:pt x="1000" y="649"/>
                  <a:pt x="1001" y="649"/>
                </a:cubicBezTo>
                <a:cubicBezTo>
                  <a:pt x="1002" y="649"/>
                  <a:pt x="1002" y="649"/>
                  <a:pt x="1002" y="648"/>
                </a:cubicBezTo>
                <a:cubicBezTo>
                  <a:pt x="1003" y="646"/>
                  <a:pt x="1005" y="646"/>
                  <a:pt x="1009" y="646"/>
                </a:cubicBezTo>
                <a:cubicBezTo>
                  <a:pt x="1018" y="646"/>
                  <a:pt x="1028" y="644"/>
                  <a:pt x="1040" y="642"/>
                </a:cubicBezTo>
                <a:cubicBezTo>
                  <a:pt x="1041" y="641"/>
                  <a:pt x="1046" y="641"/>
                  <a:pt x="1053" y="640"/>
                </a:cubicBezTo>
                <a:lnTo>
                  <a:pt x="1084" y="635"/>
                </a:lnTo>
                <a:cubicBezTo>
                  <a:pt x="1096" y="634"/>
                  <a:pt x="1101" y="633"/>
                  <a:pt x="1101" y="632"/>
                </a:cubicBezTo>
                <a:cubicBezTo>
                  <a:pt x="1101" y="632"/>
                  <a:pt x="1101" y="632"/>
                  <a:pt x="1100" y="632"/>
                </a:cubicBezTo>
                <a:lnTo>
                  <a:pt x="1085" y="633"/>
                </a:lnTo>
                <a:cubicBezTo>
                  <a:pt x="1063" y="634"/>
                  <a:pt x="1051" y="635"/>
                  <a:pt x="1047" y="636"/>
                </a:cubicBezTo>
                <a:cubicBezTo>
                  <a:pt x="1047" y="636"/>
                  <a:pt x="1046" y="635"/>
                  <a:pt x="1046" y="634"/>
                </a:cubicBezTo>
                <a:cubicBezTo>
                  <a:pt x="1046" y="630"/>
                  <a:pt x="1052" y="628"/>
                  <a:pt x="1065" y="628"/>
                </a:cubicBezTo>
                <a:lnTo>
                  <a:pt x="1083" y="629"/>
                </a:lnTo>
                <a:cubicBezTo>
                  <a:pt x="1093" y="630"/>
                  <a:pt x="1100" y="630"/>
                  <a:pt x="1103" y="630"/>
                </a:cubicBezTo>
                <a:cubicBezTo>
                  <a:pt x="1105" y="630"/>
                  <a:pt x="1106" y="631"/>
                  <a:pt x="1106" y="632"/>
                </a:cubicBezTo>
                <a:lnTo>
                  <a:pt x="1106" y="632"/>
                </a:lnTo>
                <a:cubicBezTo>
                  <a:pt x="1106" y="633"/>
                  <a:pt x="1108" y="634"/>
                  <a:pt x="1110" y="634"/>
                </a:cubicBezTo>
                <a:cubicBezTo>
                  <a:pt x="1114" y="634"/>
                  <a:pt x="1116" y="634"/>
                  <a:pt x="1116" y="636"/>
                </a:cubicBezTo>
                <a:cubicBezTo>
                  <a:pt x="1116" y="637"/>
                  <a:pt x="1115" y="638"/>
                  <a:pt x="1114" y="638"/>
                </a:cubicBezTo>
                <a:cubicBezTo>
                  <a:pt x="1112" y="639"/>
                  <a:pt x="1112" y="640"/>
                  <a:pt x="1112" y="642"/>
                </a:cubicBezTo>
                <a:lnTo>
                  <a:pt x="1112" y="643"/>
                </a:lnTo>
                <a:cubicBezTo>
                  <a:pt x="1112" y="647"/>
                  <a:pt x="1097" y="652"/>
                  <a:pt x="1068" y="658"/>
                </a:cubicBezTo>
                <a:cubicBezTo>
                  <a:pt x="1034" y="664"/>
                  <a:pt x="1002" y="671"/>
                  <a:pt x="972" y="679"/>
                </a:cubicBezTo>
                <a:cubicBezTo>
                  <a:pt x="955" y="684"/>
                  <a:pt x="944" y="687"/>
                  <a:pt x="939" y="689"/>
                </a:cubicBezTo>
                <a:cubicBezTo>
                  <a:pt x="935" y="691"/>
                  <a:pt x="932" y="692"/>
                  <a:pt x="932" y="693"/>
                </a:cubicBezTo>
                <a:cubicBezTo>
                  <a:pt x="931" y="695"/>
                  <a:pt x="930" y="696"/>
                  <a:pt x="929" y="696"/>
                </a:cubicBezTo>
                <a:cubicBezTo>
                  <a:pt x="928" y="696"/>
                  <a:pt x="928" y="695"/>
                  <a:pt x="928" y="695"/>
                </a:cubicBezTo>
                <a:lnTo>
                  <a:pt x="928" y="693"/>
                </a:lnTo>
                <a:cubicBezTo>
                  <a:pt x="928" y="693"/>
                  <a:pt x="927" y="693"/>
                  <a:pt x="925" y="694"/>
                </a:cubicBezTo>
                <a:cubicBezTo>
                  <a:pt x="923" y="695"/>
                  <a:pt x="922" y="696"/>
                  <a:pt x="922" y="697"/>
                </a:cubicBezTo>
                <a:lnTo>
                  <a:pt x="927" y="696"/>
                </a:lnTo>
                <a:cubicBezTo>
                  <a:pt x="928" y="696"/>
                  <a:pt x="928" y="696"/>
                  <a:pt x="928" y="696"/>
                </a:cubicBezTo>
                <a:cubicBezTo>
                  <a:pt x="928" y="698"/>
                  <a:pt x="922" y="703"/>
                  <a:pt x="910" y="713"/>
                </a:cubicBezTo>
                <a:cubicBezTo>
                  <a:pt x="890" y="728"/>
                  <a:pt x="870" y="742"/>
                  <a:pt x="849" y="753"/>
                </a:cubicBezTo>
                <a:cubicBezTo>
                  <a:pt x="829" y="764"/>
                  <a:pt x="814" y="771"/>
                  <a:pt x="804" y="773"/>
                </a:cubicBezTo>
                <a:cubicBezTo>
                  <a:pt x="800" y="773"/>
                  <a:pt x="797" y="772"/>
                  <a:pt x="795" y="770"/>
                </a:cubicBezTo>
                <a:cubicBezTo>
                  <a:pt x="793" y="768"/>
                  <a:pt x="792" y="766"/>
                  <a:pt x="791" y="763"/>
                </a:cubicBezTo>
                <a:cubicBezTo>
                  <a:pt x="791" y="761"/>
                  <a:pt x="789" y="760"/>
                  <a:pt x="787" y="760"/>
                </a:cubicBezTo>
                <a:cubicBezTo>
                  <a:pt x="784" y="760"/>
                  <a:pt x="781" y="758"/>
                  <a:pt x="779" y="755"/>
                </a:cubicBezTo>
                <a:cubicBezTo>
                  <a:pt x="777" y="752"/>
                  <a:pt x="776" y="748"/>
                  <a:pt x="776" y="745"/>
                </a:cubicBezTo>
                <a:cubicBezTo>
                  <a:pt x="776" y="742"/>
                  <a:pt x="777" y="740"/>
                  <a:pt x="778" y="738"/>
                </a:cubicBezTo>
                <a:cubicBezTo>
                  <a:pt x="779" y="737"/>
                  <a:pt x="779" y="735"/>
                  <a:pt x="779" y="735"/>
                </a:cubicBezTo>
                <a:cubicBezTo>
                  <a:pt x="779" y="734"/>
                  <a:pt x="779" y="734"/>
                  <a:pt x="778" y="734"/>
                </a:cubicBezTo>
                <a:lnTo>
                  <a:pt x="775" y="736"/>
                </a:lnTo>
                <a:cubicBezTo>
                  <a:pt x="775" y="736"/>
                  <a:pt x="774" y="735"/>
                  <a:pt x="774" y="735"/>
                </a:cubicBezTo>
                <a:cubicBezTo>
                  <a:pt x="774" y="734"/>
                  <a:pt x="775" y="733"/>
                  <a:pt x="777" y="732"/>
                </a:cubicBezTo>
                <a:lnTo>
                  <a:pt x="782" y="727"/>
                </a:lnTo>
                <a:lnTo>
                  <a:pt x="780" y="731"/>
                </a:lnTo>
                <a:lnTo>
                  <a:pt x="782" y="730"/>
                </a:lnTo>
                <a:cubicBezTo>
                  <a:pt x="784" y="728"/>
                  <a:pt x="786" y="725"/>
                  <a:pt x="786" y="723"/>
                </a:cubicBezTo>
                <a:cubicBezTo>
                  <a:pt x="786" y="722"/>
                  <a:pt x="785" y="721"/>
                  <a:pt x="784" y="721"/>
                </a:cubicBezTo>
                <a:lnTo>
                  <a:pt x="784" y="723"/>
                </a:lnTo>
                <a:lnTo>
                  <a:pt x="784" y="725"/>
                </a:lnTo>
                <a:lnTo>
                  <a:pt x="782" y="723"/>
                </a:lnTo>
                <a:lnTo>
                  <a:pt x="783" y="727"/>
                </a:lnTo>
                <a:lnTo>
                  <a:pt x="782" y="725"/>
                </a:lnTo>
                <a:cubicBezTo>
                  <a:pt x="781" y="725"/>
                  <a:pt x="781" y="725"/>
                  <a:pt x="781" y="724"/>
                </a:cubicBezTo>
                <a:cubicBezTo>
                  <a:pt x="781" y="724"/>
                  <a:pt x="781" y="723"/>
                  <a:pt x="781" y="723"/>
                </a:cubicBezTo>
                <a:cubicBezTo>
                  <a:pt x="781" y="722"/>
                  <a:pt x="781" y="722"/>
                  <a:pt x="782" y="721"/>
                </a:cubicBezTo>
                <a:cubicBezTo>
                  <a:pt x="782" y="721"/>
                  <a:pt x="782" y="720"/>
                  <a:pt x="782" y="719"/>
                </a:cubicBezTo>
                <a:cubicBezTo>
                  <a:pt x="782" y="718"/>
                  <a:pt x="783" y="718"/>
                  <a:pt x="784" y="718"/>
                </a:cubicBezTo>
                <a:cubicBezTo>
                  <a:pt x="785" y="719"/>
                  <a:pt x="785" y="719"/>
                  <a:pt x="785" y="720"/>
                </a:cubicBezTo>
                <a:cubicBezTo>
                  <a:pt x="785" y="720"/>
                  <a:pt x="786" y="721"/>
                  <a:pt x="788" y="721"/>
                </a:cubicBezTo>
                <a:lnTo>
                  <a:pt x="790" y="720"/>
                </a:lnTo>
                <a:lnTo>
                  <a:pt x="790" y="719"/>
                </a:lnTo>
                <a:cubicBezTo>
                  <a:pt x="790" y="718"/>
                  <a:pt x="792" y="716"/>
                  <a:pt x="796" y="714"/>
                </a:cubicBezTo>
                <a:cubicBezTo>
                  <a:pt x="800" y="712"/>
                  <a:pt x="804" y="710"/>
                  <a:pt x="807" y="708"/>
                </a:cubicBezTo>
                <a:cubicBezTo>
                  <a:pt x="810" y="705"/>
                  <a:pt x="812" y="704"/>
                  <a:pt x="812" y="703"/>
                </a:cubicBezTo>
                <a:lnTo>
                  <a:pt x="811" y="703"/>
                </a:lnTo>
                <a:cubicBezTo>
                  <a:pt x="810" y="703"/>
                  <a:pt x="808" y="704"/>
                  <a:pt x="806" y="705"/>
                </a:cubicBezTo>
                <a:lnTo>
                  <a:pt x="804" y="706"/>
                </a:lnTo>
                <a:cubicBezTo>
                  <a:pt x="804" y="706"/>
                  <a:pt x="805" y="705"/>
                  <a:pt x="806" y="704"/>
                </a:cubicBezTo>
                <a:cubicBezTo>
                  <a:pt x="808" y="702"/>
                  <a:pt x="810" y="702"/>
                  <a:pt x="812" y="702"/>
                </a:cubicBezTo>
                <a:cubicBezTo>
                  <a:pt x="815" y="702"/>
                  <a:pt x="817" y="701"/>
                  <a:pt x="818" y="700"/>
                </a:cubicBezTo>
                <a:cubicBezTo>
                  <a:pt x="818" y="699"/>
                  <a:pt x="819" y="699"/>
                  <a:pt x="821" y="699"/>
                </a:cubicBezTo>
                <a:lnTo>
                  <a:pt x="821" y="699"/>
                </a:lnTo>
                <a:cubicBezTo>
                  <a:pt x="822" y="699"/>
                  <a:pt x="822" y="699"/>
                  <a:pt x="822" y="698"/>
                </a:cubicBezTo>
                <a:cubicBezTo>
                  <a:pt x="822" y="697"/>
                  <a:pt x="822" y="697"/>
                  <a:pt x="823" y="697"/>
                </a:cubicBezTo>
                <a:lnTo>
                  <a:pt x="824" y="697"/>
                </a:lnTo>
                <a:cubicBezTo>
                  <a:pt x="824" y="697"/>
                  <a:pt x="825" y="696"/>
                  <a:pt x="826" y="695"/>
                </a:cubicBezTo>
                <a:lnTo>
                  <a:pt x="827" y="693"/>
                </a:lnTo>
                <a:lnTo>
                  <a:pt x="829" y="693"/>
                </a:lnTo>
                <a:cubicBezTo>
                  <a:pt x="830" y="693"/>
                  <a:pt x="832" y="693"/>
                  <a:pt x="834" y="692"/>
                </a:cubicBezTo>
                <a:cubicBezTo>
                  <a:pt x="839" y="691"/>
                  <a:pt x="841" y="689"/>
                  <a:pt x="841" y="688"/>
                </a:cubicBezTo>
                <a:cubicBezTo>
                  <a:pt x="841" y="687"/>
                  <a:pt x="843" y="687"/>
                  <a:pt x="845" y="687"/>
                </a:cubicBezTo>
                <a:cubicBezTo>
                  <a:pt x="848" y="687"/>
                  <a:pt x="849" y="686"/>
                  <a:pt x="850" y="685"/>
                </a:cubicBezTo>
                <a:cubicBezTo>
                  <a:pt x="850" y="683"/>
                  <a:pt x="851" y="683"/>
                  <a:pt x="852" y="683"/>
                </a:cubicBezTo>
                <a:lnTo>
                  <a:pt x="855" y="683"/>
                </a:lnTo>
                <a:cubicBezTo>
                  <a:pt x="856" y="683"/>
                  <a:pt x="857" y="682"/>
                  <a:pt x="857" y="681"/>
                </a:cubicBezTo>
                <a:lnTo>
                  <a:pt x="857" y="681"/>
                </a:lnTo>
                <a:cubicBezTo>
                  <a:pt x="857" y="679"/>
                  <a:pt x="859" y="678"/>
                  <a:pt x="863" y="676"/>
                </a:cubicBezTo>
                <a:cubicBezTo>
                  <a:pt x="864" y="676"/>
                  <a:pt x="866" y="676"/>
                  <a:pt x="868" y="676"/>
                </a:cubicBezTo>
                <a:cubicBezTo>
                  <a:pt x="870" y="676"/>
                  <a:pt x="872" y="675"/>
                  <a:pt x="873" y="673"/>
                </a:cubicBezTo>
                <a:cubicBezTo>
                  <a:pt x="875" y="672"/>
                  <a:pt x="876" y="671"/>
                  <a:pt x="876" y="671"/>
                </a:cubicBezTo>
                <a:cubicBezTo>
                  <a:pt x="877" y="671"/>
                  <a:pt x="878" y="671"/>
                  <a:pt x="879" y="672"/>
                </a:cubicBezTo>
                <a:lnTo>
                  <a:pt x="881" y="674"/>
                </a:lnTo>
                <a:lnTo>
                  <a:pt x="880" y="671"/>
                </a:lnTo>
                <a:cubicBezTo>
                  <a:pt x="880" y="669"/>
                  <a:pt x="881" y="669"/>
                  <a:pt x="882" y="669"/>
                </a:cubicBezTo>
                <a:cubicBezTo>
                  <a:pt x="882" y="669"/>
                  <a:pt x="883" y="669"/>
                  <a:pt x="883" y="670"/>
                </a:cubicBezTo>
                <a:cubicBezTo>
                  <a:pt x="884" y="671"/>
                  <a:pt x="884" y="671"/>
                  <a:pt x="885" y="671"/>
                </a:cubicBezTo>
                <a:cubicBezTo>
                  <a:pt x="885" y="671"/>
                  <a:pt x="886" y="670"/>
                  <a:pt x="887" y="669"/>
                </a:cubicBezTo>
                <a:cubicBezTo>
                  <a:pt x="887" y="669"/>
                  <a:pt x="888" y="668"/>
                  <a:pt x="890" y="667"/>
                </a:cubicBezTo>
                <a:cubicBezTo>
                  <a:pt x="891" y="667"/>
                  <a:pt x="893" y="666"/>
                  <a:pt x="895" y="666"/>
                </a:cubicBezTo>
                <a:cubicBezTo>
                  <a:pt x="896" y="666"/>
                  <a:pt x="898" y="666"/>
                  <a:pt x="899" y="665"/>
                </a:cubicBezTo>
                <a:cubicBezTo>
                  <a:pt x="901" y="664"/>
                  <a:pt x="902" y="663"/>
                  <a:pt x="903" y="662"/>
                </a:cubicBezTo>
                <a:lnTo>
                  <a:pt x="904" y="661"/>
                </a:lnTo>
                <a:lnTo>
                  <a:pt x="903" y="664"/>
                </a:lnTo>
                <a:cubicBezTo>
                  <a:pt x="903" y="664"/>
                  <a:pt x="904" y="664"/>
                  <a:pt x="905" y="663"/>
                </a:cubicBezTo>
                <a:cubicBezTo>
                  <a:pt x="906" y="662"/>
                  <a:pt x="907" y="661"/>
                  <a:pt x="908" y="661"/>
                </a:cubicBezTo>
                <a:cubicBezTo>
                  <a:pt x="910" y="660"/>
                  <a:pt x="910" y="660"/>
                  <a:pt x="910" y="660"/>
                </a:cubicBezTo>
                <a:cubicBezTo>
                  <a:pt x="910" y="660"/>
                  <a:pt x="911" y="660"/>
                  <a:pt x="911" y="660"/>
                </a:cubicBezTo>
                <a:cubicBezTo>
                  <a:pt x="911" y="659"/>
                  <a:pt x="913" y="657"/>
                  <a:pt x="915" y="654"/>
                </a:cubicBezTo>
                <a:lnTo>
                  <a:pt x="913" y="656"/>
                </a:lnTo>
                <a:cubicBezTo>
                  <a:pt x="911" y="657"/>
                  <a:pt x="910" y="658"/>
                  <a:pt x="910" y="658"/>
                </a:cubicBezTo>
                <a:cubicBezTo>
                  <a:pt x="910" y="658"/>
                  <a:pt x="911" y="656"/>
                  <a:pt x="913" y="654"/>
                </a:cubicBezTo>
                <a:cubicBezTo>
                  <a:pt x="914" y="652"/>
                  <a:pt x="915" y="651"/>
                  <a:pt x="917" y="650"/>
                </a:cubicBezTo>
                <a:lnTo>
                  <a:pt x="919" y="648"/>
                </a:lnTo>
                <a:cubicBezTo>
                  <a:pt x="919" y="649"/>
                  <a:pt x="918" y="649"/>
                  <a:pt x="917" y="651"/>
                </a:cubicBezTo>
                <a:cubicBezTo>
                  <a:pt x="916" y="652"/>
                  <a:pt x="916" y="653"/>
                  <a:pt x="916" y="653"/>
                </a:cubicBezTo>
                <a:cubicBezTo>
                  <a:pt x="916" y="654"/>
                  <a:pt x="916" y="654"/>
                  <a:pt x="916" y="654"/>
                </a:cubicBezTo>
                <a:cubicBezTo>
                  <a:pt x="917" y="654"/>
                  <a:pt x="918" y="653"/>
                  <a:pt x="919" y="652"/>
                </a:cubicBezTo>
                <a:cubicBezTo>
                  <a:pt x="920" y="652"/>
                  <a:pt x="921" y="650"/>
                  <a:pt x="922" y="649"/>
                </a:cubicBezTo>
                <a:cubicBezTo>
                  <a:pt x="924" y="647"/>
                  <a:pt x="924" y="646"/>
                  <a:pt x="924" y="645"/>
                </a:cubicBezTo>
                <a:cubicBezTo>
                  <a:pt x="924" y="645"/>
                  <a:pt x="924" y="644"/>
                  <a:pt x="924" y="644"/>
                </a:cubicBezTo>
                <a:cubicBezTo>
                  <a:pt x="925" y="642"/>
                  <a:pt x="926" y="641"/>
                  <a:pt x="926" y="640"/>
                </a:cubicBezTo>
                <a:cubicBezTo>
                  <a:pt x="926" y="640"/>
                  <a:pt x="927" y="639"/>
                  <a:pt x="928" y="639"/>
                </a:cubicBezTo>
                <a:lnTo>
                  <a:pt x="930" y="638"/>
                </a:lnTo>
                <a:cubicBezTo>
                  <a:pt x="932" y="638"/>
                  <a:pt x="937" y="632"/>
                  <a:pt x="945" y="621"/>
                </a:cubicBezTo>
                <a:lnTo>
                  <a:pt x="949" y="616"/>
                </a:lnTo>
                <a:lnTo>
                  <a:pt x="945" y="626"/>
                </a:lnTo>
                <a:cubicBezTo>
                  <a:pt x="944" y="629"/>
                  <a:pt x="943" y="630"/>
                  <a:pt x="943" y="630"/>
                </a:cubicBezTo>
                <a:cubicBezTo>
                  <a:pt x="942" y="630"/>
                  <a:pt x="941" y="630"/>
                  <a:pt x="941" y="631"/>
                </a:cubicBezTo>
                <a:cubicBezTo>
                  <a:pt x="941" y="631"/>
                  <a:pt x="942" y="632"/>
                  <a:pt x="942" y="632"/>
                </a:cubicBezTo>
                <a:cubicBezTo>
                  <a:pt x="942" y="633"/>
                  <a:pt x="943" y="633"/>
                  <a:pt x="943" y="634"/>
                </a:cubicBezTo>
                <a:lnTo>
                  <a:pt x="941" y="633"/>
                </a:lnTo>
                <a:cubicBezTo>
                  <a:pt x="941" y="633"/>
                  <a:pt x="940" y="633"/>
                  <a:pt x="939" y="634"/>
                </a:cubicBezTo>
                <a:cubicBezTo>
                  <a:pt x="938" y="635"/>
                  <a:pt x="937" y="636"/>
                  <a:pt x="937" y="637"/>
                </a:cubicBezTo>
                <a:lnTo>
                  <a:pt x="936" y="641"/>
                </a:lnTo>
                <a:cubicBezTo>
                  <a:pt x="936" y="642"/>
                  <a:pt x="933" y="646"/>
                  <a:pt x="927" y="653"/>
                </a:cubicBezTo>
                <a:lnTo>
                  <a:pt x="922" y="659"/>
                </a:lnTo>
                <a:cubicBezTo>
                  <a:pt x="922" y="659"/>
                  <a:pt x="925" y="659"/>
                  <a:pt x="928" y="658"/>
                </a:cubicBezTo>
                <a:cubicBezTo>
                  <a:pt x="933" y="656"/>
                  <a:pt x="937" y="654"/>
                  <a:pt x="939" y="652"/>
                </a:cubicBezTo>
                <a:cubicBezTo>
                  <a:pt x="940" y="651"/>
                  <a:pt x="940" y="651"/>
                  <a:pt x="940" y="650"/>
                </a:cubicBezTo>
                <a:cubicBezTo>
                  <a:pt x="940" y="650"/>
                  <a:pt x="941" y="650"/>
                  <a:pt x="942" y="650"/>
                </a:cubicBezTo>
                <a:cubicBezTo>
                  <a:pt x="943" y="650"/>
                  <a:pt x="946" y="646"/>
                  <a:pt x="952" y="637"/>
                </a:cubicBezTo>
                <a:cubicBezTo>
                  <a:pt x="957" y="629"/>
                  <a:pt x="960" y="624"/>
                  <a:pt x="960" y="623"/>
                </a:cubicBezTo>
                <a:cubicBezTo>
                  <a:pt x="960" y="622"/>
                  <a:pt x="960" y="621"/>
                  <a:pt x="961" y="620"/>
                </a:cubicBezTo>
                <a:cubicBezTo>
                  <a:pt x="964" y="616"/>
                  <a:pt x="966" y="613"/>
                  <a:pt x="966" y="611"/>
                </a:cubicBezTo>
                <a:cubicBezTo>
                  <a:pt x="966" y="610"/>
                  <a:pt x="966" y="610"/>
                  <a:pt x="965" y="610"/>
                </a:cubicBezTo>
                <a:cubicBezTo>
                  <a:pt x="965" y="610"/>
                  <a:pt x="965" y="611"/>
                  <a:pt x="963" y="613"/>
                </a:cubicBezTo>
                <a:cubicBezTo>
                  <a:pt x="962" y="615"/>
                  <a:pt x="961" y="617"/>
                  <a:pt x="959" y="620"/>
                </a:cubicBezTo>
                <a:cubicBezTo>
                  <a:pt x="958" y="622"/>
                  <a:pt x="956" y="625"/>
                  <a:pt x="955" y="627"/>
                </a:cubicBezTo>
                <a:cubicBezTo>
                  <a:pt x="954" y="629"/>
                  <a:pt x="953" y="630"/>
                  <a:pt x="953" y="630"/>
                </a:cubicBezTo>
                <a:cubicBezTo>
                  <a:pt x="952" y="630"/>
                  <a:pt x="952" y="631"/>
                  <a:pt x="951" y="634"/>
                </a:cubicBezTo>
                <a:cubicBezTo>
                  <a:pt x="951" y="636"/>
                  <a:pt x="950" y="637"/>
                  <a:pt x="949" y="637"/>
                </a:cubicBezTo>
                <a:lnTo>
                  <a:pt x="949" y="637"/>
                </a:lnTo>
                <a:cubicBezTo>
                  <a:pt x="948" y="637"/>
                  <a:pt x="947" y="638"/>
                  <a:pt x="944" y="642"/>
                </a:cubicBezTo>
                <a:cubicBezTo>
                  <a:pt x="942" y="645"/>
                  <a:pt x="940" y="647"/>
                  <a:pt x="939" y="647"/>
                </a:cubicBezTo>
                <a:lnTo>
                  <a:pt x="939" y="646"/>
                </a:lnTo>
                <a:cubicBezTo>
                  <a:pt x="939" y="645"/>
                  <a:pt x="940" y="644"/>
                  <a:pt x="941" y="643"/>
                </a:cubicBezTo>
                <a:cubicBezTo>
                  <a:pt x="942" y="642"/>
                  <a:pt x="942" y="642"/>
                  <a:pt x="942" y="642"/>
                </a:cubicBezTo>
                <a:cubicBezTo>
                  <a:pt x="943" y="641"/>
                  <a:pt x="943" y="640"/>
                  <a:pt x="943" y="639"/>
                </a:cubicBezTo>
                <a:lnTo>
                  <a:pt x="943" y="639"/>
                </a:lnTo>
                <a:cubicBezTo>
                  <a:pt x="943" y="637"/>
                  <a:pt x="944" y="635"/>
                  <a:pt x="947" y="632"/>
                </a:cubicBezTo>
                <a:cubicBezTo>
                  <a:pt x="948" y="631"/>
                  <a:pt x="950" y="630"/>
                  <a:pt x="951" y="628"/>
                </a:cubicBezTo>
                <a:cubicBezTo>
                  <a:pt x="952" y="627"/>
                  <a:pt x="952" y="626"/>
                  <a:pt x="952" y="625"/>
                </a:cubicBezTo>
                <a:cubicBezTo>
                  <a:pt x="952" y="623"/>
                  <a:pt x="953" y="621"/>
                  <a:pt x="955" y="619"/>
                </a:cubicBezTo>
                <a:lnTo>
                  <a:pt x="957" y="616"/>
                </a:lnTo>
                <a:lnTo>
                  <a:pt x="958" y="613"/>
                </a:lnTo>
                <a:cubicBezTo>
                  <a:pt x="958" y="612"/>
                  <a:pt x="958" y="612"/>
                  <a:pt x="959" y="612"/>
                </a:cubicBezTo>
                <a:cubicBezTo>
                  <a:pt x="960" y="612"/>
                  <a:pt x="960" y="610"/>
                  <a:pt x="961" y="606"/>
                </a:cubicBezTo>
                <a:cubicBezTo>
                  <a:pt x="963" y="596"/>
                  <a:pt x="965" y="589"/>
                  <a:pt x="965" y="585"/>
                </a:cubicBezTo>
                <a:cubicBezTo>
                  <a:pt x="965" y="582"/>
                  <a:pt x="962" y="580"/>
                  <a:pt x="957" y="579"/>
                </a:cubicBezTo>
                <a:cubicBezTo>
                  <a:pt x="953" y="578"/>
                  <a:pt x="949" y="577"/>
                  <a:pt x="945" y="577"/>
                </a:cubicBezTo>
                <a:cubicBezTo>
                  <a:pt x="928" y="577"/>
                  <a:pt x="909" y="585"/>
                  <a:pt x="889" y="600"/>
                </a:cubicBezTo>
                <a:cubicBezTo>
                  <a:pt x="888" y="601"/>
                  <a:pt x="886" y="602"/>
                  <a:pt x="883" y="604"/>
                </a:cubicBezTo>
                <a:lnTo>
                  <a:pt x="880" y="605"/>
                </a:lnTo>
                <a:lnTo>
                  <a:pt x="879" y="607"/>
                </a:lnTo>
                <a:cubicBezTo>
                  <a:pt x="877" y="609"/>
                  <a:pt x="876" y="610"/>
                  <a:pt x="875" y="610"/>
                </a:cubicBezTo>
                <a:cubicBezTo>
                  <a:pt x="873" y="610"/>
                  <a:pt x="872" y="610"/>
                  <a:pt x="872" y="611"/>
                </a:cubicBezTo>
                <a:cubicBezTo>
                  <a:pt x="872" y="612"/>
                  <a:pt x="868" y="616"/>
                  <a:pt x="859" y="623"/>
                </a:cubicBezTo>
                <a:cubicBezTo>
                  <a:pt x="830" y="649"/>
                  <a:pt x="804" y="679"/>
                  <a:pt x="781" y="712"/>
                </a:cubicBezTo>
                <a:cubicBezTo>
                  <a:pt x="757" y="745"/>
                  <a:pt x="744" y="771"/>
                  <a:pt x="742" y="789"/>
                </a:cubicBezTo>
                <a:cubicBezTo>
                  <a:pt x="742" y="795"/>
                  <a:pt x="741" y="797"/>
                  <a:pt x="739" y="797"/>
                </a:cubicBezTo>
                <a:lnTo>
                  <a:pt x="738" y="797"/>
                </a:lnTo>
                <a:lnTo>
                  <a:pt x="737" y="798"/>
                </a:lnTo>
                <a:cubicBezTo>
                  <a:pt x="737" y="798"/>
                  <a:pt x="737" y="798"/>
                  <a:pt x="737" y="798"/>
                </a:cubicBezTo>
                <a:cubicBezTo>
                  <a:pt x="737" y="800"/>
                  <a:pt x="737" y="800"/>
                  <a:pt x="737" y="800"/>
                </a:cubicBezTo>
                <a:cubicBezTo>
                  <a:pt x="737" y="800"/>
                  <a:pt x="736" y="801"/>
                  <a:pt x="735" y="804"/>
                </a:cubicBezTo>
                <a:cubicBezTo>
                  <a:pt x="734" y="806"/>
                  <a:pt x="733" y="808"/>
                  <a:pt x="732" y="811"/>
                </a:cubicBezTo>
                <a:lnTo>
                  <a:pt x="711" y="873"/>
                </a:lnTo>
                <a:cubicBezTo>
                  <a:pt x="711" y="874"/>
                  <a:pt x="711" y="875"/>
                  <a:pt x="710" y="878"/>
                </a:cubicBezTo>
                <a:cubicBezTo>
                  <a:pt x="709" y="880"/>
                  <a:pt x="708" y="883"/>
                  <a:pt x="707" y="887"/>
                </a:cubicBezTo>
                <a:cubicBezTo>
                  <a:pt x="702" y="903"/>
                  <a:pt x="695" y="924"/>
                  <a:pt x="687" y="951"/>
                </a:cubicBezTo>
                <a:cubicBezTo>
                  <a:pt x="669" y="1008"/>
                  <a:pt x="658" y="1045"/>
                  <a:pt x="655" y="1062"/>
                </a:cubicBezTo>
                <a:cubicBezTo>
                  <a:pt x="653" y="1071"/>
                  <a:pt x="652" y="1079"/>
                  <a:pt x="652" y="1086"/>
                </a:cubicBezTo>
                <a:cubicBezTo>
                  <a:pt x="652" y="1096"/>
                  <a:pt x="651" y="1102"/>
                  <a:pt x="649" y="1102"/>
                </a:cubicBezTo>
                <a:close/>
                <a:moveTo>
                  <a:pt x="729" y="785"/>
                </a:moveTo>
                <a:cubicBezTo>
                  <a:pt x="729" y="785"/>
                  <a:pt x="730" y="784"/>
                  <a:pt x="731" y="781"/>
                </a:cubicBezTo>
                <a:lnTo>
                  <a:pt x="732" y="779"/>
                </a:lnTo>
                <a:cubicBezTo>
                  <a:pt x="732" y="779"/>
                  <a:pt x="732" y="779"/>
                  <a:pt x="731" y="779"/>
                </a:cubicBezTo>
                <a:cubicBezTo>
                  <a:pt x="729" y="779"/>
                  <a:pt x="729" y="780"/>
                  <a:pt x="729" y="784"/>
                </a:cubicBezTo>
                <a:cubicBezTo>
                  <a:pt x="729" y="784"/>
                  <a:pt x="729" y="785"/>
                  <a:pt x="729" y="785"/>
                </a:cubicBezTo>
                <a:close/>
                <a:moveTo>
                  <a:pt x="732" y="776"/>
                </a:moveTo>
                <a:cubicBezTo>
                  <a:pt x="733" y="776"/>
                  <a:pt x="735" y="772"/>
                  <a:pt x="737" y="763"/>
                </a:cubicBezTo>
                <a:cubicBezTo>
                  <a:pt x="740" y="756"/>
                  <a:pt x="741" y="751"/>
                  <a:pt x="741" y="749"/>
                </a:cubicBezTo>
                <a:cubicBezTo>
                  <a:pt x="741" y="747"/>
                  <a:pt x="741" y="747"/>
                  <a:pt x="740" y="747"/>
                </a:cubicBezTo>
                <a:cubicBezTo>
                  <a:pt x="739" y="747"/>
                  <a:pt x="738" y="749"/>
                  <a:pt x="737" y="753"/>
                </a:cubicBezTo>
                <a:cubicBezTo>
                  <a:pt x="736" y="757"/>
                  <a:pt x="734" y="759"/>
                  <a:pt x="732" y="759"/>
                </a:cubicBezTo>
                <a:lnTo>
                  <a:pt x="732" y="759"/>
                </a:lnTo>
                <a:cubicBezTo>
                  <a:pt x="732" y="759"/>
                  <a:pt x="731" y="759"/>
                  <a:pt x="731" y="759"/>
                </a:cubicBezTo>
                <a:cubicBezTo>
                  <a:pt x="731" y="760"/>
                  <a:pt x="732" y="761"/>
                  <a:pt x="732" y="763"/>
                </a:cubicBezTo>
                <a:cubicBezTo>
                  <a:pt x="733" y="764"/>
                  <a:pt x="733" y="766"/>
                  <a:pt x="733" y="766"/>
                </a:cubicBezTo>
                <a:lnTo>
                  <a:pt x="733" y="767"/>
                </a:lnTo>
                <a:lnTo>
                  <a:pt x="732" y="766"/>
                </a:lnTo>
                <a:cubicBezTo>
                  <a:pt x="731" y="766"/>
                  <a:pt x="731" y="767"/>
                  <a:pt x="731" y="769"/>
                </a:cubicBezTo>
                <a:cubicBezTo>
                  <a:pt x="731" y="774"/>
                  <a:pt x="731" y="776"/>
                  <a:pt x="732" y="776"/>
                </a:cubicBezTo>
                <a:close/>
                <a:moveTo>
                  <a:pt x="743" y="747"/>
                </a:moveTo>
                <a:cubicBezTo>
                  <a:pt x="744" y="747"/>
                  <a:pt x="744" y="744"/>
                  <a:pt x="746" y="740"/>
                </a:cubicBezTo>
                <a:lnTo>
                  <a:pt x="747" y="735"/>
                </a:lnTo>
                <a:cubicBezTo>
                  <a:pt x="747" y="735"/>
                  <a:pt x="746" y="736"/>
                  <a:pt x="744" y="738"/>
                </a:cubicBezTo>
                <a:cubicBezTo>
                  <a:pt x="743" y="741"/>
                  <a:pt x="742" y="743"/>
                  <a:pt x="742" y="744"/>
                </a:cubicBezTo>
                <a:cubicBezTo>
                  <a:pt x="742" y="746"/>
                  <a:pt x="742" y="747"/>
                  <a:pt x="743" y="747"/>
                </a:cubicBezTo>
                <a:close/>
                <a:moveTo>
                  <a:pt x="749" y="732"/>
                </a:moveTo>
                <a:cubicBezTo>
                  <a:pt x="749" y="732"/>
                  <a:pt x="749" y="732"/>
                  <a:pt x="749" y="731"/>
                </a:cubicBezTo>
                <a:lnTo>
                  <a:pt x="749" y="730"/>
                </a:lnTo>
                <a:cubicBezTo>
                  <a:pt x="749" y="728"/>
                  <a:pt x="749" y="727"/>
                  <a:pt x="747" y="727"/>
                </a:cubicBezTo>
                <a:cubicBezTo>
                  <a:pt x="746" y="727"/>
                  <a:pt x="746" y="727"/>
                  <a:pt x="746" y="728"/>
                </a:cubicBezTo>
                <a:cubicBezTo>
                  <a:pt x="746" y="728"/>
                  <a:pt x="746" y="729"/>
                  <a:pt x="746" y="729"/>
                </a:cubicBezTo>
                <a:cubicBezTo>
                  <a:pt x="747" y="729"/>
                  <a:pt x="747" y="730"/>
                  <a:pt x="749" y="732"/>
                </a:cubicBezTo>
                <a:close/>
                <a:moveTo>
                  <a:pt x="748" y="725"/>
                </a:moveTo>
                <a:cubicBezTo>
                  <a:pt x="748" y="725"/>
                  <a:pt x="749" y="724"/>
                  <a:pt x="750" y="722"/>
                </a:cubicBezTo>
                <a:lnTo>
                  <a:pt x="751" y="719"/>
                </a:lnTo>
                <a:cubicBezTo>
                  <a:pt x="751" y="719"/>
                  <a:pt x="750" y="720"/>
                  <a:pt x="749" y="721"/>
                </a:cubicBezTo>
                <a:cubicBezTo>
                  <a:pt x="747" y="723"/>
                  <a:pt x="747" y="724"/>
                  <a:pt x="747" y="725"/>
                </a:cubicBezTo>
                <a:cubicBezTo>
                  <a:pt x="747" y="725"/>
                  <a:pt x="747" y="725"/>
                  <a:pt x="748" y="725"/>
                </a:cubicBezTo>
                <a:close/>
                <a:moveTo>
                  <a:pt x="931" y="646"/>
                </a:moveTo>
                <a:cubicBezTo>
                  <a:pt x="932" y="646"/>
                  <a:pt x="933" y="645"/>
                  <a:pt x="933" y="644"/>
                </a:cubicBezTo>
                <a:cubicBezTo>
                  <a:pt x="934" y="642"/>
                  <a:pt x="935" y="641"/>
                  <a:pt x="935" y="641"/>
                </a:cubicBezTo>
                <a:lnTo>
                  <a:pt x="933" y="643"/>
                </a:lnTo>
                <a:cubicBezTo>
                  <a:pt x="931" y="644"/>
                  <a:pt x="930" y="645"/>
                  <a:pt x="930" y="646"/>
                </a:cubicBezTo>
                <a:cubicBezTo>
                  <a:pt x="930" y="646"/>
                  <a:pt x="930" y="646"/>
                  <a:pt x="931" y="646"/>
                </a:cubicBezTo>
                <a:close/>
                <a:moveTo>
                  <a:pt x="925" y="644"/>
                </a:moveTo>
                <a:cubicBezTo>
                  <a:pt x="926" y="644"/>
                  <a:pt x="927" y="643"/>
                  <a:pt x="928" y="641"/>
                </a:cubicBezTo>
                <a:lnTo>
                  <a:pt x="930" y="639"/>
                </a:lnTo>
                <a:lnTo>
                  <a:pt x="927" y="641"/>
                </a:lnTo>
                <a:lnTo>
                  <a:pt x="925" y="644"/>
                </a:lnTo>
                <a:cubicBezTo>
                  <a:pt x="925" y="644"/>
                  <a:pt x="925" y="644"/>
                  <a:pt x="925" y="644"/>
                </a:cubicBezTo>
                <a:close/>
                <a:moveTo>
                  <a:pt x="783" y="758"/>
                </a:moveTo>
                <a:cubicBezTo>
                  <a:pt x="783" y="758"/>
                  <a:pt x="784" y="757"/>
                  <a:pt x="784" y="756"/>
                </a:cubicBezTo>
                <a:cubicBezTo>
                  <a:pt x="784" y="755"/>
                  <a:pt x="783" y="754"/>
                  <a:pt x="782" y="754"/>
                </a:cubicBezTo>
                <a:cubicBezTo>
                  <a:pt x="781" y="754"/>
                  <a:pt x="780" y="754"/>
                  <a:pt x="780" y="755"/>
                </a:cubicBezTo>
                <a:cubicBezTo>
                  <a:pt x="780" y="756"/>
                  <a:pt x="780" y="756"/>
                  <a:pt x="781" y="756"/>
                </a:cubicBezTo>
                <a:cubicBezTo>
                  <a:pt x="781" y="756"/>
                  <a:pt x="781" y="757"/>
                  <a:pt x="783" y="758"/>
                </a:cubicBezTo>
                <a:close/>
                <a:moveTo>
                  <a:pt x="788" y="758"/>
                </a:moveTo>
                <a:cubicBezTo>
                  <a:pt x="789" y="758"/>
                  <a:pt x="790" y="757"/>
                  <a:pt x="790" y="757"/>
                </a:cubicBezTo>
                <a:lnTo>
                  <a:pt x="789" y="756"/>
                </a:lnTo>
                <a:cubicBezTo>
                  <a:pt x="789" y="756"/>
                  <a:pt x="789" y="755"/>
                  <a:pt x="788" y="755"/>
                </a:cubicBezTo>
                <a:cubicBezTo>
                  <a:pt x="788" y="754"/>
                  <a:pt x="787" y="754"/>
                  <a:pt x="786" y="754"/>
                </a:cubicBezTo>
                <a:cubicBezTo>
                  <a:pt x="786" y="754"/>
                  <a:pt x="786" y="755"/>
                  <a:pt x="786" y="756"/>
                </a:cubicBezTo>
                <a:lnTo>
                  <a:pt x="786" y="757"/>
                </a:lnTo>
                <a:cubicBezTo>
                  <a:pt x="786" y="757"/>
                  <a:pt x="786" y="758"/>
                  <a:pt x="788" y="758"/>
                </a:cubicBezTo>
                <a:close/>
                <a:moveTo>
                  <a:pt x="787" y="743"/>
                </a:moveTo>
                <a:cubicBezTo>
                  <a:pt x="788" y="743"/>
                  <a:pt x="789" y="741"/>
                  <a:pt x="791" y="739"/>
                </a:cubicBezTo>
                <a:cubicBezTo>
                  <a:pt x="794" y="736"/>
                  <a:pt x="796" y="735"/>
                  <a:pt x="796" y="735"/>
                </a:cubicBezTo>
                <a:lnTo>
                  <a:pt x="797" y="736"/>
                </a:lnTo>
                <a:cubicBezTo>
                  <a:pt x="798" y="736"/>
                  <a:pt x="798" y="735"/>
                  <a:pt x="800" y="733"/>
                </a:cubicBezTo>
                <a:cubicBezTo>
                  <a:pt x="801" y="731"/>
                  <a:pt x="803" y="730"/>
                  <a:pt x="805" y="728"/>
                </a:cubicBezTo>
                <a:cubicBezTo>
                  <a:pt x="807" y="727"/>
                  <a:pt x="808" y="726"/>
                  <a:pt x="808" y="725"/>
                </a:cubicBezTo>
                <a:cubicBezTo>
                  <a:pt x="808" y="725"/>
                  <a:pt x="808" y="725"/>
                  <a:pt x="808" y="725"/>
                </a:cubicBezTo>
                <a:cubicBezTo>
                  <a:pt x="808" y="725"/>
                  <a:pt x="807" y="725"/>
                  <a:pt x="807" y="725"/>
                </a:cubicBezTo>
                <a:cubicBezTo>
                  <a:pt x="806" y="725"/>
                  <a:pt x="806" y="725"/>
                  <a:pt x="804" y="725"/>
                </a:cubicBezTo>
                <a:cubicBezTo>
                  <a:pt x="801" y="728"/>
                  <a:pt x="800" y="729"/>
                  <a:pt x="799" y="731"/>
                </a:cubicBezTo>
                <a:cubicBezTo>
                  <a:pt x="799" y="733"/>
                  <a:pt x="798" y="734"/>
                  <a:pt x="798" y="734"/>
                </a:cubicBezTo>
                <a:lnTo>
                  <a:pt x="796" y="734"/>
                </a:lnTo>
                <a:cubicBezTo>
                  <a:pt x="795" y="734"/>
                  <a:pt x="793" y="735"/>
                  <a:pt x="791" y="738"/>
                </a:cubicBezTo>
                <a:cubicBezTo>
                  <a:pt x="789" y="741"/>
                  <a:pt x="787" y="742"/>
                  <a:pt x="787" y="743"/>
                </a:cubicBezTo>
                <a:close/>
                <a:moveTo>
                  <a:pt x="840" y="708"/>
                </a:moveTo>
                <a:cubicBezTo>
                  <a:pt x="841" y="708"/>
                  <a:pt x="842" y="707"/>
                  <a:pt x="844" y="705"/>
                </a:cubicBezTo>
                <a:lnTo>
                  <a:pt x="845" y="703"/>
                </a:lnTo>
                <a:lnTo>
                  <a:pt x="842" y="705"/>
                </a:lnTo>
                <a:cubicBezTo>
                  <a:pt x="840" y="706"/>
                  <a:pt x="839" y="707"/>
                  <a:pt x="839" y="708"/>
                </a:cubicBezTo>
                <a:cubicBezTo>
                  <a:pt x="839" y="708"/>
                  <a:pt x="839" y="708"/>
                  <a:pt x="840" y="708"/>
                </a:cubicBezTo>
                <a:close/>
                <a:moveTo>
                  <a:pt x="817" y="720"/>
                </a:moveTo>
                <a:cubicBezTo>
                  <a:pt x="818" y="720"/>
                  <a:pt x="819" y="720"/>
                  <a:pt x="821" y="719"/>
                </a:cubicBezTo>
                <a:cubicBezTo>
                  <a:pt x="823" y="718"/>
                  <a:pt x="823" y="716"/>
                  <a:pt x="823" y="715"/>
                </a:cubicBezTo>
                <a:lnTo>
                  <a:pt x="823" y="715"/>
                </a:lnTo>
                <a:cubicBezTo>
                  <a:pt x="822" y="715"/>
                  <a:pt x="821" y="716"/>
                  <a:pt x="820" y="716"/>
                </a:cubicBezTo>
                <a:cubicBezTo>
                  <a:pt x="819" y="717"/>
                  <a:pt x="818" y="718"/>
                  <a:pt x="817" y="718"/>
                </a:cubicBezTo>
                <a:cubicBezTo>
                  <a:pt x="816" y="719"/>
                  <a:pt x="816" y="719"/>
                  <a:pt x="816" y="720"/>
                </a:cubicBezTo>
                <a:cubicBezTo>
                  <a:pt x="816" y="720"/>
                  <a:pt x="816" y="720"/>
                  <a:pt x="817" y="720"/>
                </a:cubicBezTo>
                <a:close/>
                <a:moveTo>
                  <a:pt x="820" y="743"/>
                </a:moveTo>
                <a:lnTo>
                  <a:pt x="827" y="741"/>
                </a:lnTo>
                <a:cubicBezTo>
                  <a:pt x="830" y="740"/>
                  <a:pt x="831" y="739"/>
                  <a:pt x="831" y="738"/>
                </a:cubicBezTo>
                <a:cubicBezTo>
                  <a:pt x="831" y="738"/>
                  <a:pt x="831" y="737"/>
                  <a:pt x="831" y="737"/>
                </a:cubicBezTo>
                <a:cubicBezTo>
                  <a:pt x="831" y="737"/>
                  <a:pt x="831" y="737"/>
                  <a:pt x="831" y="737"/>
                </a:cubicBezTo>
                <a:cubicBezTo>
                  <a:pt x="830" y="737"/>
                  <a:pt x="828" y="738"/>
                  <a:pt x="826" y="739"/>
                </a:cubicBezTo>
                <a:cubicBezTo>
                  <a:pt x="822" y="742"/>
                  <a:pt x="820" y="743"/>
                  <a:pt x="820" y="743"/>
                </a:cubicBezTo>
                <a:close/>
                <a:moveTo>
                  <a:pt x="826" y="715"/>
                </a:moveTo>
                <a:cubicBezTo>
                  <a:pt x="827" y="715"/>
                  <a:pt x="828" y="715"/>
                  <a:pt x="829" y="714"/>
                </a:cubicBezTo>
                <a:cubicBezTo>
                  <a:pt x="831" y="713"/>
                  <a:pt x="832" y="713"/>
                  <a:pt x="834" y="712"/>
                </a:cubicBezTo>
                <a:lnTo>
                  <a:pt x="835" y="712"/>
                </a:lnTo>
                <a:cubicBezTo>
                  <a:pt x="835" y="712"/>
                  <a:pt x="835" y="712"/>
                  <a:pt x="835" y="711"/>
                </a:cubicBezTo>
                <a:cubicBezTo>
                  <a:pt x="835" y="710"/>
                  <a:pt x="835" y="710"/>
                  <a:pt x="833" y="710"/>
                </a:cubicBezTo>
                <a:cubicBezTo>
                  <a:pt x="833" y="710"/>
                  <a:pt x="831" y="710"/>
                  <a:pt x="830" y="710"/>
                </a:cubicBezTo>
                <a:cubicBezTo>
                  <a:pt x="829" y="711"/>
                  <a:pt x="828" y="712"/>
                  <a:pt x="827" y="712"/>
                </a:cubicBezTo>
                <a:cubicBezTo>
                  <a:pt x="826" y="713"/>
                  <a:pt x="826" y="714"/>
                  <a:pt x="826" y="714"/>
                </a:cubicBezTo>
                <a:cubicBezTo>
                  <a:pt x="826" y="715"/>
                  <a:pt x="826" y="715"/>
                  <a:pt x="826" y="715"/>
                </a:cubicBezTo>
                <a:close/>
                <a:moveTo>
                  <a:pt x="838" y="735"/>
                </a:moveTo>
                <a:cubicBezTo>
                  <a:pt x="838" y="735"/>
                  <a:pt x="840" y="735"/>
                  <a:pt x="842" y="733"/>
                </a:cubicBezTo>
                <a:cubicBezTo>
                  <a:pt x="844" y="732"/>
                  <a:pt x="845" y="731"/>
                  <a:pt x="846" y="730"/>
                </a:cubicBezTo>
                <a:cubicBezTo>
                  <a:pt x="847" y="729"/>
                  <a:pt x="848" y="729"/>
                  <a:pt x="848" y="728"/>
                </a:cubicBezTo>
                <a:cubicBezTo>
                  <a:pt x="848" y="728"/>
                  <a:pt x="848" y="728"/>
                  <a:pt x="849" y="728"/>
                </a:cubicBezTo>
                <a:lnTo>
                  <a:pt x="851" y="728"/>
                </a:lnTo>
                <a:lnTo>
                  <a:pt x="851" y="728"/>
                </a:lnTo>
                <a:cubicBezTo>
                  <a:pt x="851" y="727"/>
                  <a:pt x="851" y="726"/>
                  <a:pt x="849" y="726"/>
                </a:cubicBezTo>
                <a:cubicBezTo>
                  <a:pt x="848" y="726"/>
                  <a:pt x="845" y="727"/>
                  <a:pt x="842" y="730"/>
                </a:cubicBezTo>
                <a:cubicBezTo>
                  <a:pt x="838" y="732"/>
                  <a:pt x="837" y="734"/>
                  <a:pt x="837" y="735"/>
                </a:cubicBezTo>
                <a:cubicBezTo>
                  <a:pt x="837" y="735"/>
                  <a:pt x="837" y="735"/>
                  <a:pt x="838" y="735"/>
                </a:cubicBezTo>
                <a:close/>
                <a:moveTo>
                  <a:pt x="858" y="723"/>
                </a:moveTo>
                <a:lnTo>
                  <a:pt x="860" y="722"/>
                </a:lnTo>
                <a:cubicBezTo>
                  <a:pt x="861" y="721"/>
                  <a:pt x="862" y="721"/>
                  <a:pt x="862" y="720"/>
                </a:cubicBezTo>
                <a:lnTo>
                  <a:pt x="862" y="720"/>
                </a:lnTo>
                <a:lnTo>
                  <a:pt x="861" y="720"/>
                </a:lnTo>
                <a:cubicBezTo>
                  <a:pt x="861" y="720"/>
                  <a:pt x="860" y="720"/>
                  <a:pt x="859" y="720"/>
                </a:cubicBezTo>
                <a:cubicBezTo>
                  <a:pt x="858" y="721"/>
                  <a:pt x="858" y="722"/>
                  <a:pt x="858" y="723"/>
                </a:cubicBezTo>
                <a:close/>
                <a:moveTo>
                  <a:pt x="901" y="683"/>
                </a:moveTo>
                <a:cubicBezTo>
                  <a:pt x="903" y="683"/>
                  <a:pt x="903" y="682"/>
                  <a:pt x="903" y="681"/>
                </a:cubicBezTo>
                <a:cubicBezTo>
                  <a:pt x="903" y="681"/>
                  <a:pt x="903" y="680"/>
                  <a:pt x="903" y="680"/>
                </a:cubicBezTo>
                <a:cubicBezTo>
                  <a:pt x="903" y="680"/>
                  <a:pt x="903" y="679"/>
                  <a:pt x="902" y="679"/>
                </a:cubicBezTo>
                <a:cubicBezTo>
                  <a:pt x="902" y="679"/>
                  <a:pt x="901" y="680"/>
                  <a:pt x="901" y="680"/>
                </a:cubicBezTo>
                <a:cubicBezTo>
                  <a:pt x="901" y="680"/>
                  <a:pt x="900" y="681"/>
                  <a:pt x="900" y="682"/>
                </a:cubicBezTo>
                <a:lnTo>
                  <a:pt x="900" y="683"/>
                </a:lnTo>
                <a:cubicBezTo>
                  <a:pt x="900" y="683"/>
                  <a:pt x="901" y="683"/>
                  <a:pt x="901" y="683"/>
                </a:cubicBezTo>
                <a:close/>
                <a:moveTo>
                  <a:pt x="913" y="707"/>
                </a:moveTo>
                <a:cubicBezTo>
                  <a:pt x="914" y="707"/>
                  <a:pt x="915" y="705"/>
                  <a:pt x="918" y="702"/>
                </a:cubicBezTo>
                <a:cubicBezTo>
                  <a:pt x="920" y="700"/>
                  <a:pt x="920" y="698"/>
                  <a:pt x="920" y="698"/>
                </a:cubicBezTo>
                <a:cubicBezTo>
                  <a:pt x="920" y="698"/>
                  <a:pt x="920" y="698"/>
                  <a:pt x="919" y="699"/>
                </a:cubicBezTo>
                <a:cubicBezTo>
                  <a:pt x="915" y="703"/>
                  <a:pt x="913" y="705"/>
                  <a:pt x="913" y="707"/>
                </a:cubicBezTo>
                <a:close/>
                <a:moveTo>
                  <a:pt x="907" y="681"/>
                </a:moveTo>
                <a:lnTo>
                  <a:pt x="908" y="679"/>
                </a:lnTo>
                <a:cubicBezTo>
                  <a:pt x="908" y="678"/>
                  <a:pt x="908" y="677"/>
                  <a:pt x="910" y="677"/>
                </a:cubicBezTo>
                <a:lnTo>
                  <a:pt x="915" y="677"/>
                </a:lnTo>
                <a:cubicBezTo>
                  <a:pt x="916" y="677"/>
                  <a:pt x="916" y="677"/>
                  <a:pt x="916" y="677"/>
                </a:cubicBezTo>
                <a:lnTo>
                  <a:pt x="915" y="674"/>
                </a:lnTo>
                <a:cubicBezTo>
                  <a:pt x="915" y="674"/>
                  <a:pt x="915" y="674"/>
                  <a:pt x="915" y="674"/>
                </a:cubicBezTo>
                <a:lnTo>
                  <a:pt x="918" y="675"/>
                </a:lnTo>
                <a:cubicBezTo>
                  <a:pt x="918" y="675"/>
                  <a:pt x="919" y="674"/>
                  <a:pt x="920" y="674"/>
                </a:cubicBezTo>
                <a:lnTo>
                  <a:pt x="920" y="671"/>
                </a:lnTo>
                <a:cubicBezTo>
                  <a:pt x="920" y="671"/>
                  <a:pt x="920" y="670"/>
                  <a:pt x="918" y="670"/>
                </a:cubicBezTo>
                <a:cubicBezTo>
                  <a:pt x="915" y="670"/>
                  <a:pt x="911" y="672"/>
                  <a:pt x="908" y="676"/>
                </a:cubicBezTo>
                <a:lnTo>
                  <a:pt x="906" y="679"/>
                </a:lnTo>
                <a:lnTo>
                  <a:pt x="907" y="681"/>
                </a:lnTo>
                <a:close/>
                <a:moveTo>
                  <a:pt x="927" y="668"/>
                </a:moveTo>
                <a:lnTo>
                  <a:pt x="931" y="663"/>
                </a:lnTo>
                <a:lnTo>
                  <a:pt x="928" y="665"/>
                </a:lnTo>
                <a:cubicBezTo>
                  <a:pt x="927" y="666"/>
                  <a:pt x="926" y="667"/>
                  <a:pt x="926" y="668"/>
                </a:cubicBezTo>
                <a:cubicBezTo>
                  <a:pt x="926" y="668"/>
                  <a:pt x="926" y="668"/>
                  <a:pt x="927" y="668"/>
                </a:cubicBezTo>
                <a:close/>
                <a:moveTo>
                  <a:pt x="1057" y="632"/>
                </a:moveTo>
                <a:cubicBezTo>
                  <a:pt x="1059" y="632"/>
                  <a:pt x="1060" y="631"/>
                  <a:pt x="1060" y="631"/>
                </a:cubicBezTo>
                <a:lnTo>
                  <a:pt x="1060" y="630"/>
                </a:lnTo>
                <a:lnTo>
                  <a:pt x="1059" y="630"/>
                </a:lnTo>
                <a:cubicBezTo>
                  <a:pt x="1057" y="630"/>
                  <a:pt x="1056" y="630"/>
                  <a:pt x="1056" y="631"/>
                </a:cubicBezTo>
                <a:lnTo>
                  <a:pt x="1057" y="632"/>
                </a:lnTo>
                <a:close/>
                <a:moveTo>
                  <a:pt x="1005" y="668"/>
                </a:moveTo>
                <a:cubicBezTo>
                  <a:pt x="1006" y="668"/>
                  <a:pt x="1007" y="668"/>
                  <a:pt x="1008" y="667"/>
                </a:cubicBezTo>
                <a:lnTo>
                  <a:pt x="1008" y="666"/>
                </a:lnTo>
                <a:cubicBezTo>
                  <a:pt x="1008" y="666"/>
                  <a:pt x="1007" y="665"/>
                  <a:pt x="1004" y="665"/>
                </a:cubicBezTo>
                <a:cubicBezTo>
                  <a:pt x="1003" y="665"/>
                  <a:pt x="1002" y="666"/>
                  <a:pt x="1002" y="666"/>
                </a:cubicBezTo>
                <a:cubicBezTo>
                  <a:pt x="1002" y="668"/>
                  <a:pt x="1003" y="668"/>
                  <a:pt x="1005" y="668"/>
                </a:cubicBezTo>
                <a:close/>
                <a:moveTo>
                  <a:pt x="1018" y="664"/>
                </a:moveTo>
                <a:lnTo>
                  <a:pt x="1020" y="663"/>
                </a:lnTo>
                <a:cubicBezTo>
                  <a:pt x="1021" y="663"/>
                  <a:pt x="1022" y="662"/>
                  <a:pt x="1022" y="662"/>
                </a:cubicBezTo>
                <a:lnTo>
                  <a:pt x="1022" y="661"/>
                </a:lnTo>
                <a:cubicBezTo>
                  <a:pt x="1022" y="661"/>
                  <a:pt x="1021" y="661"/>
                  <a:pt x="1020" y="661"/>
                </a:cubicBezTo>
                <a:cubicBezTo>
                  <a:pt x="1018" y="661"/>
                  <a:pt x="1017" y="661"/>
                  <a:pt x="1017" y="663"/>
                </a:cubicBezTo>
                <a:cubicBezTo>
                  <a:pt x="1017" y="664"/>
                  <a:pt x="1017" y="664"/>
                  <a:pt x="1018" y="664"/>
                </a:cubicBezTo>
                <a:close/>
                <a:moveTo>
                  <a:pt x="1027" y="663"/>
                </a:moveTo>
                <a:cubicBezTo>
                  <a:pt x="1028" y="663"/>
                  <a:pt x="1029" y="662"/>
                  <a:pt x="1029" y="661"/>
                </a:cubicBezTo>
                <a:cubicBezTo>
                  <a:pt x="1029" y="660"/>
                  <a:pt x="1029" y="659"/>
                  <a:pt x="1027" y="659"/>
                </a:cubicBezTo>
                <a:cubicBezTo>
                  <a:pt x="1026" y="659"/>
                  <a:pt x="1025" y="660"/>
                  <a:pt x="1025" y="661"/>
                </a:cubicBezTo>
                <a:cubicBezTo>
                  <a:pt x="1025" y="662"/>
                  <a:pt x="1025" y="663"/>
                  <a:pt x="1027" y="663"/>
                </a:cubicBezTo>
                <a:close/>
                <a:moveTo>
                  <a:pt x="1036" y="661"/>
                </a:moveTo>
                <a:cubicBezTo>
                  <a:pt x="1039" y="661"/>
                  <a:pt x="1040" y="660"/>
                  <a:pt x="1040" y="658"/>
                </a:cubicBezTo>
                <a:cubicBezTo>
                  <a:pt x="1040" y="658"/>
                  <a:pt x="1040" y="657"/>
                  <a:pt x="1040" y="657"/>
                </a:cubicBezTo>
                <a:cubicBezTo>
                  <a:pt x="1039" y="657"/>
                  <a:pt x="1037" y="658"/>
                  <a:pt x="1036" y="659"/>
                </a:cubicBezTo>
                <a:cubicBezTo>
                  <a:pt x="1035" y="660"/>
                  <a:pt x="1034" y="661"/>
                  <a:pt x="1034" y="661"/>
                </a:cubicBezTo>
                <a:lnTo>
                  <a:pt x="1036" y="661"/>
                </a:lnTo>
                <a:close/>
                <a:moveTo>
                  <a:pt x="979" y="660"/>
                </a:moveTo>
                <a:cubicBezTo>
                  <a:pt x="980" y="660"/>
                  <a:pt x="981" y="659"/>
                  <a:pt x="983" y="659"/>
                </a:cubicBezTo>
                <a:cubicBezTo>
                  <a:pt x="984" y="659"/>
                  <a:pt x="986" y="658"/>
                  <a:pt x="987" y="658"/>
                </a:cubicBezTo>
                <a:lnTo>
                  <a:pt x="988" y="659"/>
                </a:lnTo>
                <a:cubicBezTo>
                  <a:pt x="988" y="659"/>
                  <a:pt x="989" y="658"/>
                  <a:pt x="990" y="657"/>
                </a:cubicBezTo>
                <a:cubicBezTo>
                  <a:pt x="991" y="656"/>
                  <a:pt x="992" y="656"/>
                  <a:pt x="994" y="656"/>
                </a:cubicBezTo>
                <a:cubicBezTo>
                  <a:pt x="995" y="656"/>
                  <a:pt x="996" y="655"/>
                  <a:pt x="999" y="654"/>
                </a:cubicBezTo>
                <a:cubicBezTo>
                  <a:pt x="1001" y="654"/>
                  <a:pt x="1004" y="654"/>
                  <a:pt x="1010" y="654"/>
                </a:cubicBezTo>
                <a:cubicBezTo>
                  <a:pt x="1012" y="654"/>
                  <a:pt x="1014" y="653"/>
                  <a:pt x="1015" y="652"/>
                </a:cubicBezTo>
                <a:cubicBezTo>
                  <a:pt x="1015" y="651"/>
                  <a:pt x="1016" y="651"/>
                  <a:pt x="1017" y="651"/>
                </a:cubicBezTo>
                <a:lnTo>
                  <a:pt x="1020" y="651"/>
                </a:lnTo>
                <a:cubicBezTo>
                  <a:pt x="1020" y="651"/>
                  <a:pt x="1021" y="651"/>
                  <a:pt x="1021" y="650"/>
                </a:cubicBezTo>
                <a:lnTo>
                  <a:pt x="1021" y="649"/>
                </a:lnTo>
                <a:cubicBezTo>
                  <a:pt x="1021" y="649"/>
                  <a:pt x="1021" y="649"/>
                  <a:pt x="1022" y="649"/>
                </a:cubicBezTo>
                <a:cubicBezTo>
                  <a:pt x="1022" y="649"/>
                  <a:pt x="1023" y="649"/>
                  <a:pt x="1024" y="650"/>
                </a:cubicBezTo>
                <a:cubicBezTo>
                  <a:pt x="1025" y="651"/>
                  <a:pt x="1026" y="652"/>
                  <a:pt x="1026" y="652"/>
                </a:cubicBezTo>
                <a:lnTo>
                  <a:pt x="1024" y="649"/>
                </a:lnTo>
                <a:lnTo>
                  <a:pt x="1029" y="649"/>
                </a:lnTo>
                <a:cubicBezTo>
                  <a:pt x="1030" y="649"/>
                  <a:pt x="1031" y="649"/>
                  <a:pt x="1031" y="648"/>
                </a:cubicBezTo>
                <a:cubicBezTo>
                  <a:pt x="1031" y="647"/>
                  <a:pt x="1030" y="647"/>
                  <a:pt x="1028" y="647"/>
                </a:cubicBezTo>
                <a:cubicBezTo>
                  <a:pt x="1025" y="647"/>
                  <a:pt x="1017" y="648"/>
                  <a:pt x="1004" y="651"/>
                </a:cubicBezTo>
                <a:cubicBezTo>
                  <a:pt x="998" y="652"/>
                  <a:pt x="994" y="653"/>
                  <a:pt x="991" y="653"/>
                </a:cubicBezTo>
                <a:cubicBezTo>
                  <a:pt x="989" y="653"/>
                  <a:pt x="988" y="652"/>
                  <a:pt x="988" y="652"/>
                </a:cubicBezTo>
                <a:lnTo>
                  <a:pt x="987" y="650"/>
                </a:lnTo>
                <a:lnTo>
                  <a:pt x="988" y="653"/>
                </a:lnTo>
                <a:cubicBezTo>
                  <a:pt x="988" y="655"/>
                  <a:pt x="985" y="656"/>
                  <a:pt x="981" y="656"/>
                </a:cubicBezTo>
                <a:cubicBezTo>
                  <a:pt x="978" y="657"/>
                  <a:pt x="976" y="658"/>
                  <a:pt x="976" y="659"/>
                </a:cubicBezTo>
                <a:cubicBezTo>
                  <a:pt x="976" y="659"/>
                  <a:pt x="977" y="659"/>
                  <a:pt x="979" y="660"/>
                </a:cubicBezTo>
                <a:close/>
                <a:moveTo>
                  <a:pt x="971" y="661"/>
                </a:moveTo>
                <a:cubicBezTo>
                  <a:pt x="972" y="661"/>
                  <a:pt x="973" y="661"/>
                  <a:pt x="973" y="660"/>
                </a:cubicBezTo>
                <a:lnTo>
                  <a:pt x="973" y="660"/>
                </a:lnTo>
                <a:lnTo>
                  <a:pt x="972" y="659"/>
                </a:lnTo>
                <a:lnTo>
                  <a:pt x="970" y="660"/>
                </a:lnTo>
                <a:lnTo>
                  <a:pt x="969" y="660"/>
                </a:lnTo>
                <a:cubicBezTo>
                  <a:pt x="969" y="661"/>
                  <a:pt x="969" y="661"/>
                  <a:pt x="971" y="661"/>
                </a:cubicBezTo>
                <a:close/>
                <a:moveTo>
                  <a:pt x="977" y="622"/>
                </a:moveTo>
                <a:cubicBezTo>
                  <a:pt x="977" y="622"/>
                  <a:pt x="979" y="620"/>
                  <a:pt x="980" y="616"/>
                </a:cubicBezTo>
                <a:cubicBezTo>
                  <a:pt x="982" y="611"/>
                  <a:pt x="983" y="608"/>
                  <a:pt x="983" y="607"/>
                </a:cubicBezTo>
                <a:cubicBezTo>
                  <a:pt x="983" y="606"/>
                  <a:pt x="983" y="605"/>
                  <a:pt x="983" y="605"/>
                </a:cubicBezTo>
                <a:cubicBezTo>
                  <a:pt x="983" y="605"/>
                  <a:pt x="983" y="604"/>
                  <a:pt x="984" y="603"/>
                </a:cubicBezTo>
                <a:cubicBezTo>
                  <a:pt x="984" y="603"/>
                  <a:pt x="984" y="603"/>
                  <a:pt x="984" y="602"/>
                </a:cubicBezTo>
                <a:cubicBezTo>
                  <a:pt x="984" y="600"/>
                  <a:pt x="984" y="597"/>
                  <a:pt x="983" y="594"/>
                </a:cubicBezTo>
                <a:cubicBezTo>
                  <a:pt x="983" y="591"/>
                  <a:pt x="982" y="589"/>
                  <a:pt x="981" y="586"/>
                </a:cubicBezTo>
                <a:cubicBezTo>
                  <a:pt x="980" y="584"/>
                  <a:pt x="980" y="583"/>
                  <a:pt x="979" y="583"/>
                </a:cubicBezTo>
                <a:cubicBezTo>
                  <a:pt x="978" y="583"/>
                  <a:pt x="977" y="583"/>
                  <a:pt x="977" y="584"/>
                </a:cubicBezTo>
                <a:cubicBezTo>
                  <a:pt x="977" y="586"/>
                  <a:pt x="978" y="587"/>
                  <a:pt x="979" y="588"/>
                </a:cubicBezTo>
                <a:cubicBezTo>
                  <a:pt x="980" y="589"/>
                  <a:pt x="981" y="589"/>
                  <a:pt x="981" y="590"/>
                </a:cubicBezTo>
                <a:cubicBezTo>
                  <a:pt x="981" y="590"/>
                  <a:pt x="980" y="591"/>
                  <a:pt x="980" y="591"/>
                </a:cubicBezTo>
                <a:cubicBezTo>
                  <a:pt x="979" y="592"/>
                  <a:pt x="979" y="595"/>
                  <a:pt x="979" y="601"/>
                </a:cubicBezTo>
                <a:lnTo>
                  <a:pt x="979" y="610"/>
                </a:lnTo>
                <a:cubicBezTo>
                  <a:pt x="979" y="612"/>
                  <a:pt x="979" y="613"/>
                  <a:pt x="978" y="613"/>
                </a:cubicBezTo>
                <a:cubicBezTo>
                  <a:pt x="977" y="613"/>
                  <a:pt x="977" y="614"/>
                  <a:pt x="977" y="614"/>
                </a:cubicBezTo>
                <a:lnTo>
                  <a:pt x="978" y="616"/>
                </a:lnTo>
                <a:cubicBezTo>
                  <a:pt x="978" y="617"/>
                  <a:pt x="978" y="617"/>
                  <a:pt x="977" y="618"/>
                </a:cubicBezTo>
                <a:cubicBezTo>
                  <a:pt x="977" y="619"/>
                  <a:pt x="976" y="620"/>
                  <a:pt x="976" y="620"/>
                </a:cubicBezTo>
                <a:cubicBezTo>
                  <a:pt x="976" y="622"/>
                  <a:pt x="976" y="622"/>
                  <a:pt x="977" y="622"/>
                </a:cubicBezTo>
                <a:close/>
                <a:moveTo>
                  <a:pt x="885" y="580"/>
                </a:moveTo>
                <a:lnTo>
                  <a:pt x="886" y="579"/>
                </a:lnTo>
                <a:cubicBezTo>
                  <a:pt x="886" y="578"/>
                  <a:pt x="885" y="577"/>
                  <a:pt x="884" y="576"/>
                </a:cubicBezTo>
                <a:cubicBezTo>
                  <a:pt x="883" y="576"/>
                  <a:pt x="883" y="575"/>
                  <a:pt x="883" y="575"/>
                </a:cubicBezTo>
                <a:cubicBezTo>
                  <a:pt x="882" y="575"/>
                  <a:pt x="882" y="576"/>
                  <a:pt x="882" y="576"/>
                </a:cubicBezTo>
                <a:cubicBezTo>
                  <a:pt x="883" y="578"/>
                  <a:pt x="884" y="580"/>
                  <a:pt x="885" y="580"/>
                </a:cubicBezTo>
                <a:close/>
                <a:moveTo>
                  <a:pt x="820" y="632"/>
                </a:moveTo>
                <a:cubicBezTo>
                  <a:pt x="821" y="632"/>
                  <a:pt x="821" y="631"/>
                  <a:pt x="822" y="629"/>
                </a:cubicBezTo>
                <a:cubicBezTo>
                  <a:pt x="823" y="627"/>
                  <a:pt x="824" y="626"/>
                  <a:pt x="824" y="626"/>
                </a:cubicBezTo>
                <a:lnTo>
                  <a:pt x="822" y="628"/>
                </a:lnTo>
                <a:cubicBezTo>
                  <a:pt x="820" y="630"/>
                  <a:pt x="819" y="630"/>
                  <a:pt x="819" y="631"/>
                </a:cubicBezTo>
                <a:cubicBezTo>
                  <a:pt x="819" y="631"/>
                  <a:pt x="820" y="632"/>
                  <a:pt x="820" y="632"/>
                </a:cubicBezTo>
                <a:close/>
                <a:moveTo>
                  <a:pt x="797" y="657"/>
                </a:moveTo>
                <a:cubicBezTo>
                  <a:pt x="797" y="657"/>
                  <a:pt x="798" y="657"/>
                  <a:pt x="798" y="656"/>
                </a:cubicBezTo>
                <a:cubicBezTo>
                  <a:pt x="799" y="656"/>
                  <a:pt x="799" y="655"/>
                  <a:pt x="800" y="654"/>
                </a:cubicBezTo>
                <a:cubicBezTo>
                  <a:pt x="801" y="653"/>
                  <a:pt x="801" y="652"/>
                  <a:pt x="801" y="652"/>
                </a:cubicBezTo>
                <a:lnTo>
                  <a:pt x="799" y="653"/>
                </a:lnTo>
                <a:cubicBezTo>
                  <a:pt x="797" y="655"/>
                  <a:pt x="796" y="656"/>
                  <a:pt x="796" y="657"/>
                </a:cubicBezTo>
                <a:cubicBezTo>
                  <a:pt x="796" y="657"/>
                  <a:pt x="797" y="657"/>
                  <a:pt x="797" y="657"/>
                </a:cubicBezTo>
                <a:close/>
                <a:moveTo>
                  <a:pt x="776" y="692"/>
                </a:moveTo>
                <a:cubicBezTo>
                  <a:pt x="776" y="692"/>
                  <a:pt x="778" y="691"/>
                  <a:pt x="780" y="689"/>
                </a:cubicBezTo>
                <a:cubicBezTo>
                  <a:pt x="781" y="687"/>
                  <a:pt x="782" y="686"/>
                  <a:pt x="782" y="684"/>
                </a:cubicBezTo>
                <a:cubicBezTo>
                  <a:pt x="782" y="683"/>
                  <a:pt x="783" y="681"/>
                  <a:pt x="785" y="680"/>
                </a:cubicBezTo>
                <a:cubicBezTo>
                  <a:pt x="787" y="679"/>
                  <a:pt x="788" y="678"/>
                  <a:pt x="788" y="677"/>
                </a:cubicBezTo>
                <a:lnTo>
                  <a:pt x="787" y="677"/>
                </a:lnTo>
                <a:cubicBezTo>
                  <a:pt x="787" y="676"/>
                  <a:pt x="790" y="673"/>
                  <a:pt x="796" y="666"/>
                </a:cubicBezTo>
                <a:lnTo>
                  <a:pt x="798" y="663"/>
                </a:lnTo>
                <a:cubicBezTo>
                  <a:pt x="803" y="657"/>
                  <a:pt x="806" y="654"/>
                  <a:pt x="806" y="653"/>
                </a:cubicBezTo>
                <a:cubicBezTo>
                  <a:pt x="805" y="653"/>
                  <a:pt x="803" y="654"/>
                  <a:pt x="800" y="658"/>
                </a:cubicBezTo>
                <a:cubicBezTo>
                  <a:pt x="797" y="661"/>
                  <a:pt x="794" y="666"/>
                  <a:pt x="790" y="670"/>
                </a:cubicBezTo>
                <a:cubicBezTo>
                  <a:pt x="786" y="675"/>
                  <a:pt x="782" y="679"/>
                  <a:pt x="779" y="683"/>
                </a:cubicBezTo>
                <a:cubicBezTo>
                  <a:pt x="776" y="687"/>
                  <a:pt x="775" y="689"/>
                  <a:pt x="774" y="690"/>
                </a:cubicBezTo>
                <a:lnTo>
                  <a:pt x="774" y="691"/>
                </a:lnTo>
                <a:cubicBezTo>
                  <a:pt x="774" y="691"/>
                  <a:pt x="775" y="692"/>
                  <a:pt x="776" y="692"/>
                </a:cubicBezTo>
                <a:close/>
                <a:moveTo>
                  <a:pt x="802" y="637"/>
                </a:moveTo>
                <a:lnTo>
                  <a:pt x="804" y="634"/>
                </a:lnTo>
                <a:lnTo>
                  <a:pt x="806" y="632"/>
                </a:lnTo>
                <a:lnTo>
                  <a:pt x="803" y="634"/>
                </a:lnTo>
                <a:cubicBezTo>
                  <a:pt x="802" y="635"/>
                  <a:pt x="801" y="636"/>
                  <a:pt x="801" y="637"/>
                </a:cubicBezTo>
                <a:cubicBezTo>
                  <a:pt x="801" y="637"/>
                  <a:pt x="801" y="637"/>
                  <a:pt x="802" y="637"/>
                </a:cubicBezTo>
                <a:close/>
                <a:moveTo>
                  <a:pt x="808" y="644"/>
                </a:moveTo>
                <a:lnTo>
                  <a:pt x="811" y="641"/>
                </a:lnTo>
                <a:cubicBezTo>
                  <a:pt x="812" y="639"/>
                  <a:pt x="813" y="638"/>
                  <a:pt x="813" y="637"/>
                </a:cubicBezTo>
                <a:cubicBezTo>
                  <a:pt x="813" y="637"/>
                  <a:pt x="811" y="638"/>
                  <a:pt x="809" y="641"/>
                </a:cubicBezTo>
                <a:cubicBezTo>
                  <a:pt x="808" y="642"/>
                  <a:pt x="808" y="643"/>
                  <a:pt x="808" y="644"/>
                </a:cubicBezTo>
                <a:close/>
                <a:moveTo>
                  <a:pt x="813" y="646"/>
                </a:moveTo>
                <a:cubicBezTo>
                  <a:pt x="813" y="646"/>
                  <a:pt x="817" y="642"/>
                  <a:pt x="824" y="634"/>
                </a:cubicBezTo>
                <a:cubicBezTo>
                  <a:pt x="829" y="628"/>
                  <a:pt x="831" y="625"/>
                  <a:pt x="831" y="625"/>
                </a:cubicBezTo>
                <a:cubicBezTo>
                  <a:pt x="831" y="625"/>
                  <a:pt x="828" y="627"/>
                  <a:pt x="824" y="632"/>
                </a:cubicBezTo>
                <a:cubicBezTo>
                  <a:pt x="821" y="635"/>
                  <a:pt x="819" y="637"/>
                  <a:pt x="818" y="637"/>
                </a:cubicBezTo>
                <a:cubicBezTo>
                  <a:pt x="817" y="637"/>
                  <a:pt x="816" y="638"/>
                  <a:pt x="815" y="641"/>
                </a:cubicBezTo>
                <a:cubicBezTo>
                  <a:pt x="813" y="644"/>
                  <a:pt x="813" y="645"/>
                  <a:pt x="813" y="646"/>
                </a:cubicBezTo>
                <a:close/>
                <a:moveTo>
                  <a:pt x="832" y="621"/>
                </a:moveTo>
                <a:cubicBezTo>
                  <a:pt x="833" y="621"/>
                  <a:pt x="833" y="620"/>
                  <a:pt x="833" y="619"/>
                </a:cubicBezTo>
                <a:cubicBezTo>
                  <a:pt x="833" y="617"/>
                  <a:pt x="833" y="617"/>
                  <a:pt x="832" y="617"/>
                </a:cubicBezTo>
                <a:cubicBezTo>
                  <a:pt x="832" y="617"/>
                  <a:pt x="832" y="617"/>
                  <a:pt x="831" y="617"/>
                </a:cubicBezTo>
                <a:cubicBezTo>
                  <a:pt x="831" y="618"/>
                  <a:pt x="831" y="619"/>
                  <a:pt x="831" y="620"/>
                </a:cubicBezTo>
                <a:lnTo>
                  <a:pt x="831" y="620"/>
                </a:lnTo>
                <a:cubicBezTo>
                  <a:pt x="831" y="620"/>
                  <a:pt x="831" y="621"/>
                  <a:pt x="832" y="621"/>
                </a:cubicBezTo>
                <a:close/>
                <a:moveTo>
                  <a:pt x="836" y="625"/>
                </a:moveTo>
                <a:cubicBezTo>
                  <a:pt x="837" y="625"/>
                  <a:pt x="838" y="623"/>
                  <a:pt x="839" y="619"/>
                </a:cubicBezTo>
                <a:cubicBezTo>
                  <a:pt x="840" y="617"/>
                  <a:pt x="841" y="615"/>
                  <a:pt x="841" y="614"/>
                </a:cubicBezTo>
                <a:cubicBezTo>
                  <a:pt x="841" y="613"/>
                  <a:pt x="840" y="613"/>
                  <a:pt x="840" y="613"/>
                </a:cubicBezTo>
                <a:cubicBezTo>
                  <a:pt x="839" y="613"/>
                  <a:pt x="839" y="613"/>
                  <a:pt x="839" y="613"/>
                </a:cubicBezTo>
                <a:cubicBezTo>
                  <a:pt x="838" y="613"/>
                  <a:pt x="837" y="613"/>
                  <a:pt x="837" y="615"/>
                </a:cubicBezTo>
                <a:cubicBezTo>
                  <a:pt x="837" y="616"/>
                  <a:pt x="837" y="617"/>
                  <a:pt x="837" y="618"/>
                </a:cubicBezTo>
                <a:cubicBezTo>
                  <a:pt x="837" y="619"/>
                  <a:pt x="837" y="620"/>
                  <a:pt x="836" y="621"/>
                </a:cubicBezTo>
                <a:cubicBezTo>
                  <a:pt x="836" y="622"/>
                  <a:pt x="836" y="623"/>
                  <a:pt x="836" y="624"/>
                </a:cubicBezTo>
                <a:cubicBezTo>
                  <a:pt x="836" y="624"/>
                  <a:pt x="836" y="625"/>
                  <a:pt x="836" y="625"/>
                </a:cubicBezTo>
                <a:close/>
                <a:moveTo>
                  <a:pt x="843" y="618"/>
                </a:moveTo>
                <a:cubicBezTo>
                  <a:pt x="843" y="618"/>
                  <a:pt x="844" y="618"/>
                  <a:pt x="845" y="616"/>
                </a:cubicBezTo>
                <a:cubicBezTo>
                  <a:pt x="846" y="615"/>
                  <a:pt x="846" y="613"/>
                  <a:pt x="847" y="611"/>
                </a:cubicBezTo>
                <a:cubicBezTo>
                  <a:pt x="849" y="608"/>
                  <a:pt x="850" y="607"/>
                  <a:pt x="851" y="607"/>
                </a:cubicBezTo>
                <a:lnTo>
                  <a:pt x="853" y="608"/>
                </a:lnTo>
                <a:lnTo>
                  <a:pt x="852" y="606"/>
                </a:lnTo>
                <a:cubicBezTo>
                  <a:pt x="852" y="604"/>
                  <a:pt x="852" y="603"/>
                  <a:pt x="853" y="602"/>
                </a:cubicBezTo>
                <a:cubicBezTo>
                  <a:pt x="853" y="599"/>
                  <a:pt x="855" y="598"/>
                  <a:pt x="856" y="598"/>
                </a:cubicBezTo>
                <a:cubicBezTo>
                  <a:pt x="857" y="598"/>
                  <a:pt x="857" y="598"/>
                  <a:pt x="857" y="599"/>
                </a:cubicBezTo>
                <a:lnTo>
                  <a:pt x="855" y="608"/>
                </a:lnTo>
                <a:lnTo>
                  <a:pt x="857" y="605"/>
                </a:lnTo>
                <a:cubicBezTo>
                  <a:pt x="858" y="604"/>
                  <a:pt x="860" y="603"/>
                  <a:pt x="861" y="602"/>
                </a:cubicBezTo>
                <a:cubicBezTo>
                  <a:pt x="863" y="601"/>
                  <a:pt x="863" y="600"/>
                  <a:pt x="863" y="597"/>
                </a:cubicBezTo>
                <a:cubicBezTo>
                  <a:pt x="863" y="595"/>
                  <a:pt x="864" y="593"/>
                  <a:pt x="865" y="593"/>
                </a:cubicBezTo>
                <a:cubicBezTo>
                  <a:pt x="865" y="594"/>
                  <a:pt x="866" y="595"/>
                  <a:pt x="866" y="597"/>
                </a:cubicBezTo>
                <a:lnTo>
                  <a:pt x="866" y="599"/>
                </a:lnTo>
                <a:cubicBezTo>
                  <a:pt x="867" y="599"/>
                  <a:pt x="869" y="597"/>
                  <a:pt x="872" y="594"/>
                </a:cubicBezTo>
                <a:cubicBezTo>
                  <a:pt x="875" y="592"/>
                  <a:pt x="876" y="591"/>
                  <a:pt x="876" y="590"/>
                </a:cubicBezTo>
                <a:cubicBezTo>
                  <a:pt x="876" y="590"/>
                  <a:pt x="875" y="590"/>
                  <a:pt x="875" y="590"/>
                </a:cubicBezTo>
                <a:cubicBezTo>
                  <a:pt x="873" y="590"/>
                  <a:pt x="872" y="590"/>
                  <a:pt x="872" y="592"/>
                </a:cubicBezTo>
                <a:lnTo>
                  <a:pt x="872" y="592"/>
                </a:lnTo>
                <a:cubicBezTo>
                  <a:pt x="872" y="593"/>
                  <a:pt x="871" y="593"/>
                  <a:pt x="870" y="593"/>
                </a:cubicBezTo>
                <a:cubicBezTo>
                  <a:pt x="869" y="593"/>
                  <a:pt x="869" y="593"/>
                  <a:pt x="869" y="591"/>
                </a:cubicBezTo>
                <a:cubicBezTo>
                  <a:pt x="869" y="590"/>
                  <a:pt x="869" y="589"/>
                  <a:pt x="870" y="588"/>
                </a:cubicBezTo>
                <a:cubicBezTo>
                  <a:pt x="870" y="587"/>
                  <a:pt x="871" y="587"/>
                  <a:pt x="872" y="587"/>
                </a:cubicBezTo>
                <a:cubicBezTo>
                  <a:pt x="874" y="587"/>
                  <a:pt x="875" y="586"/>
                  <a:pt x="875" y="585"/>
                </a:cubicBezTo>
                <a:cubicBezTo>
                  <a:pt x="875" y="585"/>
                  <a:pt x="874" y="584"/>
                  <a:pt x="873" y="583"/>
                </a:cubicBezTo>
                <a:lnTo>
                  <a:pt x="872" y="583"/>
                </a:lnTo>
                <a:cubicBezTo>
                  <a:pt x="871" y="583"/>
                  <a:pt x="870" y="584"/>
                  <a:pt x="868" y="586"/>
                </a:cubicBezTo>
                <a:cubicBezTo>
                  <a:pt x="866" y="588"/>
                  <a:pt x="864" y="590"/>
                  <a:pt x="863" y="590"/>
                </a:cubicBezTo>
                <a:cubicBezTo>
                  <a:pt x="862" y="590"/>
                  <a:pt x="862" y="590"/>
                  <a:pt x="862" y="591"/>
                </a:cubicBezTo>
                <a:lnTo>
                  <a:pt x="862" y="592"/>
                </a:lnTo>
                <a:cubicBezTo>
                  <a:pt x="862" y="592"/>
                  <a:pt x="861" y="593"/>
                  <a:pt x="861" y="593"/>
                </a:cubicBezTo>
                <a:lnTo>
                  <a:pt x="860" y="593"/>
                </a:lnTo>
                <a:cubicBezTo>
                  <a:pt x="858" y="593"/>
                  <a:pt x="854" y="596"/>
                  <a:pt x="849" y="602"/>
                </a:cubicBezTo>
                <a:cubicBezTo>
                  <a:pt x="847" y="605"/>
                  <a:pt x="846" y="607"/>
                  <a:pt x="846" y="608"/>
                </a:cubicBezTo>
                <a:cubicBezTo>
                  <a:pt x="846" y="610"/>
                  <a:pt x="845" y="612"/>
                  <a:pt x="844" y="613"/>
                </a:cubicBezTo>
                <a:cubicBezTo>
                  <a:pt x="844" y="613"/>
                  <a:pt x="843" y="612"/>
                  <a:pt x="843" y="612"/>
                </a:cubicBezTo>
                <a:cubicBezTo>
                  <a:pt x="843" y="609"/>
                  <a:pt x="843" y="607"/>
                  <a:pt x="843" y="607"/>
                </a:cubicBezTo>
                <a:cubicBezTo>
                  <a:pt x="842" y="607"/>
                  <a:pt x="842" y="607"/>
                  <a:pt x="841" y="607"/>
                </a:cubicBezTo>
                <a:cubicBezTo>
                  <a:pt x="840" y="608"/>
                  <a:pt x="839" y="609"/>
                  <a:pt x="839" y="610"/>
                </a:cubicBezTo>
                <a:cubicBezTo>
                  <a:pt x="839" y="611"/>
                  <a:pt x="840" y="612"/>
                  <a:pt x="841" y="613"/>
                </a:cubicBezTo>
                <a:cubicBezTo>
                  <a:pt x="842" y="614"/>
                  <a:pt x="843" y="615"/>
                  <a:pt x="843" y="616"/>
                </a:cubicBezTo>
                <a:lnTo>
                  <a:pt x="843" y="618"/>
                </a:lnTo>
                <a:cubicBezTo>
                  <a:pt x="843" y="618"/>
                  <a:pt x="843" y="618"/>
                  <a:pt x="843" y="618"/>
                </a:cubicBezTo>
                <a:close/>
                <a:moveTo>
                  <a:pt x="876" y="583"/>
                </a:moveTo>
                <a:cubicBezTo>
                  <a:pt x="876" y="583"/>
                  <a:pt x="878" y="582"/>
                  <a:pt x="879" y="581"/>
                </a:cubicBezTo>
                <a:cubicBezTo>
                  <a:pt x="880" y="580"/>
                  <a:pt x="881" y="579"/>
                  <a:pt x="881" y="578"/>
                </a:cubicBezTo>
                <a:cubicBezTo>
                  <a:pt x="881" y="578"/>
                  <a:pt x="880" y="578"/>
                  <a:pt x="880" y="578"/>
                </a:cubicBezTo>
                <a:cubicBezTo>
                  <a:pt x="879" y="578"/>
                  <a:pt x="878" y="578"/>
                  <a:pt x="876" y="579"/>
                </a:cubicBezTo>
                <a:cubicBezTo>
                  <a:pt x="876" y="580"/>
                  <a:pt x="875" y="581"/>
                  <a:pt x="875" y="582"/>
                </a:cubicBezTo>
                <a:cubicBezTo>
                  <a:pt x="875" y="582"/>
                  <a:pt x="875" y="583"/>
                  <a:pt x="876" y="583"/>
                </a:cubicBezTo>
                <a:close/>
                <a:moveTo>
                  <a:pt x="879" y="588"/>
                </a:moveTo>
                <a:cubicBezTo>
                  <a:pt x="881" y="588"/>
                  <a:pt x="884" y="587"/>
                  <a:pt x="888" y="584"/>
                </a:cubicBezTo>
                <a:cubicBezTo>
                  <a:pt x="895" y="581"/>
                  <a:pt x="898" y="578"/>
                  <a:pt x="900" y="576"/>
                </a:cubicBezTo>
                <a:cubicBezTo>
                  <a:pt x="900" y="576"/>
                  <a:pt x="900" y="575"/>
                  <a:pt x="900" y="575"/>
                </a:cubicBezTo>
                <a:lnTo>
                  <a:pt x="902" y="576"/>
                </a:lnTo>
                <a:cubicBezTo>
                  <a:pt x="904" y="576"/>
                  <a:pt x="908" y="575"/>
                  <a:pt x="915" y="572"/>
                </a:cubicBezTo>
                <a:cubicBezTo>
                  <a:pt x="922" y="570"/>
                  <a:pt x="926" y="569"/>
                  <a:pt x="927" y="569"/>
                </a:cubicBezTo>
                <a:lnTo>
                  <a:pt x="929" y="569"/>
                </a:lnTo>
                <a:cubicBezTo>
                  <a:pt x="930" y="569"/>
                  <a:pt x="930" y="568"/>
                  <a:pt x="930" y="568"/>
                </a:cubicBezTo>
                <a:cubicBezTo>
                  <a:pt x="930" y="567"/>
                  <a:pt x="932" y="567"/>
                  <a:pt x="937" y="567"/>
                </a:cubicBezTo>
                <a:lnTo>
                  <a:pt x="941" y="567"/>
                </a:lnTo>
                <a:cubicBezTo>
                  <a:pt x="947" y="567"/>
                  <a:pt x="951" y="566"/>
                  <a:pt x="951" y="565"/>
                </a:cubicBezTo>
                <a:cubicBezTo>
                  <a:pt x="951" y="564"/>
                  <a:pt x="948" y="563"/>
                  <a:pt x="943" y="563"/>
                </a:cubicBezTo>
                <a:cubicBezTo>
                  <a:pt x="940" y="563"/>
                  <a:pt x="935" y="564"/>
                  <a:pt x="930" y="565"/>
                </a:cubicBezTo>
                <a:lnTo>
                  <a:pt x="926" y="565"/>
                </a:lnTo>
                <a:cubicBezTo>
                  <a:pt x="924" y="565"/>
                  <a:pt x="923" y="565"/>
                  <a:pt x="922" y="564"/>
                </a:cubicBezTo>
                <a:cubicBezTo>
                  <a:pt x="922" y="563"/>
                  <a:pt x="921" y="562"/>
                  <a:pt x="920" y="562"/>
                </a:cubicBezTo>
                <a:lnTo>
                  <a:pt x="922" y="565"/>
                </a:lnTo>
                <a:cubicBezTo>
                  <a:pt x="922" y="566"/>
                  <a:pt x="921" y="567"/>
                  <a:pt x="919" y="568"/>
                </a:cubicBezTo>
                <a:cubicBezTo>
                  <a:pt x="918" y="569"/>
                  <a:pt x="916" y="569"/>
                  <a:pt x="914" y="569"/>
                </a:cubicBezTo>
                <a:cubicBezTo>
                  <a:pt x="912" y="569"/>
                  <a:pt x="911" y="569"/>
                  <a:pt x="910" y="568"/>
                </a:cubicBezTo>
                <a:lnTo>
                  <a:pt x="908" y="566"/>
                </a:lnTo>
                <a:lnTo>
                  <a:pt x="907" y="566"/>
                </a:lnTo>
                <a:lnTo>
                  <a:pt x="908" y="570"/>
                </a:lnTo>
                <a:cubicBezTo>
                  <a:pt x="908" y="571"/>
                  <a:pt x="908" y="571"/>
                  <a:pt x="906" y="571"/>
                </a:cubicBezTo>
                <a:cubicBezTo>
                  <a:pt x="905" y="571"/>
                  <a:pt x="904" y="571"/>
                  <a:pt x="904" y="569"/>
                </a:cubicBezTo>
                <a:cubicBezTo>
                  <a:pt x="904" y="568"/>
                  <a:pt x="905" y="568"/>
                  <a:pt x="905" y="567"/>
                </a:cubicBezTo>
                <a:cubicBezTo>
                  <a:pt x="906" y="566"/>
                  <a:pt x="907" y="565"/>
                  <a:pt x="908" y="565"/>
                </a:cubicBezTo>
                <a:cubicBezTo>
                  <a:pt x="908" y="565"/>
                  <a:pt x="909" y="566"/>
                  <a:pt x="910" y="566"/>
                </a:cubicBezTo>
                <a:cubicBezTo>
                  <a:pt x="911" y="566"/>
                  <a:pt x="911" y="567"/>
                  <a:pt x="912" y="567"/>
                </a:cubicBezTo>
                <a:cubicBezTo>
                  <a:pt x="912" y="567"/>
                  <a:pt x="912" y="566"/>
                  <a:pt x="912" y="566"/>
                </a:cubicBezTo>
                <a:lnTo>
                  <a:pt x="912" y="564"/>
                </a:lnTo>
                <a:cubicBezTo>
                  <a:pt x="913" y="564"/>
                  <a:pt x="913" y="565"/>
                  <a:pt x="914" y="566"/>
                </a:cubicBezTo>
                <a:cubicBezTo>
                  <a:pt x="915" y="567"/>
                  <a:pt x="915" y="567"/>
                  <a:pt x="915" y="567"/>
                </a:cubicBezTo>
                <a:cubicBezTo>
                  <a:pt x="915" y="567"/>
                  <a:pt x="916" y="567"/>
                  <a:pt x="916" y="566"/>
                </a:cubicBezTo>
                <a:cubicBezTo>
                  <a:pt x="916" y="565"/>
                  <a:pt x="916" y="565"/>
                  <a:pt x="917" y="565"/>
                </a:cubicBezTo>
                <a:lnTo>
                  <a:pt x="918" y="565"/>
                </a:lnTo>
                <a:cubicBezTo>
                  <a:pt x="919" y="565"/>
                  <a:pt x="919" y="564"/>
                  <a:pt x="919" y="563"/>
                </a:cubicBezTo>
                <a:lnTo>
                  <a:pt x="919" y="563"/>
                </a:lnTo>
                <a:cubicBezTo>
                  <a:pt x="919" y="561"/>
                  <a:pt x="920" y="560"/>
                  <a:pt x="922" y="560"/>
                </a:cubicBezTo>
                <a:cubicBezTo>
                  <a:pt x="924" y="560"/>
                  <a:pt x="925" y="561"/>
                  <a:pt x="926" y="562"/>
                </a:cubicBezTo>
                <a:cubicBezTo>
                  <a:pt x="926" y="563"/>
                  <a:pt x="926" y="563"/>
                  <a:pt x="926" y="563"/>
                </a:cubicBezTo>
                <a:cubicBezTo>
                  <a:pt x="927" y="563"/>
                  <a:pt x="927" y="562"/>
                  <a:pt x="928" y="561"/>
                </a:cubicBezTo>
                <a:cubicBezTo>
                  <a:pt x="930" y="559"/>
                  <a:pt x="931" y="559"/>
                  <a:pt x="932" y="559"/>
                </a:cubicBezTo>
                <a:cubicBezTo>
                  <a:pt x="932" y="559"/>
                  <a:pt x="932" y="559"/>
                  <a:pt x="932" y="559"/>
                </a:cubicBezTo>
                <a:lnTo>
                  <a:pt x="931" y="562"/>
                </a:lnTo>
                <a:lnTo>
                  <a:pt x="932" y="561"/>
                </a:lnTo>
                <a:cubicBezTo>
                  <a:pt x="934" y="560"/>
                  <a:pt x="936" y="559"/>
                  <a:pt x="938" y="559"/>
                </a:cubicBezTo>
                <a:cubicBezTo>
                  <a:pt x="939" y="559"/>
                  <a:pt x="941" y="559"/>
                  <a:pt x="942" y="558"/>
                </a:cubicBezTo>
                <a:cubicBezTo>
                  <a:pt x="943" y="557"/>
                  <a:pt x="944" y="557"/>
                  <a:pt x="944" y="557"/>
                </a:cubicBezTo>
                <a:lnTo>
                  <a:pt x="943" y="559"/>
                </a:lnTo>
                <a:cubicBezTo>
                  <a:pt x="943" y="560"/>
                  <a:pt x="945" y="560"/>
                  <a:pt x="948" y="560"/>
                </a:cubicBezTo>
                <a:cubicBezTo>
                  <a:pt x="951" y="560"/>
                  <a:pt x="954" y="561"/>
                  <a:pt x="956" y="561"/>
                </a:cubicBezTo>
                <a:cubicBezTo>
                  <a:pt x="958" y="561"/>
                  <a:pt x="959" y="562"/>
                  <a:pt x="959" y="563"/>
                </a:cubicBezTo>
                <a:cubicBezTo>
                  <a:pt x="959" y="563"/>
                  <a:pt x="959" y="563"/>
                  <a:pt x="958" y="564"/>
                </a:cubicBezTo>
                <a:cubicBezTo>
                  <a:pt x="957" y="564"/>
                  <a:pt x="956" y="565"/>
                  <a:pt x="956" y="565"/>
                </a:cubicBezTo>
                <a:cubicBezTo>
                  <a:pt x="956" y="566"/>
                  <a:pt x="957" y="566"/>
                  <a:pt x="959" y="566"/>
                </a:cubicBezTo>
                <a:lnTo>
                  <a:pt x="960" y="567"/>
                </a:lnTo>
                <a:cubicBezTo>
                  <a:pt x="961" y="567"/>
                  <a:pt x="962" y="566"/>
                  <a:pt x="962" y="565"/>
                </a:cubicBezTo>
                <a:cubicBezTo>
                  <a:pt x="962" y="564"/>
                  <a:pt x="960" y="562"/>
                  <a:pt x="956" y="560"/>
                </a:cubicBezTo>
                <a:cubicBezTo>
                  <a:pt x="952" y="557"/>
                  <a:pt x="946" y="556"/>
                  <a:pt x="939" y="556"/>
                </a:cubicBezTo>
                <a:cubicBezTo>
                  <a:pt x="932" y="556"/>
                  <a:pt x="928" y="557"/>
                  <a:pt x="926" y="559"/>
                </a:cubicBezTo>
                <a:lnTo>
                  <a:pt x="926" y="560"/>
                </a:lnTo>
                <a:lnTo>
                  <a:pt x="925" y="559"/>
                </a:lnTo>
                <a:cubicBezTo>
                  <a:pt x="925" y="558"/>
                  <a:pt x="925" y="558"/>
                  <a:pt x="923" y="558"/>
                </a:cubicBezTo>
                <a:lnTo>
                  <a:pt x="914" y="560"/>
                </a:lnTo>
                <a:cubicBezTo>
                  <a:pt x="907" y="563"/>
                  <a:pt x="904" y="564"/>
                  <a:pt x="904" y="566"/>
                </a:cubicBezTo>
                <a:cubicBezTo>
                  <a:pt x="904" y="566"/>
                  <a:pt x="902" y="566"/>
                  <a:pt x="900" y="567"/>
                </a:cubicBezTo>
                <a:cubicBezTo>
                  <a:pt x="898" y="567"/>
                  <a:pt x="896" y="568"/>
                  <a:pt x="896" y="569"/>
                </a:cubicBezTo>
                <a:cubicBezTo>
                  <a:pt x="896" y="570"/>
                  <a:pt x="895" y="570"/>
                  <a:pt x="894" y="570"/>
                </a:cubicBezTo>
                <a:lnTo>
                  <a:pt x="892" y="570"/>
                </a:lnTo>
                <a:cubicBezTo>
                  <a:pt x="890" y="570"/>
                  <a:pt x="889" y="571"/>
                  <a:pt x="888" y="572"/>
                </a:cubicBezTo>
                <a:cubicBezTo>
                  <a:pt x="887" y="573"/>
                  <a:pt x="886" y="574"/>
                  <a:pt x="886" y="574"/>
                </a:cubicBezTo>
                <a:cubicBezTo>
                  <a:pt x="886" y="575"/>
                  <a:pt x="887" y="575"/>
                  <a:pt x="888" y="575"/>
                </a:cubicBezTo>
                <a:cubicBezTo>
                  <a:pt x="889" y="575"/>
                  <a:pt x="889" y="576"/>
                  <a:pt x="889" y="578"/>
                </a:cubicBezTo>
                <a:cubicBezTo>
                  <a:pt x="889" y="579"/>
                  <a:pt x="889" y="580"/>
                  <a:pt x="887" y="582"/>
                </a:cubicBezTo>
                <a:cubicBezTo>
                  <a:pt x="886" y="583"/>
                  <a:pt x="885" y="583"/>
                  <a:pt x="883" y="583"/>
                </a:cubicBezTo>
                <a:cubicBezTo>
                  <a:pt x="883" y="583"/>
                  <a:pt x="882" y="583"/>
                  <a:pt x="881" y="583"/>
                </a:cubicBezTo>
                <a:cubicBezTo>
                  <a:pt x="881" y="583"/>
                  <a:pt x="880" y="583"/>
                  <a:pt x="880" y="583"/>
                </a:cubicBezTo>
                <a:lnTo>
                  <a:pt x="879" y="583"/>
                </a:lnTo>
                <a:lnTo>
                  <a:pt x="879" y="588"/>
                </a:lnTo>
                <a:cubicBezTo>
                  <a:pt x="879" y="588"/>
                  <a:pt x="879" y="588"/>
                  <a:pt x="879" y="588"/>
                </a:cubicBezTo>
                <a:close/>
                <a:moveTo>
                  <a:pt x="737" y="756"/>
                </a:moveTo>
                <a:lnTo>
                  <a:pt x="737" y="754"/>
                </a:lnTo>
                <a:cubicBezTo>
                  <a:pt x="737" y="752"/>
                  <a:pt x="738" y="752"/>
                  <a:pt x="739" y="751"/>
                </a:cubicBezTo>
                <a:cubicBezTo>
                  <a:pt x="739" y="751"/>
                  <a:pt x="739" y="752"/>
                  <a:pt x="739" y="752"/>
                </a:cubicBezTo>
                <a:cubicBezTo>
                  <a:pt x="739" y="752"/>
                  <a:pt x="739" y="753"/>
                  <a:pt x="739" y="754"/>
                </a:cubicBezTo>
                <a:cubicBezTo>
                  <a:pt x="738" y="755"/>
                  <a:pt x="738" y="756"/>
                  <a:pt x="737" y="756"/>
                </a:cubicBezTo>
                <a:close/>
                <a:moveTo>
                  <a:pt x="893" y="578"/>
                </a:moveTo>
                <a:cubicBezTo>
                  <a:pt x="892" y="578"/>
                  <a:pt x="891" y="577"/>
                  <a:pt x="891" y="575"/>
                </a:cubicBezTo>
                <a:lnTo>
                  <a:pt x="891" y="574"/>
                </a:lnTo>
                <a:cubicBezTo>
                  <a:pt x="891" y="572"/>
                  <a:pt x="891" y="571"/>
                  <a:pt x="892" y="571"/>
                </a:cubicBezTo>
                <a:cubicBezTo>
                  <a:pt x="893" y="571"/>
                  <a:pt x="894" y="572"/>
                  <a:pt x="894" y="573"/>
                </a:cubicBezTo>
                <a:cubicBezTo>
                  <a:pt x="894" y="573"/>
                  <a:pt x="894" y="573"/>
                  <a:pt x="895" y="573"/>
                </a:cubicBezTo>
                <a:cubicBezTo>
                  <a:pt x="895" y="573"/>
                  <a:pt x="896" y="573"/>
                  <a:pt x="898" y="571"/>
                </a:cubicBezTo>
                <a:cubicBezTo>
                  <a:pt x="899" y="569"/>
                  <a:pt x="900" y="568"/>
                  <a:pt x="900" y="568"/>
                </a:cubicBezTo>
                <a:cubicBezTo>
                  <a:pt x="901" y="568"/>
                  <a:pt x="902" y="569"/>
                  <a:pt x="903" y="570"/>
                </a:cubicBezTo>
                <a:cubicBezTo>
                  <a:pt x="903" y="572"/>
                  <a:pt x="904" y="573"/>
                  <a:pt x="904" y="574"/>
                </a:cubicBezTo>
                <a:cubicBezTo>
                  <a:pt x="904" y="575"/>
                  <a:pt x="903" y="575"/>
                  <a:pt x="903" y="575"/>
                </a:cubicBezTo>
                <a:cubicBezTo>
                  <a:pt x="903" y="575"/>
                  <a:pt x="902" y="575"/>
                  <a:pt x="902" y="574"/>
                </a:cubicBezTo>
                <a:cubicBezTo>
                  <a:pt x="901" y="573"/>
                  <a:pt x="901" y="573"/>
                  <a:pt x="900" y="573"/>
                </a:cubicBezTo>
                <a:cubicBezTo>
                  <a:pt x="900" y="573"/>
                  <a:pt x="899" y="574"/>
                  <a:pt x="897" y="576"/>
                </a:cubicBezTo>
                <a:cubicBezTo>
                  <a:pt x="895" y="578"/>
                  <a:pt x="894" y="578"/>
                  <a:pt x="893" y="578"/>
                </a:cubicBezTo>
                <a:close/>
                <a:moveTo>
                  <a:pt x="861" y="601"/>
                </a:moveTo>
                <a:cubicBezTo>
                  <a:pt x="860" y="601"/>
                  <a:pt x="860" y="600"/>
                  <a:pt x="860" y="600"/>
                </a:cubicBezTo>
                <a:cubicBezTo>
                  <a:pt x="860" y="599"/>
                  <a:pt x="860" y="598"/>
                  <a:pt x="860" y="598"/>
                </a:cubicBezTo>
                <a:lnTo>
                  <a:pt x="861" y="597"/>
                </a:lnTo>
                <a:cubicBezTo>
                  <a:pt x="862" y="597"/>
                  <a:pt x="862" y="598"/>
                  <a:pt x="862" y="599"/>
                </a:cubicBezTo>
                <a:cubicBezTo>
                  <a:pt x="862" y="600"/>
                  <a:pt x="861" y="601"/>
                  <a:pt x="861" y="601"/>
                </a:cubicBezTo>
                <a:close/>
                <a:moveTo>
                  <a:pt x="974" y="650"/>
                </a:moveTo>
                <a:cubicBezTo>
                  <a:pt x="973" y="650"/>
                  <a:pt x="973" y="650"/>
                  <a:pt x="973" y="649"/>
                </a:cubicBezTo>
                <a:lnTo>
                  <a:pt x="973" y="648"/>
                </a:lnTo>
                <a:cubicBezTo>
                  <a:pt x="974" y="647"/>
                  <a:pt x="975" y="646"/>
                  <a:pt x="976" y="646"/>
                </a:cubicBezTo>
                <a:cubicBezTo>
                  <a:pt x="976" y="646"/>
                  <a:pt x="977" y="647"/>
                  <a:pt x="977" y="647"/>
                </a:cubicBezTo>
                <a:cubicBezTo>
                  <a:pt x="977" y="647"/>
                  <a:pt x="977" y="648"/>
                  <a:pt x="976" y="649"/>
                </a:cubicBezTo>
                <a:cubicBezTo>
                  <a:pt x="976" y="650"/>
                  <a:pt x="975" y="650"/>
                  <a:pt x="974" y="650"/>
                </a:cubicBezTo>
                <a:close/>
                <a:moveTo>
                  <a:pt x="1017" y="641"/>
                </a:moveTo>
                <a:cubicBezTo>
                  <a:pt x="1015" y="641"/>
                  <a:pt x="1014" y="640"/>
                  <a:pt x="1014" y="639"/>
                </a:cubicBezTo>
                <a:cubicBezTo>
                  <a:pt x="1014" y="638"/>
                  <a:pt x="1015" y="637"/>
                  <a:pt x="1016" y="637"/>
                </a:cubicBezTo>
                <a:cubicBezTo>
                  <a:pt x="1017" y="637"/>
                  <a:pt x="1017" y="637"/>
                  <a:pt x="1018" y="638"/>
                </a:cubicBezTo>
                <a:cubicBezTo>
                  <a:pt x="1019" y="638"/>
                  <a:pt x="1019" y="639"/>
                  <a:pt x="1019" y="640"/>
                </a:cubicBezTo>
                <a:cubicBezTo>
                  <a:pt x="1019" y="641"/>
                  <a:pt x="1019" y="641"/>
                  <a:pt x="1017" y="641"/>
                </a:cubicBezTo>
                <a:close/>
                <a:moveTo>
                  <a:pt x="1025" y="639"/>
                </a:moveTo>
                <a:cubicBezTo>
                  <a:pt x="1024" y="639"/>
                  <a:pt x="1022" y="638"/>
                  <a:pt x="1022" y="637"/>
                </a:cubicBezTo>
                <a:lnTo>
                  <a:pt x="1022" y="637"/>
                </a:lnTo>
                <a:cubicBezTo>
                  <a:pt x="1022" y="636"/>
                  <a:pt x="1022" y="636"/>
                  <a:pt x="1022" y="636"/>
                </a:cubicBezTo>
                <a:cubicBezTo>
                  <a:pt x="1022" y="635"/>
                  <a:pt x="1021" y="635"/>
                  <a:pt x="1020" y="634"/>
                </a:cubicBezTo>
                <a:cubicBezTo>
                  <a:pt x="1020" y="634"/>
                  <a:pt x="1021" y="634"/>
                  <a:pt x="1022" y="634"/>
                </a:cubicBezTo>
                <a:cubicBezTo>
                  <a:pt x="1024" y="634"/>
                  <a:pt x="1025" y="634"/>
                  <a:pt x="1025" y="634"/>
                </a:cubicBezTo>
                <a:lnTo>
                  <a:pt x="1025" y="637"/>
                </a:lnTo>
                <a:cubicBezTo>
                  <a:pt x="1025" y="637"/>
                  <a:pt x="1026" y="637"/>
                  <a:pt x="1027" y="636"/>
                </a:cubicBezTo>
                <a:cubicBezTo>
                  <a:pt x="1027" y="635"/>
                  <a:pt x="1029" y="635"/>
                  <a:pt x="1031" y="635"/>
                </a:cubicBezTo>
                <a:cubicBezTo>
                  <a:pt x="1032" y="635"/>
                  <a:pt x="1033" y="635"/>
                  <a:pt x="1033" y="634"/>
                </a:cubicBezTo>
                <a:lnTo>
                  <a:pt x="1032" y="634"/>
                </a:lnTo>
                <a:cubicBezTo>
                  <a:pt x="1032" y="633"/>
                  <a:pt x="1034" y="632"/>
                  <a:pt x="1037" y="632"/>
                </a:cubicBezTo>
                <a:lnTo>
                  <a:pt x="1041" y="631"/>
                </a:lnTo>
                <a:cubicBezTo>
                  <a:pt x="1043" y="631"/>
                  <a:pt x="1044" y="632"/>
                  <a:pt x="1044" y="632"/>
                </a:cubicBezTo>
                <a:cubicBezTo>
                  <a:pt x="1044" y="633"/>
                  <a:pt x="1044" y="634"/>
                  <a:pt x="1043" y="635"/>
                </a:cubicBezTo>
                <a:cubicBezTo>
                  <a:pt x="1042" y="636"/>
                  <a:pt x="1041" y="636"/>
                  <a:pt x="1039" y="637"/>
                </a:cubicBezTo>
                <a:cubicBezTo>
                  <a:pt x="1037" y="637"/>
                  <a:pt x="1034" y="638"/>
                  <a:pt x="1032" y="638"/>
                </a:cubicBezTo>
                <a:cubicBezTo>
                  <a:pt x="1029" y="638"/>
                  <a:pt x="1027" y="639"/>
                  <a:pt x="1025" y="639"/>
                </a:cubicBezTo>
                <a:close/>
                <a:moveTo>
                  <a:pt x="980" y="648"/>
                </a:moveTo>
                <a:lnTo>
                  <a:pt x="979" y="648"/>
                </a:lnTo>
                <a:cubicBezTo>
                  <a:pt x="979" y="647"/>
                  <a:pt x="979" y="647"/>
                  <a:pt x="979" y="647"/>
                </a:cubicBezTo>
                <a:cubicBezTo>
                  <a:pt x="979" y="647"/>
                  <a:pt x="980" y="646"/>
                  <a:pt x="981" y="646"/>
                </a:cubicBezTo>
                <a:lnTo>
                  <a:pt x="983" y="645"/>
                </a:lnTo>
                <a:cubicBezTo>
                  <a:pt x="983" y="645"/>
                  <a:pt x="983" y="645"/>
                  <a:pt x="983" y="646"/>
                </a:cubicBezTo>
                <a:lnTo>
                  <a:pt x="983" y="647"/>
                </a:lnTo>
                <a:cubicBezTo>
                  <a:pt x="983" y="647"/>
                  <a:pt x="982" y="647"/>
                  <a:pt x="982" y="648"/>
                </a:cubicBezTo>
                <a:cubicBezTo>
                  <a:pt x="981" y="648"/>
                  <a:pt x="980" y="648"/>
                  <a:pt x="980" y="648"/>
                </a:cubicBezTo>
                <a:close/>
                <a:moveTo>
                  <a:pt x="997" y="644"/>
                </a:moveTo>
                <a:cubicBezTo>
                  <a:pt x="997" y="644"/>
                  <a:pt x="996" y="644"/>
                  <a:pt x="996" y="644"/>
                </a:cubicBezTo>
                <a:lnTo>
                  <a:pt x="1000" y="642"/>
                </a:lnTo>
                <a:lnTo>
                  <a:pt x="1000" y="642"/>
                </a:lnTo>
                <a:lnTo>
                  <a:pt x="1000" y="643"/>
                </a:lnTo>
                <a:cubicBezTo>
                  <a:pt x="1000" y="644"/>
                  <a:pt x="999" y="644"/>
                  <a:pt x="997" y="644"/>
                </a:cubicBezTo>
                <a:close/>
                <a:moveTo>
                  <a:pt x="1006" y="643"/>
                </a:moveTo>
                <a:cubicBezTo>
                  <a:pt x="1004" y="643"/>
                  <a:pt x="1003" y="642"/>
                  <a:pt x="1003" y="642"/>
                </a:cubicBezTo>
                <a:lnTo>
                  <a:pt x="1003" y="641"/>
                </a:lnTo>
                <a:cubicBezTo>
                  <a:pt x="1004" y="640"/>
                  <a:pt x="1005" y="639"/>
                  <a:pt x="1008" y="639"/>
                </a:cubicBezTo>
                <a:cubicBezTo>
                  <a:pt x="1009" y="640"/>
                  <a:pt x="1010" y="640"/>
                  <a:pt x="1010" y="641"/>
                </a:cubicBezTo>
                <a:cubicBezTo>
                  <a:pt x="1010" y="642"/>
                  <a:pt x="1009" y="643"/>
                  <a:pt x="1006" y="643"/>
                </a:cubicBezTo>
                <a:close/>
                <a:moveTo>
                  <a:pt x="790" y="716"/>
                </a:moveTo>
                <a:cubicBezTo>
                  <a:pt x="790" y="716"/>
                  <a:pt x="789" y="715"/>
                  <a:pt x="789" y="713"/>
                </a:cubicBezTo>
                <a:cubicBezTo>
                  <a:pt x="789" y="712"/>
                  <a:pt x="789" y="711"/>
                  <a:pt x="790" y="711"/>
                </a:cubicBezTo>
                <a:lnTo>
                  <a:pt x="791" y="712"/>
                </a:lnTo>
                <a:cubicBezTo>
                  <a:pt x="791" y="712"/>
                  <a:pt x="792" y="713"/>
                  <a:pt x="792" y="713"/>
                </a:cubicBezTo>
                <a:lnTo>
                  <a:pt x="792" y="714"/>
                </a:lnTo>
                <a:cubicBezTo>
                  <a:pt x="791" y="715"/>
                  <a:pt x="791" y="716"/>
                  <a:pt x="790" y="716"/>
                </a:cubicBezTo>
                <a:close/>
                <a:moveTo>
                  <a:pt x="763" y="666"/>
                </a:moveTo>
                <a:cubicBezTo>
                  <a:pt x="763" y="666"/>
                  <a:pt x="763" y="665"/>
                  <a:pt x="763" y="663"/>
                </a:cubicBezTo>
                <a:lnTo>
                  <a:pt x="763" y="661"/>
                </a:lnTo>
                <a:cubicBezTo>
                  <a:pt x="763" y="660"/>
                  <a:pt x="763" y="659"/>
                  <a:pt x="764" y="659"/>
                </a:cubicBezTo>
                <a:cubicBezTo>
                  <a:pt x="765" y="659"/>
                  <a:pt x="765" y="660"/>
                  <a:pt x="765" y="661"/>
                </a:cubicBezTo>
                <a:cubicBezTo>
                  <a:pt x="765" y="662"/>
                  <a:pt x="765" y="663"/>
                  <a:pt x="764" y="664"/>
                </a:cubicBezTo>
                <a:cubicBezTo>
                  <a:pt x="764" y="665"/>
                  <a:pt x="764" y="666"/>
                  <a:pt x="763" y="666"/>
                </a:cubicBezTo>
                <a:close/>
                <a:moveTo>
                  <a:pt x="851" y="423"/>
                </a:moveTo>
                <a:cubicBezTo>
                  <a:pt x="851" y="423"/>
                  <a:pt x="850" y="422"/>
                  <a:pt x="850" y="421"/>
                </a:cubicBezTo>
                <a:lnTo>
                  <a:pt x="849" y="420"/>
                </a:lnTo>
                <a:cubicBezTo>
                  <a:pt x="849" y="419"/>
                  <a:pt x="850" y="419"/>
                  <a:pt x="850" y="419"/>
                </a:cubicBezTo>
                <a:cubicBezTo>
                  <a:pt x="851" y="419"/>
                  <a:pt x="852" y="420"/>
                  <a:pt x="852" y="421"/>
                </a:cubicBezTo>
                <a:cubicBezTo>
                  <a:pt x="852" y="422"/>
                  <a:pt x="852" y="423"/>
                  <a:pt x="851" y="423"/>
                </a:cubicBezTo>
                <a:close/>
                <a:moveTo>
                  <a:pt x="835" y="428"/>
                </a:moveTo>
                <a:lnTo>
                  <a:pt x="834" y="428"/>
                </a:lnTo>
                <a:lnTo>
                  <a:pt x="835" y="425"/>
                </a:lnTo>
                <a:cubicBezTo>
                  <a:pt x="836" y="422"/>
                  <a:pt x="837" y="421"/>
                  <a:pt x="838" y="421"/>
                </a:cubicBezTo>
                <a:lnTo>
                  <a:pt x="838" y="422"/>
                </a:lnTo>
                <a:cubicBezTo>
                  <a:pt x="838" y="422"/>
                  <a:pt x="837" y="423"/>
                  <a:pt x="837" y="425"/>
                </a:cubicBezTo>
                <a:cubicBezTo>
                  <a:pt x="836" y="427"/>
                  <a:pt x="836" y="428"/>
                  <a:pt x="835" y="428"/>
                </a:cubicBezTo>
                <a:close/>
                <a:moveTo>
                  <a:pt x="845" y="422"/>
                </a:moveTo>
                <a:lnTo>
                  <a:pt x="844" y="422"/>
                </a:lnTo>
                <a:cubicBezTo>
                  <a:pt x="844" y="422"/>
                  <a:pt x="843" y="422"/>
                  <a:pt x="843" y="421"/>
                </a:cubicBezTo>
                <a:cubicBezTo>
                  <a:pt x="843" y="420"/>
                  <a:pt x="844" y="419"/>
                  <a:pt x="845" y="418"/>
                </a:cubicBezTo>
                <a:lnTo>
                  <a:pt x="845" y="418"/>
                </a:lnTo>
                <a:cubicBezTo>
                  <a:pt x="846" y="418"/>
                  <a:pt x="846" y="419"/>
                  <a:pt x="847" y="419"/>
                </a:cubicBezTo>
                <a:cubicBezTo>
                  <a:pt x="847" y="420"/>
                  <a:pt x="846" y="421"/>
                  <a:pt x="845" y="422"/>
                </a:cubicBezTo>
                <a:close/>
                <a:moveTo>
                  <a:pt x="840" y="415"/>
                </a:moveTo>
                <a:lnTo>
                  <a:pt x="839" y="415"/>
                </a:lnTo>
                <a:lnTo>
                  <a:pt x="840" y="413"/>
                </a:lnTo>
                <a:cubicBezTo>
                  <a:pt x="841" y="412"/>
                  <a:pt x="841" y="411"/>
                  <a:pt x="841" y="411"/>
                </a:cubicBezTo>
                <a:cubicBezTo>
                  <a:pt x="842" y="411"/>
                  <a:pt x="842" y="411"/>
                  <a:pt x="842" y="411"/>
                </a:cubicBezTo>
                <a:cubicBezTo>
                  <a:pt x="842" y="412"/>
                  <a:pt x="842" y="413"/>
                  <a:pt x="841" y="414"/>
                </a:cubicBezTo>
                <a:cubicBezTo>
                  <a:pt x="841" y="414"/>
                  <a:pt x="840" y="415"/>
                  <a:pt x="840" y="415"/>
                </a:cubicBezTo>
                <a:close/>
                <a:moveTo>
                  <a:pt x="800" y="617"/>
                </a:moveTo>
                <a:lnTo>
                  <a:pt x="800" y="617"/>
                </a:lnTo>
                <a:cubicBezTo>
                  <a:pt x="800" y="615"/>
                  <a:pt x="802" y="610"/>
                  <a:pt x="805" y="602"/>
                </a:cubicBezTo>
                <a:cubicBezTo>
                  <a:pt x="808" y="594"/>
                  <a:pt x="809" y="590"/>
                  <a:pt x="810" y="590"/>
                </a:cubicBezTo>
                <a:cubicBezTo>
                  <a:pt x="810" y="590"/>
                  <a:pt x="810" y="589"/>
                  <a:pt x="810" y="589"/>
                </a:cubicBezTo>
                <a:lnTo>
                  <a:pt x="809" y="586"/>
                </a:lnTo>
                <a:cubicBezTo>
                  <a:pt x="809" y="586"/>
                  <a:pt x="810" y="586"/>
                  <a:pt x="811" y="586"/>
                </a:cubicBezTo>
                <a:cubicBezTo>
                  <a:pt x="811" y="586"/>
                  <a:pt x="812" y="586"/>
                  <a:pt x="812" y="585"/>
                </a:cubicBezTo>
                <a:lnTo>
                  <a:pt x="811" y="583"/>
                </a:lnTo>
                <a:cubicBezTo>
                  <a:pt x="811" y="583"/>
                  <a:pt x="812" y="581"/>
                  <a:pt x="813" y="580"/>
                </a:cubicBezTo>
                <a:cubicBezTo>
                  <a:pt x="813" y="579"/>
                  <a:pt x="814" y="578"/>
                  <a:pt x="814" y="577"/>
                </a:cubicBezTo>
                <a:lnTo>
                  <a:pt x="813" y="575"/>
                </a:lnTo>
                <a:cubicBezTo>
                  <a:pt x="813" y="575"/>
                  <a:pt x="814" y="575"/>
                  <a:pt x="814" y="575"/>
                </a:cubicBezTo>
                <a:cubicBezTo>
                  <a:pt x="815" y="575"/>
                  <a:pt x="816" y="575"/>
                  <a:pt x="816" y="574"/>
                </a:cubicBezTo>
                <a:lnTo>
                  <a:pt x="815" y="573"/>
                </a:lnTo>
                <a:cubicBezTo>
                  <a:pt x="815" y="573"/>
                  <a:pt x="815" y="573"/>
                  <a:pt x="815" y="572"/>
                </a:cubicBezTo>
                <a:cubicBezTo>
                  <a:pt x="815" y="572"/>
                  <a:pt x="815" y="571"/>
                  <a:pt x="816" y="571"/>
                </a:cubicBezTo>
                <a:cubicBezTo>
                  <a:pt x="817" y="571"/>
                  <a:pt x="817" y="571"/>
                  <a:pt x="817" y="570"/>
                </a:cubicBezTo>
                <a:lnTo>
                  <a:pt x="817" y="569"/>
                </a:lnTo>
                <a:cubicBezTo>
                  <a:pt x="817" y="568"/>
                  <a:pt x="817" y="567"/>
                  <a:pt x="818" y="566"/>
                </a:cubicBezTo>
                <a:cubicBezTo>
                  <a:pt x="819" y="564"/>
                  <a:pt x="819" y="563"/>
                  <a:pt x="819" y="562"/>
                </a:cubicBezTo>
                <a:lnTo>
                  <a:pt x="819" y="561"/>
                </a:lnTo>
                <a:cubicBezTo>
                  <a:pt x="819" y="561"/>
                  <a:pt x="819" y="560"/>
                  <a:pt x="820" y="560"/>
                </a:cubicBezTo>
                <a:cubicBezTo>
                  <a:pt x="821" y="560"/>
                  <a:pt x="821" y="560"/>
                  <a:pt x="821" y="559"/>
                </a:cubicBezTo>
                <a:lnTo>
                  <a:pt x="821" y="558"/>
                </a:lnTo>
                <a:cubicBezTo>
                  <a:pt x="821" y="557"/>
                  <a:pt x="821" y="556"/>
                  <a:pt x="821" y="554"/>
                </a:cubicBezTo>
                <a:cubicBezTo>
                  <a:pt x="822" y="553"/>
                  <a:pt x="822" y="551"/>
                  <a:pt x="823" y="551"/>
                </a:cubicBezTo>
                <a:cubicBezTo>
                  <a:pt x="823" y="550"/>
                  <a:pt x="824" y="549"/>
                  <a:pt x="824" y="549"/>
                </a:cubicBezTo>
                <a:cubicBezTo>
                  <a:pt x="824" y="549"/>
                  <a:pt x="825" y="549"/>
                  <a:pt x="825" y="549"/>
                </a:cubicBezTo>
                <a:lnTo>
                  <a:pt x="825" y="548"/>
                </a:lnTo>
                <a:cubicBezTo>
                  <a:pt x="825" y="545"/>
                  <a:pt x="829" y="534"/>
                  <a:pt x="836" y="514"/>
                </a:cubicBezTo>
                <a:cubicBezTo>
                  <a:pt x="844" y="495"/>
                  <a:pt x="848" y="485"/>
                  <a:pt x="849" y="485"/>
                </a:cubicBezTo>
                <a:cubicBezTo>
                  <a:pt x="850" y="485"/>
                  <a:pt x="851" y="486"/>
                  <a:pt x="851" y="486"/>
                </a:cubicBezTo>
                <a:lnTo>
                  <a:pt x="850" y="487"/>
                </a:lnTo>
                <a:cubicBezTo>
                  <a:pt x="849" y="487"/>
                  <a:pt x="847" y="493"/>
                  <a:pt x="843" y="505"/>
                </a:cubicBezTo>
                <a:cubicBezTo>
                  <a:pt x="838" y="516"/>
                  <a:pt x="833" y="530"/>
                  <a:pt x="827" y="546"/>
                </a:cubicBezTo>
                <a:cubicBezTo>
                  <a:pt x="811" y="594"/>
                  <a:pt x="802" y="617"/>
                  <a:pt x="800" y="617"/>
                </a:cubicBezTo>
                <a:close/>
                <a:moveTo>
                  <a:pt x="849" y="483"/>
                </a:moveTo>
                <a:cubicBezTo>
                  <a:pt x="848" y="483"/>
                  <a:pt x="848" y="483"/>
                  <a:pt x="848" y="482"/>
                </a:cubicBezTo>
                <a:lnTo>
                  <a:pt x="849" y="479"/>
                </a:lnTo>
                <a:cubicBezTo>
                  <a:pt x="850" y="476"/>
                  <a:pt x="851" y="474"/>
                  <a:pt x="853" y="474"/>
                </a:cubicBezTo>
                <a:cubicBezTo>
                  <a:pt x="853" y="474"/>
                  <a:pt x="854" y="475"/>
                  <a:pt x="854" y="475"/>
                </a:cubicBezTo>
                <a:cubicBezTo>
                  <a:pt x="854" y="475"/>
                  <a:pt x="853" y="476"/>
                  <a:pt x="853" y="477"/>
                </a:cubicBezTo>
                <a:lnTo>
                  <a:pt x="851" y="481"/>
                </a:lnTo>
                <a:lnTo>
                  <a:pt x="851" y="482"/>
                </a:lnTo>
                <a:cubicBezTo>
                  <a:pt x="851" y="483"/>
                  <a:pt x="850" y="483"/>
                  <a:pt x="849" y="483"/>
                </a:cubicBezTo>
                <a:close/>
                <a:moveTo>
                  <a:pt x="796" y="629"/>
                </a:moveTo>
                <a:lnTo>
                  <a:pt x="797" y="625"/>
                </a:lnTo>
                <a:cubicBezTo>
                  <a:pt x="798" y="621"/>
                  <a:pt x="799" y="619"/>
                  <a:pt x="800" y="619"/>
                </a:cubicBezTo>
                <a:cubicBezTo>
                  <a:pt x="800" y="619"/>
                  <a:pt x="800" y="620"/>
                  <a:pt x="800" y="622"/>
                </a:cubicBezTo>
                <a:cubicBezTo>
                  <a:pt x="800" y="625"/>
                  <a:pt x="800" y="625"/>
                  <a:pt x="800" y="625"/>
                </a:cubicBezTo>
                <a:lnTo>
                  <a:pt x="799" y="625"/>
                </a:lnTo>
                <a:cubicBezTo>
                  <a:pt x="799" y="625"/>
                  <a:pt x="798" y="626"/>
                  <a:pt x="797" y="627"/>
                </a:cubicBezTo>
                <a:lnTo>
                  <a:pt x="796" y="629"/>
                </a:lnTo>
                <a:close/>
                <a:moveTo>
                  <a:pt x="853" y="472"/>
                </a:moveTo>
                <a:cubicBezTo>
                  <a:pt x="852" y="472"/>
                  <a:pt x="852" y="472"/>
                  <a:pt x="852" y="471"/>
                </a:cubicBezTo>
                <a:lnTo>
                  <a:pt x="853" y="467"/>
                </a:lnTo>
                <a:cubicBezTo>
                  <a:pt x="855" y="460"/>
                  <a:pt x="856" y="457"/>
                  <a:pt x="858" y="457"/>
                </a:cubicBezTo>
                <a:cubicBezTo>
                  <a:pt x="859" y="457"/>
                  <a:pt x="859" y="458"/>
                  <a:pt x="859" y="459"/>
                </a:cubicBezTo>
                <a:cubicBezTo>
                  <a:pt x="859" y="459"/>
                  <a:pt x="859" y="460"/>
                  <a:pt x="858" y="460"/>
                </a:cubicBezTo>
                <a:cubicBezTo>
                  <a:pt x="858" y="461"/>
                  <a:pt x="858" y="461"/>
                  <a:pt x="858" y="462"/>
                </a:cubicBezTo>
                <a:lnTo>
                  <a:pt x="859" y="465"/>
                </a:lnTo>
                <a:lnTo>
                  <a:pt x="856" y="464"/>
                </a:lnTo>
                <a:cubicBezTo>
                  <a:pt x="856" y="464"/>
                  <a:pt x="855" y="464"/>
                  <a:pt x="855" y="464"/>
                </a:cubicBezTo>
                <a:lnTo>
                  <a:pt x="856" y="467"/>
                </a:lnTo>
                <a:cubicBezTo>
                  <a:pt x="856" y="468"/>
                  <a:pt x="855" y="469"/>
                  <a:pt x="855" y="470"/>
                </a:cubicBezTo>
                <a:cubicBezTo>
                  <a:pt x="854" y="472"/>
                  <a:pt x="853" y="472"/>
                  <a:pt x="853" y="472"/>
                </a:cubicBezTo>
                <a:close/>
                <a:moveTo>
                  <a:pt x="759" y="689"/>
                </a:moveTo>
                <a:cubicBezTo>
                  <a:pt x="758" y="689"/>
                  <a:pt x="757" y="688"/>
                  <a:pt x="757" y="688"/>
                </a:cubicBezTo>
                <a:cubicBezTo>
                  <a:pt x="757" y="687"/>
                  <a:pt x="757" y="687"/>
                  <a:pt x="758" y="686"/>
                </a:cubicBezTo>
                <a:cubicBezTo>
                  <a:pt x="759" y="685"/>
                  <a:pt x="761" y="685"/>
                  <a:pt x="762" y="685"/>
                </a:cubicBezTo>
                <a:cubicBezTo>
                  <a:pt x="762" y="685"/>
                  <a:pt x="762" y="685"/>
                  <a:pt x="762" y="686"/>
                </a:cubicBezTo>
                <a:cubicBezTo>
                  <a:pt x="762" y="686"/>
                  <a:pt x="762" y="687"/>
                  <a:pt x="761" y="688"/>
                </a:cubicBezTo>
                <a:cubicBezTo>
                  <a:pt x="760" y="689"/>
                  <a:pt x="759" y="689"/>
                  <a:pt x="759" y="689"/>
                </a:cubicBezTo>
                <a:close/>
                <a:moveTo>
                  <a:pt x="831" y="439"/>
                </a:moveTo>
                <a:lnTo>
                  <a:pt x="830" y="439"/>
                </a:lnTo>
                <a:lnTo>
                  <a:pt x="831" y="437"/>
                </a:lnTo>
                <a:cubicBezTo>
                  <a:pt x="831" y="436"/>
                  <a:pt x="832" y="435"/>
                  <a:pt x="832" y="435"/>
                </a:cubicBezTo>
                <a:cubicBezTo>
                  <a:pt x="833" y="435"/>
                  <a:pt x="833" y="435"/>
                  <a:pt x="833" y="436"/>
                </a:cubicBezTo>
                <a:cubicBezTo>
                  <a:pt x="833" y="437"/>
                  <a:pt x="832" y="437"/>
                  <a:pt x="831" y="438"/>
                </a:cubicBezTo>
                <a:lnTo>
                  <a:pt x="831" y="439"/>
                </a:lnTo>
                <a:close/>
                <a:moveTo>
                  <a:pt x="825" y="452"/>
                </a:moveTo>
                <a:lnTo>
                  <a:pt x="825" y="451"/>
                </a:lnTo>
                <a:cubicBezTo>
                  <a:pt x="825" y="451"/>
                  <a:pt x="826" y="449"/>
                  <a:pt x="827" y="447"/>
                </a:cubicBezTo>
                <a:cubicBezTo>
                  <a:pt x="828" y="443"/>
                  <a:pt x="829" y="441"/>
                  <a:pt x="829" y="441"/>
                </a:cubicBezTo>
                <a:lnTo>
                  <a:pt x="829" y="442"/>
                </a:lnTo>
                <a:cubicBezTo>
                  <a:pt x="829" y="443"/>
                  <a:pt x="829" y="444"/>
                  <a:pt x="828" y="447"/>
                </a:cubicBezTo>
                <a:cubicBezTo>
                  <a:pt x="827" y="451"/>
                  <a:pt x="826" y="452"/>
                  <a:pt x="825" y="452"/>
                </a:cubicBezTo>
                <a:close/>
                <a:moveTo>
                  <a:pt x="813" y="483"/>
                </a:moveTo>
                <a:cubicBezTo>
                  <a:pt x="813" y="483"/>
                  <a:pt x="815" y="478"/>
                  <a:pt x="818" y="469"/>
                </a:cubicBezTo>
                <a:cubicBezTo>
                  <a:pt x="822" y="460"/>
                  <a:pt x="824" y="456"/>
                  <a:pt x="825" y="456"/>
                </a:cubicBezTo>
                <a:cubicBezTo>
                  <a:pt x="825" y="457"/>
                  <a:pt x="823" y="462"/>
                  <a:pt x="819" y="470"/>
                </a:cubicBezTo>
                <a:cubicBezTo>
                  <a:pt x="816" y="479"/>
                  <a:pt x="814" y="483"/>
                  <a:pt x="813" y="483"/>
                </a:cubicBezTo>
                <a:close/>
                <a:moveTo>
                  <a:pt x="622" y="1078"/>
                </a:moveTo>
                <a:cubicBezTo>
                  <a:pt x="622" y="1078"/>
                  <a:pt x="622" y="1076"/>
                  <a:pt x="621" y="1072"/>
                </a:cubicBezTo>
                <a:lnTo>
                  <a:pt x="621" y="1069"/>
                </a:lnTo>
                <a:cubicBezTo>
                  <a:pt x="621" y="1066"/>
                  <a:pt x="621" y="1065"/>
                  <a:pt x="622" y="1065"/>
                </a:cubicBezTo>
                <a:cubicBezTo>
                  <a:pt x="622" y="1065"/>
                  <a:pt x="623" y="1066"/>
                  <a:pt x="623" y="1068"/>
                </a:cubicBezTo>
                <a:cubicBezTo>
                  <a:pt x="623" y="1074"/>
                  <a:pt x="622" y="1078"/>
                  <a:pt x="622" y="1078"/>
                </a:cubicBezTo>
                <a:close/>
                <a:moveTo>
                  <a:pt x="637" y="1100"/>
                </a:moveTo>
                <a:cubicBezTo>
                  <a:pt x="635" y="1100"/>
                  <a:pt x="634" y="1099"/>
                  <a:pt x="634" y="1098"/>
                </a:cubicBezTo>
                <a:cubicBezTo>
                  <a:pt x="634" y="1097"/>
                  <a:pt x="633" y="1095"/>
                  <a:pt x="631" y="1093"/>
                </a:cubicBezTo>
                <a:cubicBezTo>
                  <a:pt x="630" y="1092"/>
                  <a:pt x="629" y="1091"/>
                  <a:pt x="629" y="1089"/>
                </a:cubicBezTo>
                <a:lnTo>
                  <a:pt x="629" y="1088"/>
                </a:lnTo>
                <a:cubicBezTo>
                  <a:pt x="628" y="1088"/>
                  <a:pt x="627" y="1088"/>
                  <a:pt x="627" y="1090"/>
                </a:cubicBezTo>
                <a:cubicBezTo>
                  <a:pt x="627" y="1090"/>
                  <a:pt x="628" y="1092"/>
                  <a:pt x="628" y="1093"/>
                </a:cubicBezTo>
                <a:cubicBezTo>
                  <a:pt x="629" y="1095"/>
                  <a:pt x="630" y="1096"/>
                  <a:pt x="630" y="1096"/>
                </a:cubicBezTo>
                <a:cubicBezTo>
                  <a:pt x="630" y="1096"/>
                  <a:pt x="628" y="1095"/>
                  <a:pt x="627" y="1093"/>
                </a:cubicBezTo>
                <a:cubicBezTo>
                  <a:pt x="626" y="1092"/>
                  <a:pt x="625" y="1090"/>
                  <a:pt x="624" y="1089"/>
                </a:cubicBezTo>
                <a:lnTo>
                  <a:pt x="623" y="1086"/>
                </a:lnTo>
                <a:cubicBezTo>
                  <a:pt x="623" y="1086"/>
                  <a:pt x="623" y="1086"/>
                  <a:pt x="623" y="1087"/>
                </a:cubicBezTo>
                <a:cubicBezTo>
                  <a:pt x="624" y="1088"/>
                  <a:pt x="624" y="1088"/>
                  <a:pt x="625" y="1088"/>
                </a:cubicBezTo>
                <a:cubicBezTo>
                  <a:pt x="625" y="1088"/>
                  <a:pt x="625" y="1084"/>
                  <a:pt x="625" y="1076"/>
                </a:cubicBezTo>
                <a:cubicBezTo>
                  <a:pt x="625" y="1066"/>
                  <a:pt x="624" y="1060"/>
                  <a:pt x="623" y="1059"/>
                </a:cubicBezTo>
                <a:cubicBezTo>
                  <a:pt x="622" y="1058"/>
                  <a:pt x="621" y="1057"/>
                  <a:pt x="621" y="1056"/>
                </a:cubicBezTo>
                <a:lnTo>
                  <a:pt x="625" y="1058"/>
                </a:lnTo>
                <a:cubicBezTo>
                  <a:pt x="626" y="1058"/>
                  <a:pt x="626" y="1057"/>
                  <a:pt x="626" y="1056"/>
                </a:cubicBezTo>
                <a:cubicBezTo>
                  <a:pt x="626" y="1056"/>
                  <a:pt x="625" y="1055"/>
                  <a:pt x="624" y="1054"/>
                </a:cubicBezTo>
                <a:cubicBezTo>
                  <a:pt x="623" y="1054"/>
                  <a:pt x="623" y="1052"/>
                  <a:pt x="623" y="1049"/>
                </a:cubicBezTo>
                <a:cubicBezTo>
                  <a:pt x="623" y="1043"/>
                  <a:pt x="624" y="1033"/>
                  <a:pt x="627" y="1019"/>
                </a:cubicBezTo>
                <a:cubicBezTo>
                  <a:pt x="630" y="1004"/>
                  <a:pt x="634" y="989"/>
                  <a:pt x="638" y="974"/>
                </a:cubicBezTo>
                <a:cubicBezTo>
                  <a:pt x="640" y="969"/>
                  <a:pt x="642" y="962"/>
                  <a:pt x="644" y="953"/>
                </a:cubicBezTo>
                <a:cubicBezTo>
                  <a:pt x="645" y="947"/>
                  <a:pt x="648" y="939"/>
                  <a:pt x="651" y="931"/>
                </a:cubicBezTo>
                <a:lnTo>
                  <a:pt x="654" y="921"/>
                </a:lnTo>
                <a:cubicBezTo>
                  <a:pt x="654" y="921"/>
                  <a:pt x="654" y="921"/>
                  <a:pt x="654" y="921"/>
                </a:cubicBezTo>
                <a:cubicBezTo>
                  <a:pt x="654" y="920"/>
                  <a:pt x="654" y="919"/>
                  <a:pt x="655" y="918"/>
                </a:cubicBezTo>
                <a:cubicBezTo>
                  <a:pt x="656" y="916"/>
                  <a:pt x="657" y="914"/>
                  <a:pt x="658" y="911"/>
                </a:cubicBezTo>
                <a:cubicBezTo>
                  <a:pt x="662" y="902"/>
                  <a:pt x="663" y="897"/>
                  <a:pt x="663" y="896"/>
                </a:cubicBezTo>
                <a:cubicBezTo>
                  <a:pt x="663" y="894"/>
                  <a:pt x="666" y="882"/>
                  <a:pt x="673" y="861"/>
                </a:cubicBezTo>
                <a:cubicBezTo>
                  <a:pt x="680" y="840"/>
                  <a:pt x="684" y="829"/>
                  <a:pt x="685" y="828"/>
                </a:cubicBezTo>
                <a:cubicBezTo>
                  <a:pt x="685" y="828"/>
                  <a:pt x="685" y="827"/>
                  <a:pt x="685" y="827"/>
                </a:cubicBezTo>
                <a:lnTo>
                  <a:pt x="685" y="825"/>
                </a:lnTo>
                <a:cubicBezTo>
                  <a:pt x="685" y="824"/>
                  <a:pt x="685" y="823"/>
                  <a:pt x="687" y="821"/>
                </a:cubicBezTo>
                <a:cubicBezTo>
                  <a:pt x="688" y="819"/>
                  <a:pt x="689" y="816"/>
                  <a:pt x="690" y="813"/>
                </a:cubicBezTo>
                <a:cubicBezTo>
                  <a:pt x="692" y="809"/>
                  <a:pt x="693" y="806"/>
                  <a:pt x="693" y="804"/>
                </a:cubicBezTo>
                <a:lnTo>
                  <a:pt x="692" y="802"/>
                </a:lnTo>
                <a:lnTo>
                  <a:pt x="692" y="802"/>
                </a:lnTo>
                <a:lnTo>
                  <a:pt x="693" y="803"/>
                </a:lnTo>
                <a:lnTo>
                  <a:pt x="694" y="803"/>
                </a:lnTo>
                <a:cubicBezTo>
                  <a:pt x="694" y="803"/>
                  <a:pt x="695" y="802"/>
                  <a:pt x="695" y="800"/>
                </a:cubicBezTo>
                <a:lnTo>
                  <a:pt x="694" y="796"/>
                </a:lnTo>
                <a:cubicBezTo>
                  <a:pt x="694" y="795"/>
                  <a:pt x="695" y="795"/>
                  <a:pt x="697" y="795"/>
                </a:cubicBezTo>
                <a:cubicBezTo>
                  <a:pt x="699" y="795"/>
                  <a:pt x="699" y="794"/>
                  <a:pt x="699" y="791"/>
                </a:cubicBezTo>
                <a:cubicBezTo>
                  <a:pt x="699" y="788"/>
                  <a:pt x="700" y="786"/>
                  <a:pt x="701" y="784"/>
                </a:cubicBezTo>
                <a:cubicBezTo>
                  <a:pt x="704" y="777"/>
                  <a:pt x="707" y="772"/>
                  <a:pt x="708" y="767"/>
                </a:cubicBezTo>
                <a:cubicBezTo>
                  <a:pt x="709" y="763"/>
                  <a:pt x="711" y="759"/>
                  <a:pt x="712" y="757"/>
                </a:cubicBezTo>
                <a:lnTo>
                  <a:pt x="715" y="752"/>
                </a:lnTo>
                <a:cubicBezTo>
                  <a:pt x="715" y="752"/>
                  <a:pt x="714" y="751"/>
                  <a:pt x="713" y="750"/>
                </a:cubicBezTo>
                <a:cubicBezTo>
                  <a:pt x="712" y="749"/>
                  <a:pt x="712" y="749"/>
                  <a:pt x="712" y="748"/>
                </a:cubicBezTo>
                <a:cubicBezTo>
                  <a:pt x="712" y="748"/>
                  <a:pt x="712" y="748"/>
                  <a:pt x="713" y="748"/>
                </a:cubicBezTo>
                <a:cubicBezTo>
                  <a:pt x="716" y="748"/>
                  <a:pt x="717" y="747"/>
                  <a:pt x="717" y="746"/>
                </a:cubicBezTo>
                <a:lnTo>
                  <a:pt x="717" y="744"/>
                </a:lnTo>
                <a:cubicBezTo>
                  <a:pt x="717" y="742"/>
                  <a:pt x="717" y="742"/>
                  <a:pt x="718" y="742"/>
                </a:cubicBezTo>
                <a:cubicBezTo>
                  <a:pt x="719" y="742"/>
                  <a:pt x="719" y="741"/>
                  <a:pt x="719" y="741"/>
                </a:cubicBezTo>
                <a:lnTo>
                  <a:pt x="719" y="739"/>
                </a:lnTo>
                <a:cubicBezTo>
                  <a:pt x="719" y="738"/>
                  <a:pt x="719" y="737"/>
                  <a:pt x="720" y="737"/>
                </a:cubicBezTo>
                <a:cubicBezTo>
                  <a:pt x="720" y="737"/>
                  <a:pt x="721" y="736"/>
                  <a:pt x="721" y="736"/>
                </a:cubicBezTo>
                <a:cubicBezTo>
                  <a:pt x="721" y="735"/>
                  <a:pt x="721" y="735"/>
                  <a:pt x="721" y="733"/>
                </a:cubicBezTo>
                <a:lnTo>
                  <a:pt x="721" y="732"/>
                </a:lnTo>
                <a:cubicBezTo>
                  <a:pt x="721" y="731"/>
                  <a:pt x="721" y="730"/>
                  <a:pt x="722" y="730"/>
                </a:cubicBezTo>
                <a:cubicBezTo>
                  <a:pt x="723" y="730"/>
                  <a:pt x="723" y="730"/>
                  <a:pt x="723" y="730"/>
                </a:cubicBezTo>
                <a:lnTo>
                  <a:pt x="723" y="729"/>
                </a:lnTo>
                <a:cubicBezTo>
                  <a:pt x="723" y="728"/>
                  <a:pt x="723" y="726"/>
                  <a:pt x="725" y="725"/>
                </a:cubicBezTo>
                <a:cubicBezTo>
                  <a:pt x="726" y="723"/>
                  <a:pt x="727" y="722"/>
                  <a:pt x="727" y="720"/>
                </a:cubicBezTo>
                <a:cubicBezTo>
                  <a:pt x="727" y="719"/>
                  <a:pt x="727" y="719"/>
                  <a:pt x="726" y="718"/>
                </a:cubicBezTo>
                <a:cubicBezTo>
                  <a:pt x="726" y="718"/>
                  <a:pt x="726" y="717"/>
                  <a:pt x="725" y="717"/>
                </a:cubicBezTo>
                <a:lnTo>
                  <a:pt x="725" y="716"/>
                </a:lnTo>
                <a:lnTo>
                  <a:pt x="727" y="716"/>
                </a:lnTo>
                <a:cubicBezTo>
                  <a:pt x="727" y="716"/>
                  <a:pt x="728" y="716"/>
                  <a:pt x="729" y="715"/>
                </a:cubicBezTo>
                <a:cubicBezTo>
                  <a:pt x="730" y="714"/>
                  <a:pt x="733" y="707"/>
                  <a:pt x="737" y="693"/>
                </a:cubicBezTo>
                <a:cubicBezTo>
                  <a:pt x="742" y="680"/>
                  <a:pt x="745" y="673"/>
                  <a:pt x="745" y="671"/>
                </a:cubicBezTo>
                <a:lnTo>
                  <a:pt x="745" y="671"/>
                </a:lnTo>
                <a:cubicBezTo>
                  <a:pt x="745" y="670"/>
                  <a:pt x="745" y="670"/>
                  <a:pt x="746" y="670"/>
                </a:cubicBezTo>
                <a:cubicBezTo>
                  <a:pt x="747" y="670"/>
                  <a:pt x="747" y="669"/>
                  <a:pt x="747" y="667"/>
                </a:cubicBezTo>
                <a:cubicBezTo>
                  <a:pt x="747" y="665"/>
                  <a:pt x="748" y="661"/>
                  <a:pt x="751" y="656"/>
                </a:cubicBezTo>
                <a:cubicBezTo>
                  <a:pt x="753" y="650"/>
                  <a:pt x="754" y="646"/>
                  <a:pt x="754" y="643"/>
                </a:cubicBezTo>
                <a:cubicBezTo>
                  <a:pt x="754" y="642"/>
                  <a:pt x="754" y="641"/>
                  <a:pt x="753" y="641"/>
                </a:cubicBezTo>
                <a:lnTo>
                  <a:pt x="753" y="639"/>
                </a:lnTo>
                <a:lnTo>
                  <a:pt x="753" y="639"/>
                </a:lnTo>
                <a:lnTo>
                  <a:pt x="754" y="640"/>
                </a:lnTo>
                <a:cubicBezTo>
                  <a:pt x="754" y="641"/>
                  <a:pt x="754" y="641"/>
                  <a:pt x="755" y="641"/>
                </a:cubicBezTo>
                <a:cubicBezTo>
                  <a:pt x="756" y="641"/>
                  <a:pt x="757" y="639"/>
                  <a:pt x="758" y="636"/>
                </a:cubicBezTo>
                <a:lnTo>
                  <a:pt x="759" y="631"/>
                </a:lnTo>
                <a:cubicBezTo>
                  <a:pt x="759" y="631"/>
                  <a:pt x="758" y="632"/>
                  <a:pt x="757" y="633"/>
                </a:cubicBezTo>
                <a:cubicBezTo>
                  <a:pt x="757" y="634"/>
                  <a:pt x="756" y="635"/>
                  <a:pt x="756" y="635"/>
                </a:cubicBezTo>
                <a:cubicBezTo>
                  <a:pt x="756" y="635"/>
                  <a:pt x="755" y="635"/>
                  <a:pt x="755" y="634"/>
                </a:cubicBezTo>
                <a:cubicBezTo>
                  <a:pt x="755" y="634"/>
                  <a:pt x="756" y="631"/>
                  <a:pt x="757" y="628"/>
                </a:cubicBezTo>
                <a:cubicBezTo>
                  <a:pt x="759" y="625"/>
                  <a:pt x="760" y="623"/>
                  <a:pt x="761" y="623"/>
                </a:cubicBezTo>
                <a:lnTo>
                  <a:pt x="762" y="623"/>
                </a:lnTo>
                <a:lnTo>
                  <a:pt x="762" y="622"/>
                </a:lnTo>
                <a:cubicBezTo>
                  <a:pt x="762" y="616"/>
                  <a:pt x="763" y="611"/>
                  <a:pt x="766" y="605"/>
                </a:cubicBezTo>
                <a:cubicBezTo>
                  <a:pt x="767" y="603"/>
                  <a:pt x="768" y="602"/>
                  <a:pt x="769" y="602"/>
                </a:cubicBezTo>
                <a:lnTo>
                  <a:pt x="770" y="602"/>
                </a:lnTo>
                <a:cubicBezTo>
                  <a:pt x="770" y="602"/>
                  <a:pt x="770" y="601"/>
                  <a:pt x="770" y="601"/>
                </a:cubicBezTo>
                <a:cubicBezTo>
                  <a:pt x="770" y="601"/>
                  <a:pt x="770" y="600"/>
                  <a:pt x="770" y="600"/>
                </a:cubicBezTo>
                <a:cubicBezTo>
                  <a:pt x="769" y="600"/>
                  <a:pt x="769" y="599"/>
                  <a:pt x="769" y="597"/>
                </a:cubicBezTo>
                <a:lnTo>
                  <a:pt x="772" y="598"/>
                </a:lnTo>
                <a:cubicBezTo>
                  <a:pt x="772" y="598"/>
                  <a:pt x="772" y="597"/>
                  <a:pt x="772" y="597"/>
                </a:cubicBezTo>
                <a:cubicBezTo>
                  <a:pt x="771" y="596"/>
                  <a:pt x="771" y="595"/>
                  <a:pt x="771" y="595"/>
                </a:cubicBezTo>
                <a:cubicBezTo>
                  <a:pt x="771" y="593"/>
                  <a:pt x="771" y="591"/>
                  <a:pt x="772" y="589"/>
                </a:cubicBezTo>
                <a:cubicBezTo>
                  <a:pt x="773" y="588"/>
                  <a:pt x="774" y="587"/>
                  <a:pt x="774" y="587"/>
                </a:cubicBezTo>
                <a:lnTo>
                  <a:pt x="776" y="588"/>
                </a:lnTo>
                <a:cubicBezTo>
                  <a:pt x="776" y="587"/>
                  <a:pt x="776" y="587"/>
                  <a:pt x="775" y="586"/>
                </a:cubicBezTo>
                <a:cubicBezTo>
                  <a:pt x="775" y="585"/>
                  <a:pt x="774" y="584"/>
                  <a:pt x="774" y="583"/>
                </a:cubicBezTo>
                <a:cubicBezTo>
                  <a:pt x="774" y="581"/>
                  <a:pt x="775" y="579"/>
                  <a:pt x="776" y="579"/>
                </a:cubicBezTo>
                <a:lnTo>
                  <a:pt x="778" y="580"/>
                </a:lnTo>
                <a:lnTo>
                  <a:pt x="778" y="578"/>
                </a:lnTo>
                <a:cubicBezTo>
                  <a:pt x="778" y="577"/>
                  <a:pt x="778" y="574"/>
                  <a:pt x="780" y="569"/>
                </a:cubicBezTo>
                <a:cubicBezTo>
                  <a:pt x="782" y="561"/>
                  <a:pt x="786" y="551"/>
                  <a:pt x="789" y="541"/>
                </a:cubicBezTo>
                <a:lnTo>
                  <a:pt x="792" y="535"/>
                </a:lnTo>
                <a:lnTo>
                  <a:pt x="792" y="536"/>
                </a:lnTo>
                <a:cubicBezTo>
                  <a:pt x="792" y="537"/>
                  <a:pt x="792" y="538"/>
                  <a:pt x="792" y="539"/>
                </a:cubicBezTo>
                <a:cubicBezTo>
                  <a:pt x="791" y="540"/>
                  <a:pt x="791" y="541"/>
                  <a:pt x="791" y="542"/>
                </a:cubicBezTo>
                <a:lnTo>
                  <a:pt x="791" y="544"/>
                </a:lnTo>
                <a:cubicBezTo>
                  <a:pt x="791" y="544"/>
                  <a:pt x="792" y="543"/>
                  <a:pt x="793" y="540"/>
                </a:cubicBezTo>
                <a:cubicBezTo>
                  <a:pt x="796" y="533"/>
                  <a:pt x="797" y="528"/>
                  <a:pt x="797" y="524"/>
                </a:cubicBezTo>
                <a:lnTo>
                  <a:pt x="797" y="523"/>
                </a:lnTo>
                <a:cubicBezTo>
                  <a:pt x="797" y="522"/>
                  <a:pt x="798" y="522"/>
                  <a:pt x="799" y="522"/>
                </a:cubicBezTo>
                <a:cubicBezTo>
                  <a:pt x="800" y="522"/>
                  <a:pt x="802" y="518"/>
                  <a:pt x="805" y="510"/>
                </a:cubicBezTo>
                <a:cubicBezTo>
                  <a:pt x="808" y="502"/>
                  <a:pt x="811" y="498"/>
                  <a:pt x="812" y="498"/>
                </a:cubicBezTo>
                <a:cubicBezTo>
                  <a:pt x="813" y="498"/>
                  <a:pt x="813" y="497"/>
                  <a:pt x="813" y="497"/>
                </a:cubicBezTo>
                <a:lnTo>
                  <a:pt x="812" y="493"/>
                </a:lnTo>
                <a:lnTo>
                  <a:pt x="813" y="493"/>
                </a:lnTo>
                <a:lnTo>
                  <a:pt x="814" y="493"/>
                </a:lnTo>
                <a:cubicBezTo>
                  <a:pt x="814" y="493"/>
                  <a:pt x="815" y="493"/>
                  <a:pt x="815" y="492"/>
                </a:cubicBezTo>
                <a:cubicBezTo>
                  <a:pt x="816" y="490"/>
                  <a:pt x="817" y="487"/>
                  <a:pt x="818" y="485"/>
                </a:cubicBezTo>
                <a:cubicBezTo>
                  <a:pt x="818" y="483"/>
                  <a:pt x="819" y="482"/>
                  <a:pt x="819" y="481"/>
                </a:cubicBezTo>
                <a:cubicBezTo>
                  <a:pt x="820" y="481"/>
                  <a:pt x="821" y="478"/>
                  <a:pt x="823" y="474"/>
                </a:cubicBezTo>
                <a:cubicBezTo>
                  <a:pt x="828" y="463"/>
                  <a:pt x="831" y="456"/>
                  <a:pt x="831" y="455"/>
                </a:cubicBezTo>
                <a:lnTo>
                  <a:pt x="831" y="453"/>
                </a:lnTo>
                <a:cubicBezTo>
                  <a:pt x="831" y="453"/>
                  <a:pt x="831" y="453"/>
                  <a:pt x="832" y="451"/>
                </a:cubicBezTo>
                <a:cubicBezTo>
                  <a:pt x="833" y="451"/>
                  <a:pt x="833" y="450"/>
                  <a:pt x="833" y="449"/>
                </a:cubicBezTo>
                <a:cubicBezTo>
                  <a:pt x="834" y="448"/>
                  <a:pt x="834" y="447"/>
                  <a:pt x="834" y="446"/>
                </a:cubicBezTo>
                <a:cubicBezTo>
                  <a:pt x="834" y="444"/>
                  <a:pt x="835" y="443"/>
                  <a:pt x="836" y="443"/>
                </a:cubicBezTo>
                <a:cubicBezTo>
                  <a:pt x="838" y="443"/>
                  <a:pt x="838" y="443"/>
                  <a:pt x="838" y="442"/>
                </a:cubicBezTo>
                <a:lnTo>
                  <a:pt x="838" y="442"/>
                </a:lnTo>
                <a:cubicBezTo>
                  <a:pt x="838" y="441"/>
                  <a:pt x="838" y="441"/>
                  <a:pt x="837" y="441"/>
                </a:cubicBezTo>
                <a:lnTo>
                  <a:pt x="835" y="441"/>
                </a:lnTo>
                <a:cubicBezTo>
                  <a:pt x="835" y="440"/>
                  <a:pt x="836" y="438"/>
                  <a:pt x="838" y="436"/>
                </a:cubicBezTo>
                <a:cubicBezTo>
                  <a:pt x="839" y="435"/>
                  <a:pt x="840" y="434"/>
                  <a:pt x="841" y="433"/>
                </a:cubicBezTo>
                <a:lnTo>
                  <a:pt x="844" y="432"/>
                </a:lnTo>
                <a:cubicBezTo>
                  <a:pt x="844" y="433"/>
                  <a:pt x="844" y="433"/>
                  <a:pt x="843" y="434"/>
                </a:cubicBezTo>
                <a:cubicBezTo>
                  <a:pt x="843" y="435"/>
                  <a:pt x="842" y="436"/>
                  <a:pt x="842" y="436"/>
                </a:cubicBezTo>
                <a:cubicBezTo>
                  <a:pt x="842" y="436"/>
                  <a:pt x="843" y="436"/>
                  <a:pt x="843" y="436"/>
                </a:cubicBezTo>
                <a:cubicBezTo>
                  <a:pt x="843" y="438"/>
                  <a:pt x="842" y="441"/>
                  <a:pt x="840" y="447"/>
                </a:cubicBezTo>
                <a:cubicBezTo>
                  <a:pt x="838" y="452"/>
                  <a:pt x="837" y="456"/>
                  <a:pt x="837" y="457"/>
                </a:cubicBezTo>
                <a:lnTo>
                  <a:pt x="837" y="459"/>
                </a:lnTo>
                <a:cubicBezTo>
                  <a:pt x="837" y="459"/>
                  <a:pt x="836" y="460"/>
                  <a:pt x="836" y="460"/>
                </a:cubicBezTo>
                <a:cubicBezTo>
                  <a:pt x="835" y="460"/>
                  <a:pt x="834" y="460"/>
                  <a:pt x="834" y="462"/>
                </a:cubicBezTo>
                <a:cubicBezTo>
                  <a:pt x="834" y="464"/>
                  <a:pt x="834" y="465"/>
                  <a:pt x="833" y="465"/>
                </a:cubicBezTo>
                <a:cubicBezTo>
                  <a:pt x="832" y="465"/>
                  <a:pt x="832" y="467"/>
                  <a:pt x="832" y="469"/>
                </a:cubicBezTo>
                <a:lnTo>
                  <a:pt x="832" y="475"/>
                </a:lnTo>
                <a:cubicBezTo>
                  <a:pt x="832" y="477"/>
                  <a:pt x="832" y="477"/>
                  <a:pt x="831" y="477"/>
                </a:cubicBezTo>
                <a:lnTo>
                  <a:pt x="831" y="477"/>
                </a:lnTo>
                <a:cubicBezTo>
                  <a:pt x="830" y="477"/>
                  <a:pt x="829" y="478"/>
                  <a:pt x="828" y="481"/>
                </a:cubicBezTo>
                <a:lnTo>
                  <a:pt x="828" y="484"/>
                </a:lnTo>
                <a:lnTo>
                  <a:pt x="829" y="483"/>
                </a:lnTo>
                <a:lnTo>
                  <a:pt x="829" y="484"/>
                </a:lnTo>
                <a:lnTo>
                  <a:pt x="829" y="485"/>
                </a:lnTo>
                <a:cubicBezTo>
                  <a:pt x="829" y="486"/>
                  <a:pt x="828" y="486"/>
                  <a:pt x="825" y="486"/>
                </a:cubicBezTo>
                <a:lnTo>
                  <a:pt x="824" y="486"/>
                </a:lnTo>
                <a:cubicBezTo>
                  <a:pt x="824" y="486"/>
                  <a:pt x="824" y="487"/>
                  <a:pt x="825" y="488"/>
                </a:cubicBezTo>
                <a:cubicBezTo>
                  <a:pt x="826" y="489"/>
                  <a:pt x="827" y="491"/>
                  <a:pt x="827" y="492"/>
                </a:cubicBezTo>
                <a:cubicBezTo>
                  <a:pt x="827" y="495"/>
                  <a:pt x="826" y="495"/>
                  <a:pt x="825" y="495"/>
                </a:cubicBezTo>
                <a:lnTo>
                  <a:pt x="823" y="495"/>
                </a:lnTo>
                <a:cubicBezTo>
                  <a:pt x="823" y="495"/>
                  <a:pt x="823" y="496"/>
                  <a:pt x="823" y="497"/>
                </a:cubicBezTo>
                <a:cubicBezTo>
                  <a:pt x="823" y="499"/>
                  <a:pt x="821" y="504"/>
                  <a:pt x="819" y="511"/>
                </a:cubicBezTo>
                <a:cubicBezTo>
                  <a:pt x="816" y="519"/>
                  <a:pt x="814" y="522"/>
                  <a:pt x="813" y="522"/>
                </a:cubicBezTo>
                <a:lnTo>
                  <a:pt x="812" y="522"/>
                </a:lnTo>
                <a:cubicBezTo>
                  <a:pt x="812" y="523"/>
                  <a:pt x="812" y="523"/>
                  <a:pt x="813" y="524"/>
                </a:cubicBezTo>
                <a:cubicBezTo>
                  <a:pt x="813" y="524"/>
                  <a:pt x="813" y="525"/>
                  <a:pt x="813" y="526"/>
                </a:cubicBezTo>
                <a:cubicBezTo>
                  <a:pt x="813" y="529"/>
                  <a:pt x="813" y="530"/>
                  <a:pt x="811" y="530"/>
                </a:cubicBezTo>
                <a:lnTo>
                  <a:pt x="810" y="530"/>
                </a:lnTo>
                <a:lnTo>
                  <a:pt x="811" y="534"/>
                </a:lnTo>
                <a:cubicBezTo>
                  <a:pt x="811" y="534"/>
                  <a:pt x="811" y="534"/>
                  <a:pt x="811" y="534"/>
                </a:cubicBezTo>
                <a:lnTo>
                  <a:pt x="808" y="533"/>
                </a:lnTo>
                <a:lnTo>
                  <a:pt x="808" y="534"/>
                </a:lnTo>
                <a:lnTo>
                  <a:pt x="808" y="534"/>
                </a:lnTo>
                <a:cubicBezTo>
                  <a:pt x="809" y="535"/>
                  <a:pt x="809" y="536"/>
                  <a:pt x="809" y="536"/>
                </a:cubicBezTo>
                <a:cubicBezTo>
                  <a:pt x="809" y="538"/>
                  <a:pt x="809" y="539"/>
                  <a:pt x="808" y="541"/>
                </a:cubicBezTo>
                <a:cubicBezTo>
                  <a:pt x="807" y="544"/>
                  <a:pt x="806" y="544"/>
                  <a:pt x="805" y="544"/>
                </a:cubicBezTo>
                <a:lnTo>
                  <a:pt x="804" y="544"/>
                </a:lnTo>
                <a:lnTo>
                  <a:pt x="805" y="545"/>
                </a:lnTo>
                <a:cubicBezTo>
                  <a:pt x="805" y="546"/>
                  <a:pt x="806" y="546"/>
                  <a:pt x="806" y="547"/>
                </a:cubicBezTo>
                <a:cubicBezTo>
                  <a:pt x="806" y="549"/>
                  <a:pt x="805" y="550"/>
                  <a:pt x="803" y="552"/>
                </a:cubicBezTo>
                <a:lnTo>
                  <a:pt x="800" y="554"/>
                </a:lnTo>
                <a:lnTo>
                  <a:pt x="802" y="554"/>
                </a:lnTo>
                <a:cubicBezTo>
                  <a:pt x="803" y="554"/>
                  <a:pt x="803" y="554"/>
                  <a:pt x="803" y="555"/>
                </a:cubicBezTo>
                <a:cubicBezTo>
                  <a:pt x="803" y="556"/>
                  <a:pt x="803" y="557"/>
                  <a:pt x="802" y="559"/>
                </a:cubicBezTo>
                <a:cubicBezTo>
                  <a:pt x="801" y="560"/>
                  <a:pt x="800" y="561"/>
                  <a:pt x="798" y="562"/>
                </a:cubicBezTo>
                <a:cubicBezTo>
                  <a:pt x="797" y="563"/>
                  <a:pt x="796" y="564"/>
                  <a:pt x="796" y="565"/>
                </a:cubicBezTo>
                <a:cubicBezTo>
                  <a:pt x="796" y="566"/>
                  <a:pt x="797" y="566"/>
                  <a:pt x="797" y="567"/>
                </a:cubicBezTo>
                <a:cubicBezTo>
                  <a:pt x="797" y="569"/>
                  <a:pt x="796" y="570"/>
                  <a:pt x="796" y="571"/>
                </a:cubicBezTo>
                <a:cubicBezTo>
                  <a:pt x="795" y="571"/>
                  <a:pt x="794" y="573"/>
                  <a:pt x="794" y="574"/>
                </a:cubicBezTo>
                <a:lnTo>
                  <a:pt x="794" y="576"/>
                </a:lnTo>
                <a:lnTo>
                  <a:pt x="794" y="575"/>
                </a:lnTo>
                <a:cubicBezTo>
                  <a:pt x="793" y="575"/>
                  <a:pt x="792" y="576"/>
                  <a:pt x="792" y="576"/>
                </a:cubicBezTo>
                <a:lnTo>
                  <a:pt x="794" y="579"/>
                </a:lnTo>
                <a:lnTo>
                  <a:pt x="793" y="579"/>
                </a:lnTo>
                <a:cubicBezTo>
                  <a:pt x="792" y="579"/>
                  <a:pt x="791" y="580"/>
                  <a:pt x="790" y="581"/>
                </a:cubicBezTo>
                <a:cubicBezTo>
                  <a:pt x="790" y="583"/>
                  <a:pt x="791" y="583"/>
                  <a:pt x="791" y="583"/>
                </a:cubicBezTo>
                <a:lnTo>
                  <a:pt x="792" y="583"/>
                </a:lnTo>
                <a:cubicBezTo>
                  <a:pt x="792" y="583"/>
                  <a:pt x="792" y="584"/>
                  <a:pt x="791" y="585"/>
                </a:cubicBezTo>
                <a:cubicBezTo>
                  <a:pt x="789" y="586"/>
                  <a:pt x="789" y="587"/>
                  <a:pt x="789" y="588"/>
                </a:cubicBezTo>
                <a:cubicBezTo>
                  <a:pt x="789" y="588"/>
                  <a:pt x="789" y="588"/>
                  <a:pt x="789" y="588"/>
                </a:cubicBezTo>
                <a:cubicBezTo>
                  <a:pt x="789" y="589"/>
                  <a:pt x="789" y="590"/>
                  <a:pt x="788" y="591"/>
                </a:cubicBezTo>
                <a:cubicBezTo>
                  <a:pt x="787" y="592"/>
                  <a:pt x="786" y="593"/>
                  <a:pt x="786" y="595"/>
                </a:cubicBezTo>
                <a:lnTo>
                  <a:pt x="787" y="596"/>
                </a:lnTo>
                <a:cubicBezTo>
                  <a:pt x="787" y="597"/>
                  <a:pt x="787" y="597"/>
                  <a:pt x="786" y="597"/>
                </a:cubicBezTo>
                <a:cubicBezTo>
                  <a:pt x="785" y="597"/>
                  <a:pt x="784" y="597"/>
                  <a:pt x="784" y="598"/>
                </a:cubicBezTo>
                <a:lnTo>
                  <a:pt x="786" y="600"/>
                </a:lnTo>
                <a:cubicBezTo>
                  <a:pt x="786" y="600"/>
                  <a:pt x="785" y="601"/>
                  <a:pt x="785" y="601"/>
                </a:cubicBezTo>
                <a:cubicBezTo>
                  <a:pt x="784" y="601"/>
                  <a:pt x="784" y="601"/>
                  <a:pt x="784" y="601"/>
                </a:cubicBezTo>
                <a:lnTo>
                  <a:pt x="784" y="603"/>
                </a:lnTo>
                <a:cubicBezTo>
                  <a:pt x="784" y="604"/>
                  <a:pt x="784" y="604"/>
                  <a:pt x="783" y="604"/>
                </a:cubicBezTo>
                <a:cubicBezTo>
                  <a:pt x="782" y="604"/>
                  <a:pt x="782" y="605"/>
                  <a:pt x="782" y="605"/>
                </a:cubicBezTo>
                <a:lnTo>
                  <a:pt x="783" y="607"/>
                </a:lnTo>
                <a:cubicBezTo>
                  <a:pt x="783" y="607"/>
                  <a:pt x="783" y="608"/>
                  <a:pt x="782" y="608"/>
                </a:cubicBezTo>
                <a:cubicBezTo>
                  <a:pt x="781" y="608"/>
                  <a:pt x="781" y="608"/>
                  <a:pt x="781" y="609"/>
                </a:cubicBezTo>
                <a:lnTo>
                  <a:pt x="781" y="610"/>
                </a:lnTo>
                <a:cubicBezTo>
                  <a:pt x="781" y="611"/>
                  <a:pt x="781" y="612"/>
                  <a:pt x="779" y="612"/>
                </a:cubicBezTo>
                <a:cubicBezTo>
                  <a:pt x="778" y="612"/>
                  <a:pt x="778" y="613"/>
                  <a:pt x="778" y="614"/>
                </a:cubicBezTo>
                <a:cubicBezTo>
                  <a:pt x="778" y="615"/>
                  <a:pt x="778" y="615"/>
                  <a:pt x="780" y="617"/>
                </a:cubicBezTo>
                <a:cubicBezTo>
                  <a:pt x="781" y="618"/>
                  <a:pt x="782" y="619"/>
                  <a:pt x="782" y="619"/>
                </a:cubicBezTo>
                <a:lnTo>
                  <a:pt x="777" y="618"/>
                </a:lnTo>
                <a:cubicBezTo>
                  <a:pt x="777" y="618"/>
                  <a:pt x="776" y="618"/>
                  <a:pt x="776" y="618"/>
                </a:cubicBezTo>
                <a:lnTo>
                  <a:pt x="778" y="622"/>
                </a:lnTo>
                <a:cubicBezTo>
                  <a:pt x="777" y="622"/>
                  <a:pt x="777" y="622"/>
                  <a:pt x="776" y="621"/>
                </a:cubicBezTo>
                <a:cubicBezTo>
                  <a:pt x="774" y="620"/>
                  <a:pt x="773" y="619"/>
                  <a:pt x="773" y="619"/>
                </a:cubicBezTo>
                <a:cubicBezTo>
                  <a:pt x="773" y="620"/>
                  <a:pt x="773" y="620"/>
                  <a:pt x="774" y="620"/>
                </a:cubicBezTo>
                <a:cubicBezTo>
                  <a:pt x="774" y="621"/>
                  <a:pt x="774" y="622"/>
                  <a:pt x="774" y="622"/>
                </a:cubicBezTo>
                <a:cubicBezTo>
                  <a:pt x="774" y="625"/>
                  <a:pt x="773" y="627"/>
                  <a:pt x="772" y="630"/>
                </a:cubicBezTo>
                <a:lnTo>
                  <a:pt x="771" y="635"/>
                </a:lnTo>
                <a:lnTo>
                  <a:pt x="772" y="635"/>
                </a:lnTo>
                <a:cubicBezTo>
                  <a:pt x="773" y="633"/>
                  <a:pt x="774" y="632"/>
                  <a:pt x="774" y="632"/>
                </a:cubicBezTo>
                <a:cubicBezTo>
                  <a:pt x="775" y="632"/>
                  <a:pt x="776" y="632"/>
                  <a:pt x="776" y="633"/>
                </a:cubicBezTo>
                <a:cubicBezTo>
                  <a:pt x="776" y="634"/>
                  <a:pt x="775" y="635"/>
                  <a:pt x="774" y="637"/>
                </a:cubicBezTo>
                <a:cubicBezTo>
                  <a:pt x="774" y="639"/>
                  <a:pt x="772" y="639"/>
                  <a:pt x="770" y="639"/>
                </a:cubicBezTo>
                <a:lnTo>
                  <a:pt x="768" y="639"/>
                </a:lnTo>
                <a:cubicBezTo>
                  <a:pt x="768" y="639"/>
                  <a:pt x="768" y="639"/>
                  <a:pt x="769" y="640"/>
                </a:cubicBezTo>
                <a:cubicBezTo>
                  <a:pt x="769" y="640"/>
                  <a:pt x="769" y="640"/>
                  <a:pt x="769" y="641"/>
                </a:cubicBezTo>
                <a:cubicBezTo>
                  <a:pt x="769" y="642"/>
                  <a:pt x="769" y="643"/>
                  <a:pt x="768" y="644"/>
                </a:cubicBezTo>
                <a:cubicBezTo>
                  <a:pt x="767" y="644"/>
                  <a:pt x="766" y="645"/>
                  <a:pt x="765" y="645"/>
                </a:cubicBezTo>
                <a:lnTo>
                  <a:pt x="764" y="644"/>
                </a:lnTo>
                <a:cubicBezTo>
                  <a:pt x="764" y="644"/>
                  <a:pt x="764" y="645"/>
                  <a:pt x="764" y="645"/>
                </a:cubicBezTo>
                <a:cubicBezTo>
                  <a:pt x="764" y="645"/>
                  <a:pt x="764" y="646"/>
                  <a:pt x="765" y="647"/>
                </a:cubicBezTo>
                <a:cubicBezTo>
                  <a:pt x="766" y="647"/>
                  <a:pt x="766" y="648"/>
                  <a:pt x="767" y="648"/>
                </a:cubicBezTo>
                <a:cubicBezTo>
                  <a:pt x="768" y="648"/>
                  <a:pt x="768" y="647"/>
                  <a:pt x="769" y="647"/>
                </a:cubicBezTo>
                <a:cubicBezTo>
                  <a:pt x="770" y="647"/>
                  <a:pt x="770" y="647"/>
                  <a:pt x="770" y="648"/>
                </a:cubicBezTo>
                <a:cubicBezTo>
                  <a:pt x="770" y="648"/>
                  <a:pt x="770" y="649"/>
                  <a:pt x="769" y="651"/>
                </a:cubicBezTo>
                <a:cubicBezTo>
                  <a:pt x="769" y="653"/>
                  <a:pt x="767" y="654"/>
                  <a:pt x="766" y="654"/>
                </a:cubicBezTo>
                <a:cubicBezTo>
                  <a:pt x="765" y="654"/>
                  <a:pt x="764" y="654"/>
                  <a:pt x="764" y="655"/>
                </a:cubicBezTo>
                <a:lnTo>
                  <a:pt x="765" y="657"/>
                </a:lnTo>
                <a:cubicBezTo>
                  <a:pt x="765" y="657"/>
                  <a:pt x="765" y="657"/>
                  <a:pt x="764" y="657"/>
                </a:cubicBezTo>
                <a:lnTo>
                  <a:pt x="761" y="656"/>
                </a:lnTo>
                <a:cubicBezTo>
                  <a:pt x="761" y="656"/>
                  <a:pt x="761" y="656"/>
                  <a:pt x="761" y="657"/>
                </a:cubicBezTo>
                <a:lnTo>
                  <a:pt x="761" y="658"/>
                </a:lnTo>
                <a:cubicBezTo>
                  <a:pt x="761" y="659"/>
                  <a:pt x="761" y="659"/>
                  <a:pt x="760" y="659"/>
                </a:cubicBezTo>
                <a:cubicBezTo>
                  <a:pt x="760" y="659"/>
                  <a:pt x="760" y="659"/>
                  <a:pt x="760" y="660"/>
                </a:cubicBezTo>
                <a:lnTo>
                  <a:pt x="761" y="664"/>
                </a:lnTo>
                <a:cubicBezTo>
                  <a:pt x="761" y="664"/>
                  <a:pt x="760" y="664"/>
                  <a:pt x="760" y="664"/>
                </a:cubicBezTo>
                <a:lnTo>
                  <a:pt x="760" y="664"/>
                </a:lnTo>
                <a:cubicBezTo>
                  <a:pt x="759" y="664"/>
                  <a:pt x="758" y="665"/>
                  <a:pt x="758" y="666"/>
                </a:cubicBezTo>
                <a:cubicBezTo>
                  <a:pt x="758" y="669"/>
                  <a:pt x="757" y="669"/>
                  <a:pt x="757" y="669"/>
                </a:cubicBezTo>
                <a:cubicBezTo>
                  <a:pt x="754" y="670"/>
                  <a:pt x="753" y="670"/>
                  <a:pt x="753" y="670"/>
                </a:cubicBezTo>
                <a:cubicBezTo>
                  <a:pt x="753" y="671"/>
                  <a:pt x="754" y="671"/>
                  <a:pt x="755" y="672"/>
                </a:cubicBezTo>
                <a:cubicBezTo>
                  <a:pt x="756" y="673"/>
                  <a:pt x="756" y="673"/>
                  <a:pt x="756" y="674"/>
                </a:cubicBezTo>
                <a:cubicBezTo>
                  <a:pt x="756" y="674"/>
                  <a:pt x="756" y="674"/>
                  <a:pt x="754" y="674"/>
                </a:cubicBezTo>
                <a:cubicBezTo>
                  <a:pt x="753" y="674"/>
                  <a:pt x="752" y="674"/>
                  <a:pt x="752" y="674"/>
                </a:cubicBezTo>
                <a:lnTo>
                  <a:pt x="753" y="675"/>
                </a:lnTo>
                <a:cubicBezTo>
                  <a:pt x="754" y="675"/>
                  <a:pt x="754" y="676"/>
                  <a:pt x="754" y="676"/>
                </a:cubicBezTo>
                <a:cubicBezTo>
                  <a:pt x="754" y="677"/>
                  <a:pt x="753" y="678"/>
                  <a:pt x="752" y="679"/>
                </a:cubicBezTo>
                <a:cubicBezTo>
                  <a:pt x="750" y="681"/>
                  <a:pt x="749" y="687"/>
                  <a:pt x="749" y="695"/>
                </a:cubicBezTo>
                <a:lnTo>
                  <a:pt x="749" y="695"/>
                </a:lnTo>
                <a:lnTo>
                  <a:pt x="747" y="695"/>
                </a:lnTo>
                <a:lnTo>
                  <a:pt x="746" y="695"/>
                </a:lnTo>
                <a:cubicBezTo>
                  <a:pt x="745" y="695"/>
                  <a:pt x="744" y="696"/>
                  <a:pt x="744" y="699"/>
                </a:cubicBezTo>
                <a:cubicBezTo>
                  <a:pt x="744" y="700"/>
                  <a:pt x="745" y="701"/>
                  <a:pt x="745" y="701"/>
                </a:cubicBezTo>
                <a:cubicBezTo>
                  <a:pt x="746" y="702"/>
                  <a:pt x="746" y="703"/>
                  <a:pt x="746" y="703"/>
                </a:cubicBezTo>
                <a:lnTo>
                  <a:pt x="745" y="702"/>
                </a:lnTo>
                <a:cubicBezTo>
                  <a:pt x="744" y="702"/>
                  <a:pt x="743" y="703"/>
                  <a:pt x="742" y="706"/>
                </a:cubicBezTo>
                <a:cubicBezTo>
                  <a:pt x="741" y="708"/>
                  <a:pt x="739" y="711"/>
                  <a:pt x="739" y="714"/>
                </a:cubicBezTo>
                <a:cubicBezTo>
                  <a:pt x="738" y="717"/>
                  <a:pt x="737" y="720"/>
                  <a:pt x="737" y="722"/>
                </a:cubicBezTo>
                <a:cubicBezTo>
                  <a:pt x="737" y="723"/>
                  <a:pt x="737" y="723"/>
                  <a:pt x="736" y="723"/>
                </a:cubicBezTo>
                <a:cubicBezTo>
                  <a:pt x="735" y="723"/>
                  <a:pt x="734" y="725"/>
                  <a:pt x="733" y="730"/>
                </a:cubicBezTo>
                <a:cubicBezTo>
                  <a:pt x="732" y="732"/>
                  <a:pt x="732" y="735"/>
                  <a:pt x="732" y="737"/>
                </a:cubicBezTo>
                <a:lnTo>
                  <a:pt x="732" y="737"/>
                </a:lnTo>
                <a:cubicBezTo>
                  <a:pt x="732" y="737"/>
                  <a:pt x="732" y="737"/>
                  <a:pt x="731" y="737"/>
                </a:cubicBezTo>
                <a:cubicBezTo>
                  <a:pt x="730" y="737"/>
                  <a:pt x="730" y="739"/>
                  <a:pt x="729" y="743"/>
                </a:cubicBezTo>
                <a:cubicBezTo>
                  <a:pt x="729" y="747"/>
                  <a:pt x="728" y="749"/>
                  <a:pt x="727" y="749"/>
                </a:cubicBezTo>
                <a:cubicBezTo>
                  <a:pt x="727" y="749"/>
                  <a:pt x="726" y="750"/>
                  <a:pt x="726" y="751"/>
                </a:cubicBezTo>
                <a:lnTo>
                  <a:pt x="723" y="761"/>
                </a:lnTo>
                <a:cubicBezTo>
                  <a:pt x="719" y="776"/>
                  <a:pt x="712" y="798"/>
                  <a:pt x="701" y="828"/>
                </a:cubicBezTo>
                <a:cubicBezTo>
                  <a:pt x="697" y="840"/>
                  <a:pt x="695" y="846"/>
                  <a:pt x="695" y="847"/>
                </a:cubicBezTo>
                <a:cubicBezTo>
                  <a:pt x="695" y="848"/>
                  <a:pt x="694" y="853"/>
                  <a:pt x="691" y="861"/>
                </a:cubicBezTo>
                <a:lnTo>
                  <a:pt x="689" y="867"/>
                </a:lnTo>
                <a:cubicBezTo>
                  <a:pt x="688" y="872"/>
                  <a:pt x="686" y="877"/>
                  <a:pt x="684" y="882"/>
                </a:cubicBezTo>
                <a:cubicBezTo>
                  <a:pt x="683" y="886"/>
                  <a:pt x="682" y="889"/>
                  <a:pt x="681" y="892"/>
                </a:cubicBezTo>
                <a:cubicBezTo>
                  <a:pt x="681" y="893"/>
                  <a:pt x="680" y="895"/>
                  <a:pt x="680" y="897"/>
                </a:cubicBezTo>
                <a:cubicBezTo>
                  <a:pt x="679" y="898"/>
                  <a:pt x="679" y="899"/>
                  <a:pt x="678" y="900"/>
                </a:cubicBezTo>
                <a:cubicBezTo>
                  <a:pt x="677" y="901"/>
                  <a:pt x="677" y="902"/>
                  <a:pt x="677" y="902"/>
                </a:cubicBezTo>
                <a:cubicBezTo>
                  <a:pt x="677" y="903"/>
                  <a:pt x="678" y="904"/>
                  <a:pt x="679" y="904"/>
                </a:cubicBezTo>
                <a:cubicBezTo>
                  <a:pt x="680" y="904"/>
                  <a:pt x="682" y="899"/>
                  <a:pt x="685" y="888"/>
                </a:cubicBezTo>
                <a:cubicBezTo>
                  <a:pt x="692" y="867"/>
                  <a:pt x="697" y="851"/>
                  <a:pt x="701" y="842"/>
                </a:cubicBezTo>
                <a:cubicBezTo>
                  <a:pt x="702" y="839"/>
                  <a:pt x="702" y="836"/>
                  <a:pt x="703" y="834"/>
                </a:cubicBezTo>
                <a:cubicBezTo>
                  <a:pt x="703" y="832"/>
                  <a:pt x="704" y="830"/>
                  <a:pt x="704" y="829"/>
                </a:cubicBezTo>
                <a:cubicBezTo>
                  <a:pt x="705" y="828"/>
                  <a:pt x="705" y="826"/>
                  <a:pt x="705" y="826"/>
                </a:cubicBezTo>
                <a:cubicBezTo>
                  <a:pt x="705" y="826"/>
                  <a:pt x="706" y="824"/>
                  <a:pt x="707" y="820"/>
                </a:cubicBezTo>
                <a:cubicBezTo>
                  <a:pt x="709" y="816"/>
                  <a:pt x="710" y="814"/>
                  <a:pt x="710" y="814"/>
                </a:cubicBezTo>
                <a:cubicBezTo>
                  <a:pt x="711" y="810"/>
                  <a:pt x="712" y="806"/>
                  <a:pt x="714" y="803"/>
                </a:cubicBezTo>
                <a:cubicBezTo>
                  <a:pt x="715" y="800"/>
                  <a:pt x="717" y="798"/>
                  <a:pt x="718" y="798"/>
                </a:cubicBezTo>
                <a:lnTo>
                  <a:pt x="721" y="800"/>
                </a:lnTo>
                <a:cubicBezTo>
                  <a:pt x="721" y="800"/>
                  <a:pt x="720" y="799"/>
                  <a:pt x="719" y="797"/>
                </a:cubicBezTo>
                <a:cubicBezTo>
                  <a:pt x="717" y="796"/>
                  <a:pt x="717" y="795"/>
                  <a:pt x="717" y="794"/>
                </a:cubicBezTo>
                <a:cubicBezTo>
                  <a:pt x="717" y="794"/>
                  <a:pt x="717" y="794"/>
                  <a:pt x="718" y="793"/>
                </a:cubicBezTo>
                <a:cubicBezTo>
                  <a:pt x="719" y="793"/>
                  <a:pt x="719" y="792"/>
                  <a:pt x="719" y="792"/>
                </a:cubicBezTo>
                <a:lnTo>
                  <a:pt x="719" y="790"/>
                </a:lnTo>
                <a:cubicBezTo>
                  <a:pt x="719" y="789"/>
                  <a:pt x="719" y="789"/>
                  <a:pt x="720" y="789"/>
                </a:cubicBezTo>
                <a:cubicBezTo>
                  <a:pt x="720" y="789"/>
                  <a:pt x="721" y="789"/>
                  <a:pt x="721" y="789"/>
                </a:cubicBezTo>
                <a:cubicBezTo>
                  <a:pt x="721" y="788"/>
                  <a:pt x="720" y="787"/>
                  <a:pt x="720" y="787"/>
                </a:cubicBezTo>
                <a:cubicBezTo>
                  <a:pt x="720" y="786"/>
                  <a:pt x="719" y="786"/>
                  <a:pt x="719" y="786"/>
                </a:cubicBezTo>
                <a:cubicBezTo>
                  <a:pt x="720" y="786"/>
                  <a:pt x="720" y="786"/>
                  <a:pt x="722" y="788"/>
                </a:cubicBezTo>
                <a:cubicBezTo>
                  <a:pt x="723" y="789"/>
                  <a:pt x="724" y="790"/>
                  <a:pt x="724" y="791"/>
                </a:cubicBezTo>
                <a:cubicBezTo>
                  <a:pt x="724" y="793"/>
                  <a:pt x="723" y="798"/>
                  <a:pt x="720" y="804"/>
                </a:cubicBezTo>
                <a:cubicBezTo>
                  <a:pt x="720" y="806"/>
                  <a:pt x="719" y="807"/>
                  <a:pt x="719" y="808"/>
                </a:cubicBezTo>
                <a:cubicBezTo>
                  <a:pt x="719" y="808"/>
                  <a:pt x="718" y="809"/>
                  <a:pt x="716" y="810"/>
                </a:cubicBezTo>
                <a:lnTo>
                  <a:pt x="715" y="809"/>
                </a:lnTo>
                <a:lnTo>
                  <a:pt x="716" y="810"/>
                </a:lnTo>
                <a:cubicBezTo>
                  <a:pt x="716" y="814"/>
                  <a:pt x="715" y="818"/>
                  <a:pt x="713" y="823"/>
                </a:cubicBezTo>
                <a:lnTo>
                  <a:pt x="711" y="831"/>
                </a:lnTo>
                <a:lnTo>
                  <a:pt x="710" y="837"/>
                </a:lnTo>
                <a:cubicBezTo>
                  <a:pt x="710" y="838"/>
                  <a:pt x="710" y="839"/>
                  <a:pt x="709" y="839"/>
                </a:cubicBezTo>
                <a:cubicBezTo>
                  <a:pt x="708" y="839"/>
                  <a:pt x="708" y="839"/>
                  <a:pt x="707" y="841"/>
                </a:cubicBezTo>
                <a:cubicBezTo>
                  <a:pt x="706" y="845"/>
                  <a:pt x="705" y="848"/>
                  <a:pt x="705" y="851"/>
                </a:cubicBezTo>
                <a:cubicBezTo>
                  <a:pt x="705" y="853"/>
                  <a:pt x="705" y="855"/>
                  <a:pt x="706" y="855"/>
                </a:cubicBezTo>
                <a:cubicBezTo>
                  <a:pt x="706" y="855"/>
                  <a:pt x="706" y="856"/>
                  <a:pt x="706" y="856"/>
                </a:cubicBezTo>
                <a:lnTo>
                  <a:pt x="705" y="856"/>
                </a:lnTo>
                <a:cubicBezTo>
                  <a:pt x="704" y="856"/>
                  <a:pt x="702" y="860"/>
                  <a:pt x="699" y="869"/>
                </a:cubicBezTo>
                <a:cubicBezTo>
                  <a:pt x="696" y="877"/>
                  <a:pt x="695" y="881"/>
                  <a:pt x="694" y="881"/>
                </a:cubicBezTo>
                <a:cubicBezTo>
                  <a:pt x="693" y="881"/>
                  <a:pt x="693" y="881"/>
                  <a:pt x="693" y="881"/>
                </a:cubicBezTo>
                <a:cubicBezTo>
                  <a:pt x="693" y="882"/>
                  <a:pt x="694" y="883"/>
                  <a:pt x="694" y="884"/>
                </a:cubicBezTo>
                <a:lnTo>
                  <a:pt x="695" y="887"/>
                </a:lnTo>
                <a:lnTo>
                  <a:pt x="694" y="887"/>
                </a:lnTo>
                <a:cubicBezTo>
                  <a:pt x="693" y="887"/>
                  <a:pt x="692" y="887"/>
                  <a:pt x="692" y="888"/>
                </a:cubicBezTo>
                <a:lnTo>
                  <a:pt x="693" y="893"/>
                </a:lnTo>
                <a:lnTo>
                  <a:pt x="692" y="894"/>
                </a:lnTo>
                <a:cubicBezTo>
                  <a:pt x="691" y="894"/>
                  <a:pt x="690" y="898"/>
                  <a:pt x="687" y="905"/>
                </a:cubicBezTo>
                <a:cubicBezTo>
                  <a:pt x="680" y="923"/>
                  <a:pt x="674" y="943"/>
                  <a:pt x="668" y="964"/>
                </a:cubicBezTo>
                <a:cubicBezTo>
                  <a:pt x="664" y="976"/>
                  <a:pt x="662" y="982"/>
                  <a:pt x="661" y="983"/>
                </a:cubicBezTo>
                <a:cubicBezTo>
                  <a:pt x="660" y="984"/>
                  <a:pt x="660" y="985"/>
                  <a:pt x="660" y="987"/>
                </a:cubicBezTo>
                <a:cubicBezTo>
                  <a:pt x="660" y="990"/>
                  <a:pt x="658" y="995"/>
                  <a:pt x="655" y="1004"/>
                </a:cubicBezTo>
                <a:cubicBezTo>
                  <a:pt x="653" y="1013"/>
                  <a:pt x="651" y="1018"/>
                  <a:pt x="650" y="1018"/>
                </a:cubicBezTo>
                <a:cubicBezTo>
                  <a:pt x="650" y="1018"/>
                  <a:pt x="650" y="1018"/>
                  <a:pt x="650" y="1019"/>
                </a:cubicBezTo>
                <a:lnTo>
                  <a:pt x="651" y="1021"/>
                </a:lnTo>
                <a:cubicBezTo>
                  <a:pt x="651" y="1021"/>
                  <a:pt x="651" y="1022"/>
                  <a:pt x="650" y="1022"/>
                </a:cubicBezTo>
                <a:cubicBezTo>
                  <a:pt x="649" y="1022"/>
                  <a:pt x="649" y="1022"/>
                  <a:pt x="649" y="1023"/>
                </a:cubicBezTo>
                <a:cubicBezTo>
                  <a:pt x="649" y="1023"/>
                  <a:pt x="649" y="1024"/>
                  <a:pt x="649" y="1024"/>
                </a:cubicBezTo>
                <a:cubicBezTo>
                  <a:pt x="650" y="1025"/>
                  <a:pt x="650" y="1026"/>
                  <a:pt x="650" y="1026"/>
                </a:cubicBezTo>
                <a:cubicBezTo>
                  <a:pt x="650" y="1027"/>
                  <a:pt x="650" y="1027"/>
                  <a:pt x="649" y="1027"/>
                </a:cubicBezTo>
                <a:cubicBezTo>
                  <a:pt x="648" y="1027"/>
                  <a:pt x="648" y="1028"/>
                  <a:pt x="648" y="1031"/>
                </a:cubicBezTo>
                <a:cubicBezTo>
                  <a:pt x="648" y="1034"/>
                  <a:pt x="647" y="1035"/>
                  <a:pt x="646" y="1036"/>
                </a:cubicBezTo>
                <a:cubicBezTo>
                  <a:pt x="645" y="1037"/>
                  <a:pt x="645" y="1038"/>
                  <a:pt x="645" y="1038"/>
                </a:cubicBezTo>
                <a:lnTo>
                  <a:pt x="644" y="1045"/>
                </a:lnTo>
                <a:cubicBezTo>
                  <a:pt x="644" y="1049"/>
                  <a:pt x="644" y="1050"/>
                  <a:pt x="643" y="1051"/>
                </a:cubicBezTo>
                <a:cubicBezTo>
                  <a:pt x="642" y="1052"/>
                  <a:pt x="641" y="1052"/>
                  <a:pt x="641" y="1053"/>
                </a:cubicBezTo>
                <a:lnTo>
                  <a:pt x="642" y="1053"/>
                </a:lnTo>
                <a:cubicBezTo>
                  <a:pt x="642" y="1053"/>
                  <a:pt x="643" y="1053"/>
                  <a:pt x="643" y="1053"/>
                </a:cubicBezTo>
                <a:cubicBezTo>
                  <a:pt x="643" y="1054"/>
                  <a:pt x="642" y="1054"/>
                  <a:pt x="642" y="1055"/>
                </a:cubicBezTo>
                <a:cubicBezTo>
                  <a:pt x="641" y="1057"/>
                  <a:pt x="640" y="1058"/>
                  <a:pt x="640" y="1059"/>
                </a:cubicBezTo>
                <a:cubicBezTo>
                  <a:pt x="640" y="1061"/>
                  <a:pt x="640" y="1064"/>
                  <a:pt x="640" y="1067"/>
                </a:cubicBezTo>
                <a:cubicBezTo>
                  <a:pt x="639" y="1070"/>
                  <a:pt x="639" y="1073"/>
                  <a:pt x="639" y="1076"/>
                </a:cubicBezTo>
                <a:cubicBezTo>
                  <a:pt x="639" y="1080"/>
                  <a:pt x="639" y="1083"/>
                  <a:pt x="640" y="1087"/>
                </a:cubicBezTo>
                <a:cubicBezTo>
                  <a:pt x="640" y="1090"/>
                  <a:pt x="641" y="1092"/>
                  <a:pt x="642" y="1093"/>
                </a:cubicBezTo>
                <a:cubicBezTo>
                  <a:pt x="643" y="1094"/>
                  <a:pt x="643" y="1095"/>
                  <a:pt x="643" y="1096"/>
                </a:cubicBezTo>
                <a:cubicBezTo>
                  <a:pt x="643" y="1097"/>
                  <a:pt x="643" y="1098"/>
                  <a:pt x="642" y="1098"/>
                </a:cubicBezTo>
                <a:cubicBezTo>
                  <a:pt x="640" y="1099"/>
                  <a:pt x="639" y="1100"/>
                  <a:pt x="637" y="1100"/>
                </a:cubicBezTo>
                <a:close/>
                <a:moveTo>
                  <a:pt x="811" y="505"/>
                </a:moveTo>
                <a:cubicBezTo>
                  <a:pt x="811" y="505"/>
                  <a:pt x="812" y="505"/>
                  <a:pt x="812" y="504"/>
                </a:cubicBezTo>
                <a:lnTo>
                  <a:pt x="812" y="502"/>
                </a:lnTo>
                <a:cubicBezTo>
                  <a:pt x="812" y="502"/>
                  <a:pt x="812" y="501"/>
                  <a:pt x="811" y="501"/>
                </a:cubicBezTo>
                <a:lnTo>
                  <a:pt x="811" y="501"/>
                </a:lnTo>
                <a:cubicBezTo>
                  <a:pt x="810" y="501"/>
                  <a:pt x="810" y="502"/>
                  <a:pt x="810" y="502"/>
                </a:cubicBezTo>
                <a:cubicBezTo>
                  <a:pt x="810" y="504"/>
                  <a:pt x="811" y="505"/>
                  <a:pt x="811" y="505"/>
                </a:cubicBezTo>
                <a:close/>
                <a:moveTo>
                  <a:pt x="782" y="569"/>
                </a:moveTo>
                <a:cubicBezTo>
                  <a:pt x="782" y="569"/>
                  <a:pt x="782" y="569"/>
                  <a:pt x="783" y="568"/>
                </a:cubicBezTo>
                <a:cubicBezTo>
                  <a:pt x="783" y="566"/>
                  <a:pt x="783" y="566"/>
                  <a:pt x="783" y="565"/>
                </a:cubicBezTo>
                <a:cubicBezTo>
                  <a:pt x="783" y="565"/>
                  <a:pt x="783" y="565"/>
                  <a:pt x="782" y="565"/>
                </a:cubicBezTo>
                <a:lnTo>
                  <a:pt x="782" y="565"/>
                </a:lnTo>
                <a:cubicBezTo>
                  <a:pt x="781" y="566"/>
                  <a:pt x="781" y="566"/>
                  <a:pt x="781" y="568"/>
                </a:cubicBezTo>
                <a:cubicBezTo>
                  <a:pt x="781" y="569"/>
                  <a:pt x="781" y="569"/>
                  <a:pt x="782" y="569"/>
                </a:cubicBezTo>
                <a:close/>
                <a:moveTo>
                  <a:pt x="767" y="652"/>
                </a:moveTo>
                <a:cubicBezTo>
                  <a:pt x="767" y="652"/>
                  <a:pt x="768" y="652"/>
                  <a:pt x="768" y="651"/>
                </a:cubicBezTo>
                <a:cubicBezTo>
                  <a:pt x="768" y="650"/>
                  <a:pt x="767" y="650"/>
                  <a:pt x="765" y="649"/>
                </a:cubicBezTo>
                <a:lnTo>
                  <a:pt x="764" y="649"/>
                </a:lnTo>
                <a:cubicBezTo>
                  <a:pt x="763" y="649"/>
                  <a:pt x="763" y="649"/>
                  <a:pt x="763" y="650"/>
                </a:cubicBezTo>
                <a:lnTo>
                  <a:pt x="764" y="651"/>
                </a:lnTo>
                <a:cubicBezTo>
                  <a:pt x="765" y="652"/>
                  <a:pt x="766" y="652"/>
                  <a:pt x="767" y="652"/>
                </a:cubicBezTo>
                <a:close/>
                <a:moveTo>
                  <a:pt x="922" y="549"/>
                </a:moveTo>
                <a:cubicBezTo>
                  <a:pt x="920" y="549"/>
                  <a:pt x="920" y="549"/>
                  <a:pt x="920" y="549"/>
                </a:cubicBezTo>
                <a:lnTo>
                  <a:pt x="920" y="548"/>
                </a:lnTo>
                <a:lnTo>
                  <a:pt x="922" y="548"/>
                </a:lnTo>
                <a:cubicBezTo>
                  <a:pt x="924" y="548"/>
                  <a:pt x="925" y="548"/>
                  <a:pt x="925" y="549"/>
                </a:cubicBezTo>
                <a:cubicBezTo>
                  <a:pt x="925" y="549"/>
                  <a:pt x="924" y="549"/>
                  <a:pt x="922" y="549"/>
                </a:cubicBezTo>
                <a:close/>
                <a:moveTo>
                  <a:pt x="1068" y="761"/>
                </a:moveTo>
                <a:lnTo>
                  <a:pt x="1067" y="761"/>
                </a:lnTo>
                <a:cubicBezTo>
                  <a:pt x="1067" y="761"/>
                  <a:pt x="1068" y="760"/>
                  <a:pt x="1069" y="759"/>
                </a:cubicBezTo>
                <a:cubicBezTo>
                  <a:pt x="1069" y="758"/>
                  <a:pt x="1071" y="758"/>
                  <a:pt x="1071" y="758"/>
                </a:cubicBezTo>
                <a:lnTo>
                  <a:pt x="1072" y="758"/>
                </a:lnTo>
                <a:lnTo>
                  <a:pt x="1072" y="758"/>
                </a:lnTo>
                <a:cubicBezTo>
                  <a:pt x="1072" y="759"/>
                  <a:pt x="1072" y="759"/>
                  <a:pt x="1071" y="760"/>
                </a:cubicBezTo>
                <a:cubicBezTo>
                  <a:pt x="1070" y="761"/>
                  <a:pt x="1069" y="761"/>
                  <a:pt x="1068" y="761"/>
                </a:cubicBezTo>
                <a:close/>
                <a:moveTo>
                  <a:pt x="1057" y="714"/>
                </a:moveTo>
                <a:cubicBezTo>
                  <a:pt x="1057" y="714"/>
                  <a:pt x="1056" y="713"/>
                  <a:pt x="1056" y="712"/>
                </a:cubicBezTo>
                <a:lnTo>
                  <a:pt x="1056" y="711"/>
                </a:lnTo>
                <a:cubicBezTo>
                  <a:pt x="1056" y="710"/>
                  <a:pt x="1056" y="709"/>
                  <a:pt x="1057" y="708"/>
                </a:cubicBezTo>
                <a:cubicBezTo>
                  <a:pt x="1057" y="708"/>
                  <a:pt x="1058" y="708"/>
                  <a:pt x="1058" y="708"/>
                </a:cubicBezTo>
                <a:cubicBezTo>
                  <a:pt x="1058" y="708"/>
                  <a:pt x="1058" y="709"/>
                  <a:pt x="1058" y="710"/>
                </a:cubicBezTo>
                <a:cubicBezTo>
                  <a:pt x="1058" y="713"/>
                  <a:pt x="1058" y="714"/>
                  <a:pt x="1057" y="714"/>
                </a:cubicBezTo>
                <a:close/>
                <a:moveTo>
                  <a:pt x="1091" y="501"/>
                </a:moveTo>
                <a:lnTo>
                  <a:pt x="1091" y="499"/>
                </a:lnTo>
                <a:cubicBezTo>
                  <a:pt x="1091" y="498"/>
                  <a:pt x="1092" y="497"/>
                  <a:pt x="1092" y="496"/>
                </a:cubicBezTo>
                <a:cubicBezTo>
                  <a:pt x="1092" y="495"/>
                  <a:pt x="1093" y="494"/>
                  <a:pt x="1093" y="493"/>
                </a:cubicBezTo>
                <a:cubicBezTo>
                  <a:pt x="1093" y="492"/>
                  <a:pt x="1094" y="492"/>
                  <a:pt x="1094" y="492"/>
                </a:cubicBezTo>
                <a:cubicBezTo>
                  <a:pt x="1094" y="492"/>
                  <a:pt x="1094" y="492"/>
                  <a:pt x="1094" y="493"/>
                </a:cubicBezTo>
                <a:lnTo>
                  <a:pt x="1094" y="496"/>
                </a:lnTo>
                <a:cubicBezTo>
                  <a:pt x="1093" y="499"/>
                  <a:pt x="1092" y="501"/>
                  <a:pt x="1091" y="501"/>
                </a:cubicBezTo>
                <a:close/>
                <a:moveTo>
                  <a:pt x="1087" y="512"/>
                </a:moveTo>
                <a:lnTo>
                  <a:pt x="1087" y="512"/>
                </a:lnTo>
                <a:cubicBezTo>
                  <a:pt x="1087" y="511"/>
                  <a:pt x="1087" y="510"/>
                  <a:pt x="1087" y="509"/>
                </a:cubicBezTo>
                <a:cubicBezTo>
                  <a:pt x="1087" y="507"/>
                  <a:pt x="1088" y="506"/>
                  <a:pt x="1089" y="506"/>
                </a:cubicBezTo>
                <a:lnTo>
                  <a:pt x="1089" y="506"/>
                </a:lnTo>
                <a:lnTo>
                  <a:pt x="1090" y="507"/>
                </a:lnTo>
                <a:cubicBezTo>
                  <a:pt x="1090" y="508"/>
                  <a:pt x="1089" y="509"/>
                  <a:pt x="1089" y="510"/>
                </a:cubicBezTo>
                <a:lnTo>
                  <a:pt x="1087" y="512"/>
                </a:lnTo>
                <a:close/>
                <a:moveTo>
                  <a:pt x="1054" y="812"/>
                </a:moveTo>
                <a:cubicBezTo>
                  <a:pt x="1052" y="812"/>
                  <a:pt x="1050" y="811"/>
                  <a:pt x="1047" y="807"/>
                </a:cubicBezTo>
                <a:cubicBezTo>
                  <a:pt x="1044" y="804"/>
                  <a:pt x="1041" y="803"/>
                  <a:pt x="1037" y="803"/>
                </a:cubicBezTo>
                <a:cubicBezTo>
                  <a:pt x="1033" y="803"/>
                  <a:pt x="1029" y="801"/>
                  <a:pt x="1026" y="798"/>
                </a:cubicBezTo>
                <a:cubicBezTo>
                  <a:pt x="1021" y="794"/>
                  <a:pt x="1018" y="789"/>
                  <a:pt x="1017" y="783"/>
                </a:cubicBezTo>
                <a:cubicBezTo>
                  <a:pt x="1016" y="779"/>
                  <a:pt x="1016" y="773"/>
                  <a:pt x="1016" y="763"/>
                </a:cubicBezTo>
                <a:cubicBezTo>
                  <a:pt x="1017" y="748"/>
                  <a:pt x="1019" y="741"/>
                  <a:pt x="1021" y="741"/>
                </a:cubicBezTo>
                <a:lnTo>
                  <a:pt x="1022" y="741"/>
                </a:lnTo>
                <a:cubicBezTo>
                  <a:pt x="1022" y="741"/>
                  <a:pt x="1022" y="740"/>
                  <a:pt x="1022" y="740"/>
                </a:cubicBezTo>
                <a:cubicBezTo>
                  <a:pt x="1022" y="740"/>
                  <a:pt x="1022" y="739"/>
                  <a:pt x="1022" y="739"/>
                </a:cubicBezTo>
                <a:cubicBezTo>
                  <a:pt x="1022" y="738"/>
                  <a:pt x="1021" y="737"/>
                  <a:pt x="1021" y="736"/>
                </a:cubicBezTo>
                <a:cubicBezTo>
                  <a:pt x="1021" y="735"/>
                  <a:pt x="1021" y="735"/>
                  <a:pt x="1022" y="735"/>
                </a:cubicBezTo>
                <a:cubicBezTo>
                  <a:pt x="1023" y="735"/>
                  <a:pt x="1024" y="734"/>
                  <a:pt x="1024" y="734"/>
                </a:cubicBezTo>
                <a:cubicBezTo>
                  <a:pt x="1024" y="733"/>
                  <a:pt x="1023" y="733"/>
                  <a:pt x="1023" y="732"/>
                </a:cubicBezTo>
                <a:cubicBezTo>
                  <a:pt x="1023" y="732"/>
                  <a:pt x="1022" y="731"/>
                  <a:pt x="1022" y="730"/>
                </a:cubicBezTo>
                <a:lnTo>
                  <a:pt x="1023" y="724"/>
                </a:lnTo>
                <a:cubicBezTo>
                  <a:pt x="1024" y="721"/>
                  <a:pt x="1025" y="719"/>
                  <a:pt x="1025" y="719"/>
                </a:cubicBezTo>
                <a:lnTo>
                  <a:pt x="1025" y="719"/>
                </a:lnTo>
                <a:lnTo>
                  <a:pt x="1026" y="720"/>
                </a:lnTo>
                <a:cubicBezTo>
                  <a:pt x="1026" y="720"/>
                  <a:pt x="1027" y="719"/>
                  <a:pt x="1027" y="718"/>
                </a:cubicBezTo>
                <a:cubicBezTo>
                  <a:pt x="1027" y="718"/>
                  <a:pt x="1028" y="717"/>
                  <a:pt x="1028" y="716"/>
                </a:cubicBezTo>
                <a:cubicBezTo>
                  <a:pt x="1028" y="716"/>
                  <a:pt x="1028" y="715"/>
                  <a:pt x="1027" y="714"/>
                </a:cubicBezTo>
                <a:cubicBezTo>
                  <a:pt x="1027" y="713"/>
                  <a:pt x="1027" y="712"/>
                  <a:pt x="1026" y="711"/>
                </a:cubicBezTo>
                <a:cubicBezTo>
                  <a:pt x="1026" y="711"/>
                  <a:pt x="1026" y="710"/>
                  <a:pt x="1026" y="710"/>
                </a:cubicBezTo>
                <a:cubicBezTo>
                  <a:pt x="1026" y="710"/>
                  <a:pt x="1026" y="709"/>
                  <a:pt x="1027" y="709"/>
                </a:cubicBezTo>
                <a:cubicBezTo>
                  <a:pt x="1028" y="709"/>
                  <a:pt x="1028" y="709"/>
                  <a:pt x="1028" y="708"/>
                </a:cubicBezTo>
                <a:cubicBezTo>
                  <a:pt x="1027" y="707"/>
                  <a:pt x="1027" y="706"/>
                  <a:pt x="1027" y="706"/>
                </a:cubicBezTo>
                <a:lnTo>
                  <a:pt x="1027" y="705"/>
                </a:lnTo>
                <a:cubicBezTo>
                  <a:pt x="1029" y="705"/>
                  <a:pt x="1030" y="705"/>
                  <a:pt x="1030" y="704"/>
                </a:cubicBezTo>
                <a:cubicBezTo>
                  <a:pt x="1030" y="704"/>
                  <a:pt x="1029" y="704"/>
                  <a:pt x="1029" y="703"/>
                </a:cubicBezTo>
                <a:cubicBezTo>
                  <a:pt x="1029" y="703"/>
                  <a:pt x="1029" y="703"/>
                  <a:pt x="1029" y="702"/>
                </a:cubicBezTo>
                <a:cubicBezTo>
                  <a:pt x="1029" y="702"/>
                  <a:pt x="1029" y="701"/>
                  <a:pt x="1029" y="701"/>
                </a:cubicBezTo>
                <a:cubicBezTo>
                  <a:pt x="1029" y="700"/>
                  <a:pt x="1029" y="699"/>
                  <a:pt x="1030" y="698"/>
                </a:cubicBezTo>
                <a:cubicBezTo>
                  <a:pt x="1031" y="697"/>
                  <a:pt x="1031" y="696"/>
                  <a:pt x="1031" y="694"/>
                </a:cubicBezTo>
                <a:lnTo>
                  <a:pt x="1030" y="692"/>
                </a:lnTo>
                <a:cubicBezTo>
                  <a:pt x="1030" y="691"/>
                  <a:pt x="1031" y="691"/>
                  <a:pt x="1031" y="691"/>
                </a:cubicBezTo>
                <a:cubicBezTo>
                  <a:pt x="1032" y="691"/>
                  <a:pt x="1033" y="690"/>
                  <a:pt x="1034" y="686"/>
                </a:cubicBezTo>
                <a:cubicBezTo>
                  <a:pt x="1034" y="684"/>
                  <a:pt x="1034" y="683"/>
                  <a:pt x="1035" y="683"/>
                </a:cubicBezTo>
                <a:lnTo>
                  <a:pt x="1036" y="683"/>
                </a:lnTo>
                <a:cubicBezTo>
                  <a:pt x="1037" y="683"/>
                  <a:pt x="1038" y="682"/>
                  <a:pt x="1038" y="681"/>
                </a:cubicBezTo>
                <a:cubicBezTo>
                  <a:pt x="1038" y="679"/>
                  <a:pt x="1038" y="678"/>
                  <a:pt x="1038" y="678"/>
                </a:cubicBezTo>
                <a:lnTo>
                  <a:pt x="1036" y="679"/>
                </a:lnTo>
                <a:cubicBezTo>
                  <a:pt x="1036" y="679"/>
                  <a:pt x="1036" y="678"/>
                  <a:pt x="1036" y="677"/>
                </a:cubicBezTo>
                <a:lnTo>
                  <a:pt x="1036" y="676"/>
                </a:lnTo>
                <a:cubicBezTo>
                  <a:pt x="1036" y="674"/>
                  <a:pt x="1037" y="674"/>
                  <a:pt x="1039" y="674"/>
                </a:cubicBezTo>
                <a:lnTo>
                  <a:pt x="1040" y="674"/>
                </a:lnTo>
                <a:cubicBezTo>
                  <a:pt x="1040" y="674"/>
                  <a:pt x="1040" y="674"/>
                  <a:pt x="1040" y="674"/>
                </a:cubicBezTo>
                <a:lnTo>
                  <a:pt x="1038" y="670"/>
                </a:lnTo>
                <a:cubicBezTo>
                  <a:pt x="1038" y="669"/>
                  <a:pt x="1039" y="668"/>
                  <a:pt x="1040" y="667"/>
                </a:cubicBezTo>
                <a:cubicBezTo>
                  <a:pt x="1041" y="667"/>
                  <a:pt x="1042" y="666"/>
                  <a:pt x="1042" y="665"/>
                </a:cubicBezTo>
                <a:cubicBezTo>
                  <a:pt x="1042" y="664"/>
                  <a:pt x="1042" y="663"/>
                  <a:pt x="1041" y="663"/>
                </a:cubicBezTo>
                <a:cubicBezTo>
                  <a:pt x="1041" y="662"/>
                  <a:pt x="1041" y="661"/>
                  <a:pt x="1040" y="660"/>
                </a:cubicBezTo>
                <a:lnTo>
                  <a:pt x="1043" y="661"/>
                </a:lnTo>
                <a:cubicBezTo>
                  <a:pt x="1043" y="661"/>
                  <a:pt x="1044" y="661"/>
                  <a:pt x="1044" y="660"/>
                </a:cubicBezTo>
                <a:lnTo>
                  <a:pt x="1041" y="656"/>
                </a:lnTo>
                <a:cubicBezTo>
                  <a:pt x="1041" y="655"/>
                  <a:pt x="1041" y="655"/>
                  <a:pt x="1042" y="655"/>
                </a:cubicBezTo>
                <a:lnTo>
                  <a:pt x="1044" y="656"/>
                </a:lnTo>
                <a:lnTo>
                  <a:pt x="1042" y="651"/>
                </a:lnTo>
                <a:lnTo>
                  <a:pt x="1044" y="651"/>
                </a:lnTo>
                <a:cubicBezTo>
                  <a:pt x="1044" y="651"/>
                  <a:pt x="1046" y="648"/>
                  <a:pt x="1047" y="643"/>
                </a:cubicBezTo>
                <a:cubicBezTo>
                  <a:pt x="1048" y="637"/>
                  <a:pt x="1049" y="634"/>
                  <a:pt x="1050" y="634"/>
                </a:cubicBezTo>
                <a:cubicBezTo>
                  <a:pt x="1051" y="634"/>
                  <a:pt x="1052" y="633"/>
                  <a:pt x="1052" y="632"/>
                </a:cubicBezTo>
                <a:cubicBezTo>
                  <a:pt x="1052" y="632"/>
                  <a:pt x="1051" y="632"/>
                  <a:pt x="1051" y="631"/>
                </a:cubicBezTo>
                <a:cubicBezTo>
                  <a:pt x="1050" y="630"/>
                  <a:pt x="1050" y="630"/>
                  <a:pt x="1050" y="630"/>
                </a:cubicBezTo>
                <a:lnTo>
                  <a:pt x="1050" y="630"/>
                </a:lnTo>
                <a:cubicBezTo>
                  <a:pt x="1051" y="630"/>
                  <a:pt x="1052" y="630"/>
                  <a:pt x="1053" y="630"/>
                </a:cubicBezTo>
                <a:cubicBezTo>
                  <a:pt x="1054" y="631"/>
                  <a:pt x="1055" y="631"/>
                  <a:pt x="1056" y="631"/>
                </a:cubicBezTo>
                <a:cubicBezTo>
                  <a:pt x="1056" y="631"/>
                  <a:pt x="1056" y="631"/>
                  <a:pt x="1056" y="630"/>
                </a:cubicBezTo>
                <a:lnTo>
                  <a:pt x="1054" y="628"/>
                </a:lnTo>
                <a:cubicBezTo>
                  <a:pt x="1053" y="627"/>
                  <a:pt x="1052" y="626"/>
                  <a:pt x="1052" y="625"/>
                </a:cubicBezTo>
                <a:cubicBezTo>
                  <a:pt x="1052" y="625"/>
                  <a:pt x="1052" y="623"/>
                  <a:pt x="1053" y="621"/>
                </a:cubicBezTo>
                <a:cubicBezTo>
                  <a:pt x="1054" y="620"/>
                  <a:pt x="1055" y="619"/>
                  <a:pt x="1055" y="618"/>
                </a:cubicBezTo>
                <a:lnTo>
                  <a:pt x="1054" y="617"/>
                </a:lnTo>
                <a:cubicBezTo>
                  <a:pt x="1054" y="616"/>
                  <a:pt x="1056" y="614"/>
                  <a:pt x="1059" y="611"/>
                </a:cubicBezTo>
                <a:lnTo>
                  <a:pt x="1063" y="607"/>
                </a:lnTo>
                <a:cubicBezTo>
                  <a:pt x="1063" y="606"/>
                  <a:pt x="1063" y="606"/>
                  <a:pt x="1062" y="606"/>
                </a:cubicBezTo>
                <a:cubicBezTo>
                  <a:pt x="1061" y="606"/>
                  <a:pt x="1060" y="605"/>
                  <a:pt x="1060" y="603"/>
                </a:cubicBezTo>
                <a:cubicBezTo>
                  <a:pt x="1060" y="599"/>
                  <a:pt x="1061" y="596"/>
                  <a:pt x="1063" y="593"/>
                </a:cubicBezTo>
                <a:cubicBezTo>
                  <a:pt x="1064" y="592"/>
                  <a:pt x="1064" y="591"/>
                  <a:pt x="1065" y="591"/>
                </a:cubicBezTo>
                <a:lnTo>
                  <a:pt x="1066" y="591"/>
                </a:lnTo>
                <a:cubicBezTo>
                  <a:pt x="1067" y="591"/>
                  <a:pt x="1067" y="591"/>
                  <a:pt x="1067" y="590"/>
                </a:cubicBezTo>
                <a:lnTo>
                  <a:pt x="1066" y="588"/>
                </a:lnTo>
                <a:cubicBezTo>
                  <a:pt x="1066" y="586"/>
                  <a:pt x="1067" y="585"/>
                  <a:pt x="1068" y="584"/>
                </a:cubicBezTo>
                <a:cubicBezTo>
                  <a:pt x="1069" y="583"/>
                  <a:pt x="1069" y="583"/>
                  <a:pt x="1069" y="582"/>
                </a:cubicBezTo>
                <a:lnTo>
                  <a:pt x="1069" y="580"/>
                </a:lnTo>
                <a:cubicBezTo>
                  <a:pt x="1069" y="580"/>
                  <a:pt x="1068" y="580"/>
                  <a:pt x="1068" y="579"/>
                </a:cubicBezTo>
                <a:cubicBezTo>
                  <a:pt x="1068" y="579"/>
                  <a:pt x="1069" y="578"/>
                  <a:pt x="1070" y="578"/>
                </a:cubicBezTo>
                <a:cubicBezTo>
                  <a:pt x="1071" y="578"/>
                  <a:pt x="1071" y="578"/>
                  <a:pt x="1071" y="577"/>
                </a:cubicBezTo>
                <a:cubicBezTo>
                  <a:pt x="1071" y="577"/>
                  <a:pt x="1071" y="577"/>
                  <a:pt x="1071" y="576"/>
                </a:cubicBezTo>
                <a:cubicBezTo>
                  <a:pt x="1070" y="576"/>
                  <a:pt x="1070" y="575"/>
                  <a:pt x="1070" y="575"/>
                </a:cubicBezTo>
                <a:cubicBezTo>
                  <a:pt x="1070" y="574"/>
                  <a:pt x="1070" y="574"/>
                  <a:pt x="1071" y="574"/>
                </a:cubicBezTo>
                <a:cubicBezTo>
                  <a:pt x="1072" y="574"/>
                  <a:pt x="1072" y="573"/>
                  <a:pt x="1072" y="573"/>
                </a:cubicBezTo>
                <a:lnTo>
                  <a:pt x="1070" y="570"/>
                </a:lnTo>
                <a:cubicBezTo>
                  <a:pt x="1071" y="570"/>
                  <a:pt x="1071" y="570"/>
                  <a:pt x="1072" y="570"/>
                </a:cubicBezTo>
                <a:cubicBezTo>
                  <a:pt x="1072" y="571"/>
                  <a:pt x="1073" y="571"/>
                  <a:pt x="1074" y="571"/>
                </a:cubicBezTo>
                <a:cubicBezTo>
                  <a:pt x="1074" y="571"/>
                  <a:pt x="1074" y="570"/>
                  <a:pt x="1074" y="569"/>
                </a:cubicBezTo>
                <a:cubicBezTo>
                  <a:pt x="1074" y="568"/>
                  <a:pt x="1074" y="566"/>
                  <a:pt x="1074" y="565"/>
                </a:cubicBezTo>
                <a:cubicBezTo>
                  <a:pt x="1074" y="564"/>
                  <a:pt x="1074" y="564"/>
                  <a:pt x="1074" y="563"/>
                </a:cubicBezTo>
                <a:cubicBezTo>
                  <a:pt x="1075" y="562"/>
                  <a:pt x="1076" y="560"/>
                  <a:pt x="1077" y="559"/>
                </a:cubicBezTo>
                <a:cubicBezTo>
                  <a:pt x="1077" y="557"/>
                  <a:pt x="1078" y="557"/>
                  <a:pt x="1079" y="557"/>
                </a:cubicBezTo>
                <a:lnTo>
                  <a:pt x="1079" y="558"/>
                </a:lnTo>
                <a:cubicBezTo>
                  <a:pt x="1079" y="559"/>
                  <a:pt x="1078" y="563"/>
                  <a:pt x="1077" y="568"/>
                </a:cubicBezTo>
                <a:cubicBezTo>
                  <a:pt x="1076" y="573"/>
                  <a:pt x="1074" y="582"/>
                  <a:pt x="1071" y="595"/>
                </a:cubicBezTo>
                <a:cubicBezTo>
                  <a:pt x="1070" y="599"/>
                  <a:pt x="1069" y="602"/>
                  <a:pt x="1068" y="605"/>
                </a:cubicBezTo>
                <a:cubicBezTo>
                  <a:pt x="1066" y="616"/>
                  <a:pt x="1063" y="625"/>
                  <a:pt x="1062" y="633"/>
                </a:cubicBezTo>
                <a:lnTo>
                  <a:pt x="1059" y="648"/>
                </a:lnTo>
                <a:cubicBezTo>
                  <a:pt x="1060" y="649"/>
                  <a:pt x="1060" y="649"/>
                  <a:pt x="1060" y="649"/>
                </a:cubicBezTo>
                <a:cubicBezTo>
                  <a:pt x="1060" y="649"/>
                  <a:pt x="1060" y="650"/>
                  <a:pt x="1059" y="650"/>
                </a:cubicBezTo>
                <a:cubicBezTo>
                  <a:pt x="1058" y="650"/>
                  <a:pt x="1057" y="650"/>
                  <a:pt x="1057" y="651"/>
                </a:cubicBezTo>
                <a:lnTo>
                  <a:pt x="1058" y="653"/>
                </a:lnTo>
                <a:cubicBezTo>
                  <a:pt x="1058" y="654"/>
                  <a:pt x="1058" y="654"/>
                  <a:pt x="1057" y="655"/>
                </a:cubicBezTo>
                <a:cubicBezTo>
                  <a:pt x="1056" y="656"/>
                  <a:pt x="1056" y="657"/>
                  <a:pt x="1056" y="659"/>
                </a:cubicBezTo>
                <a:cubicBezTo>
                  <a:pt x="1056" y="661"/>
                  <a:pt x="1055" y="664"/>
                  <a:pt x="1054" y="668"/>
                </a:cubicBezTo>
                <a:cubicBezTo>
                  <a:pt x="1053" y="669"/>
                  <a:pt x="1053" y="671"/>
                  <a:pt x="1053" y="673"/>
                </a:cubicBezTo>
                <a:cubicBezTo>
                  <a:pt x="1053" y="674"/>
                  <a:pt x="1054" y="676"/>
                  <a:pt x="1056" y="679"/>
                </a:cubicBezTo>
                <a:lnTo>
                  <a:pt x="1056" y="681"/>
                </a:lnTo>
                <a:lnTo>
                  <a:pt x="1056" y="681"/>
                </a:lnTo>
                <a:cubicBezTo>
                  <a:pt x="1055" y="681"/>
                  <a:pt x="1055" y="681"/>
                  <a:pt x="1054" y="679"/>
                </a:cubicBezTo>
                <a:cubicBezTo>
                  <a:pt x="1054" y="678"/>
                  <a:pt x="1054" y="677"/>
                  <a:pt x="1053" y="677"/>
                </a:cubicBezTo>
                <a:cubicBezTo>
                  <a:pt x="1052" y="677"/>
                  <a:pt x="1050" y="680"/>
                  <a:pt x="1049" y="685"/>
                </a:cubicBezTo>
                <a:cubicBezTo>
                  <a:pt x="1048" y="690"/>
                  <a:pt x="1047" y="693"/>
                  <a:pt x="1047" y="694"/>
                </a:cubicBezTo>
                <a:cubicBezTo>
                  <a:pt x="1047" y="694"/>
                  <a:pt x="1048" y="695"/>
                  <a:pt x="1048" y="695"/>
                </a:cubicBezTo>
                <a:cubicBezTo>
                  <a:pt x="1049" y="695"/>
                  <a:pt x="1049" y="694"/>
                  <a:pt x="1051" y="693"/>
                </a:cubicBezTo>
                <a:cubicBezTo>
                  <a:pt x="1052" y="693"/>
                  <a:pt x="1053" y="691"/>
                  <a:pt x="1053" y="689"/>
                </a:cubicBezTo>
                <a:cubicBezTo>
                  <a:pt x="1053" y="686"/>
                  <a:pt x="1054" y="685"/>
                  <a:pt x="1056" y="685"/>
                </a:cubicBezTo>
                <a:lnTo>
                  <a:pt x="1057" y="686"/>
                </a:lnTo>
                <a:cubicBezTo>
                  <a:pt x="1059" y="686"/>
                  <a:pt x="1060" y="684"/>
                  <a:pt x="1060" y="682"/>
                </a:cubicBezTo>
                <a:cubicBezTo>
                  <a:pt x="1060" y="680"/>
                  <a:pt x="1059" y="678"/>
                  <a:pt x="1058" y="674"/>
                </a:cubicBezTo>
                <a:cubicBezTo>
                  <a:pt x="1058" y="673"/>
                  <a:pt x="1059" y="671"/>
                  <a:pt x="1061" y="668"/>
                </a:cubicBezTo>
                <a:cubicBezTo>
                  <a:pt x="1062" y="666"/>
                  <a:pt x="1062" y="664"/>
                  <a:pt x="1062" y="663"/>
                </a:cubicBezTo>
                <a:cubicBezTo>
                  <a:pt x="1062" y="661"/>
                  <a:pt x="1062" y="661"/>
                  <a:pt x="1062" y="660"/>
                </a:cubicBezTo>
                <a:cubicBezTo>
                  <a:pt x="1061" y="660"/>
                  <a:pt x="1061" y="659"/>
                  <a:pt x="1061" y="659"/>
                </a:cubicBezTo>
                <a:cubicBezTo>
                  <a:pt x="1061" y="657"/>
                  <a:pt x="1062" y="656"/>
                  <a:pt x="1063" y="656"/>
                </a:cubicBezTo>
                <a:cubicBezTo>
                  <a:pt x="1064" y="655"/>
                  <a:pt x="1065" y="654"/>
                  <a:pt x="1065" y="653"/>
                </a:cubicBezTo>
                <a:lnTo>
                  <a:pt x="1064" y="649"/>
                </a:lnTo>
                <a:cubicBezTo>
                  <a:pt x="1064" y="649"/>
                  <a:pt x="1064" y="648"/>
                  <a:pt x="1064" y="648"/>
                </a:cubicBezTo>
                <a:cubicBezTo>
                  <a:pt x="1064" y="647"/>
                  <a:pt x="1064" y="647"/>
                  <a:pt x="1065" y="647"/>
                </a:cubicBezTo>
                <a:cubicBezTo>
                  <a:pt x="1066" y="647"/>
                  <a:pt x="1066" y="647"/>
                  <a:pt x="1066" y="647"/>
                </a:cubicBezTo>
                <a:lnTo>
                  <a:pt x="1066" y="646"/>
                </a:lnTo>
                <a:cubicBezTo>
                  <a:pt x="1065" y="646"/>
                  <a:pt x="1065" y="645"/>
                  <a:pt x="1065" y="645"/>
                </a:cubicBezTo>
                <a:cubicBezTo>
                  <a:pt x="1065" y="644"/>
                  <a:pt x="1065" y="643"/>
                  <a:pt x="1066" y="642"/>
                </a:cubicBezTo>
                <a:cubicBezTo>
                  <a:pt x="1067" y="641"/>
                  <a:pt x="1067" y="640"/>
                  <a:pt x="1067" y="639"/>
                </a:cubicBezTo>
                <a:cubicBezTo>
                  <a:pt x="1067" y="637"/>
                  <a:pt x="1067" y="636"/>
                  <a:pt x="1067" y="636"/>
                </a:cubicBezTo>
                <a:cubicBezTo>
                  <a:pt x="1067" y="636"/>
                  <a:pt x="1067" y="635"/>
                  <a:pt x="1067" y="634"/>
                </a:cubicBezTo>
                <a:cubicBezTo>
                  <a:pt x="1067" y="634"/>
                  <a:pt x="1067" y="633"/>
                  <a:pt x="1067" y="633"/>
                </a:cubicBezTo>
                <a:cubicBezTo>
                  <a:pt x="1068" y="632"/>
                  <a:pt x="1068" y="631"/>
                  <a:pt x="1069" y="628"/>
                </a:cubicBezTo>
                <a:cubicBezTo>
                  <a:pt x="1070" y="626"/>
                  <a:pt x="1071" y="623"/>
                  <a:pt x="1071" y="619"/>
                </a:cubicBezTo>
                <a:cubicBezTo>
                  <a:pt x="1072" y="616"/>
                  <a:pt x="1073" y="613"/>
                  <a:pt x="1074" y="610"/>
                </a:cubicBezTo>
                <a:cubicBezTo>
                  <a:pt x="1074" y="607"/>
                  <a:pt x="1074" y="606"/>
                  <a:pt x="1074" y="605"/>
                </a:cubicBezTo>
                <a:cubicBezTo>
                  <a:pt x="1074" y="605"/>
                  <a:pt x="1075" y="602"/>
                  <a:pt x="1076" y="596"/>
                </a:cubicBezTo>
                <a:cubicBezTo>
                  <a:pt x="1077" y="590"/>
                  <a:pt x="1079" y="583"/>
                  <a:pt x="1081" y="575"/>
                </a:cubicBezTo>
                <a:cubicBezTo>
                  <a:pt x="1082" y="567"/>
                  <a:pt x="1084" y="560"/>
                  <a:pt x="1085" y="554"/>
                </a:cubicBezTo>
                <a:cubicBezTo>
                  <a:pt x="1086" y="549"/>
                  <a:pt x="1086" y="545"/>
                  <a:pt x="1086" y="544"/>
                </a:cubicBezTo>
                <a:cubicBezTo>
                  <a:pt x="1086" y="543"/>
                  <a:pt x="1086" y="543"/>
                  <a:pt x="1086" y="543"/>
                </a:cubicBezTo>
                <a:lnTo>
                  <a:pt x="1086" y="542"/>
                </a:lnTo>
                <a:cubicBezTo>
                  <a:pt x="1088" y="542"/>
                  <a:pt x="1089" y="542"/>
                  <a:pt x="1089" y="541"/>
                </a:cubicBezTo>
                <a:lnTo>
                  <a:pt x="1087" y="539"/>
                </a:lnTo>
                <a:cubicBezTo>
                  <a:pt x="1087" y="537"/>
                  <a:pt x="1088" y="536"/>
                  <a:pt x="1089" y="534"/>
                </a:cubicBezTo>
                <a:cubicBezTo>
                  <a:pt x="1091" y="532"/>
                  <a:pt x="1091" y="530"/>
                  <a:pt x="1091" y="529"/>
                </a:cubicBezTo>
                <a:lnTo>
                  <a:pt x="1091" y="529"/>
                </a:lnTo>
                <a:cubicBezTo>
                  <a:pt x="1091" y="524"/>
                  <a:pt x="1095" y="510"/>
                  <a:pt x="1103" y="487"/>
                </a:cubicBezTo>
                <a:cubicBezTo>
                  <a:pt x="1112" y="458"/>
                  <a:pt x="1118" y="443"/>
                  <a:pt x="1121" y="443"/>
                </a:cubicBezTo>
                <a:cubicBezTo>
                  <a:pt x="1122" y="443"/>
                  <a:pt x="1123" y="444"/>
                  <a:pt x="1125" y="445"/>
                </a:cubicBezTo>
                <a:cubicBezTo>
                  <a:pt x="1130" y="447"/>
                  <a:pt x="1133" y="448"/>
                  <a:pt x="1133" y="448"/>
                </a:cubicBezTo>
                <a:cubicBezTo>
                  <a:pt x="1136" y="448"/>
                  <a:pt x="1137" y="449"/>
                  <a:pt x="1138" y="451"/>
                </a:cubicBezTo>
                <a:cubicBezTo>
                  <a:pt x="1138" y="458"/>
                  <a:pt x="1135" y="471"/>
                  <a:pt x="1129" y="490"/>
                </a:cubicBezTo>
                <a:cubicBezTo>
                  <a:pt x="1126" y="498"/>
                  <a:pt x="1123" y="508"/>
                  <a:pt x="1120" y="519"/>
                </a:cubicBezTo>
                <a:cubicBezTo>
                  <a:pt x="1103" y="576"/>
                  <a:pt x="1094" y="606"/>
                  <a:pt x="1093" y="611"/>
                </a:cubicBezTo>
                <a:cubicBezTo>
                  <a:pt x="1091" y="615"/>
                  <a:pt x="1090" y="620"/>
                  <a:pt x="1089" y="626"/>
                </a:cubicBezTo>
                <a:cubicBezTo>
                  <a:pt x="1089" y="630"/>
                  <a:pt x="1088" y="632"/>
                  <a:pt x="1088" y="632"/>
                </a:cubicBezTo>
                <a:cubicBezTo>
                  <a:pt x="1087" y="632"/>
                  <a:pt x="1086" y="633"/>
                  <a:pt x="1085" y="636"/>
                </a:cubicBezTo>
                <a:cubicBezTo>
                  <a:pt x="1084" y="639"/>
                  <a:pt x="1083" y="643"/>
                  <a:pt x="1082" y="648"/>
                </a:cubicBezTo>
                <a:cubicBezTo>
                  <a:pt x="1080" y="659"/>
                  <a:pt x="1078" y="664"/>
                  <a:pt x="1077" y="665"/>
                </a:cubicBezTo>
                <a:cubicBezTo>
                  <a:pt x="1077" y="666"/>
                  <a:pt x="1076" y="666"/>
                  <a:pt x="1076" y="668"/>
                </a:cubicBezTo>
                <a:lnTo>
                  <a:pt x="1077" y="676"/>
                </a:lnTo>
                <a:cubicBezTo>
                  <a:pt x="1077" y="679"/>
                  <a:pt x="1076" y="681"/>
                  <a:pt x="1075" y="681"/>
                </a:cubicBezTo>
                <a:lnTo>
                  <a:pt x="1074" y="681"/>
                </a:lnTo>
                <a:cubicBezTo>
                  <a:pt x="1074" y="681"/>
                  <a:pt x="1073" y="681"/>
                  <a:pt x="1073" y="681"/>
                </a:cubicBezTo>
                <a:cubicBezTo>
                  <a:pt x="1074" y="682"/>
                  <a:pt x="1075" y="683"/>
                  <a:pt x="1075" y="685"/>
                </a:cubicBezTo>
                <a:cubicBezTo>
                  <a:pt x="1075" y="686"/>
                  <a:pt x="1074" y="686"/>
                  <a:pt x="1074" y="686"/>
                </a:cubicBezTo>
                <a:cubicBezTo>
                  <a:pt x="1073" y="686"/>
                  <a:pt x="1072" y="687"/>
                  <a:pt x="1072" y="688"/>
                </a:cubicBezTo>
                <a:lnTo>
                  <a:pt x="1072" y="688"/>
                </a:lnTo>
                <a:cubicBezTo>
                  <a:pt x="1073" y="690"/>
                  <a:pt x="1073" y="691"/>
                  <a:pt x="1073" y="692"/>
                </a:cubicBezTo>
                <a:cubicBezTo>
                  <a:pt x="1073" y="694"/>
                  <a:pt x="1073" y="695"/>
                  <a:pt x="1072" y="695"/>
                </a:cubicBezTo>
                <a:lnTo>
                  <a:pt x="1069" y="694"/>
                </a:lnTo>
                <a:cubicBezTo>
                  <a:pt x="1069" y="694"/>
                  <a:pt x="1069" y="694"/>
                  <a:pt x="1069" y="694"/>
                </a:cubicBezTo>
                <a:cubicBezTo>
                  <a:pt x="1069" y="694"/>
                  <a:pt x="1070" y="695"/>
                  <a:pt x="1070" y="696"/>
                </a:cubicBezTo>
                <a:cubicBezTo>
                  <a:pt x="1071" y="698"/>
                  <a:pt x="1071" y="698"/>
                  <a:pt x="1071" y="699"/>
                </a:cubicBezTo>
                <a:lnTo>
                  <a:pt x="1071" y="700"/>
                </a:lnTo>
                <a:lnTo>
                  <a:pt x="1071" y="700"/>
                </a:lnTo>
                <a:cubicBezTo>
                  <a:pt x="1071" y="700"/>
                  <a:pt x="1070" y="699"/>
                  <a:pt x="1069" y="699"/>
                </a:cubicBezTo>
                <a:cubicBezTo>
                  <a:pt x="1067" y="698"/>
                  <a:pt x="1067" y="698"/>
                  <a:pt x="1066" y="698"/>
                </a:cubicBezTo>
                <a:lnTo>
                  <a:pt x="1066" y="699"/>
                </a:lnTo>
                <a:lnTo>
                  <a:pt x="1067" y="699"/>
                </a:lnTo>
                <a:cubicBezTo>
                  <a:pt x="1067" y="700"/>
                  <a:pt x="1067" y="700"/>
                  <a:pt x="1067" y="701"/>
                </a:cubicBezTo>
                <a:cubicBezTo>
                  <a:pt x="1067" y="701"/>
                  <a:pt x="1067" y="702"/>
                  <a:pt x="1067" y="703"/>
                </a:cubicBezTo>
                <a:cubicBezTo>
                  <a:pt x="1067" y="704"/>
                  <a:pt x="1067" y="705"/>
                  <a:pt x="1067" y="706"/>
                </a:cubicBezTo>
                <a:cubicBezTo>
                  <a:pt x="1067" y="707"/>
                  <a:pt x="1067" y="709"/>
                  <a:pt x="1067" y="711"/>
                </a:cubicBezTo>
                <a:cubicBezTo>
                  <a:pt x="1067" y="718"/>
                  <a:pt x="1067" y="722"/>
                  <a:pt x="1068" y="722"/>
                </a:cubicBezTo>
                <a:lnTo>
                  <a:pt x="1069" y="721"/>
                </a:lnTo>
                <a:cubicBezTo>
                  <a:pt x="1069" y="721"/>
                  <a:pt x="1069" y="720"/>
                  <a:pt x="1071" y="718"/>
                </a:cubicBezTo>
                <a:cubicBezTo>
                  <a:pt x="1072" y="716"/>
                  <a:pt x="1073" y="713"/>
                  <a:pt x="1074" y="710"/>
                </a:cubicBezTo>
                <a:cubicBezTo>
                  <a:pt x="1076" y="707"/>
                  <a:pt x="1077" y="705"/>
                  <a:pt x="1079" y="703"/>
                </a:cubicBezTo>
                <a:cubicBezTo>
                  <a:pt x="1080" y="701"/>
                  <a:pt x="1081" y="700"/>
                  <a:pt x="1082" y="700"/>
                </a:cubicBezTo>
                <a:cubicBezTo>
                  <a:pt x="1083" y="700"/>
                  <a:pt x="1084" y="700"/>
                  <a:pt x="1085" y="698"/>
                </a:cubicBezTo>
                <a:cubicBezTo>
                  <a:pt x="1087" y="697"/>
                  <a:pt x="1088" y="696"/>
                  <a:pt x="1089" y="693"/>
                </a:cubicBezTo>
                <a:cubicBezTo>
                  <a:pt x="1090" y="691"/>
                  <a:pt x="1091" y="690"/>
                  <a:pt x="1091" y="689"/>
                </a:cubicBezTo>
                <a:cubicBezTo>
                  <a:pt x="1091" y="689"/>
                  <a:pt x="1091" y="688"/>
                  <a:pt x="1090" y="688"/>
                </a:cubicBezTo>
                <a:cubicBezTo>
                  <a:pt x="1089" y="688"/>
                  <a:pt x="1088" y="690"/>
                  <a:pt x="1087" y="693"/>
                </a:cubicBezTo>
                <a:cubicBezTo>
                  <a:pt x="1086" y="696"/>
                  <a:pt x="1084" y="698"/>
                  <a:pt x="1083" y="698"/>
                </a:cubicBezTo>
                <a:cubicBezTo>
                  <a:pt x="1082" y="698"/>
                  <a:pt x="1082" y="697"/>
                  <a:pt x="1082" y="696"/>
                </a:cubicBezTo>
                <a:cubicBezTo>
                  <a:pt x="1082" y="694"/>
                  <a:pt x="1084" y="690"/>
                  <a:pt x="1089" y="685"/>
                </a:cubicBezTo>
                <a:cubicBezTo>
                  <a:pt x="1090" y="683"/>
                  <a:pt x="1090" y="682"/>
                  <a:pt x="1090" y="681"/>
                </a:cubicBezTo>
                <a:cubicBezTo>
                  <a:pt x="1090" y="680"/>
                  <a:pt x="1090" y="679"/>
                  <a:pt x="1089" y="679"/>
                </a:cubicBezTo>
                <a:lnTo>
                  <a:pt x="1089" y="677"/>
                </a:lnTo>
                <a:lnTo>
                  <a:pt x="1092" y="679"/>
                </a:lnTo>
                <a:cubicBezTo>
                  <a:pt x="1094" y="680"/>
                  <a:pt x="1095" y="681"/>
                  <a:pt x="1095" y="681"/>
                </a:cubicBezTo>
                <a:cubicBezTo>
                  <a:pt x="1096" y="681"/>
                  <a:pt x="1097" y="680"/>
                  <a:pt x="1098" y="679"/>
                </a:cubicBezTo>
                <a:lnTo>
                  <a:pt x="1099" y="676"/>
                </a:lnTo>
                <a:cubicBezTo>
                  <a:pt x="1098" y="676"/>
                  <a:pt x="1097" y="676"/>
                  <a:pt x="1096" y="676"/>
                </a:cubicBezTo>
                <a:cubicBezTo>
                  <a:pt x="1094" y="676"/>
                  <a:pt x="1093" y="676"/>
                  <a:pt x="1093" y="676"/>
                </a:cubicBezTo>
                <a:lnTo>
                  <a:pt x="1093" y="674"/>
                </a:lnTo>
                <a:cubicBezTo>
                  <a:pt x="1093" y="674"/>
                  <a:pt x="1093" y="673"/>
                  <a:pt x="1095" y="672"/>
                </a:cubicBezTo>
                <a:cubicBezTo>
                  <a:pt x="1096" y="671"/>
                  <a:pt x="1097" y="671"/>
                  <a:pt x="1097" y="670"/>
                </a:cubicBezTo>
                <a:lnTo>
                  <a:pt x="1097" y="669"/>
                </a:lnTo>
                <a:cubicBezTo>
                  <a:pt x="1097" y="669"/>
                  <a:pt x="1096" y="667"/>
                  <a:pt x="1095" y="666"/>
                </a:cubicBezTo>
                <a:lnTo>
                  <a:pt x="1095" y="666"/>
                </a:lnTo>
                <a:cubicBezTo>
                  <a:pt x="1096" y="666"/>
                  <a:pt x="1097" y="666"/>
                  <a:pt x="1098" y="667"/>
                </a:cubicBezTo>
                <a:cubicBezTo>
                  <a:pt x="1099" y="668"/>
                  <a:pt x="1101" y="669"/>
                  <a:pt x="1101" y="669"/>
                </a:cubicBezTo>
                <a:cubicBezTo>
                  <a:pt x="1103" y="669"/>
                  <a:pt x="1104" y="668"/>
                  <a:pt x="1104" y="665"/>
                </a:cubicBezTo>
                <a:lnTo>
                  <a:pt x="1104" y="661"/>
                </a:lnTo>
                <a:lnTo>
                  <a:pt x="1103" y="660"/>
                </a:lnTo>
                <a:cubicBezTo>
                  <a:pt x="1103" y="659"/>
                  <a:pt x="1104" y="659"/>
                  <a:pt x="1104" y="658"/>
                </a:cubicBezTo>
                <a:cubicBezTo>
                  <a:pt x="1104" y="658"/>
                  <a:pt x="1105" y="658"/>
                  <a:pt x="1106" y="658"/>
                </a:cubicBezTo>
                <a:cubicBezTo>
                  <a:pt x="1106" y="658"/>
                  <a:pt x="1107" y="657"/>
                  <a:pt x="1108" y="657"/>
                </a:cubicBezTo>
                <a:cubicBezTo>
                  <a:pt x="1110" y="655"/>
                  <a:pt x="1111" y="653"/>
                  <a:pt x="1111" y="652"/>
                </a:cubicBezTo>
                <a:lnTo>
                  <a:pt x="1109" y="653"/>
                </a:lnTo>
                <a:cubicBezTo>
                  <a:pt x="1109" y="652"/>
                  <a:pt x="1110" y="650"/>
                  <a:pt x="1112" y="646"/>
                </a:cubicBezTo>
                <a:cubicBezTo>
                  <a:pt x="1119" y="634"/>
                  <a:pt x="1127" y="622"/>
                  <a:pt x="1136" y="611"/>
                </a:cubicBezTo>
                <a:cubicBezTo>
                  <a:pt x="1139" y="606"/>
                  <a:pt x="1141" y="603"/>
                  <a:pt x="1142" y="603"/>
                </a:cubicBezTo>
                <a:lnTo>
                  <a:pt x="1142" y="605"/>
                </a:lnTo>
                <a:cubicBezTo>
                  <a:pt x="1143" y="605"/>
                  <a:pt x="1144" y="603"/>
                  <a:pt x="1146" y="601"/>
                </a:cubicBezTo>
                <a:cubicBezTo>
                  <a:pt x="1148" y="599"/>
                  <a:pt x="1149" y="597"/>
                  <a:pt x="1149" y="595"/>
                </a:cubicBezTo>
                <a:lnTo>
                  <a:pt x="1149" y="593"/>
                </a:lnTo>
                <a:cubicBezTo>
                  <a:pt x="1149" y="591"/>
                  <a:pt x="1151" y="588"/>
                  <a:pt x="1154" y="581"/>
                </a:cubicBezTo>
                <a:cubicBezTo>
                  <a:pt x="1163" y="567"/>
                  <a:pt x="1171" y="554"/>
                  <a:pt x="1181" y="544"/>
                </a:cubicBezTo>
                <a:cubicBezTo>
                  <a:pt x="1187" y="536"/>
                  <a:pt x="1193" y="532"/>
                  <a:pt x="1199" y="532"/>
                </a:cubicBezTo>
                <a:cubicBezTo>
                  <a:pt x="1202" y="532"/>
                  <a:pt x="1205" y="533"/>
                  <a:pt x="1207" y="535"/>
                </a:cubicBezTo>
                <a:lnTo>
                  <a:pt x="1210" y="537"/>
                </a:lnTo>
                <a:lnTo>
                  <a:pt x="1210" y="537"/>
                </a:lnTo>
                <a:lnTo>
                  <a:pt x="1209" y="535"/>
                </a:lnTo>
                <a:lnTo>
                  <a:pt x="1209" y="535"/>
                </a:lnTo>
                <a:cubicBezTo>
                  <a:pt x="1210" y="535"/>
                  <a:pt x="1211" y="536"/>
                  <a:pt x="1213" y="537"/>
                </a:cubicBezTo>
                <a:cubicBezTo>
                  <a:pt x="1216" y="538"/>
                  <a:pt x="1218" y="539"/>
                  <a:pt x="1221" y="541"/>
                </a:cubicBezTo>
                <a:cubicBezTo>
                  <a:pt x="1224" y="542"/>
                  <a:pt x="1226" y="544"/>
                  <a:pt x="1227" y="545"/>
                </a:cubicBezTo>
                <a:cubicBezTo>
                  <a:pt x="1230" y="549"/>
                  <a:pt x="1234" y="560"/>
                  <a:pt x="1240" y="577"/>
                </a:cubicBezTo>
                <a:cubicBezTo>
                  <a:pt x="1245" y="594"/>
                  <a:pt x="1249" y="606"/>
                  <a:pt x="1252" y="612"/>
                </a:cubicBezTo>
                <a:cubicBezTo>
                  <a:pt x="1255" y="617"/>
                  <a:pt x="1258" y="620"/>
                  <a:pt x="1262" y="620"/>
                </a:cubicBezTo>
                <a:cubicBezTo>
                  <a:pt x="1266" y="620"/>
                  <a:pt x="1272" y="618"/>
                  <a:pt x="1280" y="614"/>
                </a:cubicBezTo>
                <a:cubicBezTo>
                  <a:pt x="1286" y="610"/>
                  <a:pt x="1292" y="607"/>
                  <a:pt x="1298" y="602"/>
                </a:cubicBezTo>
                <a:cubicBezTo>
                  <a:pt x="1301" y="600"/>
                  <a:pt x="1305" y="596"/>
                  <a:pt x="1311" y="593"/>
                </a:cubicBezTo>
                <a:cubicBezTo>
                  <a:pt x="1324" y="583"/>
                  <a:pt x="1332" y="578"/>
                  <a:pt x="1334" y="578"/>
                </a:cubicBezTo>
                <a:cubicBezTo>
                  <a:pt x="1338" y="578"/>
                  <a:pt x="1340" y="581"/>
                  <a:pt x="1340" y="586"/>
                </a:cubicBezTo>
                <a:cubicBezTo>
                  <a:pt x="1340" y="597"/>
                  <a:pt x="1336" y="606"/>
                  <a:pt x="1329" y="615"/>
                </a:cubicBezTo>
                <a:cubicBezTo>
                  <a:pt x="1314" y="633"/>
                  <a:pt x="1297" y="642"/>
                  <a:pt x="1278" y="642"/>
                </a:cubicBezTo>
                <a:cubicBezTo>
                  <a:pt x="1269" y="642"/>
                  <a:pt x="1260" y="640"/>
                  <a:pt x="1252" y="636"/>
                </a:cubicBezTo>
                <a:cubicBezTo>
                  <a:pt x="1235" y="630"/>
                  <a:pt x="1223" y="612"/>
                  <a:pt x="1215" y="582"/>
                </a:cubicBezTo>
                <a:cubicBezTo>
                  <a:pt x="1212" y="571"/>
                  <a:pt x="1209" y="565"/>
                  <a:pt x="1206" y="565"/>
                </a:cubicBezTo>
                <a:cubicBezTo>
                  <a:pt x="1203" y="565"/>
                  <a:pt x="1198" y="572"/>
                  <a:pt x="1190" y="584"/>
                </a:cubicBezTo>
                <a:cubicBezTo>
                  <a:pt x="1185" y="592"/>
                  <a:pt x="1179" y="600"/>
                  <a:pt x="1172" y="611"/>
                </a:cubicBezTo>
                <a:cubicBezTo>
                  <a:pt x="1165" y="621"/>
                  <a:pt x="1159" y="631"/>
                  <a:pt x="1154" y="639"/>
                </a:cubicBezTo>
                <a:cubicBezTo>
                  <a:pt x="1142" y="659"/>
                  <a:pt x="1135" y="669"/>
                  <a:pt x="1133" y="671"/>
                </a:cubicBezTo>
                <a:cubicBezTo>
                  <a:pt x="1130" y="672"/>
                  <a:pt x="1129" y="673"/>
                  <a:pt x="1129" y="674"/>
                </a:cubicBezTo>
                <a:cubicBezTo>
                  <a:pt x="1129" y="674"/>
                  <a:pt x="1129" y="674"/>
                  <a:pt x="1129" y="674"/>
                </a:cubicBezTo>
                <a:cubicBezTo>
                  <a:pt x="1130" y="674"/>
                  <a:pt x="1130" y="674"/>
                  <a:pt x="1130" y="674"/>
                </a:cubicBezTo>
                <a:lnTo>
                  <a:pt x="1133" y="673"/>
                </a:lnTo>
                <a:lnTo>
                  <a:pt x="1131" y="678"/>
                </a:lnTo>
                <a:lnTo>
                  <a:pt x="1124" y="692"/>
                </a:lnTo>
                <a:cubicBezTo>
                  <a:pt x="1123" y="695"/>
                  <a:pt x="1121" y="698"/>
                  <a:pt x="1119" y="700"/>
                </a:cubicBezTo>
                <a:cubicBezTo>
                  <a:pt x="1118" y="702"/>
                  <a:pt x="1116" y="703"/>
                  <a:pt x="1116" y="703"/>
                </a:cubicBezTo>
                <a:lnTo>
                  <a:pt x="1114" y="702"/>
                </a:lnTo>
                <a:cubicBezTo>
                  <a:pt x="1114" y="703"/>
                  <a:pt x="1115" y="703"/>
                  <a:pt x="1115" y="703"/>
                </a:cubicBezTo>
                <a:cubicBezTo>
                  <a:pt x="1116" y="704"/>
                  <a:pt x="1116" y="705"/>
                  <a:pt x="1116" y="705"/>
                </a:cubicBezTo>
                <a:cubicBezTo>
                  <a:pt x="1116" y="707"/>
                  <a:pt x="1116" y="710"/>
                  <a:pt x="1115" y="712"/>
                </a:cubicBezTo>
                <a:cubicBezTo>
                  <a:pt x="1114" y="714"/>
                  <a:pt x="1113" y="715"/>
                  <a:pt x="1111" y="715"/>
                </a:cubicBezTo>
                <a:lnTo>
                  <a:pt x="1109" y="714"/>
                </a:lnTo>
                <a:lnTo>
                  <a:pt x="1110" y="717"/>
                </a:lnTo>
                <a:cubicBezTo>
                  <a:pt x="1110" y="722"/>
                  <a:pt x="1103" y="739"/>
                  <a:pt x="1089" y="766"/>
                </a:cubicBezTo>
                <a:cubicBezTo>
                  <a:pt x="1074" y="794"/>
                  <a:pt x="1065" y="808"/>
                  <a:pt x="1062" y="808"/>
                </a:cubicBezTo>
                <a:cubicBezTo>
                  <a:pt x="1059" y="808"/>
                  <a:pt x="1057" y="809"/>
                  <a:pt x="1056" y="810"/>
                </a:cubicBezTo>
                <a:cubicBezTo>
                  <a:pt x="1056" y="812"/>
                  <a:pt x="1055" y="812"/>
                  <a:pt x="1054" y="812"/>
                </a:cubicBezTo>
                <a:close/>
                <a:moveTo>
                  <a:pt x="1064" y="688"/>
                </a:moveTo>
                <a:cubicBezTo>
                  <a:pt x="1064" y="688"/>
                  <a:pt x="1065" y="688"/>
                  <a:pt x="1066" y="687"/>
                </a:cubicBezTo>
                <a:cubicBezTo>
                  <a:pt x="1066" y="686"/>
                  <a:pt x="1067" y="685"/>
                  <a:pt x="1067" y="684"/>
                </a:cubicBezTo>
                <a:lnTo>
                  <a:pt x="1066" y="683"/>
                </a:lnTo>
                <a:cubicBezTo>
                  <a:pt x="1065" y="683"/>
                  <a:pt x="1064" y="683"/>
                  <a:pt x="1064" y="686"/>
                </a:cubicBezTo>
                <a:lnTo>
                  <a:pt x="1064" y="688"/>
                </a:lnTo>
                <a:close/>
                <a:moveTo>
                  <a:pt x="1052" y="810"/>
                </a:moveTo>
                <a:cubicBezTo>
                  <a:pt x="1052" y="810"/>
                  <a:pt x="1053" y="809"/>
                  <a:pt x="1054" y="807"/>
                </a:cubicBezTo>
                <a:cubicBezTo>
                  <a:pt x="1055" y="806"/>
                  <a:pt x="1056" y="805"/>
                  <a:pt x="1056" y="804"/>
                </a:cubicBezTo>
                <a:lnTo>
                  <a:pt x="1055" y="804"/>
                </a:lnTo>
                <a:cubicBezTo>
                  <a:pt x="1055" y="804"/>
                  <a:pt x="1054" y="804"/>
                  <a:pt x="1052" y="805"/>
                </a:cubicBezTo>
                <a:cubicBezTo>
                  <a:pt x="1051" y="806"/>
                  <a:pt x="1050" y="806"/>
                  <a:pt x="1050" y="808"/>
                </a:cubicBezTo>
                <a:cubicBezTo>
                  <a:pt x="1050" y="809"/>
                  <a:pt x="1051" y="810"/>
                  <a:pt x="1052" y="810"/>
                </a:cubicBezTo>
                <a:close/>
                <a:moveTo>
                  <a:pt x="1051" y="800"/>
                </a:moveTo>
                <a:cubicBezTo>
                  <a:pt x="1052" y="800"/>
                  <a:pt x="1053" y="800"/>
                  <a:pt x="1054" y="799"/>
                </a:cubicBezTo>
                <a:cubicBezTo>
                  <a:pt x="1055" y="797"/>
                  <a:pt x="1056" y="796"/>
                  <a:pt x="1056" y="796"/>
                </a:cubicBezTo>
                <a:cubicBezTo>
                  <a:pt x="1056" y="796"/>
                  <a:pt x="1056" y="796"/>
                  <a:pt x="1055" y="795"/>
                </a:cubicBezTo>
                <a:cubicBezTo>
                  <a:pt x="1055" y="795"/>
                  <a:pt x="1055" y="795"/>
                  <a:pt x="1054" y="794"/>
                </a:cubicBezTo>
                <a:cubicBezTo>
                  <a:pt x="1054" y="794"/>
                  <a:pt x="1054" y="794"/>
                  <a:pt x="1054" y="794"/>
                </a:cubicBezTo>
                <a:cubicBezTo>
                  <a:pt x="1053" y="794"/>
                  <a:pt x="1052" y="795"/>
                  <a:pt x="1051" y="796"/>
                </a:cubicBezTo>
                <a:cubicBezTo>
                  <a:pt x="1051" y="796"/>
                  <a:pt x="1050" y="797"/>
                  <a:pt x="1050" y="798"/>
                </a:cubicBezTo>
                <a:cubicBezTo>
                  <a:pt x="1050" y="800"/>
                  <a:pt x="1051" y="800"/>
                  <a:pt x="1051" y="800"/>
                </a:cubicBezTo>
                <a:close/>
                <a:moveTo>
                  <a:pt x="1060" y="802"/>
                </a:moveTo>
                <a:cubicBezTo>
                  <a:pt x="1061" y="802"/>
                  <a:pt x="1064" y="801"/>
                  <a:pt x="1067" y="797"/>
                </a:cubicBezTo>
                <a:cubicBezTo>
                  <a:pt x="1069" y="795"/>
                  <a:pt x="1069" y="794"/>
                  <a:pt x="1069" y="792"/>
                </a:cubicBezTo>
                <a:lnTo>
                  <a:pt x="1068" y="790"/>
                </a:lnTo>
                <a:lnTo>
                  <a:pt x="1069" y="790"/>
                </a:lnTo>
                <a:cubicBezTo>
                  <a:pt x="1070" y="790"/>
                  <a:pt x="1071" y="790"/>
                  <a:pt x="1072" y="788"/>
                </a:cubicBezTo>
                <a:cubicBezTo>
                  <a:pt x="1074" y="787"/>
                  <a:pt x="1075" y="785"/>
                  <a:pt x="1076" y="782"/>
                </a:cubicBezTo>
                <a:cubicBezTo>
                  <a:pt x="1078" y="779"/>
                  <a:pt x="1079" y="777"/>
                  <a:pt x="1079" y="777"/>
                </a:cubicBezTo>
                <a:lnTo>
                  <a:pt x="1077" y="777"/>
                </a:lnTo>
                <a:lnTo>
                  <a:pt x="1077" y="777"/>
                </a:lnTo>
                <a:cubicBezTo>
                  <a:pt x="1077" y="776"/>
                  <a:pt x="1078" y="775"/>
                  <a:pt x="1080" y="773"/>
                </a:cubicBezTo>
                <a:cubicBezTo>
                  <a:pt x="1082" y="771"/>
                  <a:pt x="1083" y="769"/>
                  <a:pt x="1083" y="767"/>
                </a:cubicBezTo>
                <a:lnTo>
                  <a:pt x="1082" y="767"/>
                </a:lnTo>
                <a:cubicBezTo>
                  <a:pt x="1082" y="766"/>
                  <a:pt x="1082" y="766"/>
                  <a:pt x="1082" y="765"/>
                </a:cubicBezTo>
                <a:cubicBezTo>
                  <a:pt x="1082" y="765"/>
                  <a:pt x="1082" y="765"/>
                  <a:pt x="1083" y="765"/>
                </a:cubicBezTo>
                <a:cubicBezTo>
                  <a:pt x="1084" y="765"/>
                  <a:pt x="1084" y="764"/>
                  <a:pt x="1084" y="763"/>
                </a:cubicBezTo>
                <a:cubicBezTo>
                  <a:pt x="1084" y="762"/>
                  <a:pt x="1085" y="760"/>
                  <a:pt x="1087" y="758"/>
                </a:cubicBezTo>
                <a:cubicBezTo>
                  <a:pt x="1090" y="756"/>
                  <a:pt x="1091" y="754"/>
                  <a:pt x="1091" y="752"/>
                </a:cubicBezTo>
                <a:cubicBezTo>
                  <a:pt x="1091" y="750"/>
                  <a:pt x="1091" y="750"/>
                  <a:pt x="1091" y="749"/>
                </a:cubicBezTo>
                <a:cubicBezTo>
                  <a:pt x="1091" y="747"/>
                  <a:pt x="1091" y="747"/>
                  <a:pt x="1091" y="747"/>
                </a:cubicBezTo>
                <a:lnTo>
                  <a:pt x="1093" y="747"/>
                </a:lnTo>
                <a:cubicBezTo>
                  <a:pt x="1095" y="747"/>
                  <a:pt x="1096" y="745"/>
                  <a:pt x="1096" y="742"/>
                </a:cubicBezTo>
                <a:cubicBezTo>
                  <a:pt x="1096" y="740"/>
                  <a:pt x="1096" y="738"/>
                  <a:pt x="1096" y="737"/>
                </a:cubicBezTo>
                <a:cubicBezTo>
                  <a:pt x="1095" y="737"/>
                  <a:pt x="1094" y="737"/>
                  <a:pt x="1094" y="737"/>
                </a:cubicBezTo>
                <a:cubicBezTo>
                  <a:pt x="1093" y="737"/>
                  <a:pt x="1093" y="737"/>
                  <a:pt x="1093" y="738"/>
                </a:cubicBezTo>
                <a:cubicBezTo>
                  <a:pt x="1093" y="739"/>
                  <a:pt x="1093" y="740"/>
                  <a:pt x="1094" y="740"/>
                </a:cubicBezTo>
                <a:cubicBezTo>
                  <a:pt x="1094" y="741"/>
                  <a:pt x="1094" y="742"/>
                  <a:pt x="1095" y="742"/>
                </a:cubicBezTo>
                <a:cubicBezTo>
                  <a:pt x="1095" y="742"/>
                  <a:pt x="1095" y="743"/>
                  <a:pt x="1094" y="743"/>
                </a:cubicBezTo>
                <a:lnTo>
                  <a:pt x="1091" y="742"/>
                </a:lnTo>
                <a:lnTo>
                  <a:pt x="1094" y="745"/>
                </a:lnTo>
                <a:lnTo>
                  <a:pt x="1094" y="746"/>
                </a:lnTo>
                <a:cubicBezTo>
                  <a:pt x="1094" y="746"/>
                  <a:pt x="1093" y="745"/>
                  <a:pt x="1092" y="745"/>
                </a:cubicBezTo>
                <a:cubicBezTo>
                  <a:pt x="1091" y="745"/>
                  <a:pt x="1091" y="744"/>
                  <a:pt x="1090" y="744"/>
                </a:cubicBezTo>
                <a:cubicBezTo>
                  <a:pt x="1089" y="744"/>
                  <a:pt x="1088" y="745"/>
                  <a:pt x="1088" y="746"/>
                </a:cubicBezTo>
                <a:cubicBezTo>
                  <a:pt x="1087" y="747"/>
                  <a:pt x="1085" y="748"/>
                  <a:pt x="1081" y="750"/>
                </a:cubicBezTo>
                <a:cubicBezTo>
                  <a:pt x="1076" y="751"/>
                  <a:pt x="1073" y="752"/>
                  <a:pt x="1073" y="753"/>
                </a:cubicBezTo>
                <a:cubicBezTo>
                  <a:pt x="1073" y="754"/>
                  <a:pt x="1074" y="754"/>
                  <a:pt x="1074" y="755"/>
                </a:cubicBezTo>
                <a:cubicBezTo>
                  <a:pt x="1074" y="756"/>
                  <a:pt x="1075" y="756"/>
                  <a:pt x="1076" y="756"/>
                </a:cubicBezTo>
                <a:cubicBezTo>
                  <a:pt x="1077" y="756"/>
                  <a:pt x="1078" y="755"/>
                  <a:pt x="1079" y="754"/>
                </a:cubicBezTo>
                <a:cubicBezTo>
                  <a:pt x="1080" y="752"/>
                  <a:pt x="1081" y="752"/>
                  <a:pt x="1082" y="752"/>
                </a:cubicBezTo>
                <a:cubicBezTo>
                  <a:pt x="1084" y="752"/>
                  <a:pt x="1084" y="752"/>
                  <a:pt x="1084" y="753"/>
                </a:cubicBezTo>
                <a:cubicBezTo>
                  <a:pt x="1084" y="755"/>
                  <a:pt x="1084" y="755"/>
                  <a:pt x="1083" y="756"/>
                </a:cubicBezTo>
                <a:cubicBezTo>
                  <a:pt x="1082" y="756"/>
                  <a:pt x="1081" y="757"/>
                  <a:pt x="1080" y="759"/>
                </a:cubicBezTo>
                <a:cubicBezTo>
                  <a:pt x="1078" y="762"/>
                  <a:pt x="1074" y="769"/>
                  <a:pt x="1068" y="782"/>
                </a:cubicBezTo>
                <a:lnTo>
                  <a:pt x="1062" y="792"/>
                </a:lnTo>
                <a:cubicBezTo>
                  <a:pt x="1060" y="796"/>
                  <a:pt x="1058" y="799"/>
                  <a:pt x="1058" y="801"/>
                </a:cubicBezTo>
                <a:cubicBezTo>
                  <a:pt x="1058" y="802"/>
                  <a:pt x="1059" y="802"/>
                  <a:pt x="1060" y="802"/>
                </a:cubicBezTo>
                <a:close/>
                <a:moveTo>
                  <a:pt x="1058" y="792"/>
                </a:moveTo>
                <a:cubicBezTo>
                  <a:pt x="1058" y="792"/>
                  <a:pt x="1059" y="791"/>
                  <a:pt x="1059" y="791"/>
                </a:cubicBezTo>
                <a:cubicBezTo>
                  <a:pt x="1059" y="790"/>
                  <a:pt x="1060" y="789"/>
                  <a:pt x="1061" y="789"/>
                </a:cubicBezTo>
                <a:cubicBezTo>
                  <a:pt x="1061" y="788"/>
                  <a:pt x="1062" y="787"/>
                  <a:pt x="1062" y="786"/>
                </a:cubicBezTo>
                <a:cubicBezTo>
                  <a:pt x="1062" y="785"/>
                  <a:pt x="1061" y="785"/>
                  <a:pt x="1060" y="785"/>
                </a:cubicBezTo>
                <a:cubicBezTo>
                  <a:pt x="1059" y="785"/>
                  <a:pt x="1058" y="786"/>
                  <a:pt x="1058" y="788"/>
                </a:cubicBezTo>
                <a:lnTo>
                  <a:pt x="1058" y="792"/>
                </a:lnTo>
                <a:close/>
                <a:moveTo>
                  <a:pt x="1061" y="780"/>
                </a:moveTo>
                <a:cubicBezTo>
                  <a:pt x="1062" y="780"/>
                  <a:pt x="1063" y="780"/>
                  <a:pt x="1065" y="779"/>
                </a:cubicBezTo>
                <a:cubicBezTo>
                  <a:pt x="1066" y="778"/>
                  <a:pt x="1067" y="777"/>
                  <a:pt x="1068" y="776"/>
                </a:cubicBezTo>
                <a:cubicBezTo>
                  <a:pt x="1069" y="774"/>
                  <a:pt x="1069" y="773"/>
                  <a:pt x="1069" y="772"/>
                </a:cubicBezTo>
                <a:cubicBezTo>
                  <a:pt x="1069" y="772"/>
                  <a:pt x="1068" y="771"/>
                  <a:pt x="1067" y="771"/>
                </a:cubicBezTo>
                <a:cubicBezTo>
                  <a:pt x="1067" y="771"/>
                  <a:pt x="1066" y="770"/>
                  <a:pt x="1066" y="768"/>
                </a:cubicBezTo>
                <a:lnTo>
                  <a:pt x="1067" y="767"/>
                </a:lnTo>
                <a:lnTo>
                  <a:pt x="1066" y="767"/>
                </a:lnTo>
                <a:lnTo>
                  <a:pt x="1064" y="767"/>
                </a:lnTo>
                <a:cubicBezTo>
                  <a:pt x="1061" y="768"/>
                  <a:pt x="1060" y="769"/>
                  <a:pt x="1059" y="769"/>
                </a:cubicBezTo>
                <a:cubicBezTo>
                  <a:pt x="1059" y="770"/>
                  <a:pt x="1060" y="771"/>
                  <a:pt x="1063" y="772"/>
                </a:cubicBezTo>
                <a:lnTo>
                  <a:pt x="1067" y="775"/>
                </a:lnTo>
                <a:cubicBezTo>
                  <a:pt x="1067" y="776"/>
                  <a:pt x="1066" y="777"/>
                  <a:pt x="1063" y="778"/>
                </a:cubicBezTo>
                <a:cubicBezTo>
                  <a:pt x="1061" y="779"/>
                  <a:pt x="1060" y="779"/>
                  <a:pt x="1060" y="779"/>
                </a:cubicBezTo>
                <a:cubicBezTo>
                  <a:pt x="1060" y="780"/>
                  <a:pt x="1061" y="780"/>
                  <a:pt x="1061" y="780"/>
                </a:cubicBezTo>
                <a:close/>
                <a:moveTo>
                  <a:pt x="1071" y="767"/>
                </a:moveTo>
                <a:cubicBezTo>
                  <a:pt x="1072" y="767"/>
                  <a:pt x="1073" y="766"/>
                  <a:pt x="1074" y="764"/>
                </a:cubicBezTo>
                <a:cubicBezTo>
                  <a:pt x="1075" y="762"/>
                  <a:pt x="1075" y="761"/>
                  <a:pt x="1075" y="760"/>
                </a:cubicBezTo>
                <a:cubicBezTo>
                  <a:pt x="1074" y="757"/>
                  <a:pt x="1072" y="755"/>
                  <a:pt x="1069" y="755"/>
                </a:cubicBezTo>
                <a:cubicBezTo>
                  <a:pt x="1067" y="755"/>
                  <a:pt x="1066" y="756"/>
                  <a:pt x="1066" y="758"/>
                </a:cubicBezTo>
                <a:lnTo>
                  <a:pt x="1066" y="759"/>
                </a:lnTo>
                <a:cubicBezTo>
                  <a:pt x="1067" y="764"/>
                  <a:pt x="1069" y="767"/>
                  <a:pt x="1071" y="767"/>
                </a:cubicBezTo>
                <a:close/>
                <a:moveTo>
                  <a:pt x="1112" y="693"/>
                </a:moveTo>
                <a:cubicBezTo>
                  <a:pt x="1113" y="693"/>
                  <a:pt x="1113" y="693"/>
                  <a:pt x="1114" y="693"/>
                </a:cubicBezTo>
                <a:cubicBezTo>
                  <a:pt x="1114" y="692"/>
                  <a:pt x="1114" y="692"/>
                  <a:pt x="1114" y="691"/>
                </a:cubicBezTo>
                <a:cubicBezTo>
                  <a:pt x="1113" y="689"/>
                  <a:pt x="1113" y="688"/>
                  <a:pt x="1112" y="688"/>
                </a:cubicBezTo>
                <a:lnTo>
                  <a:pt x="1112" y="689"/>
                </a:lnTo>
                <a:cubicBezTo>
                  <a:pt x="1111" y="690"/>
                  <a:pt x="1111" y="691"/>
                  <a:pt x="1111" y="691"/>
                </a:cubicBezTo>
                <a:cubicBezTo>
                  <a:pt x="1111" y="691"/>
                  <a:pt x="1111" y="692"/>
                  <a:pt x="1111" y="692"/>
                </a:cubicBezTo>
                <a:lnTo>
                  <a:pt x="1112" y="693"/>
                </a:lnTo>
                <a:close/>
                <a:moveTo>
                  <a:pt x="1124" y="686"/>
                </a:moveTo>
                <a:cubicBezTo>
                  <a:pt x="1125" y="686"/>
                  <a:pt x="1126" y="685"/>
                  <a:pt x="1127" y="683"/>
                </a:cubicBezTo>
                <a:lnTo>
                  <a:pt x="1129" y="679"/>
                </a:lnTo>
                <a:lnTo>
                  <a:pt x="1128" y="679"/>
                </a:lnTo>
                <a:lnTo>
                  <a:pt x="1126" y="682"/>
                </a:lnTo>
                <a:cubicBezTo>
                  <a:pt x="1124" y="684"/>
                  <a:pt x="1123" y="685"/>
                  <a:pt x="1123" y="686"/>
                </a:cubicBezTo>
                <a:lnTo>
                  <a:pt x="1124" y="686"/>
                </a:lnTo>
                <a:close/>
                <a:moveTo>
                  <a:pt x="1077" y="732"/>
                </a:moveTo>
                <a:cubicBezTo>
                  <a:pt x="1077" y="732"/>
                  <a:pt x="1079" y="732"/>
                  <a:pt x="1081" y="731"/>
                </a:cubicBezTo>
                <a:cubicBezTo>
                  <a:pt x="1082" y="730"/>
                  <a:pt x="1083" y="729"/>
                  <a:pt x="1083" y="728"/>
                </a:cubicBezTo>
                <a:lnTo>
                  <a:pt x="1083" y="725"/>
                </a:lnTo>
                <a:cubicBezTo>
                  <a:pt x="1083" y="724"/>
                  <a:pt x="1084" y="722"/>
                  <a:pt x="1085" y="721"/>
                </a:cubicBezTo>
                <a:cubicBezTo>
                  <a:pt x="1087" y="719"/>
                  <a:pt x="1091" y="713"/>
                  <a:pt x="1097" y="701"/>
                </a:cubicBezTo>
                <a:lnTo>
                  <a:pt x="1108" y="681"/>
                </a:lnTo>
                <a:lnTo>
                  <a:pt x="1115" y="665"/>
                </a:lnTo>
                <a:cubicBezTo>
                  <a:pt x="1119" y="656"/>
                  <a:pt x="1122" y="650"/>
                  <a:pt x="1124" y="646"/>
                </a:cubicBezTo>
                <a:cubicBezTo>
                  <a:pt x="1127" y="642"/>
                  <a:pt x="1128" y="639"/>
                  <a:pt x="1129" y="636"/>
                </a:cubicBezTo>
                <a:cubicBezTo>
                  <a:pt x="1130" y="632"/>
                  <a:pt x="1132" y="627"/>
                  <a:pt x="1136" y="620"/>
                </a:cubicBezTo>
                <a:cubicBezTo>
                  <a:pt x="1138" y="615"/>
                  <a:pt x="1140" y="612"/>
                  <a:pt x="1140" y="611"/>
                </a:cubicBezTo>
                <a:cubicBezTo>
                  <a:pt x="1140" y="611"/>
                  <a:pt x="1139" y="611"/>
                  <a:pt x="1139" y="611"/>
                </a:cubicBezTo>
                <a:lnTo>
                  <a:pt x="1124" y="639"/>
                </a:lnTo>
                <a:cubicBezTo>
                  <a:pt x="1093" y="698"/>
                  <a:pt x="1077" y="729"/>
                  <a:pt x="1077" y="732"/>
                </a:cubicBezTo>
                <a:close/>
                <a:moveTo>
                  <a:pt x="1068" y="751"/>
                </a:moveTo>
                <a:cubicBezTo>
                  <a:pt x="1069" y="751"/>
                  <a:pt x="1071" y="750"/>
                  <a:pt x="1074" y="749"/>
                </a:cubicBezTo>
                <a:cubicBezTo>
                  <a:pt x="1077" y="747"/>
                  <a:pt x="1079" y="747"/>
                  <a:pt x="1081" y="747"/>
                </a:cubicBezTo>
                <a:cubicBezTo>
                  <a:pt x="1083" y="747"/>
                  <a:pt x="1086" y="745"/>
                  <a:pt x="1089" y="741"/>
                </a:cubicBezTo>
                <a:cubicBezTo>
                  <a:pt x="1091" y="737"/>
                  <a:pt x="1094" y="735"/>
                  <a:pt x="1097" y="735"/>
                </a:cubicBezTo>
                <a:lnTo>
                  <a:pt x="1099" y="736"/>
                </a:lnTo>
                <a:cubicBezTo>
                  <a:pt x="1100" y="736"/>
                  <a:pt x="1100" y="735"/>
                  <a:pt x="1100" y="735"/>
                </a:cubicBezTo>
                <a:lnTo>
                  <a:pt x="1099" y="734"/>
                </a:lnTo>
                <a:cubicBezTo>
                  <a:pt x="1099" y="732"/>
                  <a:pt x="1100" y="730"/>
                  <a:pt x="1101" y="729"/>
                </a:cubicBezTo>
                <a:cubicBezTo>
                  <a:pt x="1101" y="728"/>
                  <a:pt x="1102" y="727"/>
                  <a:pt x="1103" y="727"/>
                </a:cubicBezTo>
                <a:lnTo>
                  <a:pt x="1104" y="728"/>
                </a:lnTo>
                <a:lnTo>
                  <a:pt x="1105" y="728"/>
                </a:lnTo>
                <a:cubicBezTo>
                  <a:pt x="1105" y="727"/>
                  <a:pt x="1105" y="727"/>
                  <a:pt x="1105" y="727"/>
                </a:cubicBezTo>
                <a:cubicBezTo>
                  <a:pt x="1104" y="727"/>
                  <a:pt x="1104" y="726"/>
                  <a:pt x="1104" y="725"/>
                </a:cubicBezTo>
                <a:cubicBezTo>
                  <a:pt x="1103" y="724"/>
                  <a:pt x="1102" y="724"/>
                  <a:pt x="1101" y="724"/>
                </a:cubicBezTo>
                <a:cubicBezTo>
                  <a:pt x="1101" y="724"/>
                  <a:pt x="1099" y="725"/>
                  <a:pt x="1098" y="728"/>
                </a:cubicBezTo>
                <a:cubicBezTo>
                  <a:pt x="1097" y="730"/>
                  <a:pt x="1096" y="732"/>
                  <a:pt x="1096" y="732"/>
                </a:cubicBezTo>
                <a:lnTo>
                  <a:pt x="1097" y="728"/>
                </a:lnTo>
                <a:cubicBezTo>
                  <a:pt x="1098" y="726"/>
                  <a:pt x="1098" y="725"/>
                  <a:pt x="1099" y="724"/>
                </a:cubicBezTo>
                <a:cubicBezTo>
                  <a:pt x="1100" y="723"/>
                  <a:pt x="1100" y="723"/>
                  <a:pt x="1101" y="723"/>
                </a:cubicBezTo>
                <a:lnTo>
                  <a:pt x="1102" y="723"/>
                </a:lnTo>
                <a:cubicBezTo>
                  <a:pt x="1103" y="723"/>
                  <a:pt x="1104" y="722"/>
                  <a:pt x="1104" y="720"/>
                </a:cubicBezTo>
                <a:cubicBezTo>
                  <a:pt x="1105" y="719"/>
                  <a:pt x="1106" y="717"/>
                  <a:pt x="1106" y="715"/>
                </a:cubicBezTo>
                <a:cubicBezTo>
                  <a:pt x="1106" y="714"/>
                  <a:pt x="1106" y="714"/>
                  <a:pt x="1105" y="714"/>
                </a:cubicBezTo>
                <a:cubicBezTo>
                  <a:pt x="1105" y="714"/>
                  <a:pt x="1105" y="713"/>
                  <a:pt x="1105" y="712"/>
                </a:cubicBezTo>
                <a:cubicBezTo>
                  <a:pt x="1105" y="711"/>
                  <a:pt x="1105" y="708"/>
                  <a:pt x="1106" y="705"/>
                </a:cubicBezTo>
                <a:cubicBezTo>
                  <a:pt x="1108" y="702"/>
                  <a:pt x="1108" y="700"/>
                  <a:pt x="1108" y="699"/>
                </a:cubicBezTo>
                <a:lnTo>
                  <a:pt x="1108" y="699"/>
                </a:lnTo>
                <a:lnTo>
                  <a:pt x="1106" y="703"/>
                </a:lnTo>
                <a:cubicBezTo>
                  <a:pt x="1105" y="705"/>
                  <a:pt x="1104" y="705"/>
                  <a:pt x="1103" y="706"/>
                </a:cubicBezTo>
                <a:cubicBezTo>
                  <a:pt x="1103" y="707"/>
                  <a:pt x="1101" y="708"/>
                  <a:pt x="1099" y="708"/>
                </a:cubicBezTo>
                <a:lnTo>
                  <a:pt x="1099" y="707"/>
                </a:lnTo>
                <a:lnTo>
                  <a:pt x="1100" y="710"/>
                </a:lnTo>
                <a:cubicBezTo>
                  <a:pt x="1100" y="713"/>
                  <a:pt x="1099" y="715"/>
                  <a:pt x="1096" y="719"/>
                </a:cubicBezTo>
                <a:cubicBezTo>
                  <a:pt x="1093" y="723"/>
                  <a:pt x="1091" y="726"/>
                  <a:pt x="1091" y="728"/>
                </a:cubicBezTo>
                <a:lnTo>
                  <a:pt x="1091" y="728"/>
                </a:lnTo>
                <a:cubicBezTo>
                  <a:pt x="1091" y="729"/>
                  <a:pt x="1091" y="729"/>
                  <a:pt x="1091" y="729"/>
                </a:cubicBezTo>
                <a:lnTo>
                  <a:pt x="1087" y="728"/>
                </a:lnTo>
                <a:cubicBezTo>
                  <a:pt x="1086" y="728"/>
                  <a:pt x="1086" y="728"/>
                  <a:pt x="1086" y="728"/>
                </a:cubicBezTo>
                <a:cubicBezTo>
                  <a:pt x="1086" y="729"/>
                  <a:pt x="1086" y="729"/>
                  <a:pt x="1087" y="730"/>
                </a:cubicBezTo>
                <a:cubicBezTo>
                  <a:pt x="1087" y="731"/>
                  <a:pt x="1087" y="732"/>
                  <a:pt x="1087" y="732"/>
                </a:cubicBezTo>
                <a:cubicBezTo>
                  <a:pt x="1087" y="734"/>
                  <a:pt x="1086" y="736"/>
                  <a:pt x="1084" y="737"/>
                </a:cubicBezTo>
                <a:cubicBezTo>
                  <a:pt x="1081" y="739"/>
                  <a:pt x="1080" y="740"/>
                  <a:pt x="1080" y="742"/>
                </a:cubicBezTo>
                <a:lnTo>
                  <a:pt x="1080" y="742"/>
                </a:lnTo>
                <a:cubicBezTo>
                  <a:pt x="1080" y="743"/>
                  <a:pt x="1079" y="744"/>
                  <a:pt x="1077" y="744"/>
                </a:cubicBezTo>
                <a:cubicBezTo>
                  <a:pt x="1076" y="744"/>
                  <a:pt x="1075" y="743"/>
                  <a:pt x="1075" y="743"/>
                </a:cubicBezTo>
                <a:cubicBezTo>
                  <a:pt x="1075" y="742"/>
                  <a:pt x="1076" y="742"/>
                  <a:pt x="1078" y="740"/>
                </a:cubicBezTo>
                <a:cubicBezTo>
                  <a:pt x="1080" y="739"/>
                  <a:pt x="1081" y="737"/>
                  <a:pt x="1082" y="736"/>
                </a:cubicBezTo>
                <a:cubicBezTo>
                  <a:pt x="1082" y="735"/>
                  <a:pt x="1083" y="734"/>
                  <a:pt x="1083" y="734"/>
                </a:cubicBezTo>
                <a:cubicBezTo>
                  <a:pt x="1083" y="733"/>
                  <a:pt x="1082" y="733"/>
                  <a:pt x="1082" y="733"/>
                </a:cubicBezTo>
                <a:cubicBezTo>
                  <a:pt x="1080" y="733"/>
                  <a:pt x="1079" y="734"/>
                  <a:pt x="1077" y="736"/>
                </a:cubicBezTo>
                <a:cubicBezTo>
                  <a:pt x="1073" y="738"/>
                  <a:pt x="1071" y="740"/>
                  <a:pt x="1071" y="742"/>
                </a:cubicBezTo>
                <a:lnTo>
                  <a:pt x="1072" y="745"/>
                </a:lnTo>
                <a:cubicBezTo>
                  <a:pt x="1072" y="746"/>
                  <a:pt x="1071" y="747"/>
                  <a:pt x="1069" y="747"/>
                </a:cubicBezTo>
                <a:cubicBezTo>
                  <a:pt x="1068" y="749"/>
                  <a:pt x="1067" y="750"/>
                  <a:pt x="1067" y="751"/>
                </a:cubicBezTo>
                <a:lnTo>
                  <a:pt x="1068" y="751"/>
                </a:lnTo>
                <a:close/>
                <a:moveTo>
                  <a:pt x="1061" y="705"/>
                </a:moveTo>
                <a:cubicBezTo>
                  <a:pt x="1062" y="705"/>
                  <a:pt x="1062" y="703"/>
                  <a:pt x="1063" y="701"/>
                </a:cubicBezTo>
                <a:lnTo>
                  <a:pt x="1063" y="700"/>
                </a:lnTo>
                <a:cubicBezTo>
                  <a:pt x="1063" y="699"/>
                  <a:pt x="1062" y="699"/>
                  <a:pt x="1062" y="699"/>
                </a:cubicBezTo>
                <a:cubicBezTo>
                  <a:pt x="1062" y="699"/>
                  <a:pt x="1061" y="699"/>
                  <a:pt x="1061" y="699"/>
                </a:cubicBezTo>
                <a:cubicBezTo>
                  <a:pt x="1061" y="700"/>
                  <a:pt x="1060" y="701"/>
                  <a:pt x="1060" y="702"/>
                </a:cubicBezTo>
                <a:cubicBezTo>
                  <a:pt x="1060" y="702"/>
                  <a:pt x="1060" y="703"/>
                  <a:pt x="1061" y="703"/>
                </a:cubicBezTo>
                <a:cubicBezTo>
                  <a:pt x="1061" y="704"/>
                  <a:pt x="1061" y="705"/>
                  <a:pt x="1061" y="705"/>
                </a:cubicBezTo>
                <a:close/>
                <a:moveTo>
                  <a:pt x="1051" y="751"/>
                </a:moveTo>
                <a:cubicBezTo>
                  <a:pt x="1052" y="751"/>
                  <a:pt x="1054" y="747"/>
                  <a:pt x="1056" y="739"/>
                </a:cubicBezTo>
                <a:lnTo>
                  <a:pt x="1058" y="732"/>
                </a:lnTo>
                <a:lnTo>
                  <a:pt x="1059" y="729"/>
                </a:lnTo>
                <a:lnTo>
                  <a:pt x="1060" y="730"/>
                </a:lnTo>
                <a:cubicBezTo>
                  <a:pt x="1061" y="730"/>
                  <a:pt x="1062" y="729"/>
                  <a:pt x="1063" y="728"/>
                </a:cubicBezTo>
                <a:cubicBezTo>
                  <a:pt x="1064" y="727"/>
                  <a:pt x="1065" y="726"/>
                  <a:pt x="1065" y="724"/>
                </a:cubicBezTo>
                <a:lnTo>
                  <a:pt x="1065" y="723"/>
                </a:lnTo>
                <a:cubicBezTo>
                  <a:pt x="1065" y="722"/>
                  <a:pt x="1064" y="722"/>
                  <a:pt x="1064" y="722"/>
                </a:cubicBezTo>
                <a:cubicBezTo>
                  <a:pt x="1064" y="722"/>
                  <a:pt x="1063" y="723"/>
                  <a:pt x="1062" y="724"/>
                </a:cubicBezTo>
                <a:cubicBezTo>
                  <a:pt x="1061" y="726"/>
                  <a:pt x="1061" y="727"/>
                  <a:pt x="1060" y="727"/>
                </a:cubicBezTo>
                <a:cubicBezTo>
                  <a:pt x="1059" y="727"/>
                  <a:pt x="1059" y="726"/>
                  <a:pt x="1059" y="725"/>
                </a:cubicBezTo>
                <a:cubicBezTo>
                  <a:pt x="1059" y="723"/>
                  <a:pt x="1060" y="721"/>
                  <a:pt x="1061" y="718"/>
                </a:cubicBezTo>
                <a:lnTo>
                  <a:pt x="1061" y="714"/>
                </a:lnTo>
                <a:cubicBezTo>
                  <a:pt x="1061" y="710"/>
                  <a:pt x="1061" y="708"/>
                  <a:pt x="1060" y="706"/>
                </a:cubicBezTo>
                <a:cubicBezTo>
                  <a:pt x="1059" y="704"/>
                  <a:pt x="1059" y="702"/>
                  <a:pt x="1059" y="700"/>
                </a:cubicBezTo>
                <a:cubicBezTo>
                  <a:pt x="1059" y="695"/>
                  <a:pt x="1060" y="693"/>
                  <a:pt x="1061" y="693"/>
                </a:cubicBezTo>
                <a:cubicBezTo>
                  <a:pt x="1062" y="693"/>
                  <a:pt x="1062" y="693"/>
                  <a:pt x="1063" y="694"/>
                </a:cubicBezTo>
                <a:lnTo>
                  <a:pt x="1065" y="696"/>
                </a:lnTo>
                <a:lnTo>
                  <a:pt x="1065" y="695"/>
                </a:lnTo>
                <a:cubicBezTo>
                  <a:pt x="1065" y="693"/>
                  <a:pt x="1062" y="691"/>
                  <a:pt x="1058" y="690"/>
                </a:cubicBezTo>
                <a:lnTo>
                  <a:pt x="1056" y="690"/>
                </a:lnTo>
                <a:lnTo>
                  <a:pt x="1056" y="692"/>
                </a:lnTo>
                <a:cubicBezTo>
                  <a:pt x="1056" y="693"/>
                  <a:pt x="1056" y="694"/>
                  <a:pt x="1055" y="695"/>
                </a:cubicBezTo>
                <a:cubicBezTo>
                  <a:pt x="1054" y="696"/>
                  <a:pt x="1054" y="697"/>
                  <a:pt x="1054" y="698"/>
                </a:cubicBezTo>
                <a:cubicBezTo>
                  <a:pt x="1054" y="699"/>
                  <a:pt x="1054" y="700"/>
                  <a:pt x="1055" y="701"/>
                </a:cubicBezTo>
                <a:cubicBezTo>
                  <a:pt x="1055" y="702"/>
                  <a:pt x="1056" y="703"/>
                  <a:pt x="1056" y="703"/>
                </a:cubicBezTo>
                <a:cubicBezTo>
                  <a:pt x="1056" y="704"/>
                  <a:pt x="1055" y="705"/>
                  <a:pt x="1055" y="705"/>
                </a:cubicBezTo>
                <a:cubicBezTo>
                  <a:pt x="1053" y="705"/>
                  <a:pt x="1052" y="707"/>
                  <a:pt x="1052" y="713"/>
                </a:cubicBezTo>
                <a:cubicBezTo>
                  <a:pt x="1052" y="718"/>
                  <a:pt x="1052" y="722"/>
                  <a:pt x="1054" y="723"/>
                </a:cubicBezTo>
                <a:lnTo>
                  <a:pt x="1056" y="725"/>
                </a:lnTo>
                <a:lnTo>
                  <a:pt x="1054" y="725"/>
                </a:lnTo>
                <a:cubicBezTo>
                  <a:pt x="1052" y="725"/>
                  <a:pt x="1050" y="725"/>
                  <a:pt x="1049" y="725"/>
                </a:cubicBezTo>
                <a:cubicBezTo>
                  <a:pt x="1049" y="726"/>
                  <a:pt x="1049" y="727"/>
                  <a:pt x="1048" y="727"/>
                </a:cubicBezTo>
                <a:cubicBezTo>
                  <a:pt x="1047" y="727"/>
                  <a:pt x="1046" y="726"/>
                  <a:pt x="1045" y="725"/>
                </a:cubicBezTo>
                <a:lnTo>
                  <a:pt x="1043" y="723"/>
                </a:lnTo>
                <a:cubicBezTo>
                  <a:pt x="1043" y="722"/>
                  <a:pt x="1044" y="722"/>
                  <a:pt x="1044" y="721"/>
                </a:cubicBezTo>
                <a:cubicBezTo>
                  <a:pt x="1046" y="720"/>
                  <a:pt x="1046" y="720"/>
                  <a:pt x="1046" y="719"/>
                </a:cubicBezTo>
                <a:cubicBezTo>
                  <a:pt x="1046" y="719"/>
                  <a:pt x="1046" y="719"/>
                  <a:pt x="1045" y="718"/>
                </a:cubicBezTo>
                <a:cubicBezTo>
                  <a:pt x="1045" y="718"/>
                  <a:pt x="1045" y="718"/>
                  <a:pt x="1044" y="718"/>
                </a:cubicBezTo>
                <a:cubicBezTo>
                  <a:pt x="1044" y="717"/>
                  <a:pt x="1045" y="716"/>
                  <a:pt x="1046" y="716"/>
                </a:cubicBezTo>
                <a:cubicBezTo>
                  <a:pt x="1046" y="716"/>
                  <a:pt x="1047" y="716"/>
                  <a:pt x="1047" y="716"/>
                </a:cubicBezTo>
                <a:cubicBezTo>
                  <a:pt x="1047" y="715"/>
                  <a:pt x="1047" y="715"/>
                  <a:pt x="1047" y="715"/>
                </a:cubicBezTo>
                <a:cubicBezTo>
                  <a:pt x="1047" y="715"/>
                  <a:pt x="1047" y="715"/>
                  <a:pt x="1046" y="714"/>
                </a:cubicBezTo>
                <a:cubicBezTo>
                  <a:pt x="1046" y="714"/>
                  <a:pt x="1046" y="713"/>
                  <a:pt x="1046" y="713"/>
                </a:cubicBezTo>
                <a:cubicBezTo>
                  <a:pt x="1046" y="712"/>
                  <a:pt x="1046" y="712"/>
                  <a:pt x="1047" y="712"/>
                </a:cubicBezTo>
                <a:cubicBezTo>
                  <a:pt x="1048" y="712"/>
                  <a:pt x="1048" y="712"/>
                  <a:pt x="1048" y="711"/>
                </a:cubicBezTo>
                <a:lnTo>
                  <a:pt x="1047" y="708"/>
                </a:lnTo>
                <a:cubicBezTo>
                  <a:pt x="1047" y="707"/>
                  <a:pt x="1047" y="707"/>
                  <a:pt x="1048" y="707"/>
                </a:cubicBezTo>
                <a:cubicBezTo>
                  <a:pt x="1049" y="707"/>
                  <a:pt x="1049" y="706"/>
                  <a:pt x="1049" y="706"/>
                </a:cubicBezTo>
                <a:lnTo>
                  <a:pt x="1048" y="704"/>
                </a:lnTo>
                <a:cubicBezTo>
                  <a:pt x="1048" y="703"/>
                  <a:pt x="1049" y="702"/>
                  <a:pt x="1049" y="702"/>
                </a:cubicBezTo>
                <a:cubicBezTo>
                  <a:pt x="1050" y="701"/>
                  <a:pt x="1051" y="701"/>
                  <a:pt x="1051" y="701"/>
                </a:cubicBezTo>
                <a:cubicBezTo>
                  <a:pt x="1051" y="701"/>
                  <a:pt x="1050" y="700"/>
                  <a:pt x="1049" y="699"/>
                </a:cubicBezTo>
                <a:lnTo>
                  <a:pt x="1049" y="699"/>
                </a:lnTo>
                <a:cubicBezTo>
                  <a:pt x="1047" y="699"/>
                  <a:pt x="1046" y="706"/>
                  <a:pt x="1042" y="718"/>
                </a:cubicBezTo>
                <a:cubicBezTo>
                  <a:pt x="1042" y="719"/>
                  <a:pt x="1042" y="720"/>
                  <a:pt x="1042" y="722"/>
                </a:cubicBezTo>
                <a:cubicBezTo>
                  <a:pt x="1040" y="732"/>
                  <a:pt x="1039" y="738"/>
                  <a:pt x="1039" y="740"/>
                </a:cubicBezTo>
                <a:cubicBezTo>
                  <a:pt x="1039" y="740"/>
                  <a:pt x="1039" y="741"/>
                  <a:pt x="1040" y="741"/>
                </a:cubicBezTo>
                <a:lnTo>
                  <a:pt x="1041" y="741"/>
                </a:lnTo>
                <a:cubicBezTo>
                  <a:pt x="1042" y="741"/>
                  <a:pt x="1042" y="741"/>
                  <a:pt x="1042" y="740"/>
                </a:cubicBezTo>
                <a:cubicBezTo>
                  <a:pt x="1042" y="740"/>
                  <a:pt x="1042" y="739"/>
                  <a:pt x="1041" y="737"/>
                </a:cubicBezTo>
                <a:cubicBezTo>
                  <a:pt x="1041" y="737"/>
                  <a:pt x="1041" y="737"/>
                  <a:pt x="1042" y="737"/>
                </a:cubicBezTo>
                <a:cubicBezTo>
                  <a:pt x="1043" y="737"/>
                  <a:pt x="1044" y="736"/>
                  <a:pt x="1044" y="736"/>
                </a:cubicBezTo>
                <a:lnTo>
                  <a:pt x="1043" y="735"/>
                </a:lnTo>
                <a:cubicBezTo>
                  <a:pt x="1042" y="734"/>
                  <a:pt x="1042" y="733"/>
                  <a:pt x="1042" y="732"/>
                </a:cubicBezTo>
                <a:cubicBezTo>
                  <a:pt x="1042" y="730"/>
                  <a:pt x="1043" y="728"/>
                  <a:pt x="1045" y="728"/>
                </a:cubicBezTo>
                <a:cubicBezTo>
                  <a:pt x="1046" y="728"/>
                  <a:pt x="1047" y="729"/>
                  <a:pt x="1047" y="730"/>
                </a:cubicBezTo>
                <a:cubicBezTo>
                  <a:pt x="1048" y="730"/>
                  <a:pt x="1049" y="731"/>
                  <a:pt x="1050" y="731"/>
                </a:cubicBezTo>
                <a:cubicBezTo>
                  <a:pt x="1051" y="731"/>
                  <a:pt x="1052" y="731"/>
                  <a:pt x="1052" y="730"/>
                </a:cubicBezTo>
                <a:cubicBezTo>
                  <a:pt x="1053" y="729"/>
                  <a:pt x="1053" y="729"/>
                  <a:pt x="1054" y="729"/>
                </a:cubicBezTo>
                <a:lnTo>
                  <a:pt x="1054" y="730"/>
                </a:lnTo>
                <a:cubicBezTo>
                  <a:pt x="1054" y="731"/>
                  <a:pt x="1054" y="734"/>
                  <a:pt x="1053" y="739"/>
                </a:cubicBezTo>
                <a:cubicBezTo>
                  <a:pt x="1051" y="744"/>
                  <a:pt x="1051" y="748"/>
                  <a:pt x="1051" y="750"/>
                </a:cubicBezTo>
                <a:lnTo>
                  <a:pt x="1051" y="751"/>
                </a:lnTo>
                <a:close/>
                <a:moveTo>
                  <a:pt x="1041" y="753"/>
                </a:moveTo>
                <a:lnTo>
                  <a:pt x="1040" y="751"/>
                </a:lnTo>
                <a:lnTo>
                  <a:pt x="1039" y="749"/>
                </a:lnTo>
                <a:cubicBezTo>
                  <a:pt x="1039" y="749"/>
                  <a:pt x="1039" y="748"/>
                  <a:pt x="1040" y="748"/>
                </a:cubicBezTo>
                <a:cubicBezTo>
                  <a:pt x="1041" y="748"/>
                  <a:pt x="1042" y="748"/>
                  <a:pt x="1042" y="747"/>
                </a:cubicBezTo>
                <a:cubicBezTo>
                  <a:pt x="1042" y="747"/>
                  <a:pt x="1041" y="746"/>
                  <a:pt x="1041" y="746"/>
                </a:cubicBezTo>
                <a:cubicBezTo>
                  <a:pt x="1040" y="745"/>
                  <a:pt x="1039" y="745"/>
                  <a:pt x="1039" y="745"/>
                </a:cubicBezTo>
                <a:cubicBezTo>
                  <a:pt x="1039" y="745"/>
                  <a:pt x="1038" y="745"/>
                  <a:pt x="1038" y="746"/>
                </a:cubicBezTo>
                <a:lnTo>
                  <a:pt x="1037" y="749"/>
                </a:lnTo>
                <a:cubicBezTo>
                  <a:pt x="1038" y="752"/>
                  <a:pt x="1039" y="753"/>
                  <a:pt x="1041" y="753"/>
                </a:cubicBezTo>
                <a:close/>
                <a:moveTo>
                  <a:pt x="1039" y="764"/>
                </a:moveTo>
                <a:lnTo>
                  <a:pt x="1039" y="764"/>
                </a:lnTo>
                <a:lnTo>
                  <a:pt x="1038" y="761"/>
                </a:lnTo>
                <a:cubicBezTo>
                  <a:pt x="1038" y="760"/>
                  <a:pt x="1038" y="760"/>
                  <a:pt x="1039" y="760"/>
                </a:cubicBezTo>
                <a:cubicBezTo>
                  <a:pt x="1040" y="760"/>
                  <a:pt x="1041" y="759"/>
                  <a:pt x="1041" y="759"/>
                </a:cubicBezTo>
                <a:lnTo>
                  <a:pt x="1040" y="758"/>
                </a:lnTo>
                <a:lnTo>
                  <a:pt x="1039" y="758"/>
                </a:lnTo>
                <a:cubicBezTo>
                  <a:pt x="1037" y="758"/>
                  <a:pt x="1036" y="759"/>
                  <a:pt x="1036" y="760"/>
                </a:cubicBezTo>
                <a:cubicBezTo>
                  <a:pt x="1036" y="761"/>
                  <a:pt x="1036" y="762"/>
                  <a:pt x="1037" y="763"/>
                </a:cubicBezTo>
                <a:cubicBezTo>
                  <a:pt x="1038" y="764"/>
                  <a:pt x="1039" y="764"/>
                  <a:pt x="1039" y="764"/>
                </a:cubicBezTo>
                <a:close/>
                <a:moveTo>
                  <a:pt x="1068" y="715"/>
                </a:moveTo>
                <a:cubicBezTo>
                  <a:pt x="1068" y="715"/>
                  <a:pt x="1067" y="715"/>
                  <a:pt x="1067" y="715"/>
                </a:cubicBezTo>
                <a:lnTo>
                  <a:pt x="1068" y="707"/>
                </a:lnTo>
                <a:cubicBezTo>
                  <a:pt x="1069" y="704"/>
                  <a:pt x="1070" y="703"/>
                  <a:pt x="1070" y="703"/>
                </a:cubicBezTo>
                <a:cubicBezTo>
                  <a:pt x="1071" y="703"/>
                  <a:pt x="1071" y="703"/>
                  <a:pt x="1071" y="704"/>
                </a:cubicBezTo>
                <a:cubicBezTo>
                  <a:pt x="1071" y="705"/>
                  <a:pt x="1071" y="706"/>
                  <a:pt x="1071" y="707"/>
                </a:cubicBezTo>
                <a:cubicBezTo>
                  <a:pt x="1071" y="709"/>
                  <a:pt x="1070" y="710"/>
                  <a:pt x="1069" y="712"/>
                </a:cubicBezTo>
                <a:cubicBezTo>
                  <a:pt x="1069" y="714"/>
                  <a:pt x="1069" y="715"/>
                  <a:pt x="1068" y="715"/>
                </a:cubicBezTo>
                <a:close/>
                <a:moveTo>
                  <a:pt x="1445" y="667"/>
                </a:moveTo>
                <a:lnTo>
                  <a:pt x="1444" y="666"/>
                </a:lnTo>
                <a:lnTo>
                  <a:pt x="1445" y="664"/>
                </a:lnTo>
                <a:cubicBezTo>
                  <a:pt x="1446" y="662"/>
                  <a:pt x="1447" y="661"/>
                  <a:pt x="1448" y="661"/>
                </a:cubicBezTo>
                <a:lnTo>
                  <a:pt x="1448" y="662"/>
                </a:lnTo>
                <a:cubicBezTo>
                  <a:pt x="1448" y="663"/>
                  <a:pt x="1448" y="664"/>
                  <a:pt x="1447" y="665"/>
                </a:cubicBezTo>
                <a:lnTo>
                  <a:pt x="1445" y="667"/>
                </a:lnTo>
                <a:close/>
                <a:moveTo>
                  <a:pt x="1376" y="759"/>
                </a:moveTo>
                <a:cubicBezTo>
                  <a:pt x="1373" y="759"/>
                  <a:pt x="1372" y="759"/>
                  <a:pt x="1370" y="758"/>
                </a:cubicBezTo>
                <a:cubicBezTo>
                  <a:pt x="1369" y="757"/>
                  <a:pt x="1368" y="757"/>
                  <a:pt x="1368" y="756"/>
                </a:cubicBezTo>
                <a:cubicBezTo>
                  <a:pt x="1368" y="755"/>
                  <a:pt x="1368" y="754"/>
                  <a:pt x="1367" y="754"/>
                </a:cubicBezTo>
                <a:lnTo>
                  <a:pt x="1367" y="755"/>
                </a:lnTo>
                <a:cubicBezTo>
                  <a:pt x="1367" y="755"/>
                  <a:pt x="1366" y="755"/>
                  <a:pt x="1366" y="755"/>
                </a:cubicBezTo>
                <a:cubicBezTo>
                  <a:pt x="1364" y="755"/>
                  <a:pt x="1361" y="754"/>
                  <a:pt x="1357" y="753"/>
                </a:cubicBezTo>
                <a:cubicBezTo>
                  <a:pt x="1349" y="750"/>
                  <a:pt x="1344" y="746"/>
                  <a:pt x="1342" y="742"/>
                </a:cubicBezTo>
                <a:cubicBezTo>
                  <a:pt x="1338" y="736"/>
                  <a:pt x="1336" y="732"/>
                  <a:pt x="1336" y="730"/>
                </a:cubicBezTo>
                <a:cubicBezTo>
                  <a:pt x="1336" y="730"/>
                  <a:pt x="1336" y="730"/>
                  <a:pt x="1337" y="730"/>
                </a:cubicBezTo>
                <a:lnTo>
                  <a:pt x="1338" y="730"/>
                </a:lnTo>
                <a:cubicBezTo>
                  <a:pt x="1339" y="730"/>
                  <a:pt x="1339" y="730"/>
                  <a:pt x="1339" y="728"/>
                </a:cubicBezTo>
                <a:lnTo>
                  <a:pt x="1337" y="707"/>
                </a:lnTo>
                <a:lnTo>
                  <a:pt x="1336" y="699"/>
                </a:lnTo>
                <a:cubicBezTo>
                  <a:pt x="1337" y="699"/>
                  <a:pt x="1337" y="701"/>
                  <a:pt x="1337" y="703"/>
                </a:cubicBezTo>
                <a:cubicBezTo>
                  <a:pt x="1338" y="706"/>
                  <a:pt x="1338" y="708"/>
                  <a:pt x="1339" y="708"/>
                </a:cubicBezTo>
                <a:cubicBezTo>
                  <a:pt x="1339" y="708"/>
                  <a:pt x="1340" y="703"/>
                  <a:pt x="1341" y="694"/>
                </a:cubicBezTo>
                <a:cubicBezTo>
                  <a:pt x="1342" y="681"/>
                  <a:pt x="1343" y="674"/>
                  <a:pt x="1344" y="674"/>
                </a:cubicBezTo>
                <a:cubicBezTo>
                  <a:pt x="1345" y="673"/>
                  <a:pt x="1345" y="671"/>
                  <a:pt x="1345" y="669"/>
                </a:cubicBezTo>
                <a:cubicBezTo>
                  <a:pt x="1345" y="666"/>
                  <a:pt x="1346" y="665"/>
                  <a:pt x="1346" y="665"/>
                </a:cubicBezTo>
                <a:cubicBezTo>
                  <a:pt x="1347" y="665"/>
                  <a:pt x="1348" y="664"/>
                  <a:pt x="1348" y="663"/>
                </a:cubicBezTo>
                <a:lnTo>
                  <a:pt x="1347" y="662"/>
                </a:lnTo>
                <a:cubicBezTo>
                  <a:pt x="1347" y="661"/>
                  <a:pt x="1348" y="660"/>
                  <a:pt x="1349" y="659"/>
                </a:cubicBezTo>
                <a:cubicBezTo>
                  <a:pt x="1350" y="659"/>
                  <a:pt x="1351" y="659"/>
                  <a:pt x="1351" y="658"/>
                </a:cubicBezTo>
                <a:lnTo>
                  <a:pt x="1349" y="658"/>
                </a:lnTo>
                <a:cubicBezTo>
                  <a:pt x="1348" y="658"/>
                  <a:pt x="1347" y="657"/>
                  <a:pt x="1347" y="657"/>
                </a:cubicBezTo>
                <a:lnTo>
                  <a:pt x="1348" y="654"/>
                </a:lnTo>
                <a:cubicBezTo>
                  <a:pt x="1348" y="654"/>
                  <a:pt x="1347" y="653"/>
                  <a:pt x="1347" y="653"/>
                </a:cubicBezTo>
                <a:cubicBezTo>
                  <a:pt x="1345" y="653"/>
                  <a:pt x="1344" y="656"/>
                  <a:pt x="1343" y="662"/>
                </a:cubicBezTo>
                <a:cubicBezTo>
                  <a:pt x="1342" y="665"/>
                  <a:pt x="1342" y="667"/>
                  <a:pt x="1342" y="670"/>
                </a:cubicBezTo>
                <a:cubicBezTo>
                  <a:pt x="1342" y="671"/>
                  <a:pt x="1341" y="671"/>
                  <a:pt x="1340" y="671"/>
                </a:cubicBezTo>
                <a:cubicBezTo>
                  <a:pt x="1339" y="671"/>
                  <a:pt x="1339" y="672"/>
                  <a:pt x="1339" y="674"/>
                </a:cubicBezTo>
                <a:lnTo>
                  <a:pt x="1340" y="678"/>
                </a:lnTo>
                <a:cubicBezTo>
                  <a:pt x="1339" y="678"/>
                  <a:pt x="1339" y="677"/>
                  <a:pt x="1338" y="676"/>
                </a:cubicBezTo>
                <a:cubicBezTo>
                  <a:pt x="1337" y="674"/>
                  <a:pt x="1337" y="672"/>
                  <a:pt x="1337" y="668"/>
                </a:cubicBezTo>
                <a:cubicBezTo>
                  <a:pt x="1337" y="665"/>
                  <a:pt x="1337" y="663"/>
                  <a:pt x="1337" y="663"/>
                </a:cubicBezTo>
                <a:cubicBezTo>
                  <a:pt x="1338" y="663"/>
                  <a:pt x="1339" y="661"/>
                  <a:pt x="1339" y="656"/>
                </a:cubicBezTo>
                <a:cubicBezTo>
                  <a:pt x="1339" y="654"/>
                  <a:pt x="1338" y="653"/>
                  <a:pt x="1337" y="653"/>
                </a:cubicBezTo>
                <a:cubicBezTo>
                  <a:pt x="1337" y="653"/>
                  <a:pt x="1336" y="652"/>
                  <a:pt x="1336" y="650"/>
                </a:cubicBezTo>
                <a:cubicBezTo>
                  <a:pt x="1336" y="647"/>
                  <a:pt x="1337" y="646"/>
                  <a:pt x="1339" y="646"/>
                </a:cubicBezTo>
                <a:cubicBezTo>
                  <a:pt x="1341" y="646"/>
                  <a:pt x="1342" y="646"/>
                  <a:pt x="1342" y="646"/>
                </a:cubicBezTo>
                <a:cubicBezTo>
                  <a:pt x="1342" y="645"/>
                  <a:pt x="1341" y="645"/>
                  <a:pt x="1340" y="644"/>
                </a:cubicBezTo>
                <a:cubicBezTo>
                  <a:pt x="1339" y="643"/>
                  <a:pt x="1339" y="642"/>
                  <a:pt x="1339" y="641"/>
                </a:cubicBezTo>
                <a:cubicBezTo>
                  <a:pt x="1339" y="639"/>
                  <a:pt x="1339" y="636"/>
                  <a:pt x="1340" y="633"/>
                </a:cubicBezTo>
                <a:cubicBezTo>
                  <a:pt x="1341" y="630"/>
                  <a:pt x="1341" y="627"/>
                  <a:pt x="1342" y="625"/>
                </a:cubicBezTo>
                <a:cubicBezTo>
                  <a:pt x="1343" y="622"/>
                  <a:pt x="1343" y="621"/>
                  <a:pt x="1343" y="620"/>
                </a:cubicBezTo>
                <a:cubicBezTo>
                  <a:pt x="1343" y="620"/>
                  <a:pt x="1343" y="619"/>
                  <a:pt x="1344" y="618"/>
                </a:cubicBezTo>
                <a:cubicBezTo>
                  <a:pt x="1344" y="617"/>
                  <a:pt x="1344" y="616"/>
                  <a:pt x="1344" y="615"/>
                </a:cubicBezTo>
                <a:cubicBezTo>
                  <a:pt x="1345" y="613"/>
                  <a:pt x="1346" y="611"/>
                  <a:pt x="1347" y="608"/>
                </a:cubicBezTo>
                <a:cubicBezTo>
                  <a:pt x="1348" y="605"/>
                  <a:pt x="1349" y="601"/>
                  <a:pt x="1351" y="596"/>
                </a:cubicBezTo>
                <a:cubicBezTo>
                  <a:pt x="1357" y="576"/>
                  <a:pt x="1364" y="560"/>
                  <a:pt x="1372" y="547"/>
                </a:cubicBezTo>
                <a:cubicBezTo>
                  <a:pt x="1375" y="541"/>
                  <a:pt x="1376" y="538"/>
                  <a:pt x="1376" y="537"/>
                </a:cubicBezTo>
                <a:cubicBezTo>
                  <a:pt x="1376" y="537"/>
                  <a:pt x="1375" y="538"/>
                  <a:pt x="1374" y="539"/>
                </a:cubicBezTo>
                <a:cubicBezTo>
                  <a:pt x="1372" y="540"/>
                  <a:pt x="1371" y="541"/>
                  <a:pt x="1371" y="541"/>
                </a:cubicBezTo>
                <a:cubicBezTo>
                  <a:pt x="1371" y="541"/>
                  <a:pt x="1371" y="540"/>
                  <a:pt x="1371" y="540"/>
                </a:cubicBezTo>
                <a:lnTo>
                  <a:pt x="1372" y="538"/>
                </a:lnTo>
                <a:cubicBezTo>
                  <a:pt x="1372" y="535"/>
                  <a:pt x="1374" y="534"/>
                  <a:pt x="1376" y="534"/>
                </a:cubicBezTo>
                <a:cubicBezTo>
                  <a:pt x="1379" y="534"/>
                  <a:pt x="1381" y="533"/>
                  <a:pt x="1383" y="531"/>
                </a:cubicBezTo>
                <a:cubicBezTo>
                  <a:pt x="1385" y="530"/>
                  <a:pt x="1386" y="528"/>
                  <a:pt x="1386" y="527"/>
                </a:cubicBezTo>
                <a:cubicBezTo>
                  <a:pt x="1386" y="527"/>
                  <a:pt x="1386" y="526"/>
                  <a:pt x="1386" y="526"/>
                </a:cubicBezTo>
                <a:cubicBezTo>
                  <a:pt x="1383" y="526"/>
                  <a:pt x="1381" y="527"/>
                  <a:pt x="1380" y="527"/>
                </a:cubicBezTo>
                <a:cubicBezTo>
                  <a:pt x="1379" y="528"/>
                  <a:pt x="1378" y="529"/>
                  <a:pt x="1377" y="529"/>
                </a:cubicBezTo>
                <a:cubicBezTo>
                  <a:pt x="1377" y="529"/>
                  <a:pt x="1377" y="528"/>
                  <a:pt x="1377" y="527"/>
                </a:cubicBezTo>
                <a:cubicBezTo>
                  <a:pt x="1377" y="525"/>
                  <a:pt x="1378" y="524"/>
                  <a:pt x="1381" y="523"/>
                </a:cubicBezTo>
                <a:cubicBezTo>
                  <a:pt x="1383" y="523"/>
                  <a:pt x="1385" y="522"/>
                  <a:pt x="1385" y="521"/>
                </a:cubicBezTo>
                <a:lnTo>
                  <a:pt x="1384" y="520"/>
                </a:lnTo>
                <a:cubicBezTo>
                  <a:pt x="1384" y="520"/>
                  <a:pt x="1384" y="519"/>
                  <a:pt x="1384" y="519"/>
                </a:cubicBezTo>
                <a:cubicBezTo>
                  <a:pt x="1384" y="517"/>
                  <a:pt x="1385" y="516"/>
                  <a:pt x="1387" y="516"/>
                </a:cubicBezTo>
                <a:cubicBezTo>
                  <a:pt x="1388" y="516"/>
                  <a:pt x="1389" y="517"/>
                  <a:pt x="1390" y="517"/>
                </a:cubicBezTo>
                <a:cubicBezTo>
                  <a:pt x="1391" y="517"/>
                  <a:pt x="1391" y="518"/>
                  <a:pt x="1391" y="519"/>
                </a:cubicBezTo>
                <a:cubicBezTo>
                  <a:pt x="1391" y="519"/>
                  <a:pt x="1391" y="520"/>
                  <a:pt x="1389" y="522"/>
                </a:cubicBezTo>
                <a:cubicBezTo>
                  <a:pt x="1387" y="523"/>
                  <a:pt x="1386" y="524"/>
                  <a:pt x="1386" y="524"/>
                </a:cubicBezTo>
                <a:cubicBezTo>
                  <a:pt x="1386" y="525"/>
                  <a:pt x="1387" y="525"/>
                  <a:pt x="1388" y="525"/>
                </a:cubicBezTo>
                <a:cubicBezTo>
                  <a:pt x="1389" y="525"/>
                  <a:pt x="1390" y="524"/>
                  <a:pt x="1391" y="524"/>
                </a:cubicBezTo>
                <a:cubicBezTo>
                  <a:pt x="1392" y="524"/>
                  <a:pt x="1393" y="523"/>
                  <a:pt x="1394" y="522"/>
                </a:cubicBezTo>
                <a:cubicBezTo>
                  <a:pt x="1394" y="522"/>
                  <a:pt x="1395" y="521"/>
                  <a:pt x="1396" y="521"/>
                </a:cubicBezTo>
                <a:cubicBezTo>
                  <a:pt x="1397" y="521"/>
                  <a:pt x="1399" y="522"/>
                  <a:pt x="1400" y="524"/>
                </a:cubicBezTo>
                <a:cubicBezTo>
                  <a:pt x="1401" y="526"/>
                  <a:pt x="1402" y="529"/>
                  <a:pt x="1402" y="532"/>
                </a:cubicBezTo>
                <a:cubicBezTo>
                  <a:pt x="1402" y="534"/>
                  <a:pt x="1403" y="535"/>
                  <a:pt x="1403" y="535"/>
                </a:cubicBezTo>
                <a:lnTo>
                  <a:pt x="1404" y="535"/>
                </a:lnTo>
                <a:cubicBezTo>
                  <a:pt x="1406" y="535"/>
                  <a:pt x="1409" y="537"/>
                  <a:pt x="1413" y="541"/>
                </a:cubicBezTo>
                <a:cubicBezTo>
                  <a:pt x="1417" y="543"/>
                  <a:pt x="1419" y="545"/>
                  <a:pt x="1419" y="548"/>
                </a:cubicBezTo>
                <a:cubicBezTo>
                  <a:pt x="1419" y="551"/>
                  <a:pt x="1417" y="556"/>
                  <a:pt x="1413" y="563"/>
                </a:cubicBezTo>
                <a:cubicBezTo>
                  <a:pt x="1408" y="575"/>
                  <a:pt x="1404" y="580"/>
                  <a:pt x="1402" y="580"/>
                </a:cubicBezTo>
                <a:cubicBezTo>
                  <a:pt x="1401" y="580"/>
                  <a:pt x="1401" y="579"/>
                  <a:pt x="1401" y="577"/>
                </a:cubicBezTo>
                <a:cubicBezTo>
                  <a:pt x="1401" y="576"/>
                  <a:pt x="1401" y="576"/>
                  <a:pt x="1401" y="576"/>
                </a:cubicBezTo>
                <a:lnTo>
                  <a:pt x="1403" y="576"/>
                </a:lnTo>
                <a:cubicBezTo>
                  <a:pt x="1403" y="576"/>
                  <a:pt x="1404" y="576"/>
                  <a:pt x="1404" y="574"/>
                </a:cubicBezTo>
                <a:cubicBezTo>
                  <a:pt x="1404" y="572"/>
                  <a:pt x="1404" y="571"/>
                  <a:pt x="1404" y="571"/>
                </a:cubicBezTo>
                <a:cubicBezTo>
                  <a:pt x="1403" y="571"/>
                  <a:pt x="1402" y="572"/>
                  <a:pt x="1401" y="573"/>
                </a:cubicBezTo>
                <a:cubicBezTo>
                  <a:pt x="1399" y="575"/>
                  <a:pt x="1399" y="576"/>
                  <a:pt x="1399" y="577"/>
                </a:cubicBezTo>
                <a:cubicBezTo>
                  <a:pt x="1399" y="578"/>
                  <a:pt x="1399" y="580"/>
                  <a:pt x="1400" y="581"/>
                </a:cubicBezTo>
                <a:cubicBezTo>
                  <a:pt x="1401" y="582"/>
                  <a:pt x="1401" y="583"/>
                  <a:pt x="1401" y="584"/>
                </a:cubicBezTo>
                <a:cubicBezTo>
                  <a:pt x="1401" y="586"/>
                  <a:pt x="1401" y="588"/>
                  <a:pt x="1400" y="590"/>
                </a:cubicBezTo>
                <a:cubicBezTo>
                  <a:pt x="1399" y="593"/>
                  <a:pt x="1398" y="593"/>
                  <a:pt x="1397" y="593"/>
                </a:cubicBezTo>
                <a:lnTo>
                  <a:pt x="1397" y="593"/>
                </a:lnTo>
                <a:cubicBezTo>
                  <a:pt x="1397" y="592"/>
                  <a:pt x="1398" y="591"/>
                  <a:pt x="1399" y="588"/>
                </a:cubicBezTo>
                <a:cubicBezTo>
                  <a:pt x="1400" y="586"/>
                  <a:pt x="1401" y="584"/>
                  <a:pt x="1401" y="583"/>
                </a:cubicBezTo>
                <a:cubicBezTo>
                  <a:pt x="1401" y="583"/>
                  <a:pt x="1400" y="582"/>
                  <a:pt x="1399" y="582"/>
                </a:cubicBezTo>
                <a:cubicBezTo>
                  <a:pt x="1398" y="582"/>
                  <a:pt x="1396" y="583"/>
                  <a:pt x="1395" y="587"/>
                </a:cubicBezTo>
                <a:cubicBezTo>
                  <a:pt x="1394" y="590"/>
                  <a:pt x="1393" y="592"/>
                  <a:pt x="1393" y="593"/>
                </a:cubicBezTo>
                <a:cubicBezTo>
                  <a:pt x="1393" y="594"/>
                  <a:pt x="1392" y="595"/>
                  <a:pt x="1392" y="595"/>
                </a:cubicBezTo>
                <a:cubicBezTo>
                  <a:pt x="1391" y="599"/>
                  <a:pt x="1391" y="601"/>
                  <a:pt x="1391" y="602"/>
                </a:cubicBezTo>
                <a:cubicBezTo>
                  <a:pt x="1391" y="603"/>
                  <a:pt x="1391" y="604"/>
                  <a:pt x="1391" y="605"/>
                </a:cubicBezTo>
                <a:cubicBezTo>
                  <a:pt x="1392" y="606"/>
                  <a:pt x="1392" y="606"/>
                  <a:pt x="1392" y="607"/>
                </a:cubicBezTo>
                <a:cubicBezTo>
                  <a:pt x="1392" y="607"/>
                  <a:pt x="1392" y="607"/>
                  <a:pt x="1391" y="607"/>
                </a:cubicBezTo>
                <a:lnTo>
                  <a:pt x="1390" y="606"/>
                </a:lnTo>
                <a:cubicBezTo>
                  <a:pt x="1389" y="606"/>
                  <a:pt x="1388" y="608"/>
                  <a:pt x="1388" y="611"/>
                </a:cubicBezTo>
                <a:cubicBezTo>
                  <a:pt x="1388" y="614"/>
                  <a:pt x="1387" y="618"/>
                  <a:pt x="1386" y="623"/>
                </a:cubicBezTo>
                <a:cubicBezTo>
                  <a:pt x="1381" y="637"/>
                  <a:pt x="1377" y="657"/>
                  <a:pt x="1373" y="683"/>
                </a:cubicBezTo>
                <a:cubicBezTo>
                  <a:pt x="1371" y="695"/>
                  <a:pt x="1370" y="703"/>
                  <a:pt x="1370" y="708"/>
                </a:cubicBezTo>
                <a:lnTo>
                  <a:pt x="1371" y="712"/>
                </a:lnTo>
                <a:cubicBezTo>
                  <a:pt x="1372" y="712"/>
                  <a:pt x="1372" y="711"/>
                  <a:pt x="1372" y="710"/>
                </a:cubicBezTo>
                <a:cubicBezTo>
                  <a:pt x="1372" y="708"/>
                  <a:pt x="1373" y="708"/>
                  <a:pt x="1374" y="708"/>
                </a:cubicBezTo>
                <a:cubicBezTo>
                  <a:pt x="1375" y="707"/>
                  <a:pt x="1377" y="705"/>
                  <a:pt x="1382" y="701"/>
                </a:cubicBezTo>
                <a:cubicBezTo>
                  <a:pt x="1383" y="699"/>
                  <a:pt x="1385" y="698"/>
                  <a:pt x="1386" y="697"/>
                </a:cubicBezTo>
                <a:lnTo>
                  <a:pt x="1390" y="696"/>
                </a:lnTo>
                <a:lnTo>
                  <a:pt x="1391" y="696"/>
                </a:lnTo>
                <a:cubicBezTo>
                  <a:pt x="1392" y="696"/>
                  <a:pt x="1394" y="694"/>
                  <a:pt x="1397" y="691"/>
                </a:cubicBezTo>
                <a:cubicBezTo>
                  <a:pt x="1399" y="688"/>
                  <a:pt x="1400" y="686"/>
                  <a:pt x="1400" y="685"/>
                </a:cubicBezTo>
                <a:cubicBezTo>
                  <a:pt x="1400" y="684"/>
                  <a:pt x="1400" y="684"/>
                  <a:pt x="1400" y="684"/>
                </a:cubicBezTo>
                <a:cubicBezTo>
                  <a:pt x="1399" y="684"/>
                  <a:pt x="1397" y="685"/>
                  <a:pt x="1395" y="688"/>
                </a:cubicBezTo>
                <a:lnTo>
                  <a:pt x="1390" y="692"/>
                </a:lnTo>
                <a:lnTo>
                  <a:pt x="1394" y="687"/>
                </a:lnTo>
                <a:cubicBezTo>
                  <a:pt x="1397" y="684"/>
                  <a:pt x="1399" y="683"/>
                  <a:pt x="1402" y="683"/>
                </a:cubicBezTo>
                <a:cubicBezTo>
                  <a:pt x="1404" y="683"/>
                  <a:pt x="1405" y="682"/>
                  <a:pt x="1405" y="681"/>
                </a:cubicBezTo>
                <a:cubicBezTo>
                  <a:pt x="1405" y="679"/>
                  <a:pt x="1405" y="679"/>
                  <a:pt x="1403" y="679"/>
                </a:cubicBezTo>
                <a:cubicBezTo>
                  <a:pt x="1402" y="679"/>
                  <a:pt x="1401" y="678"/>
                  <a:pt x="1401" y="677"/>
                </a:cubicBezTo>
                <a:cubicBezTo>
                  <a:pt x="1401" y="677"/>
                  <a:pt x="1402" y="677"/>
                  <a:pt x="1403" y="676"/>
                </a:cubicBezTo>
                <a:cubicBezTo>
                  <a:pt x="1403" y="675"/>
                  <a:pt x="1405" y="675"/>
                  <a:pt x="1408" y="675"/>
                </a:cubicBezTo>
                <a:lnTo>
                  <a:pt x="1410" y="676"/>
                </a:lnTo>
                <a:lnTo>
                  <a:pt x="1411" y="674"/>
                </a:lnTo>
                <a:cubicBezTo>
                  <a:pt x="1411" y="674"/>
                  <a:pt x="1414" y="668"/>
                  <a:pt x="1421" y="657"/>
                </a:cubicBezTo>
                <a:lnTo>
                  <a:pt x="1424" y="651"/>
                </a:lnTo>
                <a:cubicBezTo>
                  <a:pt x="1430" y="642"/>
                  <a:pt x="1433" y="637"/>
                  <a:pt x="1433" y="636"/>
                </a:cubicBezTo>
                <a:lnTo>
                  <a:pt x="1429" y="639"/>
                </a:lnTo>
                <a:cubicBezTo>
                  <a:pt x="1426" y="642"/>
                  <a:pt x="1425" y="644"/>
                  <a:pt x="1425" y="646"/>
                </a:cubicBezTo>
                <a:cubicBezTo>
                  <a:pt x="1423" y="649"/>
                  <a:pt x="1421" y="652"/>
                  <a:pt x="1419" y="655"/>
                </a:cubicBezTo>
                <a:cubicBezTo>
                  <a:pt x="1416" y="658"/>
                  <a:pt x="1415" y="659"/>
                  <a:pt x="1415" y="659"/>
                </a:cubicBezTo>
                <a:cubicBezTo>
                  <a:pt x="1415" y="659"/>
                  <a:pt x="1416" y="656"/>
                  <a:pt x="1419" y="651"/>
                </a:cubicBezTo>
                <a:cubicBezTo>
                  <a:pt x="1423" y="644"/>
                  <a:pt x="1425" y="639"/>
                  <a:pt x="1426" y="635"/>
                </a:cubicBezTo>
                <a:lnTo>
                  <a:pt x="1430" y="623"/>
                </a:lnTo>
                <a:cubicBezTo>
                  <a:pt x="1432" y="618"/>
                  <a:pt x="1433" y="615"/>
                  <a:pt x="1433" y="612"/>
                </a:cubicBezTo>
                <a:lnTo>
                  <a:pt x="1432" y="611"/>
                </a:lnTo>
                <a:cubicBezTo>
                  <a:pt x="1432" y="610"/>
                  <a:pt x="1432" y="610"/>
                  <a:pt x="1433" y="610"/>
                </a:cubicBezTo>
                <a:cubicBezTo>
                  <a:pt x="1433" y="610"/>
                  <a:pt x="1433" y="610"/>
                  <a:pt x="1434" y="609"/>
                </a:cubicBezTo>
                <a:cubicBezTo>
                  <a:pt x="1434" y="608"/>
                  <a:pt x="1435" y="606"/>
                  <a:pt x="1436" y="602"/>
                </a:cubicBezTo>
                <a:cubicBezTo>
                  <a:pt x="1436" y="598"/>
                  <a:pt x="1437" y="594"/>
                  <a:pt x="1437" y="589"/>
                </a:cubicBezTo>
                <a:lnTo>
                  <a:pt x="1436" y="574"/>
                </a:lnTo>
                <a:cubicBezTo>
                  <a:pt x="1435" y="563"/>
                  <a:pt x="1432" y="552"/>
                  <a:pt x="1427" y="541"/>
                </a:cubicBezTo>
                <a:cubicBezTo>
                  <a:pt x="1424" y="536"/>
                  <a:pt x="1422" y="533"/>
                  <a:pt x="1421" y="533"/>
                </a:cubicBezTo>
                <a:cubicBezTo>
                  <a:pt x="1420" y="533"/>
                  <a:pt x="1419" y="533"/>
                  <a:pt x="1419" y="532"/>
                </a:cubicBezTo>
                <a:lnTo>
                  <a:pt x="1419" y="530"/>
                </a:lnTo>
                <a:cubicBezTo>
                  <a:pt x="1419" y="529"/>
                  <a:pt x="1417" y="526"/>
                  <a:pt x="1413" y="520"/>
                </a:cubicBezTo>
                <a:cubicBezTo>
                  <a:pt x="1408" y="516"/>
                  <a:pt x="1405" y="512"/>
                  <a:pt x="1405" y="511"/>
                </a:cubicBezTo>
                <a:cubicBezTo>
                  <a:pt x="1405" y="509"/>
                  <a:pt x="1407" y="508"/>
                  <a:pt x="1411" y="508"/>
                </a:cubicBezTo>
                <a:cubicBezTo>
                  <a:pt x="1414" y="507"/>
                  <a:pt x="1416" y="507"/>
                  <a:pt x="1416" y="506"/>
                </a:cubicBezTo>
                <a:cubicBezTo>
                  <a:pt x="1416" y="505"/>
                  <a:pt x="1414" y="504"/>
                  <a:pt x="1412" y="502"/>
                </a:cubicBezTo>
                <a:cubicBezTo>
                  <a:pt x="1410" y="500"/>
                  <a:pt x="1409" y="499"/>
                  <a:pt x="1409" y="498"/>
                </a:cubicBezTo>
                <a:cubicBezTo>
                  <a:pt x="1409" y="498"/>
                  <a:pt x="1409" y="497"/>
                  <a:pt x="1409" y="497"/>
                </a:cubicBezTo>
                <a:cubicBezTo>
                  <a:pt x="1410" y="497"/>
                  <a:pt x="1411" y="498"/>
                  <a:pt x="1413" y="499"/>
                </a:cubicBezTo>
                <a:cubicBezTo>
                  <a:pt x="1413" y="500"/>
                  <a:pt x="1414" y="501"/>
                  <a:pt x="1415" y="501"/>
                </a:cubicBezTo>
                <a:lnTo>
                  <a:pt x="1416" y="501"/>
                </a:lnTo>
                <a:cubicBezTo>
                  <a:pt x="1418" y="501"/>
                  <a:pt x="1421" y="504"/>
                  <a:pt x="1426" y="509"/>
                </a:cubicBezTo>
                <a:cubicBezTo>
                  <a:pt x="1428" y="512"/>
                  <a:pt x="1431" y="514"/>
                  <a:pt x="1434" y="517"/>
                </a:cubicBezTo>
                <a:cubicBezTo>
                  <a:pt x="1441" y="523"/>
                  <a:pt x="1444" y="526"/>
                  <a:pt x="1446" y="526"/>
                </a:cubicBezTo>
                <a:lnTo>
                  <a:pt x="1441" y="521"/>
                </a:lnTo>
                <a:cubicBezTo>
                  <a:pt x="1439" y="520"/>
                  <a:pt x="1438" y="518"/>
                  <a:pt x="1437" y="516"/>
                </a:cubicBezTo>
                <a:lnTo>
                  <a:pt x="1435" y="512"/>
                </a:lnTo>
                <a:cubicBezTo>
                  <a:pt x="1435" y="512"/>
                  <a:pt x="1435" y="512"/>
                  <a:pt x="1434" y="512"/>
                </a:cubicBezTo>
                <a:lnTo>
                  <a:pt x="1431" y="513"/>
                </a:lnTo>
                <a:lnTo>
                  <a:pt x="1433" y="511"/>
                </a:lnTo>
                <a:cubicBezTo>
                  <a:pt x="1433" y="510"/>
                  <a:pt x="1433" y="510"/>
                  <a:pt x="1435" y="510"/>
                </a:cubicBezTo>
                <a:cubicBezTo>
                  <a:pt x="1439" y="510"/>
                  <a:pt x="1446" y="515"/>
                  <a:pt x="1455" y="524"/>
                </a:cubicBezTo>
                <a:cubicBezTo>
                  <a:pt x="1460" y="529"/>
                  <a:pt x="1464" y="535"/>
                  <a:pt x="1468" y="540"/>
                </a:cubicBezTo>
                <a:cubicBezTo>
                  <a:pt x="1472" y="546"/>
                  <a:pt x="1474" y="550"/>
                  <a:pt x="1474" y="552"/>
                </a:cubicBezTo>
                <a:cubicBezTo>
                  <a:pt x="1474" y="552"/>
                  <a:pt x="1473" y="552"/>
                  <a:pt x="1473" y="552"/>
                </a:cubicBezTo>
                <a:lnTo>
                  <a:pt x="1473" y="553"/>
                </a:lnTo>
                <a:cubicBezTo>
                  <a:pt x="1473" y="554"/>
                  <a:pt x="1474" y="554"/>
                  <a:pt x="1475" y="555"/>
                </a:cubicBezTo>
                <a:cubicBezTo>
                  <a:pt x="1475" y="556"/>
                  <a:pt x="1476" y="557"/>
                  <a:pt x="1476" y="557"/>
                </a:cubicBezTo>
                <a:cubicBezTo>
                  <a:pt x="1476" y="557"/>
                  <a:pt x="1476" y="559"/>
                  <a:pt x="1476" y="561"/>
                </a:cubicBezTo>
                <a:cubicBezTo>
                  <a:pt x="1476" y="561"/>
                  <a:pt x="1476" y="561"/>
                  <a:pt x="1476" y="562"/>
                </a:cubicBezTo>
                <a:cubicBezTo>
                  <a:pt x="1476" y="563"/>
                  <a:pt x="1476" y="564"/>
                  <a:pt x="1477" y="566"/>
                </a:cubicBezTo>
                <a:cubicBezTo>
                  <a:pt x="1478" y="567"/>
                  <a:pt x="1479" y="568"/>
                  <a:pt x="1479" y="568"/>
                </a:cubicBezTo>
                <a:lnTo>
                  <a:pt x="1475" y="566"/>
                </a:lnTo>
                <a:cubicBezTo>
                  <a:pt x="1475" y="566"/>
                  <a:pt x="1475" y="567"/>
                  <a:pt x="1476" y="568"/>
                </a:cubicBezTo>
                <a:cubicBezTo>
                  <a:pt x="1477" y="569"/>
                  <a:pt x="1477" y="571"/>
                  <a:pt x="1478" y="572"/>
                </a:cubicBezTo>
                <a:cubicBezTo>
                  <a:pt x="1478" y="573"/>
                  <a:pt x="1478" y="574"/>
                  <a:pt x="1478" y="575"/>
                </a:cubicBezTo>
                <a:cubicBezTo>
                  <a:pt x="1478" y="576"/>
                  <a:pt x="1479" y="578"/>
                  <a:pt x="1479" y="582"/>
                </a:cubicBezTo>
                <a:cubicBezTo>
                  <a:pt x="1479" y="585"/>
                  <a:pt x="1480" y="588"/>
                  <a:pt x="1480" y="593"/>
                </a:cubicBezTo>
                <a:cubicBezTo>
                  <a:pt x="1481" y="597"/>
                  <a:pt x="1481" y="600"/>
                  <a:pt x="1481" y="603"/>
                </a:cubicBezTo>
                <a:cubicBezTo>
                  <a:pt x="1481" y="606"/>
                  <a:pt x="1481" y="610"/>
                  <a:pt x="1480" y="614"/>
                </a:cubicBezTo>
                <a:cubicBezTo>
                  <a:pt x="1475" y="633"/>
                  <a:pt x="1470" y="647"/>
                  <a:pt x="1465" y="656"/>
                </a:cubicBezTo>
                <a:cubicBezTo>
                  <a:pt x="1461" y="662"/>
                  <a:pt x="1459" y="666"/>
                  <a:pt x="1457" y="666"/>
                </a:cubicBezTo>
                <a:cubicBezTo>
                  <a:pt x="1455" y="666"/>
                  <a:pt x="1454" y="666"/>
                  <a:pt x="1454" y="667"/>
                </a:cubicBezTo>
                <a:lnTo>
                  <a:pt x="1453" y="668"/>
                </a:lnTo>
                <a:cubicBezTo>
                  <a:pt x="1453" y="669"/>
                  <a:pt x="1453" y="669"/>
                  <a:pt x="1454" y="669"/>
                </a:cubicBezTo>
                <a:lnTo>
                  <a:pt x="1456" y="667"/>
                </a:lnTo>
                <a:cubicBezTo>
                  <a:pt x="1457" y="667"/>
                  <a:pt x="1457" y="668"/>
                  <a:pt x="1457" y="668"/>
                </a:cubicBezTo>
                <a:cubicBezTo>
                  <a:pt x="1457" y="670"/>
                  <a:pt x="1456" y="672"/>
                  <a:pt x="1454" y="675"/>
                </a:cubicBezTo>
                <a:cubicBezTo>
                  <a:pt x="1453" y="678"/>
                  <a:pt x="1451" y="679"/>
                  <a:pt x="1448" y="679"/>
                </a:cubicBezTo>
                <a:lnTo>
                  <a:pt x="1447" y="679"/>
                </a:lnTo>
                <a:lnTo>
                  <a:pt x="1447" y="681"/>
                </a:lnTo>
                <a:cubicBezTo>
                  <a:pt x="1447" y="682"/>
                  <a:pt x="1445" y="685"/>
                  <a:pt x="1442" y="690"/>
                </a:cubicBezTo>
                <a:cubicBezTo>
                  <a:pt x="1439" y="695"/>
                  <a:pt x="1435" y="700"/>
                  <a:pt x="1430" y="706"/>
                </a:cubicBezTo>
                <a:cubicBezTo>
                  <a:pt x="1429" y="707"/>
                  <a:pt x="1428" y="709"/>
                  <a:pt x="1426" y="711"/>
                </a:cubicBezTo>
                <a:cubicBezTo>
                  <a:pt x="1424" y="714"/>
                  <a:pt x="1423" y="718"/>
                  <a:pt x="1421" y="721"/>
                </a:cubicBezTo>
                <a:cubicBezTo>
                  <a:pt x="1414" y="731"/>
                  <a:pt x="1407" y="740"/>
                  <a:pt x="1398" y="748"/>
                </a:cubicBezTo>
                <a:cubicBezTo>
                  <a:pt x="1389" y="755"/>
                  <a:pt x="1382" y="759"/>
                  <a:pt x="1376" y="759"/>
                </a:cubicBezTo>
                <a:close/>
                <a:moveTo>
                  <a:pt x="1411" y="555"/>
                </a:moveTo>
                <a:cubicBezTo>
                  <a:pt x="1413" y="555"/>
                  <a:pt x="1414" y="554"/>
                  <a:pt x="1414" y="552"/>
                </a:cubicBezTo>
                <a:cubicBezTo>
                  <a:pt x="1414" y="551"/>
                  <a:pt x="1414" y="550"/>
                  <a:pt x="1413" y="550"/>
                </a:cubicBezTo>
                <a:cubicBezTo>
                  <a:pt x="1412" y="550"/>
                  <a:pt x="1411" y="551"/>
                  <a:pt x="1411" y="552"/>
                </a:cubicBezTo>
                <a:lnTo>
                  <a:pt x="1410" y="554"/>
                </a:lnTo>
                <a:cubicBezTo>
                  <a:pt x="1410" y="554"/>
                  <a:pt x="1411" y="555"/>
                  <a:pt x="1411" y="555"/>
                </a:cubicBezTo>
                <a:close/>
                <a:moveTo>
                  <a:pt x="1406" y="564"/>
                </a:moveTo>
                <a:lnTo>
                  <a:pt x="1409" y="562"/>
                </a:lnTo>
                <a:cubicBezTo>
                  <a:pt x="1410" y="560"/>
                  <a:pt x="1411" y="558"/>
                  <a:pt x="1411" y="558"/>
                </a:cubicBezTo>
                <a:cubicBezTo>
                  <a:pt x="1411" y="557"/>
                  <a:pt x="1410" y="557"/>
                  <a:pt x="1410" y="557"/>
                </a:cubicBezTo>
                <a:cubicBezTo>
                  <a:pt x="1408" y="557"/>
                  <a:pt x="1407" y="558"/>
                  <a:pt x="1407" y="560"/>
                </a:cubicBezTo>
                <a:lnTo>
                  <a:pt x="1406" y="563"/>
                </a:lnTo>
                <a:lnTo>
                  <a:pt x="1406" y="564"/>
                </a:lnTo>
                <a:close/>
                <a:moveTo>
                  <a:pt x="1454" y="660"/>
                </a:moveTo>
                <a:cubicBezTo>
                  <a:pt x="1454" y="659"/>
                  <a:pt x="1454" y="658"/>
                  <a:pt x="1453" y="656"/>
                </a:cubicBezTo>
                <a:cubicBezTo>
                  <a:pt x="1451" y="655"/>
                  <a:pt x="1451" y="654"/>
                  <a:pt x="1451" y="653"/>
                </a:cubicBezTo>
                <a:lnTo>
                  <a:pt x="1456" y="655"/>
                </a:lnTo>
                <a:cubicBezTo>
                  <a:pt x="1456" y="654"/>
                  <a:pt x="1456" y="653"/>
                  <a:pt x="1455" y="652"/>
                </a:cubicBezTo>
                <a:cubicBezTo>
                  <a:pt x="1454" y="650"/>
                  <a:pt x="1453" y="650"/>
                  <a:pt x="1452" y="650"/>
                </a:cubicBezTo>
                <a:cubicBezTo>
                  <a:pt x="1452" y="650"/>
                  <a:pt x="1451" y="650"/>
                  <a:pt x="1451" y="651"/>
                </a:cubicBezTo>
                <a:cubicBezTo>
                  <a:pt x="1451" y="652"/>
                  <a:pt x="1450" y="652"/>
                  <a:pt x="1449" y="652"/>
                </a:cubicBezTo>
                <a:lnTo>
                  <a:pt x="1447" y="651"/>
                </a:lnTo>
                <a:lnTo>
                  <a:pt x="1447" y="652"/>
                </a:lnTo>
                <a:lnTo>
                  <a:pt x="1449" y="655"/>
                </a:lnTo>
                <a:cubicBezTo>
                  <a:pt x="1452" y="658"/>
                  <a:pt x="1454" y="660"/>
                  <a:pt x="1454" y="660"/>
                </a:cubicBezTo>
                <a:close/>
                <a:moveTo>
                  <a:pt x="1452" y="646"/>
                </a:moveTo>
                <a:cubicBezTo>
                  <a:pt x="1453" y="646"/>
                  <a:pt x="1454" y="645"/>
                  <a:pt x="1456" y="643"/>
                </a:cubicBezTo>
                <a:cubicBezTo>
                  <a:pt x="1457" y="641"/>
                  <a:pt x="1457" y="640"/>
                  <a:pt x="1457" y="639"/>
                </a:cubicBezTo>
                <a:cubicBezTo>
                  <a:pt x="1457" y="639"/>
                  <a:pt x="1457" y="639"/>
                  <a:pt x="1456" y="639"/>
                </a:cubicBezTo>
                <a:cubicBezTo>
                  <a:pt x="1456" y="639"/>
                  <a:pt x="1454" y="639"/>
                  <a:pt x="1453" y="642"/>
                </a:cubicBezTo>
                <a:cubicBezTo>
                  <a:pt x="1451" y="644"/>
                  <a:pt x="1450" y="645"/>
                  <a:pt x="1450" y="645"/>
                </a:cubicBezTo>
                <a:cubicBezTo>
                  <a:pt x="1450" y="646"/>
                  <a:pt x="1450" y="646"/>
                  <a:pt x="1452" y="646"/>
                </a:cubicBezTo>
                <a:close/>
                <a:moveTo>
                  <a:pt x="1456" y="634"/>
                </a:moveTo>
                <a:lnTo>
                  <a:pt x="1458" y="632"/>
                </a:lnTo>
                <a:cubicBezTo>
                  <a:pt x="1460" y="632"/>
                  <a:pt x="1461" y="631"/>
                  <a:pt x="1463" y="631"/>
                </a:cubicBezTo>
                <a:lnTo>
                  <a:pt x="1464" y="631"/>
                </a:lnTo>
                <a:cubicBezTo>
                  <a:pt x="1464" y="631"/>
                  <a:pt x="1465" y="631"/>
                  <a:pt x="1466" y="630"/>
                </a:cubicBezTo>
                <a:cubicBezTo>
                  <a:pt x="1467" y="629"/>
                  <a:pt x="1468" y="628"/>
                  <a:pt x="1468" y="626"/>
                </a:cubicBezTo>
                <a:cubicBezTo>
                  <a:pt x="1468" y="626"/>
                  <a:pt x="1467" y="627"/>
                  <a:pt x="1466" y="628"/>
                </a:cubicBezTo>
                <a:cubicBezTo>
                  <a:pt x="1466" y="630"/>
                  <a:pt x="1465" y="630"/>
                  <a:pt x="1465" y="630"/>
                </a:cubicBezTo>
                <a:cubicBezTo>
                  <a:pt x="1464" y="630"/>
                  <a:pt x="1463" y="629"/>
                  <a:pt x="1463" y="628"/>
                </a:cubicBezTo>
                <a:cubicBezTo>
                  <a:pt x="1462" y="626"/>
                  <a:pt x="1461" y="625"/>
                  <a:pt x="1460" y="625"/>
                </a:cubicBezTo>
                <a:cubicBezTo>
                  <a:pt x="1459" y="625"/>
                  <a:pt x="1459" y="627"/>
                  <a:pt x="1458" y="629"/>
                </a:cubicBezTo>
                <a:cubicBezTo>
                  <a:pt x="1457" y="631"/>
                  <a:pt x="1456" y="633"/>
                  <a:pt x="1456" y="634"/>
                </a:cubicBezTo>
                <a:close/>
                <a:moveTo>
                  <a:pt x="1460" y="658"/>
                </a:moveTo>
                <a:cubicBezTo>
                  <a:pt x="1461" y="658"/>
                  <a:pt x="1465" y="650"/>
                  <a:pt x="1471" y="635"/>
                </a:cubicBezTo>
                <a:cubicBezTo>
                  <a:pt x="1475" y="624"/>
                  <a:pt x="1478" y="612"/>
                  <a:pt x="1478" y="599"/>
                </a:cubicBezTo>
                <a:cubicBezTo>
                  <a:pt x="1478" y="590"/>
                  <a:pt x="1476" y="582"/>
                  <a:pt x="1474" y="575"/>
                </a:cubicBezTo>
                <a:cubicBezTo>
                  <a:pt x="1472" y="572"/>
                  <a:pt x="1471" y="571"/>
                  <a:pt x="1470" y="571"/>
                </a:cubicBezTo>
                <a:cubicBezTo>
                  <a:pt x="1470" y="571"/>
                  <a:pt x="1469" y="572"/>
                  <a:pt x="1469" y="575"/>
                </a:cubicBezTo>
                <a:cubicBezTo>
                  <a:pt x="1469" y="577"/>
                  <a:pt x="1470" y="578"/>
                  <a:pt x="1470" y="578"/>
                </a:cubicBezTo>
                <a:lnTo>
                  <a:pt x="1471" y="578"/>
                </a:lnTo>
                <a:cubicBezTo>
                  <a:pt x="1473" y="578"/>
                  <a:pt x="1473" y="586"/>
                  <a:pt x="1473" y="601"/>
                </a:cubicBezTo>
                <a:cubicBezTo>
                  <a:pt x="1473" y="606"/>
                  <a:pt x="1473" y="609"/>
                  <a:pt x="1472" y="610"/>
                </a:cubicBezTo>
                <a:cubicBezTo>
                  <a:pt x="1471" y="610"/>
                  <a:pt x="1470" y="611"/>
                  <a:pt x="1470" y="612"/>
                </a:cubicBezTo>
                <a:cubicBezTo>
                  <a:pt x="1470" y="613"/>
                  <a:pt x="1471" y="613"/>
                  <a:pt x="1471" y="613"/>
                </a:cubicBezTo>
                <a:lnTo>
                  <a:pt x="1474" y="612"/>
                </a:lnTo>
                <a:cubicBezTo>
                  <a:pt x="1474" y="612"/>
                  <a:pt x="1474" y="614"/>
                  <a:pt x="1473" y="615"/>
                </a:cubicBezTo>
                <a:cubicBezTo>
                  <a:pt x="1471" y="617"/>
                  <a:pt x="1471" y="618"/>
                  <a:pt x="1471" y="619"/>
                </a:cubicBezTo>
                <a:lnTo>
                  <a:pt x="1471" y="621"/>
                </a:lnTo>
                <a:cubicBezTo>
                  <a:pt x="1471" y="624"/>
                  <a:pt x="1468" y="635"/>
                  <a:pt x="1460" y="654"/>
                </a:cubicBezTo>
                <a:lnTo>
                  <a:pt x="1459" y="657"/>
                </a:lnTo>
                <a:lnTo>
                  <a:pt x="1460" y="658"/>
                </a:lnTo>
                <a:close/>
                <a:moveTo>
                  <a:pt x="1470" y="568"/>
                </a:moveTo>
                <a:cubicBezTo>
                  <a:pt x="1472" y="568"/>
                  <a:pt x="1472" y="568"/>
                  <a:pt x="1472" y="567"/>
                </a:cubicBezTo>
                <a:cubicBezTo>
                  <a:pt x="1472" y="566"/>
                  <a:pt x="1471" y="563"/>
                  <a:pt x="1470" y="559"/>
                </a:cubicBezTo>
                <a:cubicBezTo>
                  <a:pt x="1465" y="550"/>
                  <a:pt x="1462" y="543"/>
                  <a:pt x="1459" y="540"/>
                </a:cubicBezTo>
                <a:cubicBezTo>
                  <a:pt x="1456" y="537"/>
                  <a:pt x="1454" y="535"/>
                  <a:pt x="1454" y="534"/>
                </a:cubicBezTo>
                <a:cubicBezTo>
                  <a:pt x="1454" y="534"/>
                  <a:pt x="1454" y="534"/>
                  <a:pt x="1454" y="534"/>
                </a:cubicBezTo>
                <a:lnTo>
                  <a:pt x="1454" y="533"/>
                </a:lnTo>
                <a:cubicBezTo>
                  <a:pt x="1454" y="532"/>
                  <a:pt x="1454" y="531"/>
                  <a:pt x="1453" y="531"/>
                </a:cubicBezTo>
                <a:lnTo>
                  <a:pt x="1452" y="530"/>
                </a:lnTo>
                <a:cubicBezTo>
                  <a:pt x="1451" y="530"/>
                  <a:pt x="1451" y="531"/>
                  <a:pt x="1451" y="531"/>
                </a:cubicBezTo>
                <a:cubicBezTo>
                  <a:pt x="1451" y="534"/>
                  <a:pt x="1453" y="537"/>
                  <a:pt x="1455" y="539"/>
                </a:cubicBezTo>
                <a:cubicBezTo>
                  <a:pt x="1456" y="540"/>
                  <a:pt x="1458" y="542"/>
                  <a:pt x="1459" y="545"/>
                </a:cubicBezTo>
                <a:cubicBezTo>
                  <a:pt x="1459" y="547"/>
                  <a:pt x="1460" y="549"/>
                  <a:pt x="1461" y="549"/>
                </a:cubicBezTo>
                <a:cubicBezTo>
                  <a:pt x="1462" y="550"/>
                  <a:pt x="1463" y="551"/>
                  <a:pt x="1463" y="553"/>
                </a:cubicBezTo>
                <a:lnTo>
                  <a:pt x="1462" y="554"/>
                </a:lnTo>
                <a:cubicBezTo>
                  <a:pt x="1462" y="554"/>
                  <a:pt x="1463" y="555"/>
                  <a:pt x="1464" y="555"/>
                </a:cubicBezTo>
                <a:cubicBezTo>
                  <a:pt x="1465" y="555"/>
                  <a:pt x="1466" y="556"/>
                  <a:pt x="1466" y="557"/>
                </a:cubicBezTo>
                <a:lnTo>
                  <a:pt x="1465" y="563"/>
                </a:lnTo>
                <a:lnTo>
                  <a:pt x="1466" y="565"/>
                </a:lnTo>
                <a:lnTo>
                  <a:pt x="1467" y="565"/>
                </a:lnTo>
                <a:cubicBezTo>
                  <a:pt x="1468" y="565"/>
                  <a:pt x="1468" y="565"/>
                  <a:pt x="1468" y="566"/>
                </a:cubicBezTo>
                <a:cubicBezTo>
                  <a:pt x="1468" y="567"/>
                  <a:pt x="1469" y="568"/>
                  <a:pt x="1470" y="568"/>
                </a:cubicBezTo>
                <a:close/>
                <a:moveTo>
                  <a:pt x="1436" y="627"/>
                </a:moveTo>
                <a:cubicBezTo>
                  <a:pt x="1436" y="627"/>
                  <a:pt x="1437" y="627"/>
                  <a:pt x="1438" y="626"/>
                </a:cubicBezTo>
                <a:cubicBezTo>
                  <a:pt x="1438" y="625"/>
                  <a:pt x="1439" y="624"/>
                  <a:pt x="1439" y="623"/>
                </a:cubicBezTo>
                <a:cubicBezTo>
                  <a:pt x="1439" y="622"/>
                  <a:pt x="1440" y="621"/>
                  <a:pt x="1440" y="620"/>
                </a:cubicBezTo>
                <a:cubicBezTo>
                  <a:pt x="1440" y="620"/>
                  <a:pt x="1439" y="619"/>
                  <a:pt x="1439" y="619"/>
                </a:cubicBezTo>
                <a:cubicBezTo>
                  <a:pt x="1439" y="619"/>
                  <a:pt x="1438" y="620"/>
                  <a:pt x="1438" y="621"/>
                </a:cubicBezTo>
                <a:cubicBezTo>
                  <a:pt x="1436" y="623"/>
                  <a:pt x="1435" y="625"/>
                  <a:pt x="1435" y="627"/>
                </a:cubicBezTo>
                <a:cubicBezTo>
                  <a:pt x="1435" y="627"/>
                  <a:pt x="1436" y="627"/>
                  <a:pt x="1436" y="627"/>
                </a:cubicBezTo>
                <a:close/>
                <a:moveTo>
                  <a:pt x="1390" y="579"/>
                </a:moveTo>
                <a:cubicBezTo>
                  <a:pt x="1391" y="579"/>
                  <a:pt x="1393" y="576"/>
                  <a:pt x="1397" y="569"/>
                </a:cubicBezTo>
                <a:lnTo>
                  <a:pt x="1398" y="567"/>
                </a:lnTo>
                <a:cubicBezTo>
                  <a:pt x="1397" y="567"/>
                  <a:pt x="1396" y="568"/>
                  <a:pt x="1394" y="571"/>
                </a:cubicBezTo>
                <a:cubicBezTo>
                  <a:pt x="1391" y="575"/>
                  <a:pt x="1390" y="577"/>
                  <a:pt x="1390" y="579"/>
                </a:cubicBezTo>
                <a:cubicBezTo>
                  <a:pt x="1390" y="579"/>
                  <a:pt x="1390" y="579"/>
                  <a:pt x="1390" y="579"/>
                </a:cubicBezTo>
                <a:close/>
                <a:moveTo>
                  <a:pt x="1387" y="590"/>
                </a:moveTo>
                <a:cubicBezTo>
                  <a:pt x="1389" y="590"/>
                  <a:pt x="1390" y="590"/>
                  <a:pt x="1390" y="588"/>
                </a:cubicBezTo>
                <a:lnTo>
                  <a:pt x="1390" y="588"/>
                </a:lnTo>
                <a:cubicBezTo>
                  <a:pt x="1390" y="588"/>
                  <a:pt x="1390" y="587"/>
                  <a:pt x="1390" y="586"/>
                </a:cubicBezTo>
                <a:cubicBezTo>
                  <a:pt x="1390" y="585"/>
                  <a:pt x="1390" y="585"/>
                  <a:pt x="1390" y="584"/>
                </a:cubicBezTo>
                <a:cubicBezTo>
                  <a:pt x="1390" y="583"/>
                  <a:pt x="1390" y="583"/>
                  <a:pt x="1389" y="583"/>
                </a:cubicBezTo>
                <a:cubicBezTo>
                  <a:pt x="1389" y="583"/>
                  <a:pt x="1388" y="584"/>
                  <a:pt x="1387" y="585"/>
                </a:cubicBezTo>
                <a:cubicBezTo>
                  <a:pt x="1386" y="587"/>
                  <a:pt x="1385" y="588"/>
                  <a:pt x="1384" y="588"/>
                </a:cubicBezTo>
                <a:lnTo>
                  <a:pt x="1382" y="587"/>
                </a:lnTo>
                <a:lnTo>
                  <a:pt x="1382" y="588"/>
                </a:lnTo>
                <a:cubicBezTo>
                  <a:pt x="1382" y="588"/>
                  <a:pt x="1382" y="588"/>
                  <a:pt x="1382" y="589"/>
                </a:cubicBezTo>
                <a:cubicBezTo>
                  <a:pt x="1383" y="590"/>
                  <a:pt x="1384" y="590"/>
                  <a:pt x="1387" y="590"/>
                </a:cubicBezTo>
                <a:close/>
                <a:moveTo>
                  <a:pt x="1361" y="740"/>
                </a:moveTo>
                <a:cubicBezTo>
                  <a:pt x="1361" y="740"/>
                  <a:pt x="1361" y="739"/>
                  <a:pt x="1361" y="737"/>
                </a:cubicBezTo>
                <a:lnTo>
                  <a:pt x="1361" y="734"/>
                </a:lnTo>
                <a:cubicBezTo>
                  <a:pt x="1361" y="729"/>
                  <a:pt x="1360" y="727"/>
                  <a:pt x="1358" y="727"/>
                </a:cubicBezTo>
                <a:cubicBezTo>
                  <a:pt x="1356" y="727"/>
                  <a:pt x="1355" y="728"/>
                  <a:pt x="1355" y="731"/>
                </a:cubicBezTo>
                <a:cubicBezTo>
                  <a:pt x="1355" y="733"/>
                  <a:pt x="1356" y="735"/>
                  <a:pt x="1357" y="737"/>
                </a:cubicBezTo>
                <a:cubicBezTo>
                  <a:pt x="1359" y="739"/>
                  <a:pt x="1360" y="740"/>
                  <a:pt x="1361" y="740"/>
                </a:cubicBezTo>
                <a:close/>
                <a:moveTo>
                  <a:pt x="1364" y="690"/>
                </a:moveTo>
                <a:cubicBezTo>
                  <a:pt x="1365" y="690"/>
                  <a:pt x="1366" y="688"/>
                  <a:pt x="1366" y="686"/>
                </a:cubicBezTo>
                <a:cubicBezTo>
                  <a:pt x="1366" y="684"/>
                  <a:pt x="1365" y="683"/>
                  <a:pt x="1364" y="683"/>
                </a:cubicBezTo>
                <a:cubicBezTo>
                  <a:pt x="1362" y="683"/>
                  <a:pt x="1362" y="683"/>
                  <a:pt x="1362" y="685"/>
                </a:cubicBezTo>
                <a:cubicBezTo>
                  <a:pt x="1362" y="686"/>
                  <a:pt x="1362" y="687"/>
                  <a:pt x="1363" y="688"/>
                </a:cubicBezTo>
                <a:cubicBezTo>
                  <a:pt x="1364" y="689"/>
                  <a:pt x="1364" y="690"/>
                  <a:pt x="1364" y="690"/>
                </a:cubicBezTo>
                <a:close/>
                <a:moveTo>
                  <a:pt x="1366" y="676"/>
                </a:moveTo>
                <a:cubicBezTo>
                  <a:pt x="1367" y="676"/>
                  <a:pt x="1367" y="675"/>
                  <a:pt x="1368" y="674"/>
                </a:cubicBezTo>
                <a:lnTo>
                  <a:pt x="1368" y="672"/>
                </a:lnTo>
                <a:cubicBezTo>
                  <a:pt x="1368" y="671"/>
                  <a:pt x="1368" y="670"/>
                  <a:pt x="1367" y="670"/>
                </a:cubicBezTo>
                <a:lnTo>
                  <a:pt x="1366" y="669"/>
                </a:lnTo>
                <a:cubicBezTo>
                  <a:pt x="1365" y="669"/>
                  <a:pt x="1364" y="670"/>
                  <a:pt x="1364" y="671"/>
                </a:cubicBezTo>
                <a:cubicBezTo>
                  <a:pt x="1364" y="672"/>
                  <a:pt x="1364" y="673"/>
                  <a:pt x="1365" y="674"/>
                </a:cubicBezTo>
                <a:cubicBezTo>
                  <a:pt x="1366" y="675"/>
                  <a:pt x="1366" y="676"/>
                  <a:pt x="1366" y="676"/>
                </a:cubicBezTo>
                <a:close/>
                <a:moveTo>
                  <a:pt x="1354" y="721"/>
                </a:moveTo>
                <a:cubicBezTo>
                  <a:pt x="1355" y="721"/>
                  <a:pt x="1357" y="720"/>
                  <a:pt x="1358" y="718"/>
                </a:cubicBezTo>
                <a:cubicBezTo>
                  <a:pt x="1360" y="718"/>
                  <a:pt x="1361" y="715"/>
                  <a:pt x="1361" y="713"/>
                </a:cubicBezTo>
                <a:cubicBezTo>
                  <a:pt x="1361" y="712"/>
                  <a:pt x="1361" y="712"/>
                  <a:pt x="1360" y="711"/>
                </a:cubicBezTo>
                <a:lnTo>
                  <a:pt x="1359" y="712"/>
                </a:lnTo>
                <a:cubicBezTo>
                  <a:pt x="1358" y="712"/>
                  <a:pt x="1357" y="710"/>
                  <a:pt x="1357" y="705"/>
                </a:cubicBezTo>
                <a:cubicBezTo>
                  <a:pt x="1357" y="701"/>
                  <a:pt x="1357" y="700"/>
                  <a:pt x="1358" y="700"/>
                </a:cubicBezTo>
                <a:cubicBezTo>
                  <a:pt x="1358" y="700"/>
                  <a:pt x="1359" y="701"/>
                  <a:pt x="1359" y="704"/>
                </a:cubicBezTo>
                <a:cubicBezTo>
                  <a:pt x="1360" y="707"/>
                  <a:pt x="1361" y="708"/>
                  <a:pt x="1361" y="708"/>
                </a:cubicBezTo>
                <a:cubicBezTo>
                  <a:pt x="1362" y="708"/>
                  <a:pt x="1362" y="706"/>
                  <a:pt x="1362" y="701"/>
                </a:cubicBezTo>
                <a:lnTo>
                  <a:pt x="1362" y="699"/>
                </a:lnTo>
                <a:cubicBezTo>
                  <a:pt x="1362" y="696"/>
                  <a:pt x="1362" y="695"/>
                  <a:pt x="1361" y="695"/>
                </a:cubicBezTo>
                <a:cubicBezTo>
                  <a:pt x="1360" y="695"/>
                  <a:pt x="1359" y="693"/>
                  <a:pt x="1359" y="691"/>
                </a:cubicBezTo>
                <a:cubicBezTo>
                  <a:pt x="1359" y="686"/>
                  <a:pt x="1360" y="682"/>
                  <a:pt x="1362" y="681"/>
                </a:cubicBezTo>
                <a:cubicBezTo>
                  <a:pt x="1364" y="680"/>
                  <a:pt x="1366" y="679"/>
                  <a:pt x="1366" y="679"/>
                </a:cubicBezTo>
                <a:cubicBezTo>
                  <a:pt x="1366" y="679"/>
                  <a:pt x="1365" y="679"/>
                  <a:pt x="1364" y="679"/>
                </a:cubicBezTo>
                <a:cubicBezTo>
                  <a:pt x="1363" y="679"/>
                  <a:pt x="1362" y="676"/>
                  <a:pt x="1362" y="670"/>
                </a:cubicBezTo>
                <a:cubicBezTo>
                  <a:pt x="1362" y="665"/>
                  <a:pt x="1363" y="663"/>
                  <a:pt x="1364" y="663"/>
                </a:cubicBezTo>
                <a:cubicBezTo>
                  <a:pt x="1365" y="663"/>
                  <a:pt x="1366" y="664"/>
                  <a:pt x="1368" y="665"/>
                </a:cubicBezTo>
                <a:lnTo>
                  <a:pt x="1370" y="667"/>
                </a:lnTo>
                <a:cubicBezTo>
                  <a:pt x="1370" y="666"/>
                  <a:pt x="1370" y="666"/>
                  <a:pt x="1370" y="666"/>
                </a:cubicBezTo>
                <a:cubicBezTo>
                  <a:pt x="1369" y="666"/>
                  <a:pt x="1369" y="665"/>
                  <a:pt x="1369" y="664"/>
                </a:cubicBezTo>
                <a:cubicBezTo>
                  <a:pt x="1369" y="663"/>
                  <a:pt x="1370" y="662"/>
                  <a:pt x="1371" y="661"/>
                </a:cubicBezTo>
                <a:cubicBezTo>
                  <a:pt x="1372" y="659"/>
                  <a:pt x="1372" y="658"/>
                  <a:pt x="1373" y="656"/>
                </a:cubicBezTo>
                <a:cubicBezTo>
                  <a:pt x="1374" y="654"/>
                  <a:pt x="1374" y="652"/>
                  <a:pt x="1374" y="650"/>
                </a:cubicBezTo>
                <a:cubicBezTo>
                  <a:pt x="1374" y="649"/>
                  <a:pt x="1374" y="648"/>
                  <a:pt x="1373" y="648"/>
                </a:cubicBezTo>
                <a:cubicBezTo>
                  <a:pt x="1372" y="648"/>
                  <a:pt x="1371" y="649"/>
                  <a:pt x="1370" y="650"/>
                </a:cubicBezTo>
                <a:cubicBezTo>
                  <a:pt x="1369" y="652"/>
                  <a:pt x="1369" y="654"/>
                  <a:pt x="1369" y="655"/>
                </a:cubicBezTo>
                <a:cubicBezTo>
                  <a:pt x="1369" y="657"/>
                  <a:pt x="1368" y="658"/>
                  <a:pt x="1366" y="659"/>
                </a:cubicBezTo>
                <a:cubicBezTo>
                  <a:pt x="1366" y="659"/>
                  <a:pt x="1365" y="659"/>
                  <a:pt x="1365" y="658"/>
                </a:cubicBezTo>
                <a:cubicBezTo>
                  <a:pt x="1365" y="657"/>
                  <a:pt x="1365" y="656"/>
                  <a:pt x="1366" y="653"/>
                </a:cubicBezTo>
                <a:lnTo>
                  <a:pt x="1367" y="644"/>
                </a:lnTo>
                <a:cubicBezTo>
                  <a:pt x="1367" y="642"/>
                  <a:pt x="1369" y="641"/>
                  <a:pt x="1372" y="641"/>
                </a:cubicBezTo>
                <a:lnTo>
                  <a:pt x="1372" y="641"/>
                </a:lnTo>
                <a:cubicBezTo>
                  <a:pt x="1375" y="641"/>
                  <a:pt x="1376" y="639"/>
                  <a:pt x="1376" y="637"/>
                </a:cubicBezTo>
                <a:cubicBezTo>
                  <a:pt x="1376" y="635"/>
                  <a:pt x="1375" y="634"/>
                  <a:pt x="1372" y="633"/>
                </a:cubicBezTo>
                <a:lnTo>
                  <a:pt x="1371" y="633"/>
                </a:lnTo>
                <a:cubicBezTo>
                  <a:pt x="1371" y="632"/>
                  <a:pt x="1373" y="632"/>
                  <a:pt x="1375" y="632"/>
                </a:cubicBezTo>
                <a:cubicBezTo>
                  <a:pt x="1377" y="632"/>
                  <a:pt x="1377" y="631"/>
                  <a:pt x="1377" y="630"/>
                </a:cubicBezTo>
                <a:lnTo>
                  <a:pt x="1377" y="629"/>
                </a:lnTo>
                <a:cubicBezTo>
                  <a:pt x="1377" y="627"/>
                  <a:pt x="1376" y="627"/>
                  <a:pt x="1375" y="627"/>
                </a:cubicBezTo>
                <a:cubicBezTo>
                  <a:pt x="1374" y="627"/>
                  <a:pt x="1374" y="627"/>
                  <a:pt x="1374" y="627"/>
                </a:cubicBezTo>
                <a:cubicBezTo>
                  <a:pt x="1371" y="627"/>
                  <a:pt x="1370" y="627"/>
                  <a:pt x="1370" y="626"/>
                </a:cubicBezTo>
                <a:cubicBezTo>
                  <a:pt x="1370" y="625"/>
                  <a:pt x="1371" y="624"/>
                  <a:pt x="1372" y="624"/>
                </a:cubicBezTo>
                <a:lnTo>
                  <a:pt x="1376" y="624"/>
                </a:lnTo>
                <a:cubicBezTo>
                  <a:pt x="1378" y="624"/>
                  <a:pt x="1380" y="622"/>
                  <a:pt x="1382" y="620"/>
                </a:cubicBezTo>
                <a:cubicBezTo>
                  <a:pt x="1383" y="617"/>
                  <a:pt x="1384" y="614"/>
                  <a:pt x="1384" y="610"/>
                </a:cubicBezTo>
                <a:cubicBezTo>
                  <a:pt x="1384" y="608"/>
                  <a:pt x="1384" y="606"/>
                  <a:pt x="1383" y="605"/>
                </a:cubicBezTo>
                <a:lnTo>
                  <a:pt x="1381" y="603"/>
                </a:lnTo>
                <a:lnTo>
                  <a:pt x="1382" y="608"/>
                </a:lnTo>
                <a:cubicBezTo>
                  <a:pt x="1382" y="609"/>
                  <a:pt x="1382" y="609"/>
                  <a:pt x="1381" y="610"/>
                </a:cubicBezTo>
                <a:cubicBezTo>
                  <a:pt x="1380" y="610"/>
                  <a:pt x="1380" y="611"/>
                  <a:pt x="1380" y="614"/>
                </a:cubicBezTo>
                <a:cubicBezTo>
                  <a:pt x="1380" y="618"/>
                  <a:pt x="1379" y="620"/>
                  <a:pt x="1376" y="620"/>
                </a:cubicBezTo>
                <a:cubicBezTo>
                  <a:pt x="1375" y="620"/>
                  <a:pt x="1374" y="619"/>
                  <a:pt x="1374" y="618"/>
                </a:cubicBezTo>
                <a:lnTo>
                  <a:pt x="1372" y="617"/>
                </a:lnTo>
                <a:cubicBezTo>
                  <a:pt x="1372" y="617"/>
                  <a:pt x="1373" y="617"/>
                  <a:pt x="1373" y="617"/>
                </a:cubicBezTo>
                <a:lnTo>
                  <a:pt x="1376" y="618"/>
                </a:lnTo>
                <a:cubicBezTo>
                  <a:pt x="1376" y="618"/>
                  <a:pt x="1376" y="618"/>
                  <a:pt x="1376" y="617"/>
                </a:cubicBezTo>
                <a:cubicBezTo>
                  <a:pt x="1376" y="617"/>
                  <a:pt x="1376" y="615"/>
                  <a:pt x="1375" y="613"/>
                </a:cubicBezTo>
                <a:cubicBezTo>
                  <a:pt x="1374" y="612"/>
                  <a:pt x="1373" y="611"/>
                  <a:pt x="1372" y="611"/>
                </a:cubicBezTo>
                <a:lnTo>
                  <a:pt x="1371" y="611"/>
                </a:lnTo>
                <a:cubicBezTo>
                  <a:pt x="1371" y="611"/>
                  <a:pt x="1372" y="610"/>
                  <a:pt x="1374" y="608"/>
                </a:cubicBezTo>
                <a:cubicBezTo>
                  <a:pt x="1376" y="607"/>
                  <a:pt x="1376" y="605"/>
                  <a:pt x="1376" y="604"/>
                </a:cubicBezTo>
                <a:cubicBezTo>
                  <a:pt x="1376" y="604"/>
                  <a:pt x="1376" y="604"/>
                  <a:pt x="1376" y="604"/>
                </a:cubicBezTo>
                <a:lnTo>
                  <a:pt x="1376" y="603"/>
                </a:lnTo>
                <a:cubicBezTo>
                  <a:pt x="1376" y="602"/>
                  <a:pt x="1377" y="600"/>
                  <a:pt x="1378" y="598"/>
                </a:cubicBezTo>
                <a:cubicBezTo>
                  <a:pt x="1380" y="596"/>
                  <a:pt x="1380" y="595"/>
                  <a:pt x="1380" y="594"/>
                </a:cubicBezTo>
                <a:cubicBezTo>
                  <a:pt x="1380" y="594"/>
                  <a:pt x="1380" y="593"/>
                  <a:pt x="1380" y="593"/>
                </a:cubicBezTo>
                <a:cubicBezTo>
                  <a:pt x="1378" y="593"/>
                  <a:pt x="1376" y="594"/>
                  <a:pt x="1375" y="596"/>
                </a:cubicBezTo>
                <a:cubicBezTo>
                  <a:pt x="1373" y="598"/>
                  <a:pt x="1371" y="599"/>
                  <a:pt x="1369" y="599"/>
                </a:cubicBezTo>
                <a:lnTo>
                  <a:pt x="1368" y="599"/>
                </a:lnTo>
                <a:cubicBezTo>
                  <a:pt x="1366" y="599"/>
                  <a:pt x="1366" y="600"/>
                  <a:pt x="1366" y="602"/>
                </a:cubicBezTo>
                <a:cubicBezTo>
                  <a:pt x="1366" y="604"/>
                  <a:pt x="1365" y="607"/>
                  <a:pt x="1363" y="610"/>
                </a:cubicBezTo>
                <a:cubicBezTo>
                  <a:pt x="1362" y="611"/>
                  <a:pt x="1362" y="612"/>
                  <a:pt x="1362" y="612"/>
                </a:cubicBezTo>
                <a:lnTo>
                  <a:pt x="1366" y="610"/>
                </a:lnTo>
                <a:cubicBezTo>
                  <a:pt x="1366" y="610"/>
                  <a:pt x="1365" y="611"/>
                  <a:pt x="1364" y="612"/>
                </a:cubicBezTo>
                <a:cubicBezTo>
                  <a:pt x="1363" y="614"/>
                  <a:pt x="1362" y="615"/>
                  <a:pt x="1362" y="616"/>
                </a:cubicBezTo>
                <a:lnTo>
                  <a:pt x="1364" y="618"/>
                </a:lnTo>
                <a:cubicBezTo>
                  <a:pt x="1364" y="619"/>
                  <a:pt x="1363" y="619"/>
                  <a:pt x="1362" y="619"/>
                </a:cubicBezTo>
                <a:cubicBezTo>
                  <a:pt x="1361" y="619"/>
                  <a:pt x="1360" y="621"/>
                  <a:pt x="1360" y="626"/>
                </a:cubicBezTo>
                <a:lnTo>
                  <a:pt x="1359" y="629"/>
                </a:lnTo>
                <a:lnTo>
                  <a:pt x="1359" y="629"/>
                </a:lnTo>
                <a:cubicBezTo>
                  <a:pt x="1357" y="629"/>
                  <a:pt x="1357" y="631"/>
                  <a:pt x="1356" y="634"/>
                </a:cubicBezTo>
                <a:cubicBezTo>
                  <a:pt x="1355" y="638"/>
                  <a:pt x="1354" y="639"/>
                  <a:pt x="1352" y="639"/>
                </a:cubicBezTo>
                <a:cubicBezTo>
                  <a:pt x="1352" y="639"/>
                  <a:pt x="1352" y="639"/>
                  <a:pt x="1352" y="639"/>
                </a:cubicBezTo>
                <a:cubicBezTo>
                  <a:pt x="1352" y="638"/>
                  <a:pt x="1352" y="637"/>
                  <a:pt x="1352" y="637"/>
                </a:cubicBezTo>
                <a:cubicBezTo>
                  <a:pt x="1352" y="636"/>
                  <a:pt x="1352" y="636"/>
                  <a:pt x="1352" y="635"/>
                </a:cubicBezTo>
                <a:cubicBezTo>
                  <a:pt x="1352" y="635"/>
                  <a:pt x="1352" y="635"/>
                  <a:pt x="1352" y="635"/>
                </a:cubicBezTo>
                <a:lnTo>
                  <a:pt x="1351" y="636"/>
                </a:lnTo>
                <a:cubicBezTo>
                  <a:pt x="1350" y="637"/>
                  <a:pt x="1349" y="639"/>
                  <a:pt x="1347" y="641"/>
                </a:cubicBezTo>
                <a:cubicBezTo>
                  <a:pt x="1346" y="644"/>
                  <a:pt x="1346" y="646"/>
                  <a:pt x="1346" y="648"/>
                </a:cubicBezTo>
                <a:cubicBezTo>
                  <a:pt x="1346" y="649"/>
                  <a:pt x="1346" y="650"/>
                  <a:pt x="1347" y="651"/>
                </a:cubicBezTo>
                <a:cubicBezTo>
                  <a:pt x="1350" y="651"/>
                  <a:pt x="1352" y="654"/>
                  <a:pt x="1352" y="659"/>
                </a:cubicBezTo>
                <a:cubicBezTo>
                  <a:pt x="1352" y="664"/>
                  <a:pt x="1351" y="671"/>
                  <a:pt x="1350" y="681"/>
                </a:cubicBezTo>
                <a:lnTo>
                  <a:pt x="1349" y="685"/>
                </a:lnTo>
                <a:cubicBezTo>
                  <a:pt x="1349" y="685"/>
                  <a:pt x="1350" y="684"/>
                  <a:pt x="1351" y="683"/>
                </a:cubicBezTo>
                <a:cubicBezTo>
                  <a:pt x="1351" y="682"/>
                  <a:pt x="1352" y="681"/>
                  <a:pt x="1352" y="681"/>
                </a:cubicBezTo>
                <a:cubicBezTo>
                  <a:pt x="1352" y="681"/>
                  <a:pt x="1352" y="683"/>
                  <a:pt x="1352" y="685"/>
                </a:cubicBezTo>
                <a:cubicBezTo>
                  <a:pt x="1352" y="687"/>
                  <a:pt x="1351" y="688"/>
                  <a:pt x="1350" y="688"/>
                </a:cubicBezTo>
                <a:cubicBezTo>
                  <a:pt x="1349" y="688"/>
                  <a:pt x="1349" y="689"/>
                  <a:pt x="1349" y="691"/>
                </a:cubicBezTo>
                <a:cubicBezTo>
                  <a:pt x="1349" y="692"/>
                  <a:pt x="1349" y="692"/>
                  <a:pt x="1349" y="693"/>
                </a:cubicBezTo>
                <a:cubicBezTo>
                  <a:pt x="1350" y="694"/>
                  <a:pt x="1350" y="695"/>
                  <a:pt x="1351" y="695"/>
                </a:cubicBezTo>
                <a:cubicBezTo>
                  <a:pt x="1352" y="695"/>
                  <a:pt x="1352" y="698"/>
                  <a:pt x="1352" y="704"/>
                </a:cubicBezTo>
                <a:cubicBezTo>
                  <a:pt x="1352" y="715"/>
                  <a:pt x="1353" y="721"/>
                  <a:pt x="1354" y="721"/>
                </a:cubicBezTo>
                <a:close/>
                <a:moveTo>
                  <a:pt x="1369" y="732"/>
                </a:moveTo>
                <a:cubicBezTo>
                  <a:pt x="1371" y="732"/>
                  <a:pt x="1374" y="729"/>
                  <a:pt x="1379" y="722"/>
                </a:cubicBezTo>
                <a:cubicBezTo>
                  <a:pt x="1382" y="718"/>
                  <a:pt x="1385" y="715"/>
                  <a:pt x="1387" y="713"/>
                </a:cubicBezTo>
                <a:lnTo>
                  <a:pt x="1392" y="710"/>
                </a:lnTo>
                <a:lnTo>
                  <a:pt x="1393" y="710"/>
                </a:lnTo>
                <a:cubicBezTo>
                  <a:pt x="1394" y="710"/>
                  <a:pt x="1394" y="710"/>
                  <a:pt x="1394" y="709"/>
                </a:cubicBezTo>
                <a:lnTo>
                  <a:pt x="1393" y="708"/>
                </a:lnTo>
                <a:cubicBezTo>
                  <a:pt x="1393" y="707"/>
                  <a:pt x="1395" y="705"/>
                  <a:pt x="1398" y="702"/>
                </a:cubicBezTo>
                <a:cubicBezTo>
                  <a:pt x="1400" y="700"/>
                  <a:pt x="1403" y="697"/>
                  <a:pt x="1406" y="695"/>
                </a:cubicBezTo>
                <a:cubicBezTo>
                  <a:pt x="1409" y="692"/>
                  <a:pt x="1412" y="691"/>
                  <a:pt x="1413" y="691"/>
                </a:cubicBezTo>
                <a:lnTo>
                  <a:pt x="1415" y="692"/>
                </a:lnTo>
                <a:cubicBezTo>
                  <a:pt x="1417" y="692"/>
                  <a:pt x="1418" y="691"/>
                  <a:pt x="1420" y="690"/>
                </a:cubicBezTo>
                <a:cubicBezTo>
                  <a:pt x="1421" y="688"/>
                  <a:pt x="1422" y="688"/>
                  <a:pt x="1423" y="688"/>
                </a:cubicBezTo>
                <a:lnTo>
                  <a:pt x="1421" y="691"/>
                </a:lnTo>
                <a:lnTo>
                  <a:pt x="1421" y="691"/>
                </a:lnTo>
                <a:lnTo>
                  <a:pt x="1425" y="687"/>
                </a:lnTo>
                <a:cubicBezTo>
                  <a:pt x="1429" y="683"/>
                  <a:pt x="1431" y="680"/>
                  <a:pt x="1431" y="679"/>
                </a:cubicBezTo>
                <a:cubicBezTo>
                  <a:pt x="1431" y="679"/>
                  <a:pt x="1431" y="679"/>
                  <a:pt x="1431" y="679"/>
                </a:cubicBezTo>
                <a:lnTo>
                  <a:pt x="1428" y="680"/>
                </a:lnTo>
                <a:cubicBezTo>
                  <a:pt x="1428" y="679"/>
                  <a:pt x="1428" y="678"/>
                  <a:pt x="1429" y="676"/>
                </a:cubicBezTo>
                <a:cubicBezTo>
                  <a:pt x="1430" y="675"/>
                  <a:pt x="1430" y="674"/>
                  <a:pt x="1431" y="673"/>
                </a:cubicBezTo>
                <a:cubicBezTo>
                  <a:pt x="1432" y="672"/>
                  <a:pt x="1432" y="671"/>
                  <a:pt x="1433" y="671"/>
                </a:cubicBezTo>
                <a:lnTo>
                  <a:pt x="1433" y="672"/>
                </a:lnTo>
                <a:lnTo>
                  <a:pt x="1432" y="676"/>
                </a:lnTo>
                <a:cubicBezTo>
                  <a:pt x="1432" y="676"/>
                  <a:pt x="1433" y="674"/>
                  <a:pt x="1434" y="672"/>
                </a:cubicBezTo>
                <a:cubicBezTo>
                  <a:pt x="1436" y="670"/>
                  <a:pt x="1436" y="669"/>
                  <a:pt x="1436" y="667"/>
                </a:cubicBezTo>
                <a:lnTo>
                  <a:pt x="1436" y="665"/>
                </a:lnTo>
                <a:lnTo>
                  <a:pt x="1439" y="666"/>
                </a:lnTo>
                <a:cubicBezTo>
                  <a:pt x="1439" y="666"/>
                  <a:pt x="1440" y="666"/>
                  <a:pt x="1440" y="666"/>
                </a:cubicBezTo>
                <a:lnTo>
                  <a:pt x="1439" y="664"/>
                </a:lnTo>
                <a:cubicBezTo>
                  <a:pt x="1439" y="662"/>
                  <a:pt x="1441" y="656"/>
                  <a:pt x="1445" y="648"/>
                </a:cubicBezTo>
                <a:cubicBezTo>
                  <a:pt x="1450" y="638"/>
                  <a:pt x="1453" y="631"/>
                  <a:pt x="1454" y="626"/>
                </a:cubicBezTo>
                <a:cubicBezTo>
                  <a:pt x="1455" y="622"/>
                  <a:pt x="1456" y="619"/>
                  <a:pt x="1456" y="618"/>
                </a:cubicBezTo>
                <a:cubicBezTo>
                  <a:pt x="1459" y="608"/>
                  <a:pt x="1460" y="600"/>
                  <a:pt x="1460" y="591"/>
                </a:cubicBezTo>
                <a:cubicBezTo>
                  <a:pt x="1460" y="584"/>
                  <a:pt x="1459" y="579"/>
                  <a:pt x="1457" y="577"/>
                </a:cubicBezTo>
                <a:lnTo>
                  <a:pt x="1457" y="577"/>
                </a:lnTo>
                <a:cubicBezTo>
                  <a:pt x="1456" y="577"/>
                  <a:pt x="1455" y="580"/>
                  <a:pt x="1454" y="587"/>
                </a:cubicBezTo>
                <a:cubicBezTo>
                  <a:pt x="1453" y="593"/>
                  <a:pt x="1452" y="600"/>
                  <a:pt x="1449" y="608"/>
                </a:cubicBezTo>
                <a:cubicBezTo>
                  <a:pt x="1447" y="615"/>
                  <a:pt x="1445" y="620"/>
                  <a:pt x="1445" y="621"/>
                </a:cubicBezTo>
                <a:cubicBezTo>
                  <a:pt x="1445" y="623"/>
                  <a:pt x="1445" y="624"/>
                  <a:pt x="1444" y="625"/>
                </a:cubicBezTo>
                <a:cubicBezTo>
                  <a:pt x="1444" y="626"/>
                  <a:pt x="1444" y="626"/>
                  <a:pt x="1444" y="626"/>
                </a:cubicBezTo>
                <a:cubicBezTo>
                  <a:pt x="1444" y="627"/>
                  <a:pt x="1444" y="627"/>
                  <a:pt x="1444" y="627"/>
                </a:cubicBezTo>
                <a:lnTo>
                  <a:pt x="1444" y="628"/>
                </a:lnTo>
                <a:cubicBezTo>
                  <a:pt x="1444" y="630"/>
                  <a:pt x="1443" y="630"/>
                  <a:pt x="1443" y="630"/>
                </a:cubicBezTo>
                <a:cubicBezTo>
                  <a:pt x="1442" y="630"/>
                  <a:pt x="1441" y="631"/>
                  <a:pt x="1440" y="632"/>
                </a:cubicBezTo>
                <a:cubicBezTo>
                  <a:pt x="1438" y="636"/>
                  <a:pt x="1437" y="638"/>
                  <a:pt x="1437" y="641"/>
                </a:cubicBezTo>
                <a:lnTo>
                  <a:pt x="1437" y="643"/>
                </a:lnTo>
                <a:cubicBezTo>
                  <a:pt x="1437" y="643"/>
                  <a:pt x="1437" y="644"/>
                  <a:pt x="1437" y="644"/>
                </a:cubicBezTo>
                <a:lnTo>
                  <a:pt x="1434" y="642"/>
                </a:lnTo>
                <a:cubicBezTo>
                  <a:pt x="1433" y="642"/>
                  <a:pt x="1433" y="645"/>
                  <a:pt x="1432" y="650"/>
                </a:cubicBezTo>
                <a:cubicBezTo>
                  <a:pt x="1432" y="652"/>
                  <a:pt x="1432" y="653"/>
                  <a:pt x="1431" y="655"/>
                </a:cubicBezTo>
                <a:cubicBezTo>
                  <a:pt x="1431" y="657"/>
                  <a:pt x="1430" y="658"/>
                  <a:pt x="1429" y="658"/>
                </a:cubicBezTo>
                <a:lnTo>
                  <a:pt x="1429" y="657"/>
                </a:lnTo>
                <a:lnTo>
                  <a:pt x="1430" y="652"/>
                </a:lnTo>
                <a:cubicBezTo>
                  <a:pt x="1429" y="652"/>
                  <a:pt x="1427" y="655"/>
                  <a:pt x="1423" y="662"/>
                </a:cubicBezTo>
                <a:cubicBezTo>
                  <a:pt x="1418" y="669"/>
                  <a:pt x="1411" y="679"/>
                  <a:pt x="1401" y="690"/>
                </a:cubicBezTo>
                <a:cubicBezTo>
                  <a:pt x="1391" y="701"/>
                  <a:pt x="1386" y="708"/>
                  <a:pt x="1385" y="710"/>
                </a:cubicBezTo>
                <a:cubicBezTo>
                  <a:pt x="1384" y="712"/>
                  <a:pt x="1383" y="713"/>
                  <a:pt x="1381" y="713"/>
                </a:cubicBezTo>
                <a:cubicBezTo>
                  <a:pt x="1381" y="713"/>
                  <a:pt x="1380" y="713"/>
                  <a:pt x="1380" y="712"/>
                </a:cubicBezTo>
                <a:cubicBezTo>
                  <a:pt x="1380" y="711"/>
                  <a:pt x="1381" y="710"/>
                  <a:pt x="1383" y="708"/>
                </a:cubicBezTo>
                <a:cubicBezTo>
                  <a:pt x="1387" y="703"/>
                  <a:pt x="1389" y="700"/>
                  <a:pt x="1389" y="699"/>
                </a:cubicBezTo>
                <a:lnTo>
                  <a:pt x="1388" y="699"/>
                </a:lnTo>
                <a:cubicBezTo>
                  <a:pt x="1388" y="699"/>
                  <a:pt x="1386" y="700"/>
                  <a:pt x="1383" y="703"/>
                </a:cubicBezTo>
                <a:cubicBezTo>
                  <a:pt x="1379" y="707"/>
                  <a:pt x="1376" y="709"/>
                  <a:pt x="1374" y="709"/>
                </a:cubicBezTo>
                <a:lnTo>
                  <a:pt x="1373" y="709"/>
                </a:lnTo>
                <a:lnTo>
                  <a:pt x="1374" y="710"/>
                </a:lnTo>
                <a:cubicBezTo>
                  <a:pt x="1374" y="712"/>
                  <a:pt x="1373" y="713"/>
                  <a:pt x="1372" y="714"/>
                </a:cubicBezTo>
                <a:cubicBezTo>
                  <a:pt x="1371" y="717"/>
                  <a:pt x="1369" y="720"/>
                  <a:pt x="1369" y="726"/>
                </a:cubicBezTo>
                <a:lnTo>
                  <a:pt x="1369" y="730"/>
                </a:lnTo>
                <a:cubicBezTo>
                  <a:pt x="1369" y="731"/>
                  <a:pt x="1369" y="732"/>
                  <a:pt x="1369" y="732"/>
                </a:cubicBezTo>
                <a:close/>
                <a:moveTo>
                  <a:pt x="1420" y="704"/>
                </a:moveTo>
                <a:cubicBezTo>
                  <a:pt x="1421" y="704"/>
                  <a:pt x="1421" y="704"/>
                  <a:pt x="1423" y="703"/>
                </a:cubicBezTo>
                <a:lnTo>
                  <a:pt x="1419" y="702"/>
                </a:lnTo>
                <a:lnTo>
                  <a:pt x="1419" y="704"/>
                </a:lnTo>
                <a:lnTo>
                  <a:pt x="1420" y="704"/>
                </a:lnTo>
                <a:close/>
                <a:moveTo>
                  <a:pt x="1381" y="747"/>
                </a:moveTo>
                <a:cubicBezTo>
                  <a:pt x="1381" y="747"/>
                  <a:pt x="1381" y="747"/>
                  <a:pt x="1382" y="746"/>
                </a:cubicBezTo>
                <a:cubicBezTo>
                  <a:pt x="1382" y="746"/>
                  <a:pt x="1383" y="746"/>
                  <a:pt x="1383" y="746"/>
                </a:cubicBezTo>
                <a:cubicBezTo>
                  <a:pt x="1388" y="742"/>
                  <a:pt x="1391" y="740"/>
                  <a:pt x="1392" y="738"/>
                </a:cubicBezTo>
                <a:cubicBezTo>
                  <a:pt x="1394" y="735"/>
                  <a:pt x="1399" y="730"/>
                  <a:pt x="1407" y="723"/>
                </a:cubicBezTo>
                <a:cubicBezTo>
                  <a:pt x="1415" y="715"/>
                  <a:pt x="1419" y="711"/>
                  <a:pt x="1419" y="710"/>
                </a:cubicBezTo>
                <a:lnTo>
                  <a:pt x="1418" y="710"/>
                </a:lnTo>
                <a:cubicBezTo>
                  <a:pt x="1418" y="710"/>
                  <a:pt x="1417" y="709"/>
                  <a:pt x="1417" y="706"/>
                </a:cubicBezTo>
                <a:lnTo>
                  <a:pt x="1418" y="705"/>
                </a:lnTo>
                <a:lnTo>
                  <a:pt x="1417" y="705"/>
                </a:lnTo>
                <a:cubicBezTo>
                  <a:pt x="1416" y="705"/>
                  <a:pt x="1415" y="706"/>
                  <a:pt x="1413" y="709"/>
                </a:cubicBezTo>
                <a:cubicBezTo>
                  <a:pt x="1410" y="712"/>
                  <a:pt x="1408" y="714"/>
                  <a:pt x="1407" y="714"/>
                </a:cubicBezTo>
                <a:lnTo>
                  <a:pt x="1406" y="713"/>
                </a:lnTo>
                <a:cubicBezTo>
                  <a:pt x="1406" y="712"/>
                  <a:pt x="1408" y="710"/>
                  <a:pt x="1411" y="706"/>
                </a:cubicBezTo>
                <a:cubicBezTo>
                  <a:pt x="1413" y="705"/>
                  <a:pt x="1414" y="704"/>
                  <a:pt x="1415" y="702"/>
                </a:cubicBezTo>
                <a:lnTo>
                  <a:pt x="1416" y="699"/>
                </a:lnTo>
                <a:lnTo>
                  <a:pt x="1416" y="697"/>
                </a:lnTo>
                <a:cubicBezTo>
                  <a:pt x="1416" y="697"/>
                  <a:pt x="1417" y="697"/>
                  <a:pt x="1417" y="697"/>
                </a:cubicBezTo>
                <a:cubicBezTo>
                  <a:pt x="1418" y="697"/>
                  <a:pt x="1419" y="698"/>
                  <a:pt x="1421" y="701"/>
                </a:cubicBezTo>
                <a:lnTo>
                  <a:pt x="1423" y="703"/>
                </a:lnTo>
                <a:cubicBezTo>
                  <a:pt x="1425" y="702"/>
                  <a:pt x="1427" y="700"/>
                  <a:pt x="1429" y="696"/>
                </a:cubicBezTo>
                <a:cubicBezTo>
                  <a:pt x="1431" y="693"/>
                  <a:pt x="1431" y="691"/>
                  <a:pt x="1431" y="688"/>
                </a:cubicBezTo>
                <a:lnTo>
                  <a:pt x="1431" y="686"/>
                </a:lnTo>
                <a:cubicBezTo>
                  <a:pt x="1431" y="686"/>
                  <a:pt x="1431" y="686"/>
                  <a:pt x="1432" y="686"/>
                </a:cubicBezTo>
                <a:lnTo>
                  <a:pt x="1434" y="686"/>
                </a:lnTo>
                <a:cubicBezTo>
                  <a:pt x="1435" y="686"/>
                  <a:pt x="1437" y="685"/>
                  <a:pt x="1438" y="682"/>
                </a:cubicBezTo>
                <a:cubicBezTo>
                  <a:pt x="1439" y="679"/>
                  <a:pt x="1440" y="676"/>
                  <a:pt x="1441" y="673"/>
                </a:cubicBezTo>
                <a:lnTo>
                  <a:pt x="1442" y="670"/>
                </a:lnTo>
                <a:cubicBezTo>
                  <a:pt x="1442" y="670"/>
                  <a:pt x="1441" y="670"/>
                  <a:pt x="1441" y="670"/>
                </a:cubicBezTo>
                <a:cubicBezTo>
                  <a:pt x="1441" y="670"/>
                  <a:pt x="1439" y="671"/>
                  <a:pt x="1438" y="674"/>
                </a:cubicBezTo>
                <a:cubicBezTo>
                  <a:pt x="1436" y="677"/>
                  <a:pt x="1434" y="680"/>
                  <a:pt x="1434" y="682"/>
                </a:cubicBezTo>
                <a:lnTo>
                  <a:pt x="1434" y="683"/>
                </a:lnTo>
                <a:cubicBezTo>
                  <a:pt x="1434" y="684"/>
                  <a:pt x="1434" y="685"/>
                  <a:pt x="1434" y="685"/>
                </a:cubicBezTo>
                <a:lnTo>
                  <a:pt x="1433" y="684"/>
                </a:lnTo>
                <a:cubicBezTo>
                  <a:pt x="1432" y="684"/>
                  <a:pt x="1431" y="685"/>
                  <a:pt x="1429" y="686"/>
                </a:cubicBezTo>
                <a:cubicBezTo>
                  <a:pt x="1428" y="687"/>
                  <a:pt x="1428" y="688"/>
                  <a:pt x="1427" y="690"/>
                </a:cubicBezTo>
                <a:cubicBezTo>
                  <a:pt x="1426" y="691"/>
                  <a:pt x="1425" y="692"/>
                  <a:pt x="1425" y="693"/>
                </a:cubicBezTo>
                <a:cubicBezTo>
                  <a:pt x="1425" y="694"/>
                  <a:pt x="1426" y="694"/>
                  <a:pt x="1426" y="695"/>
                </a:cubicBezTo>
                <a:cubicBezTo>
                  <a:pt x="1426" y="695"/>
                  <a:pt x="1426" y="696"/>
                  <a:pt x="1426" y="696"/>
                </a:cubicBezTo>
                <a:lnTo>
                  <a:pt x="1423" y="695"/>
                </a:lnTo>
                <a:lnTo>
                  <a:pt x="1424" y="699"/>
                </a:lnTo>
                <a:lnTo>
                  <a:pt x="1422" y="697"/>
                </a:lnTo>
                <a:cubicBezTo>
                  <a:pt x="1419" y="694"/>
                  <a:pt x="1417" y="693"/>
                  <a:pt x="1415" y="693"/>
                </a:cubicBezTo>
                <a:cubicBezTo>
                  <a:pt x="1412" y="693"/>
                  <a:pt x="1410" y="695"/>
                  <a:pt x="1409" y="700"/>
                </a:cubicBezTo>
                <a:lnTo>
                  <a:pt x="1409" y="703"/>
                </a:lnTo>
                <a:cubicBezTo>
                  <a:pt x="1409" y="703"/>
                  <a:pt x="1409" y="703"/>
                  <a:pt x="1409" y="703"/>
                </a:cubicBezTo>
                <a:lnTo>
                  <a:pt x="1408" y="703"/>
                </a:lnTo>
                <a:cubicBezTo>
                  <a:pt x="1406" y="703"/>
                  <a:pt x="1405" y="703"/>
                  <a:pt x="1404" y="705"/>
                </a:cubicBezTo>
                <a:cubicBezTo>
                  <a:pt x="1401" y="708"/>
                  <a:pt x="1400" y="712"/>
                  <a:pt x="1400" y="715"/>
                </a:cubicBezTo>
                <a:cubicBezTo>
                  <a:pt x="1399" y="717"/>
                  <a:pt x="1398" y="718"/>
                  <a:pt x="1397" y="718"/>
                </a:cubicBezTo>
                <a:lnTo>
                  <a:pt x="1397" y="718"/>
                </a:lnTo>
                <a:cubicBezTo>
                  <a:pt x="1395" y="718"/>
                  <a:pt x="1394" y="718"/>
                  <a:pt x="1394" y="718"/>
                </a:cubicBezTo>
                <a:lnTo>
                  <a:pt x="1395" y="719"/>
                </a:lnTo>
                <a:cubicBezTo>
                  <a:pt x="1395" y="719"/>
                  <a:pt x="1395" y="720"/>
                  <a:pt x="1395" y="720"/>
                </a:cubicBezTo>
                <a:cubicBezTo>
                  <a:pt x="1395" y="721"/>
                  <a:pt x="1394" y="723"/>
                  <a:pt x="1393" y="725"/>
                </a:cubicBezTo>
                <a:lnTo>
                  <a:pt x="1392" y="727"/>
                </a:lnTo>
                <a:cubicBezTo>
                  <a:pt x="1392" y="727"/>
                  <a:pt x="1394" y="725"/>
                  <a:pt x="1397" y="721"/>
                </a:cubicBezTo>
                <a:lnTo>
                  <a:pt x="1402" y="716"/>
                </a:lnTo>
                <a:lnTo>
                  <a:pt x="1406" y="715"/>
                </a:lnTo>
                <a:cubicBezTo>
                  <a:pt x="1406" y="716"/>
                  <a:pt x="1401" y="723"/>
                  <a:pt x="1391" y="734"/>
                </a:cubicBezTo>
                <a:cubicBezTo>
                  <a:pt x="1384" y="741"/>
                  <a:pt x="1381" y="746"/>
                  <a:pt x="1381" y="747"/>
                </a:cubicBezTo>
                <a:close/>
                <a:moveTo>
                  <a:pt x="1445" y="674"/>
                </a:moveTo>
                <a:lnTo>
                  <a:pt x="1446" y="672"/>
                </a:lnTo>
                <a:cubicBezTo>
                  <a:pt x="1447" y="672"/>
                  <a:pt x="1447" y="671"/>
                  <a:pt x="1447" y="670"/>
                </a:cubicBezTo>
                <a:lnTo>
                  <a:pt x="1447" y="669"/>
                </a:lnTo>
                <a:lnTo>
                  <a:pt x="1447" y="668"/>
                </a:lnTo>
                <a:cubicBezTo>
                  <a:pt x="1447" y="667"/>
                  <a:pt x="1448" y="666"/>
                  <a:pt x="1449" y="666"/>
                </a:cubicBezTo>
                <a:cubicBezTo>
                  <a:pt x="1450" y="665"/>
                  <a:pt x="1451" y="664"/>
                  <a:pt x="1451" y="663"/>
                </a:cubicBezTo>
                <a:cubicBezTo>
                  <a:pt x="1451" y="662"/>
                  <a:pt x="1451" y="661"/>
                  <a:pt x="1450" y="659"/>
                </a:cubicBezTo>
                <a:cubicBezTo>
                  <a:pt x="1449" y="658"/>
                  <a:pt x="1448" y="658"/>
                  <a:pt x="1446" y="658"/>
                </a:cubicBezTo>
                <a:cubicBezTo>
                  <a:pt x="1446" y="658"/>
                  <a:pt x="1445" y="659"/>
                  <a:pt x="1444" y="660"/>
                </a:cubicBezTo>
                <a:cubicBezTo>
                  <a:pt x="1444" y="662"/>
                  <a:pt x="1443" y="663"/>
                  <a:pt x="1443" y="665"/>
                </a:cubicBezTo>
                <a:cubicBezTo>
                  <a:pt x="1443" y="666"/>
                  <a:pt x="1444" y="668"/>
                  <a:pt x="1444" y="668"/>
                </a:cubicBezTo>
                <a:cubicBezTo>
                  <a:pt x="1445" y="669"/>
                  <a:pt x="1445" y="669"/>
                  <a:pt x="1445" y="670"/>
                </a:cubicBezTo>
                <a:cubicBezTo>
                  <a:pt x="1445" y="671"/>
                  <a:pt x="1445" y="671"/>
                  <a:pt x="1445" y="672"/>
                </a:cubicBezTo>
                <a:lnTo>
                  <a:pt x="1444" y="673"/>
                </a:lnTo>
                <a:cubicBezTo>
                  <a:pt x="1444" y="673"/>
                  <a:pt x="1445" y="674"/>
                  <a:pt x="1445" y="674"/>
                </a:cubicBezTo>
                <a:close/>
                <a:moveTo>
                  <a:pt x="1420" y="543"/>
                </a:moveTo>
                <a:cubicBezTo>
                  <a:pt x="1419" y="543"/>
                  <a:pt x="1418" y="542"/>
                  <a:pt x="1416" y="540"/>
                </a:cubicBezTo>
                <a:cubicBezTo>
                  <a:pt x="1416" y="539"/>
                  <a:pt x="1415" y="539"/>
                  <a:pt x="1415" y="538"/>
                </a:cubicBezTo>
                <a:cubicBezTo>
                  <a:pt x="1415" y="537"/>
                  <a:pt x="1416" y="537"/>
                  <a:pt x="1418" y="537"/>
                </a:cubicBezTo>
                <a:cubicBezTo>
                  <a:pt x="1420" y="537"/>
                  <a:pt x="1421" y="538"/>
                  <a:pt x="1421" y="540"/>
                </a:cubicBezTo>
                <a:cubicBezTo>
                  <a:pt x="1421" y="542"/>
                  <a:pt x="1421" y="543"/>
                  <a:pt x="1420" y="543"/>
                </a:cubicBezTo>
                <a:close/>
                <a:moveTo>
                  <a:pt x="1374" y="637"/>
                </a:moveTo>
                <a:lnTo>
                  <a:pt x="1372" y="637"/>
                </a:lnTo>
                <a:cubicBezTo>
                  <a:pt x="1371" y="636"/>
                  <a:pt x="1370" y="635"/>
                  <a:pt x="1370" y="634"/>
                </a:cubicBezTo>
                <a:lnTo>
                  <a:pt x="1371" y="633"/>
                </a:lnTo>
                <a:cubicBezTo>
                  <a:pt x="1371" y="633"/>
                  <a:pt x="1371" y="634"/>
                  <a:pt x="1372" y="635"/>
                </a:cubicBezTo>
                <a:cubicBezTo>
                  <a:pt x="1374" y="636"/>
                  <a:pt x="1374" y="636"/>
                  <a:pt x="1374" y="637"/>
                </a:cubicBezTo>
                <a:close/>
                <a:moveTo>
                  <a:pt x="1401" y="713"/>
                </a:moveTo>
                <a:cubicBezTo>
                  <a:pt x="1401" y="713"/>
                  <a:pt x="1401" y="713"/>
                  <a:pt x="1401" y="712"/>
                </a:cubicBezTo>
                <a:cubicBezTo>
                  <a:pt x="1401" y="711"/>
                  <a:pt x="1402" y="710"/>
                  <a:pt x="1405" y="708"/>
                </a:cubicBezTo>
                <a:lnTo>
                  <a:pt x="1407" y="706"/>
                </a:lnTo>
                <a:cubicBezTo>
                  <a:pt x="1407" y="706"/>
                  <a:pt x="1406" y="708"/>
                  <a:pt x="1405" y="710"/>
                </a:cubicBezTo>
                <a:cubicBezTo>
                  <a:pt x="1403" y="712"/>
                  <a:pt x="1402" y="713"/>
                  <a:pt x="1401" y="713"/>
                </a:cubicBezTo>
                <a:close/>
                <a:moveTo>
                  <a:pt x="1354" y="649"/>
                </a:moveTo>
                <a:cubicBezTo>
                  <a:pt x="1351" y="649"/>
                  <a:pt x="1349" y="647"/>
                  <a:pt x="1349" y="645"/>
                </a:cubicBezTo>
                <a:cubicBezTo>
                  <a:pt x="1349" y="644"/>
                  <a:pt x="1349" y="643"/>
                  <a:pt x="1349" y="643"/>
                </a:cubicBezTo>
                <a:cubicBezTo>
                  <a:pt x="1350" y="643"/>
                  <a:pt x="1350" y="642"/>
                  <a:pt x="1350" y="642"/>
                </a:cubicBezTo>
                <a:cubicBezTo>
                  <a:pt x="1350" y="642"/>
                  <a:pt x="1351" y="642"/>
                  <a:pt x="1352" y="642"/>
                </a:cubicBezTo>
                <a:cubicBezTo>
                  <a:pt x="1352" y="643"/>
                  <a:pt x="1354" y="644"/>
                  <a:pt x="1355" y="645"/>
                </a:cubicBezTo>
                <a:cubicBezTo>
                  <a:pt x="1356" y="647"/>
                  <a:pt x="1356" y="647"/>
                  <a:pt x="1356" y="648"/>
                </a:cubicBezTo>
                <a:cubicBezTo>
                  <a:pt x="1356" y="649"/>
                  <a:pt x="1356" y="649"/>
                  <a:pt x="1354" y="649"/>
                </a:cubicBezTo>
                <a:close/>
                <a:moveTo>
                  <a:pt x="1408" y="720"/>
                </a:moveTo>
                <a:cubicBezTo>
                  <a:pt x="1408" y="718"/>
                  <a:pt x="1409" y="717"/>
                  <a:pt x="1411" y="714"/>
                </a:cubicBezTo>
                <a:cubicBezTo>
                  <a:pt x="1414" y="711"/>
                  <a:pt x="1415" y="710"/>
                  <a:pt x="1415" y="710"/>
                </a:cubicBezTo>
                <a:lnTo>
                  <a:pt x="1416" y="711"/>
                </a:lnTo>
                <a:lnTo>
                  <a:pt x="1413" y="715"/>
                </a:lnTo>
                <a:cubicBezTo>
                  <a:pt x="1410" y="718"/>
                  <a:pt x="1408" y="720"/>
                  <a:pt x="1408" y="720"/>
                </a:cubicBezTo>
                <a:close/>
                <a:moveTo>
                  <a:pt x="1406" y="671"/>
                </a:moveTo>
                <a:lnTo>
                  <a:pt x="1405" y="671"/>
                </a:lnTo>
                <a:lnTo>
                  <a:pt x="1408" y="667"/>
                </a:lnTo>
                <a:cubicBezTo>
                  <a:pt x="1411" y="664"/>
                  <a:pt x="1413" y="662"/>
                  <a:pt x="1413" y="662"/>
                </a:cubicBezTo>
                <a:cubicBezTo>
                  <a:pt x="1413" y="663"/>
                  <a:pt x="1412" y="665"/>
                  <a:pt x="1410" y="667"/>
                </a:cubicBezTo>
                <a:cubicBezTo>
                  <a:pt x="1407" y="670"/>
                  <a:pt x="1406" y="671"/>
                  <a:pt x="1406" y="671"/>
                </a:cubicBezTo>
                <a:close/>
                <a:moveTo>
                  <a:pt x="1371" y="633"/>
                </a:moveTo>
                <a:lnTo>
                  <a:pt x="1370" y="633"/>
                </a:lnTo>
                <a:lnTo>
                  <a:pt x="1371" y="633"/>
                </a:lnTo>
                <a:close/>
                <a:moveTo>
                  <a:pt x="1531" y="753"/>
                </a:moveTo>
                <a:cubicBezTo>
                  <a:pt x="1529" y="753"/>
                  <a:pt x="1528" y="753"/>
                  <a:pt x="1528" y="753"/>
                </a:cubicBezTo>
                <a:cubicBezTo>
                  <a:pt x="1528" y="752"/>
                  <a:pt x="1529" y="752"/>
                  <a:pt x="1530" y="751"/>
                </a:cubicBezTo>
                <a:cubicBezTo>
                  <a:pt x="1531" y="750"/>
                  <a:pt x="1532" y="750"/>
                  <a:pt x="1532" y="749"/>
                </a:cubicBezTo>
                <a:cubicBezTo>
                  <a:pt x="1532" y="749"/>
                  <a:pt x="1532" y="748"/>
                  <a:pt x="1530" y="748"/>
                </a:cubicBezTo>
                <a:cubicBezTo>
                  <a:pt x="1529" y="747"/>
                  <a:pt x="1528" y="747"/>
                  <a:pt x="1528" y="747"/>
                </a:cubicBezTo>
                <a:lnTo>
                  <a:pt x="1531" y="746"/>
                </a:lnTo>
                <a:cubicBezTo>
                  <a:pt x="1532" y="746"/>
                  <a:pt x="1532" y="746"/>
                  <a:pt x="1532" y="746"/>
                </a:cubicBezTo>
                <a:cubicBezTo>
                  <a:pt x="1532" y="745"/>
                  <a:pt x="1532" y="745"/>
                  <a:pt x="1530" y="744"/>
                </a:cubicBezTo>
                <a:cubicBezTo>
                  <a:pt x="1529" y="743"/>
                  <a:pt x="1528" y="742"/>
                  <a:pt x="1528" y="742"/>
                </a:cubicBezTo>
                <a:lnTo>
                  <a:pt x="1531" y="742"/>
                </a:lnTo>
                <a:cubicBezTo>
                  <a:pt x="1533" y="742"/>
                  <a:pt x="1534" y="743"/>
                  <a:pt x="1534" y="746"/>
                </a:cubicBezTo>
                <a:cubicBezTo>
                  <a:pt x="1534" y="751"/>
                  <a:pt x="1533" y="753"/>
                  <a:pt x="1531" y="753"/>
                </a:cubicBezTo>
                <a:close/>
                <a:moveTo>
                  <a:pt x="1555" y="810"/>
                </a:moveTo>
                <a:cubicBezTo>
                  <a:pt x="1551" y="810"/>
                  <a:pt x="1547" y="810"/>
                  <a:pt x="1543" y="808"/>
                </a:cubicBezTo>
                <a:cubicBezTo>
                  <a:pt x="1538" y="807"/>
                  <a:pt x="1534" y="803"/>
                  <a:pt x="1529" y="796"/>
                </a:cubicBezTo>
                <a:cubicBezTo>
                  <a:pt x="1524" y="789"/>
                  <a:pt x="1521" y="784"/>
                  <a:pt x="1519" y="778"/>
                </a:cubicBezTo>
                <a:cubicBezTo>
                  <a:pt x="1518" y="773"/>
                  <a:pt x="1517" y="765"/>
                  <a:pt x="1517" y="756"/>
                </a:cubicBezTo>
                <a:cubicBezTo>
                  <a:pt x="1517" y="735"/>
                  <a:pt x="1519" y="710"/>
                  <a:pt x="1523" y="679"/>
                </a:cubicBezTo>
                <a:cubicBezTo>
                  <a:pt x="1528" y="647"/>
                  <a:pt x="1533" y="619"/>
                  <a:pt x="1540" y="593"/>
                </a:cubicBezTo>
                <a:lnTo>
                  <a:pt x="1541" y="592"/>
                </a:lnTo>
                <a:cubicBezTo>
                  <a:pt x="1541" y="589"/>
                  <a:pt x="1542" y="586"/>
                  <a:pt x="1542" y="583"/>
                </a:cubicBezTo>
                <a:cubicBezTo>
                  <a:pt x="1542" y="580"/>
                  <a:pt x="1542" y="579"/>
                  <a:pt x="1543" y="579"/>
                </a:cubicBezTo>
                <a:cubicBezTo>
                  <a:pt x="1544" y="579"/>
                  <a:pt x="1545" y="578"/>
                  <a:pt x="1545" y="577"/>
                </a:cubicBezTo>
                <a:lnTo>
                  <a:pt x="1544" y="573"/>
                </a:lnTo>
                <a:cubicBezTo>
                  <a:pt x="1544" y="571"/>
                  <a:pt x="1544" y="570"/>
                  <a:pt x="1545" y="570"/>
                </a:cubicBezTo>
                <a:cubicBezTo>
                  <a:pt x="1546" y="570"/>
                  <a:pt x="1546" y="569"/>
                  <a:pt x="1546" y="568"/>
                </a:cubicBezTo>
                <a:lnTo>
                  <a:pt x="1546" y="566"/>
                </a:lnTo>
                <a:cubicBezTo>
                  <a:pt x="1546" y="564"/>
                  <a:pt x="1547" y="563"/>
                  <a:pt x="1549" y="563"/>
                </a:cubicBezTo>
                <a:cubicBezTo>
                  <a:pt x="1550" y="563"/>
                  <a:pt x="1551" y="562"/>
                  <a:pt x="1551" y="562"/>
                </a:cubicBezTo>
                <a:lnTo>
                  <a:pt x="1550" y="561"/>
                </a:lnTo>
                <a:cubicBezTo>
                  <a:pt x="1550" y="561"/>
                  <a:pt x="1549" y="560"/>
                  <a:pt x="1548" y="559"/>
                </a:cubicBezTo>
                <a:cubicBezTo>
                  <a:pt x="1548" y="558"/>
                  <a:pt x="1547" y="558"/>
                  <a:pt x="1547" y="557"/>
                </a:cubicBezTo>
                <a:cubicBezTo>
                  <a:pt x="1547" y="555"/>
                  <a:pt x="1548" y="554"/>
                  <a:pt x="1550" y="554"/>
                </a:cubicBezTo>
                <a:cubicBezTo>
                  <a:pt x="1552" y="555"/>
                  <a:pt x="1553" y="556"/>
                  <a:pt x="1553" y="558"/>
                </a:cubicBezTo>
                <a:cubicBezTo>
                  <a:pt x="1553" y="562"/>
                  <a:pt x="1550" y="573"/>
                  <a:pt x="1545" y="590"/>
                </a:cubicBezTo>
                <a:cubicBezTo>
                  <a:pt x="1538" y="618"/>
                  <a:pt x="1533" y="646"/>
                  <a:pt x="1528" y="674"/>
                </a:cubicBezTo>
                <a:cubicBezTo>
                  <a:pt x="1524" y="703"/>
                  <a:pt x="1522" y="726"/>
                  <a:pt x="1522" y="744"/>
                </a:cubicBezTo>
                <a:cubicBezTo>
                  <a:pt x="1522" y="750"/>
                  <a:pt x="1523" y="755"/>
                  <a:pt x="1523" y="760"/>
                </a:cubicBezTo>
                <a:cubicBezTo>
                  <a:pt x="1525" y="772"/>
                  <a:pt x="1526" y="778"/>
                  <a:pt x="1527" y="778"/>
                </a:cubicBezTo>
                <a:cubicBezTo>
                  <a:pt x="1528" y="778"/>
                  <a:pt x="1528" y="777"/>
                  <a:pt x="1528" y="774"/>
                </a:cubicBezTo>
                <a:cubicBezTo>
                  <a:pt x="1528" y="772"/>
                  <a:pt x="1529" y="770"/>
                  <a:pt x="1530" y="767"/>
                </a:cubicBezTo>
                <a:lnTo>
                  <a:pt x="1530" y="765"/>
                </a:lnTo>
                <a:lnTo>
                  <a:pt x="1531" y="768"/>
                </a:lnTo>
                <a:cubicBezTo>
                  <a:pt x="1532" y="770"/>
                  <a:pt x="1532" y="773"/>
                  <a:pt x="1533" y="776"/>
                </a:cubicBezTo>
                <a:cubicBezTo>
                  <a:pt x="1534" y="779"/>
                  <a:pt x="1535" y="782"/>
                  <a:pt x="1536" y="785"/>
                </a:cubicBezTo>
                <a:cubicBezTo>
                  <a:pt x="1537" y="787"/>
                  <a:pt x="1538" y="789"/>
                  <a:pt x="1538" y="789"/>
                </a:cubicBezTo>
                <a:cubicBezTo>
                  <a:pt x="1540" y="789"/>
                  <a:pt x="1540" y="789"/>
                  <a:pt x="1540" y="788"/>
                </a:cubicBezTo>
                <a:lnTo>
                  <a:pt x="1540" y="784"/>
                </a:lnTo>
                <a:cubicBezTo>
                  <a:pt x="1538" y="780"/>
                  <a:pt x="1538" y="768"/>
                  <a:pt x="1538" y="749"/>
                </a:cubicBezTo>
                <a:cubicBezTo>
                  <a:pt x="1538" y="730"/>
                  <a:pt x="1537" y="721"/>
                  <a:pt x="1536" y="721"/>
                </a:cubicBezTo>
                <a:cubicBezTo>
                  <a:pt x="1535" y="721"/>
                  <a:pt x="1534" y="726"/>
                  <a:pt x="1534" y="735"/>
                </a:cubicBezTo>
                <a:cubicBezTo>
                  <a:pt x="1534" y="736"/>
                  <a:pt x="1534" y="737"/>
                  <a:pt x="1533" y="737"/>
                </a:cubicBezTo>
                <a:cubicBezTo>
                  <a:pt x="1532" y="738"/>
                  <a:pt x="1532" y="739"/>
                  <a:pt x="1531" y="739"/>
                </a:cubicBezTo>
                <a:cubicBezTo>
                  <a:pt x="1530" y="739"/>
                  <a:pt x="1529" y="738"/>
                  <a:pt x="1529" y="736"/>
                </a:cubicBezTo>
                <a:cubicBezTo>
                  <a:pt x="1529" y="733"/>
                  <a:pt x="1531" y="719"/>
                  <a:pt x="1534" y="693"/>
                </a:cubicBezTo>
                <a:cubicBezTo>
                  <a:pt x="1538" y="665"/>
                  <a:pt x="1540" y="650"/>
                  <a:pt x="1541" y="648"/>
                </a:cubicBezTo>
                <a:cubicBezTo>
                  <a:pt x="1542" y="647"/>
                  <a:pt x="1542" y="644"/>
                  <a:pt x="1542" y="641"/>
                </a:cubicBezTo>
                <a:cubicBezTo>
                  <a:pt x="1543" y="631"/>
                  <a:pt x="1545" y="616"/>
                  <a:pt x="1550" y="597"/>
                </a:cubicBezTo>
                <a:cubicBezTo>
                  <a:pt x="1555" y="577"/>
                  <a:pt x="1560" y="559"/>
                  <a:pt x="1567" y="542"/>
                </a:cubicBezTo>
                <a:cubicBezTo>
                  <a:pt x="1572" y="528"/>
                  <a:pt x="1574" y="519"/>
                  <a:pt x="1574" y="514"/>
                </a:cubicBezTo>
                <a:cubicBezTo>
                  <a:pt x="1574" y="510"/>
                  <a:pt x="1575" y="508"/>
                  <a:pt x="1576" y="508"/>
                </a:cubicBezTo>
                <a:cubicBezTo>
                  <a:pt x="1577" y="508"/>
                  <a:pt x="1578" y="508"/>
                  <a:pt x="1578" y="509"/>
                </a:cubicBezTo>
                <a:cubicBezTo>
                  <a:pt x="1578" y="511"/>
                  <a:pt x="1578" y="512"/>
                  <a:pt x="1579" y="512"/>
                </a:cubicBezTo>
                <a:cubicBezTo>
                  <a:pt x="1579" y="512"/>
                  <a:pt x="1580" y="511"/>
                  <a:pt x="1580" y="510"/>
                </a:cubicBezTo>
                <a:cubicBezTo>
                  <a:pt x="1581" y="509"/>
                  <a:pt x="1584" y="509"/>
                  <a:pt x="1587" y="509"/>
                </a:cubicBezTo>
                <a:cubicBezTo>
                  <a:pt x="1589" y="509"/>
                  <a:pt x="1590" y="509"/>
                  <a:pt x="1590" y="509"/>
                </a:cubicBezTo>
                <a:cubicBezTo>
                  <a:pt x="1590" y="508"/>
                  <a:pt x="1589" y="507"/>
                  <a:pt x="1589" y="506"/>
                </a:cubicBezTo>
                <a:cubicBezTo>
                  <a:pt x="1588" y="505"/>
                  <a:pt x="1587" y="504"/>
                  <a:pt x="1587" y="503"/>
                </a:cubicBezTo>
                <a:cubicBezTo>
                  <a:pt x="1587" y="502"/>
                  <a:pt x="1588" y="502"/>
                  <a:pt x="1589" y="502"/>
                </a:cubicBezTo>
                <a:cubicBezTo>
                  <a:pt x="1592" y="502"/>
                  <a:pt x="1597" y="505"/>
                  <a:pt x="1601" y="509"/>
                </a:cubicBezTo>
                <a:cubicBezTo>
                  <a:pt x="1602" y="510"/>
                  <a:pt x="1603" y="511"/>
                  <a:pt x="1603" y="512"/>
                </a:cubicBezTo>
                <a:cubicBezTo>
                  <a:pt x="1605" y="513"/>
                  <a:pt x="1607" y="514"/>
                  <a:pt x="1608" y="515"/>
                </a:cubicBezTo>
                <a:cubicBezTo>
                  <a:pt x="1608" y="515"/>
                  <a:pt x="1609" y="516"/>
                  <a:pt x="1609" y="517"/>
                </a:cubicBezTo>
                <a:cubicBezTo>
                  <a:pt x="1609" y="521"/>
                  <a:pt x="1603" y="538"/>
                  <a:pt x="1592" y="570"/>
                </a:cubicBezTo>
                <a:cubicBezTo>
                  <a:pt x="1590" y="577"/>
                  <a:pt x="1588" y="581"/>
                  <a:pt x="1587" y="584"/>
                </a:cubicBezTo>
                <a:cubicBezTo>
                  <a:pt x="1587" y="588"/>
                  <a:pt x="1585" y="593"/>
                  <a:pt x="1585" y="600"/>
                </a:cubicBezTo>
                <a:cubicBezTo>
                  <a:pt x="1584" y="603"/>
                  <a:pt x="1584" y="604"/>
                  <a:pt x="1584" y="606"/>
                </a:cubicBezTo>
                <a:cubicBezTo>
                  <a:pt x="1583" y="607"/>
                  <a:pt x="1583" y="609"/>
                  <a:pt x="1582" y="610"/>
                </a:cubicBezTo>
                <a:cubicBezTo>
                  <a:pt x="1582" y="612"/>
                  <a:pt x="1582" y="614"/>
                  <a:pt x="1581" y="617"/>
                </a:cubicBezTo>
                <a:cubicBezTo>
                  <a:pt x="1581" y="619"/>
                  <a:pt x="1580" y="622"/>
                  <a:pt x="1579" y="627"/>
                </a:cubicBezTo>
                <a:lnTo>
                  <a:pt x="1578" y="632"/>
                </a:lnTo>
                <a:cubicBezTo>
                  <a:pt x="1577" y="636"/>
                  <a:pt x="1576" y="642"/>
                  <a:pt x="1575" y="650"/>
                </a:cubicBezTo>
                <a:cubicBezTo>
                  <a:pt x="1574" y="652"/>
                  <a:pt x="1573" y="654"/>
                  <a:pt x="1573" y="656"/>
                </a:cubicBezTo>
                <a:cubicBezTo>
                  <a:pt x="1573" y="657"/>
                  <a:pt x="1573" y="659"/>
                  <a:pt x="1572" y="660"/>
                </a:cubicBezTo>
                <a:cubicBezTo>
                  <a:pt x="1572" y="662"/>
                  <a:pt x="1572" y="663"/>
                  <a:pt x="1572" y="665"/>
                </a:cubicBezTo>
                <a:cubicBezTo>
                  <a:pt x="1572" y="667"/>
                  <a:pt x="1571" y="669"/>
                  <a:pt x="1571" y="671"/>
                </a:cubicBezTo>
                <a:cubicBezTo>
                  <a:pt x="1570" y="673"/>
                  <a:pt x="1570" y="675"/>
                  <a:pt x="1569" y="677"/>
                </a:cubicBezTo>
                <a:cubicBezTo>
                  <a:pt x="1569" y="680"/>
                  <a:pt x="1568" y="682"/>
                  <a:pt x="1568" y="684"/>
                </a:cubicBezTo>
                <a:cubicBezTo>
                  <a:pt x="1568" y="687"/>
                  <a:pt x="1567" y="691"/>
                  <a:pt x="1567" y="695"/>
                </a:cubicBezTo>
                <a:cubicBezTo>
                  <a:pt x="1563" y="721"/>
                  <a:pt x="1561" y="744"/>
                  <a:pt x="1561" y="763"/>
                </a:cubicBezTo>
                <a:cubicBezTo>
                  <a:pt x="1561" y="770"/>
                  <a:pt x="1562" y="773"/>
                  <a:pt x="1563" y="773"/>
                </a:cubicBezTo>
                <a:cubicBezTo>
                  <a:pt x="1565" y="773"/>
                  <a:pt x="1570" y="768"/>
                  <a:pt x="1577" y="758"/>
                </a:cubicBezTo>
                <a:cubicBezTo>
                  <a:pt x="1587" y="744"/>
                  <a:pt x="1599" y="726"/>
                  <a:pt x="1612" y="705"/>
                </a:cubicBezTo>
                <a:cubicBezTo>
                  <a:pt x="1623" y="688"/>
                  <a:pt x="1629" y="681"/>
                  <a:pt x="1629" y="681"/>
                </a:cubicBezTo>
                <a:lnTo>
                  <a:pt x="1625" y="688"/>
                </a:lnTo>
                <a:cubicBezTo>
                  <a:pt x="1620" y="698"/>
                  <a:pt x="1612" y="711"/>
                  <a:pt x="1601" y="727"/>
                </a:cubicBezTo>
                <a:cubicBezTo>
                  <a:pt x="1590" y="743"/>
                  <a:pt x="1582" y="756"/>
                  <a:pt x="1574" y="765"/>
                </a:cubicBezTo>
                <a:cubicBezTo>
                  <a:pt x="1565" y="777"/>
                  <a:pt x="1560" y="784"/>
                  <a:pt x="1560" y="785"/>
                </a:cubicBezTo>
                <a:cubicBezTo>
                  <a:pt x="1560" y="786"/>
                  <a:pt x="1560" y="787"/>
                  <a:pt x="1559" y="787"/>
                </a:cubicBezTo>
                <a:lnTo>
                  <a:pt x="1558" y="786"/>
                </a:lnTo>
                <a:cubicBezTo>
                  <a:pt x="1557" y="786"/>
                  <a:pt x="1556" y="788"/>
                  <a:pt x="1556" y="791"/>
                </a:cubicBezTo>
                <a:cubicBezTo>
                  <a:pt x="1556" y="794"/>
                  <a:pt x="1557" y="795"/>
                  <a:pt x="1558" y="795"/>
                </a:cubicBezTo>
                <a:cubicBezTo>
                  <a:pt x="1558" y="795"/>
                  <a:pt x="1560" y="795"/>
                  <a:pt x="1561" y="795"/>
                </a:cubicBezTo>
                <a:cubicBezTo>
                  <a:pt x="1563" y="794"/>
                  <a:pt x="1563" y="794"/>
                  <a:pt x="1563" y="793"/>
                </a:cubicBezTo>
                <a:cubicBezTo>
                  <a:pt x="1563" y="793"/>
                  <a:pt x="1563" y="792"/>
                  <a:pt x="1562" y="792"/>
                </a:cubicBezTo>
                <a:cubicBezTo>
                  <a:pt x="1561" y="791"/>
                  <a:pt x="1560" y="790"/>
                  <a:pt x="1560" y="790"/>
                </a:cubicBezTo>
                <a:cubicBezTo>
                  <a:pt x="1560" y="789"/>
                  <a:pt x="1561" y="788"/>
                  <a:pt x="1562" y="787"/>
                </a:cubicBezTo>
                <a:cubicBezTo>
                  <a:pt x="1563" y="786"/>
                  <a:pt x="1564" y="785"/>
                  <a:pt x="1564" y="785"/>
                </a:cubicBezTo>
                <a:cubicBezTo>
                  <a:pt x="1564" y="785"/>
                  <a:pt x="1565" y="786"/>
                  <a:pt x="1565" y="787"/>
                </a:cubicBezTo>
                <a:cubicBezTo>
                  <a:pt x="1565" y="789"/>
                  <a:pt x="1565" y="789"/>
                  <a:pt x="1565" y="789"/>
                </a:cubicBezTo>
                <a:cubicBezTo>
                  <a:pt x="1566" y="789"/>
                  <a:pt x="1567" y="789"/>
                  <a:pt x="1568" y="788"/>
                </a:cubicBezTo>
                <a:cubicBezTo>
                  <a:pt x="1569" y="787"/>
                  <a:pt x="1570" y="787"/>
                  <a:pt x="1570" y="787"/>
                </a:cubicBezTo>
                <a:cubicBezTo>
                  <a:pt x="1571" y="787"/>
                  <a:pt x="1572" y="787"/>
                  <a:pt x="1572" y="787"/>
                </a:cubicBezTo>
                <a:lnTo>
                  <a:pt x="1573" y="787"/>
                </a:lnTo>
                <a:lnTo>
                  <a:pt x="1572" y="785"/>
                </a:lnTo>
                <a:cubicBezTo>
                  <a:pt x="1572" y="783"/>
                  <a:pt x="1573" y="782"/>
                  <a:pt x="1577" y="780"/>
                </a:cubicBezTo>
                <a:cubicBezTo>
                  <a:pt x="1578" y="779"/>
                  <a:pt x="1580" y="779"/>
                  <a:pt x="1581" y="778"/>
                </a:cubicBezTo>
                <a:cubicBezTo>
                  <a:pt x="1582" y="777"/>
                  <a:pt x="1582" y="776"/>
                  <a:pt x="1582" y="776"/>
                </a:cubicBezTo>
                <a:cubicBezTo>
                  <a:pt x="1582" y="775"/>
                  <a:pt x="1582" y="774"/>
                  <a:pt x="1581" y="774"/>
                </a:cubicBezTo>
                <a:lnTo>
                  <a:pt x="1579" y="776"/>
                </a:lnTo>
                <a:lnTo>
                  <a:pt x="1579" y="775"/>
                </a:lnTo>
                <a:lnTo>
                  <a:pt x="1581" y="772"/>
                </a:lnTo>
                <a:cubicBezTo>
                  <a:pt x="1583" y="771"/>
                  <a:pt x="1584" y="769"/>
                  <a:pt x="1587" y="767"/>
                </a:cubicBezTo>
                <a:cubicBezTo>
                  <a:pt x="1589" y="765"/>
                  <a:pt x="1591" y="764"/>
                  <a:pt x="1593" y="763"/>
                </a:cubicBezTo>
                <a:cubicBezTo>
                  <a:pt x="1594" y="762"/>
                  <a:pt x="1595" y="761"/>
                  <a:pt x="1595" y="761"/>
                </a:cubicBezTo>
                <a:lnTo>
                  <a:pt x="1589" y="762"/>
                </a:lnTo>
                <a:lnTo>
                  <a:pt x="1589" y="761"/>
                </a:lnTo>
                <a:cubicBezTo>
                  <a:pt x="1589" y="761"/>
                  <a:pt x="1590" y="760"/>
                  <a:pt x="1592" y="758"/>
                </a:cubicBezTo>
                <a:cubicBezTo>
                  <a:pt x="1594" y="756"/>
                  <a:pt x="1596" y="754"/>
                  <a:pt x="1597" y="753"/>
                </a:cubicBezTo>
                <a:cubicBezTo>
                  <a:pt x="1598" y="752"/>
                  <a:pt x="1599" y="750"/>
                  <a:pt x="1599" y="750"/>
                </a:cubicBezTo>
                <a:cubicBezTo>
                  <a:pt x="1599" y="749"/>
                  <a:pt x="1599" y="748"/>
                  <a:pt x="1600" y="748"/>
                </a:cubicBezTo>
                <a:cubicBezTo>
                  <a:pt x="1600" y="747"/>
                  <a:pt x="1601" y="747"/>
                  <a:pt x="1602" y="747"/>
                </a:cubicBezTo>
                <a:cubicBezTo>
                  <a:pt x="1603" y="747"/>
                  <a:pt x="1603" y="747"/>
                  <a:pt x="1604" y="746"/>
                </a:cubicBezTo>
                <a:cubicBezTo>
                  <a:pt x="1605" y="745"/>
                  <a:pt x="1605" y="745"/>
                  <a:pt x="1606" y="744"/>
                </a:cubicBezTo>
                <a:lnTo>
                  <a:pt x="1606" y="743"/>
                </a:lnTo>
                <a:cubicBezTo>
                  <a:pt x="1606" y="742"/>
                  <a:pt x="1605" y="742"/>
                  <a:pt x="1605" y="742"/>
                </a:cubicBezTo>
                <a:lnTo>
                  <a:pt x="1604" y="743"/>
                </a:lnTo>
                <a:cubicBezTo>
                  <a:pt x="1604" y="743"/>
                  <a:pt x="1603" y="743"/>
                  <a:pt x="1602" y="743"/>
                </a:cubicBezTo>
                <a:cubicBezTo>
                  <a:pt x="1602" y="743"/>
                  <a:pt x="1602" y="743"/>
                  <a:pt x="1602" y="743"/>
                </a:cubicBezTo>
                <a:cubicBezTo>
                  <a:pt x="1602" y="742"/>
                  <a:pt x="1602" y="742"/>
                  <a:pt x="1604" y="741"/>
                </a:cubicBezTo>
                <a:cubicBezTo>
                  <a:pt x="1605" y="740"/>
                  <a:pt x="1606" y="740"/>
                  <a:pt x="1609" y="739"/>
                </a:cubicBezTo>
                <a:cubicBezTo>
                  <a:pt x="1610" y="738"/>
                  <a:pt x="1612" y="737"/>
                  <a:pt x="1612" y="736"/>
                </a:cubicBezTo>
                <a:cubicBezTo>
                  <a:pt x="1612" y="736"/>
                  <a:pt x="1611" y="736"/>
                  <a:pt x="1610" y="735"/>
                </a:cubicBezTo>
                <a:cubicBezTo>
                  <a:pt x="1610" y="735"/>
                  <a:pt x="1609" y="735"/>
                  <a:pt x="1609" y="734"/>
                </a:cubicBezTo>
                <a:cubicBezTo>
                  <a:pt x="1609" y="732"/>
                  <a:pt x="1610" y="731"/>
                  <a:pt x="1612" y="729"/>
                </a:cubicBezTo>
                <a:cubicBezTo>
                  <a:pt x="1613" y="727"/>
                  <a:pt x="1614" y="725"/>
                  <a:pt x="1614" y="724"/>
                </a:cubicBezTo>
                <a:cubicBezTo>
                  <a:pt x="1614" y="724"/>
                  <a:pt x="1614" y="723"/>
                  <a:pt x="1614" y="723"/>
                </a:cubicBezTo>
                <a:cubicBezTo>
                  <a:pt x="1613" y="723"/>
                  <a:pt x="1613" y="723"/>
                  <a:pt x="1613" y="723"/>
                </a:cubicBezTo>
                <a:cubicBezTo>
                  <a:pt x="1613" y="723"/>
                  <a:pt x="1614" y="722"/>
                  <a:pt x="1615" y="720"/>
                </a:cubicBezTo>
                <a:cubicBezTo>
                  <a:pt x="1617" y="718"/>
                  <a:pt x="1618" y="718"/>
                  <a:pt x="1619" y="718"/>
                </a:cubicBezTo>
                <a:cubicBezTo>
                  <a:pt x="1619" y="718"/>
                  <a:pt x="1619" y="718"/>
                  <a:pt x="1620" y="718"/>
                </a:cubicBezTo>
                <a:cubicBezTo>
                  <a:pt x="1620" y="718"/>
                  <a:pt x="1620" y="719"/>
                  <a:pt x="1620" y="719"/>
                </a:cubicBezTo>
                <a:cubicBezTo>
                  <a:pt x="1620" y="720"/>
                  <a:pt x="1620" y="720"/>
                  <a:pt x="1618" y="721"/>
                </a:cubicBezTo>
                <a:lnTo>
                  <a:pt x="1615" y="723"/>
                </a:lnTo>
                <a:cubicBezTo>
                  <a:pt x="1615" y="723"/>
                  <a:pt x="1616" y="723"/>
                  <a:pt x="1617" y="723"/>
                </a:cubicBezTo>
                <a:cubicBezTo>
                  <a:pt x="1620" y="723"/>
                  <a:pt x="1622" y="721"/>
                  <a:pt x="1623" y="719"/>
                </a:cubicBezTo>
                <a:cubicBezTo>
                  <a:pt x="1625" y="716"/>
                  <a:pt x="1625" y="714"/>
                  <a:pt x="1625" y="713"/>
                </a:cubicBezTo>
                <a:cubicBezTo>
                  <a:pt x="1625" y="713"/>
                  <a:pt x="1625" y="712"/>
                  <a:pt x="1624" y="712"/>
                </a:cubicBezTo>
                <a:lnTo>
                  <a:pt x="1622" y="713"/>
                </a:lnTo>
                <a:cubicBezTo>
                  <a:pt x="1620" y="713"/>
                  <a:pt x="1619" y="713"/>
                  <a:pt x="1619" y="712"/>
                </a:cubicBezTo>
                <a:cubicBezTo>
                  <a:pt x="1619" y="711"/>
                  <a:pt x="1620" y="710"/>
                  <a:pt x="1621" y="710"/>
                </a:cubicBezTo>
                <a:cubicBezTo>
                  <a:pt x="1622" y="710"/>
                  <a:pt x="1623" y="709"/>
                  <a:pt x="1624" y="709"/>
                </a:cubicBezTo>
                <a:cubicBezTo>
                  <a:pt x="1625" y="709"/>
                  <a:pt x="1626" y="709"/>
                  <a:pt x="1627" y="708"/>
                </a:cubicBezTo>
                <a:cubicBezTo>
                  <a:pt x="1630" y="707"/>
                  <a:pt x="1633" y="703"/>
                  <a:pt x="1638" y="696"/>
                </a:cubicBezTo>
                <a:cubicBezTo>
                  <a:pt x="1642" y="688"/>
                  <a:pt x="1650" y="675"/>
                  <a:pt x="1661" y="655"/>
                </a:cubicBezTo>
                <a:cubicBezTo>
                  <a:pt x="1672" y="636"/>
                  <a:pt x="1677" y="626"/>
                  <a:pt x="1677" y="625"/>
                </a:cubicBezTo>
                <a:cubicBezTo>
                  <a:pt x="1677" y="623"/>
                  <a:pt x="1677" y="622"/>
                  <a:pt x="1677" y="622"/>
                </a:cubicBezTo>
                <a:lnTo>
                  <a:pt x="1677" y="622"/>
                </a:lnTo>
                <a:cubicBezTo>
                  <a:pt x="1675" y="622"/>
                  <a:pt x="1674" y="624"/>
                  <a:pt x="1672" y="628"/>
                </a:cubicBezTo>
                <a:cubicBezTo>
                  <a:pt x="1672" y="632"/>
                  <a:pt x="1671" y="634"/>
                  <a:pt x="1670" y="634"/>
                </a:cubicBezTo>
                <a:cubicBezTo>
                  <a:pt x="1669" y="634"/>
                  <a:pt x="1668" y="634"/>
                  <a:pt x="1668" y="635"/>
                </a:cubicBezTo>
                <a:cubicBezTo>
                  <a:pt x="1667" y="636"/>
                  <a:pt x="1667" y="636"/>
                  <a:pt x="1667" y="637"/>
                </a:cubicBezTo>
                <a:cubicBezTo>
                  <a:pt x="1667" y="639"/>
                  <a:pt x="1666" y="641"/>
                  <a:pt x="1664" y="644"/>
                </a:cubicBezTo>
                <a:cubicBezTo>
                  <a:pt x="1663" y="644"/>
                  <a:pt x="1662" y="647"/>
                  <a:pt x="1659" y="652"/>
                </a:cubicBezTo>
                <a:cubicBezTo>
                  <a:pt x="1658" y="655"/>
                  <a:pt x="1657" y="657"/>
                  <a:pt x="1656" y="657"/>
                </a:cubicBezTo>
                <a:cubicBezTo>
                  <a:pt x="1654" y="657"/>
                  <a:pt x="1654" y="658"/>
                  <a:pt x="1654" y="660"/>
                </a:cubicBezTo>
                <a:cubicBezTo>
                  <a:pt x="1654" y="663"/>
                  <a:pt x="1653" y="664"/>
                  <a:pt x="1652" y="664"/>
                </a:cubicBezTo>
                <a:cubicBezTo>
                  <a:pt x="1651" y="664"/>
                  <a:pt x="1650" y="664"/>
                  <a:pt x="1650" y="665"/>
                </a:cubicBezTo>
                <a:lnTo>
                  <a:pt x="1651" y="666"/>
                </a:lnTo>
                <a:cubicBezTo>
                  <a:pt x="1651" y="667"/>
                  <a:pt x="1650" y="668"/>
                  <a:pt x="1649" y="668"/>
                </a:cubicBezTo>
                <a:cubicBezTo>
                  <a:pt x="1648" y="668"/>
                  <a:pt x="1647" y="669"/>
                  <a:pt x="1647" y="672"/>
                </a:cubicBezTo>
                <a:cubicBezTo>
                  <a:pt x="1647" y="673"/>
                  <a:pt x="1647" y="673"/>
                  <a:pt x="1647" y="674"/>
                </a:cubicBezTo>
                <a:cubicBezTo>
                  <a:pt x="1646" y="675"/>
                  <a:pt x="1646" y="675"/>
                  <a:pt x="1646" y="675"/>
                </a:cubicBezTo>
                <a:cubicBezTo>
                  <a:pt x="1645" y="675"/>
                  <a:pt x="1644" y="675"/>
                  <a:pt x="1644" y="676"/>
                </a:cubicBezTo>
                <a:cubicBezTo>
                  <a:pt x="1643" y="677"/>
                  <a:pt x="1643" y="677"/>
                  <a:pt x="1643" y="678"/>
                </a:cubicBezTo>
                <a:cubicBezTo>
                  <a:pt x="1643" y="679"/>
                  <a:pt x="1643" y="680"/>
                  <a:pt x="1642" y="681"/>
                </a:cubicBezTo>
                <a:cubicBezTo>
                  <a:pt x="1642" y="682"/>
                  <a:pt x="1639" y="685"/>
                  <a:pt x="1636" y="690"/>
                </a:cubicBezTo>
                <a:cubicBezTo>
                  <a:pt x="1634" y="692"/>
                  <a:pt x="1633" y="694"/>
                  <a:pt x="1632" y="695"/>
                </a:cubicBezTo>
                <a:cubicBezTo>
                  <a:pt x="1631" y="697"/>
                  <a:pt x="1631" y="697"/>
                  <a:pt x="1631" y="698"/>
                </a:cubicBezTo>
                <a:cubicBezTo>
                  <a:pt x="1630" y="698"/>
                  <a:pt x="1630" y="699"/>
                  <a:pt x="1628" y="700"/>
                </a:cubicBezTo>
                <a:lnTo>
                  <a:pt x="1628" y="699"/>
                </a:lnTo>
                <a:cubicBezTo>
                  <a:pt x="1628" y="697"/>
                  <a:pt x="1630" y="693"/>
                  <a:pt x="1634" y="688"/>
                </a:cubicBezTo>
                <a:lnTo>
                  <a:pt x="1636" y="683"/>
                </a:lnTo>
                <a:cubicBezTo>
                  <a:pt x="1639" y="679"/>
                  <a:pt x="1641" y="676"/>
                  <a:pt x="1641" y="675"/>
                </a:cubicBezTo>
                <a:cubicBezTo>
                  <a:pt x="1642" y="674"/>
                  <a:pt x="1644" y="670"/>
                  <a:pt x="1647" y="665"/>
                </a:cubicBezTo>
                <a:cubicBezTo>
                  <a:pt x="1649" y="663"/>
                  <a:pt x="1651" y="659"/>
                  <a:pt x="1653" y="654"/>
                </a:cubicBezTo>
                <a:cubicBezTo>
                  <a:pt x="1654" y="651"/>
                  <a:pt x="1655" y="650"/>
                  <a:pt x="1656" y="650"/>
                </a:cubicBezTo>
                <a:cubicBezTo>
                  <a:pt x="1657" y="650"/>
                  <a:pt x="1657" y="649"/>
                  <a:pt x="1657" y="648"/>
                </a:cubicBezTo>
                <a:lnTo>
                  <a:pt x="1657" y="647"/>
                </a:lnTo>
                <a:cubicBezTo>
                  <a:pt x="1657" y="646"/>
                  <a:pt x="1658" y="645"/>
                  <a:pt x="1659" y="644"/>
                </a:cubicBezTo>
                <a:cubicBezTo>
                  <a:pt x="1661" y="644"/>
                  <a:pt x="1662" y="643"/>
                  <a:pt x="1662" y="642"/>
                </a:cubicBezTo>
                <a:lnTo>
                  <a:pt x="1661" y="640"/>
                </a:lnTo>
                <a:cubicBezTo>
                  <a:pt x="1661" y="639"/>
                  <a:pt x="1662" y="639"/>
                  <a:pt x="1662" y="639"/>
                </a:cubicBezTo>
                <a:cubicBezTo>
                  <a:pt x="1663" y="639"/>
                  <a:pt x="1664" y="638"/>
                  <a:pt x="1664" y="638"/>
                </a:cubicBezTo>
                <a:lnTo>
                  <a:pt x="1664" y="636"/>
                </a:lnTo>
                <a:cubicBezTo>
                  <a:pt x="1664" y="635"/>
                  <a:pt x="1664" y="634"/>
                  <a:pt x="1666" y="633"/>
                </a:cubicBezTo>
                <a:cubicBezTo>
                  <a:pt x="1668" y="632"/>
                  <a:pt x="1669" y="629"/>
                  <a:pt x="1670" y="626"/>
                </a:cubicBezTo>
                <a:cubicBezTo>
                  <a:pt x="1671" y="624"/>
                  <a:pt x="1672" y="622"/>
                  <a:pt x="1674" y="620"/>
                </a:cubicBezTo>
                <a:cubicBezTo>
                  <a:pt x="1675" y="618"/>
                  <a:pt x="1676" y="616"/>
                  <a:pt x="1677" y="614"/>
                </a:cubicBezTo>
                <a:cubicBezTo>
                  <a:pt x="1677" y="612"/>
                  <a:pt x="1678" y="610"/>
                  <a:pt x="1679" y="608"/>
                </a:cubicBezTo>
                <a:cubicBezTo>
                  <a:pt x="1681" y="607"/>
                  <a:pt x="1681" y="605"/>
                  <a:pt x="1681" y="605"/>
                </a:cubicBezTo>
                <a:cubicBezTo>
                  <a:pt x="1681" y="604"/>
                  <a:pt x="1681" y="604"/>
                  <a:pt x="1681" y="604"/>
                </a:cubicBezTo>
                <a:cubicBezTo>
                  <a:pt x="1681" y="604"/>
                  <a:pt x="1681" y="604"/>
                  <a:pt x="1681" y="604"/>
                </a:cubicBezTo>
                <a:cubicBezTo>
                  <a:pt x="1681" y="603"/>
                  <a:pt x="1682" y="602"/>
                  <a:pt x="1684" y="599"/>
                </a:cubicBezTo>
                <a:cubicBezTo>
                  <a:pt x="1687" y="596"/>
                  <a:pt x="1688" y="595"/>
                  <a:pt x="1688" y="593"/>
                </a:cubicBezTo>
                <a:lnTo>
                  <a:pt x="1688" y="593"/>
                </a:lnTo>
                <a:cubicBezTo>
                  <a:pt x="1688" y="592"/>
                  <a:pt x="1689" y="590"/>
                  <a:pt x="1691" y="588"/>
                </a:cubicBezTo>
                <a:cubicBezTo>
                  <a:pt x="1693" y="585"/>
                  <a:pt x="1694" y="584"/>
                  <a:pt x="1695" y="584"/>
                </a:cubicBezTo>
                <a:cubicBezTo>
                  <a:pt x="1695" y="584"/>
                  <a:pt x="1695" y="584"/>
                  <a:pt x="1695" y="584"/>
                </a:cubicBezTo>
                <a:cubicBezTo>
                  <a:pt x="1695" y="585"/>
                  <a:pt x="1695" y="587"/>
                  <a:pt x="1694" y="589"/>
                </a:cubicBezTo>
                <a:cubicBezTo>
                  <a:pt x="1691" y="595"/>
                  <a:pt x="1689" y="600"/>
                  <a:pt x="1687" y="602"/>
                </a:cubicBezTo>
                <a:cubicBezTo>
                  <a:pt x="1685" y="603"/>
                  <a:pt x="1684" y="606"/>
                  <a:pt x="1681" y="611"/>
                </a:cubicBezTo>
                <a:lnTo>
                  <a:pt x="1678" y="621"/>
                </a:lnTo>
                <a:cubicBezTo>
                  <a:pt x="1679" y="621"/>
                  <a:pt x="1682" y="617"/>
                  <a:pt x="1687" y="608"/>
                </a:cubicBezTo>
                <a:cubicBezTo>
                  <a:pt x="1692" y="600"/>
                  <a:pt x="1695" y="595"/>
                  <a:pt x="1695" y="595"/>
                </a:cubicBezTo>
                <a:cubicBezTo>
                  <a:pt x="1696" y="595"/>
                  <a:pt x="1696" y="595"/>
                  <a:pt x="1696" y="595"/>
                </a:cubicBezTo>
                <a:cubicBezTo>
                  <a:pt x="1696" y="597"/>
                  <a:pt x="1695" y="600"/>
                  <a:pt x="1692" y="605"/>
                </a:cubicBezTo>
                <a:cubicBezTo>
                  <a:pt x="1680" y="631"/>
                  <a:pt x="1662" y="663"/>
                  <a:pt x="1638" y="700"/>
                </a:cubicBezTo>
                <a:cubicBezTo>
                  <a:pt x="1612" y="742"/>
                  <a:pt x="1592" y="771"/>
                  <a:pt x="1577" y="786"/>
                </a:cubicBezTo>
                <a:cubicBezTo>
                  <a:pt x="1572" y="791"/>
                  <a:pt x="1570" y="794"/>
                  <a:pt x="1570" y="795"/>
                </a:cubicBezTo>
                <a:cubicBezTo>
                  <a:pt x="1570" y="796"/>
                  <a:pt x="1571" y="797"/>
                  <a:pt x="1574" y="797"/>
                </a:cubicBezTo>
                <a:lnTo>
                  <a:pt x="1576" y="797"/>
                </a:lnTo>
                <a:cubicBezTo>
                  <a:pt x="1579" y="797"/>
                  <a:pt x="1581" y="797"/>
                  <a:pt x="1581" y="796"/>
                </a:cubicBezTo>
                <a:lnTo>
                  <a:pt x="1581" y="795"/>
                </a:lnTo>
                <a:cubicBezTo>
                  <a:pt x="1581" y="794"/>
                  <a:pt x="1581" y="794"/>
                  <a:pt x="1582" y="794"/>
                </a:cubicBezTo>
                <a:cubicBezTo>
                  <a:pt x="1584" y="794"/>
                  <a:pt x="1587" y="791"/>
                  <a:pt x="1592" y="786"/>
                </a:cubicBezTo>
                <a:lnTo>
                  <a:pt x="1594" y="781"/>
                </a:lnTo>
                <a:lnTo>
                  <a:pt x="1594" y="780"/>
                </a:lnTo>
                <a:cubicBezTo>
                  <a:pt x="1594" y="779"/>
                  <a:pt x="1594" y="778"/>
                  <a:pt x="1595" y="777"/>
                </a:cubicBezTo>
                <a:cubicBezTo>
                  <a:pt x="1597" y="775"/>
                  <a:pt x="1598" y="774"/>
                  <a:pt x="1599" y="774"/>
                </a:cubicBezTo>
                <a:lnTo>
                  <a:pt x="1600" y="775"/>
                </a:lnTo>
                <a:cubicBezTo>
                  <a:pt x="1601" y="775"/>
                  <a:pt x="1605" y="771"/>
                  <a:pt x="1611" y="762"/>
                </a:cubicBezTo>
                <a:cubicBezTo>
                  <a:pt x="1613" y="760"/>
                  <a:pt x="1614" y="758"/>
                  <a:pt x="1615" y="757"/>
                </a:cubicBezTo>
                <a:cubicBezTo>
                  <a:pt x="1618" y="755"/>
                  <a:pt x="1619" y="752"/>
                  <a:pt x="1619" y="751"/>
                </a:cubicBezTo>
                <a:cubicBezTo>
                  <a:pt x="1619" y="750"/>
                  <a:pt x="1620" y="748"/>
                  <a:pt x="1622" y="747"/>
                </a:cubicBezTo>
                <a:cubicBezTo>
                  <a:pt x="1624" y="745"/>
                  <a:pt x="1625" y="743"/>
                  <a:pt x="1625" y="739"/>
                </a:cubicBezTo>
                <a:cubicBezTo>
                  <a:pt x="1625" y="736"/>
                  <a:pt x="1625" y="734"/>
                  <a:pt x="1627" y="734"/>
                </a:cubicBezTo>
                <a:cubicBezTo>
                  <a:pt x="1628" y="734"/>
                  <a:pt x="1630" y="732"/>
                  <a:pt x="1632" y="730"/>
                </a:cubicBezTo>
                <a:cubicBezTo>
                  <a:pt x="1638" y="723"/>
                  <a:pt x="1641" y="718"/>
                  <a:pt x="1641" y="716"/>
                </a:cubicBezTo>
                <a:lnTo>
                  <a:pt x="1637" y="720"/>
                </a:lnTo>
                <a:cubicBezTo>
                  <a:pt x="1637" y="721"/>
                  <a:pt x="1636" y="722"/>
                  <a:pt x="1635" y="722"/>
                </a:cubicBezTo>
                <a:cubicBezTo>
                  <a:pt x="1635" y="722"/>
                  <a:pt x="1634" y="722"/>
                  <a:pt x="1634" y="721"/>
                </a:cubicBezTo>
                <a:cubicBezTo>
                  <a:pt x="1634" y="721"/>
                  <a:pt x="1635" y="720"/>
                  <a:pt x="1636" y="718"/>
                </a:cubicBezTo>
                <a:cubicBezTo>
                  <a:pt x="1637" y="717"/>
                  <a:pt x="1638" y="715"/>
                  <a:pt x="1639" y="713"/>
                </a:cubicBezTo>
                <a:cubicBezTo>
                  <a:pt x="1641" y="712"/>
                  <a:pt x="1641" y="710"/>
                  <a:pt x="1641" y="710"/>
                </a:cubicBezTo>
                <a:cubicBezTo>
                  <a:pt x="1641" y="710"/>
                  <a:pt x="1641" y="709"/>
                  <a:pt x="1641" y="709"/>
                </a:cubicBezTo>
                <a:cubicBezTo>
                  <a:pt x="1641" y="709"/>
                  <a:pt x="1640" y="709"/>
                  <a:pt x="1640" y="709"/>
                </a:cubicBezTo>
                <a:cubicBezTo>
                  <a:pt x="1640" y="708"/>
                  <a:pt x="1641" y="707"/>
                  <a:pt x="1643" y="705"/>
                </a:cubicBezTo>
                <a:cubicBezTo>
                  <a:pt x="1646" y="702"/>
                  <a:pt x="1647" y="699"/>
                  <a:pt x="1647" y="698"/>
                </a:cubicBezTo>
                <a:cubicBezTo>
                  <a:pt x="1647" y="696"/>
                  <a:pt x="1649" y="695"/>
                  <a:pt x="1651" y="693"/>
                </a:cubicBezTo>
                <a:cubicBezTo>
                  <a:pt x="1653" y="691"/>
                  <a:pt x="1654" y="689"/>
                  <a:pt x="1654" y="686"/>
                </a:cubicBezTo>
                <a:cubicBezTo>
                  <a:pt x="1655" y="684"/>
                  <a:pt x="1656" y="682"/>
                  <a:pt x="1659" y="680"/>
                </a:cubicBezTo>
                <a:cubicBezTo>
                  <a:pt x="1661" y="679"/>
                  <a:pt x="1662" y="674"/>
                  <a:pt x="1662" y="667"/>
                </a:cubicBezTo>
                <a:cubicBezTo>
                  <a:pt x="1662" y="667"/>
                  <a:pt x="1662" y="666"/>
                  <a:pt x="1663" y="666"/>
                </a:cubicBezTo>
                <a:lnTo>
                  <a:pt x="1665" y="667"/>
                </a:lnTo>
                <a:cubicBezTo>
                  <a:pt x="1666" y="667"/>
                  <a:pt x="1666" y="667"/>
                  <a:pt x="1666" y="666"/>
                </a:cubicBezTo>
                <a:lnTo>
                  <a:pt x="1665" y="664"/>
                </a:lnTo>
                <a:cubicBezTo>
                  <a:pt x="1665" y="661"/>
                  <a:pt x="1666" y="660"/>
                  <a:pt x="1667" y="659"/>
                </a:cubicBezTo>
                <a:cubicBezTo>
                  <a:pt x="1668" y="659"/>
                  <a:pt x="1669" y="657"/>
                  <a:pt x="1671" y="653"/>
                </a:cubicBezTo>
                <a:cubicBezTo>
                  <a:pt x="1672" y="648"/>
                  <a:pt x="1675" y="644"/>
                  <a:pt x="1678" y="639"/>
                </a:cubicBezTo>
                <a:cubicBezTo>
                  <a:pt x="1681" y="634"/>
                  <a:pt x="1683" y="630"/>
                  <a:pt x="1685" y="627"/>
                </a:cubicBezTo>
                <a:cubicBezTo>
                  <a:pt x="1686" y="624"/>
                  <a:pt x="1687" y="622"/>
                  <a:pt x="1688" y="622"/>
                </a:cubicBezTo>
                <a:cubicBezTo>
                  <a:pt x="1689" y="622"/>
                  <a:pt x="1690" y="622"/>
                  <a:pt x="1690" y="621"/>
                </a:cubicBezTo>
                <a:lnTo>
                  <a:pt x="1689" y="619"/>
                </a:lnTo>
                <a:cubicBezTo>
                  <a:pt x="1689" y="618"/>
                  <a:pt x="1690" y="617"/>
                  <a:pt x="1691" y="615"/>
                </a:cubicBezTo>
                <a:cubicBezTo>
                  <a:pt x="1692" y="614"/>
                  <a:pt x="1693" y="612"/>
                  <a:pt x="1694" y="609"/>
                </a:cubicBezTo>
                <a:cubicBezTo>
                  <a:pt x="1696" y="606"/>
                  <a:pt x="1697" y="604"/>
                  <a:pt x="1698" y="603"/>
                </a:cubicBezTo>
                <a:cubicBezTo>
                  <a:pt x="1699" y="602"/>
                  <a:pt x="1700" y="601"/>
                  <a:pt x="1700" y="599"/>
                </a:cubicBezTo>
                <a:lnTo>
                  <a:pt x="1700" y="597"/>
                </a:lnTo>
                <a:cubicBezTo>
                  <a:pt x="1700" y="595"/>
                  <a:pt x="1701" y="594"/>
                  <a:pt x="1703" y="593"/>
                </a:cubicBezTo>
                <a:cubicBezTo>
                  <a:pt x="1704" y="592"/>
                  <a:pt x="1705" y="591"/>
                  <a:pt x="1705" y="590"/>
                </a:cubicBezTo>
                <a:cubicBezTo>
                  <a:pt x="1705" y="590"/>
                  <a:pt x="1705" y="589"/>
                  <a:pt x="1704" y="589"/>
                </a:cubicBezTo>
                <a:cubicBezTo>
                  <a:pt x="1704" y="587"/>
                  <a:pt x="1705" y="585"/>
                  <a:pt x="1707" y="584"/>
                </a:cubicBezTo>
                <a:cubicBezTo>
                  <a:pt x="1708" y="583"/>
                  <a:pt x="1709" y="582"/>
                  <a:pt x="1709" y="581"/>
                </a:cubicBezTo>
                <a:lnTo>
                  <a:pt x="1709" y="581"/>
                </a:lnTo>
                <a:cubicBezTo>
                  <a:pt x="1709" y="580"/>
                  <a:pt x="1708" y="579"/>
                  <a:pt x="1706" y="579"/>
                </a:cubicBezTo>
                <a:lnTo>
                  <a:pt x="1704" y="580"/>
                </a:lnTo>
                <a:cubicBezTo>
                  <a:pt x="1703" y="580"/>
                  <a:pt x="1703" y="580"/>
                  <a:pt x="1703" y="579"/>
                </a:cubicBezTo>
                <a:lnTo>
                  <a:pt x="1703" y="578"/>
                </a:lnTo>
                <a:cubicBezTo>
                  <a:pt x="1703" y="577"/>
                  <a:pt x="1703" y="576"/>
                  <a:pt x="1702" y="576"/>
                </a:cubicBezTo>
                <a:cubicBezTo>
                  <a:pt x="1701" y="575"/>
                  <a:pt x="1701" y="575"/>
                  <a:pt x="1701" y="575"/>
                </a:cubicBezTo>
                <a:cubicBezTo>
                  <a:pt x="1700" y="575"/>
                  <a:pt x="1700" y="576"/>
                  <a:pt x="1700" y="577"/>
                </a:cubicBezTo>
                <a:cubicBezTo>
                  <a:pt x="1700" y="578"/>
                  <a:pt x="1699" y="579"/>
                  <a:pt x="1699" y="580"/>
                </a:cubicBezTo>
                <a:cubicBezTo>
                  <a:pt x="1698" y="580"/>
                  <a:pt x="1697" y="581"/>
                  <a:pt x="1696" y="581"/>
                </a:cubicBezTo>
                <a:cubicBezTo>
                  <a:pt x="1695" y="581"/>
                  <a:pt x="1694" y="581"/>
                  <a:pt x="1694" y="580"/>
                </a:cubicBezTo>
                <a:cubicBezTo>
                  <a:pt x="1694" y="580"/>
                  <a:pt x="1695" y="579"/>
                  <a:pt x="1696" y="577"/>
                </a:cubicBezTo>
                <a:cubicBezTo>
                  <a:pt x="1698" y="576"/>
                  <a:pt x="1699" y="574"/>
                  <a:pt x="1699" y="573"/>
                </a:cubicBezTo>
                <a:lnTo>
                  <a:pt x="1698" y="570"/>
                </a:lnTo>
                <a:cubicBezTo>
                  <a:pt x="1698" y="570"/>
                  <a:pt x="1698" y="570"/>
                  <a:pt x="1699" y="570"/>
                </a:cubicBezTo>
                <a:cubicBezTo>
                  <a:pt x="1701" y="570"/>
                  <a:pt x="1703" y="571"/>
                  <a:pt x="1704" y="573"/>
                </a:cubicBezTo>
                <a:cubicBezTo>
                  <a:pt x="1706" y="575"/>
                  <a:pt x="1708" y="576"/>
                  <a:pt x="1708" y="576"/>
                </a:cubicBezTo>
                <a:cubicBezTo>
                  <a:pt x="1709" y="576"/>
                  <a:pt x="1710" y="576"/>
                  <a:pt x="1712" y="574"/>
                </a:cubicBezTo>
                <a:cubicBezTo>
                  <a:pt x="1713" y="572"/>
                  <a:pt x="1714" y="571"/>
                  <a:pt x="1714" y="571"/>
                </a:cubicBezTo>
                <a:cubicBezTo>
                  <a:pt x="1714" y="571"/>
                  <a:pt x="1714" y="570"/>
                  <a:pt x="1714" y="570"/>
                </a:cubicBezTo>
                <a:cubicBezTo>
                  <a:pt x="1714" y="570"/>
                  <a:pt x="1713" y="570"/>
                  <a:pt x="1713" y="570"/>
                </a:cubicBezTo>
                <a:cubicBezTo>
                  <a:pt x="1712" y="570"/>
                  <a:pt x="1711" y="571"/>
                  <a:pt x="1709" y="572"/>
                </a:cubicBezTo>
                <a:cubicBezTo>
                  <a:pt x="1708" y="573"/>
                  <a:pt x="1707" y="574"/>
                  <a:pt x="1706" y="574"/>
                </a:cubicBezTo>
                <a:cubicBezTo>
                  <a:pt x="1706" y="574"/>
                  <a:pt x="1706" y="574"/>
                  <a:pt x="1706" y="573"/>
                </a:cubicBezTo>
                <a:cubicBezTo>
                  <a:pt x="1706" y="573"/>
                  <a:pt x="1706" y="572"/>
                  <a:pt x="1706" y="571"/>
                </a:cubicBezTo>
                <a:cubicBezTo>
                  <a:pt x="1707" y="571"/>
                  <a:pt x="1707" y="570"/>
                  <a:pt x="1707" y="569"/>
                </a:cubicBezTo>
                <a:cubicBezTo>
                  <a:pt x="1707" y="568"/>
                  <a:pt x="1707" y="567"/>
                  <a:pt x="1706" y="566"/>
                </a:cubicBezTo>
                <a:cubicBezTo>
                  <a:pt x="1705" y="566"/>
                  <a:pt x="1705" y="565"/>
                  <a:pt x="1705" y="564"/>
                </a:cubicBezTo>
                <a:cubicBezTo>
                  <a:pt x="1705" y="563"/>
                  <a:pt x="1705" y="563"/>
                  <a:pt x="1706" y="561"/>
                </a:cubicBezTo>
                <a:cubicBezTo>
                  <a:pt x="1707" y="560"/>
                  <a:pt x="1708" y="559"/>
                  <a:pt x="1710" y="559"/>
                </a:cubicBezTo>
                <a:lnTo>
                  <a:pt x="1711" y="560"/>
                </a:lnTo>
                <a:cubicBezTo>
                  <a:pt x="1711" y="560"/>
                  <a:pt x="1712" y="559"/>
                  <a:pt x="1712" y="559"/>
                </a:cubicBezTo>
                <a:cubicBezTo>
                  <a:pt x="1712" y="558"/>
                  <a:pt x="1711" y="558"/>
                  <a:pt x="1711" y="557"/>
                </a:cubicBezTo>
                <a:cubicBezTo>
                  <a:pt x="1711" y="556"/>
                  <a:pt x="1711" y="555"/>
                  <a:pt x="1711" y="554"/>
                </a:cubicBezTo>
                <a:cubicBezTo>
                  <a:pt x="1711" y="552"/>
                  <a:pt x="1711" y="550"/>
                  <a:pt x="1713" y="550"/>
                </a:cubicBezTo>
                <a:cubicBezTo>
                  <a:pt x="1714" y="550"/>
                  <a:pt x="1715" y="551"/>
                  <a:pt x="1716" y="551"/>
                </a:cubicBezTo>
                <a:cubicBezTo>
                  <a:pt x="1717" y="553"/>
                  <a:pt x="1718" y="553"/>
                  <a:pt x="1719" y="553"/>
                </a:cubicBezTo>
                <a:cubicBezTo>
                  <a:pt x="1720" y="553"/>
                  <a:pt x="1720" y="553"/>
                  <a:pt x="1721" y="553"/>
                </a:cubicBezTo>
                <a:lnTo>
                  <a:pt x="1721" y="552"/>
                </a:lnTo>
                <a:cubicBezTo>
                  <a:pt x="1721" y="551"/>
                  <a:pt x="1720" y="551"/>
                  <a:pt x="1719" y="551"/>
                </a:cubicBezTo>
                <a:cubicBezTo>
                  <a:pt x="1718" y="551"/>
                  <a:pt x="1718" y="551"/>
                  <a:pt x="1718" y="550"/>
                </a:cubicBezTo>
                <a:lnTo>
                  <a:pt x="1719" y="548"/>
                </a:lnTo>
                <a:cubicBezTo>
                  <a:pt x="1719" y="547"/>
                  <a:pt x="1719" y="547"/>
                  <a:pt x="1718" y="547"/>
                </a:cubicBezTo>
                <a:lnTo>
                  <a:pt x="1716" y="548"/>
                </a:lnTo>
                <a:cubicBezTo>
                  <a:pt x="1715" y="548"/>
                  <a:pt x="1714" y="547"/>
                  <a:pt x="1714" y="546"/>
                </a:cubicBezTo>
                <a:cubicBezTo>
                  <a:pt x="1714" y="544"/>
                  <a:pt x="1715" y="543"/>
                  <a:pt x="1716" y="542"/>
                </a:cubicBezTo>
                <a:cubicBezTo>
                  <a:pt x="1717" y="541"/>
                  <a:pt x="1718" y="541"/>
                  <a:pt x="1718" y="541"/>
                </a:cubicBezTo>
                <a:cubicBezTo>
                  <a:pt x="1719" y="541"/>
                  <a:pt x="1720" y="541"/>
                  <a:pt x="1721" y="542"/>
                </a:cubicBezTo>
                <a:cubicBezTo>
                  <a:pt x="1721" y="544"/>
                  <a:pt x="1723" y="544"/>
                  <a:pt x="1724" y="544"/>
                </a:cubicBezTo>
                <a:cubicBezTo>
                  <a:pt x="1724" y="544"/>
                  <a:pt x="1724" y="544"/>
                  <a:pt x="1724" y="544"/>
                </a:cubicBezTo>
                <a:cubicBezTo>
                  <a:pt x="1724" y="543"/>
                  <a:pt x="1724" y="542"/>
                  <a:pt x="1723" y="541"/>
                </a:cubicBezTo>
                <a:cubicBezTo>
                  <a:pt x="1721" y="539"/>
                  <a:pt x="1720" y="537"/>
                  <a:pt x="1720" y="534"/>
                </a:cubicBezTo>
                <a:cubicBezTo>
                  <a:pt x="1720" y="532"/>
                  <a:pt x="1721" y="530"/>
                  <a:pt x="1721" y="528"/>
                </a:cubicBezTo>
                <a:cubicBezTo>
                  <a:pt x="1722" y="526"/>
                  <a:pt x="1723" y="525"/>
                  <a:pt x="1724" y="525"/>
                </a:cubicBezTo>
                <a:lnTo>
                  <a:pt x="1726" y="525"/>
                </a:lnTo>
                <a:cubicBezTo>
                  <a:pt x="1727" y="525"/>
                  <a:pt x="1728" y="524"/>
                  <a:pt x="1730" y="522"/>
                </a:cubicBezTo>
                <a:lnTo>
                  <a:pt x="1732" y="519"/>
                </a:lnTo>
                <a:cubicBezTo>
                  <a:pt x="1732" y="519"/>
                  <a:pt x="1731" y="520"/>
                  <a:pt x="1730" y="521"/>
                </a:cubicBezTo>
                <a:cubicBezTo>
                  <a:pt x="1728" y="522"/>
                  <a:pt x="1727" y="523"/>
                  <a:pt x="1726" y="523"/>
                </a:cubicBezTo>
                <a:cubicBezTo>
                  <a:pt x="1726" y="523"/>
                  <a:pt x="1726" y="522"/>
                  <a:pt x="1726" y="521"/>
                </a:cubicBezTo>
                <a:cubicBezTo>
                  <a:pt x="1726" y="518"/>
                  <a:pt x="1727" y="516"/>
                  <a:pt x="1729" y="513"/>
                </a:cubicBezTo>
                <a:cubicBezTo>
                  <a:pt x="1729" y="512"/>
                  <a:pt x="1730" y="512"/>
                  <a:pt x="1730" y="512"/>
                </a:cubicBezTo>
                <a:cubicBezTo>
                  <a:pt x="1731" y="512"/>
                  <a:pt x="1731" y="513"/>
                  <a:pt x="1731" y="514"/>
                </a:cubicBezTo>
                <a:lnTo>
                  <a:pt x="1730" y="517"/>
                </a:lnTo>
                <a:cubicBezTo>
                  <a:pt x="1731" y="517"/>
                  <a:pt x="1731" y="517"/>
                  <a:pt x="1732" y="516"/>
                </a:cubicBezTo>
                <a:cubicBezTo>
                  <a:pt x="1733" y="515"/>
                  <a:pt x="1733" y="514"/>
                  <a:pt x="1733" y="514"/>
                </a:cubicBezTo>
                <a:cubicBezTo>
                  <a:pt x="1733" y="513"/>
                  <a:pt x="1733" y="512"/>
                  <a:pt x="1733" y="512"/>
                </a:cubicBezTo>
                <a:cubicBezTo>
                  <a:pt x="1733" y="512"/>
                  <a:pt x="1732" y="511"/>
                  <a:pt x="1732" y="509"/>
                </a:cubicBezTo>
                <a:cubicBezTo>
                  <a:pt x="1732" y="507"/>
                  <a:pt x="1733" y="505"/>
                  <a:pt x="1733" y="502"/>
                </a:cubicBezTo>
                <a:cubicBezTo>
                  <a:pt x="1734" y="499"/>
                  <a:pt x="1735" y="497"/>
                  <a:pt x="1736" y="495"/>
                </a:cubicBezTo>
                <a:cubicBezTo>
                  <a:pt x="1737" y="493"/>
                  <a:pt x="1738" y="492"/>
                  <a:pt x="1739" y="492"/>
                </a:cubicBezTo>
                <a:cubicBezTo>
                  <a:pt x="1740" y="492"/>
                  <a:pt x="1740" y="491"/>
                  <a:pt x="1740" y="491"/>
                </a:cubicBezTo>
                <a:lnTo>
                  <a:pt x="1740" y="488"/>
                </a:lnTo>
                <a:cubicBezTo>
                  <a:pt x="1740" y="485"/>
                  <a:pt x="1742" y="479"/>
                  <a:pt x="1746" y="470"/>
                </a:cubicBezTo>
                <a:cubicBezTo>
                  <a:pt x="1752" y="455"/>
                  <a:pt x="1756" y="446"/>
                  <a:pt x="1757" y="441"/>
                </a:cubicBezTo>
                <a:cubicBezTo>
                  <a:pt x="1758" y="438"/>
                  <a:pt x="1759" y="435"/>
                  <a:pt x="1761" y="433"/>
                </a:cubicBezTo>
                <a:cubicBezTo>
                  <a:pt x="1762" y="431"/>
                  <a:pt x="1763" y="430"/>
                  <a:pt x="1763" y="430"/>
                </a:cubicBezTo>
                <a:cubicBezTo>
                  <a:pt x="1763" y="430"/>
                  <a:pt x="1764" y="429"/>
                  <a:pt x="1764" y="429"/>
                </a:cubicBezTo>
                <a:lnTo>
                  <a:pt x="1764" y="427"/>
                </a:lnTo>
                <a:cubicBezTo>
                  <a:pt x="1764" y="421"/>
                  <a:pt x="1767" y="409"/>
                  <a:pt x="1775" y="391"/>
                </a:cubicBezTo>
                <a:cubicBezTo>
                  <a:pt x="1782" y="372"/>
                  <a:pt x="1787" y="363"/>
                  <a:pt x="1788" y="363"/>
                </a:cubicBezTo>
                <a:cubicBezTo>
                  <a:pt x="1790" y="363"/>
                  <a:pt x="1791" y="362"/>
                  <a:pt x="1791" y="360"/>
                </a:cubicBezTo>
                <a:cubicBezTo>
                  <a:pt x="1791" y="358"/>
                  <a:pt x="1792" y="357"/>
                  <a:pt x="1794" y="357"/>
                </a:cubicBezTo>
                <a:cubicBezTo>
                  <a:pt x="1796" y="357"/>
                  <a:pt x="1797" y="356"/>
                  <a:pt x="1797" y="354"/>
                </a:cubicBezTo>
                <a:cubicBezTo>
                  <a:pt x="1797" y="353"/>
                  <a:pt x="1797" y="353"/>
                  <a:pt x="1796" y="353"/>
                </a:cubicBezTo>
                <a:lnTo>
                  <a:pt x="1793" y="353"/>
                </a:lnTo>
                <a:cubicBezTo>
                  <a:pt x="1793" y="353"/>
                  <a:pt x="1794" y="353"/>
                  <a:pt x="1796" y="351"/>
                </a:cubicBezTo>
                <a:cubicBezTo>
                  <a:pt x="1797" y="350"/>
                  <a:pt x="1798" y="349"/>
                  <a:pt x="1800" y="348"/>
                </a:cubicBezTo>
                <a:cubicBezTo>
                  <a:pt x="1801" y="348"/>
                  <a:pt x="1802" y="348"/>
                  <a:pt x="1803" y="348"/>
                </a:cubicBezTo>
                <a:cubicBezTo>
                  <a:pt x="1803" y="348"/>
                  <a:pt x="1803" y="347"/>
                  <a:pt x="1803" y="346"/>
                </a:cubicBezTo>
                <a:cubicBezTo>
                  <a:pt x="1803" y="346"/>
                  <a:pt x="1803" y="345"/>
                  <a:pt x="1803" y="344"/>
                </a:cubicBezTo>
                <a:cubicBezTo>
                  <a:pt x="1802" y="344"/>
                  <a:pt x="1802" y="343"/>
                  <a:pt x="1802" y="343"/>
                </a:cubicBezTo>
                <a:cubicBezTo>
                  <a:pt x="1802" y="343"/>
                  <a:pt x="1803" y="343"/>
                  <a:pt x="1804" y="344"/>
                </a:cubicBezTo>
                <a:cubicBezTo>
                  <a:pt x="1805" y="345"/>
                  <a:pt x="1805" y="345"/>
                  <a:pt x="1805" y="346"/>
                </a:cubicBezTo>
                <a:cubicBezTo>
                  <a:pt x="1805" y="347"/>
                  <a:pt x="1805" y="347"/>
                  <a:pt x="1805" y="348"/>
                </a:cubicBezTo>
                <a:lnTo>
                  <a:pt x="1805" y="348"/>
                </a:lnTo>
                <a:cubicBezTo>
                  <a:pt x="1805" y="349"/>
                  <a:pt x="1805" y="350"/>
                  <a:pt x="1806" y="350"/>
                </a:cubicBezTo>
                <a:cubicBezTo>
                  <a:pt x="1807" y="350"/>
                  <a:pt x="1807" y="354"/>
                  <a:pt x="1807" y="362"/>
                </a:cubicBezTo>
                <a:cubicBezTo>
                  <a:pt x="1807" y="376"/>
                  <a:pt x="1806" y="386"/>
                  <a:pt x="1805" y="392"/>
                </a:cubicBezTo>
                <a:cubicBezTo>
                  <a:pt x="1803" y="403"/>
                  <a:pt x="1795" y="426"/>
                  <a:pt x="1781" y="462"/>
                </a:cubicBezTo>
                <a:cubicBezTo>
                  <a:pt x="1768" y="497"/>
                  <a:pt x="1760" y="517"/>
                  <a:pt x="1757" y="520"/>
                </a:cubicBezTo>
                <a:cubicBezTo>
                  <a:pt x="1756" y="522"/>
                  <a:pt x="1755" y="523"/>
                  <a:pt x="1755" y="524"/>
                </a:cubicBezTo>
                <a:cubicBezTo>
                  <a:pt x="1755" y="524"/>
                  <a:pt x="1755" y="524"/>
                  <a:pt x="1755" y="524"/>
                </a:cubicBezTo>
                <a:cubicBezTo>
                  <a:pt x="1756" y="525"/>
                  <a:pt x="1756" y="525"/>
                  <a:pt x="1756" y="525"/>
                </a:cubicBezTo>
                <a:cubicBezTo>
                  <a:pt x="1756" y="526"/>
                  <a:pt x="1755" y="528"/>
                  <a:pt x="1755" y="529"/>
                </a:cubicBezTo>
                <a:cubicBezTo>
                  <a:pt x="1753" y="534"/>
                  <a:pt x="1751" y="536"/>
                  <a:pt x="1750" y="536"/>
                </a:cubicBezTo>
                <a:lnTo>
                  <a:pt x="1749" y="536"/>
                </a:lnTo>
                <a:cubicBezTo>
                  <a:pt x="1747" y="536"/>
                  <a:pt x="1746" y="538"/>
                  <a:pt x="1746" y="542"/>
                </a:cubicBezTo>
                <a:lnTo>
                  <a:pt x="1747" y="546"/>
                </a:lnTo>
                <a:cubicBezTo>
                  <a:pt x="1747" y="546"/>
                  <a:pt x="1747" y="546"/>
                  <a:pt x="1746" y="546"/>
                </a:cubicBezTo>
                <a:lnTo>
                  <a:pt x="1745" y="546"/>
                </a:lnTo>
                <a:cubicBezTo>
                  <a:pt x="1744" y="546"/>
                  <a:pt x="1743" y="546"/>
                  <a:pt x="1742" y="548"/>
                </a:cubicBezTo>
                <a:cubicBezTo>
                  <a:pt x="1742" y="549"/>
                  <a:pt x="1741" y="550"/>
                  <a:pt x="1741" y="552"/>
                </a:cubicBezTo>
                <a:lnTo>
                  <a:pt x="1742" y="555"/>
                </a:lnTo>
                <a:cubicBezTo>
                  <a:pt x="1742" y="555"/>
                  <a:pt x="1742" y="556"/>
                  <a:pt x="1741" y="556"/>
                </a:cubicBezTo>
                <a:cubicBezTo>
                  <a:pt x="1740" y="556"/>
                  <a:pt x="1739" y="556"/>
                  <a:pt x="1739" y="557"/>
                </a:cubicBezTo>
                <a:lnTo>
                  <a:pt x="1740" y="558"/>
                </a:lnTo>
                <a:cubicBezTo>
                  <a:pt x="1740" y="560"/>
                  <a:pt x="1739" y="561"/>
                  <a:pt x="1738" y="561"/>
                </a:cubicBezTo>
                <a:cubicBezTo>
                  <a:pt x="1738" y="561"/>
                  <a:pt x="1737" y="561"/>
                  <a:pt x="1737" y="562"/>
                </a:cubicBezTo>
                <a:lnTo>
                  <a:pt x="1738" y="564"/>
                </a:lnTo>
                <a:cubicBezTo>
                  <a:pt x="1738" y="565"/>
                  <a:pt x="1737" y="565"/>
                  <a:pt x="1736" y="565"/>
                </a:cubicBezTo>
                <a:cubicBezTo>
                  <a:pt x="1736" y="565"/>
                  <a:pt x="1735" y="566"/>
                  <a:pt x="1735" y="567"/>
                </a:cubicBezTo>
                <a:lnTo>
                  <a:pt x="1736" y="569"/>
                </a:lnTo>
                <a:cubicBezTo>
                  <a:pt x="1736" y="570"/>
                  <a:pt x="1735" y="570"/>
                  <a:pt x="1734" y="570"/>
                </a:cubicBezTo>
                <a:cubicBezTo>
                  <a:pt x="1733" y="570"/>
                  <a:pt x="1733" y="570"/>
                  <a:pt x="1733" y="571"/>
                </a:cubicBezTo>
                <a:lnTo>
                  <a:pt x="1733" y="572"/>
                </a:lnTo>
                <a:cubicBezTo>
                  <a:pt x="1733" y="573"/>
                  <a:pt x="1733" y="574"/>
                  <a:pt x="1732" y="574"/>
                </a:cubicBezTo>
                <a:cubicBezTo>
                  <a:pt x="1731" y="574"/>
                  <a:pt x="1731" y="575"/>
                  <a:pt x="1731" y="576"/>
                </a:cubicBezTo>
                <a:lnTo>
                  <a:pt x="1731" y="578"/>
                </a:lnTo>
                <a:cubicBezTo>
                  <a:pt x="1731" y="579"/>
                  <a:pt x="1731" y="579"/>
                  <a:pt x="1730" y="579"/>
                </a:cubicBezTo>
                <a:cubicBezTo>
                  <a:pt x="1729" y="579"/>
                  <a:pt x="1729" y="580"/>
                  <a:pt x="1728" y="581"/>
                </a:cubicBezTo>
                <a:cubicBezTo>
                  <a:pt x="1726" y="582"/>
                  <a:pt x="1725" y="584"/>
                  <a:pt x="1724" y="587"/>
                </a:cubicBezTo>
                <a:cubicBezTo>
                  <a:pt x="1723" y="589"/>
                  <a:pt x="1723" y="591"/>
                  <a:pt x="1723" y="592"/>
                </a:cubicBezTo>
                <a:lnTo>
                  <a:pt x="1725" y="590"/>
                </a:lnTo>
                <a:cubicBezTo>
                  <a:pt x="1725" y="590"/>
                  <a:pt x="1726" y="591"/>
                  <a:pt x="1726" y="591"/>
                </a:cubicBezTo>
                <a:cubicBezTo>
                  <a:pt x="1726" y="592"/>
                  <a:pt x="1724" y="594"/>
                  <a:pt x="1721" y="598"/>
                </a:cubicBezTo>
                <a:lnTo>
                  <a:pt x="1718" y="601"/>
                </a:lnTo>
                <a:lnTo>
                  <a:pt x="1720" y="600"/>
                </a:lnTo>
                <a:cubicBezTo>
                  <a:pt x="1721" y="600"/>
                  <a:pt x="1721" y="600"/>
                  <a:pt x="1721" y="600"/>
                </a:cubicBezTo>
                <a:cubicBezTo>
                  <a:pt x="1721" y="600"/>
                  <a:pt x="1720" y="602"/>
                  <a:pt x="1719" y="603"/>
                </a:cubicBezTo>
                <a:cubicBezTo>
                  <a:pt x="1718" y="605"/>
                  <a:pt x="1717" y="606"/>
                  <a:pt x="1716" y="607"/>
                </a:cubicBezTo>
                <a:cubicBezTo>
                  <a:pt x="1715" y="608"/>
                  <a:pt x="1715" y="609"/>
                  <a:pt x="1714" y="609"/>
                </a:cubicBezTo>
                <a:cubicBezTo>
                  <a:pt x="1713" y="609"/>
                  <a:pt x="1713" y="609"/>
                  <a:pt x="1713" y="610"/>
                </a:cubicBezTo>
                <a:lnTo>
                  <a:pt x="1714" y="611"/>
                </a:lnTo>
                <a:cubicBezTo>
                  <a:pt x="1714" y="613"/>
                  <a:pt x="1713" y="615"/>
                  <a:pt x="1711" y="617"/>
                </a:cubicBezTo>
                <a:cubicBezTo>
                  <a:pt x="1708" y="620"/>
                  <a:pt x="1707" y="622"/>
                  <a:pt x="1707" y="622"/>
                </a:cubicBezTo>
                <a:lnTo>
                  <a:pt x="1708" y="625"/>
                </a:lnTo>
                <a:cubicBezTo>
                  <a:pt x="1708" y="625"/>
                  <a:pt x="1707" y="627"/>
                  <a:pt x="1706" y="628"/>
                </a:cubicBezTo>
                <a:cubicBezTo>
                  <a:pt x="1704" y="630"/>
                  <a:pt x="1703" y="631"/>
                  <a:pt x="1703" y="632"/>
                </a:cubicBezTo>
                <a:cubicBezTo>
                  <a:pt x="1702" y="632"/>
                  <a:pt x="1702" y="634"/>
                  <a:pt x="1702" y="635"/>
                </a:cubicBezTo>
                <a:cubicBezTo>
                  <a:pt x="1702" y="637"/>
                  <a:pt x="1701" y="637"/>
                  <a:pt x="1700" y="637"/>
                </a:cubicBezTo>
                <a:lnTo>
                  <a:pt x="1699" y="637"/>
                </a:lnTo>
                <a:cubicBezTo>
                  <a:pt x="1698" y="637"/>
                  <a:pt x="1698" y="638"/>
                  <a:pt x="1697" y="639"/>
                </a:cubicBezTo>
                <a:cubicBezTo>
                  <a:pt x="1696" y="640"/>
                  <a:pt x="1696" y="641"/>
                  <a:pt x="1696" y="642"/>
                </a:cubicBezTo>
                <a:cubicBezTo>
                  <a:pt x="1696" y="642"/>
                  <a:pt x="1696" y="642"/>
                  <a:pt x="1696" y="642"/>
                </a:cubicBezTo>
                <a:lnTo>
                  <a:pt x="1698" y="642"/>
                </a:lnTo>
                <a:cubicBezTo>
                  <a:pt x="1698" y="642"/>
                  <a:pt x="1698" y="642"/>
                  <a:pt x="1698" y="642"/>
                </a:cubicBezTo>
                <a:cubicBezTo>
                  <a:pt x="1698" y="644"/>
                  <a:pt x="1697" y="645"/>
                  <a:pt x="1695" y="648"/>
                </a:cubicBezTo>
                <a:lnTo>
                  <a:pt x="1693" y="649"/>
                </a:lnTo>
                <a:cubicBezTo>
                  <a:pt x="1691" y="649"/>
                  <a:pt x="1689" y="650"/>
                  <a:pt x="1689" y="653"/>
                </a:cubicBezTo>
                <a:cubicBezTo>
                  <a:pt x="1689" y="654"/>
                  <a:pt x="1690" y="654"/>
                  <a:pt x="1690" y="654"/>
                </a:cubicBezTo>
                <a:lnTo>
                  <a:pt x="1691" y="653"/>
                </a:lnTo>
                <a:cubicBezTo>
                  <a:pt x="1691" y="653"/>
                  <a:pt x="1692" y="653"/>
                  <a:pt x="1692" y="653"/>
                </a:cubicBezTo>
                <a:cubicBezTo>
                  <a:pt x="1693" y="653"/>
                  <a:pt x="1693" y="653"/>
                  <a:pt x="1693" y="653"/>
                </a:cubicBezTo>
                <a:cubicBezTo>
                  <a:pt x="1693" y="655"/>
                  <a:pt x="1692" y="657"/>
                  <a:pt x="1689" y="659"/>
                </a:cubicBezTo>
                <a:lnTo>
                  <a:pt x="1686" y="660"/>
                </a:lnTo>
                <a:cubicBezTo>
                  <a:pt x="1686" y="660"/>
                  <a:pt x="1686" y="660"/>
                  <a:pt x="1685" y="660"/>
                </a:cubicBezTo>
                <a:cubicBezTo>
                  <a:pt x="1685" y="660"/>
                  <a:pt x="1684" y="660"/>
                  <a:pt x="1682" y="662"/>
                </a:cubicBezTo>
                <a:cubicBezTo>
                  <a:pt x="1681" y="663"/>
                  <a:pt x="1681" y="664"/>
                  <a:pt x="1681" y="665"/>
                </a:cubicBezTo>
                <a:cubicBezTo>
                  <a:pt x="1681" y="666"/>
                  <a:pt x="1681" y="666"/>
                  <a:pt x="1683" y="666"/>
                </a:cubicBezTo>
                <a:lnTo>
                  <a:pt x="1686" y="666"/>
                </a:lnTo>
                <a:cubicBezTo>
                  <a:pt x="1686" y="667"/>
                  <a:pt x="1684" y="667"/>
                  <a:pt x="1682" y="669"/>
                </a:cubicBezTo>
                <a:cubicBezTo>
                  <a:pt x="1679" y="670"/>
                  <a:pt x="1677" y="672"/>
                  <a:pt x="1676" y="675"/>
                </a:cubicBezTo>
                <a:cubicBezTo>
                  <a:pt x="1675" y="679"/>
                  <a:pt x="1673" y="681"/>
                  <a:pt x="1670" y="683"/>
                </a:cubicBezTo>
                <a:cubicBezTo>
                  <a:pt x="1668" y="684"/>
                  <a:pt x="1667" y="685"/>
                  <a:pt x="1667" y="686"/>
                </a:cubicBezTo>
                <a:lnTo>
                  <a:pt x="1667" y="687"/>
                </a:lnTo>
                <a:cubicBezTo>
                  <a:pt x="1667" y="689"/>
                  <a:pt x="1666" y="693"/>
                  <a:pt x="1662" y="699"/>
                </a:cubicBezTo>
                <a:cubicBezTo>
                  <a:pt x="1658" y="708"/>
                  <a:pt x="1656" y="713"/>
                  <a:pt x="1656" y="714"/>
                </a:cubicBezTo>
                <a:cubicBezTo>
                  <a:pt x="1656" y="715"/>
                  <a:pt x="1655" y="716"/>
                  <a:pt x="1655" y="716"/>
                </a:cubicBezTo>
                <a:lnTo>
                  <a:pt x="1654" y="715"/>
                </a:lnTo>
                <a:cubicBezTo>
                  <a:pt x="1652" y="715"/>
                  <a:pt x="1651" y="717"/>
                  <a:pt x="1649" y="720"/>
                </a:cubicBezTo>
                <a:cubicBezTo>
                  <a:pt x="1647" y="723"/>
                  <a:pt x="1646" y="725"/>
                  <a:pt x="1646" y="725"/>
                </a:cubicBezTo>
                <a:cubicBezTo>
                  <a:pt x="1646" y="726"/>
                  <a:pt x="1643" y="730"/>
                  <a:pt x="1637" y="737"/>
                </a:cubicBezTo>
                <a:cubicBezTo>
                  <a:pt x="1618" y="764"/>
                  <a:pt x="1608" y="777"/>
                  <a:pt x="1606" y="777"/>
                </a:cubicBezTo>
                <a:cubicBezTo>
                  <a:pt x="1605" y="777"/>
                  <a:pt x="1605" y="777"/>
                  <a:pt x="1605" y="778"/>
                </a:cubicBezTo>
                <a:lnTo>
                  <a:pt x="1606" y="781"/>
                </a:lnTo>
                <a:cubicBezTo>
                  <a:pt x="1606" y="782"/>
                  <a:pt x="1605" y="783"/>
                  <a:pt x="1604" y="783"/>
                </a:cubicBezTo>
                <a:cubicBezTo>
                  <a:pt x="1603" y="783"/>
                  <a:pt x="1599" y="786"/>
                  <a:pt x="1593" y="792"/>
                </a:cubicBezTo>
                <a:cubicBezTo>
                  <a:pt x="1580" y="804"/>
                  <a:pt x="1568" y="810"/>
                  <a:pt x="1555" y="810"/>
                </a:cubicBezTo>
                <a:close/>
                <a:moveTo>
                  <a:pt x="1614" y="732"/>
                </a:moveTo>
                <a:cubicBezTo>
                  <a:pt x="1614" y="732"/>
                  <a:pt x="1614" y="731"/>
                  <a:pt x="1615" y="731"/>
                </a:cubicBezTo>
                <a:cubicBezTo>
                  <a:pt x="1616" y="730"/>
                  <a:pt x="1617" y="729"/>
                  <a:pt x="1617" y="728"/>
                </a:cubicBezTo>
                <a:cubicBezTo>
                  <a:pt x="1617" y="727"/>
                  <a:pt x="1617" y="727"/>
                  <a:pt x="1616" y="727"/>
                </a:cubicBezTo>
                <a:lnTo>
                  <a:pt x="1615" y="727"/>
                </a:lnTo>
                <a:cubicBezTo>
                  <a:pt x="1613" y="728"/>
                  <a:pt x="1612" y="729"/>
                  <a:pt x="1612" y="730"/>
                </a:cubicBezTo>
                <a:cubicBezTo>
                  <a:pt x="1612" y="731"/>
                  <a:pt x="1613" y="732"/>
                  <a:pt x="1614" y="732"/>
                </a:cubicBezTo>
                <a:close/>
                <a:moveTo>
                  <a:pt x="1590" y="521"/>
                </a:moveTo>
                <a:cubicBezTo>
                  <a:pt x="1592" y="521"/>
                  <a:pt x="1593" y="520"/>
                  <a:pt x="1594" y="518"/>
                </a:cubicBezTo>
                <a:lnTo>
                  <a:pt x="1594" y="517"/>
                </a:lnTo>
                <a:cubicBezTo>
                  <a:pt x="1594" y="515"/>
                  <a:pt x="1594" y="514"/>
                  <a:pt x="1593" y="514"/>
                </a:cubicBezTo>
                <a:cubicBezTo>
                  <a:pt x="1592" y="513"/>
                  <a:pt x="1591" y="513"/>
                  <a:pt x="1591" y="513"/>
                </a:cubicBezTo>
                <a:lnTo>
                  <a:pt x="1591" y="514"/>
                </a:lnTo>
                <a:cubicBezTo>
                  <a:pt x="1592" y="514"/>
                  <a:pt x="1592" y="514"/>
                  <a:pt x="1592" y="515"/>
                </a:cubicBezTo>
                <a:cubicBezTo>
                  <a:pt x="1592" y="516"/>
                  <a:pt x="1591" y="517"/>
                  <a:pt x="1590" y="518"/>
                </a:cubicBezTo>
                <a:lnTo>
                  <a:pt x="1589" y="520"/>
                </a:lnTo>
                <a:cubicBezTo>
                  <a:pt x="1589" y="521"/>
                  <a:pt x="1590" y="521"/>
                  <a:pt x="1590" y="521"/>
                </a:cubicBezTo>
                <a:close/>
                <a:moveTo>
                  <a:pt x="1584" y="546"/>
                </a:moveTo>
                <a:lnTo>
                  <a:pt x="1583" y="544"/>
                </a:lnTo>
                <a:cubicBezTo>
                  <a:pt x="1583" y="543"/>
                  <a:pt x="1584" y="542"/>
                  <a:pt x="1585" y="541"/>
                </a:cubicBezTo>
                <a:cubicBezTo>
                  <a:pt x="1587" y="541"/>
                  <a:pt x="1588" y="539"/>
                  <a:pt x="1588" y="536"/>
                </a:cubicBezTo>
                <a:lnTo>
                  <a:pt x="1588" y="535"/>
                </a:lnTo>
                <a:cubicBezTo>
                  <a:pt x="1587" y="531"/>
                  <a:pt x="1587" y="528"/>
                  <a:pt x="1586" y="528"/>
                </a:cubicBezTo>
                <a:cubicBezTo>
                  <a:pt x="1586" y="528"/>
                  <a:pt x="1585" y="529"/>
                  <a:pt x="1585" y="530"/>
                </a:cubicBezTo>
                <a:cubicBezTo>
                  <a:pt x="1584" y="531"/>
                  <a:pt x="1584" y="532"/>
                  <a:pt x="1584" y="534"/>
                </a:cubicBezTo>
                <a:cubicBezTo>
                  <a:pt x="1584" y="535"/>
                  <a:pt x="1584" y="536"/>
                  <a:pt x="1585" y="537"/>
                </a:cubicBezTo>
                <a:cubicBezTo>
                  <a:pt x="1586" y="538"/>
                  <a:pt x="1587" y="539"/>
                  <a:pt x="1587" y="539"/>
                </a:cubicBezTo>
                <a:lnTo>
                  <a:pt x="1586" y="540"/>
                </a:lnTo>
                <a:lnTo>
                  <a:pt x="1582" y="539"/>
                </a:lnTo>
                <a:cubicBezTo>
                  <a:pt x="1581" y="539"/>
                  <a:pt x="1580" y="540"/>
                  <a:pt x="1580" y="541"/>
                </a:cubicBezTo>
                <a:cubicBezTo>
                  <a:pt x="1580" y="542"/>
                  <a:pt x="1580" y="544"/>
                  <a:pt x="1581" y="545"/>
                </a:cubicBezTo>
                <a:cubicBezTo>
                  <a:pt x="1582" y="546"/>
                  <a:pt x="1583" y="546"/>
                  <a:pt x="1584" y="546"/>
                </a:cubicBezTo>
                <a:close/>
                <a:moveTo>
                  <a:pt x="1569" y="558"/>
                </a:moveTo>
                <a:cubicBezTo>
                  <a:pt x="1570" y="558"/>
                  <a:pt x="1571" y="557"/>
                  <a:pt x="1571" y="556"/>
                </a:cubicBezTo>
                <a:cubicBezTo>
                  <a:pt x="1571" y="554"/>
                  <a:pt x="1571" y="554"/>
                  <a:pt x="1570" y="554"/>
                </a:cubicBezTo>
                <a:cubicBezTo>
                  <a:pt x="1570" y="554"/>
                  <a:pt x="1569" y="554"/>
                  <a:pt x="1568" y="556"/>
                </a:cubicBezTo>
                <a:lnTo>
                  <a:pt x="1568" y="557"/>
                </a:lnTo>
                <a:cubicBezTo>
                  <a:pt x="1568" y="558"/>
                  <a:pt x="1568" y="558"/>
                  <a:pt x="1569" y="558"/>
                </a:cubicBezTo>
                <a:close/>
                <a:moveTo>
                  <a:pt x="1563" y="579"/>
                </a:moveTo>
                <a:cubicBezTo>
                  <a:pt x="1564" y="579"/>
                  <a:pt x="1565" y="578"/>
                  <a:pt x="1565" y="574"/>
                </a:cubicBezTo>
                <a:lnTo>
                  <a:pt x="1565" y="572"/>
                </a:lnTo>
                <a:cubicBezTo>
                  <a:pt x="1565" y="571"/>
                  <a:pt x="1565" y="571"/>
                  <a:pt x="1565" y="571"/>
                </a:cubicBezTo>
                <a:lnTo>
                  <a:pt x="1565" y="571"/>
                </a:lnTo>
                <a:cubicBezTo>
                  <a:pt x="1563" y="572"/>
                  <a:pt x="1563" y="574"/>
                  <a:pt x="1563" y="575"/>
                </a:cubicBezTo>
                <a:cubicBezTo>
                  <a:pt x="1563" y="578"/>
                  <a:pt x="1563" y="579"/>
                  <a:pt x="1563" y="579"/>
                </a:cubicBezTo>
                <a:close/>
                <a:moveTo>
                  <a:pt x="1559" y="595"/>
                </a:moveTo>
                <a:cubicBezTo>
                  <a:pt x="1560" y="595"/>
                  <a:pt x="1560" y="594"/>
                  <a:pt x="1560" y="593"/>
                </a:cubicBezTo>
                <a:lnTo>
                  <a:pt x="1560" y="590"/>
                </a:lnTo>
                <a:cubicBezTo>
                  <a:pt x="1560" y="589"/>
                  <a:pt x="1559" y="589"/>
                  <a:pt x="1559" y="589"/>
                </a:cubicBezTo>
                <a:cubicBezTo>
                  <a:pt x="1558" y="589"/>
                  <a:pt x="1558" y="590"/>
                  <a:pt x="1558" y="591"/>
                </a:cubicBezTo>
                <a:cubicBezTo>
                  <a:pt x="1558" y="593"/>
                  <a:pt x="1559" y="594"/>
                  <a:pt x="1559" y="595"/>
                </a:cubicBezTo>
                <a:close/>
                <a:moveTo>
                  <a:pt x="1552" y="622"/>
                </a:moveTo>
                <a:cubicBezTo>
                  <a:pt x="1553" y="622"/>
                  <a:pt x="1554" y="621"/>
                  <a:pt x="1554" y="617"/>
                </a:cubicBezTo>
                <a:cubicBezTo>
                  <a:pt x="1554" y="615"/>
                  <a:pt x="1554" y="614"/>
                  <a:pt x="1553" y="614"/>
                </a:cubicBezTo>
                <a:cubicBezTo>
                  <a:pt x="1553" y="614"/>
                  <a:pt x="1552" y="614"/>
                  <a:pt x="1552" y="615"/>
                </a:cubicBezTo>
                <a:cubicBezTo>
                  <a:pt x="1550" y="618"/>
                  <a:pt x="1550" y="620"/>
                  <a:pt x="1550" y="620"/>
                </a:cubicBezTo>
                <a:cubicBezTo>
                  <a:pt x="1550" y="622"/>
                  <a:pt x="1550" y="622"/>
                  <a:pt x="1552" y="622"/>
                </a:cubicBezTo>
                <a:close/>
                <a:moveTo>
                  <a:pt x="1550" y="632"/>
                </a:moveTo>
                <a:cubicBezTo>
                  <a:pt x="1551" y="632"/>
                  <a:pt x="1552" y="631"/>
                  <a:pt x="1552" y="630"/>
                </a:cubicBezTo>
                <a:cubicBezTo>
                  <a:pt x="1552" y="628"/>
                  <a:pt x="1551" y="627"/>
                  <a:pt x="1550" y="627"/>
                </a:cubicBezTo>
                <a:cubicBezTo>
                  <a:pt x="1548" y="627"/>
                  <a:pt x="1547" y="628"/>
                  <a:pt x="1547" y="630"/>
                </a:cubicBezTo>
                <a:cubicBezTo>
                  <a:pt x="1547" y="631"/>
                  <a:pt x="1548" y="632"/>
                  <a:pt x="1550" y="632"/>
                </a:cubicBezTo>
                <a:close/>
                <a:moveTo>
                  <a:pt x="1547" y="644"/>
                </a:moveTo>
                <a:cubicBezTo>
                  <a:pt x="1549" y="643"/>
                  <a:pt x="1550" y="642"/>
                  <a:pt x="1550" y="639"/>
                </a:cubicBezTo>
                <a:cubicBezTo>
                  <a:pt x="1550" y="637"/>
                  <a:pt x="1549" y="636"/>
                  <a:pt x="1548" y="636"/>
                </a:cubicBezTo>
                <a:cubicBezTo>
                  <a:pt x="1547" y="636"/>
                  <a:pt x="1547" y="637"/>
                  <a:pt x="1546" y="641"/>
                </a:cubicBezTo>
                <a:lnTo>
                  <a:pt x="1546" y="642"/>
                </a:lnTo>
                <a:cubicBezTo>
                  <a:pt x="1546" y="644"/>
                  <a:pt x="1546" y="644"/>
                  <a:pt x="1547" y="644"/>
                </a:cubicBezTo>
                <a:close/>
                <a:moveTo>
                  <a:pt x="1545" y="655"/>
                </a:moveTo>
                <a:cubicBezTo>
                  <a:pt x="1547" y="655"/>
                  <a:pt x="1547" y="654"/>
                  <a:pt x="1547" y="652"/>
                </a:cubicBezTo>
                <a:cubicBezTo>
                  <a:pt x="1547" y="651"/>
                  <a:pt x="1547" y="650"/>
                  <a:pt x="1545" y="650"/>
                </a:cubicBezTo>
                <a:cubicBezTo>
                  <a:pt x="1544" y="650"/>
                  <a:pt x="1543" y="651"/>
                  <a:pt x="1543" y="652"/>
                </a:cubicBezTo>
                <a:cubicBezTo>
                  <a:pt x="1543" y="654"/>
                  <a:pt x="1544" y="655"/>
                  <a:pt x="1545" y="655"/>
                </a:cubicBezTo>
                <a:close/>
                <a:moveTo>
                  <a:pt x="1543" y="668"/>
                </a:moveTo>
                <a:cubicBezTo>
                  <a:pt x="1545" y="668"/>
                  <a:pt x="1545" y="667"/>
                  <a:pt x="1545" y="666"/>
                </a:cubicBezTo>
                <a:cubicBezTo>
                  <a:pt x="1545" y="664"/>
                  <a:pt x="1545" y="664"/>
                  <a:pt x="1543" y="664"/>
                </a:cubicBezTo>
                <a:cubicBezTo>
                  <a:pt x="1542" y="664"/>
                  <a:pt x="1541" y="664"/>
                  <a:pt x="1541" y="666"/>
                </a:cubicBezTo>
                <a:cubicBezTo>
                  <a:pt x="1541" y="667"/>
                  <a:pt x="1542" y="668"/>
                  <a:pt x="1543" y="668"/>
                </a:cubicBezTo>
                <a:close/>
                <a:moveTo>
                  <a:pt x="1540" y="685"/>
                </a:moveTo>
                <a:cubicBezTo>
                  <a:pt x="1540" y="685"/>
                  <a:pt x="1541" y="684"/>
                  <a:pt x="1542" y="683"/>
                </a:cubicBezTo>
                <a:cubicBezTo>
                  <a:pt x="1543" y="681"/>
                  <a:pt x="1543" y="680"/>
                  <a:pt x="1543" y="678"/>
                </a:cubicBezTo>
                <a:cubicBezTo>
                  <a:pt x="1543" y="676"/>
                  <a:pt x="1543" y="676"/>
                  <a:pt x="1542" y="676"/>
                </a:cubicBezTo>
                <a:lnTo>
                  <a:pt x="1541" y="676"/>
                </a:lnTo>
                <a:cubicBezTo>
                  <a:pt x="1540" y="677"/>
                  <a:pt x="1539" y="679"/>
                  <a:pt x="1539" y="683"/>
                </a:cubicBezTo>
                <a:cubicBezTo>
                  <a:pt x="1539" y="684"/>
                  <a:pt x="1539" y="685"/>
                  <a:pt x="1539" y="685"/>
                </a:cubicBezTo>
                <a:lnTo>
                  <a:pt x="1540" y="685"/>
                </a:lnTo>
                <a:close/>
                <a:moveTo>
                  <a:pt x="1537" y="719"/>
                </a:moveTo>
                <a:cubicBezTo>
                  <a:pt x="1538" y="719"/>
                  <a:pt x="1539" y="716"/>
                  <a:pt x="1539" y="710"/>
                </a:cubicBezTo>
                <a:cubicBezTo>
                  <a:pt x="1539" y="705"/>
                  <a:pt x="1538" y="703"/>
                  <a:pt x="1538" y="703"/>
                </a:cubicBezTo>
                <a:cubicBezTo>
                  <a:pt x="1537" y="703"/>
                  <a:pt x="1537" y="706"/>
                  <a:pt x="1536" y="711"/>
                </a:cubicBezTo>
                <a:lnTo>
                  <a:pt x="1536" y="714"/>
                </a:lnTo>
                <a:cubicBezTo>
                  <a:pt x="1536" y="716"/>
                  <a:pt x="1536" y="717"/>
                  <a:pt x="1536" y="717"/>
                </a:cubicBezTo>
                <a:cubicBezTo>
                  <a:pt x="1536" y="717"/>
                  <a:pt x="1536" y="718"/>
                  <a:pt x="1537" y="719"/>
                </a:cubicBezTo>
                <a:close/>
                <a:moveTo>
                  <a:pt x="1539" y="700"/>
                </a:moveTo>
                <a:cubicBezTo>
                  <a:pt x="1541" y="700"/>
                  <a:pt x="1541" y="698"/>
                  <a:pt x="1541" y="694"/>
                </a:cubicBezTo>
                <a:cubicBezTo>
                  <a:pt x="1541" y="691"/>
                  <a:pt x="1541" y="689"/>
                  <a:pt x="1540" y="689"/>
                </a:cubicBezTo>
                <a:lnTo>
                  <a:pt x="1539" y="690"/>
                </a:lnTo>
                <a:cubicBezTo>
                  <a:pt x="1538" y="691"/>
                  <a:pt x="1538" y="691"/>
                  <a:pt x="1538" y="693"/>
                </a:cubicBezTo>
                <a:cubicBezTo>
                  <a:pt x="1538" y="694"/>
                  <a:pt x="1538" y="695"/>
                  <a:pt x="1538" y="696"/>
                </a:cubicBezTo>
                <a:cubicBezTo>
                  <a:pt x="1538" y="697"/>
                  <a:pt x="1538" y="698"/>
                  <a:pt x="1538" y="698"/>
                </a:cubicBezTo>
                <a:cubicBezTo>
                  <a:pt x="1538" y="699"/>
                  <a:pt x="1538" y="700"/>
                  <a:pt x="1539" y="700"/>
                </a:cubicBezTo>
                <a:close/>
                <a:moveTo>
                  <a:pt x="1543" y="803"/>
                </a:moveTo>
                <a:cubicBezTo>
                  <a:pt x="1545" y="803"/>
                  <a:pt x="1546" y="803"/>
                  <a:pt x="1546" y="803"/>
                </a:cubicBezTo>
                <a:lnTo>
                  <a:pt x="1546" y="802"/>
                </a:lnTo>
                <a:cubicBezTo>
                  <a:pt x="1545" y="801"/>
                  <a:pt x="1544" y="801"/>
                  <a:pt x="1544" y="800"/>
                </a:cubicBezTo>
                <a:cubicBezTo>
                  <a:pt x="1544" y="800"/>
                  <a:pt x="1545" y="799"/>
                  <a:pt x="1546" y="797"/>
                </a:cubicBezTo>
                <a:cubicBezTo>
                  <a:pt x="1547" y="796"/>
                  <a:pt x="1547" y="795"/>
                  <a:pt x="1547" y="795"/>
                </a:cubicBezTo>
                <a:cubicBezTo>
                  <a:pt x="1547" y="795"/>
                  <a:pt x="1545" y="795"/>
                  <a:pt x="1544" y="796"/>
                </a:cubicBezTo>
                <a:cubicBezTo>
                  <a:pt x="1542" y="798"/>
                  <a:pt x="1541" y="799"/>
                  <a:pt x="1540" y="800"/>
                </a:cubicBezTo>
                <a:cubicBezTo>
                  <a:pt x="1539" y="801"/>
                  <a:pt x="1539" y="801"/>
                  <a:pt x="1539" y="802"/>
                </a:cubicBezTo>
                <a:cubicBezTo>
                  <a:pt x="1539" y="803"/>
                  <a:pt x="1540" y="803"/>
                  <a:pt x="1543" y="803"/>
                </a:cubicBezTo>
                <a:close/>
                <a:moveTo>
                  <a:pt x="1543" y="776"/>
                </a:moveTo>
                <a:cubicBezTo>
                  <a:pt x="1543" y="776"/>
                  <a:pt x="1544" y="774"/>
                  <a:pt x="1544" y="771"/>
                </a:cubicBezTo>
                <a:lnTo>
                  <a:pt x="1544" y="769"/>
                </a:lnTo>
                <a:cubicBezTo>
                  <a:pt x="1544" y="764"/>
                  <a:pt x="1545" y="762"/>
                  <a:pt x="1545" y="762"/>
                </a:cubicBezTo>
                <a:cubicBezTo>
                  <a:pt x="1546" y="762"/>
                  <a:pt x="1547" y="762"/>
                  <a:pt x="1547" y="762"/>
                </a:cubicBezTo>
                <a:cubicBezTo>
                  <a:pt x="1547" y="762"/>
                  <a:pt x="1546" y="761"/>
                  <a:pt x="1545" y="760"/>
                </a:cubicBezTo>
                <a:cubicBezTo>
                  <a:pt x="1544" y="759"/>
                  <a:pt x="1543" y="759"/>
                  <a:pt x="1543" y="758"/>
                </a:cubicBezTo>
                <a:cubicBezTo>
                  <a:pt x="1543" y="758"/>
                  <a:pt x="1545" y="758"/>
                  <a:pt x="1547" y="757"/>
                </a:cubicBezTo>
                <a:cubicBezTo>
                  <a:pt x="1549" y="757"/>
                  <a:pt x="1550" y="757"/>
                  <a:pt x="1550" y="757"/>
                </a:cubicBezTo>
                <a:lnTo>
                  <a:pt x="1546" y="755"/>
                </a:lnTo>
                <a:cubicBezTo>
                  <a:pt x="1545" y="754"/>
                  <a:pt x="1544" y="754"/>
                  <a:pt x="1544" y="754"/>
                </a:cubicBezTo>
                <a:cubicBezTo>
                  <a:pt x="1544" y="754"/>
                  <a:pt x="1545" y="753"/>
                  <a:pt x="1547" y="753"/>
                </a:cubicBezTo>
                <a:cubicBezTo>
                  <a:pt x="1548" y="753"/>
                  <a:pt x="1549" y="750"/>
                  <a:pt x="1549" y="742"/>
                </a:cubicBezTo>
                <a:cubicBezTo>
                  <a:pt x="1549" y="734"/>
                  <a:pt x="1550" y="726"/>
                  <a:pt x="1552" y="717"/>
                </a:cubicBezTo>
                <a:lnTo>
                  <a:pt x="1557" y="684"/>
                </a:lnTo>
                <a:cubicBezTo>
                  <a:pt x="1557" y="680"/>
                  <a:pt x="1558" y="679"/>
                  <a:pt x="1558" y="679"/>
                </a:cubicBezTo>
                <a:cubicBezTo>
                  <a:pt x="1558" y="679"/>
                  <a:pt x="1559" y="678"/>
                  <a:pt x="1559" y="676"/>
                </a:cubicBezTo>
                <a:cubicBezTo>
                  <a:pt x="1559" y="675"/>
                  <a:pt x="1559" y="674"/>
                  <a:pt x="1559" y="672"/>
                </a:cubicBezTo>
                <a:lnTo>
                  <a:pt x="1560" y="665"/>
                </a:lnTo>
                <a:cubicBezTo>
                  <a:pt x="1560" y="665"/>
                  <a:pt x="1561" y="662"/>
                  <a:pt x="1562" y="656"/>
                </a:cubicBezTo>
                <a:cubicBezTo>
                  <a:pt x="1562" y="650"/>
                  <a:pt x="1563" y="646"/>
                  <a:pt x="1564" y="644"/>
                </a:cubicBezTo>
                <a:cubicBezTo>
                  <a:pt x="1565" y="640"/>
                  <a:pt x="1565" y="637"/>
                  <a:pt x="1565" y="634"/>
                </a:cubicBezTo>
                <a:lnTo>
                  <a:pt x="1565" y="633"/>
                </a:lnTo>
                <a:cubicBezTo>
                  <a:pt x="1565" y="631"/>
                  <a:pt x="1566" y="630"/>
                  <a:pt x="1567" y="630"/>
                </a:cubicBezTo>
                <a:cubicBezTo>
                  <a:pt x="1568" y="630"/>
                  <a:pt x="1568" y="629"/>
                  <a:pt x="1568" y="628"/>
                </a:cubicBezTo>
                <a:cubicBezTo>
                  <a:pt x="1568" y="628"/>
                  <a:pt x="1568" y="627"/>
                  <a:pt x="1568" y="627"/>
                </a:cubicBezTo>
                <a:cubicBezTo>
                  <a:pt x="1568" y="626"/>
                  <a:pt x="1567" y="625"/>
                  <a:pt x="1566" y="625"/>
                </a:cubicBezTo>
                <a:lnTo>
                  <a:pt x="1564" y="626"/>
                </a:lnTo>
                <a:cubicBezTo>
                  <a:pt x="1564" y="626"/>
                  <a:pt x="1563" y="626"/>
                  <a:pt x="1563" y="625"/>
                </a:cubicBezTo>
                <a:cubicBezTo>
                  <a:pt x="1563" y="624"/>
                  <a:pt x="1564" y="622"/>
                  <a:pt x="1565" y="621"/>
                </a:cubicBezTo>
                <a:cubicBezTo>
                  <a:pt x="1567" y="620"/>
                  <a:pt x="1568" y="620"/>
                  <a:pt x="1569" y="620"/>
                </a:cubicBezTo>
                <a:cubicBezTo>
                  <a:pt x="1570" y="620"/>
                  <a:pt x="1571" y="620"/>
                  <a:pt x="1571" y="619"/>
                </a:cubicBezTo>
                <a:cubicBezTo>
                  <a:pt x="1571" y="619"/>
                  <a:pt x="1570" y="619"/>
                  <a:pt x="1569" y="618"/>
                </a:cubicBezTo>
                <a:cubicBezTo>
                  <a:pt x="1568" y="617"/>
                  <a:pt x="1568" y="615"/>
                  <a:pt x="1568" y="611"/>
                </a:cubicBezTo>
                <a:cubicBezTo>
                  <a:pt x="1568" y="605"/>
                  <a:pt x="1569" y="603"/>
                  <a:pt x="1570" y="603"/>
                </a:cubicBezTo>
                <a:lnTo>
                  <a:pt x="1572" y="603"/>
                </a:lnTo>
                <a:lnTo>
                  <a:pt x="1573" y="603"/>
                </a:lnTo>
                <a:cubicBezTo>
                  <a:pt x="1573" y="602"/>
                  <a:pt x="1572" y="601"/>
                  <a:pt x="1572" y="599"/>
                </a:cubicBezTo>
                <a:cubicBezTo>
                  <a:pt x="1571" y="598"/>
                  <a:pt x="1570" y="597"/>
                  <a:pt x="1570" y="596"/>
                </a:cubicBezTo>
                <a:cubicBezTo>
                  <a:pt x="1570" y="595"/>
                  <a:pt x="1571" y="595"/>
                  <a:pt x="1572" y="595"/>
                </a:cubicBezTo>
                <a:cubicBezTo>
                  <a:pt x="1573" y="595"/>
                  <a:pt x="1573" y="594"/>
                  <a:pt x="1573" y="593"/>
                </a:cubicBezTo>
                <a:lnTo>
                  <a:pt x="1573" y="588"/>
                </a:lnTo>
                <a:cubicBezTo>
                  <a:pt x="1573" y="586"/>
                  <a:pt x="1573" y="585"/>
                  <a:pt x="1574" y="585"/>
                </a:cubicBezTo>
                <a:cubicBezTo>
                  <a:pt x="1575" y="585"/>
                  <a:pt x="1575" y="585"/>
                  <a:pt x="1575" y="583"/>
                </a:cubicBezTo>
                <a:cubicBezTo>
                  <a:pt x="1575" y="582"/>
                  <a:pt x="1575" y="580"/>
                  <a:pt x="1575" y="579"/>
                </a:cubicBezTo>
                <a:cubicBezTo>
                  <a:pt x="1574" y="577"/>
                  <a:pt x="1574" y="576"/>
                  <a:pt x="1574" y="575"/>
                </a:cubicBezTo>
                <a:lnTo>
                  <a:pt x="1574" y="575"/>
                </a:lnTo>
                <a:cubicBezTo>
                  <a:pt x="1575" y="575"/>
                  <a:pt x="1576" y="576"/>
                  <a:pt x="1577" y="577"/>
                </a:cubicBezTo>
                <a:lnTo>
                  <a:pt x="1580" y="579"/>
                </a:lnTo>
                <a:cubicBezTo>
                  <a:pt x="1580" y="579"/>
                  <a:pt x="1579" y="578"/>
                  <a:pt x="1579" y="576"/>
                </a:cubicBezTo>
                <a:cubicBezTo>
                  <a:pt x="1578" y="575"/>
                  <a:pt x="1577" y="573"/>
                  <a:pt x="1577" y="571"/>
                </a:cubicBezTo>
                <a:cubicBezTo>
                  <a:pt x="1577" y="569"/>
                  <a:pt x="1578" y="566"/>
                  <a:pt x="1579" y="561"/>
                </a:cubicBezTo>
                <a:cubicBezTo>
                  <a:pt x="1580" y="557"/>
                  <a:pt x="1580" y="554"/>
                  <a:pt x="1580" y="552"/>
                </a:cubicBezTo>
                <a:cubicBezTo>
                  <a:pt x="1580" y="551"/>
                  <a:pt x="1580" y="550"/>
                  <a:pt x="1579" y="550"/>
                </a:cubicBezTo>
                <a:cubicBezTo>
                  <a:pt x="1579" y="550"/>
                  <a:pt x="1578" y="550"/>
                  <a:pt x="1578" y="551"/>
                </a:cubicBezTo>
                <a:cubicBezTo>
                  <a:pt x="1577" y="553"/>
                  <a:pt x="1577" y="554"/>
                  <a:pt x="1576" y="556"/>
                </a:cubicBezTo>
                <a:cubicBezTo>
                  <a:pt x="1576" y="557"/>
                  <a:pt x="1576" y="559"/>
                  <a:pt x="1575" y="560"/>
                </a:cubicBezTo>
                <a:cubicBezTo>
                  <a:pt x="1575" y="561"/>
                  <a:pt x="1574" y="562"/>
                  <a:pt x="1574" y="563"/>
                </a:cubicBezTo>
                <a:cubicBezTo>
                  <a:pt x="1570" y="566"/>
                  <a:pt x="1565" y="581"/>
                  <a:pt x="1560" y="607"/>
                </a:cubicBezTo>
                <a:cubicBezTo>
                  <a:pt x="1555" y="634"/>
                  <a:pt x="1551" y="663"/>
                  <a:pt x="1547" y="694"/>
                </a:cubicBezTo>
                <a:cubicBezTo>
                  <a:pt x="1542" y="725"/>
                  <a:pt x="1540" y="748"/>
                  <a:pt x="1540" y="763"/>
                </a:cubicBezTo>
                <a:cubicBezTo>
                  <a:pt x="1540" y="772"/>
                  <a:pt x="1541" y="776"/>
                  <a:pt x="1543" y="776"/>
                </a:cubicBezTo>
                <a:close/>
                <a:moveTo>
                  <a:pt x="1555" y="783"/>
                </a:moveTo>
                <a:cubicBezTo>
                  <a:pt x="1556" y="783"/>
                  <a:pt x="1556" y="780"/>
                  <a:pt x="1556" y="774"/>
                </a:cubicBezTo>
                <a:lnTo>
                  <a:pt x="1556" y="770"/>
                </a:lnTo>
                <a:cubicBezTo>
                  <a:pt x="1556" y="767"/>
                  <a:pt x="1556" y="764"/>
                  <a:pt x="1557" y="763"/>
                </a:cubicBezTo>
                <a:cubicBezTo>
                  <a:pt x="1557" y="762"/>
                  <a:pt x="1557" y="762"/>
                  <a:pt x="1557" y="761"/>
                </a:cubicBezTo>
                <a:cubicBezTo>
                  <a:pt x="1557" y="760"/>
                  <a:pt x="1557" y="760"/>
                  <a:pt x="1556" y="760"/>
                </a:cubicBezTo>
                <a:cubicBezTo>
                  <a:pt x="1555" y="760"/>
                  <a:pt x="1554" y="758"/>
                  <a:pt x="1553" y="755"/>
                </a:cubicBezTo>
                <a:lnTo>
                  <a:pt x="1553" y="753"/>
                </a:lnTo>
                <a:cubicBezTo>
                  <a:pt x="1552" y="753"/>
                  <a:pt x="1552" y="756"/>
                  <a:pt x="1552" y="762"/>
                </a:cubicBezTo>
                <a:cubicBezTo>
                  <a:pt x="1552" y="769"/>
                  <a:pt x="1553" y="775"/>
                  <a:pt x="1554" y="780"/>
                </a:cubicBezTo>
                <a:lnTo>
                  <a:pt x="1555" y="783"/>
                </a:lnTo>
                <a:close/>
                <a:moveTo>
                  <a:pt x="1567" y="805"/>
                </a:moveTo>
                <a:lnTo>
                  <a:pt x="1576" y="804"/>
                </a:lnTo>
                <a:lnTo>
                  <a:pt x="1576" y="803"/>
                </a:lnTo>
                <a:cubicBezTo>
                  <a:pt x="1576" y="803"/>
                  <a:pt x="1575" y="802"/>
                  <a:pt x="1573" y="800"/>
                </a:cubicBezTo>
                <a:cubicBezTo>
                  <a:pt x="1571" y="799"/>
                  <a:pt x="1570" y="798"/>
                  <a:pt x="1568" y="798"/>
                </a:cubicBezTo>
                <a:cubicBezTo>
                  <a:pt x="1567" y="798"/>
                  <a:pt x="1566" y="799"/>
                  <a:pt x="1565" y="799"/>
                </a:cubicBezTo>
                <a:cubicBezTo>
                  <a:pt x="1562" y="801"/>
                  <a:pt x="1561" y="802"/>
                  <a:pt x="1561" y="803"/>
                </a:cubicBezTo>
                <a:cubicBezTo>
                  <a:pt x="1561" y="804"/>
                  <a:pt x="1563" y="805"/>
                  <a:pt x="1567" y="805"/>
                </a:cubicBezTo>
                <a:close/>
                <a:moveTo>
                  <a:pt x="1714" y="565"/>
                </a:moveTo>
                <a:cubicBezTo>
                  <a:pt x="1716" y="565"/>
                  <a:pt x="1717" y="564"/>
                  <a:pt x="1717" y="563"/>
                </a:cubicBezTo>
                <a:cubicBezTo>
                  <a:pt x="1717" y="561"/>
                  <a:pt x="1717" y="561"/>
                  <a:pt x="1716" y="561"/>
                </a:cubicBezTo>
                <a:cubicBezTo>
                  <a:pt x="1715" y="561"/>
                  <a:pt x="1715" y="561"/>
                  <a:pt x="1714" y="562"/>
                </a:cubicBezTo>
                <a:cubicBezTo>
                  <a:pt x="1714" y="563"/>
                  <a:pt x="1714" y="563"/>
                  <a:pt x="1714" y="564"/>
                </a:cubicBezTo>
                <a:cubicBezTo>
                  <a:pt x="1714" y="565"/>
                  <a:pt x="1714" y="565"/>
                  <a:pt x="1714" y="565"/>
                </a:cubicBezTo>
                <a:close/>
                <a:moveTo>
                  <a:pt x="1744" y="491"/>
                </a:moveTo>
                <a:lnTo>
                  <a:pt x="1745" y="490"/>
                </a:lnTo>
                <a:cubicBezTo>
                  <a:pt x="1745" y="489"/>
                  <a:pt x="1744" y="488"/>
                  <a:pt x="1743" y="487"/>
                </a:cubicBezTo>
                <a:cubicBezTo>
                  <a:pt x="1742" y="485"/>
                  <a:pt x="1742" y="485"/>
                  <a:pt x="1741" y="485"/>
                </a:cubicBezTo>
                <a:lnTo>
                  <a:pt x="1741" y="485"/>
                </a:lnTo>
                <a:cubicBezTo>
                  <a:pt x="1741" y="486"/>
                  <a:pt x="1742" y="487"/>
                  <a:pt x="1742" y="488"/>
                </a:cubicBezTo>
                <a:cubicBezTo>
                  <a:pt x="1743" y="490"/>
                  <a:pt x="1743" y="491"/>
                  <a:pt x="1744" y="491"/>
                </a:cubicBezTo>
                <a:close/>
                <a:moveTo>
                  <a:pt x="1750" y="533"/>
                </a:moveTo>
                <a:cubicBezTo>
                  <a:pt x="1751" y="533"/>
                  <a:pt x="1751" y="532"/>
                  <a:pt x="1752" y="529"/>
                </a:cubicBezTo>
                <a:lnTo>
                  <a:pt x="1753" y="527"/>
                </a:lnTo>
                <a:cubicBezTo>
                  <a:pt x="1753" y="527"/>
                  <a:pt x="1753" y="527"/>
                  <a:pt x="1752" y="527"/>
                </a:cubicBezTo>
                <a:lnTo>
                  <a:pt x="1752" y="527"/>
                </a:lnTo>
                <a:cubicBezTo>
                  <a:pt x="1751" y="528"/>
                  <a:pt x="1751" y="528"/>
                  <a:pt x="1750" y="529"/>
                </a:cubicBezTo>
                <a:cubicBezTo>
                  <a:pt x="1750" y="529"/>
                  <a:pt x="1749" y="530"/>
                  <a:pt x="1749" y="531"/>
                </a:cubicBezTo>
                <a:cubicBezTo>
                  <a:pt x="1749" y="532"/>
                  <a:pt x="1750" y="533"/>
                  <a:pt x="1750" y="533"/>
                </a:cubicBezTo>
                <a:close/>
                <a:moveTo>
                  <a:pt x="1752" y="501"/>
                </a:moveTo>
                <a:lnTo>
                  <a:pt x="1755" y="497"/>
                </a:lnTo>
                <a:cubicBezTo>
                  <a:pt x="1757" y="495"/>
                  <a:pt x="1758" y="492"/>
                  <a:pt x="1758" y="491"/>
                </a:cubicBezTo>
                <a:cubicBezTo>
                  <a:pt x="1758" y="490"/>
                  <a:pt x="1758" y="490"/>
                  <a:pt x="1758" y="490"/>
                </a:cubicBezTo>
                <a:cubicBezTo>
                  <a:pt x="1757" y="490"/>
                  <a:pt x="1756" y="492"/>
                  <a:pt x="1754" y="497"/>
                </a:cubicBezTo>
                <a:lnTo>
                  <a:pt x="1752" y="500"/>
                </a:lnTo>
                <a:lnTo>
                  <a:pt x="1752" y="501"/>
                </a:lnTo>
                <a:close/>
                <a:moveTo>
                  <a:pt x="1757" y="516"/>
                </a:moveTo>
                <a:cubicBezTo>
                  <a:pt x="1758" y="516"/>
                  <a:pt x="1758" y="515"/>
                  <a:pt x="1759" y="512"/>
                </a:cubicBezTo>
                <a:cubicBezTo>
                  <a:pt x="1759" y="510"/>
                  <a:pt x="1760" y="508"/>
                  <a:pt x="1761" y="506"/>
                </a:cubicBezTo>
                <a:cubicBezTo>
                  <a:pt x="1762" y="504"/>
                  <a:pt x="1765" y="497"/>
                  <a:pt x="1769" y="486"/>
                </a:cubicBezTo>
                <a:cubicBezTo>
                  <a:pt x="1779" y="459"/>
                  <a:pt x="1788" y="435"/>
                  <a:pt x="1794" y="414"/>
                </a:cubicBezTo>
                <a:cubicBezTo>
                  <a:pt x="1798" y="402"/>
                  <a:pt x="1800" y="392"/>
                  <a:pt x="1803" y="382"/>
                </a:cubicBezTo>
                <a:cubicBezTo>
                  <a:pt x="1805" y="372"/>
                  <a:pt x="1806" y="365"/>
                  <a:pt x="1806" y="362"/>
                </a:cubicBezTo>
                <a:cubicBezTo>
                  <a:pt x="1806" y="360"/>
                  <a:pt x="1806" y="360"/>
                  <a:pt x="1805" y="360"/>
                </a:cubicBezTo>
                <a:cubicBezTo>
                  <a:pt x="1805" y="360"/>
                  <a:pt x="1804" y="360"/>
                  <a:pt x="1803" y="362"/>
                </a:cubicBezTo>
                <a:cubicBezTo>
                  <a:pt x="1803" y="363"/>
                  <a:pt x="1802" y="365"/>
                  <a:pt x="1802" y="367"/>
                </a:cubicBezTo>
                <a:lnTo>
                  <a:pt x="1803" y="371"/>
                </a:lnTo>
                <a:cubicBezTo>
                  <a:pt x="1803" y="372"/>
                  <a:pt x="1802" y="373"/>
                  <a:pt x="1801" y="374"/>
                </a:cubicBezTo>
                <a:cubicBezTo>
                  <a:pt x="1801" y="375"/>
                  <a:pt x="1800" y="375"/>
                  <a:pt x="1800" y="376"/>
                </a:cubicBezTo>
                <a:lnTo>
                  <a:pt x="1801" y="378"/>
                </a:lnTo>
                <a:cubicBezTo>
                  <a:pt x="1801" y="379"/>
                  <a:pt x="1800" y="379"/>
                  <a:pt x="1799" y="379"/>
                </a:cubicBezTo>
                <a:cubicBezTo>
                  <a:pt x="1798" y="379"/>
                  <a:pt x="1798" y="380"/>
                  <a:pt x="1798" y="382"/>
                </a:cubicBezTo>
                <a:lnTo>
                  <a:pt x="1798" y="387"/>
                </a:lnTo>
                <a:cubicBezTo>
                  <a:pt x="1798" y="388"/>
                  <a:pt x="1798" y="389"/>
                  <a:pt x="1797" y="390"/>
                </a:cubicBezTo>
                <a:cubicBezTo>
                  <a:pt x="1796" y="391"/>
                  <a:pt x="1795" y="393"/>
                  <a:pt x="1794" y="397"/>
                </a:cubicBezTo>
                <a:cubicBezTo>
                  <a:pt x="1793" y="401"/>
                  <a:pt x="1791" y="407"/>
                  <a:pt x="1788" y="416"/>
                </a:cubicBezTo>
                <a:cubicBezTo>
                  <a:pt x="1780" y="438"/>
                  <a:pt x="1775" y="452"/>
                  <a:pt x="1772" y="456"/>
                </a:cubicBezTo>
                <a:cubicBezTo>
                  <a:pt x="1771" y="457"/>
                  <a:pt x="1770" y="458"/>
                  <a:pt x="1770" y="459"/>
                </a:cubicBezTo>
                <a:cubicBezTo>
                  <a:pt x="1770" y="460"/>
                  <a:pt x="1771" y="460"/>
                  <a:pt x="1772" y="461"/>
                </a:cubicBezTo>
                <a:cubicBezTo>
                  <a:pt x="1773" y="462"/>
                  <a:pt x="1773" y="463"/>
                  <a:pt x="1773" y="464"/>
                </a:cubicBezTo>
                <a:cubicBezTo>
                  <a:pt x="1773" y="465"/>
                  <a:pt x="1773" y="465"/>
                  <a:pt x="1771" y="466"/>
                </a:cubicBezTo>
                <a:cubicBezTo>
                  <a:pt x="1771" y="466"/>
                  <a:pt x="1771" y="465"/>
                  <a:pt x="1770" y="465"/>
                </a:cubicBezTo>
                <a:cubicBezTo>
                  <a:pt x="1769" y="465"/>
                  <a:pt x="1769" y="465"/>
                  <a:pt x="1768" y="465"/>
                </a:cubicBezTo>
                <a:cubicBezTo>
                  <a:pt x="1767" y="465"/>
                  <a:pt x="1767" y="465"/>
                  <a:pt x="1767" y="466"/>
                </a:cubicBezTo>
                <a:cubicBezTo>
                  <a:pt x="1766" y="472"/>
                  <a:pt x="1765" y="477"/>
                  <a:pt x="1761" y="480"/>
                </a:cubicBezTo>
                <a:cubicBezTo>
                  <a:pt x="1760" y="482"/>
                  <a:pt x="1759" y="484"/>
                  <a:pt x="1759" y="485"/>
                </a:cubicBezTo>
                <a:cubicBezTo>
                  <a:pt x="1759" y="486"/>
                  <a:pt x="1759" y="487"/>
                  <a:pt x="1760" y="487"/>
                </a:cubicBezTo>
                <a:cubicBezTo>
                  <a:pt x="1760" y="487"/>
                  <a:pt x="1760" y="486"/>
                  <a:pt x="1760" y="485"/>
                </a:cubicBezTo>
                <a:cubicBezTo>
                  <a:pt x="1760" y="484"/>
                  <a:pt x="1761" y="483"/>
                  <a:pt x="1761" y="483"/>
                </a:cubicBezTo>
                <a:lnTo>
                  <a:pt x="1764" y="484"/>
                </a:lnTo>
                <a:lnTo>
                  <a:pt x="1764" y="482"/>
                </a:lnTo>
                <a:cubicBezTo>
                  <a:pt x="1764" y="481"/>
                  <a:pt x="1765" y="480"/>
                  <a:pt x="1766" y="478"/>
                </a:cubicBezTo>
                <a:cubicBezTo>
                  <a:pt x="1767" y="477"/>
                  <a:pt x="1768" y="476"/>
                  <a:pt x="1769" y="476"/>
                </a:cubicBezTo>
                <a:lnTo>
                  <a:pt x="1769" y="477"/>
                </a:lnTo>
                <a:cubicBezTo>
                  <a:pt x="1769" y="478"/>
                  <a:pt x="1768" y="480"/>
                  <a:pt x="1766" y="485"/>
                </a:cubicBezTo>
                <a:cubicBezTo>
                  <a:pt x="1765" y="489"/>
                  <a:pt x="1764" y="491"/>
                  <a:pt x="1763" y="491"/>
                </a:cubicBezTo>
                <a:cubicBezTo>
                  <a:pt x="1762" y="491"/>
                  <a:pt x="1761" y="493"/>
                  <a:pt x="1761" y="498"/>
                </a:cubicBezTo>
                <a:cubicBezTo>
                  <a:pt x="1760" y="502"/>
                  <a:pt x="1760" y="505"/>
                  <a:pt x="1758" y="507"/>
                </a:cubicBezTo>
                <a:cubicBezTo>
                  <a:pt x="1757" y="508"/>
                  <a:pt x="1756" y="511"/>
                  <a:pt x="1756" y="513"/>
                </a:cubicBezTo>
                <a:cubicBezTo>
                  <a:pt x="1756" y="515"/>
                  <a:pt x="1756" y="516"/>
                  <a:pt x="1757" y="516"/>
                </a:cubicBezTo>
                <a:close/>
                <a:moveTo>
                  <a:pt x="1531" y="757"/>
                </a:moveTo>
                <a:cubicBezTo>
                  <a:pt x="1530" y="757"/>
                  <a:pt x="1529" y="757"/>
                  <a:pt x="1529" y="757"/>
                </a:cubicBezTo>
                <a:lnTo>
                  <a:pt x="1530" y="756"/>
                </a:lnTo>
                <a:lnTo>
                  <a:pt x="1532" y="755"/>
                </a:lnTo>
                <a:cubicBezTo>
                  <a:pt x="1533" y="755"/>
                  <a:pt x="1534" y="756"/>
                  <a:pt x="1534" y="756"/>
                </a:cubicBezTo>
                <a:cubicBezTo>
                  <a:pt x="1534" y="757"/>
                  <a:pt x="1533" y="757"/>
                  <a:pt x="1531" y="757"/>
                </a:cubicBezTo>
                <a:close/>
                <a:moveTo>
                  <a:pt x="1626" y="707"/>
                </a:moveTo>
                <a:cubicBezTo>
                  <a:pt x="1624" y="707"/>
                  <a:pt x="1624" y="706"/>
                  <a:pt x="1624" y="705"/>
                </a:cubicBezTo>
                <a:cubicBezTo>
                  <a:pt x="1624" y="703"/>
                  <a:pt x="1624" y="703"/>
                  <a:pt x="1626" y="703"/>
                </a:cubicBezTo>
                <a:cubicBezTo>
                  <a:pt x="1627" y="703"/>
                  <a:pt x="1628" y="703"/>
                  <a:pt x="1628" y="705"/>
                </a:cubicBezTo>
                <a:cubicBezTo>
                  <a:pt x="1628" y="706"/>
                  <a:pt x="1627" y="707"/>
                  <a:pt x="1626" y="707"/>
                </a:cubicBezTo>
                <a:close/>
                <a:moveTo>
                  <a:pt x="1632" y="677"/>
                </a:moveTo>
                <a:lnTo>
                  <a:pt x="1631" y="676"/>
                </a:lnTo>
                <a:cubicBezTo>
                  <a:pt x="1631" y="675"/>
                  <a:pt x="1633" y="672"/>
                  <a:pt x="1636" y="667"/>
                </a:cubicBezTo>
                <a:lnTo>
                  <a:pt x="1638" y="666"/>
                </a:lnTo>
                <a:lnTo>
                  <a:pt x="1638" y="666"/>
                </a:lnTo>
                <a:cubicBezTo>
                  <a:pt x="1638" y="668"/>
                  <a:pt x="1637" y="670"/>
                  <a:pt x="1634" y="674"/>
                </a:cubicBezTo>
                <a:cubicBezTo>
                  <a:pt x="1633" y="676"/>
                  <a:pt x="1632" y="677"/>
                  <a:pt x="1632" y="677"/>
                </a:cubicBezTo>
                <a:close/>
                <a:moveTo>
                  <a:pt x="1716" y="515"/>
                </a:moveTo>
                <a:lnTo>
                  <a:pt x="1716" y="511"/>
                </a:lnTo>
                <a:cubicBezTo>
                  <a:pt x="1717" y="509"/>
                  <a:pt x="1718" y="508"/>
                  <a:pt x="1720" y="508"/>
                </a:cubicBezTo>
                <a:cubicBezTo>
                  <a:pt x="1720" y="508"/>
                  <a:pt x="1720" y="508"/>
                  <a:pt x="1720" y="509"/>
                </a:cubicBezTo>
                <a:cubicBezTo>
                  <a:pt x="1720" y="509"/>
                  <a:pt x="1720" y="510"/>
                  <a:pt x="1719" y="511"/>
                </a:cubicBezTo>
                <a:cubicBezTo>
                  <a:pt x="1717" y="514"/>
                  <a:pt x="1716" y="515"/>
                  <a:pt x="1716" y="515"/>
                </a:cubicBezTo>
                <a:close/>
                <a:moveTo>
                  <a:pt x="1727" y="494"/>
                </a:moveTo>
                <a:cubicBezTo>
                  <a:pt x="1726" y="494"/>
                  <a:pt x="1726" y="493"/>
                  <a:pt x="1726" y="490"/>
                </a:cubicBezTo>
                <a:cubicBezTo>
                  <a:pt x="1726" y="489"/>
                  <a:pt x="1726" y="488"/>
                  <a:pt x="1727" y="488"/>
                </a:cubicBezTo>
                <a:cubicBezTo>
                  <a:pt x="1728" y="488"/>
                  <a:pt x="1729" y="489"/>
                  <a:pt x="1729" y="491"/>
                </a:cubicBezTo>
                <a:lnTo>
                  <a:pt x="1729" y="492"/>
                </a:lnTo>
                <a:cubicBezTo>
                  <a:pt x="1728" y="493"/>
                  <a:pt x="1727" y="494"/>
                  <a:pt x="1727" y="494"/>
                </a:cubicBezTo>
                <a:close/>
                <a:moveTo>
                  <a:pt x="1712" y="531"/>
                </a:moveTo>
                <a:cubicBezTo>
                  <a:pt x="1711" y="531"/>
                  <a:pt x="1711" y="531"/>
                  <a:pt x="1711" y="530"/>
                </a:cubicBezTo>
                <a:cubicBezTo>
                  <a:pt x="1710" y="529"/>
                  <a:pt x="1710" y="529"/>
                  <a:pt x="1709" y="528"/>
                </a:cubicBezTo>
                <a:cubicBezTo>
                  <a:pt x="1709" y="528"/>
                  <a:pt x="1709" y="528"/>
                  <a:pt x="1709" y="527"/>
                </a:cubicBezTo>
                <a:cubicBezTo>
                  <a:pt x="1709" y="527"/>
                  <a:pt x="1709" y="526"/>
                  <a:pt x="1710" y="526"/>
                </a:cubicBezTo>
                <a:cubicBezTo>
                  <a:pt x="1712" y="526"/>
                  <a:pt x="1713" y="527"/>
                  <a:pt x="1713" y="528"/>
                </a:cubicBezTo>
                <a:cubicBezTo>
                  <a:pt x="1713" y="530"/>
                  <a:pt x="1712" y="531"/>
                  <a:pt x="1712" y="531"/>
                </a:cubicBezTo>
                <a:close/>
                <a:moveTo>
                  <a:pt x="1735" y="470"/>
                </a:moveTo>
                <a:cubicBezTo>
                  <a:pt x="1734" y="470"/>
                  <a:pt x="1734" y="470"/>
                  <a:pt x="1734" y="469"/>
                </a:cubicBezTo>
                <a:cubicBezTo>
                  <a:pt x="1734" y="468"/>
                  <a:pt x="1735" y="467"/>
                  <a:pt x="1736" y="466"/>
                </a:cubicBezTo>
                <a:cubicBezTo>
                  <a:pt x="1737" y="465"/>
                  <a:pt x="1738" y="464"/>
                  <a:pt x="1739" y="464"/>
                </a:cubicBezTo>
                <a:cubicBezTo>
                  <a:pt x="1739" y="464"/>
                  <a:pt x="1740" y="465"/>
                  <a:pt x="1740" y="465"/>
                </a:cubicBezTo>
                <a:cubicBezTo>
                  <a:pt x="1740" y="465"/>
                  <a:pt x="1740" y="466"/>
                  <a:pt x="1739" y="467"/>
                </a:cubicBezTo>
                <a:cubicBezTo>
                  <a:pt x="1739" y="468"/>
                  <a:pt x="1738" y="468"/>
                  <a:pt x="1738" y="469"/>
                </a:cubicBezTo>
                <a:cubicBezTo>
                  <a:pt x="1737" y="470"/>
                  <a:pt x="1736" y="470"/>
                  <a:pt x="1735" y="470"/>
                </a:cubicBezTo>
                <a:close/>
                <a:moveTo>
                  <a:pt x="1739" y="462"/>
                </a:moveTo>
                <a:cubicBezTo>
                  <a:pt x="1739" y="462"/>
                  <a:pt x="1738" y="461"/>
                  <a:pt x="1738" y="460"/>
                </a:cubicBezTo>
                <a:cubicBezTo>
                  <a:pt x="1738" y="458"/>
                  <a:pt x="1739" y="457"/>
                  <a:pt x="1741" y="457"/>
                </a:cubicBezTo>
                <a:cubicBezTo>
                  <a:pt x="1742" y="457"/>
                  <a:pt x="1742" y="457"/>
                  <a:pt x="1742" y="458"/>
                </a:cubicBezTo>
                <a:lnTo>
                  <a:pt x="1742" y="460"/>
                </a:lnTo>
                <a:cubicBezTo>
                  <a:pt x="1741" y="461"/>
                  <a:pt x="1740" y="462"/>
                  <a:pt x="1739" y="462"/>
                </a:cubicBezTo>
                <a:close/>
                <a:moveTo>
                  <a:pt x="1554" y="554"/>
                </a:moveTo>
                <a:cubicBezTo>
                  <a:pt x="1553" y="554"/>
                  <a:pt x="1552" y="553"/>
                  <a:pt x="1551" y="552"/>
                </a:cubicBezTo>
                <a:lnTo>
                  <a:pt x="1551" y="551"/>
                </a:lnTo>
                <a:cubicBezTo>
                  <a:pt x="1551" y="549"/>
                  <a:pt x="1552" y="544"/>
                  <a:pt x="1555" y="535"/>
                </a:cubicBezTo>
                <a:cubicBezTo>
                  <a:pt x="1558" y="527"/>
                  <a:pt x="1559" y="523"/>
                  <a:pt x="1559" y="521"/>
                </a:cubicBezTo>
                <a:cubicBezTo>
                  <a:pt x="1559" y="521"/>
                  <a:pt x="1560" y="519"/>
                  <a:pt x="1561" y="515"/>
                </a:cubicBezTo>
                <a:cubicBezTo>
                  <a:pt x="1570" y="497"/>
                  <a:pt x="1575" y="487"/>
                  <a:pt x="1577" y="487"/>
                </a:cubicBezTo>
                <a:cubicBezTo>
                  <a:pt x="1580" y="487"/>
                  <a:pt x="1582" y="491"/>
                  <a:pt x="1582" y="497"/>
                </a:cubicBezTo>
                <a:cubicBezTo>
                  <a:pt x="1582" y="501"/>
                  <a:pt x="1581" y="504"/>
                  <a:pt x="1580" y="508"/>
                </a:cubicBezTo>
                <a:lnTo>
                  <a:pt x="1577" y="506"/>
                </a:lnTo>
                <a:cubicBezTo>
                  <a:pt x="1575" y="506"/>
                  <a:pt x="1571" y="512"/>
                  <a:pt x="1565" y="526"/>
                </a:cubicBezTo>
                <a:cubicBezTo>
                  <a:pt x="1558" y="539"/>
                  <a:pt x="1555" y="547"/>
                  <a:pt x="1555" y="551"/>
                </a:cubicBezTo>
                <a:lnTo>
                  <a:pt x="1555" y="553"/>
                </a:lnTo>
                <a:cubicBezTo>
                  <a:pt x="1555" y="553"/>
                  <a:pt x="1555" y="554"/>
                  <a:pt x="1554" y="554"/>
                </a:cubicBezTo>
                <a:close/>
                <a:moveTo>
                  <a:pt x="2155" y="589"/>
                </a:moveTo>
                <a:cubicBezTo>
                  <a:pt x="2154" y="589"/>
                  <a:pt x="2154" y="589"/>
                  <a:pt x="2153" y="588"/>
                </a:cubicBezTo>
                <a:cubicBezTo>
                  <a:pt x="2153" y="587"/>
                  <a:pt x="2152" y="586"/>
                  <a:pt x="2152" y="585"/>
                </a:cubicBezTo>
                <a:cubicBezTo>
                  <a:pt x="2152" y="585"/>
                  <a:pt x="2151" y="584"/>
                  <a:pt x="2151" y="583"/>
                </a:cubicBezTo>
                <a:lnTo>
                  <a:pt x="2152" y="583"/>
                </a:lnTo>
                <a:lnTo>
                  <a:pt x="2154" y="585"/>
                </a:lnTo>
                <a:cubicBezTo>
                  <a:pt x="2155" y="586"/>
                  <a:pt x="2155" y="587"/>
                  <a:pt x="2155" y="588"/>
                </a:cubicBezTo>
                <a:lnTo>
                  <a:pt x="2155" y="589"/>
                </a:lnTo>
                <a:close/>
                <a:moveTo>
                  <a:pt x="1841" y="595"/>
                </a:moveTo>
                <a:cubicBezTo>
                  <a:pt x="1840" y="595"/>
                  <a:pt x="1840" y="595"/>
                  <a:pt x="1839" y="594"/>
                </a:cubicBezTo>
                <a:cubicBezTo>
                  <a:pt x="1838" y="593"/>
                  <a:pt x="1838" y="592"/>
                  <a:pt x="1838" y="591"/>
                </a:cubicBezTo>
                <a:cubicBezTo>
                  <a:pt x="1838" y="589"/>
                  <a:pt x="1838" y="587"/>
                  <a:pt x="1840" y="584"/>
                </a:cubicBezTo>
                <a:cubicBezTo>
                  <a:pt x="1841" y="582"/>
                  <a:pt x="1842" y="580"/>
                  <a:pt x="1842" y="580"/>
                </a:cubicBezTo>
                <a:lnTo>
                  <a:pt x="1844" y="586"/>
                </a:lnTo>
                <a:lnTo>
                  <a:pt x="1844" y="588"/>
                </a:lnTo>
                <a:cubicBezTo>
                  <a:pt x="1844" y="593"/>
                  <a:pt x="1843" y="595"/>
                  <a:pt x="1841" y="595"/>
                </a:cubicBezTo>
                <a:close/>
                <a:moveTo>
                  <a:pt x="1857" y="565"/>
                </a:moveTo>
                <a:cubicBezTo>
                  <a:pt x="1857" y="565"/>
                  <a:pt x="1856" y="564"/>
                  <a:pt x="1856" y="563"/>
                </a:cubicBezTo>
                <a:cubicBezTo>
                  <a:pt x="1855" y="563"/>
                  <a:pt x="1855" y="563"/>
                  <a:pt x="1854" y="562"/>
                </a:cubicBezTo>
                <a:lnTo>
                  <a:pt x="1854" y="561"/>
                </a:lnTo>
                <a:cubicBezTo>
                  <a:pt x="1854" y="560"/>
                  <a:pt x="1854" y="560"/>
                  <a:pt x="1855" y="560"/>
                </a:cubicBezTo>
                <a:cubicBezTo>
                  <a:pt x="1857" y="560"/>
                  <a:pt x="1858" y="561"/>
                  <a:pt x="1858" y="562"/>
                </a:cubicBezTo>
                <a:cubicBezTo>
                  <a:pt x="1858" y="564"/>
                  <a:pt x="1857" y="565"/>
                  <a:pt x="1857" y="565"/>
                </a:cubicBezTo>
                <a:close/>
                <a:moveTo>
                  <a:pt x="1862" y="747"/>
                </a:moveTo>
                <a:cubicBezTo>
                  <a:pt x="1858" y="747"/>
                  <a:pt x="1854" y="747"/>
                  <a:pt x="1850" y="746"/>
                </a:cubicBezTo>
                <a:cubicBezTo>
                  <a:pt x="1838" y="743"/>
                  <a:pt x="1830" y="738"/>
                  <a:pt x="1825" y="732"/>
                </a:cubicBezTo>
                <a:cubicBezTo>
                  <a:pt x="1823" y="729"/>
                  <a:pt x="1821" y="728"/>
                  <a:pt x="1819" y="728"/>
                </a:cubicBezTo>
                <a:cubicBezTo>
                  <a:pt x="1817" y="728"/>
                  <a:pt x="1815" y="726"/>
                  <a:pt x="1812" y="722"/>
                </a:cubicBezTo>
                <a:cubicBezTo>
                  <a:pt x="1809" y="718"/>
                  <a:pt x="1806" y="714"/>
                  <a:pt x="1803" y="710"/>
                </a:cubicBezTo>
                <a:cubicBezTo>
                  <a:pt x="1801" y="705"/>
                  <a:pt x="1800" y="702"/>
                  <a:pt x="1800" y="699"/>
                </a:cubicBezTo>
                <a:lnTo>
                  <a:pt x="1801" y="696"/>
                </a:lnTo>
                <a:cubicBezTo>
                  <a:pt x="1801" y="696"/>
                  <a:pt x="1800" y="695"/>
                  <a:pt x="1799" y="695"/>
                </a:cubicBezTo>
                <a:cubicBezTo>
                  <a:pt x="1798" y="695"/>
                  <a:pt x="1797" y="689"/>
                  <a:pt x="1797" y="678"/>
                </a:cubicBezTo>
                <a:cubicBezTo>
                  <a:pt x="1797" y="667"/>
                  <a:pt x="1798" y="654"/>
                  <a:pt x="1799" y="638"/>
                </a:cubicBezTo>
                <a:cubicBezTo>
                  <a:pt x="1801" y="623"/>
                  <a:pt x="1803" y="612"/>
                  <a:pt x="1805" y="604"/>
                </a:cubicBezTo>
                <a:cubicBezTo>
                  <a:pt x="1806" y="599"/>
                  <a:pt x="1807" y="595"/>
                  <a:pt x="1807" y="592"/>
                </a:cubicBezTo>
                <a:lnTo>
                  <a:pt x="1806" y="589"/>
                </a:lnTo>
                <a:cubicBezTo>
                  <a:pt x="1806" y="588"/>
                  <a:pt x="1807" y="586"/>
                  <a:pt x="1808" y="585"/>
                </a:cubicBezTo>
                <a:cubicBezTo>
                  <a:pt x="1810" y="583"/>
                  <a:pt x="1810" y="581"/>
                  <a:pt x="1810" y="579"/>
                </a:cubicBezTo>
                <a:lnTo>
                  <a:pt x="1810" y="577"/>
                </a:lnTo>
                <a:cubicBezTo>
                  <a:pt x="1810" y="577"/>
                  <a:pt x="1810" y="576"/>
                  <a:pt x="1811" y="576"/>
                </a:cubicBezTo>
                <a:lnTo>
                  <a:pt x="1813" y="577"/>
                </a:lnTo>
                <a:cubicBezTo>
                  <a:pt x="1813" y="577"/>
                  <a:pt x="1813" y="577"/>
                  <a:pt x="1813" y="576"/>
                </a:cubicBezTo>
                <a:lnTo>
                  <a:pt x="1813" y="574"/>
                </a:lnTo>
                <a:cubicBezTo>
                  <a:pt x="1813" y="572"/>
                  <a:pt x="1815" y="566"/>
                  <a:pt x="1820" y="557"/>
                </a:cubicBezTo>
                <a:cubicBezTo>
                  <a:pt x="1824" y="549"/>
                  <a:pt x="1829" y="541"/>
                  <a:pt x="1834" y="533"/>
                </a:cubicBezTo>
                <a:cubicBezTo>
                  <a:pt x="1843" y="521"/>
                  <a:pt x="1850" y="515"/>
                  <a:pt x="1856" y="515"/>
                </a:cubicBezTo>
                <a:cubicBezTo>
                  <a:pt x="1858" y="515"/>
                  <a:pt x="1859" y="516"/>
                  <a:pt x="1860" y="516"/>
                </a:cubicBezTo>
                <a:cubicBezTo>
                  <a:pt x="1863" y="517"/>
                  <a:pt x="1867" y="518"/>
                  <a:pt x="1871" y="519"/>
                </a:cubicBezTo>
                <a:cubicBezTo>
                  <a:pt x="1875" y="520"/>
                  <a:pt x="1877" y="522"/>
                  <a:pt x="1877" y="523"/>
                </a:cubicBezTo>
                <a:lnTo>
                  <a:pt x="1876" y="529"/>
                </a:lnTo>
                <a:cubicBezTo>
                  <a:pt x="1876" y="531"/>
                  <a:pt x="1877" y="533"/>
                  <a:pt x="1879" y="533"/>
                </a:cubicBezTo>
                <a:cubicBezTo>
                  <a:pt x="1880" y="534"/>
                  <a:pt x="1881" y="535"/>
                  <a:pt x="1881" y="537"/>
                </a:cubicBezTo>
                <a:lnTo>
                  <a:pt x="1881" y="541"/>
                </a:lnTo>
                <a:cubicBezTo>
                  <a:pt x="1881" y="541"/>
                  <a:pt x="1880" y="540"/>
                  <a:pt x="1880" y="538"/>
                </a:cubicBezTo>
                <a:cubicBezTo>
                  <a:pt x="1879" y="536"/>
                  <a:pt x="1879" y="535"/>
                  <a:pt x="1878" y="535"/>
                </a:cubicBezTo>
                <a:cubicBezTo>
                  <a:pt x="1876" y="535"/>
                  <a:pt x="1875" y="537"/>
                  <a:pt x="1874" y="541"/>
                </a:cubicBezTo>
                <a:cubicBezTo>
                  <a:pt x="1873" y="546"/>
                  <a:pt x="1872" y="548"/>
                  <a:pt x="1872" y="548"/>
                </a:cubicBezTo>
                <a:lnTo>
                  <a:pt x="1870" y="547"/>
                </a:lnTo>
                <a:cubicBezTo>
                  <a:pt x="1869" y="547"/>
                  <a:pt x="1869" y="547"/>
                  <a:pt x="1868" y="548"/>
                </a:cubicBezTo>
                <a:cubicBezTo>
                  <a:pt x="1867" y="548"/>
                  <a:pt x="1867" y="549"/>
                  <a:pt x="1867" y="550"/>
                </a:cubicBezTo>
                <a:cubicBezTo>
                  <a:pt x="1867" y="550"/>
                  <a:pt x="1867" y="551"/>
                  <a:pt x="1867" y="551"/>
                </a:cubicBezTo>
                <a:lnTo>
                  <a:pt x="1870" y="550"/>
                </a:lnTo>
                <a:cubicBezTo>
                  <a:pt x="1870" y="550"/>
                  <a:pt x="1870" y="550"/>
                  <a:pt x="1870" y="551"/>
                </a:cubicBezTo>
                <a:cubicBezTo>
                  <a:pt x="1870" y="553"/>
                  <a:pt x="1870" y="555"/>
                  <a:pt x="1868" y="558"/>
                </a:cubicBezTo>
                <a:lnTo>
                  <a:pt x="1867" y="560"/>
                </a:lnTo>
                <a:lnTo>
                  <a:pt x="1868" y="554"/>
                </a:lnTo>
                <a:lnTo>
                  <a:pt x="1868" y="553"/>
                </a:lnTo>
                <a:cubicBezTo>
                  <a:pt x="1867" y="553"/>
                  <a:pt x="1866" y="554"/>
                  <a:pt x="1865" y="556"/>
                </a:cubicBezTo>
                <a:cubicBezTo>
                  <a:pt x="1863" y="558"/>
                  <a:pt x="1862" y="560"/>
                  <a:pt x="1860" y="560"/>
                </a:cubicBezTo>
                <a:cubicBezTo>
                  <a:pt x="1857" y="560"/>
                  <a:pt x="1855" y="556"/>
                  <a:pt x="1855" y="550"/>
                </a:cubicBezTo>
                <a:lnTo>
                  <a:pt x="1855" y="544"/>
                </a:lnTo>
                <a:cubicBezTo>
                  <a:pt x="1855" y="542"/>
                  <a:pt x="1855" y="541"/>
                  <a:pt x="1854" y="541"/>
                </a:cubicBezTo>
                <a:cubicBezTo>
                  <a:pt x="1853" y="541"/>
                  <a:pt x="1853" y="541"/>
                  <a:pt x="1853" y="541"/>
                </a:cubicBezTo>
                <a:cubicBezTo>
                  <a:pt x="1852" y="542"/>
                  <a:pt x="1852" y="543"/>
                  <a:pt x="1852" y="544"/>
                </a:cubicBezTo>
                <a:lnTo>
                  <a:pt x="1852" y="548"/>
                </a:lnTo>
                <a:cubicBezTo>
                  <a:pt x="1852" y="549"/>
                  <a:pt x="1852" y="551"/>
                  <a:pt x="1851" y="553"/>
                </a:cubicBezTo>
                <a:cubicBezTo>
                  <a:pt x="1850" y="556"/>
                  <a:pt x="1849" y="557"/>
                  <a:pt x="1848" y="559"/>
                </a:cubicBezTo>
                <a:cubicBezTo>
                  <a:pt x="1847" y="560"/>
                  <a:pt x="1846" y="561"/>
                  <a:pt x="1845" y="561"/>
                </a:cubicBezTo>
                <a:cubicBezTo>
                  <a:pt x="1845" y="561"/>
                  <a:pt x="1845" y="561"/>
                  <a:pt x="1844" y="561"/>
                </a:cubicBezTo>
                <a:lnTo>
                  <a:pt x="1844" y="560"/>
                </a:lnTo>
                <a:lnTo>
                  <a:pt x="1844" y="562"/>
                </a:lnTo>
                <a:cubicBezTo>
                  <a:pt x="1844" y="564"/>
                  <a:pt x="1841" y="571"/>
                  <a:pt x="1836" y="583"/>
                </a:cubicBezTo>
                <a:cubicBezTo>
                  <a:pt x="1829" y="598"/>
                  <a:pt x="1826" y="607"/>
                  <a:pt x="1826" y="611"/>
                </a:cubicBezTo>
                <a:lnTo>
                  <a:pt x="1826" y="612"/>
                </a:lnTo>
                <a:cubicBezTo>
                  <a:pt x="1826" y="612"/>
                  <a:pt x="1827" y="611"/>
                  <a:pt x="1827" y="610"/>
                </a:cubicBezTo>
                <a:cubicBezTo>
                  <a:pt x="1827" y="610"/>
                  <a:pt x="1828" y="609"/>
                  <a:pt x="1828" y="609"/>
                </a:cubicBezTo>
                <a:lnTo>
                  <a:pt x="1830" y="610"/>
                </a:lnTo>
                <a:lnTo>
                  <a:pt x="1831" y="609"/>
                </a:lnTo>
                <a:cubicBezTo>
                  <a:pt x="1831" y="608"/>
                  <a:pt x="1831" y="608"/>
                  <a:pt x="1830" y="607"/>
                </a:cubicBezTo>
                <a:cubicBezTo>
                  <a:pt x="1830" y="606"/>
                  <a:pt x="1830" y="605"/>
                  <a:pt x="1830" y="604"/>
                </a:cubicBezTo>
                <a:cubicBezTo>
                  <a:pt x="1830" y="602"/>
                  <a:pt x="1830" y="600"/>
                  <a:pt x="1832" y="598"/>
                </a:cubicBezTo>
                <a:cubicBezTo>
                  <a:pt x="1833" y="597"/>
                  <a:pt x="1834" y="596"/>
                  <a:pt x="1835" y="596"/>
                </a:cubicBezTo>
                <a:cubicBezTo>
                  <a:pt x="1836" y="596"/>
                  <a:pt x="1837" y="596"/>
                  <a:pt x="1837" y="597"/>
                </a:cubicBezTo>
                <a:cubicBezTo>
                  <a:pt x="1838" y="597"/>
                  <a:pt x="1839" y="598"/>
                  <a:pt x="1840" y="599"/>
                </a:cubicBezTo>
                <a:cubicBezTo>
                  <a:pt x="1840" y="600"/>
                  <a:pt x="1840" y="601"/>
                  <a:pt x="1840" y="602"/>
                </a:cubicBezTo>
                <a:cubicBezTo>
                  <a:pt x="1840" y="603"/>
                  <a:pt x="1840" y="603"/>
                  <a:pt x="1840" y="603"/>
                </a:cubicBezTo>
                <a:cubicBezTo>
                  <a:pt x="1840" y="603"/>
                  <a:pt x="1839" y="602"/>
                  <a:pt x="1837" y="600"/>
                </a:cubicBezTo>
                <a:lnTo>
                  <a:pt x="1835" y="597"/>
                </a:lnTo>
                <a:lnTo>
                  <a:pt x="1834" y="597"/>
                </a:lnTo>
                <a:cubicBezTo>
                  <a:pt x="1834" y="598"/>
                  <a:pt x="1835" y="599"/>
                  <a:pt x="1836" y="602"/>
                </a:cubicBezTo>
                <a:cubicBezTo>
                  <a:pt x="1837" y="604"/>
                  <a:pt x="1837" y="605"/>
                  <a:pt x="1837" y="606"/>
                </a:cubicBezTo>
                <a:cubicBezTo>
                  <a:pt x="1837" y="607"/>
                  <a:pt x="1837" y="607"/>
                  <a:pt x="1837" y="607"/>
                </a:cubicBezTo>
                <a:lnTo>
                  <a:pt x="1835" y="606"/>
                </a:lnTo>
                <a:cubicBezTo>
                  <a:pt x="1834" y="606"/>
                  <a:pt x="1834" y="607"/>
                  <a:pt x="1834" y="607"/>
                </a:cubicBezTo>
                <a:lnTo>
                  <a:pt x="1836" y="614"/>
                </a:lnTo>
                <a:cubicBezTo>
                  <a:pt x="1836" y="614"/>
                  <a:pt x="1835" y="614"/>
                  <a:pt x="1835" y="614"/>
                </a:cubicBezTo>
                <a:lnTo>
                  <a:pt x="1832" y="613"/>
                </a:lnTo>
                <a:cubicBezTo>
                  <a:pt x="1832" y="613"/>
                  <a:pt x="1832" y="614"/>
                  <a:pt x="1832" y="614"/>
                </a:cubicBezTo>
                <a:cubicBezTo>
                  <a:pt x="1832" y="615"/>
                  <a:pt x="1832" y="616"/>
                  <a:pt x="1832" y="617"/>
                </a:cubicBezTo>
                <a:cubicBezTo>
                  <a:pt x="1833" y="618"/>
                  <a:pt x="1833" y="619"/>
                  <a:pt x="1833" y="620"/>
                </a:cubicBezTo>
                <a:cubicBezTo>
                  <a:pt x="1833" y="622"/>
                  <a:pt x="1832" y="623"/>
                  <a:pt x="1832" y="623"/>
                </a:cubicBezTo>
                <a:cubicBezTo>
                  <a:pt x="1831" y="624"/>
                  <a:pt x="1830" y="625"/>
                  <a:pt x="1830" y="625"/>
                </a:cubicBezTo>
                <a:lnTo>
                  <a:pt x="1831" y="628"/>
                </a:lnTo>
                <a:cubicBezTo>
                  <a:pt x="1831" y="628"/>
                  <a:pt x="1831" y="628"/>
                  <a:pt x="1831" y="628"/>
                </a:cubicBezTo>
                <a:lnTo>
                  <a:pt x="1828" y="627"/>
                </a:lnTo>
                <a:cubicBezTo>
                  <a:pt x="1828" y="627"/>
                  <a:pt x="1827" y="628"/>
                  <a:pt x="1827" y="629"/>
                </a:cubicBezTo>
                <a:lnTo>
                  <a:pt x="1827" y="634"/>
                </a:lnTo>
                <a:cubicBezTo>
                  <a:pt x="1827" y="636"/>
                  <a:pt x="1827" y="638"/>
                  <a:pt x="1827" y="639"/>
                </a:cubicBezTo>
                <a:cubicBezTo>
                  <a:pt x="1825" y="642"/>
                  <a:pt x="1824" y="648"/>
                  <a:pt x="1823" y="657"/>
                </a:cubicBezTo>
                <a:cubicBezTo>
                  <a:pt x="1823" y="666"/>
                  <a:pt x="1822" y="674"/>
                  <a:pt x="1822" y="683"/>
                </a:cubicBezTo>
                <a:cubicBezTo>
                  <a:pt x="1822" y="690"/>
                  <a:pt x="1823" y="696"/>
                  <a:pt x="1823" y="701"/>
                </a:cubicBezTo>
                <a:cubicBezTo>
                  <a:pt x="1825" y="711"/>
                  <a:pt x="1832" y="716"/>
                  <a:pt x="1845" y="716"/>
                </a:cubicBezTo>
                <a:cubicBezTo>
                  <a:pt x="1873" y="716"/>
                  <a:pt x="1933" y="689"/>
                  <a:pt x="2024" y="637"/>
                </a:cubicBezTo>
                <a:lnTo>
                  <a:pt x="2124" y="578"/>
                </a:lnTo>
                <a:cubicBezTo>
                  <a:pt x="2149" y="563"/>
                  <a:pt x="2163" y="555"/>
                  <a:pt x="2167" y="555"/>
                </a:cubicBezTo>
                <a:lnTo>
                  <a:pt x="2167" y="555"/>
                </a:lnTo>
                <a:cubicBezTo>
                  <a:pt x="2168" y="555"/>
                  <a:pt x="2168" y="555"/>
                  <a:pt x="2168" y="554"/>
                </a:cubicBezTo>
                <a:cubicBezTo>
                  <a:pt x="2168" y="553"/>
                  <a:pt x="2169" y="552"/>
                  <a:pt x="2170" y="551"/>
                </a:cubicBezTo>
                <a:cubicBezTo>
                  <a:pt x="2170" y="551"/>
                  <a:pt x="2171" y="551"/>
                  <a:pt x="2171" y="551"/>
                </a:cubicBezTo>
                <a:cubicBezTo>
                  <a:pt x="2173" y="551"/>
                  <a:pt x="2175" y="550"/>
                  <a:pt x="2175" y="549"/>
                </a:cubicBezTo>
                <a:cubicBezTo>
                  <a:pt x="2175" y="548"/>
                  <a:pt x="2175" y="547"/>
                  <a:pt x="2176" y="547"/>
                </a:cubicBezTo>
                <a:lnTo>
                  <a:pt x="2178" y="548"/>
                </a:lnTo>
                <a:cubicBezTo>
                  <a:pt x="2179" y="548"/>
                  <a:pt x="2179" y="547"/>
                  <a:pt x="2179" y="546"/>
                </a:cubicBezTo>
                <a:cubicBezTo>
                  <a:pt x="2179" y="545"/>
                  <a:pt x="2180" y="545"/>
                  <a:pt x="2182" y="545"/>
                </a:cubicBezTo>
                <a:lnTo>
                  <a:pt x="2183" y="545"/>
                </a:lnTo>
                <a:cubicBezTo>
                  <a:pt x="2185" y="545"/>
                  <a:pt x="2188" y="543"/>
                  <a:pt x="2192" y="540"/>
                </a:cubicBezTo>
                <a:lnTo>
                  <a:pt x="2192" y="539"/>
                </a:lnTo>
                <a:cubicBezTo>
                  <a:pt x="2194" y="539"/>
                  <a:pt x="2195" y="540"/>
                  <a:pt x="2197" y="542"/>
                </a:cubicBezTo>
                <a:cubicBezTo>
                  <a:pt x="2199" y="544"/>
                  <a:pt x="2201" y="546"/>
                  <a:pt x="2203" y="548"/>
                </a:cubicBezTo>
                <a:cubicBezTo>
                  <a:pt x="2205" y="550"/>
                  <a:pt x="2205" y="551"/>
                  <a:pt x="2205" y="552"/>
                </a:cubicBezTo>
                <a:cubicBezTo>
                  <a:pt x="2205" y="555"/>
                  <a:pt x="2200" y="560"/>
                  <a:pt x="2188" y="568"/>
                </a:cubicBezTo>
                <a:cubicBezTo>
                  <a:pt x="2185" y="570"/>
                  <a:pt x="2182" y="571"/>
                  <a:pt x="2181" y="571"/>
                </a:cubicBezTo>
                <a:cubicBezTo>
                  <a:pt x="2180" y="571"/>
                  <a:pt x="2180" y="571"/>
                  <a:pt x="2180" y="570"/>
                </a:cubicBezTo>
                <a:cubicBezTo>
                  <a:pt x="2180" y="569"/>
                  <a:pt x="2180" y="568"/>
                  <a:pt x="2181" y="568"/>
                </a:cubicBezTo>
                <a:lnTo>
                  <a:pt x="2182" y="568"/>
                </a:lnTo>
                <a:cubicBezTo>
                  <a:pt x="2183" y="568"/>
                  <a:pt x="2183" y="568"/>
                  <a:pt x="2183" y="567"/>
                </a:cubicBezTo>
                <a:cubicBezTo>
                  <a:pt x="2183" y="566"/>
                  <a:pt x="2184" y="566"/>
                  <a:pt x="2185" y="565"/>
                </a:cubicBezTo>
                <a:cubicBezTo>
                  <a:pt x="2187" y="564"/>
                  <a:pt x="2189" y="563"/>
                  <a:pt x="2191" y="562"/>
                </a:cubicBezTo>
                <a:cubicBezTo>
                  <a:pt x="2193" y="561"/>
                  <a:pt x="2195" y="561"/>
                  <a:pt x="2196" y="559"/>
                </a:cubicBezTo>
                <a:cubicBezTo>
                  <a:pt x="2197" y="558"/>
                  <a:pt x="2198" y="557"/>
                  <a:pt x="2198" y="556"/>
                </a:cubicBezTo>
                <a:cubicBezTo>
                  <a:pt x="2198" y="554"/>
                  <a:pt x="2198" y="553"/>
                  <a:pt x="2197" y="553"/>
                </a:cubicBezTo>
                <a:cubicBezTo>
                  <a:pt x="2196" y="553"/>
                  <a:pt x="2195" y="554"/>
                  <a:pt x="2192" y="557"/>
                </a:cubicBezTo>
                <a:cubicBezTo>
                  <a:pt x="2190" y="560"/>
                  <a:pt x="2188" y="561"/>
                  <a:pt x="2186" y="561"/>
                </a:cubicBezTo>
                <a:lnTo>
                  <a:pt x="2185" y="561"/>
                </a:lnTo>
                <a:cubicBezTo>
                  <a:pt x="2184" y="561"/>
                  <a:pt x="2182" y="562"/>
                  <a:pt x="2181" y="564"/>
                </a:cubicBezTo>
                <a:cubicBezTo>
                  <a:pt x="2179" y="566"/>
                  <a:pt x="2176" y="568"/>
                  <a:pt x="2173" y="569"/>
                </a:cubicBezTo>
                <a:cubicBezTo>
                  <a:pt x="2170" y="571"/>
                  <a:pt x="2168" y="571"/>
                  <a:pt x="2166" y="571"/>
                </a:cubicBezTo>
                <a:lnTo>
                  <a:pt x="2164" y="571"/>
                </a:lnTo>
                <a:cubicBezTo>
                  <a:pt x="2163" y="571"/>
                  <a:pt x="2163" y="571"/>
                  <a:pt x="2162" y="573"/>
                </a:cubicBezTo>
                <a:cubicBezTo>
                  <a:pt x="2161" y="574"/>
                  <a:pt x="2160" y="576"/>
                  <a:pt x="2160" y="578"/>
                </a:cubicBezTo>
                <a:cubicBezTo>
                  <a:pt x="2159" y="580"/>
                  <a:pt x="2159" y="581"/>
                  <a:pt x="2159" y="583"/>
                </a:cubicBezTo>
                <a:lnTo>
                  <a:pt x="2159" y="586"/>
                </a:lnTo>
                <a:lnTo>
                  <a:pt x="2158" y="585"/>
                </a:lnTo>
                <a:cubicBezTo>
                  <a:pt x="2157" y="582"/>
                  <a:pt x="2155" y="580"/>
                  <a:pt x="2153" y="580"/>
                </a:cubicBezTo>
                <a:cubicBezTo>
                  <a:pt x="2152" y="580"/>
                  <a:pt x="2151" y="581"/>
                  <a:pt x="2150" y="583"/>
                </a:cubicBezTo>
                <a:cubicBezTo>
                  <a:pt x="2148" y="585"/>
                  <a:pt x="2148" y="586"/>
                  <a:pt x="2148" y="588"/>
                </a:cubicBezTo>
                <a:lnTo>
                  <a:pt x="2148" y="588"/>
                </a:lnTo>
                <a:cubicBezTo>
                  <a:pt x="2148" y="589"/>
                  <a:pt x="2148" y="589"/>
                  <a:pt x="2147" y="589"/>
                </a:cubicBezTo>
                <a:lnTo>
                  <a:pt x="2144" y="588"/>
                </a:lnTo>
                <a:cubicBezTo>
                  <a:pt x="2143" y="588"/>
                  <a:pt x="2142" y="590"/>
                  <a:pt x="2142" y="593"/>
                </a:cubicBezTo>
                <a:cubicBezTo>
                  <a:pt x="2142" y="596"/>
                  <a:pt x="2141" y="598"/>
                  <a:pt x="2140" y="598"/>
                </a:cubicBezTo>
                <a:cubicBezTo>
                  <a:pt x="2138" y="599"/>
                  <a:pt x="2137" y="600"/>
                  <a:pt x="2137" y="601"/>
                </a:cubicBezTo>
                <a:lnTo>
                  <a:pt x="2138" y="603"/>
                </a:lnTo>
                <a:lnTo>
                  <a:pt x="2137" y="604"/>
                </a:lnTo>
                <a:lnTo>
                  <a:pt x="2137" y="603"/>
                </a:lnTo>
                <a:cubicBezTo>
                  <a:pt x="2137" y="603"/>
                  <a:pt x="2136" y="603"/>
                  <a:pt x="2135" y="603"/>
                </a:cubicBezTo>
                <a:cubicBezTo>
                  <a:pt x="2134" y="603"/>
                  <a:pt x="2133" y="603"/>
                  <a:pt x="2132" y="604"/>
                </a:cubicBezTo>
                <a:cubicBezTo>
                  <a:pt x="2131" y="605"/>
                  <a:pt x="2130" y="605"/>
                  <a:pt x="2130" y="605"/>
                </a:cubicBezTo>
                <a:cubicBezTo>
                  <a:pt x="2129" y="605"/>
                  <a:pt x="2129" y="605"/>
                  <a:pt x="2129" y="604"/>
                </a:cubicBezTo>
                <a:cubicBezTo>
                  <a:pt x="2129" y="603"/>
                  <a:pt x="2130" y="601"/>
                  <a:pt x="2131" y="601"/>
                </a:cubicBezTo>
                <a:cubicBezTo>
                  <a:pt x="2132" y="600"/>
                  <a:pt x="2133" y="600"/>
                  <a:pt x="2133" y="599"/>
                </a:cubicBezTo>
                <a:cubicBezTo>
                  <a:pt x="2133" y="598"/>
                  <a:pt x="2133" y="596"/>
                  <a:pt x="2132" y="595"/>
                </a:cubicBezTo>
                <a:cubicBezTo>
                  <a:pt x="2132" y="593"/>
                  <a:pt x="2131" y="593"/>
                  <a:pt x="2131" y="593"/>
                </a:cubicBezTo>
                <a:cubicBezTo>
                  <a:pt x="2130" y="593"/>
                  <a:pt x="2130" y="593"/>
                  <a:pt x="2129" y="595"/>
                </a:cubicBezTo>
                <a:cubicBezTo>
                  <a:pt x="2126" y="598"/>
                  <a:pt x="2116" y="603"/>
                  <a:pt x="2100" y="612"/>
                </a:cubicBezTo>
                <a:cubicBezTo>
                  <a:pt x="2084" y="620"/>
                  <a:pt x="2076" y="625"/>
                  <a:pt x="2076" y="627"/>
                </a:cubicBezTo>
                <a:cubicBezTo>
                  <a:pt x="2076" y="628"/>
                  <a:pt x="2075" y="628"/>
                  <a:pt x="2073" y="628"/>
                </a:cubicBezTo>
                <a:cubicBezTo>
                  <a:pt x="2071" y="628"/>
                  <a:pt x="2070" y="629"/>
                  <a:pt x="2070" y="630"/>
                </a:cubicBezTo>
                <a:lnTo>
                  <a:pt x="2070" y="635"/>
                </a:lnTo>
                <a:cubicBezTo>
                  <a:pt x="2070" y="635"/>
                  <a:pt x="2070" y="634"/>
                  <a:pt x="2069" y="634"/>
                </a:cubicBezTo>
                <a:cubicBezTo>
                  <a:pt x="2068" y="633"/>
                  <a:pt x="2067" y="632"/>
                  <a:pt x="2066" y="632"/>
                </a:cubicBezTo>
                <a:cubicBezTo>
                  <a:pt x="2064" y="632"/>
                  <a:pt x="2062" y="633"/>
                  <a:pt x="2060" y="634"/>
                </a:cubicBezTo>
                <a:cubicBezTo>
                  <a:pt x="2057" y="635"/>
                  <a:pt x="2055" y="636"/>
                  <a:pt x="2053" y="638"/>
                </a:cubicBezTo>
                <a:cubicBezTo>
                  <a:pt x="2051" y="639"/>
                  <a:pt x="2051" y="641"/>
                  <a:pt x="2051" y="642"/>
                </a:cubicBezTo>
                <a:lnTo>
                  <a:pt x="2051" y="643"/>
                </a:lnTo>
                <a:lnTo>
                  <a:pt x="2050" y="646"/>
                </a:lnTo>
                <a:cubicBezTo>
                  <a:pt x="2048" y="648"/>
                  <a:pt x="2046" y="650"/>
                  <a:pt x="2044" y="650"/>
                </a:cubicBezTo>
                <a:cubicBezTo>
                  <a:pt x="2043" y="650"/>
                  <a:pt x="2043" y="649"/>
                  <a:pt x="2043" y="649"/>
                </a:cubicBezTo>
                <a:cubicBezTo>
                  <a:pt x="2043" y="648"/>
                  <a:pt x="2044" y="647"/>
                  <a:pt x="2045" y="646"/>
                </a:cubicBezTo>
                <a:cubicBezTo>
                  <a:pt x="2046" y="644"/>
                  <a:pt x="2046" y="643"/>
                  <a:pt x="2046" y="643"/>
                </a:cubicBezTo>
                <a:lnTo>
                  <a:pt x="2046" y="643"/>
                </a:lnTo>
                <a:cubicBezTo>
                  <a:pt x="2045" y="643"/>
                  <a:pt x="2042" y="644"/>
                  <a:pt x="2036" y="648"/>
                </a:cubicBezTo>
                <a:cubicBezTo>
                  <a:pt x="2031" y="652"/>
                  <a:pt x="2028" y="654"/>
                  <a:pt x="2028" y="655"/>
                </a:cubicBezTo>
                <a:cubicBezTo>
                  <a:pt x="2028" y="657"/>
                  <a:pt x="2028" y="658"/>
                  <a:pt x="2027" y="659"/>
                </a:cubicBezTo>
                <a:cubicBezTo>
                  <a:pt x="2026" y="660"/>
                  <a:pt x="2025" y="661"/>
                  <a:pt x="2023" y="661"/>
                </a:cubicBezTo>
                <a:cubicBezTo>
                  <a:pt x="2023" y="661"/>
                  <a:pt x="2023" y="660"/>
                  <a:pt x="2025" y="659"/>
                </a:cubicBezTo>
                <a:cubicBezTo>
                  <a:pt x="2026" y="658"/>
                  <a:pt x="2027" y="657"/>
                  <a:pt x="2027" y="656"/>
                </a:cubicBezTo>
                <a:cubicBezTo>
                  <a:pt x="2027" y="655"/>
                  <a:pt x="2026" y="655"/>
                  <a:pt x="2026" y="655"/>
                </a:cubicBezTo>
                <a:cubicBezTo>
                  <a:pt x="2024" y="655"/>
                  <a:pt x="2023" y="655"/>
                  <a:pt x="2021" y="657"/>
                </a:cubicBezTo>
                <a:cubicBezTo>
                  <a:pt x="2019" y="658"/>
                  <a:pt x="2018" y="659"/>
                  <a:pt x="2018" y="660"/>
                </a:cubicBezTo>
                <a:cubicBezTo>
                  <a:pt x="2018" y="661"/>
                  <a:pt x="2018" y="661"/>
                  <a:pt x="2019" y="661"/>
                </a:cubicBezTo>
                <a:cubicBezTo>
                  <a:pt x="2019" y="661"/>
                  <a:pt x="2019" y="661"/>
                  <a:pt x="2019" y="662"/>
                </a:cubicBezTo>
                <a:lnTo>
                  <a:pt x="2019" y="665"/>
                </a:lnTo>
                <a:cubicBezTo>
                  <a:pt x="2019" y="666"/>
                  <a:pt x="2020" y="668"/>
                  <a:pt x="2021" y="669"/>
                </a:cubicBezTo>
                <a:cubicBezTo>
                  <a:pt x="2023" y="671"/>
                  <a:pt x="2023" y="672"/>
                  <a:pt x="2023" y="673"/>
                </a:cubicBezTo>
                <a:cubicBezTo>
                  <a:pt x="2023" y="674"/>
                  <a:pt x="2022" y="674"/>
                  <a:pt x="2020" y="674"/>
                </a:cubicBezTo>
                <a:cubicBezTo>
                  <a:pt x="2018" y="674"/>
                  <a:pt x="2013" y="677"/>
                  <a:pt x="2004" y="681"/>
                </a:cubicBezTo>
                <a:cubicBezTo>
                  <a:pt x="1996" y="686"/>
                  <a:pt x="1992" y="689"/>
                  <a:pt x="1992" y="690"/>
                </a:cubicBezTo>
                <a:cubicBezTo>
                  <a:pt x="1992" y="691"/>
                  <a:pt x="1991" y="692"/>
                  <a:pt x="1989" y="692"/>
                </a:cubicBezTo>
                <a:lnTo>
                  <a:pt x="1986" y="692"/>
                </a:lnTo>
                <a:cubicBezTo>
                  <a:pt x="1982" y="692"/>
                  <a:pt x="1981" y="692"/>
                  <a:pt x="1981" y="693"/>
                </a:cubicBezTo>
                <a:cubicBezTo>
                  <a:pt x="1981" y="694"/>
                  <a:pt x="1981" y="694"/>
                  <a:pt x="1980" y="694"/>
                </a:cubicBezTo>
                <a:lnTo>
                  <a:pt x="1978" y="693"/>
                </a:lnTo>
                <a:cubicBezTo>
                  <a:pt x="1977" y="693"/>
                  <a:pt x="1977" y="693"/>
                  <a:pt x="1977" y="694"/>
                </a:cubicBezTo>
                <a:cubicBezTo>
                  <a:pt x="1977" y="695"/>
                  <a:pt x="1978" y="696"/>
                  <a:pt x="1978" y="697"/>
                </a:cubicBezTo>
                <a:cubicBezTo>
                  <a:pt x="1979" y="699"/>
                  <a:pt x="1979" y="699"/>
                  <a:pt x="1979" y="700"/>
                </a:cubicBezTo>
                <a:cubicBezTo>
                  <a:pt x="1979" y="700"/>
                  <a:pt x="1977" y="698"/>
                  <a:pt x="1976" y="696"/>
                </a:cubicBezTo>
                <a:cubicBezTo>
                  <a:pt x="1974" y="694"/>
                  <a:pt x="1973" y="693"/>
                  <a:pt x="1972" y="693"/>
                </a:cubicBezTo>
                <a:cubicBezTo>
                  <a:pt x="1972" y="693"/>
                  <a:pt x="1972" y="693"/>
                  <a:pt x="1972" y="694"/>
                </a:cubicBezTo>
                <a:cubicBezTo>
                  <a:pt x="1972" y="694"/>
                  <a:pt x="1972" y="696"/>
                  <a:pt x="1973" y="697"/>
                </a:cubicBezTo>
                <a:cubicBezTo>
                  <a:pt x="1973" y="698"/>
                  <a:pt x="1974" y="700"/>
                  <a:pt x="1974" y="701"/>
                </a:cubicBezTo>
                <a:cubicBezTo>
                  <a:pt x="1974" y="703"/>
                  <a:pt x="1972" y="704"/>
                  <a:pt x="1970" y="704"/>
                </a:cubicBezTo>
                <a:cubicBezTo>
                  <a:pt x="1969" y="704"/>
                  <a:pt x="1969" y="704"/>
                  <a:pt x="1969" y="703"/>
                </a:cubicBezTo>
                <a:lnTo>
                  <a:pt x="1970" y="700"/>
                </a:lnTo>
                <a:cubicBezTo>
                  <a:pt x="1970" y="699"/>
                  <a:pt x="1969" y="698"/>
                  <a:pt x="1967" y="698"/>
                </a:cubicBezTo>
                <a:cubicBezTo>
                  <a:pt x="1965" y="698"/>
                  <a:pt x="1964" y="700"/>
                  <a:pt x="1964" y="703"/>
                </a:cubicBezTo>
                <a:cubicBezTo>
                  <a:pt x="1964" y="706"/>
                  <a:pt x="1962" y="709"/>
                  <a:pt x="1959" y="711"/>
                </a:cubicBezTo>
                <a:cubicBezTo>
                  <a:pt x="1955" y="714"/>
                  <a:pt x="1952" y="715"/>
                  <a:pt x="1950" y="715"/>
                </a:cubicBezTo>
                <a:cubicBezTo>
                  <a:pt x="1948" y="715"/>
                  <a:pt x="1947" y="714"/>
                  <a:pt x="1946" y="713"/>
                </a:cubicBezTo>
                <a:cubicBezTo>
                  <a:pt x="1945" y="713"/>
                  <a:pt x="1945" y="712"/>
                  <a:pt x="1945" y="712"/>
                </a:cubicBezTo>
                <a:cubicBezTo>
                  <a:pt x="1944" y="713"/>
                  <a:pt x="1944" y="714"/>
                  <a:pt x="1944" y="716"/>
                </a:cubicBezTo>
                <a:lnTo>
                  <a:pt x="1944" y="716"/>
                </a:lnTo>
                <a:cubicBezTo>
                  <a:pt x="1944" y="719"/>
                  <a:pt x="1937" y="723"/>
                  <a:pt x="1924" y="729"/>
                </a:cubicBezTo>
                <a:cubicBezTo>
                  <a:pt x="1899" y="741"/>
                  <a:pt x="1879" y="747"/>
                  <a:pt x="1862" y="747"/>
                </a:cubicBezTo>
                <a:close/>
                <a:moveTo>
                  <a:pt x="1821" y="627"/>
                </a:moveTo>
                <a:cubicBezTo>
                  <a:pt x="1822" y="627"/>
                  <a:pt x="1822" y="627"/>
                  <a:pt x="1823" y="626"/>
                </a:cubicBezTo>
                <a:cubicBezTo>
                  <a:pt x="1823" y="625"/>
                  <a:pt x="1823" y="624"/>
                  <a:pt x="1824" y="622"/>
                </a:cubicBezTo>
                <a:cubicBezTo>
                  <a:pt x="1825" y="621"/>
                  <a:pt x="1825" y="620"/>
                  <a:pt x="1825" y="618"/>
                </a:cubicBezTo>
                <a:cubicBezTo>
                  <a:pt x="1825" y="618"/>
                  <a:pt x="1825" y="618"/>
                  <a:pt x="1825" y="618"/>
                </a:cubicBezTo>
                <a:cubicBezTo>
                  <a:pt x="1824" y="618"/>
                  <a:pt x="1824" y="618"/>
                  <a:pt x="1823" y="619"/>
                </a:cubicBezTo>
                <a:cubicBezTo>
                  <a:pt x="1822" y="620"/>
                  <a:pt x="1822" y="622"/>
                  <a:pt x="1821" y="623"/>
                </a:cubicBezTo>
                <a:cubicBezTo>
                  <a:pt x="1821" y="624"/>
                  <a:pt x="1821" y="625"/>
                  <a:pt x="1821" y="626"/>
                </a:cubicBezTo>
                <a:cubicBezTo>
                  <a:pt x="1821" y="627"/>
                  <a:pt x="1821" y="627"/>
                  <a:pt x="1821" y="627"/>
                </a:cubicBezTo>
                <a:close/>
                <a:moveTo>
                  <a:pt x="1846" y="734"/>
                </a:moveTo>
                <a:cubicBezTo>
                  <a:pt x="1848" y="734"/>
                  <a:pt x="1848" y="734"/>
                  <a:pt x="1848" y="733"/>
                </a:cubicBezTo>
                <a:lnTo>
                  <a:pt x="1848" y="732"/>
                </a:lnTo>
                <a:lnTo>
                  <a:pt x="1847" y="732"/>
                </a:lnTo>
                <a:cubicBezTo>
                  <a:pt x="1844" y="732"/>
                  <a:pt x="1843" y="732"/>
                  <a:pt x="1843" y="734"/>
                </a:cubicBezTo>
                <a:cubicBezTo>
                  <a:pt x="1843" y="734"/>
                  <a:pt x="1844" y="734"/>
                  <a:pt x="1846" y="734"/>
                </a:cubicBezTo>
                <a:close/>
                <a:moveTo>
                  <a:pt x="1951" y="712"/>
                </a:moveTo>
                <a:cubicBezTo>
                  <a:pt x="1953" y="712"/>
                  <a:pt x="1954" y="711"/>
                  <a:pt x="1954" y="710"/>
                </a:cubicBezTo>
                <a:cubicBezTo>
                  <a:pt x="1954" y="710"/>
                  <a:pt x="1954" y="709"/>
                  <a:pt x="1953" y="708"/>
                </a:cubicBezTo>
                <a:cubicBezTo>
                  <a:pt x="1952" y="707"/>
                  <a:pt x="1952" y="707"/>
                  <a:pt x="1951" y="707"/>
                </a:cubicBezTo>
                <a:cubicBezTo>
                  <a:pt x="1951" y="707"/>
                  <a:pt x="1950" y="708"/>
                  <a:pt x="1949" y="709"/>
                </a:cubicBezTo>
                <a:cubicBezTo>
                  <a:pt x="1948" y="710"/>
                  <a:pt x="1947" y="711"/>
                  <a:pt x="1946" y="711"/>
                </a:cubicBezTo>
                <a:lnTo>
                  <a:pt x="1951" y="712"/>
                </a:lnTo>
                <a:close/>
                <a:moveTo>
                  <a:pt x="1866" y="735"/>
                </a:moveTo>
                <a:cubicBezTo>
                  <a:pt x="1868" y="735"/>
                  <a:pt x="1873" y="733"/>
                  <a:pt x="1884" y="730"/>
                </a:cubicBezTo>
                <a:cubicBezTo>
                  <a:pt x="1887" y="730"/>
                  <a:pt x="1895" y="727"/>
                  <a:pt x="1907" y="722"/>
                </a:cubicBezTo>
                <a:cubicBezTo>
                  <a:pt x="1920" y="717"/>
                  <a:pt x="1926" y="714"/>
                  <a:pt x="1927" y="713"/>
                </a:cubicBezTo>
                <a:cubicBezTo>
                  <a:pt x="1928" y="713"/>
                  <a:pt x="1930" y="712"/>
                  <a:pt x="1933" y="712"/>
                </a:cubicBezTo>
                <a:cubicBezTo>
                  <a:pt x="1937" y="711"/>
                  <a:pt x="1941" y="709"/>
                  <a:pt x="1946" y="706"/>
                </a:cubicBezTo>
                <a:cubicBezTo>
                  <a:pt x="1951" y="704"/>
                  <a:pt x="1954" y="702"/>
                  <a:pt x="1954" y="702"/>
                </a:cubicBezTo>
                <a:cubicBezTo>
                  <a:pt x="1955" y="702"/>
                  <a:pt x="1955" y="703"/>
                  <a:pt x="1955" y="703"/>
                </a:cubicBezTo>
                <a:lnTo>
                  <a:pt x="1954" y="706"/>
                </a:lnTo>
                <a:cubicBezTo>
                  <a:pt x="1954" y="707"/>
                  <a:pt x="1955" y="708"/>
                  <a:pt x="1956" y="708"/>
                </a:cubicBezTo>
                <a:cubicBezTo>
                  <a:pt x="1957" y="708"/>
                  <a:pt x="1959" y="707"/>
                  <a:pt x="1960" y="706"/>
                </a:cubicBezTo>
                <a:cubicBezTo>
                  <a:pt x="1961" y="705"/>
                  <a:pt x="1962" y="705"/>
                  <a:pt x="1962" y="704"/>
                </a:cubicBezTo>
                <a:cubicBezTo>
                  <a:pt x="1962" y="704"/>
                  <a:pt x="1961" y="703"/>
                  <a:pt x="1960" y="702"/>
                </a:cubicBezTo>
                <a:cubicBezTo>
                  <a:pt x="1959" y="701"/>
                  <a:pt x="1958" y="701"/>
                  <a:pt x="1958" y="700"/>
                </a:cubicBezTo>
                <a:lnTo>
                  <a:pt x="1958" y="699"/>
                </a:lnTo>
                <a:cubicBezTo>
                  <a:pt x="1962" y="697"/>
                  <a:pt x="1966" y="694"/>
                  <a:pt x="1972" y="692"/>
                </a:cubicBezTo>
                <a:lnTo>
                  <a:pt x="1976" y="691"/>
                </a:lnTo>
                <a:cubicBezTo>
                  <a:pt x="1978" y="691"/>
                  <a:pt x="1979" y="690"/>
                  <a:pt x="1979" y="688"/>
                </a:cubicBezTo>
                <a:cubicBezTo>
                  <a:pt x="1979" y="687"/>
                  <a:pt x="1979" y="686"/>
                  <a:pt x="1978" y="686"/>
                </a:cubicBezTo>
                <a:cubicBezTo>
                  <a:pt x="1976" y="686"/>
                  <a:pt x="1973" y="688"/>
                  <a:pt x="1969" y="690"/>
                </a:cubicBezTo>
                <a:lnTo>
                  <a:pt x="1967" y="691"/>
                </a:lnTo>
                <a:cubicBezTo>
                  <a:pt x="1967" y="691"/>
                  <a:pt x="1966" y="690"/>
                  <a:pt x="1966" y="690"/>
                </a:cubicBezTo>
                <a:lnTo>
                  <a:pt x="1967" y="688"/>
                </a:lnTo>
                <a:cubicBezTo>
                  <a:pt x="1967" y="687"/>
                  <a:pt x="1967" y="687"/>
                  <a:pt x="1967" y="687"/>
                </a:cubicBezTo>
                <a:cubicBezTo>
                  <a:pt x="1967" y="687"/>
                  <a:pt x="1966" y="687"/>
                  <a:pt x="1965" y="688"/>
                </a:cubicBezTo>
                <a:cubicBezTo>
                  <a:pt x="1964" y="688"/>
                  <a:pt x="1964" y="688"/>
                  <a:pt x="1963" y="689"/>
                </a:cubicBezTo>
                <a:cubicBezTo>
                  <a:pt x="1963" y="690"/>
                  <a:pt x="1962" y="690"/>
                  <a:pt x="1962" y="691"/>
                </a:cubicBezTo>
                <a:lnTo>
                  <a:pt x="1962" y="691"/>
                </a:lnTo>
                <a:cubicBezTo>
                  <a:pt x="1962" y="693"/>
                  <a:pt x="1961" y="694"/>
                  <a:pt x="1958" y="694"/>
                </a:cubicBezTo>
                <a:cubicBezTo>
                  <a:pt x="1952" y="695"/>
                  <a:pt x="1942" y="699"/>
                  <a:pt x="1927" y="707"/>
                </a:cubicBezTo>
                <a:cubicBezTo>
                  <a:pt x="1915" y="713"/>
                  <a:pt x="1906" y="718"/>
                  <a:pt x="1901" y="720"/>
                </a:cubicBezTo>
                <a:cubicBezTo>
                  <a:pt x="1895" y="722"/>
                  <a:pt x="1891" y="723"/>
                  <a:pt x="1888" y="724"/>
                </a:cubicBezTo>
                <a:cubicBezTo>
                  <a:pt x="1884" y="725"/>
                  <a:pt x="1882" y="725"/>
                  <a:pt x="1882" y="727"/>
                </a:cubicBezTo>
                <a:cubicBezTo>
                  <a:pt x="1881" y="728"/>
                  <a:pt x="1880" y="728"/>
                  <a:pt x="1879" y="728"/>
                </a:cubicBezTo>
                <a:cubicBezTo>
                  <a:pt x="1878" y="728"/>
                  <a:pt x="1877" y="728"/>
                  <a:pt x="1876" y="728"/>
                </a:cubicBezTo>
                <a:cubicBezTo>
                  <a:pt x="1875" y="728"/>
                  <a:pt x="1874" y="728"/>
                  <a:pt x="1874" y="728"/>
                </a:cubicBezTo>
                <a:cubicBezTo>
                  <a:pt x="1873" y="728"/>
                  <a:pt x="1873" y="728"/>
                  <a:pt x="1873" y="728"/>
                </a:cubicBezTo>
                <a:lnTo>
                  <a:pt x="1874" y="730"/>
                </a:lnTo>
                <a:cubicBezTo>
                  <a:pt x="1874" y="731"/>
                  <a:pt x="1874" y="732"/>
                  <a:pt x="1872" y="732"/>
                </a:cubicBezTo>
                <a:lnTo>
                  <a:pt x="1864" y="730"/>
                </a:lnTo>
                <a:lnTo>
                  <a:pt x="1863" y="730"/>
                </a:lnTo>
                <a:lnTo>
                  <a:pt x="1864" y="731"/>
                </a:lnTo>
                <a:cubicBezTo>
                  <a:pt x="1865" y="732"/>
                  <a:pt x="1865" y="732"/>
                  <a:pt x="1865" y="733"/>
                </a:cubicBezTo>
                <a:lnTo>
                  <a:pt x="1865" y="735"/>
                </a:lnTo>
                <a:lnTo>
                  <a:pt x="1866" y="735"/>
                </a:lnTo>
                <a:close/>
                <a:moveTo>
                  <a:pt x="1972" y="686"/>
                </a:moveTo>
                <a:cubicBezTo>
                  <a:pt x="1974" y="686"/>
                  <a:pt x="1975" y="685"/>
                  <a:pt x="1976" y="683"/>
                </a:cubicBezTo>
                <a:lnTo>
                  <a:pt x="1976" y="683"/>
                </a:lnTo>
                <a:cubicBezTo>
                  <a:pt x="1976" y="683"/>
                  <a:pt x="1976" y="683"/>
                  <a:pt x="1976" y="683"/>
                </a:cubicBezTo>
                <a:lnTo>
                  <a:pt x="1974" y="683"/>
                </a:lnTo>
                <a:cubicBezTo>
                  <a:pt x="1972" y="684"/>
                  <a:pt x="1971" y="685"/>
                  <a:pt x="1971" y="686"/>
                </a:cubicBezTo>
                <a:cubicBezTo>
                  <a:pt x="1971" y="686"/>
                  <a:pt x="1971" y="686"/>
                  <a:pt x="1972" y="686"/>
                </a:cubicBezTo>
                <a:close/>
                <a:moveTo>
                  <a:pt x="1852" y="727"/>
                </a:moveTo>
                <a:cubicBezTo>
                  <a:pt x="1857" y="727"/>
                  <a:pt x="1861" y="726"/>
                  <a:pt x="1866" y="725"/>
                </a:cubicBezTo>
                <a:cubicBezTo>
                  <a:pt x="1869" y="724"/>
                  <a:pt x="1872" y="724"/>
                  <a:pt x="1874" y="723"/>
                </a:cubicBezTo>
                <a:cubicBezTo>
                  <a:pt x="1877" y="722"/>
                  <a:pt x="1878" y="722"/>
                  <a:pt x="1879" y="722"/>
                </a:cubicBezTo>
                <a:cubicBezTo>
                  <a:pt x="1879" y="721"/>
                  <a:pt x="1880" y="721"/>
                  <a:pt x="1881" y="721"/>
                </a:cubicBezTo>
                <a:cubicBezTo>
                  <a:pt x="1882" y="720"/>
                  <a:pt x="1882" y="720"/>
                  <a:pt x="1883" y="719"/>
                </a:cubicBezTo>
                <a:cubicBezTo>
                  <a:pt x="1884" y="718"/>
                  <a:pt x="1885" y="718"/>
                  <a:pt x="1887" y="718"/>
                </a:cubicBezTo>
                <a:cubicBezTo>
                  <a:pt x="1889" y="718"/>
                  <a:pt x="1895" y="716"/>
                  <a:pt x="1904" y="712"/>
                </a:cubicBezTo>
                <a:cubicBezTo>
                  <a:pt x="1913" y="708"/>
                  <a:pt x="1922" y="705"/>
                  <a:pt x="1931" y="700"/>
                </a:cubicBezTo>
                <a:cubicBezTo>
                  <a:pt x="1937" y="697"/>
                  <a:pt x="1942" y="695"/>
                  <a:pt x="1947" y="694"/>
                </a:cubicBezTo>
                <a:cubicBezTo>
                  <a:pt x="1948" y="694"/>
                  <a:pt x="1950" y="693"/>
                  <a:pt x="1951" y="691"/>
                </a:cubicBezTo>
                <a:cubicBezTo>
                  <a:pt x="1951" y="690"/>
                  <a:pt x="1952" y="690"/>
                  <a:pt x="1952" y="690"/>
                </a:cubicBezTo>
                <a:lnTo>
                  <a:pt x="1954" y="690"/>
                </a:lnTo>
                <a:cubicBezTo>
                  <a:pt x="1955" y="690"/>
                  <a:pt x="1955" y="689"/>
                  <a:pt x="1955" y="688"/>
                </a:cubicBezTo>
                <a:cubicBezTo>
                  <a:pt x="1955" y="687"/>
                  <a:pt x="1956" y="687"/>
                  <a:pt x="1958" y="687"/>
                </a:cubicBezTo>
                <a:cubicBezTo>
                  <a:pt x="1959" y="687"/>
                  <a:pt x="1961" y="686"/>
                  <a:pt x="1962" y="686"/>
                </a:cubicBezTo>
                <a:cubicBezTo>
                  <a:pt x="1965" y="683"/>
                  <a:pt x="1967" y="682"/>
                  <a:pt x="1969" y="681"/>
                </a:cubicBezTo>
                <a:cubicBezTo>
                  <a:pt x="1971" y="681"/>
                  <a:pt x="1972" y="680"/>
                  <a:pt x="1973" y="679"/>
                </a:cubicBezTo>
                <a:cubicBezTo>
                  <a:pt x="1974" y="678"/>
                  <a:pt x="1975" y="678"/>
                  <a:pt x="1976" y="678"/>
                </a:cubicBezTo>
                <a:cubicBezTo>
                  <a:pt x="1981" y="677"/>
                  <a:pt x="1983" y="677"/>
                  <a:pt x="1983" y="676"/>
                </a:cubicBezTo>
                <a:lnTo>
                  <a:pt x="1983" y="674"/>
                </a:lnTo>
                <a:cubicBezTo>
                  <a:pt x="1983" y="674"/>
                  <a:pt x="1984" y="674"/>
                  <a:pt x="1986" y="674"/>
                </a:cubicBezTo>
                <a:cubicBezTo>
                  <a:pt x="1988" y="674"/>
                  <a:pt x="1989" y="674"/>
                  <a:pt x="1989" y="674"/>
                </a:cubicBezTo>
                <a:cubicBezTo>
                  <a:pt x="1989" y="674"/>
                  <a:pt x="1988" y="675"/>
                  <a:pt x="1987" y="676"/>
                </a:cubicBezTo>
                <a:cubicBezTo>
                  <a:pt x="1985" y="677"/>
                  <a:pt x="1984" y="678"/>
                  <a:pt x="1984" y="679"/>
                </a:cubicBezTo>
                <a:cubicBezTo>
                  <a:pt x="1984" y="679"/>
                  <a:pt x="1985" y="680"/>
                  <a:pt x="1986" y="680"/>
                </a:cubicBezTo>
                <a:lnTo>
                  <a:pt x="1987" y="681"/>
                </a:lnTo>
                <a:cubicBezTo>
                  <a:pt x="1987" y="681"/>
                  <a:pt x="1987" y="681"/>
                  <a:pt x="1986" y="681"/>
                </a:cubicBezTo>
                <a:lnTo>
                  <a:pt x="1980" y="680"/>
                </a:lnTo>
                <a:cubicBezTo>
                  <a:pt x="1980" y="680"/>
                  <a:pt x="1981" y="681"/>
                  <a:pt x="1982" y="681"/>
                </a:cubicBezTo>
                <a:cubicBezTo>
                  <a:pt x="1982" y="681"/>
                  <a:pt x="1983" y="682"/>
                  <a:pt x="1983" y="683"/>
                </a:cubicBezTo>
                <a:lnTo>
                  <a:pt x="1982" y="685"/>
                </a:lnTo>
                <a:cubicBezTo>
                  <a:pt x="1982" y="686"/>
                  <a:pt x="1983" y="687"/>
                  <a:pt x="1984" y="687"/>
                </a:cubicBezTo>
                <a:cubicBezTo>
                  <a:pt x="1985" y="687"/>
                  <a:pt x="1987" y="685"/>
                  <a:pt x="1989" y="681"/>
                </a:cubicBezTo>
                <a:cubicBezTo>
                  <a:pt x="1990" y="679"/>
                  <a:pt x="1991" y="678"/>
                  <a:pt x="1992" y="676"/>
                </a:cubicBezTo>
                <a:cubicBezTo>
                  <a:pt x="1994" y="675"/>
                  <a:pt x="1994" y="674"/>
                  <a:pt x="1995" y="674"/>
                </a:cubicBezTo>
                <a:cubicBezTo>
                  <a:pt x="1996" y="674"/>
                  <a:pt x="1997" y="675"/>
                  <a:pt x="1997" y="675"/>
                </a:cubicBezTo>
                <a:cubicBezTo>
                  <a:pt x="1997" y="675"/>
                  <a:pt x="1996" y="676"/>
                  <a:pt x="1995" y="676"/>
                </a:cubicBezTo>
                <a:cubicBezTo>
                  <a:pt x="1994" y="677"/>
                  <a:pt x="1993" y="678"/>
                  <a:pt x="1993" y="679"/>
                </a:cubicBezTo>
                <a:cubicBezTo>
                  <a:pt x="1993" y="680"/>
                  <a:pt x="1994" y="681"/>
                  <a:pt x="1996" y="681"/>
                </a:cubicBezTo>
                <a:cubicBezTo>
                  <a:pt x="1996" y="681"/>
                  <a:pt x="1997" y="680"/>
                  <a:pt x="1997" y="679"/>
                </a:cubicBezTo>
                <a:cubicBezTo>
                  <a:pt x="1997" y="679"/>
                  <a:pt x="1997" y="678"/>
                  <a:pt x="1998" y="676"/>
                </a:cubicBezTo>
                <a:lnTo>
                  <a:pt x="1998" y="673"/>
                </a:lnTo>
                <a:cubicBezTo>
                  <a:pt x="1998" y="672"/>
                  <a:pt x="1997" y="671"/>
                  <a:pt x="1996" y="669"/>
                </a:cubicBezTo>
                <a:cubicBezTo>
                  <a:pt x="1996" y="668"/>
                  <a:pt x="1995" y="666"/>
                  <a:pt x="1995" y="666"/>
                </a:cubicBezTo>
                <a:cubicBezTo>
                  <a:pt x="1995" y="666"/>
                  <a:pt x="1995" y="665"/>
                  <a:pt x="1996" y="665"/>
                </a:cubicBezTo>
                <a:lnTo>
                  <a:pt x="1999" y="666"/>
                </a:lnTo>
                <a:cubicBezTo>
                  <a:pt x="2001" y="666"/>
                  <a:pt x="2002" y="665"/>
                  <a:pt x="2002" y="664"/>
                </a:cubicBezTo>
                <a:lnTo>
                  <a:pt x="2002" y="663"/>
                </a:lnTo>
                <a:cubicBezTo>
                  <a:pt x="2002" y="662"/>
                  <a:pt x="2005" y="661"/>
                  <a:pt x="2011" y="661"/>
                </a:cubicBezTo>
                <a:cubicBezTo>
                  <a:pt x="2011" y="662"/>
                  <a:pt x="2009" y="664"/>
                  <a:pt x="2006" y="666"/>
                </a:cubicBezTo>
                <a:cubicBezTo>
                  <a:pt x="2002" y="668"/>
                  <a:pt x="2000" y="669"/>
                  <a:pt x="2000" y="670"/>
                </a:cubicBezTo>
                <a:lnTo>
                  <a:pt x="2000" y="670"/>
                </a:lnTo>
                <a:cubicBezTo>
                  <a:pt x="2002" y="670"/>
                  <a:pt x="2003" y="671"/>
                  <a:pt x="2003" y="672"/>
                </a:cubicBezTo>
                <a:lnTo>
                  <a:pt x="2003" y="673"/>
                </a:lnTo>
                <a:cubicBezTo>
                  <a:pt x="2003" y="674"/>
                  <a:pt x="2004" y="675"/>
                  <a:pt x="2005" y="676"/>
                </a:cubicBezTo>
                <a:lnTo>
                  <a:pt x="2007" y="676"/>
                </a:lnTo>
                <a:lnTo>
                  <a:pt x="2008" y="676"/>
                </a:lnTo>
                <a:lnTo>
                  <a:pt x="2006" y="675"/>
                </a:lnTo>
                <a:cubicBezTo>
                  <a:pt x="2004" y="674"/>
                  <a:pt x="2003" y="673"/>
                  <a:pt x="2003" y="673"/>
                </a:cubicBezTo>
                <a:cubicBezTo>
                  <a:pt x="2003" y="673"/>
                  <a:pt x="2004" y="672"/>
                  <a:pt x="2004" y="672"/>
                </a:cubicBezTo>
                <a:cubicBezTo>
                  <a:pt x="2005" y="672"/>
                  <a:pt x="2006" y="672"/>
                  <a:pt x="2006" y="671"/>
                </a:cubicBezTo>
                <a:cubicBezTo>
                  <a:pt x="2007" y="671"/>
                  <a:pt x="2007" y="670"/>
                  <a:pt x="2007" y="670"/>
                </a:cubicBezTo>
                <a:cubicBezTo>
                  <a:pt x="2007" y="668"/>
                  <a:pt x="2008" y="667"/>
                  <a:pt x="2009" y="666"/>
                </a:cubicBezTo>
                <a:cubicBezTo>
                  <a:pt x="2011" y="666"/>
                  <a:pt x="2011" y="666"/>
                  <a:pt x="2011" y="667"/>
                </a:cubicBezTo>
                <a:lnTo>
                  <a:pt x="2011" y="668"/>
                </a:lnTo>
                <a:cubicBezTo>
                  <a:pt x="2011" y="668"/>
                  <a:pt x="2011" y="668"/>
                  <a:pt x="2012" y="669"/>
                </a:cubicBezTo>
                <a:cubicBezTo>
                  <a:pt x="2012" y="669"/>
                  <a:pt x="2012" y="669"/>
                  <a:pt x="2013" y="669"/>
                </a:cubicBezTo>
                <a:cubicBezTo>
                  <a:pt x="2014" y="669"/>
                  <a:pt x="2015" y="665"/>
                  <a:pt x="2015" y="660"/>
                </a:cubicBezTo>
                <a:cubicBezTo>
                  <a:pt x="2015" y="656"/>
                  <a:pt x="2014" y="654"/>
                  <a:pt x="2013" y="653"/>
                </a:cubicBezTo>
                <a:cubicBezTo>
                  <a:pt x="2011" y="653"/>
                  <a:pt x="1999" y="659"/>
                  <a:pt x="1975" y="671"/>
                </a:cubicBezTo>
                <a:cubicBezTo>
                  <a:pt x="1931" y="694"/>
                  <a:pt x="1903" y="707"/>
                  <a:pt x="1890" y="710"/>
                </a:cubicBezTo>
                <a:lnTo>
                  <a:pt x="1874" y="714"/>
                </a:lnTo>
                <a:cubicBezTo>
                  <a:pt x="1867" y="717"/>
                  <a:pt x="1857" y="718"/>
                  <a:pt x="1846" y="718"/>
                </a:cubicBezTo>
                <a:cubicBezTo>
                  <a:pt x="1836" y="718"/>
                  <a:pt x="1831" y="718"/>
                  <a:pt x="1831" y="720"/>
                </a:cubicBezTo>
                <a:cubicBezTo>
                  <a:pt x="1831" y="721"/>
                  <a:pt x="1833" y="722"/>
                  <a:pt x="1838" y="724"/>
                </a:cubicBezTo>
                <a:cubicBezTo>
                  <a:pt x="1843" y="726"/>
                  <a:pt x="1848" y="727"/>
                  <a:pt x="1852" y="727"/>
                </a:cubicBezTo>
                <a:close/>
                <a:moveTo>
                  <a:pt x="2021" y="652"/>
                </a:moveTo>
                <a:cubicBezTo>
                  <a:pt x="2022" y="652"/>
                  <a:pt x="2023" y="651"/>
                  <a:pt x="2023" y="650"/>
                </a:cubicBezTo>
                <a:cubicBezTo>
                  <a:pt x="2023" y="649"/>
                  <a:pt x="2023" y="648"/>
                  <a:pt x="2022" y="648"/>
                </a:cubicBezTo>
                <a:lnTo>
                  <a:pt x="2021" y="647"/>
                </a:lnTo>
                <a:cubicBezTo>
                  <a:pt x="2020" y="647"/>
                  <a:pt x="2019" y="647"/>
                  <a:pt x="2018" y="648"/>
                </a:cubicBezTo>
                <a:cubicBezTo>
                  <a:pt x="2017" y="649"/>
                  <a:pt x="2017" y="649"/>
                  <a:pt x="2017" y="650"/>
                </a:cubicBezTo>
                <a:cubicBezTo>
                  <a:pt x="2017" y="650"/>
                  <a:pt x="2017" y="651"/>
                  <a:pt x="2019" y="652"/>
                </a:cubicBezTo>
                <a:lnTo>
                  <a:pt x="2021" y="652"/>
                </a:lnTo>
                <a:close/>
                <a:moveTo>
                  <a:pt x="2027" y="650"/>
                </a:moveTo>
                <a:cubicBezTo>
                  <a:pt x="2027" y="650"/>
                  <a:pt x="2028" y="650"/>
                  <a:pt x="2029" y="649"/>
                </a:cubicBezTo>
                <a:cubicBezTo>
                  <a:pt x="2031" y="648"/>
                  <a:pt x="2033" y="647"/>
                  <a:pt x="2033" y="645"/>
                </a:cubicBezTo>
                <a:lnTo>
                  <a:pt x="2033" y="644"/>
                </a:lnTo>
                <a:cubicBezTo>
                  <a:pt x="2032" y="643"/>
                  <a:pt x="2031" y="643"/>
                  <a:pt x="2029" y="643"/>
                </a:cubicBezTo>
                <a:cubicBezTo>
                  <a:pt x="2029" y="643"/>
                  <a:pt x="2028" y="643"/>
                  <a:pt x="2027" y="644"/>
                </a:cubicBezTo>
                <a:cubicBezTo>
                  <a:pt x="2026" y="645"/>
                  <a:pt x="2026" y="647"/>
                  <a:pt x="2026" y="649"/>
                </a:cubicBezTo>
                <a:cubicBezTo>
                  <a:pt x="2026" y="649"/>
                  <a:pt x="2026" y="650"/>
                  <a:pt x="2027" y="650"/>
                </a:cubicBezTo>
                <a:close/>
                <a:moveTo>
                  <a:pt x="2137" y="597"/>
                </a:moveTo>
                <a:cubicBezTo>
                  <a:pt x="2139" y="597"/>
                  <a:pt x="2139" y="595"/>
                  <a:pt x="2139" y="593"/>
                </a:cubicBezTo>
                <a:cubicBezTo>
                  <a:pt x="2139" y="592"/>
                  <a:pt x="2139" y="591"/>
                  <a:pt x="2138" y="591"/>
                </a:cubicBezTo>
                <a:lnTo>
                  <a:pt x="2137" y="592"/>
                </a:lnTo>
                <a:cubicBezTo>
                  <a:pt x="2136" y="592"/>
                  <a:pt x="2136" y="593"/>
                  <a:pt x="2136" y="595"/>
                </a:cubicBezTo>
                <a:cubicBezTo>
                  <a:pt x="2136" y="595"/>
                  <a:pt x="2136" y="595"/>
                  <a:pt x="2136" y="595"/>
                </a:cubicBezTo>
                <a:cubicBezTo>
                  <a:pt x="2137" y="596"/>
                  <a:pt x="2137" y="596"/>
                  <a:pt x="2137" y="597"/>
                </a:cubicBezTo>
                <a:close/>
                <a:moveTo>
                  <a:pt x="1846" y="576"/>
                </a:moveTo>
                <a:cubicBezTo>
                  <a:pt x="1846" y="576"/>
                  <a:pt x="1846" y="576"/>
                  <a:pt x="1846" y="575"/>
                </a:cubicBezTo>
                <a:cubicBezTo>
                  <a:pt x="1846" y="575"/>
                  <a:pt x="1846" y="574"/>
                  <a:pt x="1847" y="573"/>
                </a:cubicBezTo>
                <a:cubicBezTo>
                  <a:pt x="1848" y="572"/>
                  <a:pt x="1850" y="571"/>
                  <a:pt x="1850" y="570"/>
                </a:cubicBezTo>
                <a:cubicBezTo>
                  <a:pt x="1851" y="570"/>
                  <a:pt x="1852" y="569"/>
                  <a:pt x="1852" y="569"/>
                </a:cubicBezTo>
                <a:cubicBezTo>
                  <a:pt x="1853" y="569"/>
                  <a:pt x="1853" y="570"/>
                  <a:pt x="1853" y="570"/>
                </a:cubicBezTo>
                <a:cubicBezTo>
                  <a:pt x="1853" y="570"/>
                  <a:pt x="1852" y="571"/>
                  <a:pt x="1851" y="573"/>
                </a:cubicBezTo>
                <a:cubicBezTo>
                  <a:pt x="1849" y="575"/>
                  <a:pt x="1848" y="576"/>
                  <a:pt x="1846" y="576"/>
                </a:cubicBezTo>
                <a:close/>
                <a:moveTo>
                  <a:pt x="2169" y="578"/>
                </a:moveTo>
                <a:cubicBezTo>
                  <a:pt x="2169" y="578"/>
                  <a:pt x="2169" y="578"/>
                  <a:pt x="2169" y="578"/>
                </a:cubicBezTo>
                <a:cubicBezTo>
                  <a:pt x="2169" y="577"/>
                  <a:pt x="2170" y="576"/>
                  <a:pt x="2172" y="575"/>
                </a:cubicBezTo>
                <a:cubicBezTo>
                  <a:pt x="2173" y="573"/>
                  <a:pt x="2175" y="572"/>
                  <a:pt x="2176" y="572"/>
                </a:cubicBezTo>
                <a:cubicBezTo>
                  <a:pt x="2176" y="572"/>
                  <a:pt x="2177" y="573"/>
                  <a:pt x="2177" y="573"/>
                </a:cubicBezTo>
                <a:lnTo>
                  <a:pt x="2177" y="573"/>
                </a:lnTo>
                <a:cubicBezTo>
                  <a:pt x="2177" y="574"/>
                  <a:pt x="2177" y="575"/>
                  <a:pt x="2176" y="576"/>
                </a:cubicBezTo>
                <a:cubicBezTo>
                  <a:pt x="2175" y="576"/>
                  <a:pt x="2174" y="577"/>
                  <a:pt x="2173" y="578"/>
                </a:cubicBezTo>
                <a:cubicBezTo>
                  <a:pt x="2172" y="578"/>
                  <a:pt x="2170" y="578"/>
                  <a:pt x="2169" y="578"/>
                </a:cubicBezTo>
                <a:close/>
                <a:moveTo>
                  <a:pt x="1827" y="679"/>
                </a:moveTo>
                <a:cubicBezTo>
                  <a:pt x="1826" y="679"/>
                  <a:pt x="1826" y="678"/>
                  <a:pt x="1826" y="676"/>
                </a:cubicBezTo>
                <a:cubicBezTo>
                  <a:pt x="1826" y="674"/>
                  <a:pt x="1826" y="674"/>
                  <a:pt x="1827" y="674"/>
                </a:cubicBezTo>
                <a:cubicBezTo>
                  <a:pt x="1827" y="674"/>
                  <a:pt x="1827" y="674"/>
                  <a:pt x="1828" y="674"/>
                </a:cubicBezTo>
                <a:cubicBezTo>
                  <a:pt x="1828" y="674"/>
                  <a:pt x="1828" y="675"/>
                  <a:pt x="1828" y="676"/>
                </a:cubicBezTo>
                <a:cubicBezTo>
                  <a:pt x="1828" y="676"/>
                  <a:pt x="1828" y="677"/>
                  <a:pt x="1828" y="678"/>
                </a:cubicBezTo>
                <a:cubicBezTo>
                  <a:pt x="1827" y="679"/>
                  <a:pt x="1827" y="679"/>
                  <a:pt x="1827" y="679"/>
                </a:cubicBezTo>
                <a:close/>
                <a:moveTo>
                  <a:pt x="2034" y="656"/>
                </a:moveTo>
                <a:cubicBezTo>
                  <a:pt x="2034" y="656"/>
                  <a:pt x="2033" y="656"/>
                  <a:pt x="2033" y="654"/>
                </a:cubicBezTo>
                <a:cubicBezTo>
                  <a:pt x="2033" y="654"/>
                  <a:pt x="2034" y="653"/>
                  <a:pt x="2035" y="652"/>
                </a:cubicBezTo>
                <a:cubicBezTo>
                  <a:pt x="2036" y="652"/>
                  <a:pt x="2036" y="652"/>
                  <a:pt x="2037" y="651"/>
                </a:cubicBezTo>
                <a:cubicBezTo>
                  <a:pt x="2038" y="650"/>
                  <a:pt x="2039" y="650"/>
                  <a:pt x="2039" y="650"/>
                </a:cubicBezTo>
                <a:lnTo>
                  <a:pt x="2040" y="650"/>
                </a:lnTo>
                <a:lnTo>
                  <a:pt x="2038" y="653"/>
                </a:lnTo>
                <a:cubicBezTo>
                  <a:pt x="2036" y="655"/>
                  <a:pt x="2035" y="656"/>
                  <a:pt x="2034" y="656"/>
                </a:cubicBezTo>
                <a:close/>
                <a:moveTo>
                  <a:pt x="2085" y="633"/>
                </a:moveTo>
                <a:lnTo>
                  <a:pt x="2082" y="633"/>
                </a:lnTo>
                <a:cubicBezTo>
                  <a:pt x="2082" y="633"/>
                  <a:pt x="2082" y="632"/>
                  <a:pt x="2084" y="632"/>
                </a:cubicBezTo>
                <a:cubicBezTo>
                  <a:pt x="2086" y="631"/>
                  <a:pt x="2088" y="630"/>
                  <a:pt x="2090" y="627"/>
                </a:cubicBezTo>
                <a:cubicBezTo>
                  <a:pt x="2092" y="626"/>
                  <a:pt x="2094" y="625"/>
                  <a:pt x="2096" y="625"/>
                </a:cubicBezTo>
                <a:cubicBezTo>
                  <a:pt x="2098" y="625"/>
                  <a:pt x="2098" y="625"/>
                  <a:pt x="2098" y="626"/>
                </a:cubicBezTo>
                <a:lnTo>
                  <a:pt x="2095" y="626"/>
                </a:lnTo>
                <a:cubicBezTo>
                  <a:pt x="2094" y="626"/>
                  <a:pt x="2092" y="627"/>
                  <a:pt x="2090" y="630"/>
                </a:cubicBezTo>
                <a:cubicBezTo>
                  <a:pt x="2088" y="632"/>
                  <a:pt x="2086" y="633"/>
                  <a:pt x="2085" y="633"/>
                </a:cubicBezTo>
                <a:close/>
                <a:moveTo>
                  <a:pt x="2067" y="644"/>
                </a:moveTo>
                <a:cubicBezTo>
                  <a:pt x="2066" y="644"/>
                  <a:pt x="2066" y="643"/>
                  <a:pt x="2066" y="643"/>
                </a:cubicBezTo>
                <a:cubicBezTo>
                  <a:pt x="2066" y="642"/>
                  <a:pt x="2068" y="640"/>
                  <a:pt x="2073" y="638"/>
                </a:cubicBezTo>
                <a:cubicBezTo>
                  <a:pt x="2075" y="637"/>
                  <a:pt x="2077" y="637"/>
                  <a:pt x="2078" y="637"/>
                </a:cubicBezTo>
                <a:lnTo>
                  <a:pt x="2078" y="637"/>
                </a:lnTo>
                <a:cubicBezTo>
                  <a:pt x="2078" y="637"/>
                  <a:pt x="2078" y="638"/>
                  <a:pt x="2077" y="639"/>
                </a:cubicBezTo>
                <a:cubicBezTo>
                  <a:pt x="2076" y="640"/>
                  <a:pt x="2074" y="641"/>
                  <a:pt x="2072" y="642"/>
                </a:cubicBezTo>
                <a:cubicBezTo>
                  <a:pt x="2070" y="643"/>
                  <a:pt x="2069" y="644"/>
                  <a:pt x="2067" y="644"/>
                </a:cubicBezTo>
                <a:close/>
                <a:moveTo>
                  <a:pt x="2027" y="669"/>
                </a:moveTo>
                <a:cubicBezTo>
                  <a:pt x="2026" y="669"/>
                  <a:pt x="2025" y="669"/>
                  <a:pt x="2024" y="669"/>
                </a:cubicBezTo>
                <a:cubicBezTo>
                  <a:pt x="2022" y="669"/>
                  <a:pt x="2021" y="668"/>
                  <a:pt x="2021" y="667"/>
                </a:cubicBezTo>
                <a:cubicBezTo>
                  <a:pt x="2021" y="666"/>
                  <a:pt x="2023" y="665"/>
                  <a:pt x="2026" y="665"/>
                </a:cubicBezTo>
                <a:cubicBezTo>
                  <a:pt x="2029" y="665"/>
                  <a:pt x="2030" y="665"/>
                  <a:pt x="2031" y="664"/>
                </a:cubicBezTo>
                <a:lnTo>
                  <a:pt x="2029" y="662"/>
                </a:lnTo>
                <a:cubicBezTo>
                  <a:pt x="2029" y="661"/>
                  <a:pt x="2030" y="661"/>
                  <a:pt x="2030" y="661"/>
                </a:cubicBezTo>
                <a:lnTo>
                  <a:pt x="2031" y="661"/>
                </a:lnTo>
                <a:cubicBezTo>
                  <a:pt x="2032" y="661"/>
                  <a:pt x="2034" y="660"/>
                  <a:pt x="2038" y="659"/>
                </a:cubicBezTo>
                <a:cubicBezTo>
                  <a:pt x="2042" y="657"/>
                  <a:pt x="2045" y="655"/>
                  <a:pt x="2049" y="653"/>
                </a:cubicBezTo>
                <a:cubicBezTo>
                  <a:pt x="2053" y="651"/>
                  <a:pt x="2056" y="649"/>
                  <a:pt x="2058" y="647"/>
                </a:cubicBezTo>
                <a:cubicBezTo>
                  <a:pt x="2060" y="646"/>
                  <a:pt x="2061" y="645"/>
                  <a:pt x="2062" y="645"/>
                </a:cubicBezTo>
                <a:cubicBezTo>
                  <a:pt x="2063" y="645"/>
                  <a:pt x="2064" y="646"/>
                  <a:pt x="2064" y="647"/>
                </a:cubicBezTo>
                <a:cubicBezTo>
                  <a:pt x="2064" y="649"/>
                  <a:pt x="2063" y="649"/>
                  <a:pt x="2061" y="649"/>
                </a:cubicBezTo>
                <a:cubicBezTo>
                  <a:pt x="2060" y="649"/>
                  <a:pt x="2059" y="650"/>
                  <a:pt x="2058" y="651"/>
                </a:cubicBezTo>
                <a:lnTo>
                  <a:pt x="2059" y="653"/>
                </a:lnTo>
                <a:cubicBezTo>
                  <a:pt x="2059" y="654"/>
                  <a:pt x="2059" y="654"/>
                  <a:pt x="2059" y="654"/>
                </a:cubicBezTo>
                <a:lnTo>
                  <a:pt x="2057" y="653"/>
                </a:lnTo>
                <a:cubicBezTo>
                  <a:pt x="2055" y="653"/>
                  <a:pt x="2054" y="654"/>
                  <a:pt x="2052" y="656"/>
                </a:cubicBezTo>
                <a:cubicBezTo>
                  <a:pt x="2051" y="658"/>
                  <a:pt x="2049" y="659"/>
                  <a:pt x="2048" y="659"/>
                </a:cubicBezTo>
                <a:cubicBezTo>
                  <a:pt x="2046" y="659"/>
                  <a:pt x="2044" y="660"/>
                  <a:pt x="2041" y="661"/>
                </a:cubicBezTo>
                <a:cubicBezTo>
                  <a:pt x="2035" y="665"/>
                  <a:pt x="2031" y="667"/>
                  <a:pt x="2031" y="668"/>
                </a:cubicBezTo>
                <a:cubicBezTo>
                  <a:pt x="2031" y="669"/>
                  <a:pt x="2030" y="669"/>
                  <a:pt x="2027" y="669"/>
                </a:cubicBezTo>
                <a:close/>
                <a:moveTo>
                  <a:pt x="2021" y="667"/>
                </a:moveTo>
                <a:close/>
                <a:moveTo>
                  <a:pt x="2104" y="623"/>
                </a:moveTo>
                <a:cubicBezTo>
                  <a:pt x="2103" y="623"/>
                  <a:pt x="2103" y="623"/>
                  <a:pt x="2103" y="623"/>
                </a:cubicBezTo>
                <a:cubicBezTo>
                  <a:pt x="2103" y="622"/>
                  <a:pt x="2104" y="620"/>
                  <a:pt x="2106" y="618"/>
                </a:cubicBezTo>
                <a:cubicBezTo>
                  <a:pt x="2109" y="614"/>
                  <a:pt x="2112" y="611"/>
                  <a:pt x="2113" y="611"/>
                </a:cubicBezTo>
                <a:cubicBezTo>
                  <a:pt x="2115" y="611"/>
                  <a:pt x="2117" y="610"/>
                  <a:pt x="2120" y="608"/>
                </a:cubicBezTo>
                <a:cubicBezTo>
                  <a:pt x="2123" y="606"/>
                  <a:pt x="2125" y="605"/>
                  <a:pt x="2126" y="605"/>
                </a:cubicBezTo>
                <a:cubicBezTo>
                  <a:pt x="2127" y="605"/>
                  <a:pt x="2127" y="605"/>
                  <a:pt x="2127" y="606"/>
                </a:cubicBezTo>
                <a:cubicBezTo>
                  <a:pt x="2127" y="608"/>
                  <a:pt x="2127" y="610"/>
                  <a:pt x="2126" y="610"/>
                </a:cubicBezTo>
                <a:lnTo>
                  <a:pt x="2124" y="609"/>
                </a:lnTo>
                <a:cubicBezTo>
                  <a:pt x="2123" y="609"/>
                  <a:pt x="2120" y="610"/>
                  <a:pt x="2117" y="613"/>
                </a:cubicBezTo>
                <a:cubicBezTo>
                  <a:pt x="2114" y="616"/>
                  <a:pt x="2111" y="617"/>
                  <a:pt x="2110" y="617"/>
                </a:cubicBezTo>
                <a:cubicBezTo>
                  <a:pt x="2108" y="617"/>
                  <a:pt x="2107" y="619"/>
                  <a:pt x="2105" y="621"/>
                </a:cubicBezTo>
                <a:cubicBezTo>
                  <a:pt x="2105" y="623"/>
                  <a:pt x="2104" y="623"/>
                  <a:pt x="2104" y="623"/>
                </a:cubicBezTo>
                <a:close/>
                <a:moveTo>
                  <a:pt x="1938" y="362"/>
                </a:moveTo>
                <a:close/>
                <a:moveTo>
                  <a:pt x="1923" y="383"/>
                </a:moveTo>
                <a:cubicBezTo>
                  <a:pt x="1923" y="383"/>
                  <a:pt x="1923" y="383"/>
                  <a:pt x="1923" y="382"/>
                </a:cubicBezTo>
                <a:lnTo>
                  <a:pt x="1929" y="377"/>
                </a:lnTo>
                <a:cubicBezTo>
                  <a:pt x="1929" y="377"/>
                  <a:pt x="1929" y="378"/>
                  <a:pt x="1927" y="379"/>
                </a:cubicBezTo>
                <a:cubicBezTo>
                  <a:pt x="1925" y="382"/>
                  <a:pt x="1924" y="383"/>
                  <a:pt x="1923" y="383"/>
                </a:cubicBezTo>
                <a:close/>
                <a:moveTo>
                  <a:pt x="1912" y="394"/>
                </a:moveTo>
                <a:close/>
                <a:moveTo>
                  <a:pt x="1939" y="362"/>
                </a:moveTo>
                <a:cubicBezTo>
                  <a:pt x="1938" y="362"/>
                  <a:pt x="1938" y="362"/>
                  <a:pt x="1938" y="362"/>
                </a:cubicBezTo>
                <a:cubicBezTo>
                  <a:pt x="1938" y="361"/>
                  <a:pt x="1939" y="360"/>
                  <a:pt x="1941" y="358"/>
                </a:cubicBezTo>
                <a:lnTo>
                  <a:pt x="1944" y="356"/>
                </a:lnTo>
                <a:lnTo>
                  <a:pt x="1942" y="359"/>
                </a:lnTo>
                <a:cubicBezTo>
                  <a:pt x="1941" y="361"/>
                  <a:pt x="1939" y="362"/>
                  <a:pt x="1939" y="362"/>
                </a:cubicBezTo>
                <a:close/>
                <a:moveTo>
                  <a:pt x="1923" y="382"/>
                </a:moveTo>
                <a:close/>
                <a:moveTo>
                  <a:pt x="1887" y="458"/>
                </a:moveTo>
                <a:cubicBezTo>
                  <a:pt x="1886" y="458"/>
                  <a:pt x="1885" y="457"/>
                  <a:pt x="1884" y="455"/>
                </a:cubicBezTo>
                <a:lnTo>
                  <a:pt x="1884" y="455"/>
                </a:lnTo>
                <a:cubicBezTo>
                  <a:pt x="1884" y="453"/>
                  <a:pt x="1885" y="451"/>
                  <a:pt x="1886" y="451"/>
                </a:cubicBezTo>
                <a:cubicBezTo>
                  <a:pt x="1886" y="451"/>
                  <a:pt x="1887" y="452"/>
                  <a:pt x="1887" y="452"/>
                </a:cubicBezTo>
                <a:cubicBezTo>
                  <a:pt x="1888" y="453"/>
                  <a:pt x="1889" y="453"/>
                  <a:pt x="1889" y="453"/>
                </a:cubicBezTo>
                <a:cubicBezTo>
                  <a:pt x="1890" y="453"/>
                  <a:pt x="1891" y="453"/>
                  <a:pt x="1892" y="451"/>
                </a:cubicBezTo>
                <a:cubicBezTo>
                  <a:pt x="1893" y="451"/>
                  <a:pt x="1894" y="450"/>
                  <a:pt x="1894" y="450"/>
                </a:cubicBezTo>
                <a:lnTo>
                  <a:pt x="1894" y="453"/>
                </a:lnTo>
                <a:cubicBezTo>
                  <a:pt x="1892" y="456"/>
                  <a:pt x="1890" y="458"/>
                  <a:pt x="1887" y="458"/>
                </a:cubicBezTo>
                <a:close/>
                <a:moveTo>
                  <a:pt x="1912" y="394"/>
                </a:moveTo>
                <a:cubicBezTo>
                  <a:pt x="1912" y="394"/>
                  <a:pt x="1912" y="394"/>
                  <a:pt x="1912" y="394"/>
                </a:cubicBezTo>
                <a:cubicBezTo>
                  <a:pt x="1912" y="394"/>
                  <a:pt x="1912" y="393"/>
                  <a:pt x="1914" y="392"/>
                </a:cubicBezTo>
                <a:cubicBezTo>
                  <a:pt x="1915" y="391"/>
                  <a:pt x="1916" y="390"/>
                  <a:pt x="1918" y="389"/>
                </a:cubicBezTo>
                <a:cubicBezTo>
                  <a:pt x="1920" y="387"/>
                  <a:pt x="1921" y="387"/>
                  <a:pt x="1922" y="387"/>
                </a:cubicBezTo>
                <a:lnTo>
                  <a:pt x="1922" y="387"/>
                </a:lnTo>
                <a:cubicBezTo>
                  <a:pt x="1922" y="388"/>
                  <a:pt x="1921" y="389"/>
                  <a:pt x="1919" y="390"/>
                </a:cubicBezTo>
                <a:cubicBezTo>
                  <a:pt x="1916" y="393"/>
                  <a:pt x="1914" y="394"/>
                  <a:pt x="1912" y="394"/>
                </a:cubicBezTo>
                <a:close/>
                <a:moveTo>
                  <a:pt x="1872" y="482"/>
                </a:moveTo>
                <a:cubicBezTo>
                  <a:pt x="1872" y="482"/>
                  <a:pt x="1871" y="481"/>
                  <a:pt x="1869" y="479"/>
                </a:cubicBezTo>
                <a:cubicBezTo>
                  <a:pt x="1868" y="478"/>
                  <a:pt x="1867" y="474"/>
                  <a:pt x="1865" y="468"/>
                </a:cubicBezTo>
                <a:cubicBezTo>
                  <a:pt x="1864" y="463"/>
                  <a:pt x="1863" y="459"/>
                  <a:pt x="1861" y="457"/>
                </a:cubicBezTo>
                <a:lnTo>
                  <a:pt x="1860" y="455"/>
                </a:lnTo>
                <a:lnTo>
                  <a:pt x="1863" y="457"/>
                </a:lnTo>
                <a:cubicBezTo>
                  <a:pt x="1864" y="457"/>
                  <a:pt x="1864" y="456"/>
                  <a:pt x="1864" y="456"/>
                </a:cubicBezTo>
                <a:lnTo>
                  <a:pt x="1863" y="453"/>
                </a:lnTo>
                <a:cubicBezTo>
                  <a:pt x="1863" y="453"/>
                  <a:pt x="1863" y="452"/>
                  <a:pt x="1865" y="452"/>
                </a:cubicBezTo>
                <a:cubicBezTo>
                  <a:pt x="1866" y="452"/>
                  <a:pt x="1866" y="451"/>
                  <a:pt x="1866" y="449"/>
                </a:cubicBezTo>
                <a:cubicBezTo>
                  <a:pt x="1866" y="447"/>
                  <a:pt x="1868" y="442"/>
                  <a:pt x="1872" y="434"/>
                </a:cubicBezTo>
                <a:cubicBezTo>
                  <a:pt x="1874" y="428"/>
                  <a:pt x="1876" y="424"/>
                  <a:pt x="1876" y="423"/>
                </a:cubicBezTo>
                <a:cubicBezTo>
                  <a:pt x="1876" y="422"/>
                  <a:pt x="1876" y="422"/>
                  <a:pt x="1875" y="422"/>
                </a:cubicBezTo>
                <a:cubicBezTo>
                  <a:pt x="1875" y="422"/>
                  <a:pt x="1873" y="424"/>
                  <a:pt x="1872" y="427"/>
                </a:cubicBezTo>
                <a:cubicBezTo>
                  <a:pt x="1870" y="431"/>
                  <a:pt x="1868" y="434"/>
                  <a:pt x="1867" y="438"/>
                </a:cubicBezTo>
                <a:cubicBezTo>
                  <a:pt x="1865" y="442"/>
                  <a:pt x="1864" y="444"/>
                  <a:pt x="1864" y="445"/>
                </a:cubicBezTo>
                <a:cubicBezTo>
                  <a:pt x="1864" y="446"/>
                  <a:pt x="1864" y="448"/>
                  <a:pt x="1862" y="450"/>
                </a:cubicBezTo>
                <a:cubicBezTo>
                  <a:pt x="1861" y="452"/>
                  <a:pt x="1860" y="453"/>
                  <a:pt x="1858" y="455"/>
                </a:cubicBezTo>
                <a:cubicBezTo>
                  <a:pt x="1857" y="456"/>
                  <a:pt x="1855" y="457"/>
                  <a:pt x="1854" y="457"/>
                </a:cubicBezTo>
                <a:cubicBezTo>
                  <a:pt x="1853" y="457"/>
                  <a:pt x="1853" y="456"/>
                  <a:pt x="1853" y="453"/>
                </a:cubicBezTo>
                <a:cubicBezTo>
                  <a:pt x="1853" y="441"/>
                  <a:pt x="1862" y="421"/>
                  <a:pt x="1879" y="394"/>
                </a:cubicBezTo>
                <a:cubicBezTo>
                  <a:pt x="1896" y="366"/>
                  <a:pt x="1908" y="349"/>
                  <a:pt x="1914" y="342"/>
                </a:cubicBezTo>
                <a:cubicBezTo>
                  <a:pt x="1914" y="341"/>
                  <a:pt x="1917" y="338"/>
                  <a:pt x="1921" y="333"/>
                </a:cubicBezTo>
                <a:cubicBezTo>
                  <a:pt x="1928" y="322"/>
                  <a:pt x="1934" y="317"/>
                  <a:pt x="1937" y="317"/>
                </a:cubicBezTo>
                <a:cubicBezTo>
                  <a:pt x="1940" y="317"/>
                  <a:pt x="1941" y="319"/>
                  <a:pt x="1941" y="322"/>
                </a:cubicBezTo>
                <a:cubicBezTo>
                  <a:pt x="1941" y="324"/>
                  <a:pt x="1941" y="326"/>
                  <a:pt x="1939" y="329"/>
                </a:cubicBezTo>
                <a:cubicBezTo>
                  <a:pt x="1938" y="332"/>
                  <a:pt x="1937" y="333"/>
                  <a:pt x="1937" y="334"/>
                </a:cubicBezTo>
                <a:cubicBezTo>
                  <a:pt x="1937" y="335"/>
                  <a:pt x="1938" y="335"/>
                  <a:pt x="1939" y="335"/>
                </a:cubicBezTo>
                <a:cubicBezTo>
                  <a:pt x="1941" y="335"/>
                  <a:pt x="1941" y="337"/>
                  <a:pt x="1941" y="341"/>
                </a:cubicBezTo>
                <a:cubicBezTo>
                  <a:pt x="1941" y="348"/>
                  <a:pt x="1940" y="352"/>
                  <a:pt x="1938" y="355"/>
                </a:cubicBezTo>
                <a:cubicBezTo>
                  <a:pt x="1932" y="360"/>
                  <a:pt x="1924" y="372"/>
                  <a:pt x="1914" y="390"/>
                </a:cubicBezTo>
                <a:cubicBezTo>
                  <a:pt x="1910" y="397"/>
                  <a:pt x="1907" y="401"/>
                  <a:pt x="1907" y="403"/>
                </a:cubicBezTo>
                <a:lnTo>
                  <a:pt x="1907" y="404"/>
                </a:lnTo>
                <a:cubicBezTo>
                  <a:pt x="1907" y="405"/>
                  <a:pt x="1907" y="406"/>
                  <a:pt x="1907" y="406"/>
                </a:cubicBezTo>
                <a:lnTo>
                  <a:pt x="1905" y="405"/>
                </a:lnTo>
                <a:cubicBezTo>
                  <a:pt x="1904" y="405"/>
                  <a:pt x="1903" y="406"/>
                  <a:pt x="1901" y="408"/>
                </a:cubicBezTo>
                <a:lnTo>
                  <a:pt x="1899" y="411"/>
                </a:lnTo>
                <a:cubicBezTo>
                  <a:pt x="1900" y="411"/>
                  <a:pt x="1901" y="411"/>
                  <a:pt x="1902" y="410"/>
                </a:cubicBezTo>
                <a:lnTo>
                  <a:pt x="1905" y="409"/>
                </a:lnTo>
                <a:cubicBezTo>
                  <a:pt x="1905" y="410"/>
                  <a:pt x="1904" y="411"/>
                  <a:pt x="1903" y="411"/>
                </a:cubicBezTo>
                <a:cubicBezTo>
                  <a:pt x="1902" y="413"/>
                  <a:pt x="1900" y="415"/>
                  <a:pt x="1899" y="419"/>
                </a:cubicBezTo>
                <a:cubicBezTo>
                  <a:pt x="1898" y="422"/>
                  <a:pt x="1896" y="426"/>
                  <a:pt x="1894" y="429"/>
                </a:cubicBezTo>
                <a:cubicBezTo>
                  <a:pt x="1883" y="447"/>
                  <a:pt x="1877" y="456"/>
                  <a:pt x="1877" y="458"/>
                </a:cubicBezTo>
                <a:cubicBezTo>
                  <a:pt x="1877" y="458"/>
                  <a:pt x="1877" y="459"/>
                  <a:pt x="1878" y="459"/>
                </a:cubicBezTo>
                <a:lnTo>
                  <a:pt x="1879" y="458"/>
                </a:lnTo>
                <a:cubicBezTo>
                  <a:pt x="1880" y="458"/>
                  <a:pt x="1882" y="459"/>
                  <a:pt x="1883" y="460"/>
                </a:cubicBezTo>
                <a:cubicBezTo>
                  <a:pt x="1884" y="461"/>
                  <a:pt x="1884" y="462"/>
                  <a:pt x="1884" y="463"/>
                </a:cubicBezTo>
                <a:cubicBezTo>
                  <a:pt x="1884" y="464"/>
                  <a:pt x="1884" y="464"/>
                  <a:pt x="1884" y="465"/>
                </a:cubicBezTo>
                <a:cubicBezTo>
                  <a:pt x="1883" y="465"/>
                  <a:pt x="1883" y="465"/>
                  <a:pt x="1883" y="465"/>
                </a:cubicBezTo>
                <a:cubicBezTo>
                  <a:pt x="1882" y="465"/>
                  <a:pt x="1882" y="465"/>
                  <a:pt x="1882" y="464"/>
                </a:cubicBezTo>
                <a:cubicBezTo>
                  <a:pt x="1882" y="463"/>
                  <a:pt x="1880" y="462"/>
                  <a:pt x="1878" y="462"/>
                </a:cubicBezTo>
                <a:cubicBezTo>
                  <a:pt x="1877" y="462"/>
                  <a:pt x="1876" y="463"/>
                  <a:pt x="1876" y="463"/>
                </a:cubicBezTo>
                <a:cubicBezTo>
                  <a:pt x="1876" y="463"/>
                  <a:pt x="1877" y="464"/>
                  <a:pt x="1877" y="464"/>
                </a:cubicBezTo>
                <a:cubicBezTo>
                  <a:pt x="1877" y="465"/>
                  <a:pt x="1878" y="466"/>
                  <a:pt x="1878" y="467"/>
                </a:cubicBezTo>
                <a:cubicBezTo>
                  <a:pt x="1878" y="469"/>
                  <a:pt x="1877" y="471"/>
                  <a:pt x="1877" y="473"/>
                </a:cubicBezTo>
                <a:cubicBezTo>
                  <a:pt x="1876" y="476"/>
                  <a:pt x="1875" y="478"/>
                  <a:pt x="1875" y="479"/>
                </a:cubicBezTo>
                <a:cubicBezTo>
                  <a:pt x="1874" y="481"/>
                  <a:pt x="1873" y="482"/>
                  <a:pt x="1872" y="482"/>
                </a:cubicBezTo>
                <a:close/>
                <a:moveTo>
                  <a:pt x="1921" y="353"/>
                </a:moveTo>
                <a:cubicBezTo>
                  <a:pt x="1922" y="353"/>
                  <a:pt x="1923" y="352"/>
                  <a:pt x="1925" y="349"/>
                </a:cubicBezTo>
                <a:cubicBezTo>
                  <a:pt x="1928" y="346"/>
                  <a:pt x="1929" y="345"/>
                  <a:pt x="1929" y="344"/>
                </a:cubicBezTo>
                <a:cubicBezTo>
                  <a:pt x="1928" y="344"/>
                  <a:pt x="1927" y="346"/>
                  <a:pt x="1924" y="349"/>
                </a:cubicBezTo>
                <a:cubicBezTo>
                  <a:pt x="1922" y="352"/>
                  <a:pt x="1921" y="353"/>
                  <a:pt x="1921" y="353"/>
                </a:cubicBezTo>
                <a:close/>
                <a:moveTo>
                  <a:pt x="1912" y="365"/>
                </a:moveTo>
                <a:cubicBezTo>
                  <a:pt x="1913" y="365"/>
                  <a:pt x="1914" y="364"/>
                  <a:pt x="1917" y="361"/>
                </a:cubicBezTo>
                <a:cubicBezTo>
                  <a:pt x="1919" y="358"/>
                  <a:pt x="1920" y="356"/>
                  <a:pt x="1920" y="356"/>
                </a:cubicBezTo>
                <a:cubicBezTo>
                  <a:pt x="1920" y="356"/>
                  <a:pt x="1918" y="357"/>
                  <a:pt x="1915" y="360"/>
                </a:cubicBezTo>
                <a:cubicBezTo>
                  <a:pt x="1913" y="363"/>
                  <a:pt x="1912" y="365"/>
                  <a:pt x="1912" y="365"/>
                </a:cubicBezTo>
                <a:close/>
                <a:moveTo>
                  <a:pt x="1884" y="408"/>
                </a:moveTo>
                <a:cubicBezTo>
                  <a:pt x="1885" y="408"/>
                  <a:pt x="1890" y="401"/>
                  <a:pt x="1900" y="386"/>
                </a:cubicBezTo>
                <a:cubicBezTo>
                  <a:pt x="1907" y="375"/>
                  <a:pt x="1911" y="368"/>
                  <a:pt x="1911" y="368"/>
                </a:cubicBezTo>
                <a:cubicBezTo>
                  <a:pt x="1910" y="368"/>
                  <a:pt x="1907" y="372"/>
                  <a:pt x="1902" y="379"/>
                </a:cubicBezTo>
                <a:cubicBezTo>
                  <a:pt x="1897" y="387"/>
                  <a:pt x="1893" y="392"/>
                  <a:pt x="1892" y="392"/>
                </a:cubicBezTo>
                <a:cubicBezTo>
                  <a:pt x="1891" y="392"/>
                  <a:pt x="1891" y="393"/>
                  <a:pt x="1891" y="394"/>
                </a:cubicBezTo>
                <a:cubicBezTo>
                  <a:pt x="1890" y="394"/>
                  <a:pt x="1890" y="395"/>
                  <a:pt x="1890" y="396"/>
                </a:cubicBezTo>
                <a:cubicBezTo>
                  <a:pt x="1890" y="397"/>
                  <a:pt x="1890" y="398"/>
                  <a:pt x="1889" y="398"/>
                </a:cubicBezTo>
                <a:cubicBezTo>
                  <a:pt x="1889" y="399"/>
                  <a:pt x="1888" y="399"/>
                  <a:pt x="1886" y="399"/>
                </a:cubicBezTo>
                <a:cubicBezTo>
                  <a:pt x="1885" y="399"/>
                  <a:pt x="1884" y="401"/>
                  <a:pt x="1884" y="404"/>
                </a:cubicBezTo>
                <a:lnTo>
                  <a:pt x="1884" y="408"/>
                </a:lnTo>
                <a:close/>
                <a:moveTo>
                  <a:pt x="1877" y="420"/>
                </a:moveTo>
                <a:cubicBezTo>
                  <a:pt x="1879" y="420"/>
                  <a:pt x="1880" y="419"/>
                  <a:pt x="1882" y="416"/>
                </a:cubicBezTo>
                <a:cubicBezTo>
                  <a:pt x="1882" y="414"/>
                  <a:pt x="1883" y="413"/>
                  <a:pt x="1883" y="412"/>
                </a:cubicBezTo>
                <a:cubicBezTo>
                  <a:pt x="1883" y="411"/>
                  <a:pt x="1882" y="411"/>
                  <a:pt x="1882" y="411"/>
                </a:cubicBezTo>
                <a:cubicBezTo>
                  <a:pt x="1881" y="411"/>
                  <a:pt x="1879" y="413"/>
                  <a:pt x="1878" y="416"/>
                </a:cubicBezTo>
                <a:cubicBezTo>
                  <a:pt x="1877" y="417"/>
                  <a:pt x="1876" y="419"/>
                  <a:pt x="1876" y="419"/>
                </a:cubicBezTo>
                <a:cubicBezTo>
                  <a:pt x="1876" y="420"/>
                  <a:pt x="1877" y="420"/>
                  <a:pt x="1877" y="420"/>
                </a:cubicBezTo>
                <a:close/>
                <a:moveTo>
                  <a:pt x="1890" y="449"/>
                </a:moveTo>
                <a:cubicBezTo>
                  <a:pt x="1889" y="449"/>
                  <a:pt x="1889" y="449"/>
                  <a:pt x="1888" y="448"/>
                </a:cubicBezTo>
                <a:lnTo>
                  <a:pt x="1889" y="447"/>
                </a:lnTo>
                <a:cubicBezTo>
                  <a:pt x="1889" y="446"/>
                  <a:pt x="1890" y="445"/>
                  <a:pt x="1891" y="445"/>
                </a:cubicBezTo>
                <a:lnTo>
                  <a:pt x="1892" y="445"/>
                </a:lnTo>
                <a:cubicBezTo>
                  <a:pt x="1893" y="445"/>
                  <a:pt x="1894" y="445"/>
                  <a:pt x="1894" y="444"/>
                </a:cubicBezTo>
                <a:lnTo>
                  <a:pt x="1893" y="441"/>
                </a:lnTo>
                <a:cubicBezTo>
                  <a:pt x="1893" y="439"/>
                  <a:pt x="1894" y="438"/>
                  <a:pt x="1895" y="436"/>
                </a:cubicBezTo>
                <a:cubicBezTo>
                  <a:pt x="1896" y="434"/>
                  <a:pt x="1897" y="433"/>
                  <a:pt x="1898" y="433"/>
                </a:cubicBezTo>
                <a:lnTo>
                  <a:pt x="1900" y="433"/>
                </a:lnTo>
                <a:cubicBezTo>
                  <a:pt x="1900" y="433"/>
                  <a:pt x="1901" y="433"/>
                  <a:pt x="1901" y="433"/>
                </a:cubicBezTo>
                <a:lnTo>
                  <a:pt x="1900" y="430"/>
                </a:lnTo>
                <a:cubicBezTo>
                  <a:pt x="1900" y="429"/>
                  <a:pt x="1900" y="427"/>
                  <a:pt x="1901" y="425"/>
                </a:cubicBezTo>
                <a:cubicBezTo>
                  <a:pt x="1902" y="424"/>
                  <a:pt x="1903" y="422"/>
                  <a:pt x="1904" y="421"/>
                </a:cubicBezTo>
                <a:cubicBezTo>
                  <a:pt x="1905" y="419"/>
                  <a:pt x="1906" y="419"/>
                  <a:pt x="1907" y="419"/>
                </a:cubicBezTo>
                <a:lnTo>
                  <a:pt x="1909" y="419"/>
                </a:lnTo>
                <a:cubicBezTo>
                  <a:pt x="1910" y="419"/>
                  <a:pt x="1910" y="419"/>
                  <a:pt x="1911" y="418"/>
                </a:cubicBezTo>
                <a:cubicBezTo>
                  <a:pt x="1912" y="417"/>
                  <a:pt x="1912" y="416"/>
                  <a:pt x="1912" y="416"/>
                </a:cubicBezTo>
                <a:lnTo>
                  <a:pt x="1909" y="417"/>
                </a:lnTo>
                <a:cubicBezTo>
                  <a:pt x="1908" y="417"/>
                  <a:pt x="1908" y="417"/>
                  <a:pt x="1908" y="417"/>
                </a:cubicBezTo>
                <a:cubicBezTo>
                  <a:pt x="1908" y="415"/>
                  <a:pt x="1910" y="410"/>
                  <a:pt x="1915" y="403"/>
                </a:cubicBezTo>
                <a:cubicBezTo>
                  <a:pt x="1920" y="397"/>
                  <a:pt x="1923" y="393"/>
                  <a:pt x="1924" y="393"/>
                </a:cubicBezTo>
                <a:cubicBezTo>
                  <a:pt x="1924" y="394"/>
                  <a:pt x="1925" y="394"/>
                  <a:pt x="1926" y="394"/>
                </a:cubicBezTo>
                <a:cubicBezTo>
                  <a:pt x="1927" y="394"/>
                  <a:pt x="1928" y="393"/>
                  <a:pt x="1929" y="392"/>
                </a:cubicBezTo>
                <a:cubicBezTo>
                  <a:pt x="1930" y="392"/>
                  <a:pt x="1931" y="391"/>
                  <a:pt x="1931" y="391"/>
                </a:cubicBezTo>
                <a:cubicBezTo>
                  <a:pt x="1931" y="391"/>
                  <a:pt x="1931" y="391"/>
                  <a:pt x="1931" y="391"/>
                </a:cubicBezTo>
                <a:cubicBezTo>
                  <a:pt x="1931" y="393"/>
                  <a:pt x="1930" y="395"/>
                  <a:pt x="1927" y="399"/>
                </a:cubicBezTo>
                <a:cubicBezTo>
                  <a:pt x="1925" y="400"/>
                  <a:pt x="1924" y="400"/>
                  <a:pt x="1924" y="400"/>
                </a:cubicBezTo>
                <a:lnTo>
                  <a:pt x="1923" y="400"/>
                </a:lnTo>
                <a:lnTo>
                  <a:pt x="1925" y="398"/>
                </a:lnTo>
                <a:cubicBezTo>
                  <a:pt x="1925" y="398"/>
                  <a:pt x="1924" y="397"/>
                  <a:pt x="1924" y="397"/>
                </a:cubicBezTo>
                <a:lnTo>
                  <a:pt x="1923" y="399"/>
                </a:lnTo>
                <a:cubicBezTo>
                  <a:pt x="1922" y="399"/>
                  <a:pt x="1922" y="400"/>
                  <a:pt x="1922" y="401"/>
                </a:cubicBezTo>
                <a:lnTo>
                  <a:pt x="1922" y="404"/>
                </a:lnTo>
                <a:cubicBezTo>
                  <a:pt x="1922" y="405"/>
                  <a:pt x="1922" y="406"/>
                  <a:pt x="1920" y="407"/>
                </a:cubicBezTo>
                <a:cubicBezTo>
                  <a:pt x="1919" y="409"/>
                  <a:pt x="1918" y="409"/>
                  <a:pt x="1917" y="409"/>
                </a:cubicBezTo>
                <a:lnTo>
                  <a:pt x="1915" y="409"/>
                </a:lnTo>
                <a:lnTo>
                  <a:pt x="1915" y="411"/>
                </a:lnTo>
                <a:cubicBezTo>
                  <a:pt x="1915" y="413"/>
                  <a:pt x="1915" y="414"/>
                  <a:pt x="1914" y="417"/>
                </a:cubicBezTo>
                <a:cubicBezTo>
                  <a:pt x="1912" y="419"/>
                  <a:pt x="1911" y="422"/>
                  <a:pt x="1909" y="425"/>
                </a:cubicBezTo>
                <a:cubicBezTo>
                  <a:pt x="1907" y="429"/>
                  <a:pt x="1905" y="432"/>
                  <a:pt x="1903" y="435"/>
                </a:cubicBezTo>
                <a:cubicBezTo>
                  <a:pt x="1901" y="438"/>
                  <a:pt x="1900" y="441"/>
                  <a:pt x="1899" y="442"/>
                </a:cubicBezTo>
                <a:cubicBezTo>
                  <a:pt x="1898" y="444"/>
                  <a:pt x="1897" y="446"/>
                  <a:pt x="1895" y="447"/>
                </a:cubicBezTo>
                <a:cubicBezTo>
                  <a:pt x="1893" y="448"/>
                  <a:pt x="1891" y="449"/>
                  <a:pt x="1890" y="449"/>
                </a:cubicBezTo>
                <a:close/>
                <a:moveTo>
                  <a:pt x="1926" y="391"/>
                </a:moveTo>
                <a:cubicBezTo>
                  <a:pt x="1925" y="391"/>
                  <a:pt x="1925" y="391"/>
                  <a:pt x="1925" y="391"/>
                </a:cubicBezTo>
                <a:cubicBezTo>
                  <a:pt x="1925" y="389"/>
                  <a:pt x="1929" y="384"/>
                  <a:pt x="1937" y="373"/>
                </a:cubicBezTo>
                <a:cubicBezTo>
                  <a:pt x="1943" y="365"/>
                  <a:pt x="1947" y="359"/>
                  <a:pt x="1947" y="356"/>
                </a:cubicBezTo>
                <a:cubicBezTo>
                  <a:pt x="1947" y="355"/>
                  <a:pt x="1946" y="355"/>
                  <a:pt x="1946" y="354"/>
                </a:cubicBezTo>
                <a:cubicBezTo>
                  <a:pt x="1946" y="353"/>
                  <a:pt x="1945" y="353"/>
                  <a:pt x="1945" y="351"/>
                </a:cubicBezTo>
                <a:cubicBezTo>
                  <a:pt x="1945" y="350"/>
                  <a:pt x="1946" y="349"/>
                  <a:pt x="1948" y="347"/>
                </a:cubicBezTo>
                <a:cubicBezTo>
                  <a:pt x="1949" y="345"/>
                  <a:pt x="1950" y="344"/>
                  <a:pt x="1951" y="344"/>
                </a:cubicBezTo>
                <a:lnTo>
                  <a:pt x="1951" y="345"/>
                </a:lnTo>
                <a:lnTo>
                  <a:pt x="1948" y="353"/>
                </a:lnTo>
                <a:cubicBezTo>
                  <a:pt x="1948" y="353"/>
                  <a:pt x="1949" y="352"/>
                  <a:pt x="1952" y="348"/>
                </a:cubicBezTo>
                <a:cubicBezTo>
                  <a:pt x="1954" y="346"/>
                  <a:pt x="1956" y="345"/>
                  <a:pt x="1956" y="345"/>
                </a:cubicBezTo>
                <a:cubicBezTo>
                  <a:pt x="1957" y="345"/>
                  <a:pt x="1957" y="345"/>
                  <a:pt x="1957" y="346"/>
                </a:cubicBezTo>
                <a:cubicBezTo>
                  <a:pt x="1957" y="348"/>
                  <a:pt x="1956" y="350"/>
                  <a:pt x="1954" y="353"/>
                </a:cubicBezTo>
                <a:lnTo>
                  <a:pt x="1953" y="355"/>
                </a:lnTo>
                <a:lnTo>
                  <a:pt x="1956" y="354"/>
                </a:lnTo>
                <a:cubicBezTo>
                  <a:pt x="1957" y="354"/>
                  <a:pt x="1957" y="354"/>
                  <a:pt x="1957" y="355"/>
                </a:cubicBezTo>
                <a:cubicBezTo>
                  <a:pt x="1957" y="356"/>
                  <a:pt x="1953" y="362"/>
                  <a:pt x="1946" y="372"/>
                </a:cubicBezTo>
                <a:cubicBezTo>
                  <a:pt x="1938" y="384"/>
                  <a:pt x="1933" y="389"/>
                  <a:pt x="1932" y="389"/>
                </a:cubicBezTo>
                <a:cubicBezTo>
                  <a:pt x="1930" y="389"/>
                  <a:pt x="1929" y="390"/>
                  <a:pt x="1928" y="390"/>
                </a:cubicBezTo>
                <a:cubicBezTo>
                  <a:pt x="1927" y="391"/>
                  <a:pt x="1926" y="391"/>
                  <a:pt x="1926" y="391"/>
                </a:cubicBezTo>
                <a:close/>
                <a:moveTo>
                  <a:pt x="1941" y="374"/>
                </a:moveTo>
                <a:cubicBezTo>
                  <a:pt x="1941" y="374"/>
                  <a:pt x="1943" y="373"/>
                  <a:pt x="1945" y="370"/>
                </a:cubicBezTo>
                <a:lnTo>
                  <a:pt x="1947" y="368"/>
                </a:lnTo>
                <a:lnTo>
                  <a:pt x="1947" y="367"/>
                </a:lnTo>
                <a:cubicBezTo>
                  <a:pt x="1946" y="367"/>
                  <a:pt x="1946" y="368"/>
                  <a:pt x="1945" y="369"/>
                </a:cubicBezTo>
                <a:cubicBezTo>
                  <a:pt x="1944" y="370"/>
                  <a:pt x="1942" y="370"/>
                  <a:pt x="1942" y="371"/>
                </a:cubicBezTo>
                <a:cubicBezTo>
                  <a:pt x="1941" y="372"/>
                  <a:pt x="1940" y="373"/>
                  <a:pt x="1940" y="373"/>
                </a:cubicBezTo>
                <a:cubicBezTo>
                  <a:pt x="1940" y="374"/>
                  <a:pt x="1940" y="374"/>
                  <a:pt x="1941" y="374"/>
                </a:cubicBezTo>
                <a:close/>
                <a:moveTo>
                  <a:pt x="1948" y="365"/>
                </a:moveTo>
                <a:cubicBezTo>
                  <a:pt x="1948" y="365"/>
                  <a:pt x="1949" y="365"/>
                  <a:pt x="1949" y="364"/>
                </a:cubicBezTo>
                <a:cubicBezTo>
                  <a:pt x="1950" y="363"/>
                  <a:pt x="1951" y="362"/>
                  <a:pt x="1952" y="361"/>
                </a:cubicBezTo>
                <a:lnTo>
                  <a:pt x="1953" y="359"/>
                </a:lnTo>
                <a:lnTo>
                  <a:pt x="1953" y="358"/>
                </a:lnTo>
                <a:lnTo>
                  <a:pt x="1951" y="360"/>
                </a:lnTo>
                <a:cubicBezTo>
                  <a:pt x="1948" y="362"/>
                  <a:pt x="1947" y="364"/>
                  <a:pt x="1947" y="365"/>
                </a:cubicBezTo>
                <a:cubicBezTo>
                  <a:pt x="1947" y="365"/>
                  <a:pt x="1947" y="365"/>
                  <a:pt x="1948" y="365"/>
                </a:cubicBezTo>
                <a:close/>
                <a:moveTo>
                  <a:pt x="1880" y="475"/>
                </a:moveTo>
                <a:cubicBezTo>
                  <a:pt x="1879" y="475"/>
                  <a:pt x="1879" y="474"/>
                  <a:pt x="1879" y="472"/>
                </a:cubicBezTo>
                <a:cubicBezTo>
                  <a:pt x="1879" y="469"/>
                  <a:pt x="1880" y="468"/>
                  <a:pt x="1882" y="468"/>
                </a:cubicBezTo>
                <a:cubicBezTo>
                  <a:pt x="1882" y="468"/>
                  <a:pt x="1883" y="469"/>
                  <a:pt x="1883" y="470"/>
                </a:cubicBezTo>
                <a:cubicBezTo>
                  <a:pt x="1883" y="470"/>
                  <a:pt x="1882" y="471"/>
                  <a:pt x="1882" y="472"/>
                </a:cubicBezTo>
                <a:cubicBezTo>
                  <a:pt x="1882" y="473"/>
                  <a:pt x="1882" y="474"/>
                  <a:pt x="1881" y="474"/>
                </a:cubicBezTo>
                <a:cubicBezTo>
                  <a:pt x="1881" y="475"/>
                  <a:pt x="1880" y="475"/>
                  <a:pt x="1880" y="475"/>
                </a:cubicBezTo>
                <a:close/>
                <a:moveTo>
                  <a:pt x="2192" y="588"/>
                </a:moveTo>
                <a:cubicBezTo>
                  <a:pt x="2192" y="588"/>
                  <a:pt x="2191" y="587"/>
                  <a:pt x="2191" y="586"/>
                </a:cubicBezTo>
                <a:cubicBezTo>
                  <a:pt x="2190" y="585"/>
                  <a:pt x="2190" y="584"/>
                  <a:pt x="2190" y="584"/>
                </a:cubicBezTo>
                <a:cubicBezTo>
                  <a:pt x="2190" y="583"/>
                  <a:pt x="2190" y="583"/>
                  <a:pt x="2192" y="583"/>
                </a:cubicBezTo>
                <a:cubicBezTo>
                  <a:pt x="2193" y="583"/>
                  <a:pt x="2193" y="583"/>
                  <a:pt x="2193" y="585"/>
                </a:cubicBezTo>
                <a:cubicBezTo>
                  <a:pt x="2193" y="587"/>
                  <a:pt x="2193" y="588"/>
                  <a:pt x="2192" y="588"/>
                </a:cubicBezTo>
                <a:close/>
                <a:moveTo>
                  <a:pt x="2295" y="608"/>
                </a:moveTo>
                <a:cubicBezTo>
                  <a:pt x="2294" y="608"/>
                  <a:pt x="2294" y="608"/>
                  <a:pt x="2294" y="607"/>
                </a:cubicBezTo>
                <a:cubicBezTo>
                  <a:pt x="2294" y="606"/>
                  <a:pt x="2295" y="605"/>
                  <a:pt x="2296" y="604"/>
                </a:cubicBezTo>
                <a:lnTo>
                  <a:pt x="2298" y="604"/>
                </a:lnTo>
                <a:cubicBezTo>
                  <a:pt x="2299" y="604"/>
                  <a:pt x="2299" y="604"/>
                  <a:pt x="2299" y="605"/>
                </a:cubicBezTo>
                <a:cubicBezTo>
                  <a:pt x="2299" y="605"/>
                  <a:pt x="2299" y="606"/>
                  <a:pt x="2299" y="607"/>
                </a:cubicBezTo>
                <a:cubicBezTo>
                  <a:pt x="2298" y="607"/>
                  <a:pt x="2297" y="608"/>
                  <a:pt x="2295" y="608"/>
                </a:cubicBezTo>
                <a:close/>
                <a:moveTo>
                  <a:pt x="2318" y="591"/>
                </a:moveTo>
                <a:lnTo>
                  <a:pt x="2316" y="591"/>
                </a:lnTo>
                <a:cubicBezTo>
                  <a:pt x="2316" y="591"/>
                  <a:pt x="2315" y="591"/>
                  <a:pt x="2315" y="590"/>
                </a:cubicBezTo>
                <a:cubicBezTo>
                  <a:pt x="2314" y="590"/>
                  <a:pt x="2314" y="589"/>
                  <a:pt x="2314" y="589"/>
                </a:cubicBezTo>
                <a:cubicBezTo>
                  <a:pt x="2314" y="587"/>
                  <a:pt x="2315" y="586"/>
                  <a:pt x="2316" y="586"/>
                </a:cubicBezTo>
                <a:cubicBezTo>
                  <a:pt x="2318" y="586"/>
                  <a:pt x="2319" y="587"/>
                  <a:pt x="2319" y="588"/>
                </a:cubicBezTo>
                <a:cubicBezTo>
                  <a:pt x="2319" y="589"/>
                  <a:pt x="2318" y="590"/>
                  <a:pt x="2318" y="591"/>
                </a:cubicBezTo>
                <a:close/>
                <a:moveTo>
                  <a:pt x="2272" y="630"/>
                </a:moveTo>
                <a:lnTo>
                  <a:pt x="2275" y="626"/>
                </a:lnTo>
                <a:cubicBezTo>
                  <a:pt x="2277" y="623"/>
                  <a:pt x="2279" y="621"/>
                  <a:pt x="2280" y="621"/>
                </a:cubicBezTo>
                <a:cubicBezTo>
                  <a:pt x="2280" y="621"/>
                  <a:pt x="2280" y="621"/>
                  <a:pt x="2280" y="621"/>
                </a:cubicBezTo>
                <a:cubicBezTo>
                  <a:pt x="2280" y="623"/>
                  <a:pt x="2279" y="625"/>
                  <a:pt x="2276" y="627"/>
                </a:cubicBezTo>
                <a:cubicBezTo>
                  <a:pt x="2274" y="629"/>
                  <a:pt x="2273" y="630"/>
                  <a:pt x="2272" y="630"/>
                </a:cubicBezTo>
                <a:close/>
                <a:moveTo>
                  <a:pt x="2345" y="593"/>
                </a:moveTo>
                <a:lnTo>
                  <a:pt x="2344" y="593"/>
                </a:lnTo>
                <a:lnTo>
                  <a:pt x="2344" y="593"/>
                </a:lnTo>
                <a:cubicBezTo>
                  <a:pt x="2345" y="592"/>
                  <a:pt x="2346" y="590"/>
                  <a:pt x="2347" y="590"/>
                </a:cubicBezTo>
                <a:cubicBezTo>
                  <a:pt x="2348" y="589"/>
                  <a:pt x="2350" y="588"/>
                  <a:pt x="2351" y="587"/>
                </a:cubicBezTo>
                <a:cubicBezTo>
                  <a:pt x="2353" y="586"/>
                  <a:pt x="2354" y="585"/>
                  <a:pt x="2354" y="585"/>
                </a:cubicBezTo>
                <a:lnTo>
                  <a:pt x="2354" y="586"/>
                </a:lnTo>
                <a:cubicBezTo>
                  <a:pt x="2354" y="586"/>
                  <a:pt x="2354" y="587"/>
                  <a:pt x="2353" y="588"/>
                </a:cubicBezTo>
                <a:cubicBezTo>
                  <a:pt x="2351" y="588"/>
                  <a:pt x="2350" y="590"/>
                  <a:pt x="2348" y="591"/>
                </a:cubicBezTo>
                <a:cubicBezTo>
                  <a:pt x="2346" y="593"/>
                  <a:pt x="2345" y="593"/>
                  <a:pt x="2345" y="593"/>
                </a:cubicBezTo>
                <a:close/>
                <a:moveTo>
                  <a:pt x="2358" y="583"/>
                </a:moveTo>
                <a:lnTo>
                  <a:pt x="2358" y="583"/>
                </a:lnTo>
                <a:cubicBezTo>
                  <a:pt x="2358" y="582"/>
                  <a:pt x="2359" y="581"/>
                  <a:pt x="2361" y="580"/>
                </a:cubicBezTo>
                <a:cubicBezTo>
                  <a:pt x="2363" y="578"/>
                  <a:pt x="2365" y="577"/>
                  <a:pt x="2367" y="576"/>
                </a:cubicBezTo>
                <a:cubicBezTo>
                  <a:pt x="2369" y="575"/>
                  <a:pt x="2370" y="574"/>
                  <a:pt x="2371" y="574"/>
                </a:cubicBezTo>
                <a:lnTo>
                  <a:pt x="2371" y="575"/>
                </a:lnTo>
                <a:cubicBezTo>
                  <a:pt x="2371" y="576"/>
                  <a:pt x="2369" y="577"/>
                  <a:pt x="2364" y="580"/>
                </a:cubicBezTo>
                <a:cubicBezTo>
                  <a:pt x="2360" y="583"/>
                  <a:pt x="2358" y="583"/>
                  <a:pt x="2358" y="583"/>
                </a:cubicBezTo>
                <a:close/>
                <a:moveTo>
                  <a:pt x="2304" y="602"/>
                </a:moveTo>
                <a:lnTo>
                  <a:pt x="2304" y="602"/>
                </a:lnTo>
                <a:cubicBezTo>
                  <a:pt x="2303" y="602"/>
                  <a:pt x="2303" y="602"/>
                  <a:pt x="2303" y="600"/>
                </a:cubicBezTo>
                <a:cubicBezTo>
                  <a:pt x="2303" y="598"/>
                  <a:pt x="2304" y="596"/>
                  <a:pt x="2306" y="594"/>
                </a:cubicBezTo>
                <a:cubicBezTo>
                  <a:pt x="2308" y="592"/>
                  <a:pt x="2309" y="591"/>
                  <a:pt x="2311" y="591"/>
                </a:cubicBezTo>
                <a:cubicBezTo>
                  <a:pt x="2312" y="591"/>
                  <a:pt x="2312" y="592"/>
                  <a:pt x="2312" y="593"/>
                </a:cubicBezTo>
                <a:cubicBezTo>
                  <a:pt x="2312" y="594"/>
                  <a:pt x="2311" y="595"/>
                  <a:pt x="2309" y="596"/>
                </a:cubicBezTo>
                <a:cubicBezTo>
                  <a:pt x="2307" y="597"/>
                  <a:pt x="2306" y="598"/>
                  <a:pt x="2306" y="599"/>
                </a:cubicBezTo>
                <a:lnTo>
                  <a:pt x="2306" y="600"/>
                </a:lnTo>
                <a:cubicBezTo>
                  <a:pt x="2306" y="601"/>
                  <a:pt x="2305" y="602"/>
                  <a:pt x="2304" y="602"/>
                </a:cubicBezTo>
                <a:close/>
                <a:moveTo>
                  <a:pt x="2213" y="690"/>
                </a:moveTo>
                <a:close/>
                <a:moveTo>
                  <a:pt x="2214" y="691"/>
                </a:moveTo>
                <a:cubicBezTo>
                  <a:pt x="2213" y="691"/>
                  <a:pt x="2213" y="690"/>
                  <a:pt x="2213" y="690"/>
                </a:cubicBezTo>
                <a:cubicBezTo>
                  <a:pt x="2213" y="689"/>
                  <a:pt x="2214" y="688"/>
                  <a:pt x="2214" y="688"/>
                </a:cubicBezTo>
                <a:cubicBezTo>
                  <a:pt x="2215" y="687"/>
                  <a:pt x="2216" y="686"/>
                  <a:pt x="2218" y="685"/>
                </a:cubicBezTo>
                <a:lnTo>
                  <a:pt x="2219" y="683"/>
                </a:lnTo>
                <a:lnTo>
                  <a:pt x="2220" y="684"/>
                </a:lnTo>
                <a:lnTo>
                  <a:pt x="2218" y="686"/>
                </a:lnTo>
                <a:cubicBezTo>
                  <a:pt x="2216" y="689"/>
                  <a:pt x="2214" y="691"/>
                  <a:pt x="2214" y="691"/>
                </a:cubicBezTo>
                <a:close/>
                <a:moveTo>
                  <a:pt x="2165" y="766"/>
                </a:moveTo>
                <a:cubicBezTo>
                  <a:pt x="2162" y="766"/>
                  <a:pt x="2160" y="764"/>
                  <a:pt x="2157" y="762"/>
                </a:cubicBezTo>
                <a:cubicBezTo>
                  <a:pt x="2155" y="759"/>
                  <a:pt x="2154" y="758"/>
                  <a:pt x="2152" y="758"/>
                </a:cubicBezTo>
                <a:cubicBezTo>
                  <a:pt x="2152" y="759"/>
                  <a:pt x="2152" y="759"/>
                  <a:pt x="2152" y="759"/>
                </a:cubicBezTo>
                <a:cubicBezTo>
                  <a:pt x="2151" y="759"/>
                  <a:pt x="2149" y="758"/>
                  <a:pt x="2146" y="756"/>
                </a:cubicBezTo>
                <a:cubicBezTo>
                  <a:pt x="2144" y="754"/>
                  <a:pt x="2142" y="753"/>
                  <a:pt x="2140" y="753"/>
                </a:cubicBezTo>
                <a:lnTo>
                  <a:pt x="2139" y="754"/>
                </a:lnTo>
                <a:cubicBezTo>
                  <a:pt x="2138" y="754"/>
                  <a:pt x="2138" y="753"/>
                  <a:pt x="2137" y="752"/>
                </a:cubicBezTo>
                <a:cubicBezTo>
                  <a:pt x="2136" y="752"/>
                  <a:pt x="2135" y="750"/>
                  <a:pt x="2134" y="749"/>
                </a:cubicBezTo>
                <a:cubicBezTo>
                  <a:pt x="2133" y="747"/>
                  <a:pt x="2132" y="743"/>
                  <a:pt x="2132" y="736"/>
                </a:cubicBezTo>
                <a:cubicBezTo>
                  <a:pt x="2131" y="729"/>
                  <a:pt x="2131" y="722"/>
                  <a:pt x="2131" y="715"/>
                </a:cubicBezTo>
                <a:cubicBezTo>
                  <a:pt x="2131" y="703"/>
                  <a:pt x="2131" y="697"/>
                  <a:pt x="2133" y="697"/>
                </a:cubicBezTo>
                <a:lnTo>
                  <a:pt x="2133" y="697"/>
                </a:lnTo>
                <a:cubicBezTo>
                  <a:pt x="2134" y="697"/>
                  <a:pt x="2135" y="693"/>
                  <a:pt x="2137" y="685"/>
                </a:cubicBezTo>
                <a:cubicBezTo>
                  <a:pt x="2138" y="682"/>
                  <a:pt x="2139" y="679"/>
                  <a:pt x="2140" y="677"/>
                </a:cubicBezTo>
                <a:lnTo>
                  <a:pt x="2142" y="674"/>
                </a:lnTo>
                <a:lnTo>
                  <a:pt x="2142" y="674"/>
                </a:lnTo>
                <a:cubicBezTo>
                  <a:pt x="2143" y="674"/>
                  <a:pt x="2143" y="673"/>
                  <a:pt x="2143" y="672"/>
                </a:cubicBezTo>
                <a:lnTo>
                  <a:pt x="2143" y="667"/>
                </a:lnTo>
                <a:cubicBezTo>
                  <a:pt x="2143" y="662"/>
                  <a:pt x="2144" y="659"/>
                  <a:pt x="2147" y="659"/>
                </a:cubicBezTo>
                <a:cubicBezTo>
                  <a:pt x="2148" y="659"/>
                  <a:pt x="2149" y="659"/>
                  <a:pt x="2149" y="660"/>
                </a:cubicBezTo>
                <a:cubicBezTo>
                  <a:pt x="2149" y="661"/>
                  <a:pt x="2149" y="661"/>
                  <a:pt x="2148" y="662"/>
                </a:cubicBezTo>
                <a:cubicBezTo>
                  <a:pt x="2148" y="662"/>
                  <a:pt x="2147" y="665"/>
                  <a:pt x="2146" y="670"/>
                </a:cubicBezTo>
                <a:cubicBezTo>
                  <a:pt x="2146" y="673"/>
                  <a:pt x="2145" y="675"/>
                  <a:pt x="2144" y="676"/>
                </a:cubicBezTo>
                <a:cubicBezTo>
                  <a:pt x="2143" y="677"/>
                  <a:pt x="2143" y="678"/>
                  <a:pt x="2143" y="681"/>
                </a:cubicBezTo>
                <a:cubicBezTo>
                  <a:pt x="2143" y="681"/>
                  <a:pt x="2143" y="681"/>
                  <a:pt x="2143" y="682"/>
                </a:cubicBezTo>
                <a:cubicBezTo>
                  <a:pt x="2143" y="683"/>
                  <a:pt x="2143" y="684"/>
                  <a:pt x="2142" y="684"/>
                </a:cubicBezTo>
                <a:cubicBezTo>
                  <a:pt x="2141" y="685"/>
                  <a:pt x="2140" y="686"/>
                  <a:pt x="2140" y="688"/>
                </a:cubicBezTo>
                <a:lnTo>
                  <a:pt x="2141" y="690"/>
                </a:lnTo>
                <a:cubicBezTo>
                  <a:pt x="2141" y="690"/>
                  <a:pt x="2140" y="691"/>
                  <a:pt x="2139" y="691"/>
                </a:cubicBezTo>
                <a:cubicBezTo>
                  <a:pt x="2138" y="691"/>
                  <a:pt x="2137" y="691"/>
                  <a:pt x="2137" y="693"/>
                </a:cubicBezTo>
                <a:lnTo>
                  <a:pt x="2137" y="693"/>
                </a:lnTo>
                <a:cubicBezTo>
                  <a:pt x="2137" y="696"/>
                  <a:pt x="2137" y="699"/>
                  <a:pt x="2135" y="703"/>
                </a:cubicBezTo>
                <a:cubicBezTo>
                  <a:pt x="2134" y="710"/>
                  <a:pt x="2133" y="718"/>
                  <a:pt x="2133" y="726"/>
                </a:cubicBezTo>
                <a:cubicBezTo>
                  <a:pt x="2133" y="736"/>
                  <a:pt x="2134" y="742"/>
                  <a:pt x="2137" y="742"/>
                </a:cubicBezTo>
                <a:cubicBezTo>
                  <a:pt x="2139" y="742"/>
                  <a:pt x="2140" y="737"/>
                  <a:pt x="2141" y="728"/>
                </a:cubicBezTo>
                <a:cubicBezTo>
                  <a:pt x="2141" y="718"/>
                  <a:pt x="2143" y="705"/>
                  <a:pt x="2147" y="688"/>
                </a:cubicBezTo>
                <a:cubicBezTo>
                  <a:pt x="2152" y="670"/>
                  <a:pt x="2156" y="656"/>
                  <a:pt x="2160" y="645"/>
                </a:cubicBezTo>
                <a:cubicBezTo>
                  <a:pt x="2163" y="636"/>
                  <a:pt x="2165" y="630"/>
                  <a:pt x="2165" y="628"/>
                </a:cubicBezTo>
                <a:cubicBezTo>
                  <a:pt x="2165" y="627"/>
                  <a:pt x="2165" y="626"/>
                  <a:pt x="2164" y="626"/>
                </a:cubicBezTo>
                <a:cubicBezTo>
                  <a:pt x="2163" y="626"/>
                  <a:pt x="2162" y="627"/>
                  <a:pt x="2161" y="629"/>
                </a:cubicBezTo>
                <a:cubicBezTo>
                  <a:pt x="2158" y="634"/>
                  <a:pt x="2157" y="638"/>
                  <a:pt x="2157" y="641"/>
                </a:cubicBezTo>
                <a:cubicBezTo>
                  <a:pt x="2157" y="641"/>
                  <a:pt x="2157" y="642"/>
                  <a:pt x="2157" y="642"/>
                </a:cubicBezTo>
                <a:cubicBezTo>
                  <a:pt x="2158" y="642"/>
                  <a:pt x="2158" y="643"/>
                  <a:pt x="2158" y="643"/>
                </a:cubicBezTo>
                <a:cubicBezTo>
                  <a:pt x="2158" y="643"/>
                  <a:pt x="2157" y="644"/>
                  <a:pt x="2157" y="644"/>
                </a:cubicBezTo>
                <a:cubicBezTo>
                  <a:pt x="2156" y="644"/>
                  <a:pt x="2155" y="643"/>
                  <a:pt x="2154" y="643"/>
                </a:cubicBezTo>
                <a:cubicBezTo>
                  <a:pt x="2153" y="643"/>
                  <a:pt x="2152" y="643"/>
                  <a:pt x="2151" y="642"/>
                </a:cubicBezTo>
                <a:cubicBezTo>
                  <a:pt x="2150" y="642"/>
                  <a:pt x="2150" y="642"/>
                  <a:pt x="2150" y="642"/>
                </a:cubicBezTo>
                <a:cubicBezTo>
                  <a:pt x="2150" y="641"/>
                  <a:pt x="2151" y="639"/>
                  <a:pt x="2152" y="637"/>
                </a:cubicBezTo>
                <a:cubicBezTo>
                  <a:pt x="2154" y="631"/>
                  <a:pt x="2156" y="627"/>
                  <a:pt x="2157" y="624"/>
                </a:cubicBezTo>
                <a:lnTo>
                  <a:pt x="2159" y="621"/>
                </a:lnTo>
                <a:lnTo>
                  <a:pt x="2160" y="622"/>
                </a:lnTo>
                <a:cubicBezTo>
                  <a:pt x="2160" y="622"/>
                  <a:pt x="2160" y="622"/>
                  <a:pt x="2160" y="621"/>
                </a:cubicBezTo>
                <a:lnTo>
                  <a:pt x="2159" y="617"/>
                </a:lnTo>
                <a:cubicBezTo>
                  <a:pt x="2159" y="616"/>
                  <a:pt x="2160" y="615"/>
                  <a:pt x="2161" y="615"/>
                </a:cubicBezTo>
                <a:cubicBezTo>
                  <a:pt x="2162" y="615"/>
                  <a:pt x="2162" y="614"/>
                  <a:pt x="2162" y="611"/>
                </a:cubicBezTo>
                <a:lnTo>
                  <a:pt x="2161" y="609"/>
                </a:lnTo>
                <a:cubicBezTo>
                  <a:pt x="2161" y="609"/>
                  <a:pt x="2162" y="609"/>
                  <a:pt x="2163" y="609"/>
                </a:cubicBezTo>
                <a:cubicBezTo>
                  <a:pt x="2164" y="609"/>
                  <a:pt x="2165" y="606"/>
                  <a:pt x="2165" y="601"/>
                </a:cubicBezTo>
                <a:cubicBezTo>
                  <a:pt x="2165" y="595"/>
                  <a:pt x="2164" y="593"/>
                  <a:pt x="2163" y="592"/>
                </a:cubicBezTo>
                <a:cubicBezTo>
                  <a:pt x="2163" y="592"/>
                  <a:pt x="2162" y="592"/>
                  <a:pt x="2162" y="591"/>
                </a:cubicBezTo>
                <a:cubicBezTo>
                  <a:pt x="2162" y="590"/>
                  <a:pt x="2163" y="588"/>
                  <a:pt x="2164" y="586"/>
                </a:cubicBezTo>
                <a:cubicBezTo>
                  <a:pt x="2165" y="583"/>
                  <a:pt x="2167" y="581"/>
                  <a:pt x="2168" y="581"/>
                </a:cubicBezTo>
                <a:cubicBezTo>
                  <a:pt x="2169" y="581"/>
                  <a:pt x="2169" y="582"/>
                  <a:pt x="2170" y="582"/>
                </a:cubicBezTo>
                <a:cubicBezTo>
                  <a:pt x="2170" y="582"/>
                  <a:pt x="2171" y="583"/>
                  <a:pt x="2171" y="583"/>
                </a:cubicBezTo>
                <a:cubicBezTo>
                  <a:pt x="2171" y="583"/>
                  <a:pt x="2171" y="582"/>
                  <a:pt x="2171" y="582"/>
                </a:cubicBezTo>
                <a:cubicBezTo>
                  <a:pt x="2171" y="582"/>
                  <a:pt x="2171" y="581"/>
                  <a:pt x="2170" y="580"/>
                </a:cubicBezTo>
                <a:cubicBezTo>
                  <a:pt x="2168" y="578"/>
                  <a:pt x="2168" y="577"/>
                  <a:pt x="2168" y="576"/>
                </a:cubicBezTo>
                <a:cubicBezTo>
                  <a:pt x="2168" y="574"/>
                  <a:pt x="2169" y="572"/>
                  <a:pt x="2171" y="569"/>
                </a:cubicBezTo>
                <a:cubicBezTo>
                  <a:pt x="2174" y="564"/>
                  <a:pt x="2177" y="558"/>
                  <a:pt x="2179" y="552"/>
                </a:cubicBezTo>
                <a:cubicBezTo>
                  <a:pt x="2181" y="545"/>
                  <a:pt x="2185" y="537"/>
                  <a:pt x="2190" y="526"/>
                </a:cubicBezTo>
                <a:cubicBezTo>
                  <a:pt x="2194" y="518"/>
                  <a:pt x="2196" y="513"/>
                  <a:pt x="2196" y="511"/>
                </a:cubicBezTo>
                <a:lnTo>
                  <a:pt x="2195" y="511"/>
                </a:lnTo>
                <a:cubicBezTo>
                  <a:pt x="2195" y="510"/>
                  <a:pt x="2201" y="497"/>
                  <a:pt x="2214" y="474"/>
                </a:cubicBezTo>
                <a:cubicBezTo>
                  <a:pt x="2222" y="460"/>
                  <a:pt x="2226" y="452"/>
                  <a:pt x="2228" y="450"/>
                </a:cubicBezTo>
                <a:cubicBezTo>
                  <a:pt x="2239" y="435"/>
                  <a:pt x="2247" y="428"/>
                  <a:pt x="2253" y="428"/>
                </a:cubicBezTo>
                <a:cubicBezTo>
                  <a:pt x="2256" y="428"/>
                  <a:pt x="2257" y="430"/>
                  <a:pt x="2257" y="434"/>
                </a:cubicBezTo>
                <a:lnTo>
                  <a:pt x="2257" y="437"/>
                </a:lnTo>
                <a:cubicBezTo>
                  <a:pt x="2257" y="438"/>
                  <a:pt x="2259" y="439"/>
                  <a:pt x="2262" y="441"/>
                </a:cubicBezTo>
                <a:cubicBezTo>
                  <a:pt x="2266" y="442"/>
                  <a:pt x="2268" y="445"/>
                  <a:pt x="2269" y="450"/>
                </a:cubicBezTo>
                <a:cubicBezTo>
                  <a:pt x="2269" y="451"/>
                  <a:pt x="2270" y="452"/>
                  <a:pt x="2271" y="453"/>
                </a:cubicBezTo>
                <a:cubicBezTo>
                  <a:pt x="2272" y="454"/>
                  <a:pt x="2273" y="454"/>
                  <a:pt x="2276" y="454"/>
                </a:cubicBezTo>
                <a:cubicBezTo>
                  <a:pt x="2279" y="454"/>
                  <a:pt x="2281" y="455"/>
                  <a:pt x="2281" y="456"/>
                </a:cubicBezTo>
                <a:cubicBezTo>
                  <a:pt x="2281" y="456"/>
                  <a:pt x="2281" y="460"/>
                  <a:pt x="2281" y="465"/>
                </a:cubicBezTo>
                <a:cubicBezTo>
                  <a:pt x="2281" y="469"/>
                  <a:pt x="2281" y="471"/>
                  <a:pt x="2280" y="471"/>
                </a:cubicBezTo>
                <a:cubicBezTo>
                  <a:pt x="2279" y="471"/>
                  <a:pt x="2279" y="471"/>
                  <a:pt x="2279" y="472"/>
                </a:cubicBezTo>
                <a:lnTo>
                  <a:pt x="2279" y="474"/>
                </a:lnTo>
                <a:cubicBezTo>
                  <a:pt x="2279" y="476"/>
                  <a:pt x="2279" y="478"/>
                  <a:pt x="2278" y="478"/>
                </a:cubicBezTo>
                <a:cubicBezTo>
                  <a:pt x="2277" y="478"/>
                  <a:pt x="2276" y="480"/>
                  <a:pt x="2276" y="482"/>
                </a:cubicBezTo>
                <a:cubicBezTo>
                  <a:pt x="2275" y="485"/>
                  <a:pt x="2274" y="487"/>
                  <a:pt x="2274" y="487"/>
                </a:cubicBezTo>
                <a:cubicBezTo>
                  <a:pt x="2273" y="488"/>
                  <a:pt x="2273" y="490"/>
                  <a:pt x="2273" y="490"/>
                </a:cubicBezTo>
                <a:lnTo>
                  <a:pt x="2273" y="493"/>
                </a:lnTo>
                <a:cubicBezTo>
                  <a:pt x="2273" y="495"/>
                  <a:pt x="2272" y="498"/>
                  <a:pt x="2271" y="501"/>
                </a:cubicBezTo>
                <a:cubicBezTo>
                  <a:pt x="2269" y="504"/>
                  <a:pt x="2268" y="506"/>
                  <a:pt x="2268" y="507"/>
                </a:cubicBezTo>
                <a:cubicBezTo>
                  <a:pt x="2268" y="507"/>
                  <a:pt x="2268" y="507"/>
                  <a:pt x="2269" y="507"/>
                </a:cubicBezTo>
                <a:cubicBezTo>
                  <a:pt x="2269" y="507"/>
                  <a:pt x="2269" y="507"/>
                  <a:pt x="2269" y="508"/>
                </a:cubicBezTo>
                <a:cubicBezTo>
                  <a:pt x="2269" y="508"/>
                  <a:pt x="2269" y="509"/>
                  <a:pt x="2267" y="511"/>
                </a:cubicBezTo>
                <a:cubicBezTo>
                  <a:pt x="2265" y="513"/>
                  <a:pt x="2263" y="514"/>
                  <a:pt x="2261" y="514"/>
                </a:cubicBezTo>
                <a:cubicBezTo>
                  <a:pt x="2260" y="514"/>
                  <a:pt x="2259" y="514"/>
                  <a:pt x="2259" y="513"/>
                </a:cubicBezTo>
                <a:lnTo>
                  <a:pt x="2262" y="507"/>
                </a:lnTo>
                <a:cubicBezTo>
                  <a:pt x="2262" y="506"/>
                  <a:pt x="2261" y="506"/>
                  <a:pt x="2261" y="505"/>
                </a:cubicBezTo>
                <a:cubicBezTo>
                  <a:pt x="2261" y="503"/>
                  <a:pt x="2262" y="501"/>
                  <a:pt x="2264" y="497"/>
                </a:cubicBezTo>
                <a:cubicBezTo>
                  <a:pt x="2266" y="493"/>
                  <a:pt x="2267" y="489"/>
                  <a:pt x="2267" y="484"/>
                </a:cubicBezTo>
                <a:cubicBezTo>
                  <a:pt x="2267" y="482"/>
                  <a:pt x="2267" y="480"/>
                  <a:pt x="2268" y="480"/>
                </a:cubicBezTo>
                <a:cubicBezTo>
                  <a:pt x="2269" y="479"/>
                  <a:pt x="2269" y="478"/>
                  <a:pt x="2269" y="478"/>
                </a:cubicBezTo>
                <a:cubicBezTo>
                  <a:pt x="2269" y="478"/>
                  <a:pt x="2269" y="477"/>
                  <a:pt x="2268" y="477"/>
                </a:cubicBezTo>
                <a:cubicBezTo>
                  <a:pt x="2265" y="477"/>
                  <a:pt x="2263" y="480"/>
                  <a:pt x="2262" y="486"/>
                </a:cubicBezTo>
                <a:lnTo>
                  <a:pt x="2259" y="497"/>
                </a:lnTo>
                <a:cubicBezTo>
                  <a:pt x="2257" y="501"/>
                  <a:pt x="2256" y="504"/>
                  <a:pt x="2256" y="506"/>
                </a:cubicBezTo>
                <a:lnTo>
                  <a:pt x="2255" y="506"/>
                </a:lnTo>
                <a:lnTo>
                  <a:pt x="2253" y="506"/>
                </a:lnTo>
                <a:cubicBezTo>
                  <a:pt x="2252" y="506"/>
                  <a:pt x="2251" y="507"/>
                  <a:pt x="2250" y="508"/>
                </a:cubicBezTo>
                <a:cubicBezTo>
                  <a:pt x="2248" y="511"/>
                  <a:pt x="2243" y="521"/>
                  <a:pt x="2235" y="539"/>
                </a:cubicBezTo>
                <a:cubicBezTo>
                  <a:pt x="2220" y="572"/>
                  <a:pt x="2210" y="596"/>
                  <a:pt x="2205" y="610"/>
                </a:cubicBezTo>
                <a:cubicBezTo>
                  <a:pt x="2201" y="622"/>
                  <a:pt x="2195" y="640"/>
                  <a:pt x="2188" y="663"/>
                </a:cubicBezTo>
                <a:lnTo>
                  <a:pt x="2188" y="664"/>
                </a:lnTo>
                <a:cubicBezTo>
                  <a:pt x="2180" y="688"/>
                  <a:pt x="2177" y="701"/>
                  <a:pt x="2177" y="705"/>
                </a:cubicBezTo>
                <a:cubicBezTo>
                  <a:pt x="2177" y="705"/>
                  <a:pt x="2177" y="706"/>
                  <a:pt x="2177" y="706"/>
                </a:cubicBezTo>
                <a:cubicBezTo>
                  <a:pt x="2178" y="706"/>
                  <a:pt x="2178" y="705"/>
                  <a:pt x="2180" y="704"/>
                </a:cubicBezTo>
                <a:cubicBezTo>
                  <a:pt x="2182" y="702"/>
                  <a:pt x="2184" y="701"/>
                  <a:pt x="2185" y="701"/>
                </a:cubicBezTo>
                <a:cubicBezTo>
                  <a:pt x="2185" y="701"/>
                  <a:pt x="2185" y="701"/>
                  <a:pt x="2185" y="699"/>
                </a:cubicBezTo>
                <a:cubicBezTo>
                  <a:pt x="2185" y="698"/>
                  <a:pt x="2186" y="698"/>
                  <a:pt x="2188" y="698"/>
                </a:cubicBezTo>
                <a:cubicBezTo>
                  <a:pt x="2190" y="698"/>
                  <a:pt x="2191" y="697"/>
                  <a:pt x="2192" y="696"/>
                </a:cubicBezTo>
                <a:cubicBezTo>
                  <a:pt x="2192" y="695"/>
                  <a:pt x="2194" y="693"/>
                  <a:pt x="2197" y="690"/>
                </a:cubicBezTo>
                <a:cubicBezTo>
                  <a:pt x="2206" y="681"/>
                  <a:pt x="2213" y="676"/>
                  <a:pt x="2217" y="672"/>
                </a:cubicBezTo>
                <a:lnTo>
                  <a:pt x="2222" y="669"/>
                </a:lnTo>
                <a:cubicBezTo>
                  <a:pt x="2222" y="669"/>
                  <a:pt x="2222" y="669"/>
                  <a:pt x="2222" y="669"/>
                </a:cubicBezTo>
                <a:cubicBezTo>
                  <a:pt x="2223" y="669"/>
                  <a:pt x="2224" y="669"/>
                  <a:pt x="2225" y="667"/>
                </a:cubicBezTo>
                <a:cubicBezTo>
                  <a:pt x="2227" y="666"/>
                  <a:pt x="2227" y="665"/>
                  <a:pt x="2227" y="664"/>
                </a:cubicBezTo>
                <a:lnTo>
                  <a:pt x="2227" y="663"/>
                </a:lnTo>
                <a:cubicBezTo>
                  <a:pt x="2227" y="661"/>
                  <a:pt x="2231" y="656"/>
                  <a:pt x="2239" y="649"/>
                </a:cubicBezTo>
                <a:cubicBezTo>
                  <a:pt x="2247" y="642"/>
                  <a:pt x="2252" y="638"/>
                  <a:pt x="2254" y="638"/>
                </a:cubicBezTo>
                <a:cubicBezTo>
                  <a:pt x="2256" y="638"/>
                  <a:pt x="2258" y="636"/>
                  <a:pt x="2260" y="631"/>
                </a:cubicBezTo>
                <a:cubicBezTo>
                  <a:pt x="2263" y="627"/>
                  <a:pt x="2264" y="625"/>
                  <a:pt x="2265" y="625"/>
                </a:cubicBezTo>
                <a:cubicBezTo>
                  <a:pt x="2266" y="625"/>
                  <a:pt x="2269" y="622"/>
                  <a:pt x="2275" y="616"/>
                </a:cubicBezTo>
                <a:cubicBezTo>
                  <a:pt x="2295" y="597"/>
                  <a:pt x="2308" y="585"/>
                  <a:pt x="2313" y="582"/>
                </a:cubicBezTo>
                <a:cubicBezTo>
                  <a:pt x="2316" y="580"/>
                  <a:pt x="2318" y="579"/>
                  <a:pt x="2318" y="578"/>
                </a:cubicBezTo>
                <a:cubicBezTo>
                  <a:pt x="2318" y="578"/>
                  <a:pt x="2318" y="577"/>
                  <a:pt x="2319" y="576"/>
                </a:cubicBezTo>
                <a:cubicBezTo>
                  <a:pt x="2320" y="575"/>
                  <a:pt x="2321" y="575"/>
                  <a:pt x="2323" y="575"/>
                </a:cubicBezTo>
                <a:cubicBezTo>
                  <a:pt x="2323" y="575"/>
                  <a:pt x="2323" y="575"/>
                  <a:pt x="2323" y="575"/>
                </a:cubicBezTo>
                <a:cubicBezTo>
                  <a:pt x="2323" y="576"/>
                  <a:pt x="2323" y="576"/>
                  <a:pt x="2322" y="577"/>
                </a:cubicBezTo>
                <a:cubicBezTo>
                  <a:pt x="2321" y="579"/>
                  <a:pt x="2320" y="581"/>
                  <a:pt x="2320" y="583"/>
                </a:cubicBezTo>
                <a:cubicBezTo>
                  <a:pt x="2320" y="585"/>
                  <a:pt x="2321" y="586"/>
                  <a:pt x="2324" y="586"/>
                </a:cubicBezTo>
                <a:cubicBezTo>
                  <a:pt x="2325" y="586"/>
                  <a:pt x="2327" y="585"/>
                  <a:pt x="2329" y="583"/>
                </a:cubicBezTo>
                <a:cubicBezTo>
                  <a:pt x="2331" y="581"/>
                  <a:pt x="2331" y="580"/>
                  <a:pt x="2331" y="579"/>
                </a:cubicBezTo>
                <a:cubicBezTo>
                  <a:pt x="2331" y="577"/>
                  <a:pt x="2331" y="576"/>
                  <a:pt x="2329" y="576"/>
                </a:cubicBezTo>
                <a:cubicBezTo>
                  <a:pt x="2329" y="576"/>
                  <a:pt x="2328" y="577"/>
                  <a:pt x="2328" y="577"/>
                </a:cubicBezTo>
                <a:lnTo>
                  <a:pt x="2330" y="580"/>
                </a:lnTo>
                <a:lnTo>
                  <a:pt x="2326" y="579"/>
                </a:lnTo>
                <a:lnTo>
                  <a:pt x="2328" y="582"/>
                </a:lnTo>
                <a:cubicBezTo>
                  <a:pt x="2328" y="582"/>
                  <a:pt x="2328" y="583"/>
                  <a:pt x="2328" y="583"/>
                </a:cubicBezTo>
                <a:cubicBezTo>
                  <a:pt x="2327" y="583"/>
                  <a:pt x="2327" y="582"/>
                  <a:pt x="2326" y="582"/>
                </a:cubicBezTo>
                <a:cubicBezTo>
                  <a:pt x="2325" y="581"/>
                  <a:pt x="2324" y="580"/>
                  <a:pt x="2324" y="580"/>
                </a:cubicBezTo>
                <a:cubicBezTo>
                  <a:pt x="2324" y="579"/>
                  <a:pt x="2325" y="578"/>
                  <a:pt x="2326" y="578"/>
                </a:cubicBezTo>
                <a:cubicBezTo>
                  <a:pt x="2326" y="577"/>
                  <a:pt x="2326" y="576"/>
                  <a:pt x="2327" y="576"/>
                </a:cubicBezTo>
                <a:cubicBezTo>
                  <a:pt x="2327" y="576"/>
                  <a:pt x="2327" y="575"/>
                  <a:pt x="2327" y="573"/>
                </a:cubicBezTo>
                <a:lnTo>
                  <a:pt x="2327" y="573"/>
                </a:lnTo>
                <a:cubicBezTo>
                  <a:pt x="2327" y="572"/>
                  <a:pt x="2329" y="570"/>
                  <a:pt x="2333" y="567"/>
                </a:cubicBezTo>
                <a:lnTo>
                  <a:pt x="2338" y="563"/>
                </a:lnTo>
                <a:lnTo>
                  <a:pt x="2334" y="567"/>
                </a:lnTo>
                <a:cubicBezTo>
                  <a:pt x="2331" y="569"/>
                  <a:pt x="2330" y="571"/>
                  <a:pt x="2330" y="572"/>
                </a:cubicBezTo>
                <a:cubicBezTo>
                  <a:pt x="2330" y="573"/>
                  <a:pt x="2332" y="573"/>
                  <a:pt x="2336" y="573"/>
                </a:cubicBezTo>
                <a:cubicBezTo>
                  <a:pt x="2342" y="573"/>
                  <a:pt x="2345" y="572"/>
                  <a:pt x="2345" y="570"/>
                </a:cubicBezTo>
                <a:cubicBezTo>
                  <a:pt x="2345" y="570"/>
                  <a:pt x="2345" y="569"/>
                  <a:pt x="2344" y="568"/>
                </a:cubicBezTo>
                <a:cubicBezTo>
                  <a:pt x="2343" y="568"/>
                  <a:pt x="2342" y="567"/>
                  <a:pt x="2342" y="567"/>
                </a:cubicBezTo>
                <a:lnTo>
                  <a:pt x="2343" y="571"/>
                </a:lnTo>
                <a:cubicBezTo>
                  <a:pt x="2343" y="571"/>
                  <a:pt x="2342" y="571"/>
                  <a:pt x="2341" y="570"/>
                </a:cubicBezTo>
                <a:cubicBezTo>
                  <a:pt x="2340" y="570"/>
                  <a:pt x="2339" y="569"/>
                  <a:pt x="2339" y="568"/>
                </a:cubicBezTo>
                <a:cubicBezTo>
                  <a:pt x="2339" y="567"/>
                  <a:pt x="2342" y="566"/>
                  <a:pt x="2348" y="566"/>
                </a:cubicBezTo>
                <a:cubicBezTo>
                  <a:pt x="2352" y="566"/>
                  <a:pt x="2354" y="565"/>
                  <a:pt x="2354" y="564"/>
                </a:cubicBezTo>
                <a:cubicBezTo>
                  <a:pt x="2354" y="563"/>
                  <a:pt x="2356" y="562"/>
                  <a:pt x="2358" y="561"/>
                </a:cubicBezTo>
                <a:cubicBezTo>
                  <a:pt x="2361" y="561"/>
                  <a:pt x="2363" y="560"/>
                  <a:pt x="2363" y="559"/>
                </a:cubicBezTo>
                <a:lnTo>
                  <a:pt x="2361" y="556"/>
                </a:lnTo>
                <a:cubicBezTo>
                  <a:pt x="2361" y="555"/>
                  <a:pt x="2362" y="555"/>
                  <a:pt x="2364" y="555"/>
                </a:cubicBezTo>
                <a:cubicBezTo>
                  <a:pt x="2368" y="555"/>
                  <a:pt x="2373" y="556"/>
                  <a:pt x="2381" y="560"/>
                </a:cubicBezTo>
                <a:cubicBezTo>
                  <a:pt x="2388" y="563"/>
                  <a:pt x="2394" y="567"/>
                  <a:pt x="2398" y="571"/>
                </a:cubicBezTo>
                <a:lnTo>
                  <a:pt x="2403" y="577"/>
                </a:lnTo>
                <a:lnTo>
                  <a:pt x="2401" y="577"/>
                </a:lnTo>
                <a:cubicBezTo>
                  <a:pt x="2400" y="577"/>
                  <a:pt x="2400" y="577"/>
                  <a:pt x="2399" y="578"/>
                </a:cubicBezTo>
                <a:lnTo>
                  <a:pt x="2399" y="578"/>
                </a:lnTo>
                <a:cubicBezTo>
                  <a:pt x="2399" y="579"/>
                  <a:pt x="2400" y="579"/>
                  <a:pt x="2401" y="579"/>
                </a:cubicBezTo>
                <a:cubicBezTo>
                  <a:pt x="2407" y="579"/>
                  <a:pt x="2410" y="580"/>
                  <a:pt x="2410" y="583"/>
                </a:cubicBezTo>
                <a:lnTo>
                  <a:pt x="2408" y="581"/>
                </a:lnTo>
                <a:lnTo>
                  <a:pt x="2407" y="581"/>
                </a:lnTo>
                <a:cubicBezTo>
                  <a:pt x="2407" y="582"/>
                  <a:pt x="2409" y="584"/>
                  <a:pt x="2412" y="587"/>
                </a:cubicBezTo>
                <a:cubicBezTo>
                  <a:pt x="2419" y="594"/>
                  <a:pt x="2426" y="610"/>
                  <a:pt x="2432" y="634"/>
                </a:cubicBezTo>
                <a:cubicBezTo>
                  <a:pt x="2434" y="643"/>
                  <a:pt x="2437" y="652"/>
                  <a:pt x="2440" y="661"/>
                </a:cubicBezTo>
                <a:cubicBezTo>
                  <a:pt x="2447" y="676"/>
                  <a:pt x="2452" y="683"/>
                  <a:pt x="2456" y="683"/>
                </a:cubicBezTo>
                <a:cubicBezTo>
                  <a:pt x="2457" y="683"/>
                  <a:pt x="2457" y="683"/>
                  <a:pt x="2457" y="683"/>
                </a:cubicBezTo>
                <a:cubicBezTo>
                  <a:pt x="2457" y="681"/>
                  <a:pt x="2456" y="679"/>
                  <a:pt x="2453" y="676"/>
                </a:cubicBezTo>
                <a:cubicBezTo>
                  <a:pt x="2450" y="672"/>
                  <a:pt x="2448" y="667"/>
                  <a:pt x="2445" y="662"/>
                </a:cubicBezTo>
                <a:cubicBezTo>
                  <a:pt x="2443" y="658"/>
                  <a:pt x="2442" y="655"/>
                  <a:pt x="2442" y="653"/>
                </a:cubicBezTo>
                <a:lnTo>
                  <a:pt x="2442" y="653"/>
                </a:lnTo>
                <a:cubicBezTo>
                  <a:pt x="2443" y="653"/>
                  <a:pt x="2445" y="656"/>
                  <a:pt x="2448" y="662"/>
                </a:cubicBezTo>
                <a:cubicBezTo>
                  <a:pt x="2450" y="665"/>
                  <a:pt x="2451" y="668"/>
                  <a:pt x="2453" y="670"/>
                </a:cubicBezTo>
                <a:lnTo>
                  <a:pt x="2456" y="673"/>
                </a:lnTo>
                <a:lnTo>
                  <a:pt x="2456" y="673"/>
                </a:lnTo>
                <a:cubicBezTo>
                  <a:pt x="2457" y="673"/>
                  <a:pt x="2457" y="674"/>
                  <a:pt x="2457" y="676"/>
                </a:cubicBezTo>
                <a:cubicBezTo>
                  <a:pt x="2457" y="679"/>
                  <a:pt x="2460" y="681"/>
                  <a:pt x="2465" y="684"/>
                </a:cubicBezTo>
                <a:cubicBezTo>
                  <a:pt x="2471" y="687"/>
                  <a:pt x="2477" y="689"/>
                  <a:pt x="2483" y="690"/>
                </a:cubicBezTo>
                <a:cubicBezTo>
                  <a:pt x="2490" y="690"/>
                  <a:pt x="2493" y="689"/>
                  <a:pt x="2493" y="688"/>
                </a:cubicBezTo>
                <a:cubicBezTo>
                  <a:pt x="2493" y="687"/>
                  <a:pt x="2495" y="687"/>
                  <a:pt x="2497" y="687"/>
                </a:cubicBezTo>
                <a:lnTo>
                  <a:pt x="2500" y="688"/>
                </a:lnTo>
                <a:cubicBezTo>
                  <a:pt x="2501" y="688"/>
                  <a:pt x="2502" y="687"/>
                  <a:pt x="2502" y="686"/>
                </a:cubicBezTo>
                <a:cubicBezTo>
                  <a:pt x="2502" y="685"/>
                  <a:pt x="2503" y="685"/>
                  <a:pt x="2505" y="685"/>
                </a:cubicBezTo>
                <a:lnTo>
                  <a:pt x="2507" y="686"/>
                </a:lnTo>
                <a:cubicBezTo>
                  <a:pt x="2508" y="686"/>
                  <a:pt x="2509" y="685"/>
                  <a:pt x="2509" y="684"/>
                </a:cubicBezTo>
                <a:cubicBezTo>
                  <a:pt x="2509" y="683"/>
                  <a:pt x="2509" y="683"/>
                  <a:pt x="2511" y="683"/>
                </a:cubicBezTo>
                <a:lnTo>
                  <a:pt x="2512" y="683"/>
                </a:lnTo>
                <a:cubicBezTo>
                  <a:pt x="2512" y="683"/>
                  <a:pt x="2513" y="682"/>
                  <a:pt x="2513" y="681"/>
                </a:cubicBezTo>
                <a:cubicBezTo>
                  <a:pt x="2513" y="681"/>
                  <a:pt x="2514" y="680"/>
                  <a:pt x="2517" y="680"/>
                </a:cubicBezTo>
                <a:lnTo>
                  <a:pt x="2518" y="681"/>
                </a:lnTo>
                <a:cubicBezTo>
                  <a:pt x="2520" y="681"/>
                  <a:pt x="2522" y="679"/>
                  <a:pt x="2524" y="677"/>
                </a:cubicBezTo>
                <a:cubicBezTo>
                  <a:pt x="2525" y="674"/>
                  <a:pt x="2528" y="673"/>
                  <a:pt x="2530" y="673"/>
                </a:cubicBezTo>
                <a:lnTo>
                  <a:pt x="2532" y="674"/>
                </a:lnTo>
                <a:cubicBezTo>
                  <a:pt x="2533" y="674"/>
                  <a:pt x="2534" y="673"/>
                  <a:pt x="2534" y="672"/>
                </a:cubicBezTo>
                <a:lnTo>
                  <a:pt x="2534" y="671"/>
                </a:lnTo>
                <a:cubicBezTo>
                  <a:pt x="2534" y="670"/>
                  <a:pt x="2535" y="669"/>
                  <a:pt x="2538" y="669"/>
                </a:cubicBezTo>
                <a:cubicBezTo>
                  <a:pt x="2540" y="669"/>
                  <a:pt x="2542" y="669"/>
                  <a:pt x="2542" y="668"/>
                </a:cubicBezTo>
                <a:lnTo>
                  <a:pt x="2542" y="667"/>
                </a:lnTo>
                <a:cubicBezTo>
                  <a:pt x="2542" y="666"/>
                  <a:pt x="2543" y="666"/>
                  <a:pt x="2545" y="666"/>
                </a:cubicBezTo>
                <a:cubicBezTo>
                  <a:pt x="2546" y="665"/>
                  <a:pt x="2547" y="665"/>
                  <a:pt x="2547" y="665"/>
                </a:cubicBezTo>
                <a:cubicBezTo>
                  <a:pt x="2547" y="664"/>
                  <a:pt x="2547" y="664"/>
                  <a:pt x="2545" y="663"/>
                </a:cubicBezTo>
                <a:cubicBezTo>
                  <a:pt x="2544" y="662"/>
                  <a:pt x="2544" y="661"/>
                  <a:pt x="2544" y="661"/>
                </a:cubicBezTo>
                <a:lnTo>
                  <a:pt x="2548" y="661"/>
                </a:lnTo>
                <a:lnTo>
                  <a:pt x="2551" y="662"/>
                </a:lnTo>
                <a:cubicBezTo>
                  <a:pt x="2552" y="662"/>
                  <a:pt x="2553" y="661"/>
                  <a:pt x="2553" y="661"/>
                </a:cubicBezTo>
                <a:lnTo>
                  <a:pt x="2552" y="659"/>
                </a:lnTo>
                <a:cubicBezTo>
                  <a:pt x="2552" y="656"/>
                  <a:pt x="2554" y="655"/>
                  <a:pt x="2556" y="655"/>
                </a:cubicBezTo>
                <a:cubicBezTo>
                  <a:pt x="2556" y="655"/>
                  <a:pt x="2556" y="655"/>
                  <a:pt x="2556" y="656"/>
                </a:cubicBezTo>
                <a:cubicBezTo>
                  <a:pt x="2556" y="657"/>
                  <a:pt x="2557" y="657"/>
                  <a:pt x="2557" y="657"/>
                </a:cubicBezTo>
                <a:cubicBezTo>
                  <a:pt x="2557" y="657"/>
                  <a:pt x="2558" y="657"/>
                  <a:pt x="2560" y="655"/>
                </a:cubicBezTo>
                <a:cubicBezTo>
                  <a:pt x="2561" y="654"/>
                  <a:pt x="2562" y="653"/>
                  <a:pt x="2562" y="652"/>
                </a:cubicBezTo>
                <a:lnTo>
                  <a:pt x="2561" y="651"/>
                </a:lnTo>
                <a:cubicBezTo>
                  <a:pt x="2561" y="650"/>
                  <a:pt x="2563" y="649"/>
                  <a:pt x="2568" y="649"/>
                </a:cubicBezTo>
                <a:cubicBezTo>
                  <a:pt x="2569" y="649"/>
                  <a:pt x="2570" y="648"/>
                  <a:pt x="2571" y="645"/>
                </a:cubicBezTo>
                <a:cubicBezTo>
                  <a:pt x="2572" y="643"/>
                  <a:pt x="2574" y="642"/>
                  <a:pt x="2575" y="642"/>
                </a:cubicBezTo>
                <a:cubicBezTo>
                  <a:pt x="2575" y="642"/>
                  <a:pt x="2576" y="642"/>
                  <a:pt x="2577" y="643"/>
                </a:cubicBezTo>
                <a:cubicBezTo>
                  <a:pt x="2578" y="644"/>
                  <a:pt x="2579" y="646"/>
                  <a:pt x="2579" y="648"/>
                </a:cubicBezTo>
                <a:lnTo>
                  <a:pt x="2578" y="649"/>
                </a:lnTo>
                <a:cubicBezTo>
                  <a:pt x="2579" y="649"/>
                  <a:pt x="2579" y="649"/>
                  <a:pt x="2581" y="647"/>
                </a:cubicBezTo>
                <a:cubicBezTo>
                  <a:pt x="2582" y="646"/>
                  <a:pt x="2583" y="646"/>
                  <a:pt x="2585" y="646"/>
                </a:cubicBezTo>
                <a:lnTo>
                  <a:pt x="2587" y="646"/>
                </a:lnTo>
                <a:lnTo>
                  <a:pt x="2586" y="645"/>
                </a:lnTo>
                <a:cubicBezTo>
                  <a:pt x="2585" y="644"/>
                  <a:pt x="2584" y="644"/>
                  <a:pt x="2584" y="643"/>
                </a:cubicBezTo>
                <a:cubicBezTo>
                  <a:pt x="2584" y="641"/>
                  <a:pt x="2585" y="639"/>
                  <a:pt x="2587" y="639"/>
                </a:cubicBezTo>
                <a:cubicBezTo>
                  <a:pt x="2588" y="639"/>
                  <a:pt x="2588" y="639"/>
                  <a:pt x="2589" y="640"/>
                </a:cubicBezTo>
                <a:cubicBezTo>
                  <a:pt x="2589" y="640"/>
                  <a:pt x="2590" y="641"/>
                  <a:pt x="2593" y="642"/>
                </a:cubicBezTo>
                <a:cubicBezTo>
                  <a:pt x="2593" y="641"/>
                  <a:pt x="2593" y="641"/>
                  <a:pt x="2592" y="640"/>
                </a:cubicBezTo>
                <a:cubicBezTo>
                  <a:pt x="2591" y="639"/>
                  <a:pt x="2590" y="639"/>
                  <a:pt x="2589" y="638"/>
                </a:cubicBezTo>
                <a:cubicBezTo>
                  <a:pt x="2587" y="637"/>
                  <a:pt x="2586" y="637"/>
                  <a:pt x="2586" y="637"/>
                </a:cubicBezTo>
                <a:cubicBezTo>
                  <a:pt x="2584" y="637"/>
                  <a:pt x="2583" y="638"/>
                  <a:pt x="2582" y="641"/>
                </a:cubicBezTo>
                <a:cubicBezTo>
                  <a:pt x="2582" y="643"/>
                  <a:pt x="2581" y="644"/>
                  <a:pt x="2581" y="644"/>
                </a:cubicBezTo>
                <a:cubicBezTo>
                  <a:pt x="2581" y="644"/>
                  <a:pt x="2580" y="643"/>
                  <a:pt x="2580" y="641"/>
                </a:cubicBezTo>
                <a:cubicBezTo>
                  <a:pt x="2580" y="640"/>
                  <a:pt x="2581" y="638"/>
                  <a:pt x="2582" y="637"/>
                </a:cubicBezTo>
                <a:cubicBezTo>
                  <a:pt x="2582" y="635"/>
                  <a:pt x="2584" y="633"/>
                  <a:pt x="2585" y="632"/>
                </a:cubicBezTo>
                <a:cubicBezTo>
                  <a:pt x="2587" y="630"/>
                  <a:pt x="2588" y="630"/>
                  <a:pt x="2588" y="630"/>
                </a:cubicBezTo>
                <a:cubicBezTo>
                  <a:pt x="2588" y="630"/>
                  <a:pt x="2589" y="630"/>
                  <a:pt x="2589" y="630"/>
                </a:cubicBezTo>
                <a:lnTo>
                  <a:pt x="2588" y="631"/>
                </a:lnTo>
                <a:cubicBezTo>
                  <a:pt x="2587" y="632"/>
                  <a:pt x="2587" y="632"/>
                  <a:pt x="2587" y="632"/>
                </a:cubicBezTo>
                <a:cubicBezTo>
                  <a:pt x="2587" y="633"/>
                  <a:pt x="2587" y="633"/>
                  <a:pt x="2587" y="633"/>
                </a:cubicBezTo>
                <a:cubicBezTo>
                  <a:pt x="2588" y="633"/>
                  <a:pt x="2590" y="632"/>
                  <a:pt x="2593" y="629"/>
                </a:cubicBezTo>
                <a:cubicBezTo>
                  <a:pt x="2596" y="626"/>
                  <a:pt x="2598" y="623"/>
                  <a:pt x="2601" y="619"/>
                </a:cubicBezTo>
                <a:cubicBezTo>
                  <a:pt x="2605" y="613"/>
                  <a:pt x="2609" y="609"/>
                  <a:pt x="2611" y="607"/>
                </a:cubicBezTo>
                <a:cubicBezTo>
                  <a:pt x="2614" y="606"/>
                  <a:pt x="2616" y="604"/>
                  <a:pt x="2617" y="601"/>
                </a:cubicBezTo>
                <a:cubicBezTo>
                  <a:pt x="2618" y="598"/>
                  <a:pt x="2619" y="597"/>
                  <a:pt x="2620" y="596"/>
                </a:cubicBezTo>
                <a:lnTo>
                  <a:pt x="2621" y="595"/>
                </a:lnTo>
                <a:lnTo>
                  <a:pt x="2619" y="599"/>
                </a:lnTo>
                <a:cubicBezTo>
                  <a:pt x="2619" y="599"/>
                  <a:pt x="2619" y="599"/>
                  <a:pt x="2620" y="599"/>
                </a:cubicBezTo>
                <a:cubicBezTo>
                  <a:pt x="2621" y="599"/>
                  <a:pt x="2622" y="598"/>
                  <a:pt x="2624" y="595"/>
                </a:cubicBezTo>
                <a:lnTo>
                  <a:pt x="2625" y="592"/>
                </a:lnTo>
                <a:cubicBezTo>
                  <a:pt x="2625" y="590"/>
                  <a:pt x="2626" y="589"/>
                  <a:pt x="2629" y="587"/>
                </a:cubicBezTo>
                <a:cubicBezTo>
                  <a:pt x="2632" y="585"/>
                  <a:pt x="2634" y="582"/>
                  <a:pt x="2636" y="577"/>
                </a:cubicBezTo>
                <a:cubicBezTo>
                  <a:pt x="2636" y="576"/>
                  <a:pt x="2637" y="575"/>
                  <a:pt x="2637" y="574"/>
                </a:cubicBezTo>
                <a:cubicBezTo>
                  <a:pt x="2637" y="574"/>
                  <a:pt x="2638" y="573"/>
                  <a:pt x="2639" y="572"/>
                </a:cubicBezTo>
                <a:lnTo>
                  <a:pt x="2639" y="572"/>
                </a:lnTo>
                <a:cubicBezTo>
                  <a:pt x="2640" y="572"/>
                  <a:pt x="2641" y="572"/>
                  <a:pt x="2643" y="570"/>
                </a:cubicBezTo>
                <a:cubicBezTo>
                  <a:pt x="2644" y="569"/>
                  <a:pt x="2644" y="568"/>
                  <a:pt x="2644" y="567"/>
                </a:cubicBezTo>
                <a:lnTo>
                  <a:pt x="2644" y="567"/>
                </a:lnTo>
                <a:cubicBezTo>
                  <a:pt x="2644" y="566"/>
                  <a:pt x="2645" y="565"/>
                  <a:pt x="2647" y="564"/>
                </a:cubicBezTo>
                <a:cubicBezTo>
                  <a:pt x="2649" y="562"/>
                  <a:pt x="2650" y="561"/>
                  <a:pt x="2650" y="559"/>
                </a:cubicBezTo>
                <a:cubicBezTo>
                  <a:pt x="2650" y="557"/>
                  <a:pt x="2650" y="556"/>
                  <a:pt x="2651" y="556"/>
                </a:cubicBezTo>
                <a:lnTo>
                  <a:pt x="2654" y="557"/>
                </a:lnTo>
                <a:cubicBezTo>
                  <a:pt x="2656" y="557"/>
                  <a:pt x="2656" y="556"/>
                  <a:pt x="2656" y="554"/>
                </a:cubicBezTo>
                <a:cubicBezTo>
                  <a:pt x="2656" y="553"/>
                  <a:pt x="2657" y="552"/>
                  <a:pt x="2658" y="552"/>
                </a:cubicBezTo>
                <a:lnTo>
                  <a:pt x="2659" y="552"/>
                </a:lnTo>
                <a:cubicBezTo>
                  <a:pt x="2659" y="552"/>
                  <a:pt x="2659" y="551"/>
                  <a:pt x="2659" y="551"/>
                </a:cubicBezTo>
                <a:lnTo>
                  <a:pt x="2659" y="549"/>
                </a:lnTo>
                <a:cubicBezTo>
                  <a:pt x="2659" y="546"/>
                  <a:pt x="2661" y="544"/>
                  <a:pt x="2663" y="542"/>
                </a:cubicBezTo>
                <a:cubicBezTo>
                  <a:pt x="2666" y="540"/>
                  <a:pt x="2668" y="539"/>
                  <a:pt x="2670" y="539"/>
                </a:cubicBezTo>
                <a:lnTo>
                  <a:pt x="2670" y="541"/>
                </a:lnTo>
                <a:cubicBezTo>
                  <a:pt x="2670" y="543"/>
                  <a:pt x="2669" y="547"/>
                  <a:pt x="2669" y="553"/>
                </a:cubicBezTo>
                <a:cubicBezTo>
                  <a:pt x="2664" y="579"/>
                  <a:pt x="2646" y="608"/>
                  <a:pt x="2613" y="639"/>
                </a:cubicBezTo>
                <a:cubicBezTo>
                  <a:pt x="2581" y="669"/>
                  <a:pt x="2547" y="691"/>
                  <a:pt x="2512" y="703"/>
                </a:cubicBezTo>
                <a:cubicBezTo>
                  <a:pt x="2505" y="705"/>
                  <a:pt x="2498" y="706"/>
                  <a:pt x="2490" y="706"/>
                </a:cubicBezTo>
                <a:cubicBezTo>
                  <a:pt x="2481" y="706"/>
                  <a:pt x="2472" y="705"/>
                  <a:pt x="2464" y="703"/>
                </a:cubicBezTo>
                <a:cubicBezTo>
                  <a:pt x="2455" y="701"/>
                  <a:pt x="2449" y="697"/>
                  <a:pt x="2446" y="693"/>
                </a:cubicBezTo>
                <a:lnTo>
                  <a:pt x="2439" y="688"/>
                </a:lnTo>
                <a:cubicBezTo>
                  <a:pt x="2435" y="686"/>
                  <a:pt x="2432" y="683"/>
                  <a:pt x="2430" y="679"/>
                </a:cubicBezTo>
                <a:cubicBezTo>
                  <a:pt x="2428" y="676"/>
                  <a:pt x="2425" y="674"/>
                  <a:pt x="2423" y="674"/>
                </a:cubicBezTo>
                <a:lnTo>
                  <a:pt x="2422" y="674"/>
                </a:lnTo>
                <a:cubicBezTo>
                  <a:pt x="2422" y="674"/>
                  <a:pt x="2422" y="674"/>
                  <a:pt x="2422" y="674"/>
                </a:cubicBezTo>
                <a:lnTo>
                  <a:pt x="2423" y="671"/>
                </a:lnTo>
                <a:cubicBezTo>
                  <a:pt x="2423" y="670"/>
                  <a:pt x="2422" y="669"/>
                  <a:pt x="2421" y="668"/>
                </a:cubicBezTo>
                <a:cubicBezTo>
                  <a:pt x="2419" y="667"/>
                  <a:pt x="2417" y="664"/>
                  <a:pt x="2415" y="661"/>
                </a:cubicBezTo>
                <a:cubicBezTo>
                  <a:pt x="2413" y="657"/>
                  <a:pt x="2412" y="654"/>
                  <a:pt x="2412" y="652"/>
                </a:cubicBezTo>
                <a:cubicBezTo>
                  <a:pt x="2412" y="650"/>
                  <a:pt x="2413" y="649"/>
                  <a:pt x="2413" y="649"/>
                </a:cubicBezTo>
                <a:cubicBezTo>
                  <a:pt x="2414" y="649"/>
                  <a:pt x="2415" y="648"/>
                  <a:pt x="2415" y="648"/>
                </a:cubicBezTo>
                <a:cubicBezTo>
                  <a:pt x="2415" y="647"/>
                  <a:pt x="2414" y="647"/>
                  <a:pt x="2412" y="647"/>
                </a:cubicBezTo>
                <a:lnTo>
                  <a:pt x="2410" y="647"/>
                </a:lnTo>
                <a:cubicBezTo>
                  <a:pt x="2409" y="647"/>
                  <a:pt x="2408" y="646"/>
                  <a:pt x="2408" y="644"/>
                </a:cubicBezTo>
                <a:cubicBezTo>
                  <a:pt x="2408" y="643"/>
                  <a:pt x="2409" y="643"/>
                  <a:pt x="2411" y="643"/>
                </a:cubicBezTo>
                <a:cubicBezTo>
                  <a:pt x="2413" y="643"/>
                  <a:pt x="2414" y="642"/>
                  <a:pt x="2414" y="641"/>
                </a:cubicBezTo>
                <a:cubicBezTo>
                  <a:pt x="2414" y="640"/>
                  <a:pt x="2414" y="639"/>
                  <a:pt x="2413" y="638"/>
                </a:cubicBezTo>
                <a:cubicBezTo>
                  <a:pt x="2413" y="637"/>
                  <a:pt x="2413" y="637"/>
                  <a:pt x="2412" y="637"/>
                </a:cubicBezTo>
                <a:cubicBezTo>
                  <a:pt x="2412" y="637"/>
                  <a:pt x="2411" y="637"/>
                  <a:pt x="2411" y="638"/>
                </a:cubicBezTo>
                <a:cubicBezTo>
                  <a:pt x="2411" y="639"/>
                  <a:pt x="2410" y="640"/>
                  <a:pt x="2409" y="640"/>
                </a:cubicBezTo>
                <a:cubicBezTo>
                  <a:pt x="2407" y="640"/>
                  <a:pt x="2405" y="634"/>
                  <a:pt x="2402" y="624"/>
                </a:cubicBezTo>
                <a:cubicBezTo>
                  <a:pt x="2399" y="613"/>
                  <a:pt x="2396" y="607"/>
                  <a:pt x="2395" y="607"/>
                </a:cubicBezTo>
                <a:lnTo>
                  <a:pt x="2394" y="608"/>
                </a:lnTo>
                <a:cubicBezTo>
                  <a:pt x="2394" y="607"/>
                  <a:pt x="2394" y="607"/>
                  <a:pt x="2395" y="606"/>
                </a:cubicBezTo>
                <a:cubicBezTo>
                  <a:pt x="2395" y="605"/>
                  <a:pt x="2395" y="604"/>
                  <a:pt x="2395" y="603"/>
                </a:cubicBezTo>
                <a:lnTo>
                  <a:pt x="2395" y="597"/>
                </a:lnTo>
                <a:cubicBezTo>
                  <a:pt x="2394" y="593"/>
                  <a:pt x="2393" y="591"/>
                  <a:pt x="2392" y="591"/>
                </a:cubicBezTo>
                <a:lnTo>
                  <a:pt x="2391" y="591"/>
                </a:lnTo>
                <a:cubicBezTo>
                  <a:pt x="2390" y="591"/>
                  <a:pt x="2390" y="590"/>
                  <a:pt x="2390" y="589"/>
                </a:cubicBezTo>
                <a:lnTo>
                  <a:pt x="2391" y="586"/>
                </a:lnTo>
                <a:cubicBezTo>
                  <a:pt x="2391" y="585"/>
                  <a:pt x="2390" y="585"/>
                  <a:pt x="2389" y="585"/>
                </a:cubicBezTo>
                <a:cubicBezTo>
                  <a:pt x="2385" y="585"/>
                  <a:pt x="2373" y="593"/>
                  <a:pt x="2353" y="609"/>
                </a:cubicBezTo>
                <a:cubicBezTo>
                  <a:pt x="2333" y="626"/>
                  <a:pt x="2311" y="647"/>
                  <a:pt x="2286" y="672"/>
                </a:cubicBezTo>
                <a:cubicBezTo>
                  <a:pt x="2259" y="699"/>
                  <a:pt x="2244" y="714"/>
                  <a:pt x="2240" y="717"/>
                </a:cubicBezTo>
                <a:cubicBezTo>
                  <a:pt x="2219" y="736"/>
                  <a:pt x="2208" y="746"/>
                  <a:pt x="2205" y="746"/>
                </a:cubicBezTo>
                <a:cubicBezTo>
                  <a:pt x="2203" y="746"/>
                  <a:pt x="2202" y="746"/>
                  <a:pt x="2202" y="747"/>
                </a:cubicBezTo>
                <a:cubicBezTo>
                  <a:pt x="2202" y="749"/>
                  <a:pt x="2200" y="750"/>
                  <a:pt x="2196" y="753"/>
                </a:cubicBezTo>
                <a:cubicBezTo>
                  <a:pt x="2192" y="755"/>
                  <a:pt x="2190" y="756"/>
                  <a:pt x="2189" y="756"/>
                </a:cubicBezTo>
                <a:cubicBezTo>
                  <a:pt x="2189" y="756"/>
                  <a:pt x="2189" y="756"/>
                  <a:pt x="2189" y="756"/>
                </a:cubicBezTo>
                <a:cubicBezTo>
                  <a:pt x="2188" y="756"/>
                  <a:pt x="2184" y="757"/>
                  <a:pt x="2179" y="761"/>
                </a:cubicBezTo>
                <a:cubicBezTo>
                  <a:pt x="2173" y="764"/>
                  <a:pt x="2169" y="766"/>
                  <a:pt x="2165" y="766"/>
                </a:cubicBezTo>
                <a:close/>
                <a:moveTo>
                  <a:pt x="2368" y="560"/>
                </a:moveTo>
                <a:lnTo>
                  <a:pt x="2371" y="559"/>
                </a:lnTo>
                <a:lnTo>
                  <a:pt x="2371" y="559"/>
                </a:lnTo>
                <a:cubicBezTo>
                  <a:pt x="2371" y="558"/>
                  <a:pt x="2370" y="558"/>
                  <a:pt x="2370" y="558"/>
                </a:cubicBezTo>
                <a:lnTo>
                  <a:pt x="2367" y="559"/>
                </a:lnTo>
                <a:lnTo>
                  <a:pt x="2366" y="559"/>
                </a:lnTo>
                <a:cubicBezTo>
                  <a:pt x="2366" y="559"/>
                  <a:pt x="2367" y="560"/>
                  <a:pt x="2368" y="560"/>
                </a:cubicBezTo>
                <a:close/>
                <a:moveTo>
                  <a:pt x="2183" y="619"/>
                </a:moveTo>
                <a:cubicBezTo>
                  <a:pt x="2183" y="619"/>
                  <a:pt x="2184" y="618"/>
                  <a:pt x="2185" y="617"/>
                </a:cubicBezTo>
                <a:cubicBezTo>
                  <a:pt x="2186" y="615"/>
                  <a:pt x="2186" y="614"/>
                  <a:pt x="2186" y="612"/>
                </a:cubicBezTo>
                <a:lnTo>
                  <a:pt x="2186" y="610"/>
                </a:lnTo>
                <a:cubicBezTo>
                  <a:pt x="2185" y="609"/>
                  <a:pt x="2184" y="608"/>
                  <a:pt x="2182" y="608"/>
                </a:cubicBezTo>
                <a:cubicBezTo>
                  <a:pt x="2181" y="608"/>
                  <a:pt x="2181" y="608"/>
                  <a:pt x="2181" y="609"/>
                </a:cubicBezTo>
                <a:cubicBezTo>
                  <a:pt x="2181" y="609"/>
                  <a:pt x="2181" y="610"/>
                  <a:pt x="2182" y="611"/>
                </a:cubicBezTo>
                <a:cubicBezTo>
                  <a:pt x="2183" y="612"/>
                  <a:pt x="2183" y="614"/>
                  <a:pt x="2183" y="615"/>
                </a:cubicBezTo>
                <a:lnTo>
                  <a:pt x="2183" y="619"/>
                </a:lnTo>
                <a:close/>
                <a:moveTo>
                  <a:pt x="2240" y="442"/>
                </a:moveTo>
                <a:cubicBezTo>
                  <a:pt x="2240" y="442"/>
                  <a:pt x="2242" y="441"/>
                  <a:pt x="2246" y="439"/>
                </a:cubicBezTo>
                <a:cubicBezTo>
                  <a:pt x="2251" y="436"/>
                  <a:pt x="2254" y="433"/>
                  <a:pt x="2254" y="432"/>
                </a:cubicBezTo>
                <a:cubicBezTo>
                  <a:pt x="2254" y="431"/>
                  <a:pt x="2254" y="431"/>
                  <a:pt x="2254" y="430"/>
                </a:cubicBezTo>
                <a:cubicBezTo>
                  <a:pt x="2254" y="429"/>
                  <a:pt x="2254" y="429"/>
                  <a:pt x="2253" y="429"/>
                </a:cubicBezTo>
                <a:cubicBezTo>
                  <a:pt x="2252" y="429"/>
                  <a:pt x="2249" y="432"/>
                  <a:pt x="2245" y="436"/>
                </a:cubicBezTo>
                <a:cubicBezTo>
                  <a:pt x="2242" y="440"/>
                  <a:pt x="2240" y="442"/>
                  <a:pt x="2240" y="442"/>
                </a:cubicBezTo>
                <a:close/>
                <a:moveTo>
                  <a:pt x="2196" y="539"/>
                </a:moveTo>
                <a:cubicBezTo>
                  <a:pt x="2198" y="539"/>
                  <a:pt x="2200" y="535"/>
                  <a:pt x="2204" y="528"/>
                </a:cubicBezTo>
                <a:cubicBezTo>
                  <a:pt x="2205" y="523"/>
                  <a:pt x="2206" y="520"/>
                  <a:pt x="2206" y="519"/>
                </a:cubicBezTo>
                <a:cubicBezTo>
                  <a:pt x="2206" y="518"/>
                  <a:pt x="2206" y="518"/>
                  <a:pt x="2206" y="518"/>
                </a:cubicBezTo>
                <a:cubicBezTo>
                  <a:pt x="2205" y="518"/>
                  <a:pt x="2205" y="518"/>
                  <a:pt x="2205" y="518"/>
                </a:cubicBezTo>
                <a:cubicBezTo>
                  <a:pt x="2205" y="518"/>
                  <a:pt x="2204" y="519"/>
                  <a:pt x="2204" y="519"/>
                </a:cubicBezTo>
                <a:cubicBezTo>
                  <a:pt x="2203" y="519"/>
                  <a:pt x="2203" y="520"/>
                  <a:pt x="2203" y="520"/>
                </a:cubicBezTo>
                <a:lnTo>
                  <a:pt x="2203" y="521"/>
                </a:lnTo>
                <a:cubicBezTo>
                  <a:pt x="2203" y="523"/>
                  <a:pt x="2203" y="524"/>
                  <a:pt x="2202" y="526"/>
                </a:cubicBezTo>
                <a:cubicBezTo>
                  <a:pt x="2201" y="527"/>
                  <a:pt x="2201" y="529"/>
                  <a:pt x="2200" y="530"/>
                </a:cubicBezTo>
                <a:cubicBezTo>
                  <a:pt x="2199" y="532"/>
                  <a:pt x="2198" y="532"/>
                  <a:pt x="2197" y="532"/>
                </a:cubicBezTo>
                <a:cubicBezTo>
                  <a:pt x="2197" y="532"/>
                  <a:pt x="2196" y="533"/>
                  <a:pt x="2196" y="534"/>
                </a:cubicBezTo>
                <a:lnTo>
                  <a:pt x="2197" y="535"/>
                </a:lnTo>
                <a:cubicBezTo>
                  <a:pt x="2197" y="536"/>
                  <a:pt x="2196" y="537"/>
                  <a:pt x="2195" y="538"/>
                </a:cubicBezTo>
                <a:lnTo>
                  <a:pt x="2194" y="539"/>
                </a:lnTo>
                <a:cubicBezTo>
                  <a:pt x="2194" y="539"/>
                  <a:pt x="2194" y="539"/>
                  <a:pt x="2196" y="539"/>
                </a:cubicBezTo>
                <a:close/>
                <a:moveTo>
                  <a:pt x="2191" y="553"/>
                </a:moveTo>
                <a:cubicBezTo>
                  <a:pt x="2192" y="553"/>
                  <a:pt x="2194" y="552"/>
                  <a:pt x="2194" y="550"/>
                </a:cubicBezTo>
                <a:lnTo>
                  <a:pt x="2195" y="547"/>
                </a:lnTo>
                <a:lnTo>
                  <a:pt x="2195" y="546"/>
                </a:lnTo>
                <a:lnTo>
                  <a:pt x="2192" y="549"/>
                </a:lnTo>
                <a:cubicBezTo>
                  <a:pt x="2190" y="550"/>
                  <a:pt x="2189" y="551"/>
                  <a:pt x="2189" y="552"/>
                </a:cubicBezTo>
                <a:cubicBezTo>
                  <a:pt x="2189" y="553"/>
                  <a:pt x="2190" y="553"/>
                  <a:pt x="2191" y="553"/>
                </a:cubicBezTo>
                <a:close/>
                <a:moveTo>
                  <a:pt x="2186" y="608"/>
                </a:moveTo>
                <a:cubicBezTo>
                  <a:pt x="2188" y="608"/>
                  <a:pt x="2191" y="602"/>
                  <a:pt x="2195" y="589"/>
                </a:cubicBezTo>
                <a:cubicBezTo>
                  <a:pt x="2208" y="557"/>
                  <a:pt x="2221" y="529"/>
                  <a:pt x="2235" y="506"/>
                </a:cubicBezTo>
                <a:cubicBezTo>
                  <a:pt x="2241" y="495"/>
                  <a:pt x="2244" y="488"/>
                  <a:pt x="2244" y="486"/>
                </a:cubicBezTo>
                <a:cubicBezTo>
                  <a:pt x="2244" y="484"/>
                  <a:pt x="2245" y="482"/>
                  <a:pt x="2246" y="480"/>
                </a:cubicBezTo>
                <a:cubicBezTo>
                  <a:pt x="2247" y="478"/>
                  <a:pt x="2247" y="476"/>
                  <a:pt x="2247" y="475"/>
                </a:cubicBezTo>
                <a:lnTo>
                  <a:pt x="2247" y="474"/>
                </a:lnTo>
                <a:cubicBezTo>
                  <a:pt x="2246" y="474"/>
                  <a:pt x="2242" y="480"/>
                  <a:pt x="2237" y="490"/>
                </a:cubicBezTo>
                <a:cubicBezTo>
                  <a:pt x="2231" y="501"/>
                  <a:pt x="2228" y="508"/>
                  <a:pt x="2228" y="510"/>
                </a:cubicBezTo>
                <a:cubicBezTo>
                  <a:pt x="2228" y="512"/>
                  <a:pt x="2227" y="513"/>
                  <a:pt x="2226" y="513"/>
                </a:cubicBezTo>
                <a:lnTo>
                  <a:pt x="2224" y="512"/>
                </a:lnTo>
                <a:lnTo>
                  <a:pt x="2225" y="514"/>
                </a:lnTo>
                <a:cubicBezTo>
                  <a:pt x="2225" y="515"/>
                  <a:pt x="2224" y="517"/>
                  <a:pt x="2222" y="518"/>
                </a:cubicBezTo>
                <a:cubicBezTo>
                  <a:pt x="2220" y="520"/>
                  <a:pt x="2219" y="522"/>
                  <a:pt x="2218" y="526"/>
                </a:cubicBezTo>
                <a:cubicBezTo>
                  <a:pt x="2218" y="531"/>
                  <a:pt x="2217" y="534"/>
                  <a:pt x="2217" y="534"/>
                </a:cubicBezTo>
                <a:lnTo>
                  <a:pt x="2215" y="534"/>
                </a:lnTo>
                <a:cubicBezTo>
                  <a:pt x="2214" y="534"/>
                  <a:pt x="2214" y="534"/>
                  <a:pt x="2214" y="534"/>
                </a:cubicBezTo>
                <a:lnTo>
                  <a:pt x="2215" y="539"/>
                </a:lnTo>
                <a:lnTo>
                  <a:pt x="2212" y="538"/>
                </a:lnTo>
                <a:lnTo>
                  <a:pt x="2213" y="543"/>
                </a:lnTo>
                <a:cubicBezTo>
                  <a:pt x="2213" y="543"/>
                  <a:pt x="2213" y="544"/>
                  <a:pt x="2212" y="544"/>
                </a:cubicBezTo>
                <a:lnTo>
                  <a:pt x="2210" y="542"/>
                </a:lnTo>
                <a:cubicBezTo>
                  <a:pt x="2209" y="542"/>
                  <a:pt x="2209" y="542"/>
                  <a:pt x="2209" y="543"/>
                </a:cubicBezTo>
                <a:lnTo>
                  <a:pt x="2210" y="545"/>
                </a:lnTo>
                <a:cubicBezTo>
                  <a:pt x="2210" y="546"/>
                  <a:pt x="2210" y="546"/>
                  <a:pt x="2209" y="546"/>
                </a:cubicBezTo>
                <a:cubicBezTo>
                  <a:pt x="2208" y="546"/>
                  <a:pt x="2207" y="546"/>
                  <a:pt x="2207" y="547"/>
                </a:cubicBezTo>
                <a:lnTo>
                  <a:pt x="2208" y="550"/>
                </a:lnTo>
                <a:cubicBezTo>
                  <a:pt x="2208" y="550"/>
                  <a:pt x="2207" y="551"/>
                  <a:pt x="2207" y="551"/>
                </a:cubicBezTo>
                <a:cubicBezTo>
                  <a:pt x="2206" y="551"/>
                  <a:pt x="2205" y="551"/>
                  <a:pt x="2205" y="552"/>
                </a:cubicBezTo>
                <a:lnTo>
                  <a:pt x="2206" y="556"/>
                </a:lnTo>
                <a:cubicBezTo>
                  <a:pt x="2206" y="556"/>
                  <a:pt x="2205" y="558"/>
                  <a:pt x="2205" y="559"/>
                </a:cubicBezTo>
                <a:cubicBezTo>
                  <a:pt x="2204" y="561"/>
                  <a:pt x="2203" y="561"/>
                  <a:pt x="2202" y="561"/>
                </a:cubicBezTo>
                <a:lnTo>
                  <a:pt x="2202" y="561"/>
                </a:lnTo>
                <a:cubicBezTo>
                  <a:pt x="2201" y="561"/>
                  <a:pt x="2201" y="561"/>
                  <a:pt x="2201" y="562"/>
                </a:cubicBezTo>
                <a:lnTo>
                  <a:pt x="2202" y="566"/>
                </a:lnTo>
                <a:cubicBezTo>
                  <a:pt x="2202" y="566"/>
                  <a:pt x="2202" y="567"/>
                  <a:pt x="2202" y="567"/>
                </a:cubicBezTo>
                <a:lnTo>
                  <a:pt x="2198" y="565"/>
                </a:lnTo>
                <a:lnTo>
                  <a:pt x="2198" y="565"/>
                </a:lnTo>
                <a:lnTo>
                  <a:pt x="2199" y="570"/>
                </a:lnTo>
                <a:cubicBezTo>
                  <a:pt x="2199" y="571"/>
                  <a:pt x="2199" y="571"/>
                  <a:pt x="2198" y="571"/>
                </a:cubicBezTo>
                <a:cubicBezTo>
                  <a:pt x="2196" y="571"/>
                  <a:pt x="2196" y="571"/>
                  <a:pt x="2196" y="569"/>
                </a:cubicBezTo>
                <a:cubicBezTo>
                  <a:pt x="2196" y="568"/>
                  <a:pt x="2195" y="567"/>
                  <a:pt x="2195" y="567"/>
                </a:cubicBezTo>
                <a:cubicBezTo>
                  <a:pt x="2194" y="567"/>
                  <a:pt x="2194" y="568"/>
                  <a:pt x="2194" y="569"/>
                </a:cubicBezTo>
                <a:cubicBezTo>
                  <a:pt x="2194" y="570"/>
                  <a:pt x="2194" y="571"/>
                  <a:pt x="2196" y="573"/>
                </a:cubicBezTo>
                <a:cubicBezTo>
                  <a:pt x="2197" y="574"/>
                  <a:pt x="2198" y="576"/>
                  <a:pt x="2198" y="576"/>
                </a:cubicBezTo>
                <a:lnTo>
                  <a:pt x="2198" y="576"/>
                </a:lnTo>
                <a:lnTo>
                  <a:pt x="2192" y="574"/>
                </a:lnTo>
                <a:cubicBezTo>
                  <a:pt x="2192" y="575"/>
                  <a:pt x="2192" y="576"/>
                  <a:pt x="2194" y="577"/>
                </a:cubicBezTo>
                <a:cubicBezTo>
                  <a:pt x="2195" y="579"/>
                  <a:pt x="2196" y="580"/>
                  <a:pt x="2196" y="580"/>
                </a:cubicBezTo>
                <a:cubicBezTo>
                  <a:pt x="2195" y="580"/>
                  <a:pt x="2195" y="580"/>
                  <a:pt x="2194" y="580"/>
                </a:cubicBezTo>
                <a:cubicBezTo>
                  <a:pt x="2193" y="579"/>
                  <a:pt x="2193" y="579"/>
                  <a:pt x="2192" y="579"/>
                </a:cubicBezTo>
                <a:cubicBezTo>
                  <a:pt x="2190" y="579"/>
                  <a:pt x="2189" y="581"/>
                  <a:pt x="2189" y="584"/>
                </a:cubicBezTo>
                <a:cubicBezTo>
                  <a:pt x="2189" y="585"/>
                  <a:pt x="2189" y="587"/>
                  <a:pt x="2190" y="588"/>
                </a:cubicBezTo>
                <a:cubicBezTo>
                  <a:pt x="2190" y="589"/>
                  <a:pt x="2190" y="590"/>
                  <a:pt x="2190" y="591"/>
                </a:cubicBezTo>
                <a:cubicBezTo>
                  <a:pt x="2190" y="592"/>
                  <a:pt x="2190" y="592"/>
                  <a:pt x="2189" y="592"/>
                </a:cubicBezTo>
                <a:cubicBezTo>
                  <a:pt x="2188" y="592"/>
                  <a:pt x="2188" y="592"/>
                  <a:pt x="2188" y="593"/>
                </a:cubicBezTo>
                <a:lnTo>
                  <a:pt x="2189" y="596"/>
                </a:lnTo>
                <a:cubicBezTo>
                  <a:pt x="2189" y="596"/>
                  <a:pt x="2189" y="597"/>
                  <a:pt x="2188" y="597"/>
                </a:cubicBezTo>
                <a:lnTo>
                  <a:pt x="2184" y="595"/>
                </a:lnTo>
                <a:lnTo>
                  <a:pt x="2183" y="595"/>
                </a:lnTo>
                <a:lnTo>
                  <a:pt x="2187" y="603"/>
                </a:lnTo>
                <a:lnTo>
                  <a:pt x="2187" y="604"/>
                </a:lnTo>
                <a:cubicBezTo>
                  <a:pt x="2186" y="604"/>
                  <a:pt x="2185" y="603"/>
                  <a:pt x="2184" y="601"/>
                </a:cubicBezTo>
                <a:cubicBezTo>
                  <a:pt x="2182" y="600"/>
                  <a:pt x="2181" y="599"/>
                  <a:pt x="2181" y="599"/>
                </a:cubicBezTo>
                <a:cubicBezTo>
                  <a:pt x="2181" y="600"/>
                  <a:pt x="2182" y="601"/>
                  <a:pt x="2183" y="604"/>
                </a:cubicBezTo>
                <a:cubicBezTo>
                  <a:pt x="2184" y="607"/>
                  <a:pt x="2185" y="608"/>
                  <a:pt x="2186" y="608"/>
                </a:cubicBezTo>
                <a:close/>
                <a:moveTo>
                  <a:pt x="2180" y="590"/>
                </a:moveTo>
                <a:cubicBezTo>
                  <a:pt x="2180" y="590"/>
                  <a:pt x="2180" y="590"/>
                  <a:pt x="2180" y="590"/>
                </a:cubicBezTo>
                <a:lnTo>
                  <a:pt x="2179" y="586"/>
                </a:lnTo>
                <a:cubicBezTo>
                  <a:pt x="2179" y="585"/>
                  <a:pt x="2179" y="585"/>
                  <a:pt x="2180" y="585"/>
                </a:cubicBezTo>
                <a:cubicBezTo>
                  <a:pt x="2181" y="585"/>
                  <a:pt x="2181" y="584"/>
                  <a:pt x="2181" y="583"/>
                </a:cubicBezTo>
                <a:lnTo>
                  <a:pt x="2180" y="579"/>
                </a:lnTo>
                <a:cubicBezTo>
                  <a:pt x="2180" y="579"/>
                  <a:pt x="2181" y="579"/>
                  <a:pt x="2181" y="579"/>
                </a:cubicBezTo>
                <a:lnTo>
                  <a:pt x="2183" y="580"/>
                </a:lnTo>
                <a:cubicBezTo>
                  <a:pt x="2184" y="580"/>
                  <a:pt x="2184" y="580"/>
                  <a:pt x="2184" y="579"/>
                </a:cubicBezTo>
                <a:cubicBezTo>
                  <a:pt x="2184" y="579"/>
                  <a:pt x="2184" y="578"/>
                  <a:pt x="2184" y="577"/>
                </a:cubicBezTo>
                <a:cubicBezTo>
                  <a:pt x="2183" y="576"/>
                  <a:pt x="2183" y="575"/>
                  <a:pt x="2182" y="575"/>
                </a:cubicBezTo>
                <a:cubicBezTo>
                  <a:pt x="2181" y="575"/>
                  <a:pt x="2180" y="576"/>
                  <a:pt x="2179" y="579"/>
                </a:cubicBezTo>
                <a:cubicBezTo>
                  <a:pt x="2178" y="582"/>
                  <a:pt x="2177" y="584"/>
                  <a:pt x="2177" y="586"/>
                </a:cubicBezTo>
                <a:cubicBezTo>
                  <a:pt x="2177" y="588"/>
                  <a:pt x="2178" y="590"/>
                  <a:pt x="2180" y="590"/>
                </a:cubicBezTo>
                <a:close/>
                <a:moveTo>
                  <a:pt x="2177" y="644"/>
                </a:moveTo>
                <a:cubicBezTo>
                  <a:pt x="2178" y="643"/>
                  <a:pt x="2179" y="641"/>
                  <a:pt x="2179" y="638"/>
                </a:cubicBezTo>
                <a:lnTo>
                  <a:pt x="2179" y="637"/>
                </a:lnTo>
                <a:cubicBezTo>
                  <a:pt x="2179" y="634"/>
                  <a:pt x="2180" y="634"/>
                  <a:pt x="2180" y="634"/>
                </a:cubicBezTo>
                <a:cubicBezTo>
                  <a:pt x="2181" y="634"/>
                  <a:pt x="2182" y="633"/>
                  <a:pt x="2182" y="632"/>
                </a:cubicBezTo>
                <a:lnTo>
                  <a:pt x="2181" y="631"/>
                </a:lnTo>
                <a:cubicBezTo>
                  <a:pt x="2181" y="630"/>
                  <a:pt x="2180" y="630"/>
                  <a:pt x="2180" y="630"/>
                </a:cubicBezTo>
                <a:cubicBezTo>
                  <a:pt x="2179" y="630"/>
                  <a:pt x="2178" y="631"/>
                  <a:pt x="2178" y="632"/>
                </a:cubicBezTo>
                <a:cubicBezTo>
                  <a:pt x="2177" y="633"/>
                  <a:pt x="2177" y="634"/>
                  <a:pt x="2177" y="636"/>
                </a:cubicBezTo>
                <a:lnTo>
                  <a:pt x="2178" y="641"/>
                </a:lnTo>
                <a:cubicBezTo>
                  <a:pt x="2178" y="642"/>
                  <a:pt x="2178" y="642"/>
                  <a:pt x="2178" y="642"/>
                </a:cubicBezTo>
                <a:lnTo>
                  <a:pt x="2175" y="641"/>
                </a:lnTo>
                <a:cubicBezTo>
                  <a:pt x="2174" y="641"/>
                  <a:pt x="2174" y="642"/>
                  <a:pt x="2174" y="643"/>
                </a:cubicBezTo>
                <a:cubicBezTo>
                  <a:pt x="2174" y="644"/>
                  <a:pt x="2174" y="644"/>
                  <a:pt x="2176" y="644"/>
                </a:cubicBezTo>
                <a:lnTo>
                  <a:pt x="2177" y="644"/>
                </a:lnTo>
                <a:close/>
                <a:moveTo>
                  <a:pt x="2169" y="663"/>
                </a:moveTo>
                <a:cubicBezTo>
                  <a:pt x="2170" y="663"/>
                  <a:pt x="2171" y="661"/>
                  <a:pt x="2173" y="658"/>
                </a:cubicBezTo>
                <a:lnTo>
                  <a:pt x="2175" y="655"/>
                </a:lnTo>
                <a:lnTo>
                  <a:pt x="2175" y="654"/>
                </a:lnTo>
                <a:lnTo>
                  <a:pt x="2173" y="655"/>
                </a:lnTo>
                <a:cubicBezTo>
                  <a:pt x="2172" y="655"/>
                  <a:pt x="2172" y="655"/>
                  <a:pt x="2172" y="654"/>
                </a:cubicBezTo>
                <a:cubicBezTo>
                  <a:pt x="2171" y="653"/>
                  <a:pt x="2171" y="653"/>
                  <a:pt x="2171" y="653"/>
                </a:cubicBezTo>
                <a:cubicBezTo>
                  <a:pt x="2171" y="653"/>
                  <a:pt x="2170" y="654"/>
                  <a:pt x="2170" y="657"/>
                </a:cubicBezTo>
                <a:cubicBezTo>
                  <a:pt x="2169" y="659"/>
                  <a:pt x="2168" y="661"/>
                  <a:pt x="2168" y="662"/>
                </a:cubicBezTo>
                <a:lnTo>
                  <a:pt x="2169" y="663"/>
                </a:lnTo>
                <a:close/>
                <a:moveTo>
                  <a:pt x="2170" y="613"/>
                </a:moveTo>
                <a:cubicBezTo>
                  <a:pt x="2171" y="613"/>
                  <a:pt x="2171" y="612"/>
                  <a:pt x="2171" y="612"/>
                </a:cubicBezTo>
                <a:lnTo>
                  <a:pt x="2170" y="607"/>
                </a:lnTo>
                <a:cubicBezTo>
                  <a:pt x="2170" y="606"/>
                  <a:pt x="2170" y="606"/>
                  <a:pt x="2170" y="606"/>
                </a:cubicBezTo>
                <a:lnTo>
                  <a:pt x="2171" y="607"/>
                </a:lnTo>
                <a:cubicBezTo>
                  <a:pt x="2172" y="607"/>
                  <a:pt x="2173" y="606"/>
                  <a:pt x="2174" y="605"/>
                </a:cubicBezTo>
                <a:cubicBezTo>
                  <a:pt x="2175" y="603"/>
                  <a:pt x="2175" y="602"/>
                  <a:pt x="2176" y="600"/>
                </a:cubicBezTo>
                <a:cubicBezTo>
                  <a:pt x="2176" y="598"/>
                  <a:pt x="2177" y="596"/>
                  <a:pt x="2177" y="595"/>
                </a:cubicBezTo>
                <a:cubicBezTo>
                  <a:pt x="2177" y="594"/>
                  <a:pt x="2176" y="593"/>
                  <a:pt x="2176" y="592"/>
                </a:cubicBezTo>
                <a:lnTo>
                  <a:pt x="2176" y="592"/>
                </a:lnTo>
                <a:cubicBezTo>
                  <a:pt x="2174" y="592"/>
                  <a:pt x="2173" y="594"/>
                  <a:pt x="2171" y="599"/>
                </a:cubicBezTo>
                <a:cubicBezTo>
                  <a:pt x="2169" y="604"/>
                  <a:pt x="2168" y="607"/>
                  <a:pt x="2168" y="610"/>
                </a:cubicBezTo>
                <a:lnTo>
                  <a:pt x="2168" y="611"/>
                </a:lnTo>
                <a:cubicBezTo>
                  <a:pt x="2169" y="612"/>
                  <a:pt x="2170" y="613"/>
                  <a:pt x="2170" y="613"/>
                </a:cubicBezTo>
                <a:close/>
                <a:moveTo>
                  <a:pt x="2169" y="592"/>
                </a:moveTo>
                <a:lnTo>
                  <a:pt x="2171" y="592"/>
                </a:lnTo>
                <a:cubicBezTo>
                  <a:pt x="2171" y="591"/>
                  <a:pt x="2171" y="591"/>
                  <a:pt x="2170" y="590"/>
                </a:cubicBezTo>
                <a:cubicBezTo>
                  <a:pt x="2168" y="590"/>
                  <a:pt x="2168" y="590"/>
                  <a:pt x="2168" y="589"/>
                </a:cubicBezTo>
                <a:cubicBezTo>
                  <a:pt x="2168" y="589"/>
                  <a:pt x="2168" y="588"/>
                  <a:pt x="2170" y="587"/>
                </a:cubicBezTo>
                <a:cubicBezTo>
                  <a:pt x="2171" y="587"/>
                  <a:pt x="2171" y="586"/>
                  <a:pt x="2171" y="586"/>
                </a:cubicBezTo>
                <a:cubicBezTo>
                  <a:pt x="2171" y="586"/>
                  <a:pt x="2170" y="585"/>
                  <a:pt x="2169" y="585"/>
                </a:cubicBezTo>
                <a:cubicBezTo>
                  <a:pt x="2168" y="585"/>
                  <a:pt x="2167" y="586"/>
                  <a:pt x="2166" y="586"/>
                </a:cubicBezTo>
                <a:cubicBezTo>
                  <a:pt x="2165" y="587"/>
                  <a:pt x="2165" y="588"/>
                  <a:pt x="2165" y="588"/>
                </a:cubicBezTo>
                <a:cubicBezTo>
                  <a:pt x="2165" y="589"/>
                  <a:pt x="2165" y="590"/>
                  <a:pt x="2166" y="591"/>
                </a:cubicBezTo>
                <a:cubicBezTo>
                  <a:pt x="2167" y="592"/>
                  <a:pt x="2168" y="592"/>
                  <a:pt x="2169" y="592"/>
                </a:cubicBezTo>
                <a:close/>
                <a:moveTo>
                  <a:pt x="2165" y="625"/>
                </a:moveTo>
                <a:cubicBezTo>
                  <a:pt x="2166" y="625"/>
                  <a:pt x="2167" y="623"/>
                  <a:pt x="2168" y="620"/>
                </a:cubicBezTo>
                <a:lnTo>
                  <a:pt x="2169" y="618"/>
                </a:lnTo>
                <a:cubicBezTo>
                  <a:pt x="2169" y="615"/>
                  <a:pt x="2168" y="614"/>
                  <a:pt x="2167" y="614"/>
                </a:cubicBezTo>
                <a:cubicBezTo>
                  <a:pt x="2166" y="614"/>
                  <a:pt x="2165" y="615"/>
                  <a:pt x="2165" y="616"/>
                </a:cubicBezTo>
                <a:cubicBezTo>
                  <a:pt x="2164" y="618"/>
                  <a:pt x="2163" y="620"/>
                  <a:pt x="2163" y="621"/>
                </a:cubicBezTo>
                <a:cubicBezTo>
                  <a:pt x="2163" y="623"/>
                  <a:pt x="2164" y="624"/>
                  <a:pt x="2165" y="625"/>
                </a:cubicBezTo>
                <a:close/>
                <a:moveTo>
                  <a:pt x="2153" y="737"/>
                </a:moveTo>
                <a:lnTo>
                  <a:pt x="2153" y="735"/>
                </a:lnTo>
                <a:cubicBezTo>
                  <a:pt x="2154" y="733"/>
                  <a:pt x="2154" y="732"/>
                  <a:pt x="2155" y="732"/>
                </a:cubicBezTo>
                <a:cubicBezTo>
                  <a:pt x="2155" y="731"/>
                  <a:pt x="2156" y="730"/>
                  <a:pt x="2157" y="730"/>
                </a:cubicBezTo>
                <a:cubicBezTo>
                  <a:pt x="2158" y="730"/>
                  <a:pt x="2158" y="729"/>
                  <a:pt x="2158" y="729"/>
                </a:cubicBezTo>
                <a:cubicBezTo>
                  <a:pt x="2158" y="729"/>
                  <a:pt x="2158" y="728"/>
                  <a:pt x="2157" y="728"/>
                </a:cubicBezTo>
                <a:cubicBezTo>
                  <a:pt x="2157" y="727"/>
                  <a:pt x="2157" y="726"/>
                  <a:pt x="2157" y="724"/>
                </a:cubicBezTo>
                <a:cubicBezTo>
                  <a:pt x="2157" y="718"/>
                  <a:pt x="2160" y="706"/>
                  <a:pt x="2166" y="688"/>
                </a:cubicBezTo>
                <a:cubicBezTo>
                  <a:pt x="2167" y="686"/>
                  <a:pt x="2167" y="684"/>
                  <a:pt x="2167" y="683"/>
                </a:cubicBezTo>
                <a:cubicBezTo>
                  <a:pt x="2167" y="681"/>
                  <a:pt x="2167" y="679"/>
                  <a:pt x="2166" y="679"/>
                </a:cubicBezTo>
                <a:cubicBezTo>
                  <a:pt x="2165" y="678"/>
                  <a:pt x="2164" y="677"/>
                  <a:pt x="2164" y="677"/>
                </a:cubicBezTo>
                <a:cubicBezTo>
                  <a:pt x="2163" y="677"/>
                  <a:pt x="2163" y="678"/>
                  <a:pt x="2163" y="678"/>
                </a:cubicBezTo>
                <a:lnTo>
                  <a:pt x="2164" y="683"/>
                </a:lnTo>
                <a:cubicBezTo>
                  <a:pt x="2164" y="685"/>
                  <a:pt x="2163" y="686"/>
                  <a:pt x="2163" y="687"/>
                </a:cubicBezTo>
                <a:cubicBezTo>
                  <a:pt x="2162" y="687"/>
                  <a:pt x="2160" y="691"/>
                  <a:pt x="2159" y="696"/>
                </a:cubicBezTo>
                <a:cubicBezTo>
                  <a:pt x="2157" y="702"/>
                  <a:pt x="2156" y="708"/>
                  <a:pt x="2155" y="715"/>
                </a:cubicBezTo>
                <a:cubicBezTo>
                  <a:pt x="2153" y="722"/>
                  <a:pt x="2153" y="727"/>
                  <a:pt x="2153" y="730"/>
                </a:cubicBezTo>
                <a:cubicBezTo>
                  <a:pt x="2153" y="735"/>
                  <a:pt x="2153" y="737"/>
                  <a:pt x="2153" y="737"/>
                </a:cubicBezTo>
                <a:close/>
                <a:moveTo>
                  <a:pt x="2168" y="762"/>
                </a:moveTo>
                <a:cubicBezTo>
                  <a:pt x="2169" y="762"/>
                  <a:pt x="2169" y="761"/>
                  <a:pt x="2169" y="759"/>
                </a:cubicBezTo>
                <a:cubicBezTo>
                  <a:pt x="2169" y="758"/>
                  <a:pt x="2169" y="757"/>
                  <a:pt x="2167" y="757"/>
                </a:cubicBezTo>
                <a:cubicBezTo>
                  <a:pt x="2167" y="757"/>
                  <a:pt x="2166" y="758"/>
                  <a:pt x="2166" y="758"/>
                </a:cubicBezTo>
                <a:cubicBezTo>
                  <a:pt x="2166" y="759"/>
                  <a:pt x="2166" y="759"/>
                  <a:pt x="2167" y="759"/>
                </a:cubicBezTo>
                <a:cubicBezTo>
                  <a:pt x="2167" y="760"/>
                  <a:pt x="2167" y="760"/>
                  <a:pt x="2167" y="761"/>
                </a:cubicBezTo>
                <a:cubicBezTo>
                  <a:pt x="2167" y="761"/>
                  <a:pt x="2168" y="762"/>
                  <a:pt x="2168" y="762"/>
                </a:cubicBezTo>
                <a:close/>
                <a:moveTo>
                  <a:pt x="2168" y="676"/>
                </a:moveTo>
                <a:cubicBezTo>
                  <a:pt x="2171" y="676"/>
                  <a:pt x="2172" y="674"/>
                  <a:pt x="2172" y="669"/>
                </a:cubicBezTo>
                <a:cubicBezTo>
                  <a:pt x="2172" y="667"/>
                  <a:pt x="2172" y="666"/>
                  <a:pt x="2171" y="666"/>
                </a:cubicBezTo>
                <a:cubicBezTo>
                  <a:pt x="2171" y="666"/>
                  <a:pt x="2171" y="667"/>
                  <a:pt x="2170" y="670"/>
                </a:cubicBezTo>
                <a:cubicBezTo>
                  <a:pt x="2169" y="672"/>
                  <a:pt x="2168" y="674"/>
                  <a:pt x="2168" y="674"/>
                </a:cubicBezTo>
                <a:cubicBezTo>
                  <a:pt x="2168" y="674"/>
                  <a:pt x="2167" y="673"/>
                  <a:pt x="2167" y="672"/>
                </a:cubicBezTo>
                <a:cubicBezTo>
                  <a:pt x="2167" y="671"/>
                  <a:pt x="2167" y="671"/>
                  <a:pt x="2167" y="671"/>
                </a:cubicBezTo>
                <a:cubicBezTo>
                  <a:pt x="2166" y="671"/>
                  <a:pt x="2166" y="671"/>
                  <a:pt x="2165" y="671"/>
                </a:cubicBezTo>
                <a:cubicBezTo>
                  <a:pt x="2164" y="671"/>
                  <a:pt x="2164" y="672"/>
                  <a:pt x="2164" y="673"/>
                </a:cubicBezTo>
                <a:cubicBezTo>
                  <a:pt x="2164" y="674"/>
                  <a:pt x="2164" y="674"/>
                  <a:pt x="2166" y="675"/>
                </a:cubicBezTo>
                <a:cubicBezTo>
                  <a:pt x="2167" y="676"/>
                  <a:pt x="2168" y="676"/>
                  <a:pt x="2168" y="676"/>
                </a:cubicBezTo>
                <a:close/>
                <a:moveTo>
                  <a:pt x="2224" y="700"/>
                </a:moveTo>
                <a:cubicBezTo>
                  <a:pt x="2225" y="700"/>
                  <a:pt x="2226" y="698"/>
                  <a:pt x="2228" y="696"/>
                </a:cubicBezTo>
                <a:lnTo>
                  <a:pt x="2230" y="693"/>
                </a:lnTo>
                <a:lnTo>
                  <a:pt x="2227" y="695"/>
                </a:lnTo>
                <a:cubicBezTo>
                  <a:pt x="2225" y="697"/>
                  <a:pt x="2224" y="698"/>
                  <a:pt x="2224" y="699"/>
                </a:cubicBezTo>
                <a:cubicBezTo>
                  <a:pt x="2224" y="700"/>
                  <a:pt x="2224" y="700"/>
                  <a:pt x="2224" y="700"/>
                </a:cubicBezTo>
                <a:close/>
                <a:moveTo>
                  <a:pt x="2172" y="738"/>
                </a:moveTo>
                <a:cubicBezTo>
                  <a:pt x="2174" y="738"/>
                  <a:pt x="2177" y="736"/>
                  <a:pt x="2180" y="732"/>
                </a:cubicBezTo>
                <a:cubicBezTo>
                  <a:pt x="2181" y="731"/>
                  <a:pt x="2185" y="728"/>
                  <a:pt x="2192" y="723"/>
                </a:cubicBezTo>
                <a:cubicBezTo>
                  <a:pt x="2198" y="718"/>
                  <a:pt x="2202" y="714"/>
                  <a:pt x="2202" y="712"/>
                </a:cubicBezTo>
                <a:lnTo>
                  <a:pt x="2202" y="711"/>
                </a:lnTo>
                <a:cubicBezTo>
                  <a:pt x="2202" y="709"/>
                  <a:pt x="2203" y="708"/>
                  <a:pt x="2206" y="708"/>
                </a:cubicBezTo>
                <a:cubicBezTo>
                  <a:pt x="2208" y="708"/>
                  <a:pt x="2210" y="707"/>
                  <a:pt x="2210" y="706"/>
                </a:cubicBezTo>
                <a:cubicBezTo>
                  <a:pt x="2210" y="705"/>
                  <a:pt x="2210" y="704"/>
                  <a:pt x="2211" y="702"/>
                </a:cubicBezTo>
                <a:cubicBezTo>
                  <a:pt x="2211" y="701"/>
                  <a:pt x="2212" y="700"/>
                  <a:pt x="2212" y="700"/>
                </a:cubicBezTo>
                <a:lnTo>
                  <a:pt x="2212" y="703"/>
                </a:lnTo>
                <a:cubicBezTo>
                  <a:pt x="2212" y="704"/>
                  <a:pt x="2212" y="704"/>
                  <a:pt x="2212" y="704"/>
                </a:cubicBezTo>
                <a:cubicBezTo>
                  <a:pt x="2214" y="704"/>
                  <a:pt x="2215" y="703"/>
                  <a:pt x="2217" y="700"/>
                </a:cubicBezTo>
                <a:cubicBezTo>
                  <a:pt x="2220" y="698"/>
                  <a:pt x="2222" y="695"/>
                  <a:pt x="2224" y="691"/>
                </a:cubicBezTo>
                <a:cubicBezTo>
                  <a:pt x="2225" y="688"/>
                  <a:pt x="2227" y="686"/>
                  <a:pt x="2227" y="685"/>
                </a:cubicBezTo>
                <a:cubicBezTo>
                  <a:pt x="2227" y="683"/>
                  <a:pt x="2228" y="681"/>
                  <a:pt x="2230" y="679"/>
                </a:cubicBezTo>
                <a:cubicBezTo>
                  <a:pt x="2232" y="676"/>
                  <a:pt x="2234" y="674"/>
                  <a:pt x="2237" y="672"/>
                </a:cubicBezTo>
                <a:cubicBezTo>
                  <a:pt x="2239" y="670"/>
                  <a:pt x="2240" y="669"/>
                  <a:pt x="2241" y="669"/>
                </a:cubicBezTo>
                <a:cubicBezTo>
                  <a:pt x="2242" y="669"/>
                  <a:pt x="2242" y="670"/>
                  <a:pt x="2242" y="671"/>
                </a:cubicBezTo>
                <a:cubicBezTo>
                  <a:pt x="2242" y="671"/>
                  <a:pt x="2242" y="672"/>
                  <a:pt x="2241" y="674"/>
                </a:cubicBezTo>
                <a:cubicBezTo>
                  <a:pt x="2240" y="675"/>
                  <a:pt x="2239" y="676"/>
                  <a:pt x="2237" y="676"/>
                </a:cubicBezTo>
                <a:lnTo>
                  <a:pt x="2235" y="675"/>
                </a:lnTo>
                <a:cubicBezTo>
                  <a:pt x="2235" y="675"/>
                  <a:pt x="2235" y="675"/>
                  <a:pt x="2235" y="676"/>
                </a:cubicBezTo>
                <a:lnTo>
                  <a:pt x="2236" y="678"/>
                </a:lnTo>
                <a:cubicBezTo>
                  <a:pt x="2236" y="678"/>
                  <a:pt x="2236" y="679"/>
                  <a:pt x="2235" y="679"/>
                </a:cubicBezTo>
                <a:lnTo>
                  <a:pt x="2235" y="679"/>
                </a:lnTo>
                <a:cubicBezTo>
                  <a:pt x="2233" y="679"/>
                  <a:pt x="2232" y="679"/>
                  <a:pt x="2232" y="681"/>
                </a:cubicBezTo>
                <a:lnTo>
                  <a:pt x="2232" y="682"/>
                </a:lnTo>
                <a:cubicBezTo>
                  <a:pt x="2232" y="683"/>
                  <a:pt x="2232" y="683"/>
                  <a:pt x="2231" y="683"/>
                </a:cubicBezTo>
                <a:lnTo>
                  <a:pt x="2230" y="683"/>
                </a:lnTo>
                <a:cubicBezTo>
                  <a:pt x="2229" y="683"/>
                  <a:pt x="2229" y="683"/>
                  <a:pt x="2229" y="685"/>
                </a:cubicBezTo>
                <a:cubicBezTo>
                  <a:pt x="2229" y="686"/>
                  <a:pt x="2229" y="686"/>
                  <a:pt x="2230" y="686"/>
                </a:cubicBezTo>
                <a:cubicBezTo>
                  <a:pt x="2231" y="686"/>
                  <a:pt x="2232" y="685"/>
                  <a:pt x="2234" y="683"/>
                </a:cubicBezTo>
                <a:cubicBezTo>
                  <a:pt x="2239" y="679"/>
                  <a:pt x="2243" y="675"/>
                  <a:pt x="2246" y="670"/>
                </a:cubicBezTo>
                <a:cubicBezTo>
                  <a:pt x="2248" y="667"/>
                  <a:pt x="2250" y="665"/>
                  <a:pt x="2252" y="665"/>
                </a:cubicBezTo>
                <a:cubicBezTo>
                  <a:pt x="2253" y="665"/>
                  <a:pt x="2254" y="665"/>
                  <a:pt x="2254" y="664"/>
                </a:cubicBezTo>
                <a:cubicBezTo>
                  <a:pt x="2254" y="662"/>
                  <a:pt x="2256" y="660"/>
                  <a:pt x="2258" y="657"/>
                </a:cubicBezTo>
                <a:cubicBezTo>
                  <a:pt x="2265" y="648"/>
                  <a:pt x="2270" y="644"/>
                  <a:pt x="2272" y="644"/>
                </a:cubicBezTo>
                <a:cubicBezTo>
                  <a:pt x="2272" y="644"/>
                  <a:pt x="2274" y="642"/>
                  <a:pt x="2276" y="640"/>
                </a:cubicBezTo>
                <a:cubicBezTo>
                  <a:pt x="2278" y="638"/>
                  <a:pt x="2280" y="636"/>
                  <a:pt x="2282" y="633"/>
                </a:cubicBezTo>
                <a:cubicBezTo>
                  <a:pt x="2284" y="631"/>
                  <a:pt x="2284" y="629"/>
                  <a:pt x="2284" y="628"/>
                </a:cubicBezTo>
                <a:lnTo>
                  <a:pt x="2284" y="627"/>
                </a:lnTo>
                <a:cubicBezTo>
                  <a:pt x="2284" y="625"/>
                  <a:pt x="2291" y="619"/>
                  <a:pt x="2303" y="607"/>
                </a:cubicBezTo>
                <a:cubicBezTo>
                  <a:pt x="2308" y="603"/>
                  <a:pt x="2311" y="601"/>
                  <a:pt x="2312" y="601"/>
                </a:cubicBezTo>
                <a:lnTo>
                  <a:pt x="2313" y="601"/>
                </a:lnTo>
                <a:lnTo>
                  <a:pt x="2312" y="604"/>
                </a:lnTo>
                <a:cubicBezTo>
                  <a:pt x="2312" y="605"/>
                  <a:pt x="2313" y="606"/>
                  <a:pt x="2313" y="606"/>
                </a:cubicBezTo>
                <a:cubicBezTo>
                  <a:pt x="2314" y="606"/>
                  <a:pt x="2314" y="607"/>
                  <a:pt x="2314" y="607"/>
                </a:cubicBezTo>
                <a:cubicBezTo>
                  <a:pt x="2314" y="608"/>
                  <a:pt x="2314" y="609"/>
                  <a:pt x="2312" y="610"/>
                </a:cubicBezTo>
                <a:cubicBezTo>
                  <a:pt x="2311" y="611"/>
                  <a:pt x="2310" y="612"/>
                  <a:pt x="2310" y="612"/>
                </a:cubicBezTo>
                <a:lnTo>
                  <a:pt x="2309" y="612"/>
                </a:lnTo>
                <a:lnTo>
                  <a:pt x="2309" y="611"/>
                </a:lnTo>
                <a:cubicBezTo>
                  <a:pt x="2309" y="610"/>
                  <a:pt x="2309" y="608"/>
                  <a:pt x="2307" y="608"/>
                </a:cubicBezTo>
                <a:cubicBezTo>
                  <a:pt x="2306" y="608"/>
                  <a:pt x="2306" y="609"/>
                  <a:pt x="2306" y="611"/>
                </a:cubicBezTo>
                <a:cubicBezTo>
                  <a:pt x="2306" y="612"/>
                  <a:pt x="2305" y="613"/>
                  <a:pt x="2303" y="613"/>
                </a:cubicBezTo>
                <a:lnTo>
                  <a:pt x="2302" y="613"/>
                </a:lnTo>
                <a:cubicBezTo>
                  <a:pt x="2299" y="613"/>
                  <a:pt x="2297" y="615"/>
                  <a:pt x="2293" y="618"/>
                </a:cubicBezTo>
                <a:cubicBezTo>
                  <a:pt x="2291" y="621"/>
                  <a:pt x="2290" y="623"/>
                  <a:pt x="2290" y="624"/>
                </a:cubicBezTo>
                <a:cubicBezTo>
                  <a:pt x="2290" y="625"/>
                  <a:pt x="2291" y="625"/>
                  <a:pt x="2292" y="625"/>
                </a:cubicBezTo>
                <a:cubicBezTo>
                  <a:pt x="2294" y="625"/>
                  <a:pt x="2297" y="624"/>
                  <a:pt x="2302" y="620"/>
                </a:cubicBezTo>
                <a:cubicBezTo>
                  <a:pt x="2304" y="618"/>
                  <a:pt x="2306" y="617"/>
                  <a:pt x="2307" y="617"/>
                </a:cubicBezTo>
                <a:lnTo>
                  <a:pt x="2303" y="624"/>
                </a:lnTo>
                <a:lnTo>
                  <a:pt x="2304" y="625"/>
                </a:lnTo>
                <a:cubicBezTo>
                  <a:pt x="2304" y="626"/>
                  <a:pt x="2303" y="627"/>
                  <a:pt x="2301" y="629"/>
                </a:cubicBezTo>
                <a:cubicBezTo>
                  <a:pt x="2299" y="630"/>
                  <a:pt x="2299" y="631"/>
                  <a:pt x="2298" y="631"/>
                </a:cubicBezTo>
                <a:lnTo>
                  <a:pt x="2299" y="628"/>
                </a:lnTo>
                <a:cubicBezTo>
                  <a:pt x="2299" y="627"/>
                  <a:pt x="2299" y="626"/>
                  <a:pt x="2298" y="626"/>
                </a:cubicBezTo>
                <a:cubicBezTo>
                  <a:pt x="2297" y="626"/>
                  <a:pt x="2296" y="627"/>
                  <a:pt x="2294" y="629"/>
                </a:cubicBezTo>
                <a:cubicBezTo>
                  <a:pt x="2292" y="631"/>
                  <a:pt x="2290" y="633"/>
                  <a:pt x="2289" y="635"/>
                </a:cubicBezTo>
                <a:cubicBezTo>
                  <a:pt x="2287" y="638"/>
                  <a:pt x="2286" y="639"/>
                  <a:pt x="2286" y="640"/>
                </a:cubicBezTo>
                <a:lnTo>
                  <a:pt x="2286" y="642"/>
                </a:lnTo>
                <a:cubicBezTo>
                  <a:pt x="2286" y="642"/>
                  <a:pt x="2286" y="643"/>
                  <a:pt x="2285" y="644"/>
                </a:cubicBezTo>
                <a:lnTo>
                  <a:pt x="2283" y="644"/>
                </a:lnTo>
                <a:lnTo>
                  <a:pt x="2283" y="644"/>
                </a:lnTo>
                <a:lnTo>
                  <a:pt x="2284" y="641"/>
                </a:lnTo>
                <a:cubicBezTo>
                  <a:pt x="2284" y="641"/>
                  <a:pt x="2282" y="642"/>
                  <a:pt x="2279" y="645"/>
                </a:cubicBezTo>
                <a:cubicBezTo>
                  <a:pt x="2276" y="647"/>
                  <a:pt x="2272" y="650"/>
                  <a:pt x="2269" y="654"/>
                </a:cubicBezTo>
                <a:cubicBezTo>
                  <a:pt x="2265" y="658"/>
                  <a:pt x="2261" y="662"/>
                  <a:pt x="2257" y="666"/>
                </a:cubicBezTo>
                <a:lnTo>
                  <a:pt x="2249" y="676"/>
                </a:lnTo>
                <a:cubicBezTo>
                  <a:pt x="2249" y="676"/>
                  <a:pt x="2252" y="673"/>
                  <a:pt x="2257" y="669"/>
                </a:cubicBezTo>
                <a:cubicBezTo>
                  <a:pt x="2270" y="656"/>
                  <a:pt x="2276" y="650"/>
                  <a:pt x="2277" y="650"/>
                </a:cubicBezTo>
                <a:cubicBezTo>
                  <a:pt x="2277" y="650"/>
                  <a:pt x="2276" y="653"/>
                  <a:pt x="2272" y="657"/>
                </a:cubicBezTo>
                <a:cubicBezTo>
                  <a:pt x="2267" y="663"/>
                  <a:pt x="2264" y="667"/>
                  <a:pt x="2264" y="668"/>
                </a:cubicBezTo>
                <a:cubicBezTo>
                  <a:pt x="2265" y="668"/>
                  <a:pt x="2270" y="663"/>
                  <a:pt x="2279" y="654"/>
                </a:cubicBezTo>
                <a:cubicBezTo>
                  <a:pt x="2288" y="645"/>
                  <a:pt x="2292" y="639"/>
                  <a:pt x="2292" y="638"/>
                </a:cubicBezTo>
                <a:lnTo>
                  <a:pt x="2292" y="637"/>
                </a:lnTo>
                <a:cubicBezTo>
                  <a:pt x="2292" y="636"/>
                  <a:pt x="2292" y="636"/>
                  <a:pt x="2293" y="635"/>
                </a:cubicBezTo>
                <a:cubicBezTo>
                  <a:pt x="2294" y="634"/>
                  <a:pt x="2294" y="634"/>
                  <a:pt x="2295" y="634"/>
                </a:cubicBezTo>
                <a:lnTo>
                  <a:pt x="2294" y="637"/>
                </a:lnTo>
                <a:cubicBezTo>
                  <a:pt x="2294" y="638"/>
                  <a:pt x="2295" y="638"/>
                  <a:pt x="2295" y="638"/>
                </a:cubicBezTo>
                <a:cubicBezTo>
                  <a:pt x="2296" y="638"/>
                  <a:pt x="2297" y="637"/>
                  <a:pt x="2300" y="634"/>
                </a:cubicBezTo>
                <a:cubicBezTo>
                  <a:pt x="2302" y="632"/>
                  <a:pt x="2305" y="630"/>
                  <a:pt x="2307" y="627"/>
                </a:cubicBezTo>
                <a:cubicBezTo>
                  <a:pt x="2309" y="624"/>
                  <a:pt x="2310" y="622"/>
                  <a:pt x="2310" y="622"/>
                </a:cubicBezTo>
                <a:lnTo>
                  <a:pt x="2309" y="621"/>
                </a:lnTo>
                <a:cubicBezTo>
                  <a:pt x="2309" y="621"/>
                  <a:pt x="2309" y="620"/>
                  <a:pt x="2310" y="619"/>
                </a:cubicBezTo>
                <a:cubicBezTo>
                  <a:pt x="2311" y="618"/>
                  <a:pt x="2312" y="618"/>
                  <a:pt x="2313" y="618"/>
                </a:cubicBezTo>
                <a:lnTo>
                  <a:pt x="2311" y="621"/>
                </a:lnTo>
                <a:cubicBezTo>
                  <a:pt x="2311" y="622"/>
                  <a:pt x="2311" y="622"/>
                  <a:pt x="2312" y="622"/>
                </a:cubicBezTo>
                <a:cubicBezTo>
                  <a:pt x="2314" y="622"/>
                  <a:pt x="2316" y="620"/>
                  <a:pt x="2319" y="617"/>
                </a:cubicBezTo>
                <a:cubicBezTo>
                  <a:pt x="2322" y="615"/>
                  <a:pt x="2323" y="613"/>
                  <a:pt x="2323" y="611"/>
                </a:cubicBezTo>
                <a:lnTo>
                  <a:pt x="2323" y="610"/>
                </a:lnTo>
                <a:cubicBezTo>
                  <a:pt x="2323" y="608"/>
                  <a:pt x="2323" y="607"/>
                  <a:pt x="2324" y="607"/>
                </a:cubicBezTo>
                <a:cubicBezTo>
                  <a:pt x="2325" y="607"/>
                  <a:pt x="2325" y="606"/>
                  <a:pt x="2326" y="606"/>
                </a:cubicBezTo>
                <a:lnTo>
                  <a:pt x="2326" y="607"/>
                </a:lnTo>
                <a:lnTo>
                  <a:pt x="2324" y="610"/>
                </a:lnTo>
                <a:cubicBezTo>
                  <a:pt x="2324" y="610"/>
                  <a:pt x="2324" y="610"/>
                  <a:pt x="2325" y="610"/>
                </a:cubicBezTo>
                <a:cubicBezTo>
                  <a:pt x="2325" y="610"/>
                  <a:pt x="2326" y="610"/>
                  <a:pt x="2328" y="609"/>
                </a:cubicBezTo>
                <a:cubicBezTo>
                  <a:pt x="2329" y="608"/>
                  <a:pt x="2330" y="608"/>
                  <a:pt x="2332" y="608"/>
                </a:cubicBezTo>
                <a:cubicBezTo>
                  <a:pt x="2333" y="608"/>
                  <a:pt x="2334" y="607"/>
                  <a:pt x="2334" y="607"/>
                </a:cubicBezTo>
                <a:lnTo>
                  <a:pt x="2333" y="604"/>
                </a:lnTo>
                <a:cubicBezTo>
                  <a:pt x="2333" y="602"/>
                  <a:pt x="2334" y="601"/>
                  <a:pt x="2335" y="600"/>
                </a:cubicBezTo>
                <a:cubicBezTo>
                  <a:pt x="2336" y="600"/>
                  <a:pt x="2336" y="600"/>
                  <a:pt x="2337" y="600"/>
                </a:cubicBezTo>
                <a:cubicBezTo>
                  <a:pt x="2337" y="600"/>
                  <a:pt x="2336" y="600"/>
                  <a:pt x="2336" y="601"/>
                </a:cubicBezTo>
                <a:cubicBezTo>
                  <a:pt x="2336" y="601"/>
                  <a:pt x="2336" y="602"/>
                  <a:pt x="2336" y="603"/>
                </a:cubicBezTo>
                <a:cubicBezTo>
                  <a:pt x="2336" y="603"/>
                  <a:pt x="2336" y="604"/>
                  <a:pt x="2337" y="604"/>
                </a:cubicBezTo>
                <a:cubicBezTo>
                  <a:pt x="2338" y="604"/>
                  <a:pt x="2339" y="603"/>
                  <a:pt x="2339" y="601"/>
                </a:cubicBezTo>
                <a:cubicBezTo>
                  <a:pt x="2339" y="600"/>
                  <a:pt x="2340" y="599"/>
                  <a:pt x="2341" y="599"/>
                </a:cubicBezTo>
                <a:cubicBezTo>
                  <a:pt x="2343" y="599"/>
                  <a:pt x="2346" y="597"/>
                  <a:pt x="2353" y="593"/>
                </a:cubicBezTo>
                <a:cubicBezTo>
                  <a:pt x="2368" y="582"/>
                  <a:pt x="2378" y="577"/>
                  <a:pt x="2383" y="577"/>
                </a:cubicBezTo>
                <a:lnTo>
                  <a:pt x="2384" y="577"/>
                </a:lnTo>
                <a:lnTo>
                  <a:pt x="2386" y="578"/>
                </a:lnTo>
                <a:lnTo>
                  <a:pt x="2386" y="577"/>
                </a:lnTo>
                <a:cubicBezTo>
                  <a:pt x="2386" y="577"/>
                  <a:pt x="2386" y="576"/>
                  <a:pt x="2385" y="575"/>
                </a:cubicBezTo>
                <a:cubicBezTo>
                  <a:pt x="2383" y="573"/>
                  <a:pt x="2382" y="572"/>
                  <a:pt x="2380" y="572"/>
                </a:cubicBezTo>
                <a:lnTo>
                  <a:pt x="2375" y="573"/>
                </a:lnTo>
                <a:cubicBezTo>
                  <a:pt x="2375" y="573"/>
                  <a:pt x="2375" y="573"/>
                  <a:pt x="2375" y="572"/>
                </a:cubicBezTo>
                <a:lnTo>
                  <a:pt x="2375" y="571"/>
                </a:lnTo>
                <a:cubicBezTo>
                  <a:pt x="2375" y="571"/>
                  <a:pt x="2374" y="570"/>
                  <a:pt x="2371" y="570"/>
                </a:cubicBezTo>
                <a:cubicBezTo>
                  <a:pt x="2363" y="570"/>
                  <a:pt x="2359" y="571"/>
                  <a:pt x="2359" y="573"/>
                </a:cubicBezTo>
                <a:lnTo>
                  <a:pt x="2361" y="575"/>
                </a:lnTo>
                <a:cubicBezTo>
                  <a:pt x="2361" y="576"/>
                  <a:pt x="2360" y="576"/>
                  <a:pt x="2359" y="576"/>
                </a:cubicBezTo>
                <a:lnTo>
                  <a:pt x="2357" y="575"/>
                </a:lnTo>
                <a:cubicBezTo>
                  <a:pt x="2353" y="575"/>
                  <a:pt x="2351" y="576"/>
                  <a:pt x="2351" y="578"/>
                </a:cubicBezTo>
                <a:lnTo>
                  <a:pt x="2351" y="579"/>
                </a:lnTo>
                <a:cubicBezTo>
                  <a:pt x="2351" y="580"/>
                  <a:pt x="2351" y="581"/>
                  <a:pt x="2350" y="581"/>
                </a:cubicBezTo>
                <a:cubicBezTo>
                  <a:pt x="2349" y="582"/>
                  <a:pt x="2348" y="583"/>
                  <a:pt x="2348" y="583"/>
                </a:cubicBezTo>
                <a:lnTo>
                  <a:pt x="2349" y="580"/>
                </a:lnTo>
                <a:cubicBezTo>
                  <a:pt x="2349" y="578"/>
                  <a:pt x="2348" y="577"/>
                  <a:pt x="2345" y="577"/>
                </a:cubicBezTo>
                <a:cubicBezTo>
                  <a:pt x="2344" y="577"/>
                  <a:pt x="2342" y="578"/>
                  <a:pt x="2340" y="579"/>
                </a:cubicBezTo>
                <a:cubicBezTo>
                  <a:pt x="2338" y="581"/>
                  <a:pt x="2338" y="582"/>
                  <a:pt x="2338" y="583"/>
                </a:cubicBezTo>
                <a:cubicBezTo>
                  <a:pt x="2338" y="583"/>
                  <a:pt x="2338" y="583"/>
                  <a:pt x="2338" y="583"/>
                </a:cubicBezTo>
                <a:cubicBezTo>
                  <a:pt x="2339" y="583"/>
                  <a:pt x="2341" y="582"/>
                  <a:pt x="2342" y="581"/>
                </a:cubicBezTo>
                <a:cubicBezTo>
                  <a:pt x="2344" y="580"/>
                  <a:pt x="2344" y="579"/>
                  <a:pt x="2345" y="579"/>
                </a:cubicBezTo>
                <a:cubicBezTo>
                  <a:pt x="2346" y="579"/>
                  <a:pt x="2346" y="579"/>
                  <a:pt x="2346" y="580"/>
                </a:cubicBezTo>
                <a:cubicBezTo>
                  <a:pt x="2346" y="580"/>
                  <a:pt x="2345" y="581"/>
                  <a:pt x="2344" y="583"/>
                </a:cubicBezTo>
                <a:cubicBezTo>
                  <a:pt x="2343" y="584"/>
                  <a:pt x="2342" y="585"/>
                  <a:pt x="2340" y="586"/>
                </a:cubicBezTo>
                <a:cubicBezTo>
                  <a:pt x="2338" y="588"/>
                  <a:pt x="2336" y="588"/>
                  <a:pt x="2336" y="588"/>
                </a:cubicBezTo>
                <a:cubicBezTo>
                  <a:pt x="2335" y="588"/>
                  <a:pt x="2335" y="588"/>
                  <a:pt x="2335" y="586"/>
                </a:cubicBezTo>
                <a:cubicBezTo>
                  <a:pt x="2335" y="585"/>
                  <a:pt x="2334" y="585"/>
                  <a:pt x="2332" y="585"/>
                </a:cubicBezTo>
                <a:cubicBezTo>
                  <a:pt x="2332" y="585"/>
                  <a:pt x="2331" y="585"/>
                  <a:pt x="2331" y="586"/>
                </a:cubicBezTo>
                <a:lnTo>
                  <a:pt x="2331" y="588"/>
                </a:lnTo>
                <a:cubicBezTo>
                  <a:pt x="2331" y="589"/>
                  <a:pt x="2331" y="590"/>
                  <a:pt x="2330" y="593"/>
                </a:cubicBezTo>
                <a:cubicBezTo>
                  <a:pt x="2329" y="595"/>
                  <a:pt x="2328" y="596"/>
                  <a:pt x="2326" y="598"/>
                </a:cubicBezTo>
                <a:cubicBezTo>
                  <a:pt x="2325" y="599"/>
                  <a:pt x="2324" y="600"/>
                  <a:pt x="2323" y="600"/>
                </a:cubicBezTo>
                <a:lnTo>
                  <a:pt x="2322" y="600"/>
                </a:lnTo>
                <a:cubicBezTo>
                  <a:pt x="2320" y="600"/>
                  <a:pt x="2319" y="601"/>
                  <a:pt x="2318" y="602"/>
                </a:cubicBezTo>
                <a:cubicBezTo>
                  <a:pt x="2316" y="603"/>
                  <a:pt x="2316" y="604"/>
                  <a:pt x="2316" y="604"/>
                </a:cubicBezTo>
                <a:lnTo>
                  <a:pt x="2315" y="603"/>
                </a:lnTo>
                <a:lnTo>
                  <a:pt x="2316" y="600"/>
                </a:lnTo>
                <a:cubicBezTo>
                  <a:pt x="2316" y="599"/>
                  <a:pt x="2316" y="599"/>
                  <a:pt x="2316" y="599"/>
                </a:cubicBezTo>
                <a:cubicBezTo>
                  <a:pt x="2315" y="599"/>
                  <a:pt x="2314" y="599"/>
                  <a:pt x="2314" y="599"/>
                </a:cubicBezTo>
                <a:cubicBezTo>
                  <a:pt x="2314" y="598"/>
                  <a:pt x="2316" y="596"/>
                  <a:pt x="2318" y="593"/>
                </a:cubicBezTo>
                <a:cubicBezTo>
                  <a:pt x="2319" y="591"/>
                  <a:pt x="2320" y="589"/>
                  <a:pt x="2320" y="588"/>
                </a:cubicBezTo>
                <a:cubicBezTo>
                  <a:pt x="2320" y="587"/>
                  <a:pt x="2320" y="587"/>
                  <a:pt x="2319" y="586"/>
                </a:cubicBezTo>
                <a:cubicBezTo>
                  <a:pt x="2319" y="586"/>
                  <a:pt x="2318" y="585"/>
                  <a:pt x="2318" y="584"/>
                </a:cubicBezTo>
                <a:lnTo>
                  <a:pt x="2319" y="582"/>
                </a:lnTo>
                <a:lnTo>
                  <a:pt x="2319" y="581"/>
                </a:lnTo>
                <a:cubicBezTo>
                  <a:pt x="2317" y="581"/>
                  <a:pt x="2313" y="584"/>
                  <a:pt x="2307" y="589"/>
                </a:cubicBezTo>
                <a:cubicBezTo>
                  <a:pt x="2305" y="591"/>
                  <a:pt x="2298" y="598"/>
                  <a:pt x="2286" y="609"/>
                </a:cubicBezTo>
                <a:cubicBezTo>
                  <a:pt x="2274" y="620"/>
                  <a:pt x="2266" y="629"/>
                  <a:pt x="2262" y="634"/>
                </a:cubicBezTo>
                <a:lnTo>
                  <a:pt x="2251" y="646"/>
                </a:lnTo>
                <a:cubicBezTo>
                  <a:pt x="2240" y="657"/>
                  <a:pt x="2233" y="663"/>
                  <a:pt x="2232" y="663"/>
                </a:cubicBezTo>
                <a:cubicBezTo>
                  <a:pt x="2231" y="663"/>
                  <a:pt x="2231" y="663"/>
                  <a:pt x="2231" y="663"/>
                </a:cubicBezTo>
                <a:cubicBezTo>
                  <a:pt x="2231" y="662"/>
                  <a:pt x="2232" y="660"/>
                  <a:pt x="2234" y="658"/>
                </a:cubicBezTo>
                <a:lnTo>
                  <a:pt x="2237" y="654"/>
                </a:lnTo>
                <a:cubicBezTo>
                  <a:pt x="2237" y="654"/>
                  <a:pt x="2235" y="655"/>
                  <a:pt x="2233" y="658"/>
                </a:cubicBezTo>
                <a:cubicBezTo>
                  <a:pt x="2230" y="660"/>
                  <a:pt x="2229" y="662"/>
                  <a:pt x="2229" y="663"/>
                </a:cubicBezTo>
                <a:lnTo>
                  <a:pt x="2229" y="664"/>
                </a:lnTo>
                <a:cubicBezTo>
                  <a:pt x="2229" y="665"/>
                  <a:pt x="2228" y="667"/>
                  <a:pt x="2226" y="669"/>
                </a:cubicBezTo>
                <a:cubicBezTo>
                  <a:pt x="2224" y="671"/>
                  <a:pt x="2223" y="671"/>
                  <a:pt x="2222" y="671"/>
                </a:cubicBezTo>
                <a:cubicBezTo>
                  <a:pt x="2222" y="671"/>
                  <a:pt x="2222" y="671"/>
                  <a:pt x="2222" y="671"/>
                </a:cubicBezTo>
                <a:lnTo>
                  <a:pt x="2222" y="671"/>
                </a:lnTo>
                <a:cubicBezTo>
                  <a:pt x="2220" y="671"/>
                  <a:pt x="2217" y="674"/>
                  <a:pt x="2212" y="680"/>
                </a:cubicBezTo>
                <a:cubicBezTo>
                  <a:pt x="2207" y="686"/>
                  <a:pt x="2204" y="689"/>
                  <a:pt x="2202" y="689"/>
                </a:cubicBezTo>
                <a:lnTo>
                  <a:pt x="2200" y="688"/>
                </a:lnTo>
                <a:lnTo>
                  <a:pt x="2201" y="691"/>
                </a:lnTo>
                <a:cubicBezTo>
                  <a:pt x="2201" y="692"/>
                  <a:pt x="2198" y="695"/>
                  <a:pt x="2193" y="699"/>
                </a:cubicBezTo>
                <a:cubicBezTo>
                  <a:pt x="2187" y="704"/>
                  <a:pt x="2184" y="706"/>
                  <a:pt x="2183" y="706"/>
                </a:cubicBezTo>
                <a:lnTo>
                  <a:pt x="2183" y="705"/>
                </a:lnTo>
                <a:cubicBezTo>
                  <a:pt x="2183" y="705"/>
                  <a:pt x="2183" y="705"/>
                  <a:pt x="2182" y="705"/>
                </a:cubicBezTo>
                <a:cubicBezTo>
                  <a:pt x="2181" y="705"/>
                  <a:pt x="2179" y="708"/>
                  <a:pt x="2175" y="714"/>
                </a:cubicBezTo>
                <a:cubicBezTo>
                  <a:pt x="2173" y="719"/>
                  <a:pt x="2172" y="723"/>
                  <a:pt x="2172" y="727"/>
                </a:cubicBezTo>
                <a:cubicBezTo>
                  <a:pt x="2172" y="727"/>
                  <a:pt x="2172" y="727"/>
                  <a:pt x="2172" y="727"/>
                </a:cubicBezTo>
                <a:cubicBezTo>
                  <a:pt x="2173" y="727"/>
                  <a:pt x="2174" y="726"/>
                  <a:pt x="2176" y="725"/>
                </a:cubicBezTo>
                <a:cubicBezTo>
                  <a:pt x="2179" y="722"/>
                  <a:pt x="2181" y="720"/>
                  <a:pt x="2182" y="720"/>
                </a:cubicBezTo>
                <a:cubicBezTo>
                  <a:pt x="2182" y="720"/>
                  <a:pt x="2185" y="717"/>
                  <a:pt x="2192" y="711"/>
                </a:cubicBezTo>
                <a:cubicBezTo>
                  <a:pt x="2196" y="706"/>
                  <a:pt x="2199" y="703"/>
                  <a:pt x="2200" y="703"/>
                </a:cubicBezTo>
                <a:cubicBezTo>
                  <a:pt x="2200" y="703"/>
                  <a:pt x="2200" y="703"/>
                  <a:pt x="2200" y="704"/>
                </a:cubicBezTo>
                <a:cubicBezTo>
                  <a:pt x="2200" y="705"/>
                  <a:pt x="2199" y="707"/>
                  <a:pt x="2196" y="710"/>
                </a:cubicBezTo>
                <a:cubicBezTo>
                  <a:pt x="2194" y="712"/>
                  <a:pt x="2192" y="715"/>
                  <a:pt x="2190" y="718"/>
                </a:cubicBezTo>
                <a:cubicBezTo>
                  <a:pt x="2189" y="721"/>
                  <a:pt x="2188" y="723"/>
                  <a:pt x="2185" y="723"/>
                </a:cubicBezTo>
                <a:cubicBezTo>
                  <a:pt x="2184" y="723"/>
                  <a:pt x="2182" y="724"/>
                  <a:pt x="2180" y="726"/>
                </a:cubicBezTo>
                <a:cubicBezTo>
                  <a:pt x="2175" y="731"/>
                  <a:pt x="2172" y="735"/>
                  <a:pt x="2172" y="737"/>
                </a:cubicBezTo>
                <a:lnTo>
                  <a:pt x="2172" y="738"/>
                </a:lnTo>
                <a:close/>
                <a:moveTo>
                  <a:pt x="2259" y="659"/>
                </a:moveTo>
                <a:cubicBezTo>
                  <a:pt x="2260" y="659"/>
                  <a:pt x="2261" y="658"/>
                  <a:pt x="2262" y="656"/>
                </a:cubicBezTo>
                <a:cubicBezTo>
                  <a:pt x="2264" y="654"/>
                  <a:pt x="2265" y="653"/>
                  <a:pt x="2267" y="651"/>
                </a:cubicBezTo>
                <a:lnTo>
                  <a:pt x="2271" y="646"/>
                </a:lnTo>
                <a:cubicBezTo>
                  <a:pt x="2271" y="646"/>
                  <a:pt x="2269" y="647"/>
                  <a:pt x="2266" y="650"/>
                </a:cubicBezTo>
                <a:cubicBezTo>
                  <a:pt x="2261" y="654"/>
                  <a:pt x="2259" y="657"/>
                  <a:pt x="2259" y="658"/>
                </a:cubicBezTo>
                <a:cubicBezTo>
                  <a:pt x="2259" y="659"/>
                  <a:pt x="2259" y="659"/>
                  <a:pt x="2259" y="659"/>
                </a:cubicBezTo>
                <a:close/>
                <a:moveTo>
                  <a:pt x="2281" y="637"/>
                </a:moveTo>
                <a:cubicBezTo>
                  <a:pt x="2281" y="637"/>
                  <a:pt x="2282" y="637"/>
                  <a:pt x="2284" y="635"/>
                </a:cubicBezTo>
                <a:cubicBezTo>
                  <a:pt x="2287" y="633"/>
                  <a:pt x="2288" y="632"/>
                  <a:pt x="2289" y="631"/>
                </a:cubicBezTo>
                <a:cubicBezTo>
                  <a:pt x="2291" y="630"/>
                  <a:pt x="2291" y="629"/>
                  <a:pt x="2291" y="628"/>
                </a:cubicBezTo>
                <a:cubicBezTo>
                  <a:pt x="2291" y="628"/>
                  <a:pt x="2291" y="627"/>
                  <a:pt x="2290" y="626"/>
                </a:cubicBezTo>
                <a:cubicBezTo>
                  <a:pt x="2289" y="625"/>
                  <a:pt x="2289" y="625"/>
                  <a:pt x="2287" y="625"/>
                </a:cubicBezTo>
                <a:lnTo>
                  <a:pt x="2288" y="626"/>
                </a:lnTo>
                <a:cubicBezTo>
                  <a:pt x="2288" y="627"/>
                  <a:pt x="2287" y="630"/>
                  <a:pt x="2284" y="633"/>
                </a:cubicBezTo>
                <a:cubicBezTo>
                  <a:pt x="2282" y="636"/>
                  <a:pt x="2281" y="637"/>
                  <a:pt x="2281" y="637"/>
                </a:cubicBezTo>
                <a:close/>
                <a:moveTo>
                  <a:pt x="2402" y="606"/>
                </a:moveTo>
                <a:cubicBezTo>
                  <a:pt x="2402" y="606"/>
                  <a:pt x="2403" y="605"/>
                  <a:pt x="2404" y="605"/>
                </a:cubicBezTo>
                <a:cubicBezTo>
                  <a:pt x="2405" y="605"/>
                  <a:pt x="2406" y="604"/>
                  <a:pt x="2406" y="603"/>
                </a:cubicBezTo>
                <a:cubicBezTo>
                  <a:pt x="2406" y="602"/>
                  <a:pt x="2405" y="601"/>
                  <a:pt x="2404" y="601"/>
                </a:cubicBezTo>
                <a:cubicBezTo>
                  <a:pt x="2403" y="601"/>
                  <a:pt x="2403" y="600"/>
                  <a:pt x="2403" y="599"/>
                </a:cubicBezTo>
                <a:lnTo>
                  <a:pt x="2403" y="596"/>
                </a:lnTo>
                <a:cubicBezTo>
                  <a:pt x="2403" y="595"/>
                  <a:pt x="2402" y="595"/>
                  <a:pt x="2401" y="595"/>
                </a:cubicBezTo>
                <a:cubicBezTo>
                  <a:pt x="2399" y="595"/>
                  <a:pt x="2399" y="595"/>
                  <a:pt x="2399" y="595"/>
                </a:cubicBezTo>
                <a:cubicBezTo>
                  <a:pt x="2399" y="596"/>
                  <a:pt x="2399" y="598"/>
                  <a:pt x="2400" y="599"/>
                </a:cubicBezTo>
                <a:cubicBezTo>
                  <a:pt x="2400" y="601"/>
                  <a:pt x="2401" y="602"/>
                  <a:pt x="2401" y="603"/>
                </a:cubicBezTo>
                <a:lnTo>
                  <a:pt x="2400" y="605"/>
                </a:lnTo>
                <a:cubicBezTo>
                  <a:pt x="2400" y="605"/>
                  <a:pt x="2401" y="606"/>
                  <a:pt x="2402" y="606"/>
                </a:cubicBezTo>
                <a:close/>
                <a:moveTo>
                  <a:pt x="2410" y="632"/>
                </a:moveTo>
                <a:cubicBezTo>
                  <a:pt x="2410" y="632"/>
                  <a:pt x="2410" y="632"/>
                  <a:pt x="2410" y="631"/>
                </a:cubicBezTo>
                <a:cubicBezTo>
                  <a:pt x="2410" y="629"/>
                  <a:pt x="2410" y="626"/>
                  <a:pt x="2409" y="623"/>
                </a:cubicBezTo>
                <a:cubicBezTo>
                  <a:pt x="2408" y="620"/>
                  <a:pt x="2407" y="617"/>
                  <a:pt x="2407" y="614"/>
                </a:cubicBezTo>
                <a:lnTo>
                  <a:pt x="2408" y="611"/>
                </a:lnTo>
                <a:cubicBezTo>
                  <a:pt x="2408" y="609"/>
                  <a:pt x="2407" y="609"/>
                  <a:pt x="2406" y="609"/>
                </a:cubicBezTo>
                <a:cubicBezTo>
                  <a:pt x="2404" y="609"/>
                  <a:pt x="2403" y="610"/>
                  <a:pt x="2403" y="611"/>
                </a:cubicBezTo>
                <a:cubicBezTo>
                  <a:pt x="2403" y="612"/>
                  <a:pt x="2403" y="612"/>
                  <a:pt x="2404" y="614"/>
                </a:cubicBezTo>
                <a:cubicBezTo>
                  <a:pt x="2404" y="615"/>
                  <a:pt x="2405" y="617"/>
                  <a:pt x="2406" y="620"/>
                </a:cubicBezTo>
                <a:cubicBezTo>
                  <a:pt x="2407" y="628"/>
                  <a:pt x="2408" y="632"/>
                  <a:pt x="2409" y="632"/>
                </a:cubicBezTo>
                <a:lnTo>
                  <a:pt x="2410" y="632"/>
                </a:lnTo>
                <a:close/>
                <a:moveTo>
                  <a:pt x="2418" y="661"/>
                </a:moveTo>
                <a:cubicBezTo>
                  <a:pt x="2419" y="661"/>
                  <a:pt x="2420" y="660"/>
                  <a:pt x="2420" y="659"/>
                </a:cubicBezTo>
                <a:cubicBezTo>
                  <a:pt x="2420" y="657"/>
                  <a:pt x="2419" y="656"/>
                  <a:pt x="2417" y="656"/>
                </a:cubicBezTo>
                <a:cubicBezTo>
                  <a:pt x="2416" y="656"/>
                  <a:pt x="2416" y="657"/>
                  <a:pt x="2416" y="658"/>
                </a:cubicBezTo>
                <a:cubicBezTo>
                  <a:pt x="2416" y="658"/>
                  <a:pt x="2416" y="659"/>
                  <a:pt x="2416" y="659"/>
                </a:cubicBezTo>
                <a:cubicBezTo>
                  <a:pt x="2417" y="659"/>
                  <a:pt x="2417" y="660"/>
                  <a:pt x="2417" y="660"/>
                </a:cubicBezTo>
                <a:cubicBezTo>
                  <a:pt x="2418" y="660"/>
                  <a:pt x="2418" y="661"/>
                  <a:pt x="2418" y="661"/>
                </a:cubicBezTo>
                <a:close/>
                <a:moveTo>
                  <a:pt x="2463" y="692"/>
                </a:moveTo>
                <a:lnTo>
                  <a:pt x="2463" y="691"/>
                </a:lnTo>
                <a:cubicBezTo>
                  <a:pt x="2464" y="691"/>
                  <a:pt x="2464" y="691"/>
                  <a:pt x="2464" y="690"/>
                </a:cubicBezTo>
                <a:cubicBezTo>
                  <a:pt x="2464" y="689"/>
                  <a:pt x="2464" y="689"/>
                  <a:pt x="2463" y="688"/>
                </a:cubicBezTo>
                <a:cubicBezTo>
                  <a:pt x="2461" y="687"/>
                  <a:pt x="2459" y="686"/>
                  <a:pt x="2458" y="686"/>
                </a:cubicBezTo>
                <a:cubicBezTo>
                  <a:pt x="2458" y="686"/>
                  <a:pt x="2458" y="686"/>
                  <a:pt x="2458" y="686"/>
                </a:cubicBezTo>
                <a:cubicBezTo>
                  <a:pt x="2458" y="687"/>
                  <a:pt x="2458" y="688"/>
                  <a:pt x="2459" y="690"/>
                </a:cubicBezTo>
                <a:cubicBezTo>
                  <a:pt x="2460" y="691"/>
                  <a:pt x="2462" y="692"/>
                  <a:pt x="2463" y="692"/>
                </a:cubicBezTo>
                <a:close/>
                <a:moveTo>
                  <a:pt x="2469" y="695"/>
                </a:moveTo>
                <a:cubicBezTo>
                  <a:pt x="2472" y="695"/>
                  <a:pt x="2473" y="695"/>
                  <a:pt x="2473" y="694"/>
                </a:cubicBezTo>
                <a:cubicBezTo>
                  <a:pt x="2473" y="693"/>
                  <a:pt x="2472" y="693"/>
                  <a:pt x="2470" y="693"/>
                </a:cubicBezTo>
                <a:cubicBezTo>
                  <a:pt x="2467" y="693"/>
                  <a:pt x="2466" y="693"/>
                  <a:pt x="2466" y="694"/>
                </a:cubicBezTo>
                <a:cubicBezTo>
                  <a:pt x="2466" y="695"/>
                  <a:pt x="2467" y="695"/>
                  <a:pt x="2469" y="695"/>
                </a:cubicBezTo>
                <a:close/>
                <a:moveTo>
                  <a:pt x="2603" y="632"/>
                </a:moveTo>
                <a:cubicBezTo>
                  <a:pt x="2605" y="632"/>
                  <a:pt x="2607" y="631"/>
                  <a:pt x="2609" y="628"/>
                </a:cubicBezTo>
                <a:cubicBezTo>
                  <a:pt x="2610" y="627"/>
                  <a:pt x="2611" y="625"/>
                  <a:pt x="2611" y="625"/>
                </a:cubicBezTo>
                <a:cubicBezTo>
                  <a:pt x="2611" y="623"/>
                  <a:pt x="2609" y="623"/>
                  <a:pt x="2608" y="623"/>
                </a:cubicBezTo>
                <a:cubicBezTo>
                  <a:pt x="2607" y="623"/>
                  <a:pt x="2606" y="623"/>
                  <a:pt x="2605" y="624"/>
                </a:cubicBezTo>
                <a:cubicBezTo>
                  <a:pt x="2604" y="625"/>
                  <a:pt x="2604" y="626"/>
                  <a:pt x="2603" y="627"/>
                </a:cubicBezTo>
                <a:cubicBezTo>
                  <a:pt x="2602" y="629"/>
                  <a:pt x="2602" y="630"/>
                  <a:pt x="2602" y="630"/>
                </a:cubicBezTo>
                <a:cubicBezTo>
                  <a:pt x="2602" y="631"/>
                  <a:pt x="2602" y="632"/>
                  <a:pt x="2603" y="632"/>
                </a:cubicBezTo>
                <a:close/>
                <a:moveTo>
                  <a:pt x="2656" y="567"/>
                </a:moveTo>
                <a:cubicBezTo>
                  <a:pt x="2658" y="567"/>
                  <a:pt x="2659" y="565"/>
                  <a:pt x="2660" y="562"/>
                </a:cubicBezTo>
                <a:cubicBezTo>
                  <a:pt x="2662" y="560"/>
                  <a:pt x="2663" y="558"/>
                  <a:pt x="2663" y="557"/>
                </a:cubicBezTo>
                <a:cubicBezTo>
                  <a:pt x="2663" y="557"/>
                  <a:pt x="2663" y="557"/>
                  <a:pt x="2662" y="557"/>
                </a:cubicBezTo>
                <a:cubicBezTo>
                  <a:pt x="2661" y="557"/>
                  <a:pt x="2660" y="557"/>
                  <a:pt x="2658" y="558"/>
                </a:cubicBezTo>
                <a:cubicBezTo>
                  <a:pt x="2656" y="560"/>
                  <a:pt x="2654" y="562"/>
                  <a:pt x="2654" y="565"/>
                </a:cubicBezTo>
                <a:cubicBezTo>
                  <a:pt x="2654" y="566"/>
                  <a:pt x="2655" y="567"/>
                  <a:pt x="2656" y="567"/>
                </a:cubicBezTo>
                <a:close/>
                <a:moveTo>
                  <a:pt x="2651" y="574"/>
                </a:moveTo>
                <a:cubicBezTo>
                  <a:pt x="2653" y="574"/>
                  <a:pt x="2654" y="573"/>
                  <a:pt x="2656" y="571"/>
                </a:cubicBezTo>
                <a:lnTo>
                  <a:pt x="2656" y="569"/>
                </a:lnTo>
                <a:lnTo>
                  <a:pt x="2656" y="569"/>
                </a:lnTo>
                <a:lnTo>
                  <a:pt x="2655" y="570"/>
                </a:lnTo>
                <a:cubicBezTo>
                  <a:pt x="2655" y="570"/>
                  <a:pt x="2654" y="570"/>
                  <a:pt x="2654" y="570"/>
                </a:cubicBezTo>
                <a:cubicBezTo>
                  <a:pt x="2653" y="570"/>
                  <a:pt x="2652" y="570"/>
                  <a:pt x="2651" y="569"/>
                </a:cubicBezTo>
                <a:cubicBezTo>
                  <a:pt x="2650" y="568"/>
                  <a:pt x="2649" y="568"/>
                  <a:pt x="2649" y="568"/>
                </a:cubicBezTo>
                <a:cubicBezTo>
                  <a:pt x="2649" y="568"/>
                  <a:pt x="2648" y="569"/>
                  <a:pt x="2648" y="570"/>
                </a:cubicBezTo>
                <a:cubicBezTo>
                  <a:pt x="2648" y="573"/>
                  <a:pt x="2649" y="574"/>
                  <a:pt x="2651" y="574"/>
                </a:cubicBezTo>
                <a:close/>
                <a:moveTo>
                  <a:pt x="2636" y="599"/>
                </a:moveTo>
                <a:cubicBezTo>
                  <a:pt x="2637" y="599"/>
                  <a:pt x="2639" y="597"/>
                  <a:pt x="2642" y="592"/>
                </a:cubicBezTo>
                <a:cubicBezTo>
                  <a:pt x="2644" y="588"/>
                  <a:pt x="2646" y="584"/>
                  <a:pt x="2646" y="581"/>
                </a:cubicBezTo>
                <a:lnTo>
                  <a:pt x="2646" y="580"/>
                </a:lnTo>
                <a:cubicBezTo>
                  <a:pt x="2646" y="579"/>
                  <a:pt x="2646" y="579"/>
                  <a:pt x="2646" y="579"/>
                </a:cubicBezTo>
                <a:lnTo>
                  <a:pt x="2649" y="580"/>
                </a:lnTo>
                <a:cubicBezTo>
                  <a:pt x="2649" y="580"/>
                  <a:pt x="2650" y="580"/>
                  <a:pt x="2650" y="579"/>
                </a:cubicBezTo>
                <a:lnTo>
                  <a:pt x="2651" y="578"/>
                </a:lnTo>
                <a:cubicBezTo>
                  <a:pt x="2651" y="578"/>
                  <a:pt x="2650" y="577"/>
                  <a:pt x="2648" y="577"/>
                </a:cubicBezTo>
                <a:cubicBezTo>
                  <a:pt x="2646" y="577"/>
                  <a:pt x="2644" y="578"/>
                  <a:pt x="2643" y="582"/>
                </a:cubicBezTo>
                <a:cubicBezTo>
                  <a:pt x="2642" y="585"/>
                  <a:pt x="2640" y="588"/>
                  <a:pt x="2638" y="590"/>
                </a:cubicBezTo>
                <a:cubicBezTo>
                  <a:pt x="2636" y="592"/>
                  <a:pt x="2634" y="594"/>
                  <a:pt x="2634" y="597"/>
                </a:cubicBezTo>
                <a:cubicBezTo>
                  <a:pt x="2634" y="598"/>
                  <a:pt x="2635" y="599"/>
                  <a:pt x="2636" y="599"/>
                </a:cubicBezTo>
                <a:close/>
                <a:moveTo>
                  <a:pt x="2615" y="622"/>
                </a:moveTo>
                <a:cubicBezTo>
                  <a:pt x="2616" y="622"/>
                  <a:pt x="2619" y="619"/>
                  <a:pt x="2623" y="614"/>
                </a:cubicBezTo>
                <a:cubicBezTo>
                  <a:pt x="2628" y="610"/>
                  <a:pt x="2630" y="607"/>
                  <a:pt x="2630" y="605"/>
                </a:cubicBezTo>
                <a:lnTo>
                  <a:pt x="2629" y="603"/>
                </a:lnTo>
                <a:cubicBezTo>
                  <a:pt x="2629" y="602"/>
                  <a:pt x="2630" y="601"/>
                  <a:pt x="2631" y="600"/>
                </a:cubicBezTo>
                <a:cubicBezTo>
                  <a:pt x="2631" y="599"/>
                  <a:pt x="2632" y="598"/>
                  <a:pt x="2632" y="598"/>
                </a:cubicBezTo>
                <a:cubicBezTo>
                  <a:pt x="2631" y="598"/>
                  <a:pt x="2630" y="598"/>
                  <a:pt x="2629" y="600"/>
                </a:cubicBezTo>
                <a:cubicBezTo>
                  <a:pt x="2627" y="601"/>
                  <a:pt x="2626" y="603"/>
                  <a:pt x="2625" y="604"/>
                </a:cubicBezTo>
                <a:cubicBezTo>
                  <a:pt x="2624" y="605"/>
                  <a:pt x="2623" y="607"/>
                  <a:pt x="2623" y="607"/>
                </a:cubicBezTo>
                <a:cubicBezTo>
                  <a:pt x="2623" y="608"/>
                  <a:pt x="2623" y="609"/>
                  <a:pt x="2623" y="610"/>
                </a:cubicBezTo>
                <a:cubicBezTo>
                  <a:pt x="2622" y="611"/>
                  <a:pt x="2621" y="612"/>
                  <a:pt x="2620" y="613"/>
                </a:cubicBezTo>
                <a:cubicBezTo>
                  <a:pt x="2619" y="614"/>
                  <a:pt x="2618" y="614"/>
                  <a:pt x="2618" y="614"/>
                </a:cubicBezTo>
                <a:lnTo>
                  <a:pt x="2617" y="614"/>
                </a:lnTo>
                <a:lnTo>
                  <a:pt x="2618" y="612"/>
                </a:lnTo>
                <a:cubicBezTo>
                  <a:pt x="2618" y="611"/>
                  <a:pt x="2618" y="610"/>
                  <a:pt x="2617" y="609"/>
                </a:cubicBezTo>
                <a:cubicBezTo>
                  <a:pt x="2616" y="609"/>
                  <a:pt x="2616" y="609"/>
                  <a:pt x="2615" y="609"/>
                </a:cubicBezTo>
                <a:lnTo>
                  <a:pt x="2616" y="611"/>
                </a:lnTo>
                <a:cubicBezTo>
                  <a:pt x="2616" y="613"/>
                  <a:pt x="2616" y="614"/>
                  <a:pt x="2614" y="614"/>
                </a:cubicBezTo>
                <a:cubicBezTo>
                  <a:pt x="2613" y="615"/>
                  <a:pt x="2612" y="616"/>
                  <a:pt x="2612" y="618"/>
                </a:cubicBezTo>
                <a:cubicBezTo>
                  <a:pt x="2612" y="619"/>
                  <a:pt x="2612" y="620"/>
                  <a:pt x="2613" y="620"/>
                </a:cubicBezTo>
                <a:cubicBezTo>
                  <a:pt x="2613" y="621"/>
                  <a:pt x="2613" y="621"/>
                  <a:pt x="2615" y="622"/>
                </a:cubicBezTo>
                <a:close/>
                <a:moveTo>
                  <a:pt x="2148" y="626"/>
                </a:moveTo>
                <a:cubicBezTo>
                  <a:pt x="2148" y="626"/>
                  <a:pt x="2148" y="626"/>
                  <a:pt x="2148" y="625"/>
                </a:cubicBezTo>
                <a:cubicBezTo>
                  <a:pt x="2148" y="624"/>
                  <a:pt x="2149" y="621"/>
                  <a:pt x="2151" y="616"/>
                </a:cubicBezTo>
                <a:cubicBezTo>
                  <a:pt x="2153" y="611"/>
                  <a:pt x="2154" y="608"/>
                  <a:pt x="2155" y="608"/>
                </a:cubicBezTo>
                <a:cubicBezTo>
                  <a:pt x="2155" y="608"/>
                  <a:pt x="2155" y="608"/>
                  <a:pt x="2155" y="609"/>
                </a:cubicBezTo>
                <a:cubicBezTo>
                  <a:pt x="2155" y="610"/>
                  <a:pt x="2155" y="613"/>
                  <a:pt x="2153" y="617"/>
                </a:cubicBezTo>
                <a:cubicBezTo>
                  <a:pt x="2150" y="623"/>
                  <a:pt x="2149" y="626"/>
                  <a:pt x="2148" y="626"/>
                </a:cubicBezTo>
                <a:close/>
                <a:moveTo>
                  <a:pt x="2155" y="606"/>
                </a:moveTo>
                <a:cubicBezTo>
                  <a:pt x="2155" y="606"/>
                  <a:pt x="2155" y="605"/>
                  <a:pt x="2155" y="605"/>
                </a:cubicBezTo>
                <a:cubicBezTo>
                  <a:pt x="2155" y="604"/>
                  <a:pt x="2155" y="603"/>
                  <a:pt x="2156" y="601"/>
                </a:cubicBezTo>
                <a:cubicBezTo>
                  <a:pt x="2157" y="600"/>
                  <a:pt x="2158" y="599"/>
                  <a:pt x="2158" y="598"/>
                </a:cubicBezTo>
                <a:cubicBezTo>
                  <a:pt x="2159" y="597"/>
                  <a:pt x="2160" y="597"/>
                  <a:pt x="2160" y="597"/>
                </a:cubicBezTo>
                <a:cubicBezTo>
                  <a:pt x="2160" y="597"/>
                  <a:pt x="2160" y="597"/>
                  <a:pt x="2160" y="597"/>
                </a:cubicBezTo>
                <a:lnTo>
                  <a:pt x="2159" y="601"/>
                </a:lnTo>
                <a:cubicBezTo>
                  <a:pt x="2157" y="604"/>
                  <a:pt x="2156" y="606"/>
                  <a:pt x="2155" y="606"/>
                </a:cubicBezTo>
                <a:close/>
                <a:moveTo>
                  <a:pt x="2147" y="635"/>
                </a:moveTo>
                <a:cubicBezTo>
                  <a:pt x="2146" y="635"/>
                  <a:pt x="2146" y="634"/>
                  <a:pt x="2146" y="632"/>
                </a:cubicBezTo>
                <a:cubicBezTo>
                  <a:pt x="2146" y="630"/>
                  <a:pt x="2146" y="630"/>
                  <a:pt x="2147" y="630"/>
                </a:cubicBezTo>
                <a:cubicBezTo>
                  <a:pt x="2147" y="630"/>
                  <a:pt x="2148" y="631"/>
                  <a:pt x="2148" y="633"/>
                </a:cubicBezTo>
                <a:cubicBezTo>
                  <a:pt x="2148" y="634"/>
                  <a:pt x="2148" y="634"/>
                  <a:pt x="2147" y="635"/>
                </a:cubicBezTo>
                <a:cubicBezTo>
                  <a:pt x="2147" y="635"/>
                  <a:pt x="2147" y="635"/>
                  <a:pt x="2147" y="635"/>
                </a:cubicBezTo>
                <a:close/>
                <a:moveTo>
                  <a:pt x="2147" y="656"/>
                </a:moveTo>
                <a:cubicBezTo>
                  <a:pt x="2147" y="656"/>
                  <a:pt x="2146" y="656"/>
                  <a:pt x="2146" y="655"/>
                </a:cubicBezTo>
                <a:lnTo>
                  <a:pt x="2147" y="653"/>
                </a:lnTo>
                <a:cubicBezTo>
                  <a:pt x="2147" y="651"/>
                  <a:pt x="2148" y="649"/>
                  <a:pt x="2148" y="647"/>
                </a:cubicBezTo>
                <a:cubicBezTo>
                  <a:pt x="2148" y="645"/>
                  <a:pt x="2149" y="644"/>
                  <a:pt x="2151" y="644"/>
                </a:cubicBezTo>
                <a:cubicBezTo>
                  <a:pt x="2153" y="644"/>
                  <a:pt x="2154" y="645"/>
                  <a:pt x="2154" y="646"/>
                </a:cubicBezTo>
                <a:cubicBezTo>
                  <a:pt x="2154" y="648"/>
                  <a:pt x="2153" y="649"/>
                  <a:pt x="2152" y="652"/>
                </a:cubicBezTo>
                <a:cubicBezTo>
                  <a:pt x="2150" y="655"/>
                  <a:pt x="2149" y="656"/>
                  <a:pt x="2147" y="656"/>
                </a:cubicBezTo>
                <a:close/>
                <a:moveTo>
                  <a:pt x="2618" y="590"/>
                </a:moveTo>
                <a:cubicBezTo>
                  <a:pt x="2618" y="590"/>
                  <a:pt x="2617" y="590"/>
                  <a:pt x="2617" y="589"/>
                </a:cubicBezTo>
                <a:cubicBezTo>
                  <a:pt x="2617" y="588"/>
                  <a:pt x="2618" y="587"/>
                  <a:pt x="2621" y="585"/>
                </a:cubicBezTo>
                <a:lnTo>
                  <a:pt x="2623" y="583"/>
                </a:lnTo>
                <a:lnTo>
                  <a:pt x="2624" y="583"/>
                </a:lnTo>
                <a:lnTo>
                  <a:pt x="2622" y="586"/>
                </a:lnTo>
                <a:cubicBezTo>
                  <a:pt x="2620" y="589"/>
                  <a:pt x="2618" y="590"/>
                  <a:pt x="2618" y="590"/>
                </a:cubicBezTo>
                <a:close/>
                <a:moveTo>
                  <a:pt x="2143" y="651"/>
                </a:moveTo>
                <a:cubicBezTo>
                  <a:pt x="2142" y="651"/>
                  <a:pt x="2142" y="650"/>
                  <a:pt x="2142" y="648"/>
                </a:cubicBezTo>
                <a:cubicBezTo>
                  <a:pt x="2142" y="647"/>
                  <a:pt x="2142" y="646"/>
                  <a:pt x="2142" y="646"/>
                </a:cubicBezTo>
                <a:cubicBezTo>
                  <a:pt x="2143" y="646"/>
                  <a:pt x="2143" y="647"/>
                  <a:pt x="2143" y="649"/>
                </a:cubicBezTo>
                <a:cubicBezTo>
                  <a:pt x="2143" y="649"/>
                  <a:pt x="2143" y="650"/>
                  <a:pt x="2143" y="651"/>
                </a:cubicBezTo>
                <a:close/>
                <a:moveTo>
                  <a:pt x="2344" y="560"/>
                </a:moveTo>
                <a:cubicBezTo>
                  <a:pt x="2344" y="560"/>
                  <a:pt x="2343" y="559"/>
                  <a:pt x="2343" y="559"/>
                </a:cubicBezTo>
                <a:cubicBezTo>
                  <a:pt x="2343" y="559"/>
                  <a:pt x="2344" y="558"/>
                  <a:pt x="2345" y="558"/>
                </a:cubicBezTo>
                <a:cubicBezTo>
                  <a:pt x="2346" y="557"/>
                  <a:pt x="2347" y="557"/>
                  <a:pt x="2348" y="557"/>
                </a:cubicBezTo>
                <a:cubicBezTo>
                  <a:pt x="2349" y="557"/>
                  <a:pt x="2349" y="557"/>
                  <a:pt x="2349" y="557"/>
                </a:cubicBezTo>
                <a:lnTo>
                  <a:pt x="2349" y="558"/>
                </a:lnTo>
                <a:cubicBezTo>
                  <a:pt x="2348" y="559"/>
                  <a:pt x="2346" y="560"/>
                  <a:pt x="2344" y="560"/>
                </a:cubicBezTo>
                <a:close/>
                <a:moveTo>
                  <a:pt x="2443" y="649"/>
                </a:moveTo>
                <a:lnTo>
                  <a:pt x="2441" y="649"/>
                </a:lnTo>
                <a:cubicBezTo>
                  <a:pt x="2440" y="649"/>
                  <a:pt x="2439" y="649"/>
                  <a:pt x="2439" y="647"/>
                </a:cubicBezTo>
                <a:cubicBezTo>
                  <a:pt x="2439" y="646"/>
                  <a:pt x="2439" y="646"/>
                  <a:pt x="2440" y="646"/>
                </a:cubicBezTo>
                <a:cubicBezTo>
                  <a:pt x="2440" y="646"/>
                  <a:pt x="2441" y="646"/>
                  <a:pt x="2442" y="646"/>
                </a:cubicBezTo>
                <a:cubicBezTo>
                  <a:pt x="2443" y="647"/>
                  <a:pt x="2443" y="647"/>
                  <a:pt x="2443" y="648"/>
                </a:cubicBezTo>
                <a:lnTo>
                  <a:pt x="2443" y="649"/>
                </a:lnTo>
                <a:close/>
                <a:moveTo>
                  <a:pt x="2438" y="643"/>
                </a:moveTo>
                <a:cubicBezTo>
                  <a:pt x="2437" y="643"/>
                  <a:pt x="2437" y="642"/>
                  <a:pt x="2437" y="641"/>
                </a:cubicBezTo>
                <a:cubicBezTo>
                  <a:pt x="2437" y="639"/>
                  <a:pt x="2436" y="637"/>
                  <a:pt x="2435" y="634"/>
                </a:cubicBezTo>
                <a:lnTo>
                  <a:pt x="2435" y="632"/>
                </a:lnTo>
                <a:cubicBezTo>
                  <a:pt x="2435" y="632"/>
                  <a:pt x="2435" y="632"/>
                  <a:pt x="2435" y="632"/>
                </a:cubicBezTo>
                <a:lnTo>
                  <a:pt x="2436" y="632"/>
                </a:lnTo>
                <a:cubicBezTo>
                  <a:pt x="2437" y="633"/>
                  <a:pt x="2438" y="634"/>
                  <a:pt x="2439" y="636"/>
                </a:cubicBezTo>
                <a:cubicBezTo>
                  <a:pt x="2440" y="638"/>
                  <a:pt x="2440" y="639"/>
                  <a:pt x="2440" y="641"/>
                </a:cubicBezTo>
                <a:cubicBezTo>
                  <a:pt x="2440" y="642"/>
                  <a:pt x="2440" y="643"/>
                  <a:pt x="2438" y="643"/>
                </a:cubicBezTo>
                <a:close/>
                <a:moveTo>
                  <a:pt x="2617" y="589"/>
                </a:moveTo>
                <a:close/>
                <a:moveTo>
                  <a:pt x="2715" y="639"/>
                </a:moveTo>
                <a:lnTo>
                  <a:pt x="2714" y="639"/>
                </a:lnTo>
                <a:lnTo>
                  <a:pt x="2714" y="638"/>
                </a:lnTo>
                <a:cubicBezTo>
                  <a:pt x="2714" y="637"/>
                  <a:pt x="2715" y="637"/>
                  <a:pt x="2716" y="635"/>
                </a:cubicBezTo>
                <a:cubicBezTo>
                  <a:pt x="2716" y="634"/>
                  <a:pt x="2718" y="633"/>
                  <a:pt x="2719" y="632"/>
                </a:cubicBezTo>
                <a:cubicBezTo>
                  <a:pt x="2720" y="631"/>
                  <a:pt x="2721" y="630"/>
                  <a:pt x="2721" y="630"/>
                </a:cubicBezTo>
                <a:cubicBezTo>
                  <a:pt x="2721" y="631"/>
                  <a:pt x="2721" y="632"/>
                  <a:pt x="2720" y="633"/>
                </a:cubicBezTo>
                <a:cubicBezTo>
                  <a:pt x="2718" y="635"/>
                  <a:pt x="2717" y="637"/>
                  <a:pt x="2716" y="637"/>
                </a:cubicBezTo>
                <a:cubicBezTo>
                  <a:pt x="2716" y="639"/>
                  <a:pt x="2715" y="639"/>
                  <a:pt x="2715" y="639"/>
                </a:cubicBezTo>
                <a:close/>
                <a:moveTo>
                  <a:pt x="2604" y="954"/>
                </a:moveTo>
                <a:cubicBezTo>
                  <a:pt x="2604" y="954"/>
                  <a:pt x="2606" y="951"/>
                  <a:pt x="2612" y="945"/>
                </a:cubicBezTo>
                <a:cubicBezTo>
                  <a:pt x="2619" y="938"/>
                  <a:pt x="2624" y="935"/>
                  <a:pt x="2625" y="935"/>
                </a:cubicBezTo>
                <a:cubicBezTo>
                  <a:pt x="2625" y="935"/>
                  <a:pt x="2624" y="936"/>
                  <a:pt x="2623" y="938"/>
                </a:cubicBezTo>
                <a:cubicBezTo>
                  <a:pt x="2621" y="941"/>
                  <a:pt x="2620" y="942"/>
                  <a:pt x="2619" y="943"/>
                </a:cubicBezTo>
                <a:cubicBezTo>
                  <a:pt x="2619" y="945"/>
                  <a:pt x="2619" y="946"/>
                  <a:pt x="2618" y="946"/>
                </a:cubicBezTo>
                <a:cubicBezTo>
                  <a:pt x="2617" y="946"/>
                  <a:pt x="2613" y="948"/>
                  <a:pt x="2608" y="951"/>
                </a:cubicBezTo>
                <a:lnTo>
                  <a:pt x="2604" y="954"/>
                </a:lnTo>
                <a:close/>
                <a:moveTo>
                  <a:pt x="2660" y="612"/>
                </a:moveTo>
                <a:cubicBezTo>
                  <a:pt x="2659" y="612"/>
                  <a:pt x="2659" y="612"/>
                  <a:pt x="2659" y="612"/>
                </a:cubicBezTo>
                <a:cubicBezTo>
                  <a:pt x="2659" y="611"/>
                  <a:pt x="2660" y="610"/>
                  <a:pt x="2661" y="609"/>
                </a:cubicBezTo>
                <a:cubicBezTo>
                  <a:pt x="2664" y="606"/>
                  <a:pt x="2666" y="603"/>
                  <a:pt x="2667" y="600"/>
                </a:cubicBezTo>
                <a:cubicBezTo>
                  <a:pt x="2668" y="596"/>
                  <a:pt x="2669" y="594"/>
                  <a:pt x="2670" y="594"/>
                </a:cubicBezTo>
                <a:cubicBezTo>
                  <a:pt x="2671" y="594"/>
                  <a:pt x="2671" y="594"/>
                  <a:pt x="2671" y="595"/>
                </a:cubicBezTo>
                <a:cubicBezTo>
                  <a:pt x="2671" y="597"/>
                  <a:pt x="2670" y="599"/>
                  <a:pt x="2667" y="603"/>
                </a:cubicBezTo>
                <a:cubicBezTo>
                  <a:pt x="2664" y="609"/>
                  <a:pt x="2661" y="612"/>
                  <a:pt x="2660" y="612"/>
                </a:cubicBezTo>
                <a:close/>
                <a:moveTo>
                  <a:pt x="2780" y="846"/>
                </a:moveTo>
                <a:cubicBezTo>
                  <a:pt x="2778" y="846"/>
                  <a:pt x="2778" y="845"/>
                  <a:pt x="2778" y="845"/>
                </a:cubicBezTo>
                <a:cubicBezTo>
                  <a:pt x="2778" y="844"/>
                  <a:pt x="2778" y="843"/>
                  <a:pt x="2780" y="842"/>
                </a:cubicBezTo>
                <a:lnTo>
                  <a:pt x="2781" y="841"/>
                </a:lnTo>
                <a:cubicBezTo>
                  <a:pt x="2782" y="841"/>
                  <a:pt x="2782" y="842"/>
                  <a:pt x="2782" y="843"/>
                </a:cubicBezTo>
                <a:cubicBezTo>
                  <a:pt x="2782" y="845"/>
                  <a:pt x="2781" y="846"/>
                  <a:pt x="2780" y="846"/>
                </a:cubicBezTo>
                <a:close/>
                <a:moveTo>
                  <a:pt x="2833" y="682"/>
                </a:moveTo>
                <a:lnTo>
                  <a:pt x="2833" y="679"/>
                </a:lnTo>
                <a:cubicBezTo>
                  <a:pt x="2833" y="676"/>
                  <a:pt x="2833" y="676"/>
                  <a:pt x="2834" y="676"/>
                </a:cubicBezTo>
                <a:cubicBezTo>
                  <a:pt x="2834" y="676"/>
                  <a:pt x="2835" y="676"/>
                  <a:pt x="2835" y="678"/>
                </a:cubicBezTo>
                <a:cubicBezTo>
                  <a:pt x="2835" y="679"/>
                  <a:pt x="2834" y="680"/>
                  <a:pt x="2834" y="681"/>
                </a:cubicBezTo>
                <a:cubicBezTo>
                  <a:pt x="2834" y="682"/>
                  <a:pt x="2833" y="682"/>
                  <a:pt x="2833" y="682"/>
                </a:cubicBezTo>
                <a:close/>
                <a:moveTo>
                  <a:pt x="2648" y="635"/>
                </a:moveTo>
                <a:lnTo>
                  <a:pt x="2648" y="634"/>
                </a:lnTo>
                <a:lnTo>
                  <a:pt x="2649" y="632"/>
                </a:lnTo>
                <a:cubicBezTo>
                  <a:pt x="2649" y="630"/>
                  <a:pt x="2650" y="629"/>
                  <a:pt x="2651" y="629"/>
                </a:cubicBezTo>
                <a:cubicBezTo>
                  <a:pt x="2651" y="629"/>
                  <a:pt x="2652" y="629"/>
                  <a:pt x="2652" y="630"/>
                </a:cubicBezTo>
                <a:cubicBezTo>
                  <a:pt x="2652" y="631"/>
                  <a:pt x="2651" y="632"/>
                  <a:pt x="2650" y="633"/>
                </a:cubicBezTo>
                <a:cubicBezTo>
                  <a:pt x="2649" y="634"/>
                  <a:pt x="2648" y="635"/>
                  <a:pt x="2648" y="635"/>
                </a:cubicBezTo>
                <a:close/>
                <a:moveTo>
                  <a:pt x="2790" y="828"/>
                </a:moveTo>
                <a:close/>
                <a:moveTo>
                  <a:pt x="2794" y="829"/>
                </a:moveTo>
                <a:cubicBezTo>
                  <a:pt x="2792" y="829"/>
                  <a:pt x="2790" y="828"/>
                  <a:pt x="2790" y="828"/>
                </a:cubicBezTo>
                <a:cubicBezTo>
                  <a:pt x="2790" y="827"/>
                  <a:pt x="2793" y="825"/>
                  <a:pt x="2799" y="821"/>
                </a:cubicBezTo>
                <a:cubicBezTo>
                  <a:pt x="2805" y="816"/>
                  <a:pt x="2808" y="814"/>
                  <a:pt x="2810" y="814"/>
                </a:cubicBezTo>
                <a:cubicBezTo>
                  <a:pt x="2810" y="814"/>
                  <a:pt x="2808" y="816"/>
                  <a:pt x="2804" y="820"/>
                </a:cubicBezTo>
                <a:cubicBezTo>
                  <a:pt x="2799" y="823"/>
                  <a:pt x="2797" y="826"/>
                  <a:pt x="2797" y="827"/>
                </a:cubicBezTo>
                <a:lnTo>
                  <a:pt x="2797" y="828"/>
                </a:lnTo>
                <a:cubicBezTo>
                  <a:pt x="2797" y="828"/>
                  <a:pt x="2796" y="829"/>
                  <a:pt x="2794" y="829"/>
                </a:cubicBezTo>
                <a:close/>
                <a:moveTo>
                  <a:pt x="2837" y="670"/>
                </a:moveTo>
                <a:cubicBezTo>
                  <a:pt x="2836" y="670"/>
                  <a:pt x="2836" y="669"/>
                  <a:pt x="2836" y="667"/>
                </a:cubicBezTo>
                <a:cubicBezTo>
                  <a:pt x="2836" y="665"/>
                  <a:pt x="2837" y="664"/>
                  <a:pt x="2837" y="664"/>
                </a:cubicBezTo>
                <a:cubicBezTo>
                  <a:pt x="2838" y="664"/>
                  <a:pt x="2838" y="665"/>
                  <a:pt x="2838" y="666"/>
                </a:cubicBezTo>
                <a:cubicBezTo>
                  <a:pt x="2838" y="668"/>
                  <a:pt x="2838" y="669"/>
                  <a:pt x="2837" y="669"/>
                </a:cubicBezTo>
                <a:lnTo>
                  <a:pt x="2837" y="670"/>
                </a:lnTo>
                <a:close/>
                <a:moveTo>
                  <a:pt x="2840" y="655"/>
                </a:moveTo>
                <a:lnTo>
                  <a:pt x="2840" y="655"/>
                </a:lnTo>
                <a:cubicBezTo>
                  <a:pt x="2840" y="655"/>
                  <a:pt x="2839" y="655"/>
                  <a:pt x="2839" y="654"/>
                </a:cubicBezTo>
                <a:lnTo>
                  <a:pt x="2839" y="652"/>
                </a:lnTo>
                <a:cubicBezTo>
                  <a:pt x="2840" y="651"/>
                  <a:pt x="2840" y="650"/>
                  <a:pt x="2840" y="650"/>
                </a:cubicBezTo>
                <a:cubicBezTo>
                  <a:pt x="2841" y="650"/>
                  <a:pt x="2841" y="651"/>
                  <a:pt x="2841" y="653"/>
                </a:cubicBezTo>
                <a:cubicBezTo>
                  <a:pt x="2841" y="654"/>
                  <a:pt x="2841" y="654"/>
                  <a:pt x="2840" y="655"/>
                </a:cubicBezTo>
                <a:close/>
                <a:moveTo>
                  <a:pt x="2650" y="926"/>
                </a:moveTo>
                <a:cubicBezTo>
                  <a:pt x="2649" y="926"/>
                  <a:pt x="2649" y="925"/>
                  <a:pt x="2649" y="925"/>
                </a:cubicBezTo>
                <a:cubicBezTo>
                  <a:pt x="2649" y="923"/>
                  <a:pt x="2650" y="922"/>
                  <a:pt x="2651" y="921"/>
                </a:cubicBezTo>
                <a:cubicBezTo>
                  <a:pt x="2653" y="920"/>
                  <a:pt x="2654" y="920"/>
                  <a:pt x="2654" y="920"/>
                </a:cubicBezTo>
                <a:cubicBezTo>
                  <a:pt x="2655" y="920"/>
                  <a:pt x="2655" y="920"/>
                  <a:pt x="2655" y="920"/>
                </a:cubicBezTo>
                <a:cubicBezTo>
                  <a:pt x="2655" y="921"/>
                  <a:pt x="2654" y="922"/>
                  <a:pt x="2653" y="924"/>
                </a:cubicBezTo>
                <a:cubicBezTo>
                  <a:pt x="2651" y="925"/>
                  <a:pt x="2650" y="926"/>
                  <a:pt x="2650" y="926"/>
                </a:cubicBezTo>
                <a:close/>
                <a:moveTo>
                  <a:pt x="2552" y="1151"/>
                </a:moveTo>
                <a:cubicBezTo>
                  <a:pt x="2550" y="1151"/>
                  <a:pt x="2550" y="1151"/>
                  <a:pt x="2550" y="1150"/>
                </a:cubicBezTo>
                <a:cubicBezTo>
                  <a:pt x="2550" y="1150"/>
                  <a:pt x="2550" y="1149"/>
                  <a:pt x="2551" y="1149"/>
                </a:cubicBezTo>
                <a:cubicBezTo>
                  <a:pt x="2551" y="1149"/>
                  <a:pt x="2553" y="1149"/>
                  <a:pt x="2555" y="1148"/>
                </a:cubicBezTo>
                <a:lnTo>
                  <a:pt x="2557" y="1147"/>
                </a:lnTo>
                <a:lnTo>
                  <a:pt x="2558" y="1148"/>
                </a:lnTo>
                <a:cubicBezTo>
                  <a:pt x="2558" y="1148"/>
                  <a:pt x="2558" y="1149"/>
                  <a:pt x="2557" y="1149"/>
                </a:cubicBezTo>
                <a:cubicBezTo>
                  <a:pt x="2557" y="1150"/>
                  <a:pt x="2556" y="1150"/>
                  <a:pt x="2555" y="1151"/>
                </a:cubicBezTo>
                <a:cubicBezTo>
                  <a:pt x="2554" y="1151"/>
                  <a:pt x="2553" y="1151"/>
                  <a:pt x="2552" y="1151"/>
                </a:cubicBezTo>
                <a:close/>
                <a:moveTo>
                  <a:pt x="2598" y="1123"/>
                </a:moveTo>
                <a:close/>
                <a:moveTo>
                  <a:pt x="2598" y="1123"/>
                </a:moveTo>
                <a:cubicBezTo>
                  <a:pt x="2598" y="1123"/>
                  <a:pt x="2598" y="1123"/>
                  <a:pt x="2598" y="1123"/>
                </a:cubicBezTo>
                <a:cubicBezTo>
                  <a:pt x="2598" y="1122"/>
                  <a:pt x="2599" y="1121"/>
                  <a:pt x="2602" y="1119"/>
                </a:cubicBezTo>
                <a:lnTo>
                  <a:pt x="2605" y="1117"/>
                </a:lnTo>
                <a:lnTo>
                  <a:pt x="2603" y="1119"/>
                </a:lnTo>
                <a:cubicBezTo>
                  <a:pt x="2601" y="1122"/>
                  <a:pt x="2599" y="1123"/>
                  <a:pt x="2598" y="1123"/>
                </a:cubicBezTo>
                <a:close/>
                <a:moveTo>
                  <a:pt x="2522" y="1054"/>
                </a:moveTo>
                <a:lnTo>
                  <a:pt x="2524" y="1050"/>
                </a:lnTo>
                <a:cubicBezTo>
                  <a:pt x="2526" y="1046"/>
                  <a:pt x="2528" y="1044"/>
                  <a:pt x="2529" y="1044"/>
                </a:cubicBezTo>
                <a:lnTo>
                  <a:pt x="2529" y="1044"/>
                </a:lnTo>
                <a:cubicBezTo>
                  <a:pt x="2529" y="1045"/>
                  <a:pt x="2528" y="1046"/>
                  <a:pt x="2527" y="1047"/>
                </a:cubicBezTo>
                <a:cubicBezTo>
                  <a:pt x="2525" y="1052"/>
                  <a:pt x="2523" y="1054"/>
                  <a:pt x="2522" y="1054"/>
                </a:cubicBezTo>
                <a:close/>
                <a:moveTo>
                  <a:pt x="2795" y="803"/>
                </a:moveTo>
                <a:cubicBezTo>
                  <a:pt x="2795" y="803"/>
                  <a:pt x="2794" y="803"/>
                  <a:pt x="2794" y="802"/>
                </a:cubicBezTo>
                <a:lnTo>
                  <a:pt x="2798" y="791"/>
                </a:lnTo>
                <a:cubicBezTo>
                  <a:pt x="2800" y="787"/>
                  <a:pt x="2801" y="786"/>
                  <a:pt x="2802" y="786"/>
                </a:cubicBezTo>
                <a:lnTo>
                  <a:pt x="2802" y="786"/>
                </a:lnTo>
                <a:cubicBezTo>
                  <a:pt x="2802" y="787"/>
                  <a:pt x="2801" y="789"/>
                  <a:pt x="2800" y="791"/>
                </a:cubicBezTo>
                <a:cubicBezTo>
                  <a:pt x="2797" y="799"/>
                  <a:pt x="2795" y="803"/>
                  <a:pt x="2795" y="803"/>
                </a:cubicBezTo>
                <a:close/>
                <a:moveTo>
                  <a:pt x="2512" y="1073"/>
                </a:moveTo>
                <a:lnTo>
                  <a:pt x="2511" y="1073"/>
                </a:lnTo>
                <a:lnTo>
                  <a:pt x="2516" y="1063"/>
                </a:lnTo>
                <a:cubicBezTo>
                  <a:pt x="2518" y="1059"/>
                  <a:pt x="2519" y="1058"/>
                  <a:pt x="2520" y="1058"/>
                </a:cubicBezTo>
                <a:lnTo>
                  <a:pt x="2520" y="1058"/>
                </a:lnTo>
                <a:cubicBezTo>
                  <a:pt x="2520" y="1059"/>
                  <a:pt x="2519" y="1061"/>
                  <a:pt x="2518" y="1063"/>
                </a:cubicBezTo>
                <a:cubicBezTo>
                  <a:pt x="2517" y="1066"/>
                  <a:pt x="2516" y="1068"/>
                  <a:pt x="2515" y="1070"/>
                </a:cubicBezTo>
                <a:cubicBezTo>
                  <a:pt x="2513" y="1072"/>
                  <a:pt x="2512" y="1073"/>
                  <a:pt x="2512" y="1073"/>
                </a:cubicBezTo>
                <a:close/>
                <a:moveTo>
                  <a:pt x="2544" y="1168"/>
                </a:moveTo>
                <a:cubicBezTo>
                  <a:pt x="2531" y="1168"/>
                  <a:pt x="2525" y="1168"/>
                  <a:pt x="2525" y="1166"/>
                </a:cubicBezTo>
                <a:cubicBezTo>
                  <a:pt x="2525" y="1166"/>
                  <a:pt x="2524" y="1165"/>
                  <a:pt x="2523" y="1165"/>
                </a:cubicBezTo>
                <a:lnTo>
                  <a:pt x="2519" y="1166"/>
                </a:lnTo>
                <a:cubicBezTo>
                  <a:pt x="2517" y="1166"/>
                  <a:pt x="2514" y="1164"/>
                  <a:pt x="2511" y="1160"/>
                </a:cubicBezTo>
                <a:cubicBezTo>
                  <a:pt x="2508" y="1156"/>
                  <a:pt x="2503" y="1154"/>
                  <a:pt x="2497" y="1153"/>
                </a:cubicBezTo>
                <a:cubicBezTo>
                  <a:pt x="2489" y="1151"/>
                  <a:pt x="2482" y="1147"/>
                  <a:pt x="2477" y="1140"/>
                </a:cubicBezTo>
                <a:cubicBezTo>
                  <a:pt x="2473" y="1133"/>
                  <a:pt x="2470" y="1125"/>
                  <a:pt x="2470" y="1115"/>
                </a:cubicBezTo>
                <a:lnTo>
                  <a:pt x="2470" y="1109"/>
                </a:lnTo>
                <a:cubicBezTo>
                  <a:pt x="2472" y="1089"/>
                  <a:pt x="2474" y="1079"/>
                  <a:pt x="2476" y="1079"/>
                </a:cubicBezTo>
                <a:lnTo>
                  <a:pt x="2476" y="1079"/>
                </a:lnTo>
                <a:cubicBezTo>
                  <a:pt x="2477" y="1079"/>
                  <a:pt x="2478" y="1078"/>
                  <a:pt x="2479" y="1076"/>
                </a:cubicBezTo>
                <a:cubicBezTo>
                  <a:pt x="2480" y="1073"/>
                  <a:pt x="2480" y="1071"/>
                  <a:pt x="2481" y="1068"/>
                </a:cubicBezTo>
                <a:cubicBezTo>
                  <a:pt x="2482" y="1066"/>
                  <a:pt x="2482" y="1064"/>
                  <a:pt x="2482" y="1062"/>
                </a:cubicBezTo>
                <a:lnTo>
                  <a:pt x="2482" y="1060"/>
                </a:lnTo>
                <a:lnTo>
                  <a:pt x="2484" y="1061"/>
                </a:lnTo>
                <a:cubicBezTo>
                  <a:pt x="2485" y="1061"/>
                  <a:pt x="2487" y="1060"/>
                  <a:pt x="2487" y="1058"/>
                </a:cubicBezTo>
                <a:cubicBezTo>
                  <a:pt x="2488" y="1056"/>
                  <a:pt x="2489" y="1054"/>
                  <a:pt x="2489" y="1053"/>
                </a:cubicBezTo>
                <a:cubicBezTo>
                  <a:pt x="2489" y="1053"/>
                  <a:pt x="2488" y="1053"/>
                  <a:pt x="2488" y="1053"/>
                </a:cubicBezTo>
                <a:cubicBezTo>
                  <a:pt x="2488" y="1053"/>
                  <a:pt x="2487" y="1053"/>
                  <a:pt x="2486" y="1053"/>
                </a:cubicBezTo>
                <a:cubicBezTo>
                  <a:pt x="2486" y="1054"/>
                  <a:pt x="2485" y="1054"/>
                  <a:pt x="2485" y="1054"/>
                </a:cubicBezTo>
                <a:cubicBezTo>
                  <a:pt x="2484" y="1054"/>
                  <a:pt x="2484" y="1054"/>
                  <a:pt x="2484" y="1053"/>
                </a:cubicBezTo>
                <a:cubicBezTo>
                  <a:pt x="2484" y="1051"/>
                  <a:pt x="2487" y="1045"/>
                  <a:pt x="2494" y="1035"/>
                </a:cubicBezTo>
                <a:cubicBezTo>
                  <a:pt x="2500" y="1025"/>
                  <a:pt x="2508" y="1014"/>
                  <a:pt x="2517" y="1001"/>
                </a:cubicBezTo>
                <a:cubicBezTo>
                  <a:pt x="2551" y="954"/>
                  <a:pt x="2595" y="911"/>
                  <a:pt x="2648" y="874"/>
                </a:cubicBezTo>
                <a:cubicBezTo>
                  <a:pt x="2657" y="868"/>
                  <a:pt x="2662" y="865"/>
                  <a:pt x="2664" y="865"/>
                </a:cubicBezTo>
                <a:lnTo>
                  <a:pt x="2664" y="865"/>
                </a:lnTo>
                <a:cubicBezTo>
                  <a:pt x="2664" y="866"/>
                  <a:pt x="2664" y="867"/>
                  <a:pt x="2663" y="869"/>
                </a:cubicBezTo>
                <a:lnTo>
                  <a:pt x="2661" y="871"/>
                </a:lnTo>
                <a:lnTo>
                  <a:pt x="2663" y="869"/>
                </a:lnTo>
                <a:cubicBezTo>
                  <a:pt x="2665" y="867"/>
                  <a:pt x="2666" y="866"/>
                  <a:pt x="2666" y="864"/>
                </a:cubicBezTo>
                <a:cubicBezTo>
                  <a:pt x="2666" y="862"/>
                  <a:pt x="2671" y="859"/>
                  <a:pt x="2681" y="853"/>
                </a:cubicBezTo>
                <a:cubicBezTo>
                  <a:pt x="2691" y="848"/>
                  <a:pt x="2698" y="845"/>
                  <a:pt x="2700" y="845"/>
                </a:cubicBezTo>
                <a:lnTo>
                  <a:pt x="2702" y="845"/>
                </a:lnTo>
                <a:cubicBezTo>
                  <a:pt x="2703" y="845"/>
                  <a:pt x="2703" y="844"/>
                  <a:pt x="2703" y="843"/>
                </a:cubicBezTo>
                <a:cubicBezTo>
                  <a:pt x="2703" y="842"/>
                  <a:pt x="2708" y="838"/>
                  <a:pt x="2717" y="834"/>
                </a:cubicBezTo>
                <a:cubicBezTo>
                  <a:pt x="2726" y="829"/>
                  <a:pt x="2732" y="827"/>
                  <a:pt x="2735" y="827"/>
                </a:cubicBezTo>
                <a:lnTo>
                  <a:pt x="2736" y="827"/>
                </a:lnTo>
                <a:cubicBezTo>
                  <a:pt x="2737" y="827"/>
                  <a:pt x="2737" y="826"/>
                  <a:pt x="2737" y="826"/>
                </a:cubicBezTo>
                <a:lnTo>
                  <a:pt x="2737" y="825"/>
                </a:lnTo>
                <a:cubicBezTo>
                  <a:pt x="2737" y="824"/>
                  <a:pt x="2738" y="823"/>
                  <a:pt x="2740" y="823"/>
                </a:cubicBezTo>
                <a:cubicBezTo>
                  <a:pt x="2743" y="822"/>
                  <a:pt x="2745" y="820"/>
                  <a:pt x="2747" y="818"/>
                </a:cubicBezTo>
                <a:cubicBezTo>
                  <a:pt x="2748" y="815"/>
                  <a:pt x="2752" y="807"/>
                  <a:pt x="2758" y="792"/>
                </a:cubicBezTo>
                <a:cubicBezTo>
                  <a:pt x="2761" y="786"/>
                  <a:pt x="2763" y="782"/>
                  <a:pt x="2763" y="780"/>
                </a:cubicBezTo>
                <a:cubicBezTo>
                  <a:pt x="2764" y="779"/>
                  <a:pt x="2765" y="778"/>
                  <a:pt x="2765" y="777"/>
                </a:cubicBezTo>
                <a:cubicBezTo>
                  <a:pt x="2765" y="776"/>
                  <a:pt x="2770" y="766"/>
                  <a:pt x="2777" y="747"/>
                </a:cubicBezTo>
                <a:cubicBezTo>
                  <a:pt x="2783" y="732"/>
                  <a:pt x="2786" y="723"/>
                  <a:pt x="2787" y="721"/>
                </a:cubicBezTo>
                <a:cubicBezTo>
                  <a:pt x="2788" y="718"/>
                  <a:pt x="2789" y="715"/>
                  <a:pt x="2790" y="710"/>
                </a:cubicBezTo>
                <a:cubicBezTo>
                  <a:pt x="2791" y="705"/>
                  <a:pt x="2792" y="701"/>
                  <a:pt x="2793" y="697"/>
                </a:cubicBezTo>
                <a:cubicBezTo>
                  <a:pt x="2794" y="695"/>
                  <a:pt x="2795" y="693"/>
                  <a:pt x="2795" y="692"/>
                </a:cubicBezTo>
                <a:lnTo>
                  <a:pt x="2795" y="692"/>
                </a:lnTo>
                <a:cubicBezTo>
                  <a:pt x="2795" y="691"/>
                  <a:pt x="2796" y="687"/>
                  <a:pt x="2798" y="681"/>
                </a:cubicBezTo>
                <a:lnTo>
                  <a:pt x="2807" y="650"/>
                </a:lnTo>
                <a:cubicBezTo>
                  <a:pt x="2810" y="643"/>
                  <a:pt x="2812" y="636"/>
                  <a:pt x="2813" y="628"/>
                </a:cubicBezTo>
                <a:lnTo>
                  <a:pt x="2817" y="611"/>
                </a:lnTo>
                <a:cubicBezTo>
                  <a:pt x="2820" y="598"/>
                  <a:pt x="2823" y="583"/>
                  <a:pt x="2825" y="569"/>
                </a:cubicBezTo>
                <a:cubicBezTo>
                  <a:pt x="2828" y="556"/>
                  <a:pt x="2829" y="546"/>
                  <a:pt x="2829" y="539"/>
                </a:cubicBezTo>
                <a:cubicBezTo>
                  <a:pt x="2829" y="536"/>
                  <a:pt x="2829" y="535"/>
                  <a:pt x="2828" y="535"/>
                </a:cubicBezTo>
                <a:cubicBezTo>
                  <a:pt x="2827" y="535"/>
                  <a:pt x="2819" y="542"/>
                  <a:pt x="2805" y="557"/>
                </a:cubicBezTo>
                <a:cubicBezTo>
                  <a:pt x="2790" y="572"/>
                  <a:pt x="2780" y="583"/>
                  <a:pt x="2774" y="592"/>
                </a:cubicBezTo>
                <a:cubicBezTo>
                  <a:pt x="2770" y="595"/>
                  <a:pt x="2765" y="601"/>
                  <a:pt x="2757" y="608"/>
                </a:cubicBezTo>
                <a:cubicBezTo>
                  <a:pt x="2749" y="616"/>
                  <a:pt x="2745" y="620"/>
                  <a:pt x="2745" y="622"/>
                </a:cubicBezTo>
                <a:lnTo>
                  <a:pt x="2745" y="623"/>
                </a:lnTo>
                <a:cubicBezTo>
                  <a:pt x="2745" y="624"/>
                  <a:pt x="2745" y="624"/>
                  <a:pt x="2743" y="624"/>
                </a:cubicBezTo>
                <a:cubicBezTo>
                  <a:pt x="2741" y="624"/>
                  <a:pt x="2736" y="627"/>
                  <a:pt x="2730" y="634"/>
                </a:cubicBezTo>
                <a:cubicBezTo>
                  <a:pt x="2719" y="645"/>
                  <a:pt x="2708" y="655"/>
                  <a:pt x="2698" y="663"/>
                </a:cubicBezTo>
                <a:cubicBezTo>
                  <a:pt x="2687" y="671"/>
                  <a:pt x="2680" y="676"/>
                  <a:pt x="2678" y="676"/>
                </a:cubicBezTo>
                <a:lnTo>
                  <a:pt x="2676" y="675"/>
                </a:lnTo>
                <a:cubicBezTo>
                  <a:pt x="2675" y="675"/>
                  <a:pt x="2675" y="676"/>
                  <a:pt x="2675" y="676"/>
                </a:cubicBezTo>
                <a:cubicBezTo>
                  <a:pt x="2675" y="677"/>
                  <a:pt x="2673" y="679"/>
                  <a:pt x="2670" y="681"/>
                </a:cubicBezTo>
                <a:cubicBezTo>
                  <a:pt x="2667" y="684"/>
                  <a:pt x="2663" y="686"/>
                  <a:pt x="2659" y="688"/>
                </a:cubicBezTo>
                <a:cubicBezTo>
                  <a:pt x="2656" y="690"/>
                  <a:pt x="2653" y="691"/>
                  <a:pt x="2651" y="691"/>
                </a:cubicBezTo>
                <a:lnTo>
                  <a:pt x="2650" y="691"/>
                </a:lnTo>
                <a:cubicBezTo>
                  <a:pt x="2649" y="691"/>
                  <a:pt x="2649" y="692"/>
                  <a:pt x="2649" y="693"/>
                </a:cubicBezTo>
                <a:cubicBezTo>
                  <a:pt x="2649" y="693"/>
                  <a:pt x="2647" y="695"/>
                  <a:pt x="2644" y="696"/>
                </a:cubicBezTo>
                <a:cubicBezTo>
                  <a:pt x="2638" y="700"/>
                  <a:pt x="2632" y="702"/>
                  <a:pt x="2627" y="702"/>
                </a:cubicBezTo>
                <a:cubicBezTo>
                  <a:pt x="2619" y="701"/>
                  <a:pt x="2612" y="698"/>
                  <a:pt x="2606" y="691"/>
                </a:cubicBezTo>
                <a:cubicBezTo>
                  <a:pt x="2600" y="684"/>
                  <a:pt x="2597" y="677"/>
                  <a:pt x="2597" y="669"/>
                </a:cubicBezTo>
                <a:lnTo>
                  <a:pt x="2597" y="667"/>
                </a:lnTo>
                <a:cubicBezTo>
                  <a:pt x="2599" y="651"/>
                  <a:pt x="2606" y="631"/>
                  <a:pt x="2620" y="607"/>
                </a:cubicBezTo>
                <a:cubicBezTo>
                  <a:pt x="2634" y="583"/>
                  <a:pt x="2651" y="561"/>
                  <a:pt x="2670" y="540"/>
                </a:cubicBezTo>
                <a:cubicBezTo>
                  <a:pt x="2689" y="518"/>
                  <a:pt x="2706" y="503"/>
                  <a:pt x="2722" y="495"/>
                </a:cubicBezTo>
                <a:cubicBezTo>
                  <a:pt x="2740" y="486"/>
                  <a:pt x="2757" y="481"/>
                  <a:pt x="2772" y="481"/>
                </a:cubicBezTo>
                <a:cubicBezTo>
                  <a:pt x="2783" y="481"/>
                  <a:pt x="2792" y="483"/>
                  <a:pt x="2800" y="487"/>
                </a:cubicBezTo>
                <a:cubicBezTo>
                  <a:pt x="2807" y="491"/>
                  <a:pt x="2812" y="497"/>
                  <a:pt x="2815" y="504"/>
                </a:cubicBezTo>
                <a:cubicBezTo>
                  <a:pt x="2817" y="508"/>
                  <a:pt x="2818" y="510"/>
                  <a:pt x="2819" y="512"/>
                </a:cubicBezTo>
                <a:cubicBezTo>
                  <a:pt x="2820" y="513"/>
                  <a:pt x="2821" y="513"/>
                  <a:pt x="2823" y="513"/>
                </a:cubicBezTo>
                <a:lnTo>
                  <a:pt x="2831" y="512"/>
                </a:lnTo>
                <a:cubicBezTo>
                  <a:pt x="2835" y="512"/>
                  <a:pt x="2839" y="513"/>
                  <a:pt x="2843" y="515"/>
                </a:cubicBezTo>
                <a:cubicBezTo>
                  <a:pt x="2846" y="517"/>
                  <a:pt x="2849" y="520"/>
                  <a:pt x="2850" y="523"/>
                </a:cubicBezTo>
                <a:cubicBezTo>
                  <a:pt x="2851" y="526"/>
                  <a:pt x="2852" y="531"/>
                  <a:pt x="2852" y="539"/>
                </a:cubicBezTo>
                <a:cubicBezTo>
                  <a:pt x="2852" y="556"/>
                  <a:pt x="2849" y="583"/>
                  <a:pt x="2843" y="617"/>
                </a:cubicBezTo>
                <a:cubicBezTo>
                  <a:pt x="2837" y="652"/>
                  <a:pt x="2830" y="685"/>
                  <a:pt x="2821" y="715"/>
                </a:cubicBezTo>
                <a:cubicBezTo>
                  <a:pt x="2817" y="728"/>
                  <a:pt x="2815" y="735"/>
                  <a:pt x="2815" y="737"/>
                </a:cubicBezTo>
                <a:lnTo>
                  <a:pt x="2815" y="737"/>
                </a:lnTo>
                <a:cubicBezTo>
                  <a:pt x="2816" y="737"/>
                  <a:pt x="2819" y="729"/>
                  <a:pt x="2823" y="714"/>
                </a:cubicBezTo>
                <a:cubicBezTo>
                  <a:pt x="2827" y="698"/>
                  <a:pt x="2830" y="690"/>
                  <a:pt x="2831" y="690"/>
                </a:cubicBezTo>
                <a:lnTo>
                  <a:pt x="2831" y="691"/>
                </a:lnTo>
                <a:cubicBezTo>
                  <a:pt x="2831" y="695"/>
                  <a:pt x="2827" y="712"/>
                  <a:pt x="2817" y="742"/>
                </a:cubicBezTo>
                <a:cubicBezTo>
                  <a:pt x="2809" y="766"/>
                  <a:pt x="2805" y="778"/>
                  <a:pt x="2804" y="778"/>
                </a:cubicBezTo>
                <a:lnTo>
                  <a:pt x="2804" y="778"/>
                </a:lnTo>
                <a:cubicBezTo>
                  <a:pt x="2804" y="776"/>
                  <a:pt x="2805" y="769"/>
                  <a:pt x="2810" y="757"/>
                </a:cubicBezTo>
                <a:cubicBezTo>
                  <a:pt x="2813" y="749"/>
                  <a:pt x="2814" y="744"/>
                  <a:pt x="2814" y="742"/>
                </a:cubicBezTo>
                <a:lnTo>
                  <a:pt x="2814" y="742"/>
                </a:lnTo>
                <a:cubicBezTo>
                  <a:pt x="2813" y="742"/>
                  <a:pt x="2808" y="754"/>
                  <a:pt x="2800" y="778"/>
                </a:cubicBezTo>
                <a:cubicBezTo>
                  <a:pt x="2793" y="796"/>
                  <a:pt x="2790" y="807"/>
                  <a:pt x="2790" y="810"/>
                </a:cubicBezTo>
                <a:lnTo>
                  <a:pt x="2790" y="811"/>
                </a:lnTo>
                <a:lnTo>
                  <a:pt x="2790" y="810"/>
                </a:lnTo>
                <a:cubicBezTo>
                  <a:pt x="2792" y="809"/>
                  <a:pt x="2793" y="808"/>
                  <a:pt x="2793" y="808"/>
                </a:cubicBezTo>
                <a:lnTo>
                  <a:pt x="2793" y="809"/>
                </a:lnTo>
                <a:cubicBezTo>
                  <a:pt x="2793" y="810"/>
                  <a:pt x="2794" y="811"/>
                  <a:pt x="2795" y="811"/>
                </a:cubicBezTo>
                <a:lnTo>
                  <a:pt x="2800" y="810"/>
                </a:lnTo>
                <a:cubicBezTo>
                  <a:pt x="2801" y="810"/>
                  <a:pt x="2802" y="811"/>
                  <a:pt x="2802" y="812"/>
                </a:cubicBezTo>
                <a:cubicBezTo>
                  <a:pt x="2802" y="813"/>
                  <a:pt x="2801" y="814"/>
                  <a:pt x="2800" y="816"/>
                </a:cubicBezTo>
                <a:cubicBezTo>
                  <a:pt x="2799" y="817"/>
                  <a:pt x="2798" y="818"/>
                  <a:pt x="2796" y="819"/>
                </a:cubicBezTo>
                <a:cubicBezTo>
                  <a:pt x="2794" y="820"/>
                  <a:pt x="2792" y="821"/>
                  <a:pt x="2790" y="823"/>
                </a:cubicBezTo>
                <a:cubicBezTo>
                  <a:pt x="2788" y="825"/>
                  <a:pt x="2786" y="826"/>
                  <a:pt x="2784" y="828"/>
                </a:cubicBezTo>
                <a:lnTo>
                  <a:pt x="2781" y="832"/>
                </a:lnTo>
                <a:cubicBezTo>
                  <a:pt x="2782" y="832"/>
                  <a:pt x="2783" y="831"/>
                  <a:pt x="2784" y="830"/>
                </a:cubicBezTo>
                <a:cubicBezTo>
                  <a:pt x="2785" y="829"/>
                  <a:pt x="2787" y="828"/>
                  <a:pt x="2787" y="828"/>
                </a:cubicBezTo>
                <a:cubicBezTo>
                  <a:pt x="2787" y="828"/>
                  <a:pt x="2788" y="828"/>
                  <a:pt x="2788" y="829"/>
                </a:cubicBezTo>
                <a:lnTo>
                  <a:pt x="2787" y="833"/>
                </a:lnTo>
                <a:cubicBezTo>
                  <a:pt x="2787" y="836"/>
                  <a:pt x="2785" y="837"/>
                  <a:pt x="2783" y="837"/>
                </a:cubicBezTo>
                <a:lnTo>
                  <a:pt x="2782" y="837"/>
                </a:lnTo>
                <a:cubicBezTo>
                  <a:pt x="2780" y="837"/>
                  <a:pt x="2779" y="838"/>
                  <a:pt x="2778" y="839"/>
                </a:cubicBezTo>
                <a:cubicBezTo>
                  <a:pt x="2777" y="841"/>
                  <a:pt x="2777" y="842"/>
                  <a:pt x="2777" y="844"/>
                </a:cubicBezTo>
                <a:cubicBezTo>
                  <a:pt x="2777" y="845"/>
                  <a:pt x="2777" y="846"/>
                  <a:pt x="2778" y="848"/>
                </a:cubicBezTo>
                <a:cubicBezTo>
                  <a:pt x="2779" y="849"/>
                  <a:pt x="2779" y="850"/>
                  <a:pt x="2779" y="850"/>
                </a:cubicBezTo>
                <a:lnTo>
                  <a:pt x="2777" y="850"/>
                </a:lnTo>
                <a:cubicBezTo>
                  <a:pt x="2775" y="850"/>
                  <a:pt x="2772" y="854"/>
                  <a:pt x="2770" y="860"/>
                </a:cubicBezTo>
                <a:cubicBezTo>
                  <a:pt x="2757" y="894"/>
                  <a:pt x="2743" y="926"/>
                  <a:pt x="2729" y="957"/>
                </a:cubicBezTo>
                <a:cubicBezTo>
                  <a:pt x="2715" y="988"/>
                  <a:pt x="2702" y="1013"/>
                  <a:pt x="2691" y="1031"/>
                </a:cubicBezTo>
                <a:cubicBezTo>
                  <a:pt x="2685" y="1043"/>
                  <a:pt x="2681" y="1050"/>
                  <a:pt x="2681" y="1051"/>
                </a:cubicBezTo>
                <a:lnTo>
                  <a:pt x="2681" y="1051"/>
                </a:lnTo>
                <a:cubicBezTo>
                  <a:pt x="2682" y="1051"/>
                  <a:pt x="2684" y="1050"/>
                  <a:pt x="2686" y="1046"/>
                </a:cubicBezTo>
                <a:cubicBezTo>
                  <a:pt x="2688" y="1041"/>
                  <a:pt x="2690" y="1039"/>
                  <a:pt x="2691" y="1039"/>
                </a:cubicBezTo>
                <a:cubicBezTo>
                  <a:pt x="2691" y="1040"/>
                  <a:pt x="2690" y="1041"/>
                  <a:pt x="2689" y="1044"/>
                </a:cubicBezTo>
                <a:cubicBezTo>
                  <a:pt x="2687" y="1047"/>
                  <a:pt x="2685" y="1050"/>
                  <a:pt x="2683" y="1053"/>
                </a:cubicBezTo>
                <a:cubicBezTo>
                  <a:pt x="2681" y="1056"/>
                  <a:pt x="2680" y="1059"/>
                  <a:pt x="2678" y="1062"/>
                </a:cubicBezTo>
                <a:cubicBezTo>
                  <a:pt x="2676" y="1065"/>
                  <a:pt x="2675" y="1066"/>
                  <a:pt x="2674" y="1067"/>
                </a:cubicBezTo>
                <a:lnTo>
                  <a:pt x="2673" y="1068"/>
                </a:lnTo>
                <a:lnTo>
                  <a:pt x="2674" y="1065"/>
                </a:lnTo>
                <a:lnTo>
                  <a:pt x="2674" y="1064"/>
                </a:lnTo>
                <a:cubicBezTo>
                  <a:pt x="2674" y="1064"/>
                  <a:pt x="2673" y="1064"/>
                  <a:pt x="2673" y="1065"/>
                </a:cubicBezTo>
                <a:cubicBezTo>
                  <a:pt x="2672" y="1066"/>
                  <a:pt x="2671" y="1067"/>
                  <a:pt x="2671" y="1068"/>
                </a:cubicBezTo>
                <a:lnTo>
                  <a:pt x="2671" y="1070"/>
                </a:lnTo>
                <a:cubicBezTo>
                  <a:pt x="2671" y="1073"/>
                  <a:pt x="2667" y="1080"/>
                  <a:pt x="2659" y="1090"/>
                </a:cubicBezTo>
                <a:cubicBezTo>
                  <a:pt x="2650" y="1101"/>
                  <a:pt x="2640" y="1112"/>
                  <a:pt x="2629" y="1123"/>
                </a:cubicBezTo>
                <a:cubicBezTo>
                  <a:pt x="2618" y="1134"/>
                  <a:pt x="2609" y="1142"/>
                  <a:pt x="2600" y="1149"/>
                </a:cubicBezTo>
                <a:cubicBezTo>
                  <a:pt x="2590" y="1156"/>
                  <a:pt x="2580" y="1161"/>
                  <a:pt x="2572" y="1164"/>
                </a:cubicBezTo>
                <a:cubicBezTo>
                  <a:pt x="2563" y="1167"/>
                  <a:pt x="2554" y="1168"/>
                  <a:pt x="2544" y="1168"/>
                </a:cubicBezTo>
                <a:close/>
                <a:moveTo>
                  <a:pt x="2683" y="571"/>
                </a:moveTo>
                <a:cubicBezTo>
                  <a:pt x="2684" y="571"/>
                  <a:pt x="2685" y="570"/>
                  <a:pt x="2686" y="568"/>
                </a:cubicBezTo>
                <a:cubicBezTo>
                  <a:pt x="2686" y="567"/>
                  <a:pt x="2688" y="563"/>
                  <a:pt x="2692" y="557"/>
                </a:cubicBezTo>
                <a:cubicBezTo>
                  <a:pt x="2697" y="551"/>
                  <a:pt x="2702" y="545"/>
                  <a:pt x="2708" y="538"/>
                </a:cubicBezTo>
                <a:cubicBezTo>
                  <a:pt x="2713" y="531"/>
                  <a:pt x="2718" y="526"/>
                  <a:pt x="2723" y="521"/>
                </a:cubicBezTo>
                <a:cubicBezTo>
                  <a:pt x="2730" y="514"/>
                  <a:pt x="2734" y="510"/>
                  <a:pt x="2734" y="509"/>
                </a:cubicBezTo>
                <a:lnTo>
                  <a:pt x="2733" y="509"/>
                </a:lnTo>
                <a:cubicBezTo>
                  <a:pt x="2733" y="509"/>
                  <a:pt x="2731" y="511"/>
                  <a:pt x="2727" y="513"/>
                </a:cubicBezTo>
                <a:cubicBezTo>
                  <a:pt x="2721" y="519"/>
                  <a:pt x="2714" y="525"/>
                  <a:pt x="2707" y="533"/>
                </a:cubicBezTo>
                <a:cubicBezTo>
                  <a:pt x="2700" y="540"/>
                  <a:pt x="2694" y="548"/>
                  <a:pt x="2689" y="555"/>
                </a:cubicBezTo>
                <a:cubicBezTo>
                  <a:pt x="2684" y="562"/>
                  <a:pt x="2682" y="567"/>
                  <a:pt x="2682" y="569"/>
                </a:cubicBezTo>
                <a:cubicBezTo>
                  <a:pt x="2682" y="570"/>
                  <a:pt x="2682" y="571"/>
                  <a:pt x="2683" y="571"/>
                </a:cubicBezTo>
                <a:close/>
                <a:moveTo>
                  <a:pt x="2664" y="588"/>
                </a:moveTo>
                <a:cubicBezTo>
                  <a:pt x="2664" y="588"/>
                  <a:pt x="2664" y="587"/>
                  <a:pt x="2665" y="586"/>
                </a:cubicBezTo>
                <a:cubicBezTo>
                  <a:pt x="2666" y="585"/>
                  <a:pt x="2667" y="584"/>
                  <a:pt x="2668" y="583"/>
                </a:cubicBezTo>
                <a:cubicBezTo>
                  <a:pt x="2669" y="583"/>
                  <a:pt x="2670" y="583"/>
                  <a:pt x="2671" y="583"/>
                </a:cubicBezTo>
                <a:lnTo>
                  <a:pt x="2675" y="583"/>
                </a:lnTo>
                <a:cubicBezTo>
                  <a:pt x="2676" y="583"/>
                  <a:pt x="2676" y="583"/>
                  <a:pt x="2676" y="581"/>
                </a:cubicBezTo>
                <a:cubicBezTo>
                  <a:pt x="2676" y="581"/>
                  <a:pt x="2676" y="580"/>
                  <a:pt x="2676" y="579"/>
                </a:cubicBezTo>
                <a:cubicBezTo>
                  <a:pt x="2675" y="578"/>
                  <a:pt x="2675" y="577"/>
                  <a:pt x="2675" y="576"/>
                </a:cubicBezTo>
                <a:lnTo>
                  <a:pt x="2678" y="577"/>
                </a:lnTo>
                <a:cubicBezTo>
                  <a:pt x="2681" y="577"/>
                  <a:pt x="2682" y="576"/>
                  <a:pt x="2682" y="574"/>
                </a:cubicBezTo>
                <a:cubicBezTo>
                  <a:pt x="2682" y="573"/>
                  <a:pt x="2681" y="573"/>
                  <a:pt x="2681" y="572"/>
                </a:cubicBezTo>
                <a:cubicBezTo>
                  <a:pt x="2680" y="572"/>
                  <a:pt x="2680" y="571"/>
                  <a:pt x="2680" y="570"/>
                </a:cubicBezTo>
                <a:lnTo>
                  <a:pt x="2681" y="566"/>
                </a:lnTo>
                <a:cubicBezTo>
                  <a:pt x="2679" y="566"/>
                  <a:pt x="2677" y="568"/>
                  <a:pt x="2674" y="571"/>
                </a:cubicBezTo>
                <a:cubicBezTo>
                  <a:pt x="2667" y="580"/>
                  <a:pt x="2664" y="585"/>
                  <a:pt x="2664" y="587"/>
                </a:cubicBezTo>
                <a:lnTo>
                  <a:pt x="2664" y="588"/>
                </a:lnTo>
                <a:close/>
                <a:moveTo>
                  <a:pt x="2625" y="672"/>
                </a:moveTo>
                <a:cubicBezTo>
                  <a:pt x="2626" y="672"/>
                  <a:pt x="2631" y="669"/>
                  <a:pt x="2640" y="663"/>
                </a:cubicBezTo>
                <a:cubicBezTo>
                  <a:pt x="2664" y="649"/>
                  <a:pt x="2697" y="621"/>
                  <a:pt x="2741" y="579"/>
                </a:cubicBezTo>
                <a:cubicBezTo>
                  <a:pt x="2754" y="566"/>
                  <a:pt x="2766" y="555"/>
                  <a:pt x="2775" y="546"/>
                </a:cubicBezTo>
                <a:cubicBezTo>
                  <a:pt x="2785" y="537"/>
                  <a:pt x="2791" y="532"/>
                  <a:pt x="2792" y="531"/>
                </a:cubicBezTo>
                <a:cubicBezTo>
                  <a:pt x="2794" y="530"/>
                  <a:pt x="2795" y="528"/>
                  <a:pt x="2797" y="526"/>
                </a:cubicBezTo>
                <a:cubicBezTo>
                  <a:pt x="2798" y="523"/>
                  <a:pt x="2798" y="521"/>
                  <a:pt x="2798" y="518"/>
                </a:cubicBezTo>
                <a:cubicBezTo>
                  <a:pt x="2798" y="517"/>
                  <a:pt x="2798" y="516"/>
                  <a:pt x="2798" y="515"/>
                </a:cubicBezTo>
                <a:cubicBezTo>
                  <a:pt x="2797" y="514"/>
                  <a:pt x="2797" y="513"/>
                  <a:pt x="2797" y="512"/>
                </a:cubicBezTo>
                <a:cubicBezTo>
                  <a:pt x="2797" y="512"/>
                  <a:pt x="2797" y="512"/>
                  <a:pt x="2798" y="512"/>
                </a:cubicBezTo>
                <a:lnTo>
                  <a:pt x="2799" y="512"/>
                </a:lnTo>
                <a:cubicBezTo>
                  <a:pt x="2800" y="513"/>
                  <a:pt x="2801" y="514"/>
                  <a:pt x="2801" y="517"/>
                </a:cubicBezTo>
                <a:lnTo>
                  <a:pt x="2801" y="521"/>
                </a:lnTo>
                <a:cubicBezTo>
                  <a:pt x="2801" y="523"/>
                  <a:pt x="2801" y="524"/>
                  <a:pt x="2802" y="524"/>
                </a:cubicBezTo>
                <a:cubicBezTo>
                  <a:pt x="2802" y="524"/>
                  <a:pt x="2802" y="524"/>
                  <a:pt x="2803" y="523"/>
                </a:cubicBezTo>
                <a:cubicBezTo>
                  <a:pt x="2803" y="523"/>
                  <a:pt x="2804" y="522"/>
                  <a:pt x="2804" y="520"/>
                </a:cubicBezTo>
                <a:cubicBezTo>
                  <a:pt x="2805" y="519"/>
                  <a:pt x="2805" y="517"/>
                  <a:pt x="2805" y="516"/>
                </a:cubicBezTo>
                <a:cubicBezTo>
                  <a:pt x="2805" y="513"/>
                  <a:pt x="2804" y="511"/>
                  <a:pt x="2804" y="511"/>
                </a:cubicBezTo>
                <a:cubicBezTo>
                  <a:pt x="2802" y="511"/>
                  <a:pt x="2802" y="511"/>
                  <a:pt x="2802" y="510"/>
                </a:cubicBezTo>
                <a:lnTo>
                  <a:pt x="2803" y="507"/>
                </a:lnTo>
                <a:cubicBezTo>
                  <a:pt x="2803" y="506"/>
                  <a:pt x="2803" y="505"/>
                  <a:pt x="2802" y="504"/>
                </a:cubicBezTo>
                <a:cubicBezTo>
                  <a:pt x="2802" y="503"/>
                  <a:pt x="2801" y="502"/>
                  <a:pt x="2800" y="502"/>
                </a:cubicBezTo>
                <a:cubicBezTo>
                  <a:pt x="2800" y="502"/>
                  <a:pt x="2800" y="503"/>
                  <a:pt x="2800" y="504"/>
                </a:cubicBezTo>
                <a:lnTo>
                  <a:pt x="2800" y="507"/>
                </a:lnTo>
                <a:cubicBezTo>
                  <a:pt x="2800" y="508"/>
                  <a:pt x="2800" y="509"/>
                  <a:pt x="2800" y="509"/>
                </a:cubicBezTo>
                <a:cubicBezTo>
                  <a:pt x="2798" y="509"/>
                  <a:pt x="2797" y="507"/>
                  <a:pt x="2797" y="504"/>
                </a:cubicBezTo>
                <a:lnTo>
                  <a:pt x="2797" y="499"/>
                </a:lnTo>
                <a:lnTo>
                  <a:pt x="2796" y="500"/>
                </a:lnTo>
                <a:cubicBezTo>
                  <a:pt x="2795" y="500"/>
                  <a:pt x="2795" y="501"/>
                  <a:pt x="2794" y="501"/>
                </a:cubicBezTo>
                <a:cubicBezTo>
                  <a:pt x="2793" y="501"/>
                  <a:pt x="2792" y="500"/>
                  <a:pt x="2791" y="499"/>
                </a:cubicBezTo>
                <a:cubicBezTo>
                  <a:pt x="2789" y="497"/>
                  <a:pt x="2788" y="496"/>
                  <a:pt x="2786" y="495"/>
                </a:cubicBezTo>
                <a:cubicBezTo>
                  <a:pt x="2784" y="494"/>
                  <a:pt x="2782" y="494"/>
                  <a:pt x="2780" y="494"/>
                </a:cubicBezTo>
                <a:cubicBezTo>
                  <a:pt x="2779" y="494"/>
                  <a:pt x="2778" y="495"/>
                  <a:pt x="2778" y="495"/>
                </a:cubicBezTo>
                <a:cubicBezTo>
                  <a:pt x="2778" y="496"/>
                  <a:pt x="2777" y="497"/>
                  <a:pt x="2776" y="497"/>
                </a:cubicBezTo>
                <a:lnTo>
                  <a:pt x="2771" y="496"/>
                </a:lnTo>
                <a:cubicBezTo>
                  <a:pt x="2770" y="496"/>
                  <a:pt x="2769" y="496"/>
                  <a:pt x="2769" y="497"/>
                </a:cubicBezTo>
                <a:cubicBezTo>
                  <a:pt x="2769" y="498"/>
                  <a:pt x="2768" y="499"/>
                  <a:pt x="2766" y="500"/>
                </a:cubicBezTo>
                <a:cubicBezTo>
                  <a:pt x="2764" y="502"/>
                  <a:pt x="2762" y="503"/>
                  <a:pt x="2759" y="504"/>
                </a:cubicBezTo>
                <a:cubicBezTo>
                  <a:pt x="2757" y="505"/>
                  <a:pt x="2755" y="506"/>
                  <a:pt x="2754" y="506"/>
                </a:cubicBezTo>
                <a:cubicBezTo>
                  <a:pt x="2753" y="506"/>
                  <a:pt x="2751" y="507"/>
                  <a:pt x="2748" y="510"/>
                </a:cubicBezTo>
                <a:cubicBezTo>
                  <a:pt x="2744" y="513"/>
                  <a:pt x="2738" y="518"/>
                  <a:pt x="2729" y="525"/>
                </a:cubicBezTo>
                <a:cubicBezTo>
                  <a:pt x="2716" y="537"/>
                  <a:pt x="2701" y="554"/>
                  <a:pt x="2685" y="576"/>
                </a:cubicBezTo>
                <a:cubicBezTo>
                  <a:pt x="2679" y="584"/>
                  <a:pt x="2675" y="588"/>
                  <a:pt x="2673" y="588"/>
                </a:cubicBezTo>
                <a:cubicBezTo>
                  <a:pt x="2672" y="588"/>
                  <a:pt x="2672" y="588"/>
                  <a:pt x="2672" y="587"/>
                </a:cubicBezTo>
                <a:cubicBezTo>
                  <a:pt x="2671" y="587"/>
                  <a:pt x="2671" y="586"/>
                  <a:pt x="2670" y="586"/>
                </a:cubicBezTo>
                <a:cubicBezTo>
                  <a:pt x="2668" y="586"/>
                  <a:pt x="2666" y="588"/>
                  <a:pt x="2663" y="590"/>
                </a:cubicBezTo>
                <a:cubicBezTo>
                  <a:pt x="2660" y="593"/>
                  <a:pt x="2659" y="594"/>
                  <a:pt x="2659" y="595"/>
                </a:cubicBezTo>
                <a:lnTo>
                  <a:pt x="2659" y="595"/>
                </a:lnTo>
                <a:lnTo>
                  <a:pt x="2662" y="595"/>
                </a:lnTo>
                <a:cubicBezTo>
                  <a:pt x="2663" y="595"/>
                  <a:pt x="2664" y="595"/>
                  <a:pt x="2664" y="596"/>
                </a:cubicBezTo>
                <a:cubicBezTo>
                  <a:pt x="2663" y="598"/>
                  <a:pt x="2661" y="599"/>
                  <a:pt x="2658" y="599"/>
                </a:cubicBezTo>
                <a:lnTo>
                  <a:pt x="2656" y="599"/>
                </a:lnTo>
                <a:cubicBezTo>
                  <a:pt x="2656" y="599"/>
                  <a:pt x="2655" y="599"/>
                  <a:pt x="2655" y="600"/>
                </a:cubicBezTo>
                <a:lnTo>
                  <a:pt x="2656" y="603"/>
                </a:lnTo>
                <a:cubicBezTo>
                  <a:pt x="2656" y="605"/>
                  <a:pt x="2655" y="607"/>
                  <a:pt x="2654" y="608"/>
                </a:cubicBezTo>
                <a:cubicBezTo>
                  <a:pt x="2653" y="610"/>
                  <a:pt x="2653" y="611"/>
                  <a:pt x="2653" y="612"/>
                </a:cubicBezTo>
                <a:lnTo>
                  <a:pt x="2653" y="614"/>
                </a:lnTo>
                <a:cubicBezTo>
                  <a:pt x="2653" y="614"/>
                  <a:pt x="2653" y="614"/>
                  <a:pt x="2651" y="614"/>
                </a:cubicBezTo>
                <a:cubicBezTo>
                  <a:pt x="2650" y="614"/>
                  <a:pt x="2650" y="615"/>
                  <a:pt x="2650" y="616"/>
                </a:cubicBezTo>
                <a:lnTo>
                  <a:pt x="2650" y="618"/>
                </a:lnTo>
                <a:cubicBezTo>
                  <a:pt x="2650" y="620"/>
                  <a:pt x="2649" y="621"/>
                  <a:pt x="2647" y="623"/>
                </a:cubicBezTo>
                <a:cubicBezTo>
                  <a:pt x="2642" y="628"/>
                  <a:pt x="2636" y="639"/>
                  <a:pt x="2629" y="657"/>
                </a:cubicBezTo>
                <a:cubicBezTo>
                  <a:pt x="2626" y="664"/>
                  <a:pt x="2624" y="669"/>
                  <a:pt x="2624" y="671"/>
                </a:cubicBezTo>
                <a:cubicBezTo>
                  <a:pt x="2624" y="671"/>
                  <a:pt x="2624" y="672"/>
                  <a:pt x="2625" y="672"/>
                </a:cubicBezTo>
                <a:close/>
                <a:moveTo>
                  <a:pt x="2693" y="663"/>
                </a:moveTo>
                <a:cubicBezTo>
                  <a:pt x="2694" y="663"/>
                  <a:pt x="2696" y="661"/>
                  <a:pt x="2698" y="658"/>
                </a:cubicBezTo>
                <a:cubicBezTo>
                  <a:pt x="2701" y="656"/>
                  <a:pt x="2702" y="654"/>
                  <a:pt x="2702" y="653"/>
                </a:cubicBezTo>
                <a:cubicBezTo>
                  <a:pt x="2701" y="653"/>
                  <a:pt x="2699" y="655"/>
                  <a:pt x="2697" y="657"/>
                </a:cubicBezTo>
                <a:cubicBezTo>
                  <a:pt x="2694" y="660"/>
                  <a:pt x="2693" y="662"/>
                  <a:pt x="2693" y="663"/>
                </a:cubicBezTo>
                <a:close/>
                <a:moveTo>
                  <a:pt x="2700" y="651"/>
                </a:moveTo>
                <a:cubicBezTo>
                  <a:pt x="2702" y="651"/>
                  <a:pt x="2708" y="647"/>
                  <a:pt x="2716" y="640"/>
                </a:cubicBezTo>
                <a:cubicBezTo>
                  <a:pt x="2723" y="634"/>
                  <a:pt x="2727" y="630"/>
                  <a:pt x="2727" y="628"/>
                </a:cubicBezTo>
                <a:lnTo>
                  <a:pt x="2727" y="627"/>
                </a:lnTo>
                <a:cubicBezTo>
                  <a:pt x="2727" y="627"/>
                  <a:pt x="2727" y="626"/>
                  <a:pt x="2728" y="626"/>
                </a:cubicBezTo>
                <a:lnTo>
                  <a:pt x="2729" y="626"/>
                </a:lnTo>
                <a:cubicBezTo>
                  <a:pt x="2730" y="626"/>
                  <a:pt x="2732" y="625"/>
                  <a:pt x="2735" y="622"/>
                </a:cubicBezTo>
                <a:cubicBezTo>
                  <a:pt x="2737" y="620"/>
                  <a:pt x="2740" y="617"/>
                  <a:pt x="2742" y="614"/>
                </a:cubicBezTo>
                <a:cubicBezTo>
                  <a:pt x="2744" y="611"/>
                  <a:pt x="2745" y="609"/>
                  <a:pt x="2745" y="607"/>
                </a:cubicBezTo>
                <a:cubicBezTo>
                  <a:pt x="2745" y="607"/>
                  <a:pt x="2745" y="606"/>
                  <a:pt x="2745" y="606"/>
                </a:cubicBezTo>
                <a:cubicBezTo>
                  <a:pt x="2744" y="606"/>
                  <a:pt x="2742" y="608"/>
                  <a:pt x="2736" y="612"/>
                </a:cubicBezTo>
                <a:cubicBezTo>
                  <a:pt x="2726" y="622"/>
                  <a:pt x="2715" y="631"/>
                  <a:pt x="2705" y="641"/>
                </a:cubicBezTo>
                <a:cubicBezTo>
                  <a:pt x="2701" y="646"/>
                  <a:pt x="2698" y="649"/>
                  <a:pt x="2698" y="650"/>
                </a:cubicBezTo>
                <a:cubicBezTo>
                  <a:pt x="2698" y="650"/>
                  <a:pt x="2699" y="651"/>
                  <a:pt x="2700" y="651"/>
                </a:cubicBezTo>
                <a:close/>
                <a:moveTo>
                  <a:pt x="2750" y="608"/>
                </a:moveTo>
                <a:cubicBezTo>
                  <a:pt x="2751" y="608"/>
                  <a:pt x="2752" y="607"/>
                  <a:pt x="2752" y="606"/>
                </a:cubicBezTo>
                <a:cubicBezTo>
                  <a:pt x="2752" y="605"/>
                  <a:pt x="2755" y="601"/>
                  <a:pt x="2760" y="595"/>
                </a:cubicBezTo>
                <a:cubicBezTo>
                  <a:pt x="2763" y="593"/>
                  <a:pt x="2767" y="587"/>
                  <a:pt x="2773" y="580"/>
                </a:cubicBezTo>
                <a:cubicBezTo>
                  <a:pt x="2777" y="575"/>
                  <a:pt x="2790" y="561"/>
                  <a:pt x="2814" y="538"/>
                </a:cubicBezTo>
                <a:cubicBezTo>
                  <a:pt x="2822" y="529"/>
                  <a:pt x="2826" y="524"/>
                  <a:pt x="2826" y="523"/>
                </a:cubicBezTo>
                <a:cubicBezTo>
                  <a:pt x="2826" y="523"/>
                  <a:pt x="2823" y="525"/>
                  <a:pt x="2817" y="531"/>
                </a:cubicBezTo>
                <a:cubicBezTo>
                  <a:pt x="2812" y="536"/>
                  <a:pt x="2805" y="542"/>
                  <a:pt x="2798" y="549"/>
                </a:cubicBezTo>
                <a:cubicBezTo>
                  <a:pt x="2790" y="557"/>
                  <a:pt x="2783" y="564"/>
                  <a:pt x="2777" y="571"/>
                </a:cubicBezTo>
                <a:lnTo>
                  <a:pt x="2770" y="577"/>
                </a:lnTo>
                <a:cubicBezTo>
                  <a:pt x="2766" y="581"/>
                  <a:pt x="2762" y="585"/>
                  <a:pt x="2758" y="589"/>
                </a:cubicBezTo>
                <a:cubicBezTo>
                  <a:pt x="2755" y="593"/>
                  <a:pt x="2752" y="596"/>
                  <a:pt x="2750" y="599"/>
                </a:cubicBezTo>
                <a:cubicBezTo>
                  <a:pt x="2748" y="602"/>
                  <a:pt x="2747" y="604"/>
                  <a:pt x="2747" y="605"/>
                </a:cubicBezTo>
                <a:cubicBezTo>
                  <a:pt x="2747" y="605"/>
                  <a:pt x="2747" y="605"/>
                  <a:pt x="2747" y="606"/>
                </a:cubicBezTo>
                <a:cubicBezTo>
                  <a:pt x="2747" y="606"/>
                  <a:pt x="2747" y="607"/>
                  <a:pt x="2748" y="607"/>
                </a:cubicBezTo>
                <a:cubicBezTo>
                  <a:pt x="2748" y="607"/>
                  <a:pt x="2749" y="608"/>
                  <a:pt x="2750" y="608"/>
                </a:cubicBezTo>
                <a:close/>
                <a:moveTo>
                  <a:pt x="2832" y="581"/>
                </a:moveTo>
                <a:cubicBezTo>
                  <a:pt x="2832" y="581"/>
                  <a:pt x="2833" y="578"/>
                  <a:pt x="2834" y="574"/>
                </a:cubicBezTo>
                <a:cubicBezTo>
                  <a:pt x="2835" y="569"/>
                  <a:pt x="2835" y="563"/>
                  <a:pt x="2836" y="557"/>
                </a:cubicBezTo>
                <a:cubicBezTo>
                  <a:pt x="2837" y="548"/>
                  <a:pt x="2837" y="541"/>
                  <a:pt x="2837" y="537"/>
                </a:cubicBezTo>
                <a:lnTo>
                  <a:pt x="2837" y="534"/>
                </a:lnTo>
                <a:cubicBezTo>
                  <a:pt x="2836" y="531"/>
                  <a:pt x="2836" y="529"/>
                  <a:pt x="2835" y="529"/>
                </a:cubicBezTo>
                <a:cubicBezTo>
                  <a:pt x="2834" y="529"/>
                  <a:pt x="2833" y="535"/>
                  <a:pt x="2833" y="546"/>
                </a:cubicBezTo>
                <a:lnTo>
                  <a:pt x="2831" y="577"/>
                </a:lnTo>
                <a:cubicBezTo>
                  <a:pt x="2831" y="580"/>
                  <a:pt x="2831" y="581"/>
                  <a:pt x="2832" y="581"/>
                </a:cubicBezTo>
                <a:close/>
                <a:moveTo>
                  <a:pt x="2829" y="601"/>
                </a:moveTo>
                <a:lnTo>
                  <a:pt x="2830" y="600"/>
                </a:lnTo>
                <a:cubicBezTo>
                  <a:pt x="2830" y="599"/>
                  <a:pt x="2831" y="597"/>
                  <a:pt x="2831" y="595"/>
                </a:cubicBezTo>
                <a:cubicBezTo>
                  <a:pt x="2831" y="593"/>
                  <a:pt x="2830" y="591"/>
                  <a:pt x="2830" y="591"/>
                </a:cubicBezTo>
                <a:cubicBezTo>
                  <a:pt x="2830" y="591"/>
                  <a:pt x="2830" y="593"/>
                  <a:pt x="2829" y="596"/>
                </a:cubicBezTo>
                <a:lnTo>
                  <a:pt x="2829" y="600"/>
                </a:lnTo>
                <a:lnTo>
                  <a:pt x="2829" y="601"/>
                </a:lnTo>
                <a:close/>
                <a:moveTo>
                  <a:pt x="2671" y="865"/>
                </a:moveTo>
                <a:cubicBezTo>
                  <a:pt x="2672" y="865"/>
                  <a:pt x="2673" y="864"/>
                  <a:pt x="2674" y="863"/>
                </a:cubicBezTo>
                <a:cubicBezTo>
                  <a:pt x="2675" y="862"/>
                  <a:pt x="2676" y="861"/>
                  <a:pt x="2677" y="860"/>
                </a:cubicBezTo>
                <a:cubicBezTo>
                  <a:pt x="2678" y="858"/>
                  <a:pt x="2679" y="858"/>
                  <a:pt x="2679" y="857"/>
                </a:cubicBezTo>
                <a:cubicBezTo>
                  <a:pt x="2679" y="857"/>
                  <a:pt x="2678" y="858"/>
                  <a:pt x="2676" y="860"/>
                </a:cubicBezTo>
                <a:cubicBezTo>
                  <a:pt x="2674" y="861"/>
                  <a:pt x="2673" y="862"/>
                  <a:pt x="2672" y="862"/>
                </a:cubicBezTo>
                <a:cubicBezTo>
                  <a:pt x="2671" y="863"/>
                  <a:pt x="2670" y="863"/>
                  <a:pt x="2670" y="863"/>
                </a:cubicBezTo>
                <a:lnTo>
                  <a:pt x="2670" y="864"/>
                </a:lnTo>
                <a:cubicBezTo>
                  <a:pt x="2670" y="864"/>
                  <a:pt x="2670" y="865"/>
                  <a:pt x="2671" y="865"/>
                </a:cubicBezTo>
                <a:close/>
                <a:moveTo>
                  <a:pt x="2644" y="917"/>
                </a:moveTo>
                <a:cubicBezTo>
                  <a:pt x="2645" y="917"/>
                  <a:pt x="2646" y="916"/>
                  <a:pt x="2648" y="913"/>
                </a:cubicBezTo>
                <a:lnTo>
                  <a:pt x="2651" y="911"/>
                </a:lnTo>
                <a:lnTo>
                  <a:pt x="2651" y="910"/>
                </a:lnTo>
                <a:lnTo>
                  <a:pt x="2648" y="912"/>
                </a:lnTo>
                <a:lnTo>
                  <a:pt x="2643" y="916"/>
                </a:lnTo>
                <a:cubicBezTo>
                  <a:pt x="2643" y="917"/>
                  <a:pt x="2644" y="917"/>
                  <a:pt x="2644" y="917"/>
                </a:cubicBezTo>
                <a:close/>
                <a:moveTo>
                  <a:pt x="2586" y="975"/>
                </a:moveTo>
                <a:cubicBezTo>
                  <a:pt x="2586" y="975"/>
                  <a:pt x="2588" y="974"/>
                  <a:pt x="2591" y="971"/>
                </a:cubicBezTo>
                <a:cubicBezTo>
                  <a:pt x="2594" y="968"/>
                  <a:pt x="2597" y="967"/>
                  <a:pt x="2598" y="967"/>
                </a:cubicBezTo>
                <a:lnTo>
                  <a:pt x="2599" y="967"/>
                </a:lnTo>
                <a:cubicBezTo>
                  <a:pt x="2600" y="967"/>
                  <a:pt x="2601" y="966"/>
                  <a:pt x="2602" y="964"/>
                </a:cubicBezTo>
                <a:cubicBezTo>
                  <a:pt x="2604" y="962"/>
                  <a:pt x="2604" y="960"/>
                  <a:pt x="2604" y="958"/>
                </a:cubicBezTo>
                <a:lnTo>
                  <a:pt x="2604" y="958"/>
                </a:lnTo>
                <a:cubicBezTo>
                  <a:pt x="2604" y="957"/>
                  <a:pt x="2604" y="957"/>
                  <a:pt x="2605" y="956"/>
                </a:cubicBezTo>
                <a:cubicBezTo>
                  <a:pt x="2606" y="955"/>
                  <a:pt x="2607" y="955"/>
                  <a:pt x="2608" y="954"/>
                </a:cubicBezTo>
                <a:cubicBezTo>
                  <a:pt x="2609" y="953"/>
                  <a:pt x="2611" y="953"/>
                  <a:pt x="2612" y="953"/>
                </a:cubicBezTo>
                <a:cubicBezTo>
                  <a:pt x="2612" y="953"/>
                  <a:pt x="2612" y="953"/>
                  <a:pt x="2612" y="953"/>
                </a:cubicBezTo>
                <a:cubicBezTo>
                  <a:pt x="2612" y="953"/>
                  <a:pt x="2612" y="953"/>
                  <a:pt x="2613" y="953"/>
                </a:cubicBezTo>
                <a:cubicBezTo>
                  <a:pt x="2614" y="953"/>
                  <a:pt x="2616" y="952"/>
                  <a:pt x="2619" y="948"/>
                </a:cubicBezTo>
                <a:cubicBezTo>
                  <a:pt x="2624" y="943"/>
                  <a:pt x="2626" y="941"/>
                  <a:pt x="2626" y="939"/>
                </a:cubicBezTo>
                <a:cubicBezTo>
                  <a:pt x="2627" y="937"/>
                  <a:pt x="2627" y="936"/>
                  <a:pt x="2629" y="936"/>
                </a:cubicBezTo>
                <a:lnTo>
                  <a:pt x="2631" y="936"/>
                </a:lnTo>
                <a:cubicBezTo>
                  <a:pt x="2633" y="936"/>
                  <a:pt x="2635" y="935"/>
                  <a:pt x="2637" y="933"/>
                </a:cubicBezTo>
                <a:cubicBezTo>
                  <a:pt x="2640" y="930"/>
                  <a:pt x="2642" y="929"/>
                  <a:pt x="2643" y="929"/>
                </a:cubicBezTo>
                <a:lnTo>
                  <a:pt x="2643" y="929"/>
                </a:lnTo>
                <a:cubicBezTo>
                  <a:pt x="2643" y="930"/>
                  <a:pt x="2642" y="932"/>
                  <a:pt x="2640" y="935"/>
                </a:cubicBezTo>
                <a:cubicBezTo>
                  <a:pt x="2638" y="936"/>
                  <a:pt x="2637" y="938"/>
                  <a:pt x="2637" y="938"/>
                </a:cubicBezTo>
                <a:cubicBezTo>
                  <a:pt x="2638" y="938"/>
                  <a:pt x="2639" y="937"/>
                  <a:pt x="2641" y="935"/>
                </a:cubicBezTo>
                <a:cubicBezTo>
                  <a:pt x="2643" y="932"/>
                  <a:pt x="2645" y="931"/>
                  <a:pt x="2646" y="929"/>
                </a:cubicBezTo>
                <a:cubicBezTo>
                  <a:pt x="2648" y="928"/>
                  <a:pt x="2649" y="928"/>
                  <a:pt x="2650" y="928"/>
                </a:cubicBezTo>
                <a:cubicBezTo>
                  <a:pt x="2651" y="928"/>
                  <a:pt x="2653" y="926"/>
                  <a:pt x="2656" y="923"/>
                </a:cubicBezTo>
                <a:cubicBezTo>
                  <a:pt x="2658" y="919"/>
                  <a:pt x="2660" y="918"/>
                  <a:pt x="2661" y="918"/>
                </a:cubicBezTo>
                <a:lnTo>
                  <a:pt x="2661" y="918"/>
                </a:lnTo>
                <a:cubicBezTo>
                  <a:pt x="2661" y="918"/>
                  <a:pt x="2661" y="919"/>
                  <a:pt x="2661" y="919"/>
                </a:cubicBezTo>
                <a:cubicBezTo>
                  <a:pt x="2662" y="919"/>
                  <a:pt x="2663" y="918"/>
                  <a:pt x="2664" y="917"/>
                </a:cubicBezTo>
                <a:cubicBezTo>
                  <a:pt x="2666" y="916"/>
                  <a:pt x="2666" y="914"/>
                  <a:pt x="2666" y="914"/>
                </a:cubicBezTo>
                <a:cubicBezTo>
                  <a:pt x="2666" y="913"/>
                  <a:pt x="2666" y="913"/>
                  <a:pt x="2666" y="912"/>
                </a:cubicBezTo>
                <a:cubicBezTo>
                  <a:pt x="2665" y="911"/>
                  <a:pt x="2665" y="911"/>
                  <a:pt x="2664" y="911"/>
                </a:cubicBezTo>
                <a:cubicBezTo>
                  <a:pt x="2663" y="911"/>
                  <a:pt x="2661" y="912"/>
                  <a:pt x="2659" y="914"/>
                </a:cubicBezTo>
                <a:lnTo>
                  <a:pt x="2655" y="916"/>
                </a:lnTo>
                <a:lnTo>
                  <a:pt x="2656" y="915"/>
                </a:lnTo>
                <a:cubicBezTo>
                  <a:pt x="2658" y="912"/>
                  <a:pt x="2659" y="910"/>
                  <a:pt x="2659" y="909"/>
                </a:cubicBezTo>
                <a:cubicBezTo>
                  <a:pt x="2659" y="909"/>
                  <a:pt x="2659" y="909"/>
                  <a:pt x="2658" y="909"/>
                </a:cubicBezTo>
                <a:lnTo>
                  <a:pt x="2656" y="910"/>
                </a:lnTo>
                <a:cubicBezTo>
                  <a:pt x="2656" y="910"/>
                  <a:pt x="2655" y="910"/>
                  <a:pt x="2655" y="909"/>
                </a:cubicBezTo>
                <a:lnTo>
                  <a:pt x="2656" y="909"/>
                </a:lnTo>
                <a:cubicBezTo>
                  <a:pt x="2657" y="907"/>
                  <a:pt x="2658" y="907"/>
                  <a:pt x="2660" y="907"/>
                </a:cubicBezTo>
                <a:lnTo>
                  <a:pt x="2661" y="907"/>
                </a:lnTo>
                <a:cubicBezTo>
                  <a:pt x="2663" y="907"/>
                  <a:pt x="2667" y="905"/>
                  <a:pt x="2672" y="902"/>
                </a:cubicBezTo>
                <a:lnTo>
                  <a:pt x="2678" y="896"/>
                </a:lnTo>
                <a:cubicBezTo>
                  <a:pt x="2682" y="893"/>
                  <a:pt x="2692" y="886"/>
                  <a:pt x="2710" y="875"/>
                </a:cubicBezTo>
                <a:cubicBezTo>
                  <a:pt x="2722" y="866"/>
                  <a:pt x="2728" y="861"/>
                  <a:pt x="2728" y="861"/>
                </a:cubicBezTo>
                <a:cubicBezTo>
                  <a:pt x="2728" y="861"/>
                  <a:pt x="2726" y="862"/>
                  <a:pt x="2723" y="864"/>
                </a:cubicBezTo>
                <a:cubicBezTo>
                  <a:pt x="2719" y="866"/>
                  <a:pt x="2716" y="868"/>
                  <a:pt x="2711" y="870"/>
                </a:cubicBezTo>
                <a:cubicBezTo>
                  <a:pt x="2707" y="872"/>
                  <a:pt x="2704" y="874"/>
                  <a:pt x="2702" y="876"/>
                </a:cubicBezTo>
                <a:cubicBezTo>
                  <a:pt x="2699" y="877"/>
                  <a:pt x="2695" y="880"/>
                  <a:pt x="2689" y="884"/>
                </a:cubicBezTo>
                <a:lnTo>
                  <a:pt x="2676" y="893"/>
                </a:lnTo>
                <a:cubicBezTo>
                  <a:pt x="2670" y="897"/>
                  <a:pt x="2665" y="900"/>
                  <a:pt x="2661" y="904"/>
                </a:cubicBezTo>
                <a:cubicBezTo>
                  <a:pt x="2656" y="908"/>
                  <a:pt x="2653" y="910"/>
                  <a:pt x="2651" y="912"/>
                </a:cubicBezTo>
                <a:cubicBezTo>
                  <a:pt x="2649" y="914"/>
                  <a:pt x="2648" y="916"/>
                  <a:pt x="2646" y="916"/>
                </a:cubicBezTo>
                <a:cubicBezTo>
                  <a:pt x="2645" y="917"/>
                  <a:pt x="2644" y="918"/>
                  <a:pt x="2643" y="918"/>
                </a:cubicBezTo>
                <a:lnTo>
                  <a:pt x="2642" y="918"/>
                </a:lnTo>
                <a:cubicBezTo>
                  <a:pt x="2640" y="918"/>
                  <a:pt x="2637" y="920"/>
                  <a:pt x="2633" y="925"/>
                </a:cubicBezTo>
                <a:lnTo>
                  <a:pt x="2629" y="930"/>
                </a:lnTo>
                <a:lnTo>
                  <a:pt x="2628" y="929"/>
                </a:lnTo>
                <a:lnTo>
                  <a:pt x="2629" y="928"/>
                </a:lnTo>
                <a:cubicBezTo>
                  <a:pt x="2628" y="928"/>
                  <a:pt x="2620" y="935"/>
                  <a:pt x="2606" y="948"/>
                </a:cubicBezTo>
                <a:cubicBezTo>
                  <a:pt x="2589" y="963"/>
                  <a:pt x="2581" y="971"/>
                  <a:pt x="2581" y="971"/>
                </a:cubicBezTo>
                <a:cubicBezTo>
                  <a:pt x="2581" y="971"/>
                  <a:pt x="2584" y="969"/>
                  <a:pt x="2590" y="964"/>
                </a:cubicBezTo>
                <a:cubicBezTo>
                  <a:pt x="2596" y="960"/>
                  <a:pt x="2600" y="958"/>
                  <a:pt x="2601" y="958"/>
                </a:cubicBezTo>
                <a:lnTo>
                  <a:pt x="2602" y="958"/>
                </a:lnTo>
                <a:cubicBezTo>
                  <a:pt x="2602" y="959"/>
                  <a:pt x="2599" y="962"/>
                  <a:pt x="2595" y="965"/>
                </a:cubicBezTo>
                <a:cubicBezTo>
                  <a:pt x="2592" y="967"/>
                  <a:pt x="2590" y="969"/>
                  <a:pt x="2588" y="971"/>
                </a:cubicBezTo>
                <a:cubicBezTo>
                  <a:pt x="2586" y="973"/>
                  <a:pt x="2586" y="975"/>
                  <a:pt x="2586" y="975"/>
                </a:cubicBezTo>
                <a:close/>
                <a:moveTo>
                  <a:pt x="2570" y="992"/>
                </a:moveTo>
                <a:cubicBezTo>
                  <a:pt x="2571" y="992"/>
                  <a:pt x="2572" y="991"/>
                  <a:pt x="2574" y="989"/>
                </a:cubicBezTo>
                <a:cubicBezTo>
                  <a:pt x="2577" y="986"/>
                  <a:pt x="2578" y="985"/>
                  <a:pt x="2580" y="985"/>
                </a:cubicBezTo>
                <a:lnTo>
                  <a:pt x="2581" y="986"/>
                </a:lnTo>
                <a:lnTo>
                  <a:pt x="2581" y="986"/>
                </a:lnTo>
                <a:cubicBezTo>
                  <a:pt x="2581" y="985"/>
                  <a:pt x="2581" y="985"/>
                  <a:pt x="2580" y="984"/>
                </a:cubicBezTo>
                <a:cubicBezTo>
                  <a:pt x="2580" y="984"/>
                  <a:pt x="2579" y="983"/>
                  <a:pt x="2578" y="983"/>
                </a:cubicBezTo>
                <a:cubicBezTo>
                  <a:pt x="2577" y="983"/>
                  <a:pt x="2575" y="984"/>
                  <a:pt x="2573" y="986"/>
                </a:cubicBezTo>
                <a:cubicBezTo>
                  <a:pt x="2571" y="988"/>
                  <a:pt x="2570" y="990"/>
                  <a:pt x="2570" y="992"/>
                </a:cubicBezTo>
                <a:close/>
                <a:moveTo>
                  <a:pt x="2550" y="1007"/>
                </a:moveTo>
                <a:cubicBezTo>
                  <a:pt x="2551" y="1007"/>
                  <a:pt x="2554" y="1006"/>
                  <a:pt x="2557" y="1003"/>
                </a:cubicBezTo>
                <a:cubicBezTo>
                  <a:pt x="2562" y="999"/>
                  <a:pt x="2564" y="996"/>
                  <a:pt x="2564" y="995"/>
                </a:cubicBezTo>
                <a:cubicBezTo>
                  <a:pt x="2564" y="994"/>
                  <a:pt x="2565" y="992"/>
                  <a:pt x="2566" y="990"/>
                </a:cubicBezTo>
                <a:cubicBezTo>
                  <a:pt x="2567" y="988"/>
                  <a:pt x="2569" y="986"/>
                  <a:pt x="2571" y="984"/>
                </a:cubicBezTo>
                <a:cubicBezTo>
                  <a:pt x="2573" y="981"/>
                  <a:pt x="2574" y="980"/>
                  <a:pt x="2574" y="980"/>
                </a:cubicBezTo>
                <a:lnTo>
                  <a:pt x="2567" y="987"/>
                </a:lnTo>
                <a:cubicBezTo>
                  <a:pt x="2556" y="998"/>
                  <a:pt x="2550" y="1005"/>
                  <a:pt x="2550" y="1007"/>
                </a:cubicBezTo>
                <a:close/>
                <a:moveTo>
                  <a:pt x="2532" y="991"/>
                </a:moveTo>
                <a:cubicBezTo>
                  <a:pt x="2533" y="991"/>
                  <a:pt x="2542" y="982"/>
                  <a:pt x="2560" y="963"/>
                </a:cubicBezTo>
                <a:cubicBezTo>
                  <a:pt x="2567" y="956"/>
                  <a:pt x="2572" y="950"/>
                  <a:pt x="2575" y="946"/>
                </a:cubicBezTo>
                <a:cubicBezTo>
                  <a:pt x="2577" y="943"/>
                  <a:pt x="2579" y="941"/>
                  <a:pt x="2581" y="939"/>
                </a:cubicBezTo>
                <a:lnTo>
                  <a:pt x="2601" y="922"/>
                </a:lnTo>
                <a:cubicBezTo>
                  <a:pt x="2612" y="913"/>
                  <a:pt x="2618" y="908"/>
                  <a:pt x="2620" y="908"/>
                </a:cubicBezTo>
                <a:cubicBezTo>
                  <a:pt x="2622" y="908"/>
                  <a:pt x="2623" y="906"/>
                  <a:pt x="2624" y="903"/>
                </a:cubicBezTo>
                <a:cubicBezTo>
                  <a:pt x="2625" y="900"/>
                  <a:pt x="2627" y="898"/>
                  <a:pt x="2630" y="897"/>
                </a:cubicBezTo>
                <a:cubicBezTo>
                  <a:pt x="2633" y="896"/>
                  <a:pt x="2634" y="895"/>
                  <a:pt x="2634" y="894"/>
                </a:cubicBezTo>
                <a:cubicBezTo>
                  <a:pt x="2635" y="894"/>
                  <a:pt x="2635" y="892"/>
                  <a:pt x="2635" y="890"/>
                </a:cubicBezTo>
                <a:cubicBezTo>
                  <a:pt x="2636" y="889"/>
                  <a:pt x="2636" y="889"/>
                  <a:pt x="2636" y="887"/>
                </a:cubicBezTo>
                <a:cubicBezTo>
                  <a:pt x="2636" y="887"/>
                  <a:pt x="2636" y="886"/>
                  <a:pt x="2635" y="886"/>
                </a:cubicBezTo>
                <a:lnTo>
                  <a:pt x="2635" y="886"/>
                </a:lnTo>
                <a:cubicBezTo>
                  <a:pt x="2634" y="887"/>
                  <a:pt x="2634" y="888"/>
                  <a:pt x="2634" y="890"/>
                </a:cubicBezTo>
                <a:lnTo>
                  <a:pt x="2634" y="890"/>
                </a:lnTo>
                <a:cubicBezTo>
                  <a:pt x="2634" y="891"/>
                  <a:pt x="2634" y="892"/>
                  <a:pt x="2633" y="892"/>
                </a:cubicBezTo>
                <a:cubicBezTo>
                  <a:pt x="2631" y="894"/>
                  <a:pt x="2629" y="895"/>
                  <a:pt x="2626" y="895"/>
                </a:cubicBezTo>
                <a:lnTo>
                  <a:pt x="2624" y="894"/>
                </a:lnTo>
                <a:cubicBezTo>
                  <a:pt x="2624" y="894"/>
                  <a:pt x="2624" y="895"/>
                  <a:pt x="2624" y="897"/>
                </a:cubicBezTo>
                <a:cubicBezTo>
                  <a:pt x="2624" y="899"/>
                  <a:pt x="2623" y="899"/>
                  <a:pt x="2622" y="899"/>
                </a:cubicBezTo>
                <a:lnTo>
                  <a:pt x="2621" y="899"/>
                </a:lnTo>
                <a:cubicBezTo>
                  <a:pt x="2620" y="899"/>
                  <a:pt x="2619" y="900"/>
                  <a:pt x="2619" y="900"/>
                </a:cubicBezTo>
                <a:lnTo>
                  <a:pt x="2619" y="902"/>
                </a:lnTo>
                <a:cubicBezTo>
                  <a:pt x="2619" y="903"/>
                  <a:pt x="2618" y="904"/>
                  <a:pt x="2616" y="905"/>
                </a:cubicBezTo>
                <a:cubicBezTo>
                  <a:pt x="2614" y="906"/>
                  <a:pt x="2613" y="906"/>
                  <a:pt x="2612" y="906"/>
                </a:cubicBezTo>
                <a:cubicBezTo>
                  <a:pt x="2611" y="906"/>
                  <a:pt x="2609" y="907"/>
                  <a:pt x="2607" y="909"/>
                </a:cubicBezTo>
                <a:cubicBezTo>
                  <a:pt x="2607" y="912"/>
                  <a:pt x="2603" y="916"/>
                  <a:pt x="2597" y="921"/>
                </a:cubicBezTo>
                <a:cubicBezTo>
                  <a:pt x="2587" y="930"/>
                  <a:pt x="2578" y="940"/>
                  <a:pt x="2569" y="949"/>
                </a:cubicBezTo>
                <a:cubicBezTo>
                  <a:pt x="2557" y="963"/>
                  <a:pt x="2550" y="969"/>
                  <a:pt x="2549" y="970"/>
                </a:cubicBezTo>
                <a:cubicBezTo>
                  <a:pt x="2547" y="970"/>
                  <a:pt x="2547" y="971"/>
                  <a:pt x="2546" y="972"/>
                </a:cubicBezTo>
                <a:cubicBezTo>
                  <a:pt x="2546" y="973"/>
                  <a:pt x="2545" y="975"/>
                  <a:pt x="2544" y="976"/>
                </a:cubicBezTo>
                <a:cubicBezTo>
                  <a:pt x="2539" y="982"/>
                  <a:pt x="2536" y="984"/>
                  <a:pt x="2535" y="984"/>
                </a:cubicBezTo>
                <a:lnTo>
                  <a:pt x="2534" y="984"/>
                </a:lnTo>
                <a:lnTo>
                  <a:pt x="2534" y="985"/>
                </a:lnTo>
                <a:cubicBezTo>
                  <a:pt x="2534" y="987"/>
                  <a:pt x="2534" y="989"/>
                  <a:pt x="2533" y="990"/>
                </a:cubicBezTo>
                <a:lnTo>
                  <a:pt x="2532" y="991"/>
                </a:lnTo>
                <a:close/>
                <a:moveTo>
                  <a:pt x="2524" y="1002"/>
                </a:moveTo>
                <a:cubicBezTo>
                  <a:pt x="2524" y="1002"/>
                  <a:pt x="2525" y="1002"/>
                  <a:pt x="2526" y="1001"/>
                </a:cubicBezTo>
                <a:cubicBezTo>
                  <a:pt x="2527" y="1000"/>
                  <a:pt x="2527" y="999"/>
                  <a:pt x="2528" y="999"/>
                </a:cubicBezTo>
                <a:cubicBezTo>
                  <a:pt x="2529" y="997"/>
                  <a:pt x="2529" y="997"/>
                  <a:pt x="2529" y="996"/>
                </a:cubicBezTo>
                <a:cubicBezTo>
                  <a:pt x="2529" y="995"/>
                  <a:pt x="2529" y="994"/>
                  <a:pt x="2528" y="994"/>
                </a:cubicBezTo>
                <a:cubicBezTo>
                  <a:pt x="2527" y="993"/>
                  <a:pt x="2527" y="993"/>
                  <a:pt x="2527" y="993"/>
                </a:cubicBezTo>
                <a:lnTo>
                  <a:pt x="2527" y="995"/>
                </a:lnTo>
                <a:cubicBezTo>
                  <a:pt x="2527" y="996"/>
                  <a:pt x="2527" y="997"/>
                  <a:pt x="2526" y="999"/>
                </a:cubicBezTo>
                <a:cubicBezTo>
                  <a:pt x="2524" y="1000"/>
                  <a:pt x="2524" y="1001"/>
                  <a:pt x="2524" y="1002"/>
                </a:cubicBezTo>
                <a:close/>
                <a:moveTo>
                  <a:pt x="2490" y="1049"/>
                </a:moveTo>
                <a:cubicBezTo>
                  <a:pt x="2491" y="1049"/>
                  <a:pt x="2493" y="1046"/>
                  <a:pt x="2496" y="1040"/>
                </a:cubicBezTo>
                <a:cubicBezTo>
                  <a:pt x="2497" y="1038"/>
                  <a:pt x="2498" y="1036"/>
                  <a:pt x="2498" y="1035"/>
                </a:cubicBezTo>
                <a:cubicBezTo>
                  <a:pt x="2498" y="1035"/>
                  <a:pt x="2498" y="1035"/>
                  <a:pt x="2497" y="1035"/>
                </a:cubicBezTo>
                <a:cubicBezTo>
                  <a:pt x="2497" y="1035"/>
                  <a:pt x="2496" y="1036"/>
                  <a:pt x="2495" y="1038"/>
                </a:cubicBezTo>
                <a:cubicBezTo>
                  <a:pt x="2492" y="1043"/>
                  <a:pt x="2490" y="1047"/>
                  <a:pt x="2490" y="1049"/>
                </a:cubicBezTo>
                <a:close/>
                <a:moveTo>
                  <a:pt x="2502" y="1034"/>
                </a:moveTo>
                <a:lnTo>
                  <a:pt x="2511" y="1022"/>
                </a:lnTo>
                <a:cubicBezTo>
                  <a:pt x="2514" y="1017"/>
                  <a:pt x="2516" y="1014"/>
                  <a:pt x="2516" y="1014"/>
                </a:cubicBezTo>
                <a:cubicBezTo>
                  <a:pt x="2516" y="1014"/>
                  <a:pt x="2515" y="1014"/>
                  <a:pt x="2513" y="1016"/>
                </a:cubicBezTo>
                <a:cubicBezTo>
                  <a:pt x="2512" y="1017"/>
                  <a:pt x="2510" y="1019"/>
                  <a:pt x="2509" y="1020"/>
                </a:cubicBezTo>
                <a:cubicBezTo>
                  <a:pt x="2508" y="1021"/>
                  <a:pt x="2507" y="1021"/>
                  <a:pt x="2506" y="1021"/>
                </a:cubicBezTo>
                <a:lnTo>
                  <a:pt x="2505" y="1020"/>
                </a:lnTo>
                <a:lnTo>
                  <a:pt x="2505" y="1021"/>
                </a:lnTo>
                <a:lnTo>
                  <a:pt x="2505" y="1024"/>
                </a:lnTo>
                <a:cubicBezTo>
                  <a:pt x="2505" y="1024"/>
                  <a:pt x="2505" y="1025"/>
                  <a:pt x="2504" y="1025"/>
                </a:cubicBezTo>
                <a:cubicBezTo>
                  <a:pt x="2503" y="1025"/>
                  <a:pt x="2503" y="1025"/>
                  <a:pt x="2503" y="1026"/>
                </a:cubicBezTo>
                <a:lnTo>
                  <a:pt x="2503" y="1028"/>
                </a:lnTo>
                <a:cubicBezTo>
                  <a:pt x="2503" y="1029"/>
                  <a:pt x="2503" y="1029"/>
                  <a:pt x="2502" y="1029"/>
                </a:cubicBezTo>
                <a:cubicBezTo>
                  <a:pt x="2501" y="1029"/>
                  <a:pt x="2500" y="1030"/>
                  <a:pt x="2500" y="1031"/>
                </a:cubicBezTo>
                <a:lnTo>
                  <a:pt x="2500" y="1032"/>
                </a:lnTo>
                <a:cubicBezTo>
                  <a:pt x="2501" y="1033"/>
                  <a:pt x="2502" y="1034"/>
                  <a:pt x="2502" y="1034"/>
                </a:cubicBezTo>
                <a:close/>
                <a:moveTo>
                  <a:pt x="2497" y="1128"/>
                </a:moveTo>
                <a:cubicBezTo>
                  <a:pt x="2498" y="1128"/>
                  <a:pt x="2498" y="1127"/>
                  <a:pt x="2498" y="1127"/>
                </a:cubicBezTo>
                <a:lnTo>
                  <a:pt x="2497" y="1124"/>
                </a:lnTo>
                <a:cubicBezTo>
                  <a:pt x="2497" y="1122"/>
                  <a:pt x="2498" y="1121"/>
                  <a:pt x="2499" y="1119"/>
                </a:cubicBezTo>
                <a:cubicBezTo>
                  <a:pt x="2500" y="1118"/>
                  <a:pt x="2501" y="1117"/>
                  <a:pt x="2501" y="1117"/>
                </a:cubicBezTo>
                <a:cubicBezTo>
                  <a:pt x="2501" y="1117"/>
                  <a:pt x="2500" y="1117"/>
                  <a:pt x="2499" y="1117"/>
                </a:cubicBezTo>
                <a:cubicBezTo>
                  <a:pt x="2499" y="1117"/>
                  <a:pt x="2498" y="1117"/>
                  <a:pt x="2497" y="1118"/>
                </a:cubicBezTo>
                <a:cubicBezTo>
                  <a:pt x="2495" y="1118"/>
                  <a:pt x="2495" y="1120"/>
                  <a:pt x="2495" y="1122"/>
                </a:cubicBezTo>
                <a:cubicBezTo>
                  <a:pt x="2495" y="1126"/>
                  <a:pt x="2495" y="1128"/>
                  <a:pt x="2497" y="1128"/>
                </a:cubicBezTo>
                <a:close/>
                <a:moveTo>
                  <a:pt x="2497" y="1107"/>
                </a:moveTo>
                <a:cubicBezTo>
                  <a:pt x="2498" y="1107"/>
                  <a:pt x="2499" y="1107"/>
                  <a:pt x="2499" y="1106"/>
                </a:cubicBezTo>
                <a:cubicBezTo>
                  <a:pt x="2500" y="1106"/>
                  <a:pt x="2501" y="1105"/>
                  <a:pt x="2502" y="1103"/>
                </a:cubicBezTo>
                <a:cubicBezTo>
                  <a:pt x="2503" y="1102"/>
                  <a:pt x="2504" y="1100"/>
                  <a:pt x="2504" y="1098"/>
                </a:cubicBezTo>
                <a:lnTo>
                  <a:pt x="2503" y="1093"/>
                </a:lnTo>
                <a:cubicBezTo>
                  <a:pt x="2503" y="1092"/>
                  <a:pt x="2503" y="1092"/>
                  <a:pt x="2504" y="1092"/>
                </a:cubicBezTo>
                <a:lnTo>
                  <a:pt x="2507" y="1093"/>
                </a:lnTo>
                <a:cubicBezTo>
                  <a:pt x="2507" y="1093"/>
                  <a:pt x="2507" y="1092"/>
                  <a:pt x="2507" y="1091"/>
                </a:cubicBezTo>
                <a:lnTo>
                  <a:pt x="2507" y="1087"/>
                </a:lnTo>
                <a:cubicBezTo>
                  <a:pt x="2507" y="1086"/>
                  <a:pt x="2507" y="1086"/>
                  <a:pt x="2507" y="1085"/>
                </a:cubicBezTo>
                <a:lnTo>
                  <a:pt x="2509" y="1086"/>
                </a:lnTo>
                <a:cubicBezTo>
                  <a:pt x="2509" y="1086"/>
                  <a:pt x="2509" y="1085"/>
                  <a:pt x="2509" y="1083"/>
                </a:cubicBezTo>
                <a:lnTo>
                  <a:pt x="2509" y="1077"/>
                </a:lnTo>
                <a:cubicBezTo>
                  <a:pt x="2509" y="1077"/>
                  <a:pt x="2509" y="1076"/>
                  <a:pt x="2509" y="1076"/>
                </a:cubicBezTo>
                <a:lnTo>
                  <a:pt x="2510" y="1077"/>
                </a:lnTo>
                <a:lnTo>
                  <a:pt x="2511" y="1077"/>
                </a:lnTo>
                <a:cubicBezTo>
                  <a:pt x="2512" y="1077"/>
                  <a:pt x="2516" y="1073"/>
                  <a:pt x="2520" y="1063"/>
                </a:cubicBezTo>
                <a:cubicBezTo>
                  <a:pt x="2528" y="1050"/>
                  <a:pt x="2533" y="1042"/>
                  <a:pt x="2536" y="1038"/>
                </a:cubicBezTo>
                <a:cubicBezTo>
                  <a:pt x="2541" y="1032"/>
                  <a:pt x="2543" y="1029"/>
                  <a:pt x="2543" y="1028"/>
                </a:cubicBezTo>
                <a:cubicBezTo>
                  <a:pt x="2543" y="1027"/>
                  <a:pt x="2545" y="1024"/>
                  <a:pt x="2548" y="1020"/>
                </a:cubicBezTo>
                <a:cubicBezTo>
                  <a:pt x="2556" y="1011"/>
                  <a:pt x="2560" y="1006"/>
                  <a:pt x="2560" y="1005"/>
                </a:cubicBezTo>
                <a:lnTo>
                  <a:pt x="2560" y="1004"/>
                </a:lnTo>
                <a:cubicBezTo>
                  <a:pt x="2559" y="1004"/>
                  <a:pt x="2557" y="1006"/>
                  <a:pt x="2555" y="1008"/>
                </a:cubicBezTo>
                <a:cubicBezTo>
                  <a:pt x="2551" y="1012"/>
                  <a:pt x="2549" y="1014"/>
                  <a:pt x="2547" y="1014"/>
                </a:cubicBezTo>
                <a:cubicBezTo>
                  <a:pt x="2546" y="1014"/>
                  <a:pt x="2545" y="1015"/>
                  <a:pt x="2545" y="1016"/>
                </a:cubicBezTo>
                <a:cubicBezTo>
                  <a:pt x="2545" y="1017"/>
                  <a:pt x="2544" y="1019"/>
                  <a:pt x="2544" y="1020"/>
                </a:cubicBezTo>
                <a:cubicBezTo>
                  <a:pt x="2543" y="1022"/>
                  <a:pt x="2543" y="1022"/>
                  <a:pt x="2542" y="1022"/>
                </a:cubicBezTo>
                <a:lnTo>
                  <a:pt x="2543" y="1019"/>
                </a:lnTo>
                <a:lnTo>
                  <a:pt x="2542" y="1019"/>
                </a:lnTo>
                <a:lnTo>
                  <a:pt x="2539" y="1023"/>
                </a:lnTo>
                <a:cubicBezTo>
                  <a:pt x="2537" y="1026"/>
                  <a:pt x="2536" y="1027"/>
                  <a:pt x="2536" y="1029"/>
                </a:cubicBezTo>
                <a:cubicBezTo>
                  <a:pt x="2536" y="1029"/>
                  <a:pt x="2536" y="1029"/>
                  <a:pt x="2536" y="1029"/>
                </a:cubicBezTo>
                <a:cubicBezTo>
                  <a:pt x="2537" y="1029"/>
                  <a:pt x="2538" y="1029"/>
                  <a:pt x="2539" y="1027"/>
                </a:cubicBezTo>
                <a:cubicBezTo>
                  <a:pt x="2539" y="1026"/>
                  <a:pt x="2540" y="1025"/>
                  <a:pt x="2540" y="1025"/>
                </a:cubicBezTo>
                <a:cubicBezTo>
                  <a:pt x="2541" y="1025"/>
                  <a:pt x="2541" y="1026"/>
                  <a:pt x="2541" y="1026"/>
                </a:cubicBezTo>
                <a:cubicBezTo>
                  <a:pt x="2541" y="1027"/>
                  <a:pt x="2540" y="1028"/>
                  <a:pt x="2539" y="1029"/>
                </a:cubicBezTo>
                <a:cubicBezTo>
                  <a:pt x="2538" y="1030"/>
                  <a:pt x="2537" y="1031"/>
                  <a:pt x="2537" y="1032"/>
                </a:cubicBezTo>
                <a:cubicBezTo>
                  <a:pt x="2536" y="1033"/>
                  <a:pt x="2535" y="1033"/>
                  <a:pt x="2534" y="1033"/>
                </a:cubicBezTo>
                <a:lnTo>
                  <a:pt x="2533" y="1033"/>
                </a:lnTo>
                <a:cubicBezTo>
                  <a:pt x="2530" y="1033"/>
                  <a:pt x="2525" y="1042"/>
                  <a:pt x="2515" y="1061"/>
                </a:cubicBezTo>
                <a:cubicBezTo>
                  <a:pt x="2505" y="1080"/>
                  <a:pt x="2501" y="1093"/>
                  <a:pt x="2501" y="1098"/>
                </a:cubicBezTo>
                <a:lnTo>
                  <a:pt x="2501" y="1100"/>
                </a:lnTo>
                <a:cubicBezTo>
                  <a:pt x="2501" y="1102"/>
                  <a:pt x="2500" y="1103"/>
                  <a:pt x="2498" y="1104"/>
                </a:cubicBezTo>
                <a:cubicBezTo>
                  <a:pt x="2497" y="1105"/>
                  <a:pt x="2496" y="1106"/>
                  <a:pt x="2496" y="1107"/>
                </a:cubicBezTo>
                <a:cubicBezTo>
                  <a:pt x="2496" y="1107"/>
                  <a:pt x="2496" y="1107"/>
                  <a:pt x="2497" y="1107"/>
                </a:cubicBezTo>
                <a:close/>
                <a:moveTo>
                  <a:pt x="2533" y="1137"/>
                </a:moveTo>
                <a:lnTo>
                  <a:pt x="2534" y="1137"/>
                </a:lnTo>
                <a:lnTo>
                  <a:pt x="2532" y="1133"/>
                </a:lnTo>
                <a:cubicBezTo>
                  <a:pt x="2532" y="1133"/>
                  <a:pt x="2533" y="1133"/>
                  <a:pt x="2534" y="1133"/>
                </a:cubicBezTo>
                <a:lnTo>
                  <a:pt x="2540" y="1134"/>
                </a:lnTo>
                <a:cubicBezTo>
                  <a:pt x="2541" y="1134"/>
                  <a:pt x="2541" y="1134"/>
                  <a:pt x="2541" y="1133"/>
                </a:cubicBezTo>
                <a:lnTo>
                  <a:pt x="2540" y="1129"/>
                </a:lnTo>
                <a:cubicBezTo>
                  <a:pt x="2540" y="1129"/>
                  <a:pt x="2540" y="1129"/>
                  <a:pt x="2540" y="1129"/>
                </a:cubicBezTo>
                <a:lnTo>
                  <a:pt x="2543" y="1130"/>
                </a:lnTo>
                <a:cubicBezTo>
                  <a:pt x="2548" y="1130"/>
                  <a:pt x="2555" y="1126"/>
                  <a:pt x="2566" y="1119"/>
                </a:cubicBezTo>
                <a:cubicBezTo>
                  <a:pt x="2577" y="1111"/>
                  <a:pt x="2587" y="1102"/>
                  <a:pt x="2597" y="1092"/>
                </a:cubicBezTo>
                <a:cubicBezTo>
                  <a:pt x="2606" y="1083"/>
                  <a:pt x="2613" y="1074"/>
                  <a:pt x="2619" y="1066"/>
                </a:cubicBezTo>
                <a:cubicBezTo>
                  <a:pt x="2626" y="1058"/>
                  <a:pt x="2629" y="1053"/>
                  <a:pt x="2629" y="1051"/>
                </a:cubicBezTo>
                <a:lnTo>
                  <a:pt x="2629" y="1050"/>
                </a:lnTo>
                <a:cubicBezTo>
                  <a:pt x="2629" y="1048"/>
                  <a:pt x="2632" y="1044"/>
                  <a:pt x="2637" y="1039"/>
                </a:cubicBezTo>
                <a:lnTo>
                  <a:pt x="2643" y="1033"/>
                </a:lnTo>
                <a:lnTo>
                  <a:pt x="2641" y="1034"/>
                </a:lnTo>
                <a:lnTo>
                  <a:pt x="2641" y="1033"/>
                </a:lnTo>
                <a:cubicBezTo>
                  <a:pt x="2641" y="1033"/>
                  <a:pt x="2641" y="1032"/>
                  <a:pt x="2641" y="1030"/>
                </a:cubicBezTo>
                <a:cubicBezTo>
                  <a:pt x="2642" y="1029"/>
                  <a:pt x="2643" y="1028"/>
                  <a:pt x="2644" y="1028"/>
                </a:cubicBezTo>
                <a:cubicBezTo>
                  <a:pt x="2645" y="1028"/>
                  <a:pt x="2646" y="1028"/>
                  <a:pt x="2648" y="1027"/>
                </a:cubicBezTo>
                <a:cubicBezTo>
                  <a:pt x="2649" y="1027"/>
                  <a:pt x="2650" y="1026"/>
                  <a:pt x="2650" y="1025"/>
                </a:cubicBezTo>
                <a:lnTo>
                  <a:pt x="2649" y="1025"/>
                </a:lnTo>
                <a:lnTo>
                  <a:pt x="2646" y="1027"/>
                </a:lnTo>
                <a:cubicBezTo>
                  <a:pt x="2646" y="1027"/>
                  <a:pt x="2645" y="1027"/>
                  <a:pt x="2645" y="1026"/>
                </a:cubicBezTo>
                <a:cubicBezTo>
                  <a:pt x="2645" y="1026"/>
                  <a:pt x="2646" y="1025"/>
                  <a:pt x="2646" y="1024"/>
                </a:cubicBezTo>
                <a:cubicBezTo>
                  <a:pt x="2647" y="1023"/>
                  <a:pt x="2648" y="1022"/>
                  <a:pt x="2649" y="1022"/>
                </a:cubicBezTo>
                <a:lnTo>
                  <a:pt x="2650" y="1022"/>
                </a:lnTo>
                <a:cubicBezTo>
                  <a:pt x="2651" y="1022"/>
                  <a:pt x="2652" y="1022"/>
                  <a:pt x="2652" y="1021"/>
                </a:cubicBezTo>
                <a:lnTo>
                  <a:pt x="2651" y="1021"/>
                </a:lnTo>
                <a:cubicBezTo>
                  <a:pt x="2651" y="1018"/>
                  <a:pt x="2656" y="1008"/>
                  <a:pt x="2666" y="990"/>
                </a:cubicBezTo>
                <a:cubicBezTo>
                  <a:pt x="2673" y="977"/>
                  <a:pt x="2681" y="963"/>
                  <a:pt x="2689" y="948"/>
                </a:cubicBezTo>
                <a:cubicBezTo>
                  <a:pt x="2708" y="912"/>
                  <a:pt x="2718" y="890"/>
                  <a:pt x="2721" y="881"/>
                </a:cubicBezTo>
                <a:lnTo>
                  <a:pt x="2725" y="871"/>
                </a:lnTo>
                <a:cubicBezTo>
                  <a:pt x="2725" y="871"/>
                  <a:pt x="2725" y="870"/>
                  <a:pt x="2724" y="870"/>
                </a:cubicBezTo>
                <a:cubicBezTo>
                  <a:pt x="2722" y="870"/>
                  <a:pt x="2712" y="877"/>
                  <a:pt x="2694" y="889"/>
                </a:cubicBezTo>
                <a:cubicBezTo>
                  <a:pt x="2685" y="895"/>
                  <a:pt x="2679" y="899"/>
                  <a:pt x="2678" y="899"/>
                </a:cubicBezTo>
                <a:cubicBezTo>
                  <a:pt x="2676" y="899"/>
                  <a:pt x="2674" y="901"/>
                  <a:pt x="2671" y="904"/>
                </a:cubicBezTo>
                <a:cubicBezTo>
                  <a:pt x="2668" y="907"/>
                  <a:pt x="2667" y="909"/>
                  <a:pt x="2667" y="910"/>
                </a:cubicBezTo>
                <a:cubicBezTo>
                  <a:pt x="2667" y="910"/>
                  <a:pt x="2667" y="911"/>
                  <a:pt x="2668" y="911"/>
                </a:cubicBezTo>
                <a:cubicBezTo>
                  <a:pt x="2669" y="911"/>
                  <a:pt x="2670" y="909"/>
                  <a:pt x="2672" y="907"/>
                </a:cubicBezTo>
                <a:cubicBezTo>
                  <a:pt x="2673" y="906"/>
                  <a:pt x="2674" y="906"/>
                  <a:pt x="2674" y="906"/>
                </a:cubicBezTo>
                <a:cubicBezTo>
                  <a:pt x="2675" y="906"/>
                  <a:pt x="2675" y="906"/>
                  <a:pt x="2675" y="906"/>
                </a:cubicBezTo>
                <a:lnTo>
                  <a:pt x="2675" y="906"/>
                </a:lnTo>
                <a:cubicBezTo>
                  <a:pt x="2675" y="906"/>
                  <a:pt x="2678" y="905"/>
                  <a:pt x="2682" y="901"/>
                </a:cubicBezTo>
                <a:cubicBezTo>
                  <a:pt x="2686" y="898"/>
                  <a:pt x="2689" y="896"/>
                  <a:pt x="2691" y="896"/>
                </a:cubicBezTo>
                <a:lnTo>
                  <a:pt x="2692" y="896"/>
                </a:lnTo>
                <a:cubicBezTo>
                  <a:pt x="2693" y="896"/>
                  <a:pt x="2693" y="895"/>
                  <a:pt x="2693" y="894"/>
                </a:cubicBezTo>
                <a:cubicBezTo>
                  <a:pt x="2693" y="893"/>
                  <a:pt x="2693" y="892"/>
                  <a:pt x="2694" y="892"/>
                </a:cubicBezTo>
                <a:lnTo>
                  <a:pt x="2695" y="893"/>
                </a:lnTo>
                <a:cubicBezTo>
                  <a:pt x="2696" y="893"/>
                  <a:pt x="2698" y="892"/>
                  <a:pt x="2700" y="889"/>
                </a:cubicBezTo>
                <a:cubicBezTo>
                  <a:pt x="2701" y="887"/>
                  <a:pt x="2703" y="886"/>
                  <a:pt x="2704" y="886"/>
                </a:cubicBezTo>
                <a:lnTo>
                  <a:pt x="2706" y="887"/>
                </a:lnTo>
                <a:cubicBezTo>
                  <a:pt x="2706" y="887"/>
                  <a:pt x="2707" y="886"/>
                  <a:pt x="2707" y="885"/>
                </a:cubicBezTo>
                <a:cubicBezTo>
                  <a:pt x="2707" y="884"/>
                  <a:pt x="2708" y="884"/>
                  <a:pt x="2709" y="884"/>
                </a:cubicBezTo>
                <a:lnTo>
                  <a:pt x="2710" y="884"/>
                </a:lnTo>
                <a:cubicBezTo>
                  <a:pt x="2711" y="884"/>
                  <a:pt x="2711" y="884"/>
                  <a:pt x="2711" y="883"/>
                </a:cubicBezTo>
                <a:cubicBezTo>
                  <a:pt x="2711" y="882"/>
                  <a:pt x="2712" y="882"/>
                  <a:pt x="2713" y="882"/>
                </a:cubicBezTo>
                <a:cubicBezTo>
                  <a:pt x="2714" y="882"/>
                  <a:pt x="2715" y="881"/>
                  <a:pt x="2716" y="881"/>
                </a:cubicBezTo>
                <a:lnTo>
                  <a:pt x="2716" y="881"/>
                </a:lnTo>
                <a:cubicBezTo>
                  <a:pt x="2716" y="882"/>
                  <a:pt x="2710" y="887"/>
                  <a:pt x="2698" y="895"/>
                </a:cubicBezTo>
                <a:cubicBezTo>
                  <a:pt x="2686" y="903"/>
                  <a:pt x="2674" y="911"/>
                  <a:pt x="2661" y="921"/>
                </a:cubicBezTo>
                <a:cubicBezTo>
                  <a:pt x="2649" y="931"/>
                  <a:pt x="2640" y="938"/>
                  <a:pt x="2636" y="942"/>
                </a:cubicBezTo>
                <a:cubicBezTo>
                  <a:pt x="2634" y="944"/>
                  <a:pt x="2631" y="947"/>
                  <a:pt x="2628" y="949"/>
                </a:cubicBezTo>
                <a:cubicBezTo>
                  <a:pt x="2625" y="952"/>
                  <a:pt x="2622" y="954"/>
                  <a:pt x="2619" y="956"/>
                </a:cubicBezTo>
                <a:cubicBezTo>
                  <a:pt x="2617" y="958"/>
                  <a:pt x="2615" y="959"/>
                  <a:pt x="2615" y="959"/>
                </a:cubicBezTo>
                <a:lnTo>
                  <a:pt x="2616" y="956"/>
                </a:lnTo>
                <a:lnTo>
                  <a:pt x="2614" y="958"/>
                </a:lnTo>
                <a:cubicBezTo>
                  <a:pt x="2613" y="958"/>
                  <a:pt x="2613" y="960"/>
                  <a:pt x="2613" y="960"/>
                </a:cubicBezTo>
                <a:cubicBezTo>
                  <a:pt x="2613" y="962"/>
                  <a:pt x="2612" y="963"/>
                  <a:pt x="2610" y="965"/>
                </a:cubicBezTo>
                <a:cubicBezTo>
                  <a:pt x="2609" y="967"/>
                  <a:pt x="2607" y="969"/>
                  <a:pt x="2605" y="971"/>
                </a:cubicBezTo>
                <a:cubicBezTo>
                  <a:pt x="2604" y="972"/>
                  <a:pt x="2602" y="973"/>
                  <a:pt x="2602" y="973"/>
                </a:cubicBezTo>
                <a:lnTo>
                  <a:pt x="2600" y="973"/>
                </a:lnTo>
                <a:lnTo>
                  <a:pt x="2600" y="974"/>
                </a:lnTo>
                <a:cubicBezTo>
                  <a:pt x="2600" y="975"/>
                  <a:pt x="2600" y="976"/>
                  <a:pt x="2599" y="978"/>
                </a:cubicBezTo>
                <a:cubicBezTo>
                  <a:pt x="2598" y="979"/>
                  <a:pt x="2596" y="981"/>
                  <a:pt x="2594" y="982"/>
                </a:cubicBezTo>
                <a:cubicBezTo>
                  <a:pt x="2592" y="984"/>
                  <a:pt x="2592" y="984"/>
                  <a:pt x="2591" y="984"/>
                </a:cubicBezTo>
                <a:lnTo>
                  <a:pt x="2592" y="983"/>
                </a:lnTo>
                <a:cubicBezTo>
                  <a:pt x="2594" y="981"/>
                  <a:pt x="2595" y="980"/>
                  <a:pt x="2595" y="979"/>
                </a:cubicBezTo>
                <a:lnTo>
                  <a:pt x="2594" y="979"/>
                </a:lnTo>
                <a:cubicBezTo>
                  <a:pt x="2593" y="979"/>
                  <a:pt x="2592" y="981"/>
                  <a:pt x="2589" y="984"/>
                </a:cubicBezTo>
                <a:cubicBezTo>
                  <a:pt x="2587" y="986"/>
                  <a:pt x="2586" y="987"/>
                  <a:pt x="2586" y="987"/>
                </a:cubicBezTo>
                <a:lnTo>
                  <a:pt x="2586" y="988"/>
                </a:lnTo>
                <a:lnTo>
                  <a:pt x="2587" y="987"/>
                </a:lnTo>
                <a:cubicBezTo>
                  <a:pt x="2588" y="987"/>
                  <a:pt x="2589" y="986"/>
                  <a:pt x="2589" y="986"/>
                </a:cubicBezTo>
                <a:lnTo>
                  <a:pt x="2590" y="987"/>
                </a:lnTo>
                <a:cubicBezTo>
                  <a:pt x="2590" y="987"/>
                  <a:pt x="2589" y="988"/>
                  <a:pt x="2588" y="990"/>
                </a:cubicBezTo>
                <a:cubicBezTo>
                  <a:pt x="2587" y="991"/>
                  <a:pt x="2586" y="993"/>
                  <a:pt x="2584" y="995"/>
                </a:cubicBezTo>
                <a:cubicBezTo>
                  <a:pt x="2582" y="996"/>
                  <a:pt x="2581" y="997"/>
                  <a:pt x="2581" y="997"/>
                </a:cubicBezTo>
                <a:lnTo>
                  <a:pt x="2585" y="991"/>
                </a:lnTo>
                <a:lnTo>
                  <a:pt x="2584" y="990"/>
                </a:lnTo>
                <a:cubicBezTo>
                  <a:pt x="2584" y="990"/>
                  <a:pt x="2582" y="992"/>
                  <a:pt x="2579" y="995"/>
                </a:cubicBezTo>
                <a:cubicBezTo>
                  <a:pt x="2577" y="997"/>
                  <a:pt x="2576" y="999"/>
                  <a:pt x="2576" y="999"/>
                </a:cubicBezTo>
                <a:lnTo>
                  <a:pt x="2579" y="998"/>
                </a:lnTo>
                <a:cubicBezTo>
                  <a:pt x="2580" y="998"/>
                  <a:pt x="2580" y="999"/>
                  <a:pt x="2580" y="1000"/>
                </a:cubicBezTo>
                <a:cubicBezTo>
                  <a:pt x="2580" y="1000"/>
                  <a:pt x="2579" y="1001"/>
                  <a:pt x="2579" y="1002"/>
                </a:cubicBezTo>
                <a:cubicBezTo>
                  <a:pt x="2578" y="1003"/>
                  <a:pt x="2577" y="1004"/>
                  <a:pt x="2576" y="1004"/>
                </a:cubicBezTo>
                <a:cubicBezTo>
                  <a:pt x="2575" y="1005"/>
                  <a:pt x="2574" y="1005"/>
                  <a:pt x="2574" y="1005"/>
                </a:cubicBezTo>
                <a:lnTo>
                  <a:pt x="2572" y="1005"/>
                </a:lnTo>
                <a:cubicBezTo>
                  <a:pt x="2571" y="1005"/>
                  <a:pt x="2571" y="1005"/>
                  <a:pt x="2570" y="1006"/>
                </a:cubicBezTo>
                <a:cubicBezTo>
                  <a:pt x="2569" y="1007"/>
                  <a:pt x="2569" y="1008"/>
                  <a:pt x="2569" y="1008"/>
                </a:cubicBezTo>
                <a:lnTo>
                  <a:pt x="2569" y="1009"/>
                </a:lnTo>
                <a:lnTo>
                  <a:pt x="2572" y="1007"/>
                </a:lnTo>
                <a:cubicBezTo>
                  <a:pt x="2572" y="1007"/>
                  <a:pt x="2572" y="1007"/>
                  <a:pt x="2572" y="1007"/>
                </a:cubicBezTo>
                <a:lnTo>
                  <a:pt x="2572" y="1009"/>
                </a:lnTo>
                <a:cubicBezTo>
                  <a:pt x="2571" y="1011"/>
                  <a:pt x="2571" y="1012"/>
                  <a:pt x="2569" y="1012"/>
                </a:cubicBezTo>
                <a:cubicBezTo>
                  <a:pt x="2568" y="1012"/>
                  <a:pt x="2567" y="1012"/>
                  <a:pt x="2566" y="1013"/>
                </a:cubicBezTo>
                <a:cubicBezTo>
                  <a:pt x="2564" y="1014"/>
                  <a:pt x="2564" y="1014"/>
                  <a:pt x="2564" y="1015"/>
                </a:cubicBezTo>
                <a:lnTo>
                  <a:pt x="2567" y="1014"/>
                </a:lnTo>
                <a:cubicBezTo>
                  <a:pt x="2567" y="1014"/>
                  <a:pt x="2568" y="1014"/>
                  <a:pt x="2568" y="1015"/>
                </a:cubicBezTo>
                <a:cubicBezTo>
                  <a:pt x="2568" y="1017"/>
                  <a:pt x="2567" y="1018"/>
                  <a:pt x="2565" y="1019"/>
                </a:cubicBezTo>
                <a:cubicBezTo>
                  <a:pt x="2564" y="1021"/>
                  <a:pt x="2562" y="1021"/>
                  <a:pt x="2561" y="1021"/>
                </a:cubicBezTo>
                <a:cubicBezTo>
                  <a:pt x="2561" y="1021"/>
                  <a:pt x="2560" y="1021"/>
                  <a:pt x="2560" y="1021"/>
                </a:cubicBezTo>
                <a:lnTo>
                  <a:pt x="2559" y="1020"/>
                </a:lnTo>
                <a:lnTo>
                  <a:pt x="2560" y="1022"/>
                </a:lnTo>
                <a:cubicBezTo>
                  <a:pt x="2560" y="1025"/>
                  <a:pt x="2558" y="1029"/>
                  <a:pt x="2555" y="1033"/>
                </a:cubicBezTo>
                <a:cubicBezTo>
                  <a:pt x="2544" y="1049"/>
                  <a:pt x="2536" y="1064"/>
                  <a:pt x="2529" y="1080"/>
                </a:cubicBezTo>
                <a:cubicBezTo>
                  <a:pt x="2523" y="1095"/>
                  <a:pt x="2520" y="1107"/>
                  <a:pt x="2519" y="1118"/>
                </a:cubicBezTo>
                <a:cubicBezTo>
                  <a:pt x="2519" y="1125"/>
                  <a:pt x="2520" y="1129"/>
                  <a:pt x="2520" y="1131"/>
                </a:cubicBezTo>
                <a:cubicBezTo>
                  <a:pt x="2520" y="1133"/>
                  <a:pt x="2522" y="1134"/>
                  <a:pt x="2524" y="1134"/>
                </a:cubicBezTo>
                <a:lnTo>
                  <a:pt x="2529" y="1134"/>
                </a:lnTo>
                <a:cubicBezTo>
                  <a:pt x="2530" y="1134"/>
                  <a:pt x="2531" y="1134"/>
                  <a:pt x="2531" y="1136"/>
                </a:cubicBezTo>
                <a:cubicBezTo>
                  <a:pt x="2532" y="1137"/>
                  <a:pt x="2532" y="1137"/>
                  <a:pt x="2533" y="1137"/>
                </a:cubicBezTo>
                <a:close/>
                <a:moveTo>
                  <a:pt x="2550" y="1152"/>
                </a:moveTo>
                <a:cubicBezTo>
                  <a:pt x="2553" y="1152"/>
                  <a:pt x="2557" y="1152"/>
                  <a:pt x="2561" y="1151"/>
                </a:cubicBezTo>
                <a:cubicBezTo>
                  <a:pt x="2564" y="1150"/>
                  <a:pt x="2567" y="1149"/>
                  <a:pt x="2567" y="1149"/>
                </a:cubicBezTo>
                <a:cubicBezTo>
                  <a:pt x="2567" y="1148"/>
                  <a:pt x="2568" y="1147"/>
                  <a:pt x="2569" y="1147"/>
                </a:cubicBezTo>
                <a:cubicBezTo>
                  <a:pt x="2569" y="1147"/>
                  <a:pt x="2570" y="1148"/>
                  <a:pt x="2570" y="1148"/>
                </a:cubicBezTo>
                <a:cubicBezTo>
                  <a:pt x="2571" y="1148"/>
                  <a:pt x="2571" y="1149"/>
                  <a:pt x="2572" y="1149"/>
                </a:cubicBezTo>
                <a:lnTo>
                  <a:pt x="2572" y="1148"/>
                </a:lnTo>
                <a:cubicBezTo>
                  <a:pt x="2572" y="1148"/>
                  <a:pt x="2571" y="1147"/>
                  <a:pt x="2570" y="1146"/>
                </a:cubicBezTo>
                <a:cubicBezTo>
                  <a:pt x="2569" y="1144"/>
                  <a:pt x="2569" y="1143"/>
                  <a:pt x="2569" y="1142"/>
                </a:cubicBezTo>
                <a:lnTo>
                  <a:pt x="2572" y="1143"/>
                </a:lnTo>
                <a:cubicBezTo>
                  <a:pt x="2574" y="1143"/>
                  <a:pt x="2576" y="1143"/>
                  <a:pt x="2578" y="1142"/>
                </a:cubicBezTo>
                <a:cubicBezTo>
                  <a:pt x="2582" y="1139"/>
                  <a:pt x="2585" y="1137"/>
                  <a:pt x="2585" y="1134"/>
                </a:cubicBezTo>
                <a:cubicBezTo>
                  <a:pt x="2586" y="1132"/>
                  <a:pt x="2588" y="1130"/>
                  <a:pt x="2591" y="1129"/>
                </a:cubicBezTo>
                <a:cubicBezTo>
                  <a:pt x="2594" y="1127"/>
                  <a:pt x="2595" y="1126"/>
                  <a:pt x="2596" y="1126"/>
                </a:cubicBezTo>
                <a:lnTo>
                  <a:pt x="2591" y="1130"/>
                </a:lnTo>
                <a:cubicBezTo>
                  <a:pt x="2588" y="1132"/>
                  <a:pt x="2587" y="1134"/>
                  <a:pt x="2587" y="1134"/>
                </a:cubicBezTo>
                <a:lnTo>
                  <a:pt x="2587" y="1135"/>
                </a:lnTo>
                <a:cubicBezTo>
                  <a:pt x="2590" y="1135"/>
                  <a:pt x="2599" y="1128"/>
                  <a:pt x="2614" y="1113"/>
                </a:cubicBezTo>
                <a:cubicBezTo>
                  <a:pt x="2629" y="1099"/>
                  <a:pt x="2638" y="1090"/>
                  <a:pt x="2638" y="1087"/>
                </a:cubicBezTo>
                <a:cubicBezTo>
                  <a:pt x="2637" y="1087"/>
                  <a:pt x="2632" y="1092"/>
                  <a:pt x="2623" y="1100"/>
                </a:cubicBezTo>
                <a:cubicBezTo>
                  <a:pt x="2617" y="1107"/>
                  <a:pt x="2614" y="1110"/>
                  <a:pt x="2613" y="1110"/>
                </a:cubicBezTo>
                <a:lnTo>
                  <a:pt x="2614" y="1109"/>
                </a:lnTo>
                <a:cubicBezTo>
                  <a:pt x="2616" y="1105"/>
                  <a:pt x="2621" y="1100"/>
                  <a:pt x="2629" y="1093"/>
                </a:cubicBezTo>
                <a:cubicBezTo>
                  <a:pt x="2634" y="1087"/>
                  <a:pt x="2638" y="1081"/>
                  <a:pt x="2643" y="1075"/>
                </a:cubicBezTo>
                <a:cubicBezTo>
                  <a:pt x="2646" y="1071"/>
                  <a:pt x="2647" y="1070"/>
                  <a:pt x="2648" y="1070"/>
                </a:cubicBezTo>
                <a:cubicBezTo>
                  <a:pt x="2648" y="1070"/>
                  <a:pt x="2648" y="1070"/>
                  <a:pt x="2648" y="1070"/>
                </a:cubicBezTo>
                <a:lnTo>
                  <a:pt x="2648" y="1071"/>
                </a:lnTo>
                <a:cubicBezTo>
                  <a:pt x="2648" y="1072"/>
                  <a:pt x="2649" y="1072"/>
                  <a:pt x="2649" y="1072"/>
                </a:cubicBezTo>
                <a:lnTo>
                  <a:pt x="2650" y="1072"/>
                </a:lnTo>
                <a:cubicBezTo>
                  <a:pt x="2651" y="1071"/>
                  <a:pt x="2652" y="1070"/>
                  <a:pt x="2652" y="1069"/>
                </a:cubicBezTo>
                <a:cubicBezTo>
                  <a:pt x="2652" y="1068"/>
                  <a:pt x="2651" y="1067"/>
                  <a:pt x="2651" y="1066"/>
                </a:cubicBezTo>
                <a:cubicBezTo>
                  <a:pt x="2650" y="1064"/>
                  <a:pt x="2649" y="1063"/>
                  <a:pt x="2648" y="1063"/>
                </a:cubicBezTo>
                <a:cubicBezTo>
                  <a:pt x="2647" y="1063"/>
                  <a:pt x="2645" y="1066"/>
                  <a:pt x="2643" y="1071"/>
                </a:cubicBezTo>
                <a:cubicBezTo>
                  <a:pt x="2636" y="1082"/>
                  <a:pt x="2624" y="1095"/>
                  <a:pt x="2607" y="1108"/>
                </a:cubicBezTo>
                <a:cubicBezTo>
                  <a:pt x="2590" y="1122"/>
                  <a:pt x="2572" y="1133"/>
                  <a:pt x="2554" y="1142"/>
                </a:cubicBezTo>
                <a:cubicBezTo>
                  <a:pt x="2544" y="1146"/>
                  <a:pt x="2539" y="1149"/>
                  <a:pt x="2539" y="1151"/>
                </a:cubicBezTo>
                <a:cubicBezTo>
                  <a:pt x="2539" y="1152"/>
                  <a:pt x="2543" y="1152"/>
                  <a:pt x="2550" y="1152"/>
                </a:cubicBezTo>
                <a:close/>
                <a:moveTo>
                  <a:pt x="2654" y="1066"/>
                </a:moveTo>
                <a:cubicBezTo>
                  <a:pt x="2655" y="1066"/>
                  <a:pt x="2655" y="1066"/>
                  <a:pt x="2655" y="1065"/>
                </a:cubicBezTo>
                <a:lnTo>
                  <a:pt x="2654" y="1062"/>
                </a:lnTo>
                <a:cubicBezTo>
                  <a:pt x="2654" y="1060"/>
                  <a:pt x="2655" y="1060"/>
                  <a:pt x="2657" y="1059"/>
                </a:cubicBezTo>
                <a:cubicBezTo>
                  <a:pt x="2659" y="1059"/>
                  <a:pt x="2663" y="1054"/>
                  <a:pt x="2669" y="1044"/>
                </a:cubicBezTo>
                <a:cubicBezTo>
                  <a:pt x="2675" y="1034"/>
                  <a:pt x="2679" y="1029"/>
                  <a:pt x="2680" y="1029"/>
                </a:cubicBezTo>
                <a:lnTo>
                  <a:pt x="2681" y="1029"/>
                </a:lnTo>
                <a:lnTo>
                  <a:pt x="2681" y="1026"/>
                </a:lnTo>
                <a:cubicBezTo>
                  <a:pt x="2681" y="1023"/>
                  <a:pt x="2682" y="1021"/>
                  <a:pt x="2685" y="1019"/>
                </a:cubicBezTo>
                <a:cubicBezTo>
                  <a:pt x="2687" y="1016"/>
                  <a:pt x="2688" y="1014"/>
                  <a:pt x="2688" y="1012"/>
                </a:cubicBezTo>
                <a:lnTo>
                  <a:pt x="2688" y="1009"/>
                </a:lnTo>
                <a:lnTo>
                  <a:pt x="2688" y="1009"/>
                </a:lnTo>
                <a:lnTo>
                  <a:pt x="2692" y="1011"/>
                </a:lnTo>
                <a:lnTo>
                  <a:pt x="2691" y="1009"/>
                </a:lnTo>
                <a:cubicBezTo>
                  <a:pt x="2691" y="1008"/>
                  <a:pt x="2692" y="1007"/>
                  <a:pt x="2693" y="1006"/>
                </a:cubicBezTo>
                <a:cubicBezTo>
                  <a:pt x="2694" y="1004"/>
                  <a:pt x="2695" y="1004"/>
                  <a:pt x="2696" y="1004"/>
                </a:cubicBezTo>
                <a:cubicBezTo>
                  <a:pt x="2696" y="1004"/>
                  <a:pt x="2698" y="1005"/>
                  <a:pt x="2699" y="1006"/>
                </a:cubicBezTo>
                <a:cubicBezTo>
                  <a:pt x="2700" y="1008"/>
                  <a:pt x="2700" y="1009"/>
                  <a:pt x="2700" y="1009"/>
                </a:cubicBezTo>
                <a:lnTo>
                  <a:pt x="2700" y="1003"/>
                </a:lnTo>
                <a:cubicBezTo>
                  <a:pt x="2700" y="1003"/>
                  <a:pt x="2700" y="1002"/>
                  <a:pt x="2700" y="1002"/>
                </a:cubicBezTo>
                <a:lnTo>
                  <a:pt x="2702" y="1003"/>
                </a:lnTo>
                <a:cubicBezTo>
                  <a:pt x="2703" y="1003"/>
                  <a:pt x="2703" y="1003"/>
                  <a:pt x="2703" y="1002"/>
                </a:cubicBezTo>
                <a:lnTo>
                  <a:pt x="2702" y="998"/>
                </a:lnTo>
                <a:cubicBezTo>
                  <a:pt x="2702" y="998"/>
                  <a:pt x="2702" y="998"/>
                  <a:pt x="2702" y="998"/>
                </a:cubicBezTo>
                <a:lnTo>
                  <a:pt x="2705" y="999"/>
                </a:lnTo>
                <a:cubicBezTo>
                  <a:pt x="2705" y="999"/>
                  <a:pt x="2705" y="999"/>
                  <a:pt x="2705" y="998"/>
                </a:cubicBezTo>
                <a:cubicBezTo>
                  <a:pt x="2705" y="998"/>
                  <a:pt x="2705" y="997"/>
                  <a:pt x="2705" y="996"/>
                </a:cubicBezTo>
                <a:cubicBezTo>
                  <a:pt x="2705" y="995"/>
                  <a:pt x="2705" y="994"/>
                  <a:pt x="2704" y="994"/>
                </a:cubicBezTo>
                <a:cubicBezTo>
                  <a:pt x="2703" y="994"/>
                  <a:pt x="2702" y="995"/>
                  <a:pt x="2701" y="997"/>
                </a:cubicBezTo>
                <a:cubicBezTo>
                  <a:pt x="2699" y="999"/>
                  <a:pt x="2698" y="1000"/>
                  <a:pt x="2698" y="1000"/>
                </a:cubicBezTo>
                <a:lnTo>
                  <a:pt x="2699" y="995"/>
                </a:lnTo>
                <a:cubicBezTo>
                  <a:pt x="2700" y="992"/>
                  <a:pt x="2702" y="990"/>
                  <a:pt x="2704" y="990"/>
                </a:cubicBezTo>
                <a:cubicBezTo>
                  <a:pt x="2705" y="990"/>
                  <a:pt x="2707" y="989"/>
                  <a:pt x="2708" y="986"/>
                </a:cubicBezTo>
                <a:cubicBezTo>
                  <a:pt x="2709" y="984"/>
                  <a:pt x="2710" y="982"/>
                  <a:pt x="2711" y="982"/>
                </a:cubicBezTo>
                <a:lnTo>
                  <a:pt x="2712" y="983"/>
                </a:lnTo>
                <a:cubicBezTo>
                  <a:pt x="2713" y="983"/>
                  <a:pt x="2713" y="982"/>
                  <a:pt x="2713" y="981"/>
                </a:cubicBezTo>
                <a:lnTo>
                  <a:pt x="2712" y="978"/>
                </a:lnTo>
                <a:cubicBezTo>
                  <a:pt x="2712" y="978"/>
                  <a:pt x="2713" y="977"/>
                  <a:pt x="2713" y="977"/>
                </a:cubicBezTo>
                <a:lnTo>
                  <a:pt x="2715" y="978"/>
                </a:lnTo>
                <a:cubicBezTo>
                  <a:pt x="2716" y="978"/>
                  <a:pt x="2716" y="978"/>
                  <a:pt x="2716" y="977"/>
                </a:cubicBezTo>
                <a:lnTo>
                  <a:pt x="2715" y="973"/>
                </a:lnTo>
                <a:cubicBezTo>
                  <a:pt x="2715" y="973"/>
                  <a:pt x="2715" y="973"/>
                  <a:pt x="2715" y="973"/>
                </a:cubicBezTo>
                <a:lnTo>
                  <a:pt x="2718" y="974"/>
                </a:lnTo>
                <a:cubicBezTo>
                  <a:pt x="2718" y="974"/>
                  <a:pt x="2719" y="974"/>
                  <a:pt x="2719" y="974"/>
                </a:cubicBezTo>
                <a:lnTo>
                  <a:pt x="2718" y="973"/>
                </a:lnTo>
                <a:cubicBezTo>
                  <a:pt x="2718" y="972"/>
                  <a:pt x="2718" y="971"/>
                  <a:pt x="2718" y="970"/>
                </a:cubicBezTo>
                <a:cubicBezTo>
                  <a:pt x="2718" y="968"/>
                  <a:pt x="2718" y="966"/>
                  <a:pt x="2719" y="965"/>
                </a:cubicBezTo>
                <a:cubicBezTo>
                  <a:pt x="2720" y="963"/>
                  <a:pt x="2721" y="962"/>
                  <a:pt x="2722" y="962"/>
                </a:cubicBezTo>
                <a:lnTo>
                  <a:pt x="2724" y="963"/>
                </a:lnTo>
                <a:lnTo>
                  <a:pt x="2724" y="962"/>
                </a:lnTo>
                <a:lnTo>
                  <a:pt x="2723" y="957"/>
                </a:lnTo>
                <a:cubicBezTo>
                  <a:pt x="2723" y="955"/>
                  <a:pt x="2724" y="954"/>
                  <a:pt x="2725" y="953"/>
                </a:cubicBezTo>
                <a:cubicBezTo>
                  <a:pt x="2726" y="951"/>
                  <a:pt x="2726" y="951"/>
                  <a:pt x="2727" y="951"/>
                </a:cubicBezTo>
                <a:lnTo>
                  <a:pt x="2729" y="951"/>
                </a:lnTo>
                <a:cubicBezTo>
                  <a:pt x="2729" y="951"/>
                  <a:pt x="2729" y="951"/>
                  <a:pt x="2729" y="950"/>
                </a:cubicBezTo>
                <a:lnTo>
                  <a:pt x="2729" y="945"/>
                </a:lnTo>
                <a:cubicBezTo>
                  <a:pt x="2729" y="944"/>
                  <a:pt x="2729" y="943"/>
                  <a:pt x="2729" y="943"/>
                </a:cubicBezTo>
                <a:lnTo>
                  <a:pt x="2730" y="943"/>
                </a:lnTo>
                <a:cubicBezTo>
                  <a:pt x="2731" y="943"/>
                  <a:pt x="2731" y="943"/>
                  <a:pt x="2731" y="942"/>
                </a:cubicBezTo>
                <a:lnTo>
                  <a:pt x="2731" y="938"/>
                </a:lnTo>
                <a:cubicBezTo>
                  <a:pt x="2731" y="936"/>
                  <a:pt x="2731" y="936"/>
                  <a:pt x="2731" y="936"/>
                </a:cubicBezTo>
                <a:lnTo>
                  <a:pt x="2733" y="937"/>
                </a:lnTo>
                <a:cubicBezTo>
                  <a:pt x="2734" y="937"/>
                  <a:pt x="2734" y="936"/>
                  <a:pt x="2734" y="936"/>
                </a:cubicBezTo>
                <a:lnTo>
                  <a:pt x="2734" y="933"/>
                </a:lnTo>
                <a:cubicBezTo>
                  <a:pt x="2734" y="931"/>
                  <a:pt x="2735" y="931"/>
                  <a:pt x="2736" y="931"/>
                </a:cubicBezTo>
                <a:cubicBezTo>
                  <a:pt x="2737" y="931"/>
                  <a:pt x="2737" y="930"/>
                  <a:pt x="2737" y="930"/>
                </a:cubicBezTo>
                <a:lnTo>
                  <a:pt x="2737" y="928"/>
                </a:lnTo>
                <a:cubicBezTo>
                  <a:pt x="2737" y="927"/>
                  <a:pt x="2737" y="926"/>
                  <a:pt x="2738" y="926"/>
                </a:cubicBezTo>
                <a:cubicBezTo>
                  <a:pt x="2739" y="926"/>
                  <a:pt x="2739" y="926"/>
                  <a:pt x="2739" y="924"/>
                </a:cubicBezTo>
                <a:lnTo>
                  <a:pt x="2739" y="921"/>
                </a:lnTo>
                <a:cubicBezTo>
                  <a:pt x="2739" y="921"/>
                  <a:pt x="2740" y="920"/>
                  <a:pt x="2741" y="920"/>
                </a:cubicBezTo>
                <a:cubicBezTo>
                  <a:pt x="2742" y="920"/>
                  <a:pt x="2742" y="919"/>
                  <a:pt x="2742" y="918"/>
                </a:cubicBezTo>
                <a:lnTo>
                  <a:pt x="2742" y="914"/>
                </a:lnTo>
                <a:cubicBezTo>
                  <a:pt x="2742" y="913"/>
                  <a:pt x="2743" y="912"/>
                  <a:pt x="2744" y="912"/>
                </a:cubicBezTo>
                <a:cubicBezTo>
                  <a:pt x="2745" y="912"/>
                  <a:pt x="2745" y="911"/>
                  <a:pt x="2745" y="910"/>
                </a:cubicBezTo>
                <a:lnTo>
                  <a:pt x="2745" y="907"/>
                </a:lnTo>
                <a:cubicBezTo>
                  <a:pt x="2745" y="906"/>
                  <a:pt x="2745" y="905"/>
                  <a:pt x="2746" y="905"/>
                </a:cubicBezTo>
                <a:cubicBezTo>
                  <a:pt x="2747" y="905"/>
                  <a:pt x="2747" y="905"/>
                  <a:pt x="2747" y="903"/>
                </a:cubicBezTo>
                <a:lnTo>
                  <a:pt x="2747" y="902"/>
                </a:lnTo>
                <a:cubicBezTo>
                  <a:pt x="2747" y="900"/>
                  <a:pt x="2748" y="899"/>
                  <a:pt x="2749" y="899"/>
                </a:cubicBezTo>
                <a:cubicBezTo>
                  <a:pt x="2750" y="899"/>
                  <a:pt x="2750" y="898"/>
                  <a:pt x="2751" y="897"/>
                </a:cubicBezTo>
                <a:lnTo>
                  <a:pt x="2750" y="896"/>
                </a:lnTo>
                <a:cubicBezTo>
                  <a:pt x="2750" y="895"/>
                  <a:pt x="2751" y="894"/>
                  <a:pt x="2752" y="894"/>
                </a:cubicBezTo>
                <a:cubicBezTo>
                  <a:pt x="2753" y="894"/>
                  <a:pt x="2754" y="893"/>
                  <a:pt x="2754" y="892"/>
                </a:cubicBezTo>
                <a:lnTo>
                  <a:pt x="2754" y="889"/>
                </a:lnTo>
                <a:cubicBezTo>
                  <a:pt x="2754" y="888"/>
                  <a:pt x="2754" y="887"/>
                  <a:pt x="2755" y="887"/>
                </a:cubicBezTo>
                <a:cubicBezTo>
                  <a:pt x="2756" y="887"/>
                  <a:pt x="2756" y="887"/>
                  <a:pt x="2756" y="885"/>
                </a:cubicBezTo>
                <a:lnTo>
                  <a:pt x="2756" y="883"/>
                </a:lnTo>
                <a:cubicBezTo>
                  <a:pt x="2756" y="881"/>
                  <a:pt x="2757" y="880"/>
                  <a:pt x="2758" y="880"/>
                </a:cubicBezTo>
                <a:cubicBezTo>
                  <a:pt x="2759" y="879"/>
                  <a:pt x="2762" y="873"/>
                  <a:pt x="2766" y="860"/>
                </a:cubicBezTo>
                <a:cubicBezTo>
                  <a:pt x="2770" y="851"/>
                  <a:pt x="2771" y="846"/>
                  <a:pt x="2771" y="844"/>
                </a:cubicBezTo>
                <a:lnTo>
                  <a:pt x="2771" y="844"/>
                </a:lnTo>
                <a:cubicBezTo>
                  <a:pt x="2771" y="844"/>
                  <a:pt x="2770" y="844"/>
                  <a:pt x="2770" y="845"/>
                </a:cubicBezTo>
                <a:cubicBezTo>
                  <a:pt x="2769" y="846"/>
                  <a:pt x="2768" y="847"/>
                  <a:pt x="2767" y="848"/>
                </a:cubicBezTo>
                <a:cubicBezTo>
                  <a:pt x="2767" y="848"/>
                  <a:pt x="2766" y="849"/>
                  <a:pt x="2765" y="849"/>
                </a:cubicBezTo>
                <a:lnTo>
                  <a:pt x="2763" y="848"/>
                </a:lnTo>
                <a:cubicBezTo>
                  <a:pt x="2762" y="848"/>
                  <a:pt x="2761" y="849"/>
                  <a:pt x="2761" y="850"/>
                </a:cubicBezTo>
                <a:lnTo>
                  <a:pt x="2761" y="852"/>
                </a:lnTo>
                <a:cubicBezTo>
                  <a:pt x="2761" y="853"/>
                  <a:pt x="2760" y="853"/>
                  <a:pt x="2759" y="853"/>
                </a:cubicBezTo>
                <a:cubicBezTo>
                  <a:pt x="2758" y="853"/>
                  <a:pt x="2758" y="854"/>
                  <a:pt x="2757" y="855"/>
                </a:cubicBezTo>
                <a:cubicBezTo>
                  <a:pt x="2757" y="856"/>
                  <a:pt x="2758" y="857"/>
                  <a:pt x="2758" y="857"/>
                </a:cubicBezTo>
                <a:lnTo>
                  <a:pt x="2761" y="856"/>
                </a:lnTo>
                <a:lnTo>
                  <a:pt x="2759" y="858"/>
                </a:lnTo>
                <a:cubicBezTo>
                  <a:pt x="2756" y="860"/>
                  <a:pt x="2752" y="868"/>
                  <a:pt x="2747" y="881"/>
                </a:cubicBezTo>
                <a:cubicBezTo>
                  <a:pt x="2729" y="923"/>
                  <a:pt x="2718" y="948"/>
                  <a:pt x="2715" y="955"/>
                </a:cubicBezTo>
                <a:cubicBezTo>
                  <a:pt x="2711" y="962"/>
                  <a:pt x="2709" y="965"/>
                  <a:pt x="2709" y="966"/>
                </a:cubicBezTo>
                <a:cubicBezTo>
                  <a:pt x="2709" y="966"/>
                  <a:pt x="2708" y="968"/>
                  <a:pt x="2707" y="971"/>
                </a:cubicBezTo>
                <a:cubicBezTo>
                  <a:pt x="2705" y="973"/>
                  <a:pt x="2704" y="976"/>
                  <a:pt x="2702" y="980"/>
                </a:cubicBezTo>
                <a:cubicBezTo>
                  <a:pt x="2698" y="988"/>
                  <a:pt x="2696" y="993"/>
                  <a:pt x="2696" y="995"/>
                </a:cubicBezTo>
                <a:cubicBezTo>
                  <a:pt x="2696" y="997"/>
                  <a:pt x="2695" y="997"/>
                  <a:pt x="2694" y="997"/>
                </a:cubicBezTo>
                <a:cubicBezTo>
                  <a:pt x="2692" y="997"/>
                  <a:pt x="2688" y="1004"/>
                  <a:pt x="2682" y="1017"/>
                </a:cubicBezTo>
                <a:cubicBezTo>
                  <a:pt x="2676" y="1029"/>
                  <a:pt x="2671" y="1035"/>
                  <a:pt x="2669" y="1035"/>
                </a:cubicBezTo>
                <a:lnTo>
                  <a:pt x="2668" y="1035"/>
                </a:lnTo>
                <a:cubicBezTo>
                  <a:pt x="2667" y="1035"/>
                  <a:pt x="2666" y="1036"/>
                  <a:pt x="2666" y="1036"/>
                </a:cubicBezTo>
                <a:cubicBezTo>
                  <a:pt x="2666" y="1038"/>
                  <a:pt x="2666" y="1038"/>
                  <a:pt x="2668" y="1039"/>
                </a:cubicBezTo>
                <a:cubicBezTo>
                  <a:pt x="2669" y="1039"/>
                  <a:pt x="2669" y="1039"/>
                  <a:pt x="2669" y="1039"/>
                </a:cubicBezTo>
                <a:cubicBezTo>
                  <a:pt x="2669" y="1040"/>
                  <a:pt x="2669" y="1041"/>
                  <a:pt x="2667" y="1042"/>
                </a:cubicBezTo>
                <a:cubicBezTo>
                  <a:pt x="2665" y="1046"/>
                  <a:pt x="2663" y="1049"/>
                  <a:pt x="2662" y="1052"/>
                </a:cubicBezTo>
                <a:cubicBezTo>
                  <a:pt x="2660" y="1055"/>
                  <a:pt x="2659" y="1056"/>
                  <a:pt x="2658" y="1056"/>
                </a:cubicBezTo>
                <a:lnTo>
                  <a:pt x="2655" y="1056"/>
                </a:lnTo>
                <a:cubicBezTo>
                  <a:pt x="2653" y="1056"/>
                  <a:pt x="2652" y="1057"/>
                  <a:pt x="2652" y="1060"/>
                </a:cubicBezTo>
                <a:cubicBezTo>
                  <a:pt x="2652" y="1061"/>
                  <a:pt x="2652" y="1063"/>
                  <a:pt x="2653" y="1064"/>
                </a:cubicBezTo>
                <a:cubicBezTo>
                  <a:pt x="2653" y="1066"/>
                  <a:pt x="2654" y="1066"/>
                  <a:pt x="2654" y="1066"/>
                </a:cubicBezTo>
                <a:close/>
                <a:moveTo>
                  <a:pt x="2765" y="841"/>
                </a:moveTo>
                <a:lnTo>
                  <a:pt x="2770" y="839"/>
                </a:lnTo>
                <a:cubicBezTo>
                  <a:pt x="2774" y="837"/>
                  <a:pt x="2776" y="836"/>
                  <a:pt x="2776" y="835"/>
                </a:cubicBezTo>
                <a:lnTo>
                  <a:pt x="2776" y="834"/>
                </a:lnTo>
                <a:cubicBezTo>
                  <a:pt x="2776" y="834"/>
                  <a:pt x="2776" y="834"/>
                  <a:pt x="2776" y="834"/>
                </a:cubicBezTo>
                <a:cubicBezTo>
                  <a:pt x="2775" y="834"/>
                  <a:pt x="2773" y="835"/>
                  <a:pt x="2771" y="836"/>
                </a:cubicBezTo>
                <a:cubicBezTo>
                  <a:pt x="2767" y="838"/>
                  <a:pt x="2765" y="840"/>
                  <a:pt x="2765" y="841"/>
                </a:cubicBezTo>
                <a:close/>
                <a:moveTo>
                  <a:pt x="2780" y="811"/>
                </a:moveTo>
                <a:cubicBezTo>
                  <a:pt x="2781" y="811"/>
                  <a:pt x="2782" y="811"/>
                  <a:pt x="2783" y="810"/>
                </a:cubicBezTo>
                <a:cubicBezTo>
                  <a:pt x="2785" y="809"/>
                  <a:pt x="2787" y="804"/>
                  <a:pt x="2790" y="796"/>
                </a:cubicBezTo>
                <a:cubicBezTo>
                  <a:pt x="2804" y="755"/>
                  <a:pt x="2813" y="729"/>
                  <a:pt x="2815" y="718"/>
                </a:cubicBezTo>
                <a:cubicBezTo>
                  <a:pt x="2817" y="710"/>
                  <a:pt x="2818" y="705"/>
                  <a:pt x="2819" y="705"/>
                </a:cubicBezTo>
                <a:cubicBezTo>
                  <a:pt x="2820" y="705"/>
                  <a:pt x="2821" y="704"/>
                  <a:pt x="2821" y="703"/>
                </a:cubicBezTo>
                <a:lnTo>
                  <a:pt x="2821" y="701"/>
                </a:lnTo>
                <a:cubicBezTo>
                  <a:pt x="2821" y="699"/>
                  <a:pt x="2823" y="691"/>
                  <a:pt x="2826" y="677"/>
                </a:cubicBezTo>
                <a:cubicBezTo>
                  <a:pt x="2832" y="653"/>
                  <a:pt x="2838" y="628"/>
                  <a:pt x="2842" y="601"/>
                </a:cubicBezTo>
                <a:cubicBezTo>
                  <a:pt x="2846" y="575"/>
                  <a:pt x="2849" y="555"/>
                  <a:pt x="2849" y="542"/>
                </a:cubicBezTo>
                <a:cubicBezTo>
                  <a:pt x="2849" y="536"/>
                  <a:pt x="2848" y="534"/>
                  <a:pt x="2848" y="534"/>
                </a:cubicBezTo>
                <a:cubicBezTo>
                  <a:pt x="2848" y="534"/>
                  <a:pt x="2847" y="538"/>
                  <a:pt x="2846" y="547"/>
                </a:cubicBezTo>
                <a:cubicBezTo>
                  <a:pt x="2843" y="573"/>
                  <a:pt x="2840" y="592"/>
                  <a:pt x="2838" y="603"/>
                </a:cubicBezTo>
                <a:lnTo>
                  <a:pt x="2837" y="611"/>
                </a:lnTo>
                <a:cubicBezTo>
                  <a:pt x="2834" y="621"/>
                  <a:pt x="2832" y="628"/>
                  <a:pt x="2831" y="632"/>
                </a:cubicBezTo>
                <a:cubicBezTo>
                  <a:pt x="2827" y="654"/>
                  <a:pt x="2823" y="668"/>
                  <a:pt x="2820" y="671"/>
                </a:cubicBezTo>
                <a:lnTo>
                  <a:pt x="2817" y="680"/>
                </a:lnTo>
                <a:cubicBezTo>
                  <a:pt x="2814" y="691"/>
                  <a:pt x="2812" y="698"/>
                  <a:pt x="2812" y="701"/>
                </a:cubicBezTo>
                <a:cubicBezTo>
                  <a:pt x="2812" y="703"/>
                  <a:pt x="2812" y="703"/>
                  <a:pt x="2811" y="703"/>
                </a:cubicBezTo>
                <a:cubicBezTo>
                  <a:pt x="2810" y="704"/>
                  <a:pt x="2809" y="706"/>
                  <a:pt x="2809" y="710"/>
                </a:cubicBezTo>
                <a:cubicBezTo>
                  <a:pt x="2809" y="713"/>
                  <a:pt x="2808" y="716"/>
                  <a:pt x="2807" y="716"/>
                </a:cubicBezTo>
                <a:cubicBezTo>
                  <a:pt x="2805" y="717"/>
                  <a:pt x="2804" y="719"/>
                  <a:pt x="2804" y="722"/>
                </a:cubicBezTo>
                <a:lnTo>
                  <a:pt x="2804" y="723"/>
                </a:lnTo>
                <a:cubicBezTo>
                  <a:pt x="2804" y="727"/>
                  <a:pt x="2803" y="729"/>
                  <a:pt x="2802" y="729"/>
                </a:cubicBezTo>
                <a:cubicBezTo>
                  <a:pt x="2802" y="729"/>
                  <a:pt x="2801" y="731"/>
                  <a:pt x="2801" y="735"/>
                </a:cubicBezTo>
                <a:cubicBezTo>
                  <a:pt x="2800" y="739"/>
                  <a:pt x="2799" y="741"/>
                  <a:pt x="2798" y="742"/>
                </a:cubicBezTo>
                <a:cubicBezTo>
                  <a:pt x="2796" y="744"/>
                  <a:pt x="2795" y="745"/>
                  <a:pt x="2795" y="746"/>
                </a:cubicBezTo>
                <a:lnTo>
                  <a:pt x="2795" y="747"/>
                </a:lnTo>
                <a:cubicBezTo>
                  <a:pt x="2795" y="749"/>
                  <a:pt x="2795" y="751"/>
                  <a:pt x="2794" y="754"/>
                </a:cubicBezTo>
                <a:cubicBezTo>
                  <a:pt x="2793" y="758"/>
                  <a:pt x="2792" y="761"/>
                  <a:pt x="2791" y="764"/>
                </a:cubicBezTo>
                <a:cubicBezTo>
                  <a:pt x="2790" y="767"/>
                  <a:pt x="2788" y="769"/>
                  <a:pt x="2788" y="770"/>
                </a:cubicBezTo>
                <a:cubicBezTo>
                  <a:pt x="2787" y="772"/>
                  <a:pt x="2786" y="772"/>
                  <a:pt x="2786" y="772"/>
                </a:cubicBezTo>
                <a:lnTo>
                  <a:pt x="2786" y="773"/>
                </a:lnTo>
                <a:cubicBezTo>
                  <a:pt x="2786" y="776"/>
                  <a:pt x="2785" y="782"/>
                  <a:pt x="2781" y="791"/>
                </a:cubicBezTo>
                <a:cubicBezTo>
                  <a:pt x="2778" y="801"/>
                  <a:pt x="2776" y="807"/>
                  <a:pt x="2776" y="809"/>
                </a:cubicBezTo>
                <a:cubicBezTo>
                  <a:pt x="2776" y="811"/>
                  <a:pt x="2777" y="811"/>
                  <a:pt x="2780" y="811"/>
                </a:cubicBezTo>
                <a:close/>
                <a:moveTo>
                  <a:pt x="3135" y="633"/>
                </a:moveTo>
                <a:lnTo>
                  <a:pt x="3135" y="609"/>
                </a:lnTo>
                <a:cubicBezTo>
                  <a:pt x="3135" y="609"/>
                  <a:pt x="3136" y="613"/>
                  <a:pt x="3136" y="621"/>
                </a:cubicBezTo>
                <a:lnTo>
                  <a:pt x="3135" y="631"/>
                </a:lnTo>
                <a:cubicBezTo>
                  <a:pt x="3135" y="632"/>
                  <a:pt x="3135" y="633"/>
                  <a:pt x="3135" y="633"/>
                </a:cubicBezTo>
                <a:close/>
                <a:moveTo>
                  <a:pt x="3144" y="676"/>
                </a:moveTo>
                <a:cubicBezTo>
                  <a:pt x="3143" y="676"/>
                  <a:pt x="3142" y="675"/>
                  <a:pt x="3142" y="674"/>
                </a:cubicBezTo>
                <a:lnTo>
                  <a:pt x="3141" y="671"/>
                </a:lnTo>
                <a:cubicBezTo>
                  <a:pt x="3141" y="671"/>
                  <a:pt x="3141" y="670"/>
                  <a:pt x="3142" y="670"/>
                </a:cubicBezTo>
                <a:cubicBezTo>
                  <a:pt x="3142" y="670"/>
                  <a:pt x="3142" y="671"/>
                  <a:pt x="3143" y="671"/>
                </a:cubicBezTo>
                <a:cubicBezTo>
                  <a:pt x="3144" y="672"/>
                  <a:pt x="3144" y="674"/>
                  <a:pt x="3144" y="675"/>
                </a:cubicBezTo>
                <a:cubicBezTo>
                  <a:pt x="3144" y="676"/>
                  <a:pt x="3144" y="676"/>
                  <a:pt x="3144" y="676"/>
                </a:cubicBezTo>
                <a:close/>
                <a:moveTo>
                  <a:pt x="3137" y="654"/>
                </a:moveTo>
                <a:cubicBezTo>
                  <a:pt x="3137" y="654"/>
                  <a:pt x="3136" y="653"/>
                  <a:pt x="3136" y="651"/>
                </a:cubicBezTo>
                <a:cubicBezTo>
                  <a:pt x="3136" y="649"/>
                  <a:pt x="3137" y="648"/>
                  <a:pt x="3137" y="648"/>
                </a:cubicBezTo>
                <a:cubicBezTo>
                  <a:pt x="3138" y="648"/>
                  <a:pt x="3138" y="649"/>
                  <a:pt x="3138" y="651"/>
                </a:cubicBezTo>
                <a:lnTo>
                  <a:pt x="3138" y="654"/>
                </a:lnTo>
                <a:lnTo>
                  <a:pt x="3137" y="654"/>
                </a:lnTo>
                <a:close/>
                <a:moveTo>
                  <a:pt x="3252" y="485"/>
                </a:moveTo>
                <a:lnTo>
                  <a:pt x="3251" y="485"/>
                </a:lnTo>
                <a:cubicBezTo>
                  <a:pt x="3251" y="484"/>
                  <a:pt x="3253" y="483"/>
                  <a:pt x="3255" y="482"/>
                </a:cubicBezTo>
                <a:cubicBezTo>
                  <a:pt x="3257" y="480"/>
                  <a:pt x="3259" y="480"/>
                  <a:pt x="3259" y="480"/>
                </a:cubicBezTo>
                <a:lnTo>
                  <a:pt x="3260" y="480"/>
                </a:lnTo>
                <a:cubicBezTo>
                  <a:pt x="3260" y="481"/>
                  <a:pt x="3259" y="482"/>
                  <a:pt x="3256" y="483"/>
                </a:cubicBezTo>
                <a:cubicBezTo>
                  <a:pt x="3254" y="484"/>
                  <a:pt x="3253" y="485"/>
                  <a:pt x="3252" y="485"/>
                </a:cubicBezTo>
                <a:close/>
                <a:moveTo>
                  <a:pt x="3230" y="497"/>
                </a:moveTo>
                <a:lnTo>
                  <a:pt x="3230" y="497"/>
                </a:lnTo>
                <a:lnTo>
                  <a:pt x="3230" y="497"/>
                </a:lnTo>
                <a:cubicBezTo>
                  <a:pt x="3231" y="496"/>
                  <a:pt x="3233" y="495"/>
                  <a:pt x="3235" y="493"/>
                </a:cubicBezTo>
                <a:cubicBezTo>
                  <a:pt x="3238" y="492"/>
                  <a:pt x="3241" y="490"/>
                  <a:pt x="3244" y="489"/>
                </a:cubicBezTo>
                <a:cubicBezTo>
                  <a:pt x="3247" y="487"/>
                  <a:pt x="3248" y="487"/>
                  <a:pt x="3249" y="487"/>
                </a:cubicBezTo>
                <a:cubicBezTo>
                  <a:pt x="3249" y="487"/>
                  <a:pt x="3246" y="489"/>
                  <a:pt x="3241" y="492"/>
                </a:cubicBezTo>
                <a:cubicBezTo>
                  <a:pt x="3235" y="495"/>
                  <a:pt x="3232" y="497"/>
                  <a:pt x="3230" y="497"/>
                </a:cubicBezTo>
                <a:close/>
                <a:moveTo>
                  <a:pt x="3291" y="456"/>
                </a:moveTo>
                <a:cubicBezTo>
                  <a:pt x="3291" y="456"/>
                  <a:pt x="3292" y="454"/>
                  <a:pt x="3294" y="451"/>
                </a:cubicBezTo>
                <a:cubicBezTo>
                  <a:pt x="3297" y="448"/>
                  <a:pt x="3298" y="447"/>
                  <a:pt x="3299" y="447"/>
                </a:cubicBezTo>
                <a:cubicBezTo>
                  <a:pt x="3299" y="447"/>
                  <a:pt x="3298" y="449"/>
                  <a:pt x="3296" y="451"/>
                </a:cubicBezTo>
                <a:cubicBezTo>
                  <a:pt x="3293" y="455"/>
                  <a:pt x="3291" y="456"/>
                  <a:pt x="3291" y="456"/>
                </a:cubicBezTo>
                <a:close/>
                <a:moveTo>
                  <a:pt x="3306" y="442"/>
                </a:moveTo>
                <a:cubicBezTo>
                  <a:pt x="3306" y="441"/>
                  <a:pt x="3308" y="438"/>
                  <a:pt x="3312" y="433"/>
                </a:cubicBezTo>
                <a:cubicBezTo>
                  <a:pt x="3316" y="429"/>
                  <a:pt x="3319" y="426"/>
                  <a:pt x="3321" y="426"/>
                </a:cubicBezTo>
                <a:cubicBezTo>
                  <a:pt x="3321" y="426"/>
                  <a:pt x="3319" y="429"/>
                  <a:pt x="3315" y="434"/>
                </a:cubicBezTo>
                <a:lnTo>
                  <a:pt x="3306" y="442"/>
                </a:lnTo>
                <a:close/>
                <a:moveTo>
                  <a:pt x="3246" y="397"/>
                </a:moveTo>
                <a:lnTo>
                  <a:pt x="3246" y="393"/>
                </a:lnTo>
                <a:cubicBezTo>
                  <a:pt x="3248" y="391"/>
                  <a:pt x="3249" y="389"/>
                  <a:pt x="3249" y="389"/>
                </a:cubicBezTo>
                <a:cubicBezTo>
                  <a:pt x="3250" y="389"/>
                  <a:pt x="3250" y="390"/>
                  <a:pt x="3250" y="390"/>
                </a:cubicBezTo>
                <a:cubicBezTo>
                  <a:pt x="3250" y="391"/>
                  <a:pt x="3250" y="392"/>
                  <a:pt x="3249" y="393"/>
                </a:cubicBezTo>
                <a:cubicBezTo>
                  <a:pt x="3247" y="395"/>
                  <a:pt x="3246" y="397"/>
                  <a:pt x="3246" y="397"/>
                </a:cubicBezTo>
                <a:close/>
                <a:moveTo>
                  <a:pt x="3324" y="424"/>
                </a:moveTo>
                <a:lnTo>
                  <a:pt x="3323" y="423"/>
                </a:lnTo>
                <a:cubicBezTo>
                  <a:pt x="3323" y="423"/>
                  <a:pt x="3324" y="421"/>
                  <a:pt x="3327" y="419"/>
                </a:cubicBezTo>
                <a:cubicBezTo>
                  <a:pt x="3329" y="416"/>
                  <a:pt x="3331" y="415"/>
                  <a:pt x="3331" y="415"/>
                </a:cubicBezTo>
                <a:cubicBezTo>
                  <a:pt x="3331" y="415"/>
                  <a:pt x="3330" y="417"/>
                  <a:pt x="3328" y="419"/>
                </a:cubicBezTo>
                <a:cubicBezTo>
                  <a:pt x="3325" y="422"/>
                  <a:pt x="3324" y="424"/>
                  <a:pt x="3324" y="424"/>
                </a:cubicBezTo>
                <a:close/>
                <a:moveTo>
                  <a:pt x="3461" y="128"/>
                </a:moveTo>
                <a:cubicBezTo>
                  <a:pt x="3460" y="128"/>
                  <a:pt x="3459" y="127"/>
                  <a:pt x="3456" y="124"/>
                </a:cubicBezTo>
                <a:cubicBezTo>
                  <a:pt x="3452" y="120"/>
                  <a:pt x="3446" y="118"/>
                  <a:pt x="3438" y="118"/>
                </a:cubicBezTo>
                <a:cubicBezTo>
                  <a:pt x="3433" y="118"/>
                  <a:pt x="3428" y="119"/>
                  <a:pt x="3423" y="120"/>
                </a:cubicBezTo>
                <a:cubicBezTo>
                  <a:pt x="3417" y="122"/>
                  <a:pt x="3413" y="122"/>
                  <a:pt x="3411" y="122"/>
                </a:cubicBezTo>
                <a:lnTo>
                  <a:pt x="3410" y="122"/>
                </a:lnTo>
                <a:cubicBezTo>
                  <a:pt x="3410" y="122"/>
                  <a:pt x="3414" y="120"/>
                  <a:pt x="3420" y="118"/>
                </a:cubicBezTo>
                <a:cubicBezTo>
                  <a:pt x="3427" y="116"/>
                  <a:pt x="3433" y="115"/>
                  <a:pt x="3439" y="115"/>
                </a:cubicBezTo>
                <a:cubicBezTo>
                  <a:pt x="3450" y="115"/>
                  <a:pt x="3457" y="119"/>
                  <a:pt x="3460" y="125"/>
                </a:cubicBezTo>
                <a:lnTo>
                  <a:pt x="3462" y="127"/>
                </a:lnTo>
                <a:cubicBezTo>
                  <a:pt x="3462" y="128"/>
                  <a:pt x="3461" y="128"/>
                  <a:pt x="3461" y="128"/>
                </a:cubicBezTo>
                <a:close/>
                <a:moveTo>
                  <a:pt x="3416" y="360"/>
                </a:moveTo>
                <a:cubicBezTo>
                  <a:pt x="3415" y="360"/>
                  <a:pt x="3415" y="359"/>
                  <a:pt x="3415" y="359"/>
                </a:cubicBezTo>
                <a:lnTo>
                  <a:pt x="3415" y="357"/>
                </a:lnTo>
                <a:cubicBezTo>
                  <a:pt x="3417" y="356"/>
                  <a:pt x="3418" y="355"/>
                  <a:pt x="3419" y="355"/>
                </a:cubicBezTo>
                <a:cubicBezTo>
                  <a:pt x="3420" y="355"/>
                  <a:pt x="3420" y="355"/>
                  <a:pt x="3420" y="357"/>
                </a:cubicBezTo>
                <a:cubicBezTo>
                  <a:pt x="3420" y="357"/>
                  <a:pt x="3420" y="357"/>
                  <a:pt x="3419" y="358"/>
                </a:cubicBezTo>
                <a:cubicBezTo>
                  <a:pt x="3419" y="359"/>
                  <a:pt x="3418" y="360"/>
                  <a:pt x="3416" y="360"/>
                </a:cubicBezTo>
                <a:close/>
                <a:moveTo>
                  <a:pt x="3420" y="353"/>
                </a:moveTo>
                <a:cubicBezTo>
                  <a:pt x="3420" y="353"/>
                  <a:pt x="3419" y="353"/>
                  <a:pt x="3419" y="352"/>
                </a:cubicBezTo>
                <a:cubicBezTo>
                  <a:pt x="3419" y="352"/>
                  <a:pt x="3420" y="351"/>
                  <a:pt x="3420" y="350"/>
                </a:cubicBezTo>
                <a:cubicBezTo>
                  <a:pt x="3420" y="349"/>
                  <a:pt x="3422" y="348"/>
                  <a:pt x="3423" y="348"/>
                </a:cubicBezTo>
                <a:cubicBezTo>
                  <a:pt x="3424" y="348"/>
                  <a:pt x="3424" y="349"/>
                  <a:pt x="3424" y="350"/>
                </a:cubicBezTo>
                <a:lnTo>
                  <a:pt x="3424" y="350"/>
                </a:lnTo>
                <a:cubicBezTo>
                  <a:pt x="3423" y="352"/>
                  <a:pt x="3422" y="353"/>
                  <a:pt x="3420" y="353"/>
                </a:cubicBezTo>
                <a:close/>
                <a:moveTo>
                  <a:pt x="3279" y="772"/>
                </a:moveTo>
                <a:cubicBezTo>
                  <a:pt x="3265" y="772"/>
                  <a:pt x="3253" y="771"/>
                  <a:pt x="3243" y="767"/>
                </a:cubicBezTo>
                <a:cubicBezTo>
                  <a:pt x="3230" y="764"/>
                  <a:pt x="3223" y="762"/>
                  <a:pt x="3223" y="762"/>
                </a:cubicBezTo>
                <a:cubicBezTo>
                  <a:pt x="3223" y="762"/>
                  <a:pt x="3222" y="762"/>
                  <a:pt x="3222" y="762"/>
                </a:cubicBezTo>
                <a:cubicBezTo>
                  <a:pt x="3221" y="761"/>
                  <a:pt x="3221" y="761"/>
                  <a:pt x="3221" y="760"/>
                </a:cubicBezTo>
                <a:cubicBezTo>
                  <a:pt x="3221" y="759"/>
                  <a:pt x="3220" y="759"/>
                  <a:pt x="3218" y="759"/>
                </a:cubicBezTo>
                <a:cubicBezTo>
                  <a:pt x="3214" y="759"/>
                  <a:pt x="3209" y="756"/>
                  <a:pt x="3201" y="751"/>
                </a:cubicBezTo>
                <a:cubicBezTo>
                  <a:pt x="3193" y="746"/>
                  <a:pt x="3187" y="740"/>
                  <a:pt x="3181" y="734"/>
                </a:cubicBezTo>
                <a:cubicBezTo>
                  <a:pt x="3159" y="706"/>
                  <a:pt x="3149" y="677"/>
                  <a:pt x="3149" y="649"/>
                </a:cubicBezTo>
                <a:cubicBezTo>
                  <a:pt x="3149" y="637"/>
                  <a:pt x="3148" y="632"/>
                  <a:pt x="3147" y="631"/>
                </a:cubicBezTo>
                <a:lnTo>
                  <a:pt x="3147" y="631"/>
                </a:lnTo>
                <a:cubicBezTo>
                  <a:pt x="3147" y="631"/>
                  <a:pt x="3146" y="630"/>
                  <a:pt x="3146" y="627"/>
                </a:cubicBezTo>
                <a:cubicBezTo>
                  <a:pt x="3146" y="623"/>
                  <a:pt x="3147" y="615"/>
                  <a:pt x="3149" y="604"/>
                </a:cubicBezTo>
                <a:cubicBezTo>
                  <a:pt x="3150" y="593"/>
                  <a:pt x="3152" y="583"/>
                  <a:pt x="3154" y="573"/>
                </a:cubicBezTo>
                <a:cubicBezTo>
                  <a:pt x="3156" y="563"/>
                  <a:pt x="3158" y="556"/>
                  <a:pt x="3160" y="553"/>
                </a:cubicBezTo>
                <a:lnTo>
                  <a:pt x="3161" y="551"/>
                </a:lnTo>
                <a:cubicBezTo>
                  <a:pt x="3162" y="551"/>
                  <a:pt x="3162" y="551"/>
                  <a:pt x="3162" y="552"/>
                </a:cubicBezTo>
                <a:lnTo>
                  <a:pt x="3161" y="557"/>
                </a:lnTo>
                <a:cubicBezTo>
                  <a:pt x="3162" y="557"/>
                  <a:pt x="3162" y="555"/>
                  <a:pt x="3164" y="552"/>
                </a:cubicBezTo>
                <a:cubicBezTo>
                  <a:pt x="3170" y="532"/>
                  <a:pt x="3173" y="519"/>
                  <a:pt x="3173" y="513"/>
                </a:cubicBezTo>
                <a:cubicBezTo>
                  <a:pt x="3173" y="511"/>
                  <a:pt x="3173" y="509"/>
                  <a:pt x="3171" y="509"/>
                </a:cubicBezTo>
                <a:cubicBezTo>
                  <a:pt x="3171" y="509"/>
                  <a:pt x="3170" y="509"/>
                  <a:pt x="3169" y="510"/>
                </a:cubicBezTo>
                <a:cubicBezTo>
                  <a:pt x="3168" y="510"/>
                  <a:pt x="3167" y="508"/>
                  <a:pt x="3167" y="505"/>
                </a:cubicBezTo>
                <a:cubicBezTo>
                  <a:pt x="3167" y="504"/>
                  <a:pt x="3167" y="503"/>
                  <a:pt x="3168" y="503"/>
                </a:cubicBezTo>
                <a:cubicBezTo>
                  <a:pt x="3168" y="502"/>
                  <a:pt x="3169" y="502"/>
                  <a:pt x="3169" y="501"/>
                </a:cubicBezTo>
                <a:lnTo>
                  <a:pt x="3170" y="501"/>
                </a:lnTo>
                <a:cubicBezTo>
                  <a:pt x="3171" y="501"/>
                  <a:pt x="3171" y="500"/>
                  <a:pt x="3171" y="499"/>
                </a:cubicBezTo>
                <a:cubicBezTo>
                  <a:pt x="3171" y="498"/>
                  <a:pt x="3171" y="497"/>
                  <a:pt x="3171" y="497"/>
                </a:cubicBezTo>
                <a:cubicBezTo>
                  <a:pt x="3172" y="496"/>
                  <a:pt x="3172" y="495"/>
                  <a:pt x="3174" y="493"/>
                </a:cubicBezTo>
                <a:cubicBezTo>
                  <a:pt x="3174" y="493"/>
                  <a:pt x="3175" y="495"/>
                  <a:pt x="3175" y="498"/>
                </a:cubicBezTo>
                <a:cubicBezTo>
                  <a:pt x="3175" y="501"/>
                  <a:pt x="3176" y="503"/>
                  <a:pt x="3177" y="503"/>
                </a:cubicBezTo>
                <a:cubicBezTo>
                  <a:pt x="3178" y="503"/>
                  <a:pt x="3179" y="502"/>
                  <a:pt x="3181" y="500"/>
                </a:cubicBezTo>
                <a:lnTo>
                  <a:pt x="3181" y="498"/>
                </a:lnTo>
                <a:cubicBezTo>
                  <a:pt x="3181" y="496"/>
                  <a:pt x="3180" y="495"/>
                  <a:pt x="3178" y="493"/>
                </a:cubicBezTo>
                <a:cubicBezTo>
                  <a:pt x="3176" y="491"/>
                  <a:pt x="3175" y="490"/>
                  <a:pt x="3175" y="487"/>
                </a:cubicBezTo>
                <a:cubicBezTo>
                  <a:pt x="3175" y="487"/>
                  <a:pt x="3175" y="485"/>
                  <a:pt x="3176" y="485"/>
                </a:cubicBezTo>
                <a:cubicBezTo>
                  <a:pt x="3176" y="484"/>
                  <a:pt x="3177" y="483"/>
                  <a:pt x="3178" y="483"/>
                </a:cubicBezTo>
                <a:cubicBezTo>
                  <a:pt x="3179" y="483"/>
                  <a:pt x="3180" y="483"/>
                  <a:pt x="3181" y="482"/>
                </a:cubicBezTo>
                <a:cubicBezTo>
                  <a:pt x="3182" y="482"/>
                  <a:pt x="3182" y="482"/>
                  <a:pt x="3182" y="481"/>
                </a:cubicBezTo>
                <a:cubicBezTo>
                  <a:pt x="3182" y="480"/>
                  <a:pt x="3181" y="479"/>
                  <a:pt x="3180" y="479"/>
                </a:cubicBezTo>
                <a:cubicBezTo>
                  <a:pt x="3179" y="479"/>
                  <a:pt x="3178" y="478"/>
                  <a:pt x="3178" y="477"/>
                </a:cubicBezTo>
                <a:cubicBezTo>
                  <a:pt x="3178" y="475"/>
                  <a:pt x="3179" y="472"/>
                  <a:pt x="3181" y="468"/>
                </a:cubicBezTo>
                <a:lnTo>
                  <a:pt x="3183" y="463"/>
                </a:lnTo>
                <a:cubicBezTo>
                  <a:pt x="3182" y="463"/>
                  <a:pt x="3182" y="463"/>
                  <a:pt x="3182" y="462"/>
                </a:cubicBezTo>
                <a:cubicBezTo>
                  <a:pt x="3182" y="462"/>
                  <a:pt x="3183" y="461"/>
                  <a:pt x="3185" y="459"/>
                </a:cubicBezTo>
                <a:cubicBezTo>
                  <a:pt x="3186" y="457"/>
                  <a:pt x="3187" y="455"/>
                  <a:pt x="3187" y="452"/>
                </a:cubicBezTo>
                <a:lnTo>
                  <a:pt x="3187" y="450"/>
                </a:lnTo>
                <a:cubicBezTo>
                  <a:pt x="3187" y="448"/>
                  <a:pt x="3188" y="447"/>
                  <a:pt x="3190" y="446"/>
                </a:cubicBezTo>
                <a:cubicBezTo>
                  <a:pt x="3192" y="445"/>
                  <a:pt x="3192" y="445"/>
                  <a:pt x="3192" y="444"/>
                </a:cubicBezTo>
                <a:cubicBezTo>
                  <a:pt x="3192" y="444"/>
                  <a:pt x="3192" y="443"/>
                  <a:pt x="3191" y="442"/>
                </a:cubicBezTo>
                <a:cubicBezTo>
                  <a:pt x="3189" y="441"/>
                  <a:pt x="3189" y="441"/>
                  <a:pt x="3189" y="441"/>
                </a:cubicBezTo>
                <a:cubicBezTo>
                  <a:pt x="3189" y="440"/>
                  <a:pt x="3189" y="440"/>
                  <a:pt x="3190" y="440"/>
                </a:cubicBezTo>
                <a:cubicBezTo>
                  <a:pt x="3191" y="440"/>
                  <a:pt x="3192" y="439"/>
                  <a:pt x="3192" y="438"/>
                </a:cubicBezTo>
                <a:lnTo>
                  <a:pt x="3191" y="436"/>
                </a:lnTo>
                <a:cubicBezTo>
                  <a:pt x="3191" y="436"/>
                  <a:pt x="3191" y="436"/>
                  <a:pt x="3191" y="436"/>
                </a:cubicBezTo>
                <a:lnTo>
                  <a:pt x="3193" y="437"/>
                </a:lnTo>
                <a:cubicBezTo>
                  <a:pt x="3194" y="438"/>
                  <a:pt x="3195" y="439"/>
                  <a:pt x="3195" y="441"/>
                </a:cubicBezTo>
                <a:cubicBezTo>
                  <a:pt x="3195" y="445"/>
                  <a:pt x="3193" y="451"/>
                  <a:pt x="3189" y="459"/>
                </a:cubicBezTo>
                <a:cubicBezTo>
                  <a:pt x="3186" y="465"/>
                  <a:pt x="3184" y="470"/>
                  <a:pt x="3184" y="471"/>
                </a:cubicBezTo>
                <a:cubicBezTo>
                  <a:pt x="3184" y="472"/>
                  <a:pt x="3184" y="472"/>
                  <a:pt x="3184" y="472"/>
                </a:cubicBezTo>
                <a:cubicBezTo>
                  <a:pt x="3186" y="471"/>
                  <a:pt x="3188" y="469"/>
                  <a:pt x="3190" y="464"/>
                </a:cubicBezTo>
                <a:cubicBezTo>
                  <a:pt x="3192" y="460"/>
                  <a:pt x="3193" y="456"/>
                  <a:pt x="3194" y="451"/>
                </a:cubicBezTo>
                <a:cubicBezTo>
                  <a:pt x="3196" y="446"/>
                  <a:pt x="3196" y="442"/>
                  <a:pt x="3196" y="439"/>
                </a:cubicBezTo>
                <a:cubicBezTo>
                  <a:pt x="3196" y="438"/>
                  <a:pt x="3196" y="437"/>
                  <a:pt x="3196" y="436"/>
                </a:cubicBezTo>
                <a:cubicBezTo>
                  <a:pt x="3194" y="433"/>
                  <a:pt x="3193" y="432"/>
                  <a:pt x="3193" y="431"/>
                </a:cubicBezTo>
                <a:lnTo>
                  <a:pt x="3195" y="432"/>
                </a:lnTo>
                <a:cubicBezTo>
                  <a:pt x="3197" y="432"/>
                  <a:pt x="3198" y="430"/>
                  <a:pt x="3198" y="426"/>
                </a:cubicBezTo>
                <a:cubicBezTo>
                  <a:pt x="3198" y="425"/>
                  <a:pt x="3198" y="424"/>
                  <a:pt x="3198" y="424"/>
                </a:cubicBezTo>
                <a:cubicBezTo>
                  <a:pt x="3197" y="423"/>
                  <a:pt x="3197" y="423"/>
                  <a:pt x="3197" y="422"/>
                </a:cubicBezTo>
                <a:lnTo>
                  <a:pt x="3201" y="423"/>
                </a:lnTo>
                <a:cubicBezTo>
                  <a:pt x="3201" y="423"/>
                  <a:pt x="3201" y="423"/>
                  <a:pt x="3201" y="422"/>
                </a:cubicBezTo>
                <a:lnTo>
                  <a:pt x="3200" y="416"/>
                </a:lnTo>
                <a:cubicBezTo>
                  <a:pt x="3200" y="415"/>
                  <a:pt x="3200" y="415"/>
                  <a:pt x="3200" y="415"/>
                </a:cubicBezTo>
                <a:lnTo>
                  <a:pt x="3203" y="419"/>
                </a:lnTo>
                <a:cubicBezTo>
                  <a:pt x="3203" y="419"/>
                  <a:pt x="3203" y="419"/>
                  <a:pt x="3203" y="418"/>
                </a:cubicBezTo>
                <a:lnTo>
                  <a:pt x="3202" y="413"/>
                </a:lnTo>
                <a:cubicBezTo>
                  <a:pt x="3202" y="412"/>
                  <a:pt x="3203" y="411"/>
                  <a:pt x="3203" y="411"/>
                </a:cubicBezTo>
                <a:lnTo>
                  <a:pt x="3204" y="411"/>
                </a:lnTo>
                <a:cubicBezTo>
                  <a:pt x="3205" y="411"/>
                  <a:pt x="3206" y="410"/>
                  <a:pt x="3207" y="408"/>
                </a:cubicBezTo>
                <a:cubicBezTo>
                  <a:pt x="3209" y="406"/>
                  <a:pt x="3209" y="404"/>
                  <a:pt x="3209" y="402"/>
                </a:cubicBezTo>
                <a:cubicBezTo>
                  <a:pt x="3209" y="401"/>
                  <a:pt x="3209" y="400"/>
                  <a:pt x="3209" y="399"/>
                </a:cubicBezTo>
                <a:cubicBezTo>
                  <a:pt x="3209" y="398"/>
                  <a:pt x="3208" y="398"/>
                  <a:pt x="3208" y="397"/>
                </a:cubicBezTo>
                <a:lnTo>
                  <a:pt x="3210" y="397"/>
                </a:lnTo>
                <a:cubicBezTo>
                  <a:pt x="3212" y="397"/>
                  <a:pt x="3213" y="396"/>
                  <a:pt x="3214" y="394"/>
                </a:cubicBezTo>
                <a:cubicBezTo>
                  <a:pt x="3216" y="392"/>
                  <a:pt x="3216" y="390"/>
                  <a:pt x="3216" y="389"/>
                </a:cubicBezTo>
                <a:cubicBezTo>
                  <a:pt x="3216" y="388"/>
                  <a:pt x="3216" y="388"/>
                  <a:pt x="3216" y="388"/>
                </a:cubicBezTo>
                <a:cubicBezTo>
                  <a:pt x="3216" y="388"/>
                  <a:pt x="3215" y="389"/>
                  <a:pt x="3214" y="390"/>
                </a:cubicBezTo>
                <a:cubicBezTo>
                  <a:pt x="3212" y="392"/>
                  <a:pt x="3211" y="393"/>
                  <a:pt x="3211" y="393"/>
                </a:cubicBezTo>
                <a:lnTo>
                  <a:pt x="3213" y="387"/>
                </a:lnTo>
                <a:cubicBezTo>
                  <a:pt x="3216" y="381"/>
                  <a:pt x="3218" y="378"/>
                  <a:pt x="3219" y="378"/>
                </a:cubicBezTo>
                <a:lnTo>
                  <a:pt x="3217" y="384"/>
                </a:lnTo>
                <a:cubicBezTo>
                  <a:pt x="3217" y="384"/>
                  <a:pt x="3217" y="385"/>
                  <a:pt x="3218" y="385"/>
                </a:cubicBezTo>
                <a:cubicBezTo>
                  <a:pt x="3218" y="385"/>
                  <a:pt x="3219" y="383"/>
                  <a:pt x="3221" y="380"/>
                </a:cubicBezTo>
                <a:lnTo>
                  <a:pt x="3222" y="376"/>
                </a:lnTo>
                <a:cubicBezTo>
                  <a:pt x="3222" y="376"/>
                  <a:pt x="3221" y="377"/>
                  <a:pt x="3221" y="377"/>
                </a:cubicBezTo>
                <a:cubicBezTo>
                  <a:pt x="3221" y="377"/>
                  <a:pt x="3220" y="378"/>
                  <a:pt x="3219" y="378"/>
                </a:cubicBezTo>
                <a:lnTo>
                  <a:pt x="3219" y="377"/>
                </a:lnTo>
                <a:cubicBezTo>
                  <a:pt x="3219" y="376"/>
                  <a:pt x="3220" y="374"/>
                  <a:pt x="3221" y="370"/>
                </a:cubicBezTo>
                <a:cubicBezTo>
                  <a:pt x="3223" y="367"/>
                  <a:pt x="3224" y="366"/>
                  <a:pt x="3224" y="366"/>
                </a:cubicBezTo>
                <a:cubicBezTo>
                  <a:pt x="3225" y="366"/>
                  <a:pt x="3225" y="366"/>
                  <a:pt x="3226" y="367"/>
                </a:cubicBezTo>
                <a:cubicBezTo>
                  <a:pt x="3226" y="367"/>
                  <a:pt x="3226" y="368"/>
                  <a:pt x="3227" y="368"/>
                </a:cubicBezTo>
                <a:cubicBezTo>
                  <a:pt x="3227" y="368"/>
                  <a:pt x="3228" y="367"/>
                  <a:pt x="3228" y="366"/>
                </a:cubicBezTo>
                <a:cubicBezTo>
                  <a:pt x="3229" y="365"/>
                  <a:pt x="3229" y="364"/>
                  <a:pt x="3229" y="364"/>
                </a:cubicBezTo>
                <a:cubicBezTo>
                  <a:pt x="3229" y="363"/>
                  <a:pt x="3229" y="363"/>
                  <a:pt x="3228" y="363"/>
                </a:cubicBezTo>
                <a:lnTo>
                  <a:pt x="3227" y="364"/>
                </a:lnTo>
                <a:cubicBezTo>
                  <a:pt x="3226" y="364"/>
                  <a:pt x="3226" y="363"/>
                  <a:pt x="3226" y="363"/>
                </a:cubicBezTo>
                <a:cubicBezTo>
                  <a:pt x="3226" y="362"/>
                  <a:pt x="3226" y="361"/>
                  <a:pt x="3227" y="360"/>
                </a:cubicBezTo>
                <a:cubicBezTo>
                  <a:pt x="3228" y="359"/>
                  <a:pt x="3229" y="359"/>
                  <a:pt x="3230" y="359"/>
                </a:cubicBezTo>
                <a:cubicBezTo>
                  <a:pt x="3231" y="359"/>
                  <a:pt x="3231" y="358"/>
                  <a:pt x="3232" y="357"/>
                </a:cubicBezTo>
                <a:cubicBezTo>
                  <a:pt x="3234" y="355"/>
                  <a:pt x="3236" y="353"/>
                  <a:pt x="3236" y="351"/>
                </a:cubicBezTo>
                <a:cubicBezTo>
                  <a:pt x="3236" y="351"/>
                  <a:pt x="3235" y="351"/>
                  <a:pt x="3235" y="351"/>
                </a:cubicBezTo>
                <a:cubicBezTo>
                  <a:pt x="3235" y="351"/>
                  <a:pt x="3234" y="351"/>
                  <a:pt x="3234" y="351"/>
                </a:cubicBezTo>
                <a:cubicBezTo>
                  <a:pt x="3233" y="352"/>
                  <a:pt x="3233" y="352"/>
                  <a:pt x="3232" y="352"/>
                </a:cubicBezTo>
                <a:cubicBezTo>
                  <a:pt x="3232" y="352"/>
                  <a:pt x="3232" y="352"/>
                  <a:pt x="3232" y="351"/>
                </a:cubicBezTo>
                <a:cubicBezTo>
                  <a:pt x="3232" y="351"/>
                  <a:pt x="3233" y="349"/>
                  <a:pt x="3234" y="345"/>
                </a:cubicBezTo>
                <a:cubicBezTo>
                  <a:pt x="3239" y="336"/>
                  <a:pt x="3242" y="330"/>
                  <a:pt x="3245" y="325"/>
                </a:cubicBezTo>
                <a:cubicBezTo>
                  <a:pt x="3248" y="321"/>
                  <a:pt x="3250" y="319"/>
                  <a:pt x="3250" y="319"/>
                </a:cubicBezTo>
                <a:cubicBezTo>
                  <a:pt x="3251" y="319"/>
                  <a:pt x="3251" y="319"/>
                  <a:pt x="3251" y="320"/>
                </a:cubicBezTo>
                <a:cubicBezTo>
                  <a:pt x="3251" y="321"/>
                  <a:pt x="3251" y="323"/>
                  <a:pt x="3249" y="324"/>
                </a:cubicBezTo>
                <a:cubicBezTo>
                  <a:pt x="3248" y="326"/>
                  <a:pt x="3247" y="328"/>
                  <a:pt x="3246" y="330"/>
                </a:cubicBezTo>
                <a:cubicBezTo>
                  <a:pt x="3244" y="333"/>
                  <a:pt x="3243" y="335"/>
                  <a:pt x="3242" y="337"/>
                </a:cubicBezTo>
                <a:cubicBezTo>
                  <a:pt x="3241" y="339"/>
                  <a:pt x="3240" y="340"/>
                  <a:pt x="3240" y="341"/>
                </a:cubicBezTo>
                <a:lnTo>
                  <a:pt x="3242" y="340"/>
                </a:lnTo>
                <a:cubicBezTo>
                  <a:pt x="3245" y="336"/>
                  <a:pt x="3249" y="331"/>
                  <a:pt x="3252" y="324"/>
                </a:cubicBezTo>
                <a:cubicBezTo>
                  <a:pt x="3255" y="318"/>
                  <a:pt x="3256" y="313"/>
                  <a:pt x="3256" y="310"/>
                </a:cubicBezTo>
                <a:lnTo>
                  <a:pt x="3256" y="309"/>
                </a:lnTo>
                <a:cubicBezTo>
                  <a:pt x="3256" y="306"/>
                  <a:pt x="3257" y="305"/>
                  <a:pt x="3258" y="305"/>
                </a:cubicBezTo>
                <a:lnTo>
                  <a:pt x="3260" y="306"/>
                </a:lnTo>
                <a:cubicBezTo>
                  <a:pt x="3261" y="306"/>
                  <a:pt x="3263" y="305"/>
                  <a:pt x="3264" y="302"/>
                </a:cubicBezTo>
                <a:cubicBezTo>
                  <a:pt x="3266" y="300"/>
                  <a:pt x="3266" y="298"/>
                  <a:pt x="3266" y="298"/>
                </a:cubicBezTo>
                <a:cubicBezTo>
                  <a:pt x="3266" y="298"/>
                  <a:pt x="3265" y="299"/>
                  <a:pt x="3264" y="300"/>
                </a:cubicBezTo>
                <a:cubicBezTo>
                  <a:pt x="3262" y="302"/>
                  <a:pt x="3261" y="303"/>
                  <a:pt x="3260" y="303"/>
                </a:cubicBezTo>
                <a:cubicBezTo>
                  <a:pt x="3260" y="303"/>
                  <a:pt x="3260" y="303"/>
                  <a:pt x="3260" y="302"/>
                </a:cubicBezTo>
                <a:cubicBezTo>
                  <a:pt x="3259" y="302"/>
                  <a:pt x="3259" y="301"/>
                  <a:pt x="3259" y="301"/>
                </a:cubicBezTo>
                <a:cubicBezTo>
                  <a:pt x="3258" y="301"/>
                  <a:pt x="3256" y="303"/>
                  <a:pt x="3254" y="306"/>
                </a:cubicBezTo>
                <a:cubicBezTo>
                  <a:pt x="3252" y="309"/>
                  <a:pt x="3251" y="312"/>
                  <a:pt x="3251" y="313"/>
                </a:cubicBezTo>
                <a:cubicBezTo>
                  <a:pt x="3251" y="313"/>
                  <a:pt x="3251" y="313"/>
                  <a:pt x="3251" y="313"/>
                </a:cubicBezTo>
                <a:cubicBezTo>
                  <a:pt x="3252" y="313"/>
                  <a:pt x="3252" y="313"/>
                  <a:pt x="3253" y="312"/>
                </a:cubicBezTo>
                <a:cubicBezTo>
                  <a:pt x="3253" y="312"/>
                  <a:pt x="3253" y="312"/>
                  <a:pt x="3254" y="312"/>
                </a:cubicBezTo>
                <a:cubicBezTo>
                  <a:pt x="3254" y="312"/>
                  <a:pt x="3255" y="312"/>
                  <a:pt x="3255" y="313"/>
                </a:cubicBezTo>
                <a:cubicBezTo>
                  <a:pt x="3255" y="316"/>
                  <a:pt x="3253" y="317"/>
                  <a:pt x="3250" y="317"/>
                </a:cubicBezTo>
                <a:lnTo>
                  <a:pt x="3250" y="317"/>
                </a:lnTo>
                <a:cubicBezTo>
                  <a:pt x="3248" y="317"/>
                  <a:pt x="3244" y="322"/>
                  <a:pt x="3238" y="333"/>
                </a:cubicBezTo>
                <a:cubicBezTo>
                  <a:pt x="3233" y="344"/>
                  <a:pt x="3229" y="349"/>
                  <a:pt x="3227" y="349"/>
                </a:cubicBezTo>
                <a:lnTo>
                  <a:pt x="3226" y="349"/>
                </a:lnTo>
                <a:cubicBezTo>
                  <a:pt x="3226" y="349"/>
                  <a:pt x="3225" y="350"/>
                  <a:pt x="3225" y="351"/>
                </a:cubicBezTo>
                <a:cubicBezTo>
                  <a:pt x="3224" y="355"/>
                  <a:pt x="3223" y="358"/>
                  <a:pt x="3223" y="358"/>
                </a:cubicBezTo>
                <a:cubicBezTo>
                  <a:pt x="3223" y="359"/>
                  <a:pt x="3223" y="359"/>
                  <a:pt x="3223" y="360"/>
                </a:cubicBezTo>
                <a:cubicBezTo>
                  <a:pt x="3223" y="361"/>
                  <a:pt x="3223" y="361"/>
                  <a:pt x="3223" y="362"/>
                </a:cubicBezTo>
                <a:cubicBezTo>
                  <a:pt x="3222" y="362"/>
                  <a:pt x="3221" y="363"/>
                  <a:pt x="3220" y="366"/>
                </a:cubicBezTo>
                <a:cubicBezTo>
                  <a:pt x="3219" y="369"/>
                  <a:pt x="3217" y="372"/>
                  <a:pt x="3215" y="375"/>
                </a:cubicBezTo>
                <a:cubicBezTo>
                  <a:pt x="3211" y="383"/>
                  <a:pt x="3208" y="388"/>
                  <a:pt x="3207" y="391"/>
                </a:cubicBezTo>
                <a:cubicBezTo>
                  <a:pt x="3204" y="400"/>
                  <a:pt x="3200" y="409"/>
                  <a:pt x="3196" y="418"/>
                </a:cubicBezTo>
                <a:cubicBezTo>
                  <a:pt x="3193" y="424"/>
                  <a:pt x="3191" y="430"/>
                  <a:pt x="3188" y="436"/>
                </a:cubicBezTo>
                <a:cubicBezTo>
                  <a:pt x="3186" y="443"/>
                  <a:pt x="3183" y="448"/>
                  <a:pt x="3182" y="453"/>
                </a:cubicBezTo>
                <a:cubicBezTo>
                  <a:pt x="3180" y="457"/>
                  <a:pt x="3179" y="460"/>
                  <a:pt x="3178" y="463"/>
                </a:cubicBezTo>
                <a:cubicBezTo>
                  <a:pt x="3177" y="466"/>
                  <a:pt x="3176" y="468"/>
                  <a:pt x="3175" y="469"/>
                </a:cubicBezTo>
                <a:cubicBezTo>
                  <a:pt x="3174" y="470"/>
                  <a:pt x="3173" y="471"/>
                  <a:pt x="3173" y="473"/>
                </a:cubicBezTo>
                <a:cubicBezTo>
                  <a:pt x="3173" y="474"/>
                  <a:pt x="3173" y="475"/>
                  <a:pt x="3172" y="477"/>
                </a:cubicBezTo>
                <a:lnTo>
                  <a:pt x="3169" y="487"/>
                </a:lnTo>
                <a:cubicBezTo>
                  <a:pt x="3165" y="494"/>
                  <a:pt x="3163" y="499"/>
                  <a:pt x="3163" y="502"/>
                </a:cubicBezTo>
                <a:cubicBezTo>
                  <a:pt x="3162" y="505"/>
                  <a:pt x="3161" y="507"/>
                  <a:pt x="3160" y="507"/>
                </a:cubicBezTo>
                <a:lnTo>
                  <a:pt x="3159" y="506"/>
                </a:lnTo>
                <a:lnTo>
                  <a:pt x="3159" y="506"/>
                </a:lnTo>
                <a:cubicBezTo>
                  <a:pt x="3159" y="504"/>
                  <a:pt x="3161" y="497"/>
                  <a:pt x="3164" y="486"/>
                </a:cubicBezTo>
                <a:cubicBezTo>
                  <a:pt x="3167" y="475"/>
                  <a:pt x="3171" y="463"/>
                  <a:pt x="3177" y="448"/>
                </a:cubicBezTo>
                <a:cubicBezTo>
                  <a:pt x="3182" y="434"/>
                  <a:pt x="3189" y="416"/>
                  <a:pt x="3200" y="394"/>
                </a:cubicBezTo>
                <a:cubicBezTo>
                  <a:pt x="3210" y="372"/>
                  <a:pt x="3220" y="352"/>
                  <a:pt x="3230" y="334"/>
                </a:cubicBezTo>
                <a:cubicBezTo>
                  <a:pt x="3240" y="316"/>
                  <a:pt x="3246" y="307"/>
                  <a:pt x="3248" y="307"/>
                </a:cubicBezTo>
                <a:cubicBezTo>
                  <a:pt x="3248" y="307"/>
                  <a:pt x="3248" y="307"/>
                  <a:pt x="3248" y="306"/>
                </a:cubicBezTo>
                <a:lnTo>
                  <a:pt x="3248" y="304"/>
                </a:lnTo>
                <a:cubicBezTo>
                  <a:pt x="3248" y="304"/>
                  <a:pt x="3249" y="302"/>
                  <a:pt x="3251" y="301"/>
                </a:cubicBezTo>
                <a:cubicBezTo>
                  <a:pt x="3252" y="301"/>
                  <a:pt x="3253" y="300"/>
                  <a:pt x="3253" y="299"/>
                </a:cubicBezTo>
                <a:cubicBezTo>
                  <a:pt x="3253" y="298"/>
                  <a:pt x="3253" y="298"/>
                  <a:pt x="3252" y="297"/>
                </a:cubicBezTo>
                <a:cubicBezTo>
                  <a:pt x="3252" y="297"/>
                  <a:pt x="3252" y="296"/>
                  <a:pt x="3252" y="296"/>
                </a:cubicBezTo>
                <a:lnTo>
                  <a:pt x="3253" y="296"/>
                </a:lnTo>
                <a:cubicBezTo>
                  <a:pt x="3255" y="296"/>
                  <a:pt x="3256" y="294"/>
                  <a:pt x="3258" y="290"/>
                </a:cubicBezTo>
                <a:cubicBezTo>
                  <a:pt x="3259" y="286"/>
                  <a:pt x="3261" y="284"/>
                  <a:pt x="3262" y="284"/>
                </a:cubicBezTo>
                <a:cubicBezTo>
                  <a:pt x="3263" y="284"/>
                  <a:pt x="3264" y="284"/>
                  <a:pt x="3264" y="283"/>
                </a:cubicBezTo>
                <a:lnTo>
                  <a:pt x="3263" y="282"/>
                </a:lnTo>
                <a:cubicBezTo>
                  <a:pt x="3263" y="281"/>
                  <a:pt x="3264" y="279"/>
                  <a:pt x="3265" y="279"/>
                </a:cubicBezTo>
                <a:cubicBezTo>
                  <a:pt x="3266" y="279"/>
                  <a:pt x="3267" y="278"/>
                  <a:pt x="3267" y="278"/>
                </a:cubicBezTo>
                <a:cubicBezTo>
                  <a:pt x="3268" y="277"/>
                  <a:pt x="3268" y="276"/>
                  <a:pt x="3268" y="274"/>
                </a:cubicBezTo>
                <a:cubicBezTo>
                  <a:pt x="3268" y="273"/>
                  <a:pt x="3269" y="271"/>
                  <a:pt x="3271" y="269"/>
                </a:cubicBezTo>
                <a:cubicBezTo>
                  <a:pt x="3273" y="268"/>
                  <a:pt x="3274" y="267"/>
                  <a:pt x="3274" y="267"/>
                </a:cubicBezTo>
                <a:lnTo>
                  <a:pt x="3272" y="267"/>
                </a:lnTo>
                <a:cubicBezTo>
                  <a:pt x="3272" y="266"/>
                  <a:pt x="3273" y="264"/>
                  <a:pt x="3275" y="262"/>
                </a:cubicBezTo>
                <a:cubicBezTo>
                  <a:pt x="3277" y="259"/>
                  <a:pt x="3278" y="257"/>
                  <a:pt x="3279" y="256"/>
                </a:cubicBezTo>
                <a:lnTo>
                  <a:pt x="3282" y="254"/>
                </a:lnTo>
                <a:cubicBezTo>
                  <a:pt x="3282" y="254"/>
                  <a:pt x="3281" y="255"/>
                  <a:pt x="3281" y="257"/>
                </a:cubicBezTo>
                <a:cubicBezTo>
                  <a:pt x="3281" y="259"/>
                  <a:pt x="3281" y="260"/>
                  <a:pt x="3283" y="260"/>
                </a:cubicBezTo>
                <a:cubicBezTo>
                  <a:pt x="3283" y="260"/>
                  <a:pt x="3283" y="259"/>
                  <a:pt x="3283" y="256"/>
                </a:cubicBezTo>
                <a:cubicBezTo>
                  <a:pt x="3283" y="254"/>
                  <a:pt x="3285" y="250"/>
                  <a:pt x="3289" y="244"/>
                </a:cubicBezTo>
                <a:cubicBezTo>
                  <a:pt x="3292" y="238"/>
                  <a:pt x="3296" y="232"/>
                  <a:pt x="3300" y="228"/>
                </a:cubicBezTo>
                <a:cubicBezTo>
                  <a:pt x="3304" y="223"/>
                  <a:pt x="3307" y="220"/>
                  <a:pt x="3308" y="220"/>
                </a:cubicBezTo>
                <a:cubicBezTo>
                  <a:pt x="3309" y="220"/>
                  <a:pt x="3309" y="220"/>
                  <a:pt x="3309" y="220"/>
                </a:cubicBezTo>
                <a:cubicBezTo>
                  <a:pt x="3309" y="221"/>
                  <a:pt x="3308" y="223"/>
                  <a:pt x="3306" y="224"/>
                </a:cubicBezTo>
                <a:cubicBezTo>
                  <a:pt x="3300" y="231"/>
                  <a:pt x="3297" y="235"/>
                  <a:pt x="3297" y="237"/>
                </a:cubicBezTo>
                <a:lnTo>
                  <a:pt x="3297" y="237"/>
                </a:lnTo>
                <a:lnTo>
                  <a:pt x="3298" y="237"/>
                </a:lnTo>
                <a:cubicBezTo>
                  <a:pt x="3298" y="237"/>
                  <a:pt x="3300" y="236"/>
                  <a:pt x="3303" y="232"/>
                </a:cubicBezTo>
                <a:cubicBezTo>
                  <a:pt x="3305" y="230"/>
                  <a:pt x="3308" y="226"/>
                  <a:pt x="3310" y="223"/>
                </a:cubicBezTo>
                <a:cubicBezTo>
                  <a:pt x="3311" y="219"/>
                  <a:pt x="3313" y="217"/>
                  <a:pt x="3313" y="215"/>
                </a:cubicBezTo>
                <a:cubicBezTo>
                  <a:pt x="3313" y="212"/>
                  <a:pt x="3315" y="211"/>
                  <a:pt x="3316" y="211"/>
                </a:cubicBezTo>
                <a:cubicBezTo>
                  <a:pt x="3317" y="211"/>
                  <a:pt x="3318" y="210"/>
                  <a:pt x="3318" y="209"/>
                </a:cubicBezTo>
                <a:lnTo>
                  <a:pt x="3317" y="207"/>
                </a:lnTo>
                <a:lnTo>
                  <a:pt x="3319" y="206"/>
                </a:lnTo>
                <a:cubicBezTo>
                  <a:pt x="3320" y="206"/>
                  <a:pt x="3324" y="203"/>
                  <a:pt x="3331" y="195"/>
                </a:cubicBezTo>
                <a:cubicBezTo>
                  <a:pt x="3338" y="188"/>
                  <a:pt x="3342" y="184"/>
                  <a:pt x="3344" y="184"/>
                </a:cubicBezTo>
                <a:cubicBezTo>
                  <a:pt x="3344" y="184"/>
                  <a:pt x="3344" y="184"/>
                  <a:pt x="3344" y="184"/>
                </a:cubicBezTo>
                <a:lnTo>
                  <a:pt x="3343" y="188"/>
                </a:lnTo>
                <a:cubicBezTo>
                  <a:pt x="3343" y="189"/>
                  <a:pt x="3343" y="189"/>
                  <a:pt x="3344" y="189"/>
                </a:cubicBezTo>
                <a:cubicBezTo>
                  <a:pt x="3345" y="189"/>
                  <a:pt x="3350" y="186"/>
                  <a:pt x="3357" y="178"/>
                </a:cubicBezTo>
                <a:cubicBezTo>
                  <a:pt x="3371" y="164"/>
                  <a:pt x="3386" y="152"/>
                  <a:pt x="3403" y="143"/>
                </a:cubicBezTo>
                <a:cubicBezTo>
                  <a:pt x="3419" y="135"/>
                  <a:pt x="3433" y="131"/>
                  <a:pt x="3444" y="131"/>
                </a:cubicBezTo>
                <a:cubicBezTo>
                  <a:pt x="3449" y="131"/>
                  <a:pt x="3454" y="132"/>
                  <a:pt x="3457" y="134"/>
                </a:cubicBezTo>
                <a:cubicBezTo>
                  <a:pt x="3458" y="135"/>
                  <a:pt x="3459" y="136"/>
                  <a:pt x="3460" y="136"/>
                </a:cubicBezTo>
                <a:cubicBezTo>
                  <a:pt x="3460" y="136"/>
                  <a:pt x="3462" y="136"/>
                  <a:pt x="3464" y="136"/>
                </a:cubicBezTo>
                <a:cubicBezTo>
                  <a:pt x="3465" y="137"/>
                  <a:pt x="3468" y="137"/>
                  <a:pt x="3471" y="139"/>
                </a:cubicBezTo>
                <a:cubicBezTo>
                  <a:pt x="3478" y="143"/>
                  <a:pt x="3483" y="147"/>
                  <a:pt x="3486" y="151"/>
                </a:cubicBezTo>
                <a:cubicBezTo>
                  <a:pt x="3488" y="153"/>
                  <a:pt x="3489" y="156"/>
                  <a:pt x="3490" y="160"/>
                </a:cubicBezTo>
                <a:cubicBezTo>
                  <a:pt x="3493" y="169"/>
                  <a:pt x="3494" y="179"/>
                  <a:pt x="3494" y="191"/>
                </a:cubicBezTo>
                <a:cubicBezTo>
                  <a:pt x="3494" y="236"/>
                  <a:pt x="3476" y="289"/>
                  <a:pt x="3440" y="350"/>
                </a:cubicBezTo>
                <a:cubicBezTo>
                  <a:pt x="3403" y="411"/>
                  <a:pt x="3360" y="459"/>
                  <a:pt x="3312" y="495"/>
                </a:cubicBezTo>
                <a:cubicBezTo>
                  <a:pt x="3299" y="502"/>
                  <a:pt x="3291" y="506"/>
                  <a:pt x="3288" y="506"/>
                </a:cubicBezTo>
                <a:cubicBezTo>
                  <a:pt x="3288" y="506"/>
                  <a:pt x="3287" y="506"/>
                  <a:pt x="3287" y="505"/>
                </a:cubicBezTo>
                <a:cubicBezTo>
                  <a:pt x="3287" y="505"/>
                  <a:pt x="3288" y="504"/>
                  <a:pt x="3288" y="502"/>
                </a:cubicBezTo>
                <a:cubicBezTo>
                  <a:pt x="3290" y="500"/>
                  <a:pt x="3292" y="500"/>
                  <a:pt x="3293" y="500"/>
                </a:cubicBezTo>
                <a:cubicBezTo>
                  <a:pt x="3294" y="500"/>
                  <a:pt x="3294" y="500"/>
                  <a:pt x="3294" y="501"/>
                </a:cubicBezTo>
                <a:cubicBezTo>
                  <a:pt x="3294" y="501"/>
                  <a:pt x="3294" y="502"/>
                  <a:pt x="3293" y="502"/>
                </a:cubicBezTo>
                <a:cubicBezTo>
                  <a:pt x="3293" y="503"/>
                  <a:pt x="3293" y="504"/>
                  <a:pt x="3293" y="504"/>
                </a:cubicBezTo>
                <a:lnTo>
                  <a:pt x="3295" y="503"/>
                </a:lnTo>
                <a:cubicBezTo>
                  <a:pt x="3295" y="503"/>
                  <a:pt x="3296" y="502"/>
                  <a:pt x="3296" y="501"/>
                </a:cubicBezTo>
                <a:cubicBezTo>
                  <a:pt x="3296" y="496"/>
                  <a:pt x="3297" y="493"/>
                  <a:pt x="3298" y="493"/>
                </a:cubicBezTo>
                <a:cubicBezTo>
                  <a:pt x="3298" y="493"/>
                  <a:pt x="3299" y="494"/>
                  <a:pt x="3301" y="495"/>
                </a:cubicBezTo>
                <a:lnTo>
                  <a:pt x="3303" y="497"/>
                </a:lnTo>
                <a:cubicBezTo>
                  <a:pt x="3303" y="497"/>
                  <a:pt x="3303" y="496"/>
                  <a:pt x="3303" y="495"/>
                </a:cubicBezTo>
                <a:cubicBezTo>
                  <a:pt x="3302" y="495"/>
                  <a:pt x="3302" y="494"/>
                  <a:pt x="3302" y="493"/>
                </a:cubicBezTo>
                <a:cubicBezTo>
                  <a:pt x="3302" y="492"/>
                  <a:pt x="3303" y="490"/>
                  <a:pt x="3304" y="489"/>
                </a:cubicBezTo>
                <a:cubicBezTo>
                  <a:pt x="3305" y="487"/>
                  <a:pt x="3306" y="487"/>
                  <a:pt x="3308" y="487"/>
                </a:cubicBezTo>
                <a:cubicBezTo>
                  <a:pt x="3309" y="487"/>
                  <a:pt x="3309" y="488"/>
                  <a:pt x="3309" y="489"/>
                </a:cubicBezTo>
                <a:cubicBezTo>
                  <a:pt x="3309" y="490"/>
                  <a:pt x="3309" y="490"/>
                  <a:pt x="3309" y="491"/>
                </a:cubicBezTo>
                <a:cubicBezTo>
                  <a:pt x="3309" y="492"/>
                  <a:pt x="3308" y="492"/>
                  <a:pt x="3308" y="492"/>
                </a:cubicBezTo>
                <a:lnTo>
                  <a:pt x="3310" y="491"/>
                </a:lnTo>
                <a:cubicBezTo>
                  <a:pt x="3311" y="490"/>
                  <a:pt x="3311" y="489"/>
                  <a:pt x="3311" y="488"/>
                </a:cubicBezTo>
                <a:cubicBezTo>
                  <a:pt x="3311" y="486"/>
                  <a:pt x="3312" y="484"/>
                  <a:pt x="3314" y="481"/>
                </a:cubicBezTo>
                <a:cubicBezTo>
                  <a:pt x="3316" y="479"/>
                  <a:pt x="3318" y="478"/>
                  <a:pt x="3320" y="478"/>
                </a:cubicBezTo>
                <a:lnTo>
                  <a:pt x="3323" y="478"/>
                </a:lnTo>
                <a:lnTo>
                  <a:pt x="3325" y="477"/>
                </a:lnTo>
                <a:lnTo>
                  <a:pt x="3325" y="476"/>
                </a:lnTo>
                <a:cubicBezTo>
                  <a:pt x="3325" y="474"/>
                  <a:pt x="3327" y="471"/>
                  <a:pt x="3331" y="467"/>
                </a:cubicBezTo>
                <a:lnTo>
                  <a:pt x="3335" y="464"/>
                </a:lnTo>
                <a:cubicBezTo>
                  <a:pt x="3335" y="465"/>
                  <a:pt x="3335" y="465"/>
                  <a:pt x="3335" y="465"/>
                </a:cubicBezTo>
                <a:cubicBezTo>
                  <a:pt x="3336" y="465"/>
                  <a:pt x="3337" y="463"/>
                  <a:pt x="3340" y="459"/>
                </a:cubicBezTo>
                <a:cubicBezTo>
                  <a:pt x="3342" y="455"/>
                  <a:pt x="3344" y="453"/>
                  <a:pt x="3346" y="453"/>
                </a:cubicBezTo>
                <a:cubicBezTo>
                  <a:pt x="3346" y="453"/>
                  <a:pt x="3347" y="454"/>
                  <a:pt x="3347" y="454"/>
                </a:cubicBezTo>
                <a:cubicBezTo>
                  <a:pt x="3347" y="455"/>
                  <a:pt x="3346" y="456"/>
                  <a:pt x="3346" y="456"/>
                </a:cubicBezTo>
                <a:cubicBezTo>
                  <a:pt x="3345" y="457"/>
                  <a:pt x="3345" y="458"/>
                  <a:pt x="3345" y="458"/>
                </a:cubicBezTo>
                <a:cubicBezTo>
                  <a:pt x="3345" y="458"/>
                  <a:pt x="3347" y="458"/>
                  <a:pt x="3348" y="456"/>
                </a:cubicBezTo>
                <a:cubicBezTo>
                  <a:pt x="3349" y="455"/>
                  <a:pt x="3350" y="454"/>
                  <a:pt x="3350" y="453"/>
                </a:cubicBezTo>
                <a:cubicBezTo>
                  <a:pt x="3350" y="452"/>
                  <a:pt x="3350" y="451"/>
                  <a:pt x="3349" y="451"/>
                </a:cubicBezTo>
                <a:cubicBezTo>
                  <a:pt x="3349" y="450"/>
                  <a:pt x="3348" y="449"/>
                  <a:pt x="3348" y="448"/>
                </a:cubicBezTo>
                <a:cubicBezTo>
                  <a:pt x="3348" y="447"/>
                  <a:pt x="3352" y="444"/>
                  <a:pt x="3358" y="439"/>
                </a:cubicBezTo>
                <a:cubicBezTo>
                  <a:pt x="3365" y="433"/>
                  <a:pt x="3369" y="430"/>
                  <a:pt x="3369" y="429"/>
                </a:cubicBezTo>
                <a:cubicBezTo>
                  <a:pt x="3369" y="427"/>
                  <a:pt x="3370" y="427"/>
                  <a:pt x="3371" y="427"/>
                </a:cubicBezTo>
                <a:cubicBezTo>
                  <a:pt x="3372" y="427"/>
                  <a:pt x="3376" y="423"/>
                  <a:pt x="3382" y="416"/>
                </a:cubicBezTo>
                <a:cubicBezTo>
                  <a:pt x="3387" y="411"/>
                  <a:pt x="3389" y="407"/>
                  <a:pt x="3389" y="406"/>
                </a:cubicBezTo>
                <a:lnTo>
                  <a:pt x="3388" y="406"/>
                </a:lnTo>
                <a:cubicBezTo>
                  <a:pt x="3388" y="406"/>
                  <a:pt x="3391" y="402"/>
                  <a:pt x="3397" y="395"/>
                </a:cubicBezTo>
                <a:cubicBezTo>
                  <a:pt x="3406" y="386"/>
                  <a:pt x="3410" y="380"/>
                  <a:pt x="3410" y="379"/>
                </a:cubicBezTo>
                <a:cubicBezTo>
                  <a:pt x="3410" y="377"/>
                  <a:pt x="3412" y="375"/>
                  <a:pt x="3415" y="371"/>
                </a:cubicBezTo>
                <a:cubicBezTo>
                  <a:pt x="3419" y="367"/>
                  <a:pt x="3421" y="365"/>
                  <a:pt x="3421" y="363"/>
                </a:cubicBezTo>
                <a:cubicBezTo>
                  <a:pt x="3421" y="362"/>
                  <a:pt x="3422" y="360"/>
                  <a:pt x="3425" y="356"/>
                </a:cubicBezTo>
                <a:cubicBezTo>
                  <a:pt x="3428" y="353"/>
                  <a:pt x="3429" y="350"/>
                  <a:pt x="3429" y="349"/>
                </a:cubicBezTo>
                <a:cubicBezTo>
                  <a:pt x="3429" y="347"/>
                  <a:pt x="3429" y="346"/>
                  <a:pt x="3430" y="346"/>
                </a:cubicBezTo>
                <a:cubicBezTo>
                  <a:pt x="3430" y="345"/>
                  <a:pt x="3430" y="345"/>
                  <a:pt x="3431" y="344"/>
                </a:cubicBezTo>
                <a:lnTo>
                  <a:pt x="3432" y="344"/>
                </a:lnTo>
                <a:cubicBezTo>
                  <a:pt x="3433" y="344"/>
                  <a:pt x="3434" y="343"/>
                  <a:pt x="3437" y="339"/>
                </a:cubicBezTo>
                <a:cubicBezTo>
                  <a:pt x="3439" y="336"/>
                  <a:pt x="3440" y="334"/>
                  <a:pt x="3440" y="333"/>
                </a:cubicBezTo>
                <a:cubicBezTo>
                  <a:pt x="3440" y="333"/>
                  <a:pt x="3439" y="332"/>
                  <a:pt x="3439" y="332"/>
                </a:cubicBezTo>
                <a:cubicBezTo>
                  <a:pt x="3439" y="332"/>
                  <a:pt x="3439" y="332"/>
                  <a:pt x="3439" y="332"/>
                </a:cubicBezTo>
                <a:cubicBezTo>
                  <a:pt x="3439" y="331"/>
                  <a:pt x="3439" y="331"/>
                  <a:pt x="3441" y="329"/>
                </a:cubicBezTo>
                <a:cubicBezTo>
                  <a:pt x="3443" y="328"/>
                  <a:pt x="3444" y="326"/>
                  <a:pt x="3445" y="323"/>
                </a:cubicBezTo>
                <a:cubicBezTo>
                  <a:pt x="3445" y="322"/>
                  <a:pt x="3446" y="321"/>
                  <a:pt x="3447" y="320"/>
                </a:cubicBezTo>
                <a:cubicBezTo>
                  <a:pt x="3447" y="318"/>
                  <a:pt x="3448" y="317"/>
                  <a:pt x="3450" y="316"/>
                </a:cubicBezTo>
                <a:cubicBezTo>
                  <a:pt x="3451" y="313"/>
                  <a:pt x="3452" y="311"/>
                  <a:pt x="3452" y="308"/>
                </a:cubicBezTo>
                <a:lnTo>
                  <a:pt x="3452" y="306"/>
                </a:lnTo>
                <a:cubicBezTo>
                  <a:pt x="3452" y="305"/>
                  <a:pt x="3452" y="304"/>
                  <a:pt x="3454" y="303"/>
                </a:cubicBezTo>
                <a:cubicBezTo>
                  <a:pt x="3456" y="302"/>
                  <a:pt x="3457" y="301"/>
                  <a:pt x="3457" y="300"/>
                </a:cubicBezTo>
                <a:lnTo>
                  <a:pt x="3456" y="298"/>
                </a:lnTo>
                <a:cubicBezTo>
                  <a:pt x="3456" y="296"/>
                  <a:pt x="3457" y="295"/>
                  <a:pt x="3457" y="294"/>
                </a:cubicBezTo>
                <a:cubicBezTo>
                  <a:pt x="3458" y="293"/>
                  <a:pt x="3459" y="292"/>
                  <a:pt x="3459" y="292"/>
                </a:cubicBezTo>
                <a:lnTo>
                  <a:pt x="3460" y="292"/>
                </a:lnTo>
                <a:cubicBezTo>
                  <a:pt x="3461" y="292"/>
                  <a:pt x="3461" y="292"/>
                  <a:pt x="3461" y="291"/>
                </a:cubicBezTo>
                <a:lnTo>
                  <a:pt x="3460" y="287"/>
                </a:lnTo>
                <a:cubicBezTo>
                  <a:pt x="3460" y="287"/>
                  <a:pt x="3460" y="287"/>
                  <a:pt x="3460" y="287"/>
                </a:cubicBezTo>
                <a:lnTo>
                  <a:pt x="3464" y="288"/>
                </a:lnTo>
                <a:cubicBezTo>
                  <a:pt x="3464" y="288"/>
                  <a:pt x="3464" y="288"/>
                  <a:pt x="3464" y="288"/>
                </a:cubicBezTo>
                <a:lnTo>
                  <a:pt x="3464" y="287"/>
                </a:lnTo>
                <a:cubicBezTo>
                  <a:pt x="3464" y="282"/>
                  <a:pt x="3465" y="275"/>
                  <a:pt x="3469" y="267"/>
                </a:cubicBezTo>
                <a:cubicBezTo>
                  <a:pt x="3481" y="232"/>
                  <a:pt x="3487" y="205"/>
                  <a:pt x="3487" y="186"/>
                </a:cubicBezTo>
                <a:cubicBezTo>
                  <a:pt x="3487" y="179"/>
                  <a:pt x="3486" y="174"/>
                  <a:pt x="3484" y="169"/>
                </a:cubicBezTo>
                <a:cubicBezTo>
                  <a:pt x="3482" y="165"/>
                  <a:pt x="3481" y="163"/>
                  <a:pt x="3481" y="163"/>
                </a:cubicBezTo>
                <a:cubicBezTo>
                  <a:pt x="3481" y="163"/>
                  <a:pt x="3480" y="163"/>
                  <a:pt x="3480" y="164"/>
                </a:cubicBezTo>
                <a:cubicBezTo>
                  <a:pt x="3480" y="164"/>
                  <a:pt x="3481" y="166"/>
                  <a:pt x="3482" y="169"/>
                </a:cubicBezTo>
                <a:cubicBezTo>
                  <a:pt x="3482" y="173"/>
                  <a:pt x="3483" y="177"/>
                  <a:pt x="3483" y="183"/>
                </a:cubicBezTo>
                <a:cubicBezTo>
                  <a:pt x="3483" y="192"/>
                  <a:pt x="3482" y="203"/>
                  <a:pt x="3479" y="213"/>
                </a:cubicBezTo>
                <a:lnTo>
                  <a:pt x="3477" y="224"/>
                </a:lnTo>
                <a:cubicBezTo>
                  <a:pt x="3477" y="226"/>
                  <a:pt x="3476" y="230"/>
                  <a:pt x="3474" y="235"/>
                </a:cubicBezTo>
                <a:cubicBezTo>
                  <a:pt x="3472" y="242"/>
                  <a:pt x="3470" y="246"/>
                  <a:pt x="3469" y="246"/>
                </a:cubicBezTo>
                <a:cubicBezTo>
                  <a:pt x="3468" y="246"/>
                  <a:pt x="3468" y="248"/>
                  <a:pt x="3468" y="252"/>
                </a:cubicBezTo>
                <a:cubicBezTo>
                  <a:pt x="3468" y="256"/>
                  <a:pt x="3467" y="259"/>
                  <a:pt x="3464" y="264"/>
                </a:cubicBezTo>
                <a:cubicBezTo>
                  <a:pt x="3462" y="268"/>
                  <a:pt x="3461" y="271"/>
                  <a:pt x="3461" y="274"/>
                </a:cubicBezTo>
                <a:cubicBezTo>
                  <a:pt x="3461" y="274"/>
                  <a:pt x="3461" y="275"/>
                  <a:pt x="3462" y="275"/>
                </a:cubicBezTo>
                <a:lnTo>
                  <a:pt x="3462" y="276"/>
                </a:lnTo>
                <a:cubicBezTo>
                  <a:pt x="3461" y="276"/>
                  <a:pt x="3460" y="275"/>
                  <a:pt x="3459" y="273"/>
                </a:cubicBezTo>
                <a:cubicBezTo>
                  <a:pt x="3457" y="272"/>
                  <a:pt x="3456" y="271"/>
                  <a:pt x="3456" y="271"/>
                </a:cubicBezTo>
                <a:lnTo>
                  <a:pt x="3456" y="271"/>
                </a:lnTo>
                <a:cubicBezTo>
                  <a:pt x="3456" y="272"/>
                  <a:pt x="3456" y="274"/>
                  <a:pt x="3458" y="278"/>
                </a:cubicBezTo>
                <a:cubicBezTo>
                  <a:pt x="3458" y="280"/>
                  <a:pt x="3459" y="281"/>
                  <a:pt x="3459" y="283"/>
                </a:cubicBezTo>
                <a:cubicBezTo>
                  <a:pt x="3459" y="285"/>
                  <a:pt x="3457" y="287"/>
                  <a:pt x="3454" y="290"/>
                </a:cubicBezTo>
                <a:cubicBezTo>
                  <a:pt x="3451" y="293"/>
                  <a:pt x="3450" y="294"/>
                  <a:pt x="3450" y="294"/>
                </a:cubicBezTo>
                <a:cubicBezTo>
                  <a:pt x="3450" y="295"/>
                  <a:pt x="3450" y="295"/>
                  <a:pt x="3450" y="295"/>
                </a:cubicBezTo>
                <a:lnTo>
                  <a:pt x="3452" y="294"/>
                </a:lnTo>
                <a:cubicBezTo>
                  <a:pt x="3453" y="294"/>
                  <a:pt x="3453" y="294"/>
                  <a:pt x="3453" y="296"/>
                </a:cubicBezTo>
                <a:cubicBezTo>
                  <a:pt x="3452" y="298"/>
                  <a:pt x="3451" y="299"/>
                  <a:pt x="3450" y="299"/>
                </a:cubicBezTo>
                <a:cubicBezTo>
                  <a:pt x="3449" y="299"/>
                  <a:pt x="3447" y="299"/>
                  <a:pt x="3446" y="301"/>
                </a:cubicBezTo>
                <a:cubicBezTo>
                  <a:pt x="3446" y="303"/>
                  <a:pt x="3446" y="304"/>
                  <a:pt x="3446" y="304"/>
                </a:cubicBezTo>
                <a:lnTo>
                  <a:pt x="3448" y="303"/>
                </a:lnTo>
                <a:cubicBezTo>
                  <a:pt x="3449" y="303"/>
                  <a:pt x="3449" y="303"/>
                  <a:pt x="3449" y="304"/>
                </a:cubicBezTo>
                <a:cubicBezTo>
                  <a:pt x="3449" y="305"/>
                  <a:pt x="3448" y="308"/>
                  <a:pt x="3445" y="314"/>
                </a:cubicBezTo>
                <a:cubicBezTo>
                  <a:pt x="3442" y="320"/>
                  <a:pt x="3440" y="323"/>
                  <a:pt x="3438" y="323"/>
                </a:cubicBezTo>
                <a:cubicBezTo>
                  <a:pt x="3437" y="323"/>
                  <a:pt x="3437" y="323"/>
                  <a:pt x="3437" y="322"/>
                </a:cubicBezTo>
                <a:lnTo>
                  <a:pt x="3438" y="318"/>
                </a:lnTo>
                <a:cubicBezTo>
                  <a:pt x="3437" y="318"/>
                  <a:pt x="3436" y="320"/>
                  <a:pt x="3433" y="323"/>
                </a:cubicBezTo>
                <a:cubicBezTo>
                  <a:pt x="3431" y="325"/>
                  <a:pt x="3430" y="326"/>
                  <a:pt x="3430" y="327"/>
                </a:cubicBezTo>
                <a:lnTo>
                  <a:pt x="3437" y="326"/>
                </a:lnTo>
                <a:cubicBezTo>
                  <a:pt x="3437" y="326"/>
                  <a:pt x="3437" y="326"/>
                  <a:pt x="3437" y="326"/>
                </a:cubicBezTo>
                <a:cubicBezTo>
                  <a:pt x="3437" y="327"/>
                  <a:pt x="3436" y="330"/>
                  <a:pt x="3433" y="335"/>
                </a:cubicBezTo>
                <a:cubicBezTo>
                  <a:pt x="3431" y="338"/>
                  <a:pt x="3429" y="341"/>
                  <a:pt x="3427" y="343"/>
                </a:cubicBezTo>
                <a:cubicBezTo>
                  <a:pt x="3425" y="346"/>
                  <a:pt x="3424" y="347"/>
                  <a:pt x="3423" y="347"/>
                </a:cubicBezTo>
                <a:cubicBezTo>
                  <a:pt x="3423" y="347"/>
                  <a:pt x="3423" y="347"/>
                  <a:pt x="3423" y="346"/>
                </a:cubicBezTo>
                <a:lnTo>
                  <a:pt x="3424" y="343"/>
                </a:lnTo>
                <a:cubicBezTo>
                  <a:pt x="3424" y="343"/>
                  <a:pt x="3422" y="344"/>
                  <a:pt x="3420" y="346"/>
                </a:cubicBezTo>
                <a:cubicBezTo>
                  <a:pt x="3417" y="348"/>
                  <a:pt x="3415" y="351"/>
                  <a:pt x="3415" y="353"/>
                </a:cubicBezTo>
                <a:cubicBezTo>
                  <a:pt x="3415" y="354"/>
                  <a:pt x="3408" y="364"/>
                  <a:pt x="3393" y="384"/>
                </a:cubicBezTo>
                <a:cubicBezTo>
                  <a:pt x="3388" y="390"/>
                  <a:pt x="3386" y="394"/>
                  <a:pt x="3386" y="395"/>
                </a:cubicBezTo>
                <a:cubicBezTo>
                  <a:pt x="3386" y="396"/>
                  <a:pt x="3383" y="399"/>
                  <a:pt x="3379" y="404"/>
                </a:cubicBezTo>
                <a:cubicBezTo>
                  <a:pt x="3376" y="406"/>
                  <a:pt x="3374" y="408"/>
                  <a:pt x="3374" y="409"/>
                </a:cubicBezTo>
                <a:lnTo>
                  <a:pt x="3376" y="409"/>
                </a:lnTo>
                <a:cubicBezTo>
                  <a:pt x="3375" y="410"/>
                  <a:pt x="3373" y="413"/>
                  <a:pt x="3367" y="418"/>
                </a:cubicBezTo>
                <a:cubicBezTo>
                  <a:pt x="3360" y="424"/>
                  <a:pt x="3357" y="429"/>
                  <a:pt x="3357" y="430"/>
                </a:cubicBezTo>
                <a:lnTo>
                  <a:pt x="3357" y="431"/>
                </a:lnTo>
                <a:cubicBezTo>
                  <a:pt x="3357" y="431"/>
                  <a:pt x="3356" y="433"/>
                  <a:pt x="3353" y="436"/>
                </a:cubicBezTo>
                <a:cubicBezTo>
                  <a:pt x="3350" y="441"/>
                  <a:pt x="3344" y="446"/>
                  <a:pt x="3336" y="453"/>
                </a:cubicBezTo>
                <a:lnTo>
                  <a:pt x="3331" y="457"/>
                </a:lnTo>
                <a:lnTo>
                  <a:pt x="3330" y="457"/>
                </a:lnTo>
                <a:lnTo>
                  <a:pt x="3330" y="458"/>
                </a:lnTo>
                <a:cubicBezTo>
                  <a:pt x="3330" y="460"/>
                  <a:pt x="3326" y="466"/>
                  <a:pt x="3317" y="475"/>
                </a:cubicBezTo>
                <a:cubicBezTo>
                  <a:pt x="3308" y="483"/>
                  <a:pt x="3297" y="492"/>
                  <a:pt x="3284" y="501"/>
                </a:cubicBezTo>
                <a:cubicBezTo>
                  <a:pt x="3270" y="511"/>
                  <a:pt x="3263" y="517"/>
                  <a:pt x="3263" y="518"/>
                </a:cubicBezTo>
                <a:cubicBezTo>
                  <a:pt x="3263" y="519"/>
                  <a:pt x="3263" y="519"/>
                  <a:pt x="3262" y="519"/>
                </a:cubicBezTo>
                <a:lnTo>
                  <a:pt x="3258" y="518"/>
                </a:lnTo>
                <a:lnTo>
                  <a:pt x="3256" y="519"/>
                </a:lnTo>
                <a:lnTo>
                  <a:pt x="3257" y="520"/>
                </a:lnTo>
                <a:cubicBezTo>
                  <a:pt x="3257" y="522"/>
                  <a:pt x="3250" y="523"/>
                  <a:pt x="3237" y="523"/>
                </a:cubicBezTo>
                <a:lnTo>
                  <a:pt x="3231" y="523"/>
                </a:lnTo>
                <a:cubicBezTo>
                  <a:pt x="3223" y="523"/>
                  <a:pt x="3217" y="522"/>
                  <a:pt x="3213" y="520"/>
                </a:cubicBezTo>
                <a:cubicBezTo>
                  <a:pt x="3210" y="518"/>
                  <a:pt x="3207" y="514"/>
                  <a:pt x="3205" y="509"/>
                </a:cubicBezTo>
                <a:cubicBezTo>
                  <a:pt x="3204" y="506"/>
                  <a:pt x="3204" y="504"/>
                  <a:pt x="3203" y="504"/>
                </a:cubicBezTo>
                <a:cubicBezTo>
                  <a:pt x="3202" y="504"/>
                  <a:pt x="3202" y="505"/>
                  <a:pt x="3201" y="507"/>
                </a:cubicBezTo>
                <a:cubicBezTo>
                  <a:pt x="3200" y="509"/>
                  <a:pt x="3200" y="511"/>
                  <a:pt x="3200" y="511"/>
                </a:cubicBezTo>
                <a:lnTo>
                  <a:pt x="3199" y="509"/>
                </a:lnTo>
                <a:cubicBezTo>
                  <a:pt x="3199" y="507"/>
                  <a:pt x="3200" y="505"/>
                  <a:pt x="3201" y="503"/>
                </a:cubicBezTo>
                <a:cubicBezTo>
                  <a:pt x="3202" y="502"/>
                  <a:pt x="3202" y="500"/>
                  <a:pt x="3202" y="498"/>
                </a:cubicBezTo>
                <a:cubicBezTo>
                  <a:pt x="3202" y="497"/>
                  <a:pt x="3202" y="496"/>
                  <a:pt x="3201" y="496"/>
                </a:cubicBezTo>
                <a:lnTo>
                  <a:pt x="3200" y="497"/>
                </a:lnTo>
                <a:cubicBezTo>
                  <a:pt x="3199" y="497"/>
                  <a:pt x="3199" y="496"/>
                  <a:pt x="3199" y="495"/>
                </a:cubicBezTo>
                <a:cubicBezTo>
                  <a:pt x="3199" y="494"/>
                  <a:pt x="3199" y="493"/>
                  <a:pt x="3199" y="493"/>
                </a:cubicBezTo>
                <a:lnTo>
                  <a:pt x="3199" y="493"/>
                </a:lnTo>
                <a:cubicBezTo>
                  <a:pt x="3198" y="493"/>
                  <a:pt x="3198" y="494"/>
                  <a:pt x="3197" y="496"/>
                </a:cubicBezTo>
                <a:cubicBezTo>
                  <a:pt x="3196" y="497"/>
                  <a:pt x="3196" y="499"/>
                  <a:pt x="3196" y="501"/>
                </a:cubicBezTo>
                <a:cubicBezTo>
                  <a:pt x="3196" y="502"/>
                  <a:pt x="3196" y="504"/>
                  <a:pt x="3196" y="505"/>
                </a:cubicBezTo>
                <a:cubicBezTo>
                  <a:pt x="3197" y="505"/>
                  <a:pt x="3197" y="506"/>
                  <a:pt x="3197" y="507"/>
                </a:cubicBezTo>
                <a:cubicBezTo>
                  <a:pt x="3197" y="508"/>
                  <a:pt x="3196" y="508"/>
                  <a:pt x="3196" y="508"/>
                </a:cubicBezTo>
                <a:lnTo>
                  <a:pt x="3195" y="508"/>
                </a:lnTo>
                <a:cubicBezTo>
                  <a:pt x="3194" y="508"/>
                  <a:pt x="3193" y="508"/>
                  <a:pt x="3192" y="510"/>
                </a:cubicBezTo>
                <a:cubicBezTo>
                  <a:pt x="3191" y="511"/>
                  <a:pt x="3191" y="513"/>
                  <a:pt x="3191" y="515"/>
                </a:cubicBezTo>
                <a:cubicBezTo>
                  <a:pt x="3191" y="516"/>
                  <a:pt x="3191" y="517"/>
                  <a:pt x="3192" y="518"/>
                </a:cubicBezTo>
                <a:lnTo>
                  <a:pt x="3192" y="519"/>
                </a:lnTo>
                <a:cubicBezTo>
                  <a:pt x="3192" y="519"/>
                  <a:pt x="3192" y="520"/>
                  <a:pt x="3192" y="520"/>
                </a:cubicBezTo>
                <a:lnTo>
                  <a:pt x="3189" y="519"/>
                </a:lnTo>
                <a:cubicBezTo>
                  <a:pt x="3189" y="519"/>
                  <a:pt x="3189" y="519"/>
                  <a:pt x="3189" y="519"/>
                </a:cubicBezTo>
                <a:lnTo>
                  <a:pt x="3190" y="525"/>
                </a:lnTo>
                <a:cubicBezTo>
                  <a:pt x="3190" y="526"/>
                  <a:pt x="3190" y="526"/>
                  <a:pt x="3189" y="526"/>
                </a:cubicBezTo>
                <a:lnTo>
                  <a:pt x="3187" y="525"/>
                </a:lnTo>
                <a:cubicBezTo>
                  <a:pt x="3186" y="525"/>
                  <a:pt x="3186" y="526"/>
                  <a:pt x="3186" y="526"/>
                </a:cubicBezTo>
                <a:lnTo>
                  <a:pt x="3187" y="530"/>
                </a:lnTo>
                <a:cubicBezTo>
                  <a:pt x="3187" y="531"/>
                  <a:pt x="3187" y="532"/>
                  <a:pt x="3186" y="532"/>
                </a:cubicBezTo>
                <a:cubicBezTo>
                  <a:pt x="3186" y="532"/>
                  <a:pt x="3185" y="532"/>
                  <a:pt x="3185" y="534"/>
                </a:cubicBezTo>
                <a:lnTo>
                  <a:pt x="3186" y="539"/>
                </a:lnTo>
                <a:cubicBezTo>
                  <a:pt x="3186" y="540"/>
                  <a:pt x="3186" y="541"/>
                  <a:pt x="3186" y="541"/>
                </a:cubicBezTo>
                <a:cubicBezTo>
                  <a:pt x="3185" y="541"/>
                  <a:pt x="3184" y="540"/>
                  <a:pt x="3184" y="539"/>
                </a:cubicBezTo>
                <a:cubicBezTo>
                  <a:pt x="3183" y="539"/>
                  <a:pt x="3182" y="539"/>
                  <a:pt x="3182" y="539"/>
                </a:cubicBezTo>
                <a:lnTo>
                  <a:pt x="3182" y="539"/>
                </a:lnTo>
                <a:cubicBezTo>
                  <a:pt x="3182" y="539"/>
                  <a:pt x="3182" y="540"/>
                  <a:pt x="3184" y="541"/>
                </a:cubicBezTo>
                <a:cubicBezTo>
                  <a:pt x="3185" y="543"/>
                  <a:pt x="3185" y="544"/>
                  <a:pt x="3185" y="544"/>
                </a:cubicBezTo>
                <a:cubicBezTo>
                  <a:pt x="3185" y="546"/>
                  <a:pt x="3185" y="546"/>
                  <a:pt x="3183" y="546"/>
                </a:cubicBezTo>
                <a:lnTo>
                  <a:pt x="3181" y="546"/>
                </a:lnTo>
                <a:cubicBezTo>
                  <a:pt x="3181" y="546"/>
                  <a:pt x="3181" y="546"/>
                  <a:pt x="3181" y="546"/>
                </a:cubicBezTo>
                <a:cubicBezTo>
                  <a:pt x="3181" y="547"/>
                  <a:pt x="3181" y="548"/>
                  <a:pt x="3182" y="549"/>
                </a:cubicBezTo>
                <a:cubicBezTo>
                  <a:pt x="3182" y="551"/>
                  <a:pt x="3182" y="553"/>
                  <a:pt x="3182" y="554"/>
                </a:cubicBezTo>
                <a:cubicBezTo>
                  <a:pt x="3182" y="556"/>
                  <a:pt x="3182" y="558"/>
                  <a:pt x="3181" y="560"/>
                </a:cubicBezTo>
                <a:cubicBezTo>
                  <a:pt x="3181" y="562"/>
                  <a:pt x="3179" y="563"/>
                  <a:pt x="3178" y="563"/>
                </a:cubicBezTo>
                <a:lnTo>
                  <a:pt x="3176" y="562"/>
                </a:lnTo>
                <a:cubicBezTo>
                  <a:pt x="3176" y="562"/>
                  <a:pt x="3176" y="563"/>
                  <a:pt x="3177" y="565"/>
                </a:cubicBezTo>
                <a:cubicBezTo>
                  <a:pt x="3178" y="566"/>
                  <a:pt x="3179" y="567"/>
                  <a:pt x="3179" y="569"/>
                </a:cubicBezTo>
                <a:cubicBezTo>
                  <a:pt x="3179" y="570"/>
                  <a:pt x="3178" y="571"/>
                  <a:pt x="3177" y="571"/>
                </a:cubicBezTo>
                <a:cubicBezTo>
                  <a:pt x="3177" y="572"/>
                  <a:pt x="3176" y="573"/>
                  <a:pt x="3176" y="573"/>
                </a:cubicBezTo>
                <a:cubicBezTo>
                  <a:pt x="3175" y="573"/>
                  <a:pt x="3175" y="572"/>
                  <a:pt x="3175" y="571"/>
                </a:cubicBezTo>
                <a:cubicBezTo>
                  <a:pt x="3175" y="569"/>
                  <a:pt x="3175" y="569"/>
                  <a:pt x="3175" y="569"/>
                </a:cubicBezTo>
                <a:lnTo>
                  <a:pt x="3174" y="569"/>
                </a:lnTo>
                <a:lnTo>
                  <a:pt x="3174" y="570"/>
                </a:lnTo>
                <a:cubicBezTo>
                  <a:pt x="3174" y="571"/>
                  <a:pt x="3174" y="572"/>
                  <a:pt x="3175" y="573"/>
                </a:cubicBezTo>
                <a:cubicBezTo>
                  <a:pt x="3176" y="574"/>
                  <a:pt x="3176" y="576"/>
                  <a:pt x="3176" y="577"/>
                </a:cubicBezTo>
                <a:cubicBezTo>
                  <a:pt x="3176" y="580"/>
                  <a:pt x="3176" y="583"/>
                  <a:pt x="3174" y="587"/>
                </a:cubicBezTo>
                <a:cubicBezTo>
                  <a:pt x="3169" y="604"/>
                  <a:pt x="3167" y="625"/>
                  <a:pt x="3167" y="651"/>
                </a:cubicBezTo>
                <a:cubicBezTo>
                  <a:pt x="3167" y="667"/>
                  <a:pt x="3169" y="682"/>
                  <a:pt x="3173" y="695"/>
                </a:cubicBezTo>
                <a:cubicBezTo>
                  <a:pt x="3177" y="708"/>
                  <a:pt x="3180" y="715"/>
                  <a:pt x="3183" y="715"/>
                </a:cubicBezTo>
                <a:cubicBezTo>
                  <a:pt x="3187" y="715"/>
                  <a:pt x="3190" y="717"/>
                  <a:pt x="3193" y="719"/>
                </a:cubicBezTo>
                <a:cubicBezTo>
                  <a:pt x="3199" y="726"/>
                  <a:pt x="3201" y="730"/>
                  <a:pt x="3201" y="732"/>
                </a:cubicBezTo>
                <a:cubicBezTo>
                  <a:pt x="3201" y="732"/>
                  <a:pt x="3201" y="733"/>
                  <a:pt x="3201" y="734"/>
                </a:cubicBezTo>
                <a:cubicBezTo>
                  <a:pt x="3200" y="734"/>
                  <a:pt x="3197" y="731"/>
                  <a:pt x="3194" y="725"/>
                </a:cubicBezTo>
                <a:cubicBezTo>
                  <a:pt x="3191" y="721"/>
                  <a:pt x="3189" y="719"/>
                  <a:pt x="3189" y="719"/>
                </a:cubicBezTo>
                <a:cubicBezTo>
                  <a:pt x="3188" y="719"/>
                  <a:pt x="3188" y="719"/>
                  <a:pt x="3188" y="720"/>
                </a:cubicBezTo>
                <a:cubicBezTo>
                  <a:pt x="3188" y="721"/>
                  <a:pt x="3188" y="721"/>
                  <a:pt x="3187" y="721"/>
                </a:cubicBezTo>
                <a:lnTo>
                  <a:pt x="3185" y="720"/>
                </a:lnTo>
                <a:cubicBezTo>
                  <a:pt x="3185" y="721"/>
                  <a:pt x="3187" y="723"/>
                  <a:pt x="3191" y="727"/>
                </a:cubicBezTo>
                <a:cubicBezTo>
                  <a:pt x="3198" y="732"/>
                  <a:pt x="3202" y="735"/>
                  <a:pt x="3204" y="735"/>
                </a:cubicBezTo>
                <a:cubicBezTo>
                  <a:pt x="3206" y="735"/>
                  <a:pt x="3206" y="735"/>
                  <a:pt x="3206" y="737"/>
                </a:cubicBezTo>
                <a:lnTo>
                  <a:pt x="3206" y="737"/>
                </a:lnTo>
                <a:cubicBezTo>
                  <a:pt x="3206" y="739"/>
                  <a:pt x="3207" y="739"/>
                  <a:pt x="3209" y="739"/>
                </a:cubicBezTo>
                <a:lnTo>
                  <a:pt x="3211" y="739"/>
                </a:lnTo>
                <a:cubicBezTo>
                  <a:pt x="3212" y="739"/>
                  <a:pt x="3213" y="739"/>
                  <a:pt x="3214" y="741"/>
                </a:cubicBezTo>
                <a:cubicBezTo>
                  <a:pt x="3215" y="742"/>
                  <a:pt x="3216" y="743"/>
                  <a:pt x="3217" y="743"/>
                </a:cubicBezTo>
                <a:cubicBezTo>
                  <a:pt x="3217" y="743"/>
                  <a:pt x="3218" y="742"/>
                  <a:pt x="3218" y="742"/>
                </a:cubicBezTo>
                <a:cubicBezTo>
                  <a:pt x="3218" y="741"/>
                  <a:pt x="3218" y="740"/>
                  <a:pt x="3217" y="740"/>
                </a:cubicBezTo>
                <a:cubicBezTo>
                  <a:pt x="3217" y="740"/>
                  <a:pt x="3217" y="739"/>
                  <a:pt x="3217" y="739"/>
                </a:cubicBezTo>
                <a:cubicBezTo>
                  <a:pt x="3217" y="739"/>
                  <a:pt x="3218" y="739"/>
                  <a:pt x="3219" y="739"/>
                </a:cubicBezTo>
                <a:cubicBezTo>
                  <a:pt x="3220" y="740"/>
                  <a:pt x="3220" y="741"/>
                  <a:pt x="3220" y="742"/>
                </a:cubicBezTo>
                <a:lnTo>
                  <a:pt x="3220" y="743"/>
                </a:lnTo>
                <a:cubicBezTo>
                  <a:pt x="3220" y="744"/>
                  <a:pt x="3220" y="745"/>
                  <a:pt x="3222" y="745"/>
                </a:cubicBezTo>
                <a:cubicBezTo>
                  <a:pt x="3223" y="746"/>
                  <a:pt x="3224" y="747"/>
                  <a:pt x="3226" y="747"/>
                </a:cubicBezTo>
                <a:cubicBezTo>
                  <a:pt x="3226" y="747"/>
                  <a:pt x="3227" y="746"/>
                  <a:pt x="3228" y="746"/>
                </a:cubicBezTo>
                <a:cubicBezTo>
                  <a:pt x="3228" y="746"/>
                  <a:pt x="3228" y="746"/>
                  <a:pt x="3228" y="746"/>
                </a:cubicBezTo>
                <a:cubicBezTo>
                  <a:pt x="3230" y="746"/>
                  <a:pt x="3233" y="747"/>
                  <a:pt x="3237" y="748"/>
                </a:cubicBezTo>
                <a:cubicBezTo>
                  <a:pt x="3242" y="751"/>
                  <a:pt x="3250" y="752"/>
                  <a:pt x="3259" y="752"/>
                </a:cubicBezTo>
                <a:cubicBezTo>
                  <a:pt x="3285" y="752"/>
                  <a:pt x="3319" y="745"/>
                  <a:pt x="3362" y="730"/>
                </a:cubicBezTo>
                <a:cubicBezTo>
                  <a:pt x="3382" y="724"/>
                  <a:pt x="3399" y="718"/>
                  <a:pt x="3413" y="711"/>
                </a:cubicBezTo>
                <a:cubicBezTo>
                  <a:pt x="3419" y="709"/>
                  <a:pt x="3424" y="707"/>
                  <a:pt x="3427" y="705"/>
                </a:cubicBezTo>
                <a:cubicBezTo>
                  <a:pt x="3430" y="704"/>
                  <a:pt x="3437" y="701"/>
                  <a:pt x="3446" y="696"/>
                </a:cubicBezTo>
                <a:cubicBezTo>
                  <a:pt x="3471" y="683"/>
                  <a:pt x="3486" y="675"/>
                  <a:pt x="3492" y="671"/>
                </a:cubicBezTo>
                <a:cubicBezTo>
                  <a:pt x="3498" y="667"/>
                  <a:pt x="3502" y="665"/>
                  <a:pt x="3506" y="665"/>
                </a:cubicBezTo>
                <a:cubicBezTo>
                  <a:pt x="3506" y="665"/>
                  <a:pt x="3507" y="666"/>
                  <a:pt x="3507" y="666"/>
                </a:cubicBezTo>
                <a:cubicBezTo>
                  <a:pt x="3507" y="667"/>
                  <a:pt x="3504" y="670"/>
                  <a:pt x="3498" y="672"/>
                </a:cubicBezTo>
                <a:cubicBezTo>
                  <a:pt x="3494" y="675"/>
                  <a:pt x="3492" y="677"/>
                  <a:pt x="3492" y="679"/>
                </a:cubicBezTo>
                <a:lnTo>
                  <a:pt x="3492" y="680"/>
                </a:lnTo>
                <a:cubicBezTo>
                  <a:pt x="3492" y="680"/>
                  <a:pt x="3492" y="681"/>
                  <a:pt x="3492" y="681"/>
                </a:cubicBezTo>
                <a:lnTo>
                  <a:pt x="3491" y="680"/>
                </a:lnTo>
                <a:cubicBezTo>
                  <a:pt x="3486" y="680"/>
                  <a:pt x="3481" y="682"/>
                  <a:pt x="3474" y="686"/>
                </a:cubicBezTo>
                <a:cubicBezTo>
                  <a:pt x="3451" y="698"/>
                  <a:pt x="3426" y="710"/>
                  <a:pt x="3399" y="720"/>
                </a:cubicBezTo>
                <a:cubicBezTo>
                  <a:pt x="3371" y="731"/>
                  <a:pt x="3346" y="740"/>
                  <a:pt x="3324" y="745"/>
                </a:cubicBezTo>
                <a:cubicBezTo>
                  <a:pt x="3309" y="749"/>
                  <a:pt x="3301" y="752"/>
                  <a:pt x="3301" y="752"/>
                </a:cubicBezTo>
                <a:cubicBezTo>
                  <a:pt x="3301" y="753"/>
                  <a:pt x="3302" y="754"/>
                  <a:pt x="3303" y="754"/>
                </a:cubicBezTo>
                <a:cubicBezTo>
                  <a:pt x="3307" y="754"/>
                  <a:pt x="3316" y="752"/>
                  <a:pt x="3329" y="748"/>
                </a:cubicBezTo>
                <a:cubicBezTo>
                  <a:pt x="3341" y="745"/>
                  <a:pt x="3348" y="744"/>
                  <a:pt x="3352" y="744"/>
                </a:cubicBezTo>
                <a:cubicBezTo>
                  <a:pt x="3353" y="744"/>
                  <a:pt x="3353" y="744"/>
                  <a:pt x="3354" y="744"/>
                </a:cubicBezTo>
                <a:cubicBezTo>
                  <a:pt x="3355" y="745"/>
                  <a:pt x="3355" y="745"/>
                  <a:pt x="3355" y="745"/>
                </a:cubicBezTo>
                <a:lnTo>
                  <a:pt x="3355" y="744"/>
                </a:lnTo>
                <a:cubicBezTo>
                  <a:pt x="3355" y="742"/>
                  <a:pt x="3363" y="738"/>
                  <a:pt x="3378" y="732"/>
                </a:cubicBezTo>
                <a:cubicBezTo>
                  <a:pt x="3392" y="728"/>
                  <a:pt x="3401" y="724"/>
                  <a:pt x="3406" y="723"/>
                </a:cubicBezTo>
                <a:cubicBezTo>
                  <a:pt x="3409" y="723"/>
                  <a:pt x="3410" y="723"/>
                  <a:pt x="3410" y="722"/>
                </a:cubicBezTo>
                <a:cubicBezTo>
                  <a:pt x="3410" y="721"/>
                  <a:pt x="3412" y="720"/>
                  <a:pt x="3415" y="720"/>
                </a:cubicBezTo>
                <a:cubicBezTo>
                  <a:pt x="3418" y="720"/>
                  <a:pt x="3420" y="719"/>
                  <a:pt x="3420" y="718"/>
                </a:cubicBezTo>
                <a:cubicBezTo>
                  <a:pt x="3420" y="717"/>
                  <a:pt x="3421" y="716"/>
                  <a:pt x="3422" y="716"/>
                </a:cubicBezTo>
                <a:lnTo>
                  <a:pt x="3424" y="716"/>
                </a:lnTo>
                <a:cubicBezTo>
                  <a:pt x="3425" y="716"/>
                  <a:pt x="3427" y="715"/>
                  <a:pt x="3429" y="714"/>
                </a:cubicBezTo>
                <a:cubicBezTo>
                  <a:pt x="3430" y="712"/>
                  <a:pt x="3432" y="711"/>
                  <a:pt x="3433" y="711"/>
                </a:cubicBezTo>
                <a:lnTo>
                  <a:pt x="3434" y="712"/>
                </a:lnTo>
                <a:cubicBezTo>
                  <a:pt x="3435" y="712"/>
                  <a:pt x="3436" y="711"/>
                  <a:pt x="3436" y="710"/>
                </a:cubicBezTo>
                <a:cubicBezTo>
                  <a:pt x="3436" y="709"/>
                  <a:pt x="3437" y="709"/>
                  <a:pt x="3439" y="709"/>
                </a:cubicBezTo>
                <a:lnTo>
                  <a:pt x="3441" y="709"/>
                </a:lnTo>
                <a:cubicBezTo>
                  <a:pt x="3442" y="709"/>
                  <a:pt x="3442" y="709"/>
                  <a:pt x="3442" y="708"/>
                </a:cubicBezTo>
                <a:cubicBezTo>
                  <a:pt x="3442" y="707"/>
                  <a:pt x="3443" y="707"/>
                  <a:pt x="3444" y="707"/>
                </a:cubicBezTo>
                <a:cubicBezTo>
                  <a:pt x="3444" y="707"/>
                  <a:pt x="3445" y="707"/>
                  <a:pt x="3446" y="707"/>
                </a:cubicBezTo>
                <a:cubicBezTo>
                  <a:pt x="3446" y="708"/>
                  <a:pt x="3447" y="708"/>
                  <a:pt x="3447" y="708"/>
                </a:cubicBezTo>
                <a:cubicBezTo>
                  <a:pt x="3449" y="708"/>
                  <a:pt x="3450" y="707"/>
                  <a:pt x="3450" y="705"/>
                </a:cubicBezTo>
                <a:cubicBezTo>
                  <a:pt x="3451" y="704"/>
                  <a:pt x="3452" y="703"/>
                  <a:pt x="3453" y="703"/>
                </a:cubicBezTo>
                <a:lnTo>
                  <a:pt x="3455" y="703"/>
                </a:lnTo>
                <a:cubicBezTo>
                  <a:pt x="3457" y="703"/>
                  <a:pt x="3459" y="702"/>
                  <a:pt x="3460" y="700"/>
                </a:cubicBezTo>
                <a:cubicBezTo>
                  <a:pt x="3461" y="700"/>
                  <a:pt x="3462" y="699"/>
                  <a:pt x="3462" y="699"/>
                </a:cubicBezTo>
                <a:cubicBezTo>
                  <a:pt x="3463" y="699"/>
                  <a:pt x="3464" y="698"/>
                  <a:pt x="3465" y="698"/>
                </a:cubicBezTo>
                <a:lnTo>
                  <a:pt x="3465" y="699"/>
                </a:lnTo>
                <a:cubicBezTo>
                  <a:pt x="3466" y="699"/>
                  <a:pt x="3466" y="698"/>
                  <a:pt x="3466" y="696"/>
                </a:cubicBezTo>
                <a:cubicBezTo>
                  <a:pt x="3466" y="693"/>
                  <a:pt x="3467" y="693"/>
                  <a:pt x="3467" y="693"/>
                </a:cubicBezTo>
                <a:cubicBezTo>
                  <a:pt x="3467" y="693"/>
                  <a:pt x="3468" y="693"/>
                  <a:pt x="3469" y="695"/>
                </a:cubicBezTo>
                <a:cubicBezTo>
                  <a:pt x="3469" y="696"/>
                  <a:pt x="3470" y="697"/>
                  <a:pt x="3470" y="697"/>
                </a:cubicBezTo>
                <a:cubicBezTo>
                  <a:pt x="3471" y="697"/>
                  <a:pt x="3471" y="696"/>
                  <a:pt x="3471" y="695"/>
                </a:cubicBezTo>
                <a:cubicBezTo>
                  <a:pt x="3471" y="694"/>
                  <a:pt x="3472" y="693"/>
                  <a:pt x="3473" y="693"/>
                </a:cubicBezTo>
                <a:lnTo>
                  <a:pt x="3474" y="694"/>
                </a:lnTo>
                <a:cubicBezTo>
                  <a:pt x="3474" y="694"/>
                  <a:pt x="3475" y="693"/>
                  <a:pt x="3475" y="691"/>
                </a:cubicBezTo>
                <a:cubicBezTo>
                  <a:pt x="3475" y="689"/>
                  <a:pt x="3475" y="688"/>
                  <a:pt x="3476" y="688"/>
                </a:cubicBezTo>
                <a:cubicBezTo>
                  <a:pt x="3476" y="688"/>
                  <a:pt x="3476" y="689"/>
                  <a:pt x="3477" y="690"/>
                </a:cubicBezTo>
                <a:cubicBezTo>
                  <a:pt x="3477" y="691"/>
                  <a:pt x="3478" y="691"/>
                  <a:pt x="3479" y="691"/>
                </a:cubicBezTo>
                <a:cubicBezTo>
                  <a:pt x="3479" y="691"/>
                  <a:pt x="3481" y="690"/>
                  <a:pt x="3482" y="689"/>
                </a:cubicBezTo>
                <a:cubicBezTo>
                  <a:pt x="3484" y="687"/>
                  <a:pt x="3485" y="686"/>
                  <a:pt x="3486" y="686"/>
                </a:cubicBezTo>
                <a:lnTo>
                  <a:pt x="3487" y="687"/>
                </a:lnTo>
                <a:cubicBezTo>
                  <a:pt x="3488" y="687"/>
                  <a:pt x="3488" y="686"/>
                  <a:pt x="3488" y="685"/>
                </a:cubicBezTo>
                <a:cubicBezTo>
                  <a:pt x="3488" y="684"/>
                  <a:pt x="3488" y="683"/>
                  <a:pt x="3489" y="683"/>
                </a:cubicBezTo>
                <a:lnTo>
                  <a:pt x="3490" y="684"/>
                </a:lnTo>
                <a:cubicBezTo>
                  <a:pt x="3492" y="684"/>
                  <a:pt x="3496" y="682"/>
                  <a:pt x="3504" y="677"/>
                </a:cubicBezTo>
                <a:cubicBezTo>
                  <a:pt x="3512" y="673"/>
                  <a:pt x="3516" y="670"/>
                  <a:pt x="3516" y="669"/>
                </a:cubicBezTo>
                <a:lnTo>
                  <a:pt x="3515" y="669"/>
                </a:lnTo>
                <a:cubicBezTo>
                  <a:pt x="3515" y="669"/>
                  <a:pt x="3515" y="669"/>
                  <a:pt x="3515" y="669"/>
                </a:cubicBezTo>
                <a:cubicBezTo>
                  <a:pt x="3515" y="669"/>
                  <a:pt x="3516" y="667"/>
                  <a:pt x="3518" y="666"/>
                </a:cubicBezTo>
                <a:cubicBezTo>
                  <a:pt x="3520" y="664"/>
                  <a:pt x="3522" y="664"/>
                  <a:pt x="3525" y="664"/>
                </a:cubicBezTo>
                <a:cubicBezTo>
                  <a:pt x="3526" y="664"/>
                  <a:pt x="3528" y="663"/>
                  <a:pt x="3530" y="660"/>
                </a:cubicBezTo>
                <a:cubicBezTo>
                  <a:pt x="3532" y="657"/>
                  <a:pt x="3533" y="656"/>
                  <a:pt x="3533" y="656"/>
                </a:cubicBezTo>
                <a:cubicBezTo>
                  <a:pt x="3534" y="656"/>
                  <a:pt x="3534" y="656"/>
                  <a:pt x="3534" y="657"/>
                </a:cubicBezTo>
                <a:cubicBezTo>
                  <a:pt x="3534" y="657"/>
                  <a:pt x="3534" y="657"/>
                  <a:pt x="3534" y="657"/>
                </a:cubicBezTo>
                <a:cubicBezTo>
                  <a:pt x="3535" y="657"/>
                  <a:pt x="3536" y="656"/>
                  <a:pt x="3537" y="654"/>
                </a:cubicBezTo>
                <a:lnTo>
                  <a:pt x="3540" y="652"/>
                </a:lnTo>
                <a:lnTo>
                  <a:pt x="3539" y="654"/>
                </a:lnTo>
                <a:cubicBezTo>
                  <a:pt x="3539" y="654"/>
                  <a:pt x="3539" y="654"/>
                  <a:pt x="3539" y="654"/>
                </a:cubicBezTo>
                <a:cubicBezTo>
                  <a:pt x="3539" y="654"/>
                  <a:pt x="3541" y="653"/>
                  <a:pt x="3543" y="650"/>
                </a:cubicBezTo>
                <a:cubicBezTo>
                  <a:pt x="3545" y="649"/>
                  <a:pt x="3546" y="647"/>
                  <a:pt x="3548" y="646"/>
                </a:cubicBezTo>
                <a:cubicBezTo>
                  <a:pt x="3550" y="645"/>
                  <a:pt x="3552" y="645"/>
                  <a:pt x="3553" y="645"/>
                </a:cubicBezTo>
                <a:cubicBezTo>
                  <a:pt x="3553" y="645"/>
                  <a:pt x="3554" y="643"/>
                  <a:pt x="3557" y="640"/>
                </a:cubicBezTo>
                <a:cubicBezTo>
                  <a:pt x="3559" y="637"/>
                  <a:pt x="3562" y="635"/>
                  <a:pt x="3564" y="634"/>
                </a:cubicBezTo>
                <a:cubicBezTo>
                  <a:pt x="3569" y="631"/>
                  <a:pt x="3573" y="628"/>
                  <a:pt x="3576" y="625"/>
                </a:cubicBezTo>
                <a:cubicBezTo>
                  <a:pt x="3582" y="620"/>
                  <a:pt x="3585" y="617"/>
                  <a:pt x="3585" y="617"/>
                </a:cubicBezTo>
                <a:cubicBezTo>
                  <a:pt x="3585" y="616"/>
                  <a:pt x="3586" y="616"/>
                  <a:pt x="3586" y="616"/>
                </a:cubicBezTo>
                <a:cubicBezTo>
                  <a:pt x="3589" y="616"/>
                  <a:pt x="3590" y="615"/>
                  <a:pt x="3590" y="613"/>
                </a:cubicBezTo>
                <a:cubicBezTo>
                  <a:pt x="3590" y="611"/>
                  <a:pt x="3591" y="610"/>
                  <a:pt x="3593" y="610"/>
                </a:cubicBezTo>
                <a:cubicBezTo>
                  <a:pt x="3595" y="610"/>
                  <a:pt x="3599" y="607"/>
                  <a:pt x="3605" y="601"/>
                </a:cubicBezTo>
                <a:lnTo>
                  <a:pt x="3627" y="580"/>
                </a:lnTo>
                <a:cubicBezTo>
                  <a:pt x="3645" y="562"/>
                  <a:pt x="3660" y="547"/>
                  <a:pt x="3671" y="535"/>
                </a:cubicBezTo>
                <a:lnTo>
                  <a:pt x="3683" y="521"/>
                </a:lnTo>
                <a:cubicBezTo>
                  <a:pt x="3683" y="521"/>
                  <a:pt x="3683" y="521"/>
                  <a:pt x="3683" y="523"/>
                </a:cubicBezTo>
                <a:cubicBezTo>
                  <a:pt x="3683" y="525"/>
                  <a:pt x="3683" y="527"/>
                  <a:pt x="3682" y="528"/>
                </a:cubicBezTo>
                <a:cubicBezTo>
                  <a:pt x="3680" y="529"/>
                  <a:pt x="3680" y="531"/>
                  <a:pt x="3680" y="533"/>
                </a:cubicBezTo>
                <a:lnTo>
                  <a:pt x="3680" y="535"/>
                </a:lnTo>
                <a:cubicBezTo>
                  <a:pt x="3680" y="535"/>
                  <a:pt x="3680" y="535"/>
                  <a:pt x="3680" y="535"/>
                </a:cubicBezTo>
                <a:lnTo>
                  <a:pt x="3680" y="535"/>
                </a:lnTo>
                <a:cubicBezTo>
                  <a:pt x="3678" y="535"/>
                  <a:pt x="3677" y="536"/>
                  <a:pt x="3676" y="538"/>
                </a:cubicBezTo>
                <a:cubicBezTo>
                  <a:pt x="3675" y="540"/>
                  <a:pt x="3674" y="543"/>
                  <a:pt x="3674" y="546"/>
                </a:cubicBezTo>
                <a:cubicBezTo>
                  <a:pt x="3673" y="551"/>
                  <a:pt x="3668" y="558"/>
                  <a:pt x="3660" y="568"/>
                </a:cubicBezTo>
                <a:cubicBezTo>
                  <a:pt x="3652" y="579"/>
                  <a:pt x="3642" y="590"/>
                  <a:pt x="3630" y="601"/>
                </a:cubicBezTo>
                <a:cubicBezTo>
                  <a:pt x="3618" y="613"/>
                  <a:pt x="3607" y="623"/>
                  <a:pt x="3596" y="632"/>
                </a:cubicBezTo>
                <a:cubicBezTo>
                  <a:pt x="3593" y="634"/>
                  <a:pt x="3589" y="637"/>
                  <a:pt x="3584" y="641"/>
                </a:cubicBezTo>
                <a:cubicBezTo>
                  <a:pt x="3544" y="674"/>
                  <a:pt x="3493" y="705"/>
                  <a:pt x="3430" y="732"/>
                </a:cubicBezTo>
                <a:cubicBezTo>
                  <a:pt x="3370" y="759"/>
                  <a:pt x="3320" y="772"/>
                  <a:pt x="3279" y="772"/>
                </a:cubicBezTo>
                <a:close/>
                <a:moveTo>
                  <a:pt x="3287" y="769"/>
                </a:moveTo>
                <a:cubicBezTo>
                  <a:pt x="3289" y="769"/>
                  <a:pt x="3289" y="769"/>
                  <a:pt x="3289" y="769"/>
                </a:cubicBezTo>
                <a:lnTo>
                  <a:pt x="3289" y="768"/>
                </a:lnTo>
                <a:lnTo>
                  <a:pt x="3286" y="768"/>
                </a:lnTo>
                <a:cubicBezTo>
                  <a:pt x="3283" y="768"/>
                  <a:pt x="3281" y="768"/>
                  <a:pt x="3281" y="769"/>
                </a:cubicBezTo>
                <a:lnTo>
                  <a:pt x="3287" y="769"/>
                </a:lnTo>
                <a:close/>
                <a:moveTo>
                  <a:pt x="3269" y="757"/>
                </a:moveTo>
                <a:cubicBezTo>
                  <a:pt x="3286" y="757"/>
                  <a:pt x="3295" y="757"/>
                  <a:pt x="3297" y="756"/>
                </a:cubicBezTo>
                <a:cubicBezTo>
                  <a:pt x="3298" y="755"/>
                  <a:pt x="3299" y="754"/>
                  <a:pt x="3299" y="754"/>
                </a:cubicBezTo>
                <a:cubicBezTo>
                  <a:pt x="3299" y="753"/>
                  <a:pt x="3299" y="752"/>
                  <a:pt x="3297" y="752"/>
                </a:cubicBezTo>
                <a:lnTo>
                  <a:pt x="3291" y="753"/>
                </a:lnTo>
                <a:cubicBezTo>
                  <a:pt x="3283" y="754"/>
                  <a:pt x="3278" y="754"/>
                  <a:pt x="3274" y="754"/>
                </a:cubicBezTo>
                <a:cubicBezTo>
                  <a:pt x="3268" y="754"/>
                  <a:pt x="3264" y="755"/>
                  <a:pt x="3263" y="756"/>
                </a:cubicBezTo>
                <a:lnTo>
                  <a:pt x="3262" y="756"/>
                </a:lnTo>
                <a:cubicBezTo>
                  <a:pt x="3262" y="757"/>
                  <a:pt x="3264" y="757"/>
                  <a:pt x="3269" y="757"/>
                </a:cubicBezTo>
                <a:close/>
                <a:moveTo>
                  <a:pt x="3256" y="759"/>
                </a:moveTo>
                <a:cubicBezTo>
                  <a:pt x="3257" y="759"/>
                  <a:pt x="3258" y="759"/>
                  <a:pt x="3258" y="758"/>
                </a:cubicBezTo>
                <a:lnTo>
                  <a:pt x="3258" y="758"/>
                </a:lnTo>
                <a:cubicBezTo>
                  <a:pt x="3257" y="757"/>
                  <a:pt x="3254" y="756"/>
                  <a:pt x="3249" y="755"/>
                </a:cubicBezTo>
                <a:lnTo>
                  <a:pt x="3244" y="755"/>
                </a:lnTo>
                <a:cubicBezTo>
                  <a:pt x="3244" y="755"/>
                  <a:pt x="3244" y="755"/>
                  <a:pt x="3244" y="755"/>
                </a:cubicBezTo>
                <a:cubicBezTo>
                  <a:pt x="3244" y="756"/>
                  <a:pt x="3244" y="756"/>
                  <a:pt x="3245" y="757"/>
                </a:cubicBezTo>
                <a:cubicBezTo>
                  <a:pt x="3246" y="757"/>
                  <a:pt x="3248" y="758"/>
                  <a:pt x="3250" y="758"/>
                </a:cubicBezTo>
                <a:cubicBezTo>
                  <a:pt x="3253" y="759"/>
                  <a:pt x="3254" y="759"/>
                  <a:pt x="3256" y="759"/>
                </a:cubicBezTo>
                <a:close/>
                <a:moveTo>
                  <a:pt x="3349" y="448"/>
                </a:moveTo>
                <a:lnTo>
                  <a:pt x="3352" y="448"/>
                </a:lnTo>
                <a:cubicBezTo>
                  <a:pt x="3354" y="447"/>
                  <a:pt x="3355" y="446"/>
                  <a:pt x="3355" y="445"/>
                </a:cubicBezTo>
                <a:lnTo>
                  <a:pt x="3354" y="445"/>
                </a:lnTo>
                <a:cubicBezTo>
                  <a:pt x="3353" y="445"/>
                  <a:pt x="3352" y="446"/>
                  <a:pt x="3351" y="446"/>
                </a:cubicBezTo>
                <a:cubicBezTo>
                  <a:pt x="3350" y="447"/>
                  <a:pt x="3349" y="448"/>
                  <a:pt x="3349" y="448"/>
                </a:cubicBezTo>
                <a:close/>
                <a:moveTo>
                  <a:pt x="3283" y="483"/>
                </a:moveTo>
                <a:cubicBezTo>
                  <a:pt x="3285" y="483"/>
                  <a:pt x="3287" y="482"/>
                  <a:pt x="3289" y="479"/>
                </a:cubicBezTo>
                <a:cubicBezTo>
                  <a:pt x="3291" y="476"/>
                  <a:pt x="3293" y="475"/>
                  <a:pt x="3293" y="475"/>
                </a:cubicBezTo>
                <a:lnTo>
                  <a:pt x="3292" y="474"/>
                </a:lnTo>
                <a:cubicBezTo>
                  <a:pt x="3292" y="474"/>
                  <a:pt x="3291" y="475"/>
                  <a:pt x="3290" y="475"/>
                </a:cubicBezTo>
                <a:cubicBezTo>
                  <a:pt x="3289" y="476"/>
                  <a:pt x="3287" y="478"/>
                  <a:pt x="3286" y="479"/>
                </a:cubicBezTo>
                <a:cubicBezTo>
                  <a:pt x="3284" y="481"/>
                  <a:pt x="3283" y="482"/>
                  <a:pt x="3283" y="483"/>
                </a:cubicBezTo>
                <a:cubicBezTo>
                  <a:pt x="3283" y="483"/>
                  <a:pt x="3283" y="483"/>
                  <a:pt x="3283" y="483"/>
                </a:cubicBezTo>
                <a:close/>
                <a:moveTo>
                  <a:pt x="3315" y="456"/>
                </a:moveTo>
                <a:cubicBezTo>
                  <a:pt x="3315" y="456"/>
                  <a:pt x="3317" y="455"/>
                  <a:pt x="3320" y="451"/>
                </a:cubicBezTo>
                <a:cubicBezTo>
                  <a:pt x="3322" y="449"/>
                  <a:pt x="3323" y="447"/>
                  <a:pt x="3323" y="447"/>
                </a:cubicBezTo>
                <a:cubicBezTo>
                  <a:pt x="3322" y="447"/>
                  <a:pt x="3321" y="448"/>
                  <a:pt x="3318" y="451"/>
                </a:cubicBezTo>
                <a:cubicBezTo>
                  <a:pt x="3316" y="454"/>
                  <a:pt x="3315" y="456"/>
                  <a:pt x="3315" y="456"/>
                </a:cubicBezTo>
                <a:close/>
                <a:moveTo>
                  <a:pt x="3425" y="339"/>
                </a:moveTo>
                <a:cubicBezTo>
                  <a:pt x="3426" y="339"/>
                  <a:pt x="3427" y="338"/>
                  <a:pt x="3429" y="334"/>
                </a:cubicBezTo>
                <a:cubicBezTo>
                  <a:pt x="3430" y="332"/>
                  <a:pt x="3431" y="331"/>
                  <a:pt x="3431" y="330"/>
                </a:cubicBezTo>
                <a:lnTo>
                  <a:pt x="3431" y="330"/>
                </a:lnTo>
                <a:lnTo>
                  <a:pt x="3429" y="332"/>
                </a:lnTo>
                <a:cubicBezTo>
                  <a:pt x="3426" y="335"/>
                  <a:pt x="3425" y="337"/>
                  <a:pt x="3425" y="339"/>
                </a:cubicBezTo>
                <a:cubicBezTo>
                  <a:pt x="3425" y="339"/>
                  <a:pt x="3425" y="339"/>
                  <a:pt x="3425" y="339"/>
                </a:cubicBezTo>
                <a:close/>
                <a:moveTo>
                  <a:pt x="3438" y="316"/>
                </a:moveTo>
                <a:cubicBezTo>
                  <a:pt x="3439" y="316"/>
                  <a:pt x="3440" y="316"/>
                  <a:pt x="3441" y="314"/>
                </a:cubicBezTo>
                <a:lnTo>
                  <a:pt x="3441" y="313"/>
                </a:lnTo>
                <a:cubicBezTo>
                  <a:pt x="3441" y="313"/>
                  <a:pt x="3441" y="313"/>
                  <a:pt x="3441" y="313"/>
                </a:cubicBezTo>
                <a:lnTo>
                  <a:pt x="3440" y="313"/>
                </a:lnTo>
                <a:cubicBezTo>
                  <a:pt x="3437" y="314"/>
                  <a:pt x="3436" y="315"/>
                  <a:pt x="3436" y="316"/>
                </a:cubicBezTo>
                <a:cubicBezTo>
                  <a:pt x="3436" y="316"/>
                  <a:pt x="3437" y="316"/>
                  <a:pt x="3438" y="316"/>
                </a:cubicBezTo>
                <a:close/>
                <a:moveTo>
                  <a:pt x="3332" y="204"/>
                </a:moveTo>
                <a:cubicBezTo>
                  <a:pt x="3333" y="204"/>
                  <a:pt x="3335" y="202"/>
                  <a:pt x="3337" y="199"/>
                </a:cubicBezTo>
                <a:cubicBezTo>
                  <a:pt x="3339" y="197"/>
                  <a:pt x="3340" y="195"/>
                  <a:pt x="3340" y="195"/>
                </a:cubicBezTo>
                <a:cubicBezTo>
                  <a:pt x="3340" y="195"/>
                  <a:pt x="3338" y="195"/>
                  <a:pt x="3336" y="197"/>
                </a:cubicBezTo>
                <a:cubicBezTo>
                  <a:pt x="3333" y="198"/>
                  <a:pt x="3332" y="200"/>
                  <a:pt x="3332" y="202"/>
                </a:cubicBezTo>
                <a:cubicBezTo>
                  <a:pt x="3332" y="203"/>
                  <a:pt x="3332" y="204"/>
                  <a:pt x="3332" y="204"/>
                </a:cubicBezTo>
                <a:close/>
                <a:moveTo>
                  <a:pt x="3293" y="249"/>
                </a:moveTo>
                <a:cubicBezTo>
                  <a:pt x="3294" y="249"/>
                  <a:pt x="3294" y="248"/>
                  <a:pt x="3294" y="246"/>
                </a:cubicBezTo>
                <a:cubicBezTo>
                  <a:pt x="3294" y="245"/>
                  <a:pt x="3294" y="244"/>
                  <a:pt x="3293" y="244"/>
                </a:cubicBezTo>
                <a:lnTo>
                  <a:pt x="3292" y="244"/>
                </a:lnTo>
                <a:cubicBezTo>
                  <a:pt x="3291" y="245"/>
                  <a:pt x="3291" y="245"/>
                  <a:pt x="3291" y="246"/>
                </a:cubicBezTo>
                <a:cubicBezTo>
                  <a:pt x="3291" y="247"/>
                  <a:pt x="3291" y="247"/>
                  <a:pt x="3292" y="248"/>
                </a:cubicBezTo>
                <a:cubicBezTo>
                  <a:pt x="3293" y="249"/>
                  <a:pt x="3293" y="249"/>
                  <a:pt x="3293" y="249"/>
                </a:cubicBezTo>
                <a:close/>
                <a:moveTo>
                  <a:pt x="3228" y="509"/>
                </a:moveTo>
                <a:cubicBezTo>
                  <a:pt x="3231" y="509"/>
                  <a:pt x="3236" y="507"/>
                  <a:pt x="3242" y="504"/>
                </a:cubicBezTo>
                <a:cubicBezTo>
                  <a:pt x="3245" y="502"/>
                  <a:pt x="3248" y="501"/>
                  <a:pt x="3251" y="499"/>
                </a:cubicBezTo>
                <a:cubicBezTo>
                  <a:pt x="3253" y="498"/>
                  <a:pt x="3255" y="496"/>
                  <a:pt x="3256" y="495"/>
                </a:cubicBezTo>
                <a:cubicBezTo>
                  <a:pt x="3258" y="494"/>
                  <a:pt x="3259" y="493"/>
                  <a:pt x="3259" y="493"/>
                </a:cubicBezTo>
                <a:cubicBezTo>
                  <a:pt x="3260" y="493"/>
                  <a:pt x="3261" y="494"/>
                  <a:pt x="3261" y="495"/>
                </a:cubicBezTo>
                <a:cubicBezTo>
                  <a:pt x="3261" y="496"/>
                  <a:pt x="3259" y="498"/>
                  <a:pt x="3254" y="500"/>
                </a:cubicBezTo>
                <a:cubicBezTo>
                  <a:pt x="3250" y="502"/>
                  <a:pt x="3248" y="504"/>
                  <a:pt x="3248" y="506"/>
                </a:cubicBezTo>
                <a:lnTo>
                  <a:pt x="3248" y="506"/>
                </a:lnTo>
                <a:cubicBezTo>
                  <a:pt x="3250" y="506"/>
                  <a:pt x="3254" y="504"/>
                  <a:pt x="3259" y="501"/>
                </a:cubicBezTo>
                <a:cubicBezTo>
                  <a:pt x="3272" y="493"/>
                  <a:pt x="3279" y="488"/>
                  <a:pt x="3279" y="486"/>
                </a:cubicBezTo>
                <a:cubicBezTo>
                  <a:pt x="3279" y="486"/>
                  <a:pt x="3278" y="486"/>
                  <a:pt x="3278" y="486"/>
                </a:cubicBezTo>
                <a:cubicBezTo>
                  <a:pt x="3277" y="486"/>
                  <a:pt x="3275" y="487"/>
                  <a:pt x="3274" y="488"/>
                </a:cubicBezTo>
                <a:cubicBezTo>
                  <a:pt x="3272" y="490"/>
                  <a:pt x="3271" y="492"/>
                  <a:pt x="3269" y="492"/>
                </a:cubicBezTo>
                <a:cubicBezTo>
                  <a:pt x="3267" y="493"/>
                  <a:pt x="3265" y="494"/>
                  <a:pt x="3264" y="494"/>
                </a:cubicBezTo>
                <a:cubicBezTo>
                  <a:pt x="3263" y="494"/>
                  <a:pt x="3262" y="494"/>
                  <a:pt x="3262" y="493"/>
                </a:cubicBezTo>
                <a:cubicBezTo>
                  <a:pt x="3262" y="492"/>
                  <a:pt x="3268" y="487"/>
                  <a:pt x="3278" y="478"/>
                </a:cubicBezTo>
                <a:cubicBezTo>
                  <a:pt x="3289" y="470"/>
                  <a:pt x="3295" y="465"/>
                  <a:pt x="3297" y="465"/>
                </a:cubicBezTo>
                <a:cubicBezTo>
                  <a:pt x="3298" y="465"/>
                  <a:pt x="3306" y="458"/>
                  <a:pt x="3321" y="442"/>
                </a:cubicBezTo>
                <a:cubicBezTo>
                  <a:pt x="3328" y="433"/>
                  <a:pt x="3335" y="426"/>
                  <a:pt x="3341" y="419"/>
                </a:cubicBezTo>
                <a:cubicBezTo>
                  <a:pt x="3346" y="412"/>
                  <a:pt x="3350" y="408"/>
                  <a:pt x="3350" y="407"/>
                </a:cubicBezTo>
                <a:cubicBezTo>
                  <a:pt x="3352" y="404"/>
                  <a:pt x="3353" y="402"/>
                  <a:pt x="3354" y="400"/>
                </a:cubicBezTo>
                <a:cubicBezTo>
                  <a:pt x="3355" y="398"/>
                  <a:pt x="3356" y="397"/>
                  <a:pt x="3357" y="397"/>
                </a:cubicBezTo>
                <a:lnTo>
                  <a:pt x="3359" y="399"/>
                </a:lnTo>
                <a:cubicBezTo>
                  <a:pt x="3359" y="399"/>
                  <a:pt x="3360" y="398"/>
                  <a:pt x="3360" y="398"/>
                </a:cubicBezTo>
                <a:lnTo>
                  <a:pt x="3358" y="396"/>
                </a:lnTo>
                <a:cubicBezTo>
                  <a:pt x="3358" y="394"/>
                  <a:pt x="3360" y="392"/>
                  <a:pt x="3364" y="389"/>
                </a:cubicBezTo>
                <a:cubicBezTo>
                  <a:pt x="3367" y="385"/>
                  <a:pt x="3369" y="383"/>
                  <a:pt x="3369" y="381"/>
                </a:cubicBezTo>
                <a:cubicBezTo>
                  <a:pt x="3369" y="380"/>
                  <a:pt x="3370" y="377"/>
                  <a:pt x="3373" y="374"/>
                </a:cubicBezTo>
                <a:cubicBezTo>
                  <a:pt x="3376" y="372"/>
                  <a:pt x="3378" y="369"/>
                  <a:pt x="3381" y="364"/>
                </a:cubicBezTo>
                <a:cubicBezTo>
                  <a:pt x="3383" y="360"/>
                  <a:pt x="3384" y="359"/>
                  <a:pt x="3385" y="359"/>
                </a:cubicBezTo>
                <a:lnTo>
                  <a:pt x="3388" y="360"/>
                </a:lnTo>
                <a:lnTo>
                  <a:pt x="3388" y="357"/>
                </a:lnTo>
                <a:cubicBezTo>
                  <a:pt x="3388" y="355"/>
                  <a:pt x="3390" y="352"/>
                  <a:pt x="3393" y="347"/>
                </a:cubicBezTo>
                <a:cubicBezTo>
                  <a:pt x="3397" y="340"/>
                  <a:pt x="3400" y="335"/>
                  <a:pt x="3401" y="332"/>
                </a:cubicBezTo>
                <a:cubicBezTo>
                  <a:pt x="3403" y="327"/>
                  <a:pt x="3405" y="325"/>
                  <a:pt x="3405" y="325"/>
                </a:cubicBezTo>
                <a:cubicBezTo>
                  <a:pt x="3406" y="325"/>
                  <a:pt x="3407" y="325"/>
                  <a:pt x="3407" y="324"/>
                </a:cubicBezTo>
                <a:lnTo>
                  <a:pt x="3407" y="323"/>
                </a:lnTo>
                <a:cubicBezTo>
                  <a:pt x="3407" y="321"/>
                  <a:pt x="3408" y="318"/>
                  <a:pt x="3411" y="316"/>
                </a:cubicBezTo>
                <a:cubicBezTo>
                  <a:pt x="3414" y="313"/>
                  <a:pt x="3415" y="311"/>
                  <a:pt x="3415" y="308"/>
                </a:cubicBezTo>
                <a:lnTo>
                  <a:pt x="3415" y="306"/>
                </a:lnTo>
                <a:cubicBezTo>
                  <a:pt x="3415" y="306"/>
                  <a:pt x="3415" y="305"/>
                  <a:pt x="3417" y="305"/>
                </a:cubicBezTo>
                <a:cubicBezTo>
                  <a:pt x="3418" y="304"/>
                  <a:pt x="3419" y="303"/>
                  <a:pt x="3420" y="301"/>
                </a:cubicBezTo>
                <a:cubicBezTo>
                  <a:pt x="3421" y="299"/>
                  <a:pt x="3422" y="296"/>
                  <a:pt x="3424" y="294"/>
                </a:cubicBezTo>
                <a:cubicBezTo>
                  <a:pt x="3426" y="291"/>
                  <a:pt x="3427" y="288"/>
                  <a:pt x="3428" y="285"/>
                </a:cubicBezTo>
                <a:cubicBezTo>
                  <a:pt x="3428" y="282"/>
                  <a:pt x="3430" y="279"/>
                  <a:pt x="3432" y="277"/>
                </a:cubicBezTo>
                <a:cubicBezTo>
                  <a:pt x="3434" y="275"/>
                  <a:pt x="3435" y="272"/>
                  <a:pt x="3435" y="270"/>
                </a:cubicBezTo>
                <a:lnTo>
                  <a:pt x="3435" y="267"/>
                </a:lnTo>
                <a:cubicBezTo>
                  <a:pt x="3435" y="267"/>
                  <a:pt x="3435" y="267"/>
                  <a:pt x="3435" y="267"/>
                </a:cubicBezTo>
                <a:lnTo>
                  <a:pt x="3437" y="267"/>
                </a:lnTo>
                <a:cubicBezTo>
                  <a:pt x="3437" y="267"/>
                  <a:pt x="3438" y="267"/>
                  <a:pt x="3438" y="265"/>
                </a:cubicBezTo>
                <a:cubicBezTo>
                  <a:pt x="3439" y="264"/>
                  <a:pt x="3439" y="263"/>
                  <a:pt x="3439" y="262"/>
                </a:cubicBezTo>
                <a:cubicBezTo>
                  <a:pt x="3439" y="261"/>
                  <a:pt x="3439" y="260"/>
                  <a:pt x="3439" y="259"/>
                </a:cubicBezTo>
                <a:cubicBezTo>
                  <a:pt x="3439" y="259"/>
                  <a:pt x="3439" y="258"/>
                  <a:pt x="3440" y="257"/>
                </a:cubicBezTo>
                <a:cubicBezTo>
                  <a:pt x="3441" y="255"/>
                  <a:pt x="3442" y="254"/>
                  <a:pt x="3442" y="253"/>
                </a:cubicBezTo>
                <a:cubicBezTo>
                  <a:pt x="3443" y="252"/>
                  <a:pt x="3444" y="251"/>
                  <a:pt x="3444" y="249"/>
                </a:cubicBezTo>
                <a:cubicBezTo>
                  <a:pt x="3444" y="249"/>
                  <a:pt x="3444" y="248"/>
                  <a:pt x="3444" y="247"/>
                </a:cubicBezTo>
                <a:cubicBezTo>
                  <a:pt x="3443" y="247"/>
                  <a:pt x="3443" y="246"/>
                  <a:pt x="3443" y="246"/>
                </a:cubicBezTo>
                <a:cubicBezTo>
                  <a:pt x="3443" y="245"/>
                  <a:pt x="3443" y="245"/>
                  <a:pt x="3443" y="245"/>
                </a:cubicBezTo>
                <a:lnTo>
                  <a:pt x="3446" y="246"/>
                </a:lnTo>
                <a:cubicBezTo>
                  <a:pt x="3446" y="246"/>
                  <a:pt x="3447" y="245"/>
                  <a:pt x="3447" y="243"/>
                </a:cubicBezTo>
                <a:cubicBezTo>
                  <a:pt x="3447" y="242"/>
                  <a:pt x="3447" y="240"/>
                  <a:pt x="3448" y="239"/>
                </a:cubicBezTo>
                <a:cubicBezTo>
                  <a:pt x="3448" y="237"/>
                  <a:pt x="3449" y="236"/>
                  <a:pt x="3450" y="234"/>
                </a:cubicBezTo>
                <a:cubicBezTo>
                  <a:pt x="3453" y="223"/>
                  <a:pt x="3456" y="212"/>
                  <a:pt x="3459" y="200"/>
                </a:cubicBezTo>
                <a:cubicBezTo>
                  <a:pt x="3461" y="188"/>
                  <a:pt x="3462" y="177"/>
                  <a:pt x="3462" y="168"/>
                </a:cubicBezTo>
                <a:cubicBezTo>
                  <a:pt x="3462" y="164"/>
                  <a:pt x="3462" y="160"/>
                  <a:pt x="3461" y="157"/>
                </a:cubicBezTo>
                <a:cubicBezTo>
                  <a:pt x="3460" y="154"/>
                  <a:pt x="3460" y="152"/>
                  <a:pt x="3459" y="151"/>
                </a:cubicBezTo>
                <a:cubicBezTo>
                  <a:pt x="3459" y="149"/>
                  <a:pt x="3458" y="149"/>
                  <a:pt x="3456" y="149"/>
                </a:cubicBezTo>
                <a:cubicBezTo>
                  <a:pt x="3452" y="149"/>
                  <a:pt x="3447" y="151"/>
                  <a:pt x="3440" y="154"/>
                </a:cubicBezTo>
                <a:cubicBezTo>
                  <a:pt x="3427" y="160"/>
                  <a:pt x="3420" y="164"/>
                  <a:pt x="3420" y="167"/>
                </a:cubicBezTo>
                <a:cubicBezTo>
                  <a:pt x="3420" y="168"/>
                  <a:pt x="3420" y="169"/>
                  <a:pt x="3419" y="169"/>
                </a:cubicBezTo>
                <a:lnTo>
                  <a:pt x="3417" y="167"/>
                </a:lnTo>
                <a:cubicBezTo>
                  <a:pt x="3416" y="167"/>
                  <a:pt x="3414" y="168"/>
                  <a:pt x="3413" y="169"/>
                </a:cubicBezTo>
                <a:cubicBezTo>
                  <a:pt x="3412" y="171"/>
                  <a:pt x="3411" y="172"/>
                  <a:pt x="3411" y="173"/>
                </a:cubicBezTo>
                <a:lnTo>
                  <a:pt x="3411" y="175"/>
                </a:lnTo>
                <a:cubicBezTo>
                  <a:pt x="3411" y="175"/>
                  <a:pt x="3411" y="176"/>
                  <a:pt x="3411" y="176"/>
                </a:cubicBezTo>
                <a:lnTo>
                  <a:pt x="3409" y="175"/>
                </a:lnTo>
                <a:cubicBezTo>
                  <a:pt x="3407" y="175"/>
                  <a:pt x="3400" y="180"/>
                  <a:pt x="3388" y="190"/>
                </a:cubicBezTo>
                <a:cubicBezTo>
                  <a:pt x="3377" y="201"/>
                  <a:pt x="3370" y="207"/>
                  <a:pt x="3368" y="210"/>
                </a:cubicBezTo>
                <a:cubicBezTo>
                  <a:pt x="3366" y="214"/>
                  <a:pt x="3363" y="218"/>
                  <a:pt x="3358" y="223"/>
                </a:cubicBezTo>
                <a:cubicBezTo>
                  <a:pt x="3347" y="236"/>
                  <a:pt x="3340" y="243"/>
                  <a:pt x="3338" y="243"/>
                </a:cubicBezTo>
                <a:cubicBezTo>
                  <a:pt x="3337" y="243"/>
                  <a:pt x="3337" y="242"/>
                  <a:pt x="3337" y="242"/>
                </a:cubicBezTo>
                <a:cubicBezTo>
                  <a:pt x="3337" y="241"/>
                  <a:pt x="3339" y="239"/>
                  <a:pt x="3342" y="236"/>
                </a:cubicBezTo>
                <a:cubicBezTo>
                  <a:pt x="3345" y="234"/>
                  <a:pt x="3347" y="232"/>
                  <a:pt x="3347" y="230"/>
                </a:cubicBezTo>
                <a:cubicBezTo>
                  <a:pt x="3347" y="228"/>
                  <a:pt x="3348" y="226"/>
                  <a:pt x="3352" y="223"/>
                </a:cubicBezTo>
                <a:cubicBezTo>
                  <a:pt x="3353" y="221"/>
                  <a:pt x="3355" y="219"/>
                  <a:pt x="3357" y="216"/>
                </a:cubicBezTo>
                <a:cubicBezTo>
                  <a:pt x="3359" y="214"/>
                  <a:pt x="3360" y="212"/>
                  <a:pt x="3360" y="211"/>
                </a:cubicBezTo>
                <a:cubicBezTo>
                  <a:pt x="3360" y="211"/>
                  <a:pt x="3359" y="210"/>
                  <a:pt x="3359" y="210"/>
                </a:cubicBezTo>
                <a:cubicBezTo>
                  <a:pt x="3359" y="210"/>
                  <a:pt x="3357" y="213"/>
                  <a:pt x="3353" y="218"/>
                </a:cubicBezTo>
                <a:cubicBezTo>
                  <a:pt x="3348" y="223"/>
                  <a:pt x="3344" y="228"/>
                  <a:pt x="3339" y="235"/>
                </a:cubicBezTo>
                <a:cubicBezTo>
                  <a:pt x="3334" y="241"/>
                  <a:pt x="3329" y="247"/>
                  <a:pt x="3325" y="252"/>
                </a:cubicBezTo>
                <a:cubicBezTo>
                  <a:pt x="3321" y="257"/>
                  <a:pt x="3319" y="260"/>
                  <a:pt x="3319" y="261"/>
                </a:cubicBezTo>
                <a:cubicBezTo>
                  <a:pt x="3319" y="261"/>
                  <a:pt x="3319" y="262"/>
                  <a:pt x="3319" y="262"/>
                </a:cubicBezTo>
                <a:cubicBezTo>
                  <a:pt x="3319" y="262"/>
                  <a:pt x="3319" y="262"/>
                  <a:pt x="3319" y="262"/>
                </a:cubicBezTo>
                <a:cubicBezTo>
                  <a:pt x="3320" y="262"/>
                  <a:pt x="3321" y="262"/>
                  <a:pt x="3323" y="261"/>
                </a:cubicBezTo>
                <a:cubicBezTo>
                  <a:pt x="3325" y="259"/>
                  <a:pt x="3327" y="259"/>
                  <a:pt x="3327" y="259"/>
                </a:cubicBezTo>
                <a:lnTo>
                  <a:pt x="3327" y="259"/>
                </a:lnTo>
                <a:cubicBezTo>
                  <a:pt x="3327" y="260"/>
                  <a:pt x="3326" y="261"/>
                  <a:pt x="3325" y="262"/>
                </a:cubicBezTo>
                <a:cubicBezTo>
                  <a:pt x="3323" y="264"/>
                  <a:pt x="3322" y="265"/>
                  <a:pt x="3320" y="265"/>
                </a:cubicBezTo>
                <a:lnTo>
                  <a:pt x="3318" y="264"/>
                </a:lnTo>
                <a:cubicBezTo>
                  <a:pt x="3316" y="264"/>
                  <a:pt x="3315" y="265"/>
                  <a:pt x="3314" y="267"/>
                </a:cubicBezTo>
                <a:cubicBezTo>
                  <a:pt x="3313" y="268"/>
                  <a:pt x="3313" y="269"/>
                  <a:pt x="3313" y="271"/>
                </a:cubicBezTo>
                <a:cubicBezTo>
                  <a:pt x="3313" y="271"/>
                  <a:pt x="3313" y="272"/>
                  <a:pt x="3313" y="273"/>
                </a:cubicBezTo>
                <a:lnTo>
                  <a:pt x="3314" y="274"/>
                </a:lnTo>
                <a:cubicBezTo>
                  <a:pt x="3314" y="274"/>
                  <a:pt x="3313" y="274"/>
                  <a:pt x="3313" y="274"/>
                </a:cubicBezTo>
                <a:lnTo>
                  <a:pt x="3312" y="274"/>
                </a:lnTo>
                <a:cubicBezTo>
                  <a:pt x="3311" y="274"/>
                  <a:pt x="3307" y="278"/>
                  <a:pt x="3301" y="287"/>
                </a:cubicBezTo>
                <a:cubicBezTo>
                  <a:pt x="3295" y="295"/>
                  <a:pt x="3291" y="300"/>
                  <a:pt x="3291" y="302"/>
                </a:cubicBezTo>
                <a:lnTo>
                  <a:pt x="3291" y="302"/>
                </a:lnTo>
                <a:cubicBezTo>
                  <a:pt x="3291" y="303"/>
                  <a:pt x="3290" y="305"/>
                  <a:pt x="3288" y="308"/>
                </a:cubicBezTo>
                <a:cubicBezTo>
                  <a:pt x="3285" y="310"/>
                  <a:pt x="3284" y="313"/>
                  <a:pt x="3284" y="315"/>
                </a:cubicBezTo>
                <a:cubicBezTo>
                  <a:pt x="3284" y="317"/>
                  <a:pt x="3283" y="318"/>
                  <a:pt x="3281" y="319"/>
                </a:cubicBezTo>
                <a:cubicBezTo>
                  <a:pt x="3279" y="320"/>
                  <a:pt x="3278" y="321"/>
                  <a:pt x="3278" y="322"/>
                </a:cubicBezTo>
                <a:lnTo>
                  <a:pt x="3279" y="324"/>
                </a:lnTo>
                <a:cubicBezTo>
                  <a:pt x="3279" y="325"/>
                  <a:pt x="3278" y="327"/>
                  <a:pt x="3275" y="329"/>
                </a:cubicBezTo>
                <a:cubicBezTo>
                  <a:pt x="3272" y="333"/>
                  <a:pt x="3271" y="335"/>
                  <a:pt x="3271" y="336"/>
                </a:cubicBezTo>
                <a:cubicBezTo>
                  <a:pt x="3271" y="337"/>
                  <a:pt x="3266" y="346"/>
                  <a:pt x="3258" y="362"/>
                </a:cubicBezTo>
                <a:cubicBezTo>
                  <a:pt x="3249" y="378"/>
                  <a:pt x="3244" y="386"/>
                  <a:pt x="3243" y="387"/>
                </a:cubicBezTo>
                <a:cubicBezTo>
                  <a:pt x="3242" y="387"/>
                  <a:pt x="3241" y="388"/>
                  <a:pt x="3241" y="388"/>
                </a:cubicBezTo>
                <a:lnTo>
                  <a:pt x="3242" y="390"/>
                </a:lnTo>
                <a:cubicBezTo>
                  <a:pt x="3242" y="391"/>
                  <a:pt x="3241" y="392"/>
                  <a:pt x="3241" y="392"/>
                </a:cubicBezTo>
                <a:cubicBezTo>
                  <a:pt x="3240" y="392"/>
                  <a:pt x="3239" y="392"/>
                  <a:pt x="3239" y="393"/>
                </a:cubicBezTo>
                <a:lnTo>
                  <a:pt x="3240" y="395"/>
                </a:lnTo>
                <a:cubicBezTo>
                  <a:pt x="3240" y="396"/>
                  <a:pt x="3239" y="397"/>
                  <a:pt x="3238" y="397"/>
                </a:cubicBezTo>
                <a:cubicBezTo>
                  <a:pt x="3238" y="397"/>
                  <a:pt x="3237" y="397"/>
                  <a:pt x="3237" y="397"/>
                </a:cubicBezTo>
                <a:lnTo>
                  <a:pt x="3238" y="399"/>
                </a:lnTo>
                <a:cubicBezTo>
                  <a:pt x="3238" y="400"/>
                  <a:pt x="3237" y="401"/>
                  <a:pt x="3236" y="401"/>
                </a:cubicBezTo>
                <a:cubicBezTo>
                  <a:pt x="3235" y="401"/>
                  <a:pt x="3234" y="401"/>
                  <a:pt x="3234" y="402"/>
                </a:cubicBezTo>
                <a:lnTo>
                  <a:pt x="3235" y="403"/>
                </a:lnTo>
                <a:cubicBezTo>
                  <a:pt x="3235" y="405"/>
                  <a:pt x="3234" y="409"/>
                  <a:pt x="3231" y="414"/>
                </a:cubicBezTo>
                <a:cubicBezTo>
                  <a:pt x="3228" y="420"/>
                  <a:pt x="3226" y="424"/>
                  <a:pt x="3226" y="427"/>
                </a:cubicBezTo>
                <a:cubicBezTo>
                  <a:pt x="3226" y="429"/>
                  <a:pt x="3227" y="430"/>
                  <a:pt x="3229" y="430"/>
                </a:cubicBezTo>
                <a:cubicBezTo>
                  <a:pt x="3230" y="430"/>
                  <a:pt x="3230" y="429"/>
                  <a:pt x="3230" y="427"/>
                </a:cubicBezTo>
                <a:lnTo>
                  <a:pt x="3230" y="422"/>
                </a:lnTo>
                <a:lnTo>
                  <a:pt x="3231" y="422"/>
                </a:lnTo>
                <a:cubicBezTo>
                  <a:pt x="3232" y="422"/>
                  <a:pt x="3233" y="422"/>
                  <a:pt x="3234" y="420"/>
                </a:cubicBezTo>
                <a:cubicBezTo>
                  <a:pt x="3235" y="419"/>
                  <a:pt x="3236" y="418"/>
                  <a:pt x="3236" y="416"/>
                </a:cubicBezTo>
                <a:cubicBezTo>
                  <a:pt x="3237" y="414"/>
                  <a:pt x="3238" y="413"/>
                  <a:pt x="3238" y="411"/>
                </a:cubicBezTo>
                <a:lnTo>
                  <a:pt x="3236" y="409"/>
                </a:lnTo>
                <a:lnTo>
                  <a:pt x="3237" y="408"/>
                </a:lnTo>
                <a:lnTo>
                  <a:pt x="3239" y="409"/>
                </a:lnTo>
                <a:cubicBezTo>
                  <a:pt x="3240" y="409"/>
                  <a:pt x="3240" y="408"/>
                  <a:pt x="3241" y="406"/>
                </a:cubicBezTo>
                <a:cubicBezTo>
                  <a:pt x="3241" y="405"/>
                  <a:pt x="3241" y="404"/>
                  <a:pt x="3241" y="404"/>
                </a:cubicBezTo>
                <a:cubicBezTo>
                  <a:pt x="3241" y="404"/>
                  <a:pt x="3242" y="404"/>
                  <a:pt x="3242" y="405"/>
                </a:cubicBezTo>
                <a:cubicBezTo>
                  <a:pt x="3242" y="407"/>
                  <a:pt x="3240" y="412"/>
                  <a:pt x="3238" y="418"/>
                </a:cubicBezTo>
                <a:cubicBezTo>
                  <a:pt x="3234" y="425"/>
                  <a:pt x="3233" y="430"/>
                  <a:pt x="3233" y="434"/>
                </a:cubicBezTo>
                <a:lnTo>
                  <a:pt x="3234" y="439"/>
                </a:lnTo>
                <a:cubicBezTo>
                  <a:pt x="3234" y="439"/>
                  <a:pt x="3233" y="439"/>
                  <a:pt x="3233" y="439"/>
                </a:cubicBezTo>
                <a:lnTo>
                  <a:pt x="3230" y="438"/>
                </a:lnTo>
                <a:cubicBezTo>
                  <a:pt x="3230" y="438"/>
                  <a:pt x="3230" y="438"/>
                  <a:pt x="3230" y="439"/>
                </a:cubicBezTo>
                <a:lnTo>
                  <a:pt x="3231" y="443"/>
                </a:lnTo>
                <a:cubicBezTo>
                  <a:pt x="3231" y="444"/>
                  <a:pt x="3230" y="445"/>
                  <a:pt x="3229" y="446"/>
                </a:cubicBezTo>
                <a:cubicBezTo>
                  <a:pt x="3227" y="447"/>
                  <a:pt x="3226" y="448"/>
                  <a:pt x="3226" y="448"/>
                </a:cubicBezTo>
                <a:lnTo>
                  <a:pt x="3226" y="451"/>
                </a:lnTo>
                <a:cubicBezTo>
                  <a:pt x="3226" y="451"/>
                  <a:pt x="3226" y="451"/>
                  <a:pt x="3225" y="451"/>
                </a:cubicBezTo>
                <a:cubicBezTo>
                  <a:pt x="3224" y="451"/>
                  <a:pt x="3224" y="452"/>
                  <a:pt x="3224" y="453"/>
                </a:cubicBezTo>
                <a:lnTo>
                  <a:pt x="3224" y="453"/>
                </a:lnTo>
                <a:cubicBezTo>
                  <a:pt x="3224" y="455"/>
                  <a:pt x="3224" y="456"/>
                  <a:pt x="3223" y="456"/>
                </a:cubicBezTo>
                <a:cubicBezTo>
                  <a:pt x="3223" y="456"/>
                  <a:pt x="3223" y="457"/>
                  <a:pt x="3223" y="458"/>
                </a:cubicBezTo>
                <a:cubicBezTo>
                  <a:pt x="3223" y="460"/>
                  <a:pt x="3222" y="462"/>
                  <a:pt x="3222" y="464"/>
                </a:cubicBezTo>
                <a:cubicBezTo>
                  <a:pt x="3221" y="469"/>
                  <a:pt x="3220" y="473"/>
                  <a:pt x="3218" y="477"/>
                </a:cubicBezTo>
                <a:cubicBezTo>
                  <a:pt x="3216" y="480"/>
                  <a:pt x="3216" y="484"/>
                  <a:pt x="3216" y="487"/>
                </a:cubicBezTo>
                <a:cubicBezTo>
                  <a:pt x="3216" y="494"/>
                  <a:pt x="3217" y="497"/>
                  <a:pt x="3219" y="497"/>
                </a:cubicBezTo>
                <a:cubicBezTo>
                  <a:pt x="3219" y="497"/>
                  <a:pt x="3220" y="497"/>
                  <a:pt x="3221" y="496"/>
                </a:cubicBezTo>
                <a:cubicBezTo>
                  <a:pt x="3221" y="495"/>
                  <a:pt x="3221" y="495"/>
                  <a:pt x="3222" y="495"/>
                </a:cubicBezTo>
                <a:cubicBezTo>
                  <a:pt x="3223" y="495"/>
                  <a:pt x="3224" y="495"/>
                  <a:pt x="3225" y="496"/>
                </a:cubicBezTo>
                <a:cubicBezTo>
                  <a:pt x="3226" y="497"/>
                  <a:pt x="3226" y="498"/>
                  <a:pt x="3226" y="499"/>
                </a:cubicBezTo>
                <a:cubicBezTo>
                  <a:pt x="3226" y="500"/>
                  <a:pt x="3225" y="500"/>
                  <a:pt x="3223" y="500"/>
                </a:cubicBezTo>
                <a:lnTo>
                  <a:pt x="3217" y="500"/>
                </a:lnTo>
                <a:cubicBezTo>
                  <a:pt x="3217" y="500"/>
                  <a:pt x="3217" y="501"/>
                  <a:pt x="3219" y="503"/>
                </a:cubicBezTo>
                <a:cubicBezTo>
                  <a:pt x="3220" y="504"/>
                  <a:pt x="3221" y="505"/>
                  <a:pt x="3223" y="505"/>
                </a:cubicBezTo>
                <a:lnTo>
                  <a:pt x="3224" y="505"/>
                </a:lnTo>
                <a:cubicBezTo>
                  <a:pt x="3225" y="505"/>
                  <a:pt x="3226" y="506"/>
                  <a:pt x="3226" y="507"/>
                </a:cubicBezTo>
                <a:cubicBezTo>
                  <a:pt x="3226" y="508"/>
                  <a:pt x="3226" y="509"/>
                  <a:pt x="3228" y="509"/>
                </a:cubicBezTo>
                <a:close/>
                <a:moveTo>
                  <a:pt x="3203" y="490"/>
                </a:moveTo>
                <a:cubicBezTo>
                  <a:pt x="3204" y="490"/>
                  <a:pt x="3204" y="490"/>
                  <a:pt x="3204" y="488"/>
                </a:cubicBezTo>
                <a:lnTo>
                  <a:pt x="3204" y="486"/>
                </a:lnTo>
                <a:cubicBezTo>
                  <a:pt x="3204" y="484"/>
                  <a:pt x="3204" y="482"/>
                  <a:pt x="3204" y="482"/>
                </a:cubicBezTo>
                <a:lnTo>
                  <a:pt x="3203" y="481"/>
                </a:lnTo>
                <a:cubicBezTo>
                  <a:pt x="3203" y="481"/>
                  <a:pt x="3202" y="482"/>
                  <a:pt x="3202" y="483"/>
                </a:cubicBezTo>
                <a:cubicBezTo>
                  <a:pt x="3201" y="485"/>
                  <a:pt x="3200" y="486"/>
                  <a:pt x="3200" y="487"/>
                </a:cubicBezTo>
                <a:cubicBezTo>
                  <a:pt x="3200" y="489"/>
                  <a:pt x="3201" y="490"/>
                  <a:pt x="3203" y="490"/>
                </a:cubicBezTo>
                <a:close/>
                <a:moveTo>
                  <a:pt x="3206" y="419"/>
                </a:moveTo>
                <a:cubicBezTo>
                  <a:pt x="3207" y="419"/>
                  <a:pt x="3208" y="418"/>
                  <a:pt x="3209" y="416"/>
                </a:cubicBezTo>
                <a:lnTo>
                  <a:pt x="3209" y="414"/>
                </a:lnTo>
                <a:cubicBezTo>
                  <a:pt x="3209" y="414"/>
                  <a:pt x="3209" y="413"/>
                  <a:pt x="3209" y="413"/>
                </a:cubicBezTo>
                <a:lnTo>
                  <a:pt x="3208" y="414"/>
                </a:lnTo>
                <a:cubicBezTo>
                  <a:pt x="3206" y="414"/>
                  <a:pt x="3206" y="416"/>
                  <a:pt x="3206" y="417"/>
                </a:cubicBezTo>
                <a:cubicBezTo>
                  <a:pt x="3206" y="419"/>
                  <a:pt x="3206" y="419"/>
                  <a:pt x="3206" y="419"/>
                </a:cubicBezTo>
                <a:close/>
                <a:moveTo>
                  <a:pt x="3199" y="435"/>
                </a:moveTo>
                <a:cubicBezTo>
                  <a:pt x="3200" y="435"/>
                  <a:pt x="3201" y="433"/>
                  <a:pt x="3202" y="431"/>
                </a:cubicBezTo>
                <a:cubicBezTo>
                  <a:pt x="3204" y="427"/>
                  <a:pt x="3205" y="424"/>
                  <a:pt x="3205" y="423"/>
                </a:cubicBezTo>
                <a:lnTo>
                  <a:pt x="3205" y="422"/>
                </a:lnTo>
                <a:cubicBezTo>
                  <a:pt x="3205" y="422"/>
                  <a:pt x="3204" y="424"/>
                  <a:pt x="3202" y="426"/>
                </a:cubicBezTo>
                <a:cubicBezTo>
                  <a:pt x="3200" y="430"/>
                  <a:pt x="3199" y="433"/>
                  <a:pt x="3199" y="434"/>
                </a:cubicBezTo>
                <a:lnTo>
                  <a:pt x="3199" y="435"/>
                </a:lnTo>
                <a:close/>
                <a:moveTo>
                  <a:pt x="3175" y="511"/>
                </a:moveTo>
                <a:cubicBezTo>
                  <a:pt x="3177" y="511"/>
                  <a:pt x="3177" y="510"/>
                  <a:pt x="3177" y="509"/>
                </a:cubicBezTo>
                <a:cubicBezTo>
                  <a:pt x="3177" y="508"/>
                  <a:pt x="3177" y="507"/>
                  <a:pt x="3177" y="507"/>
                </a:cubicBezTo>
                <a:cubicBezTo>
                  <a:pt x="3175" y="504"/>
                  <a:pt x="3174" y="503"/>
                  <a:pt x="3172" y="503"/>
                </a:cubicBezTo>
                <a:cubicBezTo>
                  <a:pt x="3171" y="503"/>
                  <a:pt x="3170" y="504"/>
                  <a:pt x="3170" y="506"/>
                </a:cubicBezTo>
                <a:cubicBezTo>
                  <a:pt x="3170" y="507"/>
                  <a:pt x="3171" y="508"/>
                  <a:pt x="3172" y="510"/>
                </a:cubicBezTo>
                <a:cubicBezTo>
                  <a:pt x="3173" y="511"/>
                  <a:pt x="3174" y="511"/>
                  <a:pt x="3175" y="511"/>
                </a:cubicBezTo>
                <a:close/>
                <a:moveTo>
                  <a:pt x="3155" y="591"/>
                </a:moveTo>
                <a:cubicBezTo>
                  <a:pt x="3155" y="591"/>
                  <a:pt x="3155" y="590"/>
                  <a:pt x="3155" y="589"/>
                </a:cubicBezTo>
                <a:lnTo>
                  <a:pt x="3155" y="586"/>
                </a:lnTo>
                <a:cubicBezTo>
                  <a:pt x="3155" y="586"/>
                  <a:pt x="3154" y="585"/>
                  <a:pt x="3154" y="585"/>
                </a:cubicBezTo>
                <a:cubicBezTo>
                  <a:pt x="3154" y="585"/>
                  <a:pt x="3154" y="586"/>
                  <a:pt x="3154" y="588"/>
                </a:cubicBezTo>
                <a:cubicBezTo>
                  <a:pt x="3154" y="590"/>
                  <a:pt x="3154" y="591"/>
                  <a:pt x="3155" y="591"/>
                </a:cubicBezTo>
                <a:close/>
                <a:moveTo>
                  <a:pt x="3153" y="602"/>
                </a:moveTo>
                <a:cubicBezTo>
                  <a:pt x="3153" y="601"/>
                  <a:pt x="3154" y="601"/>
                  <a:pt x="3154" y="600"/>
                </a:cubicBezTo>
                <a:lnTo>
                  <a:pt x="3152" y="597"/>
                </a:lnTo>
                <a:cubicBezTo>
                  <a:pt x="3152" y="597"/>
                  <a:pt x="3152" y="598"/>
                  <a:pt x="3152" y="601"/>
                </a:cubicBezTo>
                <a:cubicBezTo>
                  <a:pt x="3152" y="602"/>
                  <a:pt x="3152" y="602"/>
                  <a:pt x="3152" y="602"/>
                </a:cubicBezTo>
                <a:lnTo>
                  <a:pt x="3153" y="602"/>
                </a:lnTo>
                <a:close/>
                <a:moveTo>
                  <a:pt x="3150" y="621"/>
                </a:moveTo>
                <a:cubicBezTo>
                  <a:pt x="3150" y="621"/>
                  <a:pt x="3151" y="620"/>
                  <a:pt x="3151" y="619"/>
                </a:cubicBezTo>
                <a:lnTo>
                  <a:pt x="3151" y="616"/>
                </a:lnTo>
                <a:cubicBezTo>
                  <a:pt x="3150" y="616"/>
                  <a:pt x="3150" y="615"/>
                  <a:pt x="3150" y="615"/>
                </a:cubicBezTo>
                <a:cubicBezTo>
                  <a:pt x="3149" y="615"/>
                  <a:pt x="3149" y="616"/>
                  <a:pt x="3149" y="617"/>
                </a:cubicBezTo>
                <a:cubicBezTo>
                  <a:pt x="3149" y="619"/>
                  <a:pt x="3150" y="621"/>
                  <a:pt x="3150" y="621"/>
                </a:cubicBezTo>
                <a:close/>
                <a:moveTo>
                  <a:pt x="3649" y="540"/>
                </a:moveTo>
                <a:close/>
                <a:moveTo>
                  <a:pt x="3176" y="501"/>
                </a:moveTo>
                <a:cubicBezTo>
                  <a:pt x="3176" y="501"/>
                  <a:pt x="3175" y="501"/>
                  <a:pt x="3175" y="500"/>
                </a:cubicBezTo>
                <a:cubicBezTo>
                  <a:pt x="3175" y="498"/>
                  <a:pt x="3176" y="497"/>
                  <a:pt x="3177" y="496"/>
                </a:cubicBezTo>
                <a:lnTo>
                  <a:pt x="3179" y="495"/>
                </a:lnTo>
                <a:cubicBezTo>
                  <a:pt x="3179" y="495"/>
                  <a:pt x="3179" y="496"/>
                  <a:pt x="3179" y="497"/>
                </a:cubicBezTo>
                <a:cubicBezTo>
                  <a:pt x="3179" y="499"/>
                  <a:pt x="3179" y="500"/>
                  <a:pt x="3177" y="501"/>
                </a:cubicBezTo>
                <a:lnTo>
                  <a:pt x="3176" y="501"/>
                </a:lnTo>
                <a:close/>
                <a:moveTo>
                  <a:pt x="3204" y="408"/>
                </a:moveTo>
                <a:lnTo>
                  <a:pt x="3204" y="408"/>
                </a:lnTo>
                <a:cubicBezTo>
                  <a:pt x="3204" y="407"/>
                  <a:pt x="3204" y="406"/>
                  <a:pt x="3205" y="404"/>
                </a:cubicBezTo>
                <a:cubicBezTo>
                  <a:pt x="3205" y="403"/>
                  <a:pt x="3206" y="402"/>
                  <a:pt x="3207" y="402"/>
                </a:cubicBezTo>
                <a:lnTo>
                  <a:pt x="3207" y="402"/>
                </a:lnTo>
                <a:lnTo>
                  <a:pt x="3208" y="403"/>
                </a:lnTo>
                <a:cubicBezTo>
                  <a:pt x="3208" y="404"/>
                  <a:pt x="3207" y="405"/>
                  <a:pt x="3206" y="406"/>
                </a:cubicBezTo>
                <a:lnTo>
                  <a:pt x="3204" y="408"/>
                </a:lnTo>
                <a:close/>
                <a:moveTo>
                  <a:pt x="3515" y="662"/>
                </a:moveTo>
                <a:cubicBezTo>
                  <a:pt x="3514" y="662"/>
                  <a:pt x="3514" y="662"/>
                  <a:pt x="3514" y="660"/>
                </a:cubicBezTo>
                <a:cubicBezTo>
                  <a:pt x="3514" y="659"/>
                  <a:pt x="3515" y="658"/>
                  <a:pt x="3517" y="658"/>
                </a:cubicBezTo>
                <a:cubicBezTo>
                  <a:pt x="3517" y="658"/>
                  <a:pt x="3517" y="658"/>
                  <a:pt x="3517" y="659"/>
                </a:cubicBezTo>
                <a:cubicBezTo>
                  <a:pt x="3517" y="659"/>
                  <a:pt x="3517" y="660"/>
                  <a:pt x="3517" y="661"/>
                </a:cubicBezTo>
                <a:cubicBezTo>
                  <a:pt x="3516" y="662"/>
                  <a:pt x="3516" y="662"/>
                  <a:pt x="3515" y="662"/>
                </a:cubicBezTo>
                <a:close/>
                <a:moveTo>
                  <a:pt x="3162" y="548"/>
                </a:moveTo>
                <a:cubicBezTo>
                  <a:pt x="3161" y="548"/>
                  <a:pt x="3161" y="547"/>
                  <a:pt x="3160" y="546"/>
                </a:cubicBezTo>
                <a:cubicBezTo>
                  <a:pt x="3159" y="545"/>
                  <a:pt x="3158" y="544"/>
                  <a:pt x="3158" y="544"/>
                </a:cubicBezTo>
                <a:lnTo>
                  <a:pt x="3160" y="544"/>
                </a:lnTo>
                <a:cubicBezTo>
                  <a:pt x="3162" y="544"/>
                  <a:pt x="3162" y="544"/>
                  <a:pt x="3163" y="543"/>
                </a:cubicBezTo>
                <a:cubicBezTo>
                  <a:pt x="3163" y="542"/>
                  <a:pt x="3163" y="541"/>
                  <a:pt x="3164" y="541"/>
                </a:cubicBezTo>
                <a:cubicBezTo>
                  <a:pt x="3164" y="541"/>
                  <a:pt x="3164" y="542"/>
                  <a:pt x="3164" y="544"/>
                </a:cubicBezTo>
                <a:lnTo>
                  <a:pt x="3164" y="544"/>
                </a:lnTo>
                <a:cubicBezTo>
                  <a:pt x="3164" y="546"/>
                  <a:pt x="3164" y="548"/>
                  <a:pt x="3162" y="548"/>
                </a:cubicBezTo>
                <a:close/>
                <a:moveTo>
                  <a:pt x="3160" y="535"/>
                </a:moveTo>
                <a:lnTo>
                  <a:pt x="3159" y="535"/>
                </a:lnTo>
                <a:cubicBezTo>
                  <a:pt x="3159" y="535"/>
                  <a:pt x="3159" y="534"/>
                  <a:pt x="3159" y="534"/>
                </a:cubicBezTo>
                <a:cubicBezTo>
                  <a:pt x="3159" y="532"/>
                  <a:pt x="3159" y="531"/>
                  <a:pt x="3160" y="530"/>
                </a:cubicBezTo>
                <a:cubicBezTo>
                  <a:pt x="3161" y="529"/>
                  <a:pt x="3162" y="527"/>
                  <a:pt x="3162" y="526"/>
                </a:cubicBezTo>
                <a:lnTo>
                  <a:pt x="3161" y="522"/>
                </a:lnTo>
                <a:cubicBezTo>
                  <a:pt x="3161" y="522"/>
                  <a:pt x="3161" y="521"/>
                  <a:pt x="3161" y="521"/>
                </a:cubicBezTo>
                <a:cubicBezTo>
                  <a:pt x="3162" y="521"/>
                  <a:pt x="3162" y="522"/>
                  <a:pt x="3162" y="522"/>
                </a:cubicBezTo>
                <a:cubicBezTo>
                  <a:pt x="3163" y="522"/>
                  <a:pt x="3164" y="523"/>
                  <a:pt x="3164" y="524"/>
                </a:cubicBezTo>
                <a:cubicBezTo>
                  <a:pt x="3164" y="524"/>
                  <a:pt x="3165" y="525"/>
                  <a:pt x="3165" y="527"/>
                </a:cubicBezTo>
                <a:cubicBezTo>
                  <a:pt x="3165" y="528"/>
                  <a:pt x="3165" y="529"/>
                  <a:pt x="3166" y="529"/>
                </a:cubicBezTo>
                <a:lnTo>
                  <a:pt x="3167" y="530"/>
                </a:lnTo>
                <a:lnTo>
                  <a:pt x="3165" y="530"/>
                </a:lnTo>
                <a:cubicBezTo>
                  <a:pt x="3163" y="530"/>
                  <a:pt x="3162" y="531"/>
                  <a:pt x="3162" y="533"/>
                </a:cubicBezTo>
                <a:cubicBezTo>
                  <a:pt x="3162" y="534"/>
                  <a:pt x="3161" y="535"/>
                  <a:pt x="3160" y="535"/>
                </a:cubicBezTo>
                <a:close/>
                <a:moveTo>
                  <a:pt x="3330" y="255"/>
                </a:moveTo>
                <a:cubicBezTo>
                  <a:pt x="3329" y="255"/>
                  <a:pt x="3328" y="254"/>
                  <a:pt x="3328" y="253"/>
                </a:cubicBezTo>
                <a:cubicBezTo>
                  <a:pt x="3328" y="253"/>
                  <a:pt x="3329" y="252"/>
                  <a:pt x="3330" y="251"/>
                </a:cubicBezTo>
                <a:cubicBezTo>
                  <a:pt x="3330" y="250"/>
                  <a:pt x="3331" y="249"/>
                  <a:pt x="3332" y="248"/>
                </a:cubicBezTo>
                <a:cubicBezTo>
                  <a:pt x="3333" y="248"/>
                  <a:pt x="3333" y="247"/>
                  <a:pt x="3334" y="247"/>
                </a:cubicBezTo>
                <a:cubicBezTo>
                  <a:pt x="3335" y="248"/>
                  <a:pt x="3336" y="248"/>
                  <a:pt x="3336" y="249"/>
                </a:cubicBezTo>
                <a:cubicBezTo>
                  <a:pt x="3336" y="250"/>
                  <a:pt x="3335" y="251"/>
                  <a:pt x="3333" y="253"/>
                </a:cubicBezTo>
                <a:cubicBezTo>
                  <a:pt x="3332" y="254"/>
                  <a:pt x="3331" y="255"/>
                  <a:pt x="3330" y="255"/>
                </a:cubicBezTo>
                <a:close/>
                <a:moveTo>
                  <a:pt x="3649" y="541"/>
                </a:moveTo>
                <a:cubicBezTo>
                  <a:pt x="3649" y="541"/>
                  <a:pt x="3649" y="541"/>
                  <a:pt x="3649" y="540"/>
                </a:cubicBezTo>
                <a:cubicBezTo>
                  <a:pt x="3649" y="540"/>
                  <a:pt x="3649" y="539"/>
                  <a:pt x="3650" y="538"/>
                </a:cubicBezTo>
                <a:cubicBezTo>
                  <a:pt x="3651" y="537"/>
                  <a:pt x="3652" y="536"/>
                  <a:pt x="3654" y="535"/>
                </a:cubicBezTo>
                <a:lnTo>
                  <a:pt x="3655" y="534"/>
                </a:lnTo>
                <a:lnTo>
                  <a:pt x="3655" y="534"/>
                </a:lnTo>
                <a:lnTo>
                  <a:pt x="3654" y="537"/>
                </a:lnTo>
                <a:cubicBezTo>
                  <a:pt x="3651" y="540"/>
                  <a:pt x="3650" y="541"/>
                  <a:pt x="3649" y="541"/>
                </a:cubicBezTo>
                <a:close/>
                <a:moveTo>
                  <a:pt x="3342" y="400"/>
                </a:moveTo>
                <a:close/>
                <a:moveTo>
                  <a:pt x="3343" y="401"/>
                </a:moveTo>
                <a:cubicBezTo>
                  <a:pt x="3343" y="401"/>
                  <a:pt x="3342" y="401"/>
                  <a:pt x="3342" y="400"/>
                </a:cubicBezTo>
                <a:cubicBezTo>
                  <a:pt x="3342" y="400"/>
                  <a:pt x="3343" y="399"/>
                  <a:pt x="3344" y="398"/>
                </a:cubicBezTo>
                <a:cubicBezTo>
                  <a:pt x="3345" y="397"/>
                  <a:pt x="3346" y="396"/>
                  <a:pt x="3347" y="395"/>
                </a:cubicBezTo>
                <a:cubicBezTo>
                  <a:pt x="3348" y="394"/>
                  <a:pt x="3349" y="394"/>
                  <a:pt x="3349" y="394"/>
                </a:cubicBezTo>
                <a:lnTo>
                  <a:pt x="3349" y="394"/>
                </a:lnTo>
                <a:lnTo>
                  <a:pt x="3347" y="397"/>
                </a:lnTo>
                <a:cubicBezTo>
                  <a:pt x="3345" y="399"/>
                  <a:pt x="3344" y="401"/>
                  <a:pt x="3343" y="401"/>
                </a:cubicBezTo>
                <a:close/>
                <a:moveTo>
                  <a:pt x="3634" y="552"/>
                </a:moveTo>
                <a:cubicBezTo>
                  <a:pt x="3634" y="551"/>
                  <a:pt x="3635" y="551"/>
                  <a:pt x="3635" y="550"/>
                </a:cubicBezTo>
                <a:cubicBezTo>
                  <a:pt x="3637" y="549"/>
                  <a:pt x="3638" y="548"/>
                  <a:pt x="3638" y="548"/>
                </a:cubicBezTo>
                <a:lnTo>
                  <a:pt x="3639" y="548"/>
                </a:lnTo>
                <a:lnTo>
                  <a:pt x="3639" y="549"/>
                </a:lnTo>
                <a:cubicBezTo>
                  <a:pt x="3639" y="549"/>
                  <a:pt x="3638" y="550"/>
                  <a:pt x="3637" y="551"/>
                </a:cubicBezTo>
                <a:cubicBezTo>
                  <a:pt x="3635" y="551"/>
                  <a:pt x="3634" y="552"/>
                  <a:pt x="3634" y="552"/>
                </a:cubicBezTo>
                <a:close/>
                <a:moveTo>
                  <a:pt x="3574" y="605"/>
                </a:moveTo>
                <a:cubicBezTo>
                  <a:pt x="3573" y="605"/>
                  <a:pt x="3573" y="604"/>
                  <a:pt x="3573" y="603"/>
                </a:cubicBezTo>
                <a:cubicBezTo>
                  <a:pt x="3573" y="601"/>
                  <a:pt x="3573" y="601"/>
                  <a:pt x="3575" y="601"/>
                </a:cubicBezTo>
                <a:cubicBezTo>
                  <a:pt x="3576" y="601"/>
                  <a:pt x="3576" y="601"/>
                  <a:pt x="3576" y="602"/>
                </a:cubicBezTo>
                <a:cubicBezTo>
                  <a:pt x="3576" y="602"/>
                  <a:pt x="3576" y="603"/>
                  <a:pt x="3576" y="604"/>
                </a:cubicBezTo>
                <a:cubicBezTo>
                  <a:pt x="3575" y="605"/>
                  <a:pt x="3574" y="605"/>
                  <a:pt x="3574" y="605"/>
                </a:cubicBezTo>
                <a:close/>
                <a:moveTo>
                  <a:pt x="3522" y="658"/>
                </a:moveTo>
                <a:cubicBezTo>
                  <a:pt x="3522" y="658"/>
                  <a:pt x="3521" y="657"/>
                  <a:pt x="3521" y="656"/>
                </a:cubicBezTo>
                <a:cubicBezTo>
                  <a:pt x="3520" y="656"/>
                  <a:pt x="3519" y="656"/>
                  <a:pt x="3519" y="655"/>
                </a:cubicBezTo>
                <a:cubicBezTo>
                  <a:pt x="3519" y="654"/>
                  <a:pt x="3520" y="654"/>
                  <a:pt x="3522" y="654"/>
                </a:cubicBezTo>
                <a:cubicBezTo>
                  <a:pt x="3523" y="654"/>
                  <a:pt x="3524" y="654"/>
                  <a:pt x="3524" y="655"/>
                </a:cubicBezTo>
                <a:lnTo>
                  <a:pt x="3524" y="656"/>
                </a:lnTo>
                <a:cubicBezTo>
                  <a:pt x="3524" y="656"/>
                  <a:pt x="3523" y="656"/>
                  <a:pt x="3523" y="657"/>
                </a:cubicBezTo>
                <a:cubicBezTo>
                  <a:pt x="3523" y="657"/>
                  <a:pt x="3522" y="658"/>
                  <a:pt x="3522" y="658"/>
                </a:cubicBezTo>
                <a:close/>
                <a:moveTo>
                  <a:pt x="3549" y="623"/>
                </a:moveTo>
                <a:cubicBezTo>
                  <a:pt x="3549" y="622"/>
                  <a:pt x="3550" y="621"/>
                  <a:pt x="3553" y="619"/>
                </a:cubicBezTo>
                <a:cubicBezTo>
                  <a:pt x="3555" y="616"/>
                  <a:pt x="3557" y="614"/>
                  <a:pt x="3558" y="614"/>
                </a:cubicBezTo>
                <a:lnTo>
                  <a:pt x="3559" y="615"/>
                </a:lnTo>
                <a:cubicBezTo>
                  <a:pt x="3559" y="616"/>
                  <a:pt x="3557" y="618"/>
                  <a:pt x="3554" y="620"/>
                </a:cubicBezTo>
                <a:cubicBezTo>
                  <a:pt x="3551" y="622"/>
                  <a:pt x="3549" y="623"/>
                  <a:pt x="3549" y="623"/>
                </a:cubicBezTo>
                <a:close/>
                <a:moveTo>
                  <a:pt x="3581" y="598"/>
                </a:moveTo>
                <a:cubicBezTo>
                  <a:pt x="3581" y="598"/>
                  <a:pt x="3580" y="598"/>
                  <a:pt x="3580" y="598"/>
                </a:cubicBezTo>
                <a:cubicBezTo>
                  <a:pt x="3580" y="597"/>
                  <a:pt x="3582" y="595"/>
                  <a:pt x="3586" y="592"/>
                </a:cubicBezTo>
                <a:cubicBezTo>
                  <a:pt x="3590" y="588"/>
                  <a:pt x="3593" y="586"/>
                  <a:pt x="3595" y="586"/>
                </a:cubicBezTo>
                <a:lnTo>
                  <a:pt x="3595" y="586"/>
                </a:lnTo>
                <a:cubicBezTo>
                  <a:pt x="3596" y="586"/>
                  <a:pt x="3597" y="586"/>
                  <a:pt x="3597" y="585"/>
                </a:cubicBezTo>
                <a:lnTo>
                  <a:pt x="3598" y="583"/>
                </a:lnTo>
                <a:lnTo>
                  <a:pt x="3598" y="585"/>
                </a:lnTo>
                <a:cubicBezTo>
                  <a:pt x="3597" y="587"/>
                  <a:pt x="3596" y="588"/>
                  <a:pt x="3595" y="588"/>
                </a:cubicBezTo>
                <a:lnTo>
                  <a:pt x="3595" y="588"/>
                </a:lnTo>
                <a:cubicBezTo>
                  <a:pt x="3593" y="588"/>
                  <a:pt x="3591" y="589"/>
                  <a:pt x="3588" y="593"/>
                </a:cubicBezTo>
                <a:cubicBezTo>
                  <a:pt x="3585" y="596"/>
                  <a:pt x="3582" y="598"/>
                  <a:pt x="3581" y="598"/>
                </a:cubicBezTo>
                <a:close/>
                <a:moveTo>
                  <a:pt x="3182" y="568"/>
                </a:moveTo>
                <a:cubicBezTo>
                  <a:pt x="3182" y="568"/>
                  <a:pt x="3182" y="568"/>
                  <a:pt x="3182" y="566"/>
                </a:cubicBezTo>
                <a:cubicBezTo>
                  <a:pt x="3182" y="565"/>
                  <a:pt x="3182" y="563"/>
                  <a:pt x="3184" y="563"/>
                </a:cubicBezTo>
                <a:lnTo>
                  <a:pt x="3185" y="562"/>
                </a:lnTo>
                <a:cubicBezTo>
                  <a:pt x="3185" y="562"/>
                  <a:pt x="3185" y="563"/>
                  <a:pt x="3185" y="563"/>
                </a:cubicBezTo>
                <a:lnTo>
                  <a:pt x="3185" y="565"/>
                </a:lnTo>
                <a:cubicBezTo>
                  <a:pt x="3184" y="567"/>
                  <a:pt x="3183" y="568"/>
                  <a:pt x="3182" y="568"/>
                </a:cubicBezTo>
                <a:close/>
                <a:moveTo>
                  <a:pt x="3181" y="577"/>
                </a:moveTo>
                <a:cubicBezTo>
                  <a:pt x="3180" y="577"/>
                  <a:pt x="3179" y="577"/>
                  <a:pt x="3179" y="575"/>
                </a:cubicBezTo>
                <a:cubicBezTo>
                  <a:pt x="3179" y="575"/>
                  <a:pt x="3180" y="574"/>
                  <a:pt x="3181" y="573"/>
                </a:cubicBezTo>
                <a:cubicBezTo>
                  <a:pt x="3181" y="572"/>
                  <a:pt x="3182" y="571"/>
                  <a:pt x="3182" y="571"/>
                </a:cubicBezTo>
                <a:cubicBezTo>
                  <a:pt x="3183" y="571"/>
                  <a:pt x="3183" y="572"/>
                  <a:pt x="3183" y="572"/>
                </a:cubicBezTo>
                <a:lnTo>
                  <a:pt x="3183" y="574"/>
                </a:lnTo>
                <a:cubicBezTo>
                  <a:pt x="3182" y="576"/>
                  <a:pt x="3181" y="577"/>
                  <a:pt x="3181" y="577"/>
                </a:cubicBezTo>
                <a:close/>
                <a:moveTo>
                  <a:pt x="3281" y="511"/>
                </a:moveTo>
                <a:cubicBezTo>
                  <a:pt x="3280" y="511"/>
                  <a:pt x="3279" y="510"/>
                  <a:pt x="3279" y="509"/>
                </a:cubicBezTo>
                <a:cubicBezTo>
                  <a:pt x="3279" y="507"/>
                  <a:pt x="3280" y="507"/>
                  <a:pt x="3282" y="507"/>
                </a:cubicBezTo>
                <a:cubicBezTo>
                  <a:pt x="3283" y="507"/>
                  <a:pt x="3283" y="507"/>
                  <a:pt x="3283" y="508"/>
                </a:cubicBezTo>
                <a:lnTo>
                  <a:pt x="3283" y="509"/>
                </a:lnTo>
                <a:cubicBezTo>
                  <a:pt x="3282" y="510"/>
                  <a:pt x="3281" y="511"/>
                  <a:pt x="3281" y="511"/>
                </a:cubicBezTo>
                <a:close/>
                <a:moveTo>
                  <a:pt x="3178" y="690"/>
                </a:moveTo>
                <a:cubicBezTo>
                  <a:pt x="3178" y="689"/>
                  <a:pt x="3177" y="688"/>
                  <a:pt x="3177" y="686"/>
                </a:cubicBezTo>
                <a:cubicBezTo>
                  <a:pt x="3177" y="685"/>
                  <a:pt x="3178" y="684"/>
                  <a:pt x="3178" y="684"/>
                </a:cubicBezTo>
                <a:cubicBezTo>
                  <a:pt x="3179" y="684"/>
                  <a:pt x="3179" y="685"/>
                  <a:pt x="3179" y="687"/>
                </a:cubicBezTo>
                <a:cubicBezTo>
                  <a:pt x="3179" y="688"/>
                  <a:pt x="3179" y="689"/>
                  <a:pt x="3179" y="689"/>
                </a:cubicBezTo>
                <a:lnTo>
                  <a:pt x="3178" y="690"/>
                </a:lnTo>
                <a:close/>
                <a:moveTo>
                  <a:pt x="3176" y="598"/>
                </a:moveTo>
                <a:cubicBezTo>
                  <a:pt x="3176" y="598"/>
                  <a:pt x="3175" y="597"/>
                  <a:pt x="3175" y="595"/>
                </a:cubicBezTo>
                <a:cubicBezTo>
                  <a:pt x="3175" y="593"/>
                  <a:pt x="3176" y="592"/>
                  <a:pt x="3177" y="592"/>
                </a:cubicBezTo>
                <a:cubicBezTo>
                  <a:pt x="3178" y="592"/>
                  <a:pt x="3179" y="592"/>
                  <a:pt x="3179" y="593"/>
                </a:cubicBezTo>
                <a:lnTo>
                  <a:pt x="3178" y="595"/>
                </a:lnTo>
                <a:cubicBezTo>
                  <a:pt x="3177" y="597"/>
                  <a:pt x="3177" y="598"/>
                  <a:pt x="3176" y="598"/>
                </a:cubicBezTo>
                <a:close/>
                <a:moveTo>
                  <a:pt x="3179" y="589"/>
                </a:moveTo>
                <a:cubicBezTo>
                  <a:pt x="3178" y="589"/>
                  <a:pt x="3177" y="588"/>
                  <a:pt x="3177" y="585"/>
                </a:cubicBezTo>
                <a:cubicBezTo>
                  <a:pt x="3177" y="584"/>
                  <a:pt x="3178" y="582"/>
                  <a:pt x="3179" y="581"/>
                </a:cubicBezTo>
                <a:lnTo>
                  <a:pt x="3180" y="581"/>
                </a:lnTo>
                <a:cubicBezTo>
                  <a:pt x="3180" y="581"/>
                  <a:pt x="3181" y="581"/>
                  <a:pt x="3181" y="583"/>
                </a:cubicBezTo>
                <a:lnTo>
                  <a:pt x="3181" y="584"/>
                </a:lnTo>
                <a:cubicBezTo>
                  <a:pt x="3179" y="588"/>
                  <a:pt x="3179" y="589"/>
                  <a:pt x="3179" y="589"/>
                </a:cubicBezTo>
                <a:close/>
                <a:moveTo>
                  <a:pt x="3172" y="649"/>
                </a:moveTo>
                <a:cubicBezTo>
                  <a:pt x="3170" y="648"/>
                  <a:pt x="3169" y="648"/>
                  <a:pt x="3169" y="648"/>
                </a:cubicBezTo>
                <a:lnTo>
                  <a:pt x="3173" y="647"/>
                </a:lnTo>
                <a:cubicBezTo>
                  <a:pt x="3174" y="647"/>
                  <a:pt x="3174" y="647"/>
                  <a:pt x="3174" y="647"/>
                </a:cubicBezTo>
                <a:cubicBezTo>
                  <a:pt x="3175" y="647"/>
                  <a:pt x="3175" y="647"/>
                  <a:pt x="3175" y="648"/>
                </a:cubicBezTo>
                <a:cubicBezTo>
                  <a:pt x="3175" y="648"/>
                  <a:pt x="3174" y="649"/>
                  <a:pt x="3172" y="649"/>
                </a:cubicBezTo>
                <a:close/>
                <a:moveTo>
                  <a:pt x="3173" y="630"/>
                </a:moveTo>
                <a:lnTo>
                  <a:pt x="3173" y="630"/>
                </a:lnTo>
                <a:cubicBezTo>
                  <a:pt x="3172" y="629"/>
                  <a:pt x="3172" y="627"/>
                  <a:pt x="3172" y="625"/>
                </a:cubicBezTo>
                <a:cubicBezTo>
                  <a:pt x="3172" y="623"/>
                  <a:pt x="3172" y="621"/>
                  <a:pt x="3172" y="619"/>
                </a:cubicBezTo>
                <a:cubicBezTo>
                  <a:pt x="3172" y="616"/>
                  <a:pt x="3172" y="614"/>
                  <a:pt x="3172" y="614"/>
                </a:cubicBezTo>
                <a:cubicBezTo>
                  <a:pt x="3174" y="614"/>
                  <a:pt x="3174" y="617"/>
                  <a:pt x="3174" y="622"/>
                </a:cubicBezTo>
                <a:cubicBezTo>
                  <a:pt x="3174" y="627"/>
                  <a:pt x="3174" y="630"/>
                  <a:pt x="3173" y="630"/>
                </a:cubicBezTo>
                <a:close/>
                <a:moveTo>
                  <a:pt x="3174" y="612"/>
                </a:moveTo>
                <a:cubicBezTo>
                  <a:pt x="3174" y="612"/>
                  <a:pt x="3173" y="611"/>
                  <a:pt x="3173" y="609"/>
                </a:cubicBezTo>
                <a:cubicBezTo>
                  <a:pt x="3173" y="608"/>
                  <a:pt x="3173" y="607"/>
                  <a:pt x="3174" y="607"/>
                </a:cubicBezTo>
                <a:cubicBezTo>
                  <a:pt x="3174" y="606"/>
                  <a:pt x="3174" y="606"/>
                  <a:pt x="3175" y="605"/>
                </a:cubicBezTo>
                <a:cubicBezTo>
                  <a:pt x="3176" y="605"/>
                  <a:pt x="3176" y="606"/>
                  <a:pt x="3176" y="607"/>
                </a:cubicBezTo>
                <a:cubicBezTo>
                  <a:pt x="3176" y="607"/>
                  <a:pt x="3176" y="608"/>
                  <a:pt x="3176" y="609"/>
                </a:cubicBezTo>
                <a:cubicBezTo>
                  <a:pt x="3176" y="610"/>
                  <a:pt x="3175" y="610"/>
                  <a:pt x="3175" y="611"/>
                </a:cubicBezTo>
                <a:cubicBezTo>
                  <a:pt x="3174" y="612"/>
                  <a:pt x="3174" y="612"/>
                  <a:pt x="3174" y="612"/>
                </a:cubicBezTo>
                <a:close/>
                <a:moveTo>
                  <a:pt x="3989" y="589"/>
                </a:moveTo>
                <a:cubicBezTo>
                  <a:pt x="3989" y="589"/>
                  <a:pt x="3988" y="589"/>
                  <a:pt x="3988" y="588"/>
                </a:cubicBezTo>
                <a:cubicBezTo>
                  <a:pt x="3988" y="587"/>
                  <a:pt x="3987" y="586"/>
                  <a:pt x="3987" y="585"/>
                </a:cubicBezTo>
                <a:cubicBezTo>
                  <a:pt x="3986" y="585"/>
                  <a:pt x="3986" y="584"/>
                  <a:pt x="3986" y="583"/>
                </a:cubicBezTo>
                <a:lnTo>
                  <a:pt x="3987" y="583"/>
                </a:lnTo>
                <a:lnTo>
                  <a:pt x="3988" y="585"/>
                </a:lnTo>
                <a:cubicBezTo>
                  <a:pt x="3989" y="586"/>
                  <a:pt x="3990" y="587"/>
                  <a:pt x="3990" y="588"/>
                </a:cubicBezTo>
                <a:lnTo>
                  <a:pt x="3989" y="589"/>
                </a:lnTo>
                <a:close/>
                <a:moveTo>
                  <a:pt x="3676" y="595"/>
                </a:moveTo>
                <a:cubicBezTo>
                  <a:pt x="3675" y="595"/>
                  <a:pt x="3674" y="595"/>
                  <a:pt x="3674" y="594"/>
                </a:cubicBezTo>
                <a:cubicBezTo>
                  <a:pt x="3673" y="593"/>
                  <a:pt x="3672" y="592"/>
                  <a:pt x="3672" y="591"/>
                </a:cubicBezTo>
                <a:cubicBezTo>
                  <a:pt x="3672" y="589"/>
                  <a:pt x="3673" y="587"/>
                  <a:pt x="3675" y="584"/>
                </a:cubicBezTo>
                <a:cubicBezTo>
                  <a:pt x="3676" y="582"/>
                  <a:pt x="3677" y="580"/>
                  <a:pt x="3677" y="580"/>
                </a:cubicBezTo>
                <a:lnTo>
                  <a:pt x="3678" y="586"/>
                </a:lnTo>
                <a:lnTo>
                  <a:pt x="3678" y="588"/>
                </a:lnTo>
                <a:cubicBezTo>
                  <a:pt x="3678" y="593"/>
                  <a:pt x="3678" y="595"/>
                  <a:pt x="3676" y="595"/>
                </a:cubicBezTo>
                <a:close/>
                <a:moveTo>
                  <a:pt x="3692" y="565"/>
                </a:moveTo>
                <a:cubicBezTo>
                  <a:pt x="3691" y="565"/>
                  <a:pt x="3691" y="564"/>
                  <a:pt x="3690" y="563"/>
                </a:cubicBezTo>
                <a:cubicBezTo>
                  <a:pt x="3690" y="563"/>
                  <a:pt x="3689" y="563"/>
                  <a:pt x="3689" y="562"/>
                </a:cubicBezTo>
                <a:lnTo>
                  <a:pt x="3688" y="561"/>
                </a:lnTo>
                <a:cubicBezTo>
                  <a:pt x="3688" y="560"/>
                  <a:pt x="3689" y="560"/>
                  <a:pt x="3690" y="560"/>
                </a:cubicBezTo>
                <a:cubicBezTo>
                  <a:pt x="3692" y="560"/>
                  <a:pt x="3692" y="561"/>
                  <a:pt x="3692" y="562"/>
                </a:cubicBezTo>
                <a:cubicBezTo>
                  <a:pt x="3692" y="564"/>
                  <a:pt x="3692" y="565"/>
                  <a:pt x="3692" y="565"/>
                </a:cubicBezTo>
                <a:close/>
                <a:moveTo>
                  <a:pt x="3697" y="747"/>
                </a:moveTo>
                <a:cubicBezTo>
                  <a:pt x="3693" y="747"/>
                  <a:pt x="3688" y="747"/>
                  <a:pt x="3684" y="746"/>
                </a:cubicBezTo>
                <a:cubicBezTo>
                  <a:pt x="3672" y="743"/>
                  <a:pt x="3664" y="738"/>
                  <a:pt x="3660" y="732"/>
                </a:cubicBezTo>
                <a:cubicBezTo>
                  <a:pt x="3658" y="729"/>
                  <a:pt x="3656" y="728"/>
                  <a:pt x="3654" y="728"/>
                </a:cubicBezTo>
                <a:cubicBezTo>
                  <a:pt x="3652" y="728"/>
                  <a:pt x="3650" y="726"/>
                  <a:pt x="3647" y="722"/>
                </a:cubicBezTo>
                <a:cubicBezTo>
                  <a:pt x="3644" y="718"/>
                  <a:pt x="3641" y="714"/>
                  <a:pt x="3638" y="710"/>
                </a:cubicBezTo>
                <a:cubicBezTo>
                  <a:pt x="3636" y="705"/>
                  <a:pt x="3635" y="702"/>
                  <a:pt x="3635" y="699"/>
                </a:cubicBezTo>
                <a:lnTo>
                  <a:pt x="3635" y="696"/>
                </a:lnTo>
                <a:cubicBezTo>
                  <a:pt x="3635" y="696"/>
                  <a:pt x="3635" y="695"/>
                  <a:pt x="3634" y="695"/>
                </a:cubicBezTo>
                <a:cubicBezTo>
                  <a:pt x="3633" y="695"/>
                  <a:pt x="3632" y="689"/>
                  <a:pt x="3632" y="678"/>
                </a:cubicBezTo>
                <a:cubicBezTo>
                  <a:pt x="3632" y="667"/>
                  <a:pt x="3633" y="654"/>
                  <a:pt x="3634" y="638"/>
                </a:cubicBezTo>
                <a:cubicBezTo>
                  <a:pt x="3635" y="623"/>
                  <a:pt x="3637" y="612"/>
                  <a:pt x="3639" y="604"/>
                </a:cubicBezTo>
                <a:cubicBezTo>
                  <a:pt x="3641" y="599"/>
                  <a:pt x="3641" y="595"/>
                  <a:pt x="3641" y="592"/>
                </a:cubicBezTo>
                <a:lnTo>
                  <a:pt x="3641" y="589"/>
                </a:lnTo>
                <a:cubicBezTo>
                  <a:pt x="3641" y="588"/>
                  <a:pt x="3642" y="586"/>
                  <a:pt x="3643" y="585"/>
                </a:cubicBezTo>
                <a:cubicBezTo>
                  <a:pt x="3644" y="583"/>
                  <a:pt x="3645" y="581"/>
                  <a:pt x="3645" y="579"/>
                </a:cubicBezTo>
                <a:lnTo>
                  <a:pt x="3645" y="577"/>
                </a:lnTo>
                <a:cubicBezTo>
                  <a:pt x="3645" y="577"/>
                  <a:pt x="3645" y="576"/>
                  <a:pt x="3645" y="576"/>
                </a:cubicBezTo>
                <a:lnTo>
                  <a:pt x="3647" y="577"/>
                </a:lnTo>
                <a:cubicBezTo>
                  <a:pt x="3648" y="577"/>
                  <a:pt x="3648" y="577"/>
                  <a:pt x="3648" y="576"/>
                </a:cubicBezTo>
                <a:lnTo>
                  <a:pt x="3648" y="574"/>
                </a:lnTo>
                <a:cubicBezTo>
                  <a:pt x="3648" y="572"/>
                  <a:pt x="3650" y="566"/>
                  <a:pt x="3654" y="557"/>
                </a:cubicBezTo>
                <a:cubicBezTo>
                  <a:pt x="3658" y="549"/>
                  <a:pt x="3663" y="541"/>
                  <a:pt x="3669" y="533"/>
                </a:cubicBezTo>
                <a:cubicBezTo>
                  <a:pt x="3678" y="521"/>
                  <a:pt x="3685" y="515"/>
                  <a:pt x="3691" y="515"/>
                </a:cubicBezTo>
                <a:cubicBezTo>
                  <a:pt x="3692" y="515"/>
                  <a:pt x="3694" y="516"/>
                  <a:pt x="3695" y="516"/>
                </a:cubicBezTo>
                <a:cubicBezTo>
                  <a:pt x="3698" y="517"/>
                  <a:pt x="3702" y="518"/>
                  <a:pt x="3706" y="519"/>
                </a:cubicBezTo>
                <a:cubicBezTo>
                  <a:pt x="3710" y="520"/>
                  <a:pt x="3712" y="522"/>
                  <a:pt x="3712" y="523"/>
                </a:cubicBezTo>
                <a:lnTo>
                  <a:pt x="3710" y="529"/>
                </a:lnTo>
                <a:cubicBezTo>
                  <a:pt x="3710" y="531"/>
                  <a:pt x="3711" y="533"/>
                  <a:pt x="3713" y="533"/>
                </a:cubicBezTo>
                <a:cubicBezTo>
                  <a:pt x="3715" y="534"/>
                  <a:pt x="3716" y="535"/>
                  <a:pt x="3716" y="537"/>
                </a:cubicBezTo>
                <a:lnTo>
                  <a:pt x="3716" y="541"/>
                </a:lnTo>
                <a:cubicBezTo>
                  <a:pt x="3715" y="541"/>
                  <a:pt x="3715" y="540"/>
                  <a:pt x="3715" y="538"/>
                </a:cubicBezTo>
                <a:cubicBezTo>
                  <a:pt x="3714" y="536"/>
                  <a:pt x="3713" y="535"/>
                  <a:pt x="3712" y="535"/>
                </a:cubicBezTo>
                <a:cubicBezTo>
                  <a:pt x="3711" y="535"/>
                  <a:pt x="3710" y="537"/>
                  <a:pt x="3709" y="541"/>
                </a:cubicBezTo>
                <a:cubicBezTo>
                  <a:pt x="3708" y="546"/>
                  <a:pt x="3707" y="548"/>
                  <a:pt x="3706" y="548"/>
                </a:cubicBezTo>
                <a:lnTo>
                  <a:pt x="3704" y="547"/>
                </a:lnTo>
                <a:cubicBezTo>
                  <a:pt x="3704" y="547"/>
                  <a:pt x="3703" y="547"/>
                  <a:pt x="3703" y="548"/>
                </a:cubicBezTo>
                <a:cubicBezTo>
                  <a:pt x="3702" y="548"/>
                  <a:pt x="3702" y="549"/>
                  <a:pt x="3702" y="550"/>
                </a:cubicBezTo>
                <a:cubicBezTo>
                  <a:pt x="3702" y="550"/>
                  <a:pt x="3702" y="551"/>
                  <a:pt x="3702" y="551"/>
                </a:cubicBezTo>
                <a:lnTo>
                  <a:pt x="3704" y="550"/>
                </a:lnTo>
                <a:cubicBezTo>
                  <a:pt x="3705" y="550"/>
                  <a:pt x="3705" y="550"/>
                  <a:pt x="3705" y="551"/>
                </a:cubicBezTo>
                <a:cubicBezTo>
                  <a:pt x="3705" y="553"/>
                  <a:pt x="3704" y="555"/>
                  <a:pt x="3703" y="558"/>
                </a:cubicBezTo>
                <a:lnTo>
                  <a:pt x="3702" y="560"/>
                </a:lnTo>
                <a:lnTo>
                  <a:pt x="3703" y="554"/>
                </a:lnTo>
                <a:lnTo>
                  <a:pt x="3702" y="553"/>
                </a:lnTo>
                <a:cubicBezTo>
                  <a:pt x="3702" y="553"/>
                  <a:pt x="3701" y="554"/>
                  <a:pt x="3700" y="556"/>
                </a:cubicBezTo>
                <a:cubicBezTo>
                  <a:pt x="3698" y="558"/>
                  <a:pt x="3696" y="560"/>
                  <a:pt x="3695" y="560"/>
                </a:cubicBezTo>
                <a:cubicBezTo>
                  <a:pt x="3692" y="560"/>
                  <a:pt x="3690" y="556"/>
                  <a:pt x="3690" y="550"/>
                </a:cubicBezTo>
                <a:lnTo>
                  <a:pt x="3690" y="544"/>
                </a:lnTo>
                <a:cubicBezTo>
                  <a:pt x="3690" y="542"/>
                  <a:pt x="3689" y="541"/>
                  <a:pt x="3688" y="541"/>
                </a:cubicBezTo>
                <a:cubicBezTo>
                  <a:pt x="3688" y="541"/>
                  <a:pt x="3688" y="541"/>
                  <a:pt x="3687" y="541"/>
                </a:cubicBezTo>
                <a:cubicBezTo>
                  <a:pt x="3687" y="542"/>
                  <a:pt x="3687" y="543"/>
                  <a:pt x="3687" y="544"/>
                </a:cubicBezTo>
                <a:lnTo>
                  <a:pt x="3687" y="548"/>
                </a:lnTo>
                <a:cubicBezTo>
                  <a:pt x="3687" y="549"/>
                  <a:pt x="3686" y="551"/>
                  <a:pt x="3685" y="553"/>
                </a:cubicBezTo>
                <a:cubicBezTo>
                  <a:pt x="3685" y="556"/>
                  <a:pt x="3684" y="557"/>
                  <a:pt x="3683" y="559"/>
                </a:cubicBezTo>
                <a:cubicBezTo>
                  <a:pt x="3682" y="560"/>
                  <a:pt x="3681" y="561"/>
                  <a:pt x="3680" y="561"/>
                </a:cubicBezTo>
                <a:cubicBezTo>
                  <a:pt x="3680" y="561"/>
                  <a:pt x="3679" y="561"/>
                  <a:pt x="3679" y="561"/>
                </a:cubicBezTo>
                <a:lnTo>
                  <a:pt x="3678" y="560"/>
                </a:lnTo>
                <a:lnTo>
                  <a:pt x="3678" y="562"/>
                </a:lnTo>
                <a:cubicBezTo>
                  <a:pt x="3678" y="564"/>
                  <a:pt x="3676" y="571"/>
                  <a:pt x="3671" y="583"/>
                </a:cubicBezTo>
                <a:cubicBezTo>
                  <a:pt x="3664" y="598"/>
                  <a:pt x="3661" y="607"/>
                  <a:pt x="3661" y="611"/>
                </a:cubicBezTo>
                <a:lnTo>
                  <a:pt x="3661" y="612"/>
                </a:lnTo>
                <a:cubicBezTo>
                  <a:pt x="3661" y="612"/>
                  <a:pt x="3661" y="611"/>
                  <a:pt x="3662" y="610"/>
                </a:cubicBezTo>
                <a:cubicBezTo>
                  <a:pt x="3662" y="610"/>
                  <a:pt x="3662" y="609"/>
                  <a:pt x="3663" y="609"/>
                </a:cubicBezTo>
                <a:lnTo>
                  <a:pt x="3665" y="610"/>
                </a:lnTo>
                <a:lnTo>
                  <a:pt x="3666" y="609"/>
                </a:lnTo>
                <a:cubicBezTo>
                  <a:pt x="3666" y="608"/>
                  <a:pt x="3665" y="608"/>
                  <a:pt x="3665" y="607"/>
                </a:cubicBezTo>
                <a:cubicBezTo>
                  <a:pt x="3665" y="606"/>
                  <a:pt x="3665" y="605"/>
                  <a:pt x="3665" y="604"/>
                </a:cubicBezTo>
                <a:cubicBezTo>
                  <a:pt x="3665" y="602"/>
                  <a:pt x="3665" y="600"/>
                  <a:pt x="3666" y="598"/>
                </a:cubicBezTo>
                <a:cubicBezTo>
                  <a:pt x="3667" y="597"/>
                  <a:pt x="3668" y="596"/>
                  <a:pt x="3670" y="596"/>
                </a:cubicBezTo>
                <a:cubicBezTo>
                  <a:pt x="3670" y="596"/>
                  <a:pt x="3671" y="596"/>
                  <a:pt x="3672" y="597"/>
                </a:cubicBezTo>
                <a:cubicBezTo>
                  <a:pt x="3673" y="597"/>
                  <a:pt x="3673" y="598"/>
                  <a:pt x="3674" y="599"/>
                </a:cubicBezTo>
                <a:cubicBezTo>
                  <a:pt x="3675" y="600"/>
                  <a:pt x="3675" y="601"/>
                  <a:pt x="3675" y="602"/>
                </a:cubicBezTo>
                <a:cubicBezTo>
                  <a:pt x="3675" y="603"/>
                  <a:pt x="3675" y="603"/>
                  <a:pt x="3675" y="603"/>
                </a:cubicBezTo>
                <a:cubicBezTo>
                  <a:pt x="3674" y="603"/>
                  <a:pt x="3673" y="602"/>
                  <a:pt x="3672" y="600"/>
                </a:cubicBezTo>
                <a:lnTo>
                  <a:pt x="3669" y="597"/>
                </a:lnTo>
                <a:lnTo>
                  <a:pt x="3669" y="597"/>
                </a:lnTo>
                <a:cubicBezTo>
                  <a:pt x="3669" y="598"/>
                  <a:pt x="3670" y="599"/>
                  <a:pt x="3670" y="602"/>
                </a:cubicBezTo>
                <a:cubicBezTo>
                  <a:pt x="3671" y="604"/>
                  <a:pt x="3672" y="605"/>
                  <a:pt x="3672" y="606"/>
                </a:cubicBezTo>
                <a:cubicBezTo>
                  <a:pt x="3672" y="607"/>
                  <a:pt x="3672" y="607"/>
                  <a:pt x="3671" y="607"/>
                </a:cubicBezTo>
                <a:lnTo>
                  <a:pt x="3669" y="606"/>
                </a:lnTo>
                <a:cubicBezTo>
                  <a:pt x="3669" y="606"/>
                  <a:pt x="3669" y="607"/>
                  <a:pt x="3669" y="607"/>
                </a:cubicBezTo>
                <a:lnTo>
                  <a:pt x="3670" y="614"/>
                </a:lnTo>
                <a:cubicBezTo>
                  <a:pt x="3670" y="614"/>
                  <a:pt x="3670" y="614"/>
                  <a:pt x="3670" y="614"/>
                </a:cubicBezTo>
                <a:lnTo>
                  <a:pt x="3667" y="613"/>
                </a:lnTo>
                <a:cubicBezTo>
                  <a:pt x="3667" y="613"/>
                  <a:pt x="3667" y="614"/>
                  <a:pt x="3667" y="614"/>
                </a:cubicBezTo>
                <a:cubicBezTo>
                  <a:pt x="3667" y="615"/>
                  <a:pt x="3667" y="616"/>
                  <a:pt x="3667" y="617"/>
                </a:cubicBezTo>
                <a:cubicBezTo>
                  <a:pt x="3667" y="618"/>
                  <a:pt x="3667" y="619"/>
                  <a:pt x="3667" y="620"/>
                </a:cubicBezTo>
                <a:cubicBezTo>
                  <a:pt x="3667" y="622"/>
                  <a:pt x="3667" y="623"/>
                  <a:pt x="3666" y="623"/>
                </a:cubicBezTo>
                <a:cubicBezTo>
                  <a:pt x="3665" y="624"/>
                  <a:pt x="3665" y="625"/>
                  <a:pt x="3665" y="625"/>
                </a:cubicBezTo>
                <a:lnTo>
                  <a:pt x="3666" y="628"/>
                </a:lnTo>
                <a:cubicBezTo>
                  <a:pt x="3666" y="628"/>
                  <a:pt x="3666" y="628"/>
                  <a:pt x="3666" y="628"/>
                </a:cubicBezTo>
                <a:lnTo>
                  <a:pt x="3663" y="627"/>
                </a:lnTo>
                <a:cubicBezTo>
                  <a:pt x="3662" y="627"/>
                  <a:pt x="3662" y="628"/>
                  <a:pt x="3662" y="629"/>
                </a:cubicBezTo>
                <a:lnTo>
                  <a:pt x="3662" y="634"/>
                </a:lnTo>
                <a:cubicBezTo>
                  <a:pt x="3662" y="636"/>
                  <a:pt x="3662" y="638"/>
                  <a:pt x="3661" y="639"/>
                </a:cubicBezTo>
                <a:cubicBezTo>
                  <a:pt x="3660" y="642"/>
                  <a:pt x="3659" y="648"/>
                  <a:pt x="3658" y="657"/>
                </a:cubicBezTo>
                <a:cubicBezTo>
                  <a:pt x="3657" y="666"/>
                  <a:pt x="3657" y="674"/>
                  <a:pt x="3657" y="683"/>
                </a:cubicBezTo>
                <a:cubicBezTo>
                  <a:pt x="3657" y="690"/>
                  <a:pt x="3657" y="696"/>
                  <a:pt x="3658" y="701"/>
                </a:cubicBezTo>
                <a:cubicBezTo>
                  <a:pt x="3660" y="711"/>
                  <a:pt x="3667" y="716"/>
                  <a:pt x="3679" y="716"/>
                </a:cubicBezTo>
                <a:cubicBezTo>
                  <a:pt x="3708" y="716"/>
                  <a:pt x="3768" y="689"/>
                  <a:pt x="3859" y="637"/>
                </a:cubicBezTo>
                <a:lnTo>
                  <a:pt x="3959" y="578"/>
                </a:lnTo>
                <a:cubicBezTo>
                  <a:pt x="3984" y="563"/>
                  <a:pt x="3998" y="555"/>
                  <a:pt x="4001" y="555"/>
                </a:cubicBezTo>
                <a:lnTo>
                  <a:pt x="4002" y="555"/>
                </a:lnTo>
                <a:cubicBezTo>
                  <a:pt x="4003" y="555"/>
                  <a:pt x="4003" y="555"/>
                  <a:pt x="4003" y="554"/>
                </a:cubicBezTo>
                <a:cubicBezTo>
                  <a:pt x="4003" y="553"/>
                  <a:pt x="4003" y="552"/>
                  <a:pt x="4004" y="551"/>
                </a:cubicBezTo>
                <a:cubicBezTo>
                  <a:pt x="4005" y="551"/>
                  <a:pt x="4005" y="551"/>
                  <a:pt x="4006" y="551"/>
                </a:cubicBezTo>
                <a:cubicBezTo>
                  <a:pt x="4008" y="551"/>
                  <a:pt x="4009" y="550"/>
                  <a:pt x="4009" y="549"/>
                </a:cubicBezTo>
                <a:cubicBezTo>
                  <a:pt x="4009" y="548"/>
                  <a:pt x="4010" y="547"/>
                  <a:pt x="4010" y="547"/>
                </a:cubicBezTo>
                <a:lnTo>
                  <a:pt x="4013" y="548"/>
                </a:lnTo>
                <a:cubicBezTo>
                  <a:pt x="4013" y="548"/>
                  <a:pt x="4014" y="547"/>
                  <a:pt x="4014" y="546"/>
                </a:cubicBezTo>
                <a:cubicBezTo>
                  <a:pt x="4014" y="545"/>
                  <a:pt x="4015" y="545"/>
                  <a:pt x="4017" y="545"/>
                </a:cubicBezTo>
                <a:lnTo>
                  <a:pt x="4018" y="545"/>
                </a:lnTo>
                <a:cubicBezTo>
                  <a:pt x="4020" y="545"/>
                  <a:pt x="4023" y="543"/>
                  <a:pt x="4026" y="540"/>
                </a:cubicBezTo>
                <a:lnTo>
                  <a:pt x="4027" y="539"/>
                </a:lnTo>
                <a:cubicBezTo>
                  <a:pt x="4029" y="539"/>
                  <a:pt x="4030" y="540"/>
                  <a:pt x="4032" y="542"/>
                </a:cubicBezTo>
                <a:cubicBezTo>
                  <a:pt x="4034" y="544"/>
                  <a:pt x="4036" y="546"/>
                  <a:pt x="4038" y="548"/>
                </a:cubicBezTo>
                <a:cubicBezTo>
                  <a:pt x="4039" y="550"/>
                  <a:pt x="4040" y="551"/>
                  <a:pt x="4040" y="552"/>
                </a:cubicBezTo>
                <a:cubicBezTo>
                  <a:pt x="4040" y="555"/>
                  <a:pt x="4034" y="560"/>
                  <a:pt x="4022" y="568"/>
                </a:cubicBezTo>
                <a:cubicBezTo>
                  <a:pt x="4019" y="570"/>
                  <a:pt x="4017" y="571"/>
                  <a:pt x="4016" y="571"/>
                </a:cubicBezTo>
                <a:cubicBezTo>
                  <a:pt x="4015" y="571"/>
                  <a:pt x="4015" y="571"/>
                  <a:pt x="4015" y="570"/>
                </a:cubicBezTo>
                <a:cubicBezTo>
                  <a:pt x="4015" y="569"/>
                  <a:pt x="4015" y="568"/>
                  <a:pt x="4016" y="568"/>
                </a:cubicBezTo>
                <a:lnTo>
                  <a:pt x="4017" y="568"/>
                </a:lnTo>
                <a:cubicBezTo>
                  <a:pt x="4018" y="568"/>
                  <a:pt x="4018" y="568"/>
                  <a:pt x="4018" y="567"/>
                </a:cubicBezTo>
                <a:cubicBezTo>
                  <a:pt x="4018" y="566"/>
                  <a:pt x="4019" y="566"/>
                  <a:pt x="4020" y="565"/>
                </a:cubicBezTo>
                <a:cubicBezTo>
                  <a:pt x="4022" y="564"/>
                  <a:pt x="4024" y="563"/>
                  <a:pt x="4025" y="562"/>
                </a:cubicBezTo>
                <a:cubicBezTo>
                  <a:pt x="4027" y="561"/>
                  <a:pt x="4029" y="561"/>
                  <a:pt x="4031" y="559"/>
                </a:cubicBezTo>
                <a:cubicBezTo>
                  <a:pt x="4032" y="558"/>
                  <a:pt x="4033" y="557"/>
                  <a:pt x="4033" y="556"/>
                </a:cubicBezTo>
                <a:cubicBezTo>
                  <a:pt x="4033" y="554"/>
                  <a:pt x="4033" y="553"/>
                  <a:pt x="4032" y="553"/>
                </a:cubicBezTo>
                <a:cubicBezTo>
                  <a:pt x="4031" y="553"/>
                  <a:pt x="4029" y="554"/>
                  <a:pt x="4027" y="557"/>
                </a:cubicBezTo>
                <a:cubicBezTo>
                  <a:pt x="4024" y="560"/>
                  <a:pt x="4022" y="561"/>
                  <a:pt x="4021" y="561"/>
                </a:cubicBezTo>
                <a:lnTo>
                  <a:pt x="4020" y="561"/>
                </a:lnTo>
                <a:cubicBezTo>
                  <a:pt x="4019" y="561"/>
                  <a:pt x="4017" y="562"/>
                  <a:pt x="4015" y="564"/>
                </a:cubicBezTo>
                <a:cubicBezTo>
                  <a:pt x="4013" y="566"/>
                  <a:pt x="4011" y="568"/>
                  <a:pt x="4008" y="569"/>
                </a:cubicBezTo>
                <a:cubicBezTo>
                  <a:pt x="4005" y="571"/>
                  <a:pt x="4002" y="571"/>
                  <a:pt x="4001" y="571"/>
                </a:cubicBezTo>
                <a:lnTo>
                  <a:pt x="3999" y="571"/>
                </a:lnTo>
                <a:cubicBezTo>
                  <a:pt x="3998" y="571"/>
                  <a:pt x="3998" y="571"/>
                  <a:pt x="3997" y="573"/>
                </a:cubicBezTo>
                <a:cubicBezTo>
                  <a:pt x="3996" y="574"/>
                  <a:pt x="3995" y="576"/>
                  <a:pt x="3995" y="578"/>
                </a:cubicBezTo>
                <a:cubicBezTo>
                  <a:pt x="3994" y="580"/>
                  <a:pt x="3993" y="581"/>
                  <a:pt x="3993" y="583"/>
                </a:cubicBezTo>
                <a:lnTo>
                  <a:pt x="3993" y="586"/>
                </a:lnTo>
                <a:lnTo>
                  <a:pt x="3993" y="585"/>
                </a:lnTo>
                <a:cubicBezTo>
                  <a:pt x="3992" y="582"/>
                  <a:pt x="3990" y="580"/>
                  <a:pt x="3988" y="580"/>
                </a:cubicBezTo>
                <a:cubicBezTo>
                  <a:pt x="3987" y="580"/>
                  <a:pt x="3985" y="581"/>
                  <a:pt x="3984" y="583"/>
                </a:cubicBezTo>
                <a:cubicBezTo>
                  <a:pt x="3983" y="585"/>
                  <a:pt x="3983" y="586"/>
                  <a:pt x="3983" y="588"/>
                </a:cubicBezTo>
                <a:lnTo>
                  <a:pt x="3983" y="588"/>
                </a:lnTo>
                <a:cubicBezTo>
                  <a:pt x="3983" y="589"/>
                  <a:pt x="3982" y="589"/>
                  <a:pt x="3982" y="589"/>
                </a:cubicBezTo>
                <a:lnTo>
                  <a:pt x="3979" y="588"/>
                </a:lnTo>
                <a:cubicBezTo>
                  <a:pt x="3977" y="588"/>
                  <a:pt x="3977" y="590"/>
                  <a:pt x="3977" y="593"/>
                </a:cubicBezTo>
                <a:cubicBezTo>
                  <a:pt x="3977" y="596"/>
                  <a:pt x="3976" y="598"/>
                  <a:pt x="3974" y="598"/>
                </a:cubicBezTo>
                <a:cubicBezTo>
                  <a:pt x="3972" y="599"/>
                  <a:pt x="3972" y="600"/>
                  <a:pt x="3972" y="601"/>
                </a:cubicBezTo>
                <a:lnTo>
                  <a:pt x="3973" y="603"/>
                </a:lnTo>
                <a:lnTo>
                  <a:pt x="3972" y="604"/>
                </a:lnTo>
                <a:lnTo>
                  <a:pt x="3972" y="603"/>
                </a:lnTo>
                <a:cubicBezTo>
                  <a:pt x="3971" y="603"/>
                  <a:pt x="3971" y="603"/>
                  <a:pt x="3970" y="603"/>
                </a:cubicBezTo>
                <a:cubicBezTo>
                  <a:pt x="3969" y="603"/>
                  <a:pt x="3968" y="603"/>
                  <a:pt x="3967" y="604"/>
                </a:cubicBezTo>
                <a:cubicBezTo>
                  <a:pt x="3966" y="605"/>
                  <a:pt x="3965" y="605"/>
                  <a:pt x="3964" y="605"/>
                </a:cubicBezTo>
                <a:cubicBezTo>
                  <a:pt x="3964" y="605"/>
                  <a:pt x="3964" y="605"/>
                  <a:pt x="3964" y="604"/>
                </a:cubicBezTo>
                <a:cubicBezTo>
                  <a:pt x="3964" y="603"/>
                  <a:pt x="3965" y="601"/>
                  <a:pt x="3966" y="601"/>
                </a:cubicBezTo>
                <a:cubicBezTo>
                  <a:pt x="3967" y="600"/>
                  <a:pt x="3968" y="600"/>
                  <a:pt x="3968" y="599"/>
                </a:cubicBezTo>
                <a:cubicBezTo>
                  <a:pt x="3968" y="598"/>
                  <a:pt x="3967" y="596"/>
                  <a:pt x="3967" y="595"/>
                </a:cubicBezTo>
                <a:cubicBezTo>
                  <a:pt x="3967" y="593"/>
                  <a:pt x="3966" y="593"/>
                  <a:pt x="3965" y="593"/>
                </a:cubicBezTo>
                <a:cubicBezTo>
                  <a:pt x="3965" y="593"/>
                  <a:pt x="3964" y="593"/>
                  <a:pt x="3963" y="595"/>
                </a:cubicBezTo>
                <a:cubicBezTo>
                  <a:pt x="3960" y="598"/>
                  <a:pt x="3951" y="603"/>
                  <a:pt x="3935" y="612"/>
                </a:cubicBezTo>
                <a:cubicBezTo>
                  <a:pt x="3919" y="620"/>
                  <a:pt x="3911" y="625"/>
                  <a:pt x="3911" y="627"/>
                </a:cubicBezTo>
                <a:cubicBezTo>
                  <a:pt x="3911" y="628"/>
                  <a:pt x="3910" y="628"/>
                  <a:pt x="3908" y="628"/>
                </a:cubicBezTo>
                <a:cubicBezTo>
                  <a:pt x="3906" y="628"/>
                  <a:pt x="3905" y="629"/>
                  <a:pt x="3905" y="630"/>
                </a:cubicBezTo>
                <a:lnTo>
                  <a:pt x="3905" y="635"/>
                </a:lnTo>
                <a:cubicBezTo>
                  <a:pt x="3905" y="635"/>
                  <a:pt x="3904" y="634"/>
                  <a:pt x="3903" y="634"/>
                </a:cubicBezTo>
                <a:cubicBezTo>
                  <a:pt x="3903" y="633"/>
                  <a:pt x="3901" y="632"/>
                  <a:pt x="3901" y="632"/>
                </a:cubicBezTo>
                <a:cubicBezTo>
                  <a:pt x="3899" y="632"/>
                  <a:pt x="3897" y="633"/>
                  <a:pt x="3894" y="634"/>
                </a:cubicBezTo>
                <a:cubicBezTo>
                  <a:pt x="3892" y="635"/>
                  <a:pt x="3890" y="636"/>
                  <a:pt x="3888" y="638"/>
                </a:cubicBezTo>
                <a:cubicBezTo>
                  <a:pt x="3886" y="639"/>
                  <a:pt x="3885" y="641"/>
                  <a:pt x="3885" y="642"/>
                </a:cubicBezTo>
                <a:lnTo>
                  <a:pt x="3885" y="643"/>
                </a:lnTo>
                <a:lnTo>
                  <a:pt x="3885" y="646"/>
                </a:lnTo>
                <a:cubicBezTo>
                  <a:pt x="3883" y="648"/>
                  <a:pt x="3881" y="650"/>
                  <a:pt x="3879" y="650"/>
                </a:cubicBezTo>
                <a:cubicBezTo>
                  <a:pt x="3878" y="650"/>
                  <a:pt x="3878" y="649"/>
                  <a:pt x="3878" y="649"/>
                </a:cubicBezTo>
                <a:cubicBezTo>
                  <a:pt x="3878" y="648"/>
                  <a:pt x="3878" y="647"/>
                  <a:pt x="3879" y="646"/>
                </a:cubicBezTo>
                <a:cubicBezTo>
                  <a:pt x="3881" y="644"/>
                  <a:pt x="3881" y="643"/>
                  <a:pt x="3881" y="643"/>
                </a:cubicBezTo>
                <a:lnTo>
                  <a:pt x="3881" y="643"/>
                </a:lnTo>
                <a:cubicBezTo>
                  <a:pt x="3880" y="643"/>
                  <a:pt x="3876" y="644"/>
                  <a:pt x="3871" y="648"/>
                </a:cubicBezTo>
                <a:cubicBezTo>
                  <a:pt x="3866" y="652"/>
                  <a:pt x="3863" y="654"/>
                  <a:pt x="3863" y="655"/>
                </a:cubicBezTo>
                <a:cubicBezTo>
                  <a:pt x="3863" y="657"/>
                  <a:pt x="3863" y="658"/>
                  <a:pt x="3862" y="659"/>
                </a:cubicBezTo>
                <a:cubicBezTo>
                  <a:pt x="3861" y="660"/>
                  <a:pt x="3859" y="661"/>
                  <a:pt x="3858" y="661"/>
                </a:cubicBezTo>
                <a:cubicBezTo>
                  <a:pt x="3858" y="661"/>
                  <a:pt x="3858" y="660"/>
                  <a:pt x="3859" y="659"/>
                </a:cubicBezTo>
                <a:cubicBezTo>
                  <a:pt x="3861" y="658"/>
                  <a:pt x="3861" y="657"/>
                  <a:pt x="3861" y="656"/>
                </a:cubicBezTo>
                <a:cubicBezTo>
                  <a:pt x="3861" y="655"/>
                  <a:pt x="3861" y="655"/>
                  <a:pt x="3861" y="655"/>
                </a:cubicBezTo>
                <a:cubicBezTo>
                  <a:pt x="3859" y="655"/>
                  <a:pt x="3857" y="655"/>
                  <a:pt x="3855" y="657"/>
                </a:cubicBezTo>
                <a:cubicBezTo>
                  <a:pt x="3853" y="658"/>
                  <a:pt x="3852" y="659"/>
                  <a:pt x="3852" y="660"/>
                </a:cubicBezTo>
                <a:cubicBezTo>
                  <a:pt x="3852" y="661"/>
                  <a:pt x="3853" y="661"/>
                  <a:pt x="3853" y="661"/>
                </a:cubicBezTo>
                <a:cubicBezTo>
                  <a:pt x="3854" y="661"/>
                  <a:pt x="3854" y="661"/>
                  <a:pt x="3854" y="662"/>
                </a:cubicBezTo>
                <a:lnTo>
                  <a:pt x="3854" y="665"/>
                </a:lnTo>
                <a:cubicBezTo>
                  <a:pt x="3854" y="666"/>
                  <a:pt x="3854" y="668"/>
                  <a:pt x="3856" y="669"/>
                </a:cubicBezTo>
                <a:cubicBezTo>
                  <a:pt x="3857" y="671"/>
                  <a:pt x="3858" y="672"/>
                  <a:pt x="3858" y="673"/>
                </a:cubicBezTo>
                <a:cubicBezTo>
                  <a:pt x="3858" y="674"/>
                  <a:pt x="3857" y="674"/>
                  <a:pt x="3855" y="674"/>
                </a:cubicBezTo>
                <a:cubicBezTo>
                  <a:pt x="3853" y="674"/>
                  <a:pt x="3847" y="677"/>
                  <a:pt x="3839" y="681"/>
                </a:cubicBezTo>
                <a:cubicBezTo>
                  <a:pt x="3831" y="686"/>
                  <a:pt x="3827" y="689"/>
                  <a:pt x="3827" y="690"/>
                </a:cubicBezTo>
                <a:cubicBezTo>
                  <a:pt x="3827" y="691"/>
                  <a:pt x="3826" y="692"/>
                  <a:pt x="3824" y="692"/>
                </a:cubicBezTo>
                <a:lnTo>
                  <a:pt x="3820" y="692"/>
                </a:lnTo>
                <a:cubicBezTo>
                  <a:pt x="3817" y="692"/>
                  <a:pt x="3816" y="692"/>
                  <a:pt x="3816" y="693"/>
                </a:cubicBezTo>
                <a:cubicBezTo>
                  <a:pt x="3816" y="694"/>
                  <a:pt x="3816" y="694"/>
                  <a:pt x="3815" y="694"/>
                </a:cubicBezTo>
                <a:lnTo>
                  <a:pt x="3812" y="693"/>
                </a:lnTo>
                <a:cubicBezTo>
                  <a:pt x="3812" y="693"/>
                  <a:pt x="3812" y="693"/>
                  <a:pt x="3812" y="694"/>
                </a:cubicBezTo>
                <a:cubicBezTo>
                  <a:pt x="3812" y="695"/>
                  <a:pt x="3812" y="696"/>
                  <a:pt x="3813" y="697"/>
                </a:cubicBezTo>
                <a:cubicBezTo>
                  <a:pt x="3813" y="699"/>
                  <a:pt x="3814" y="699"/>
                  <a:pt x="3814" y="700"/>
                </a:cubicBezTo>
                <a:cubicBezTo>
                  <a:pt x="3813" y="700"/>
                  <a:pt x="3812" y="698"/>
                  <a:pt x="3811" y="696"/>
                </a:cubicBezTo>
                <a:cubicBezTo>
                  <a:pt x="3809" y="694"/>
                  <a:pt x="3807" y="693"/>
                  <a:pt x="3807" y="693"/>
                </a:cubicBezTo>
                <a:cubicBezTo>
                  <a:pt x="3807" y="693"/>
                  <a:pt x="3806" y="693"/>
                  <a:pt x="3806" y="694"/>
                </a:cubicBezTo>
                <a:cubicBezTo>
                  <a:pt x="3806" y="694"/>
                  <a:pt x="3807" y="696"/>
                  <a:pt x="3807" y="697"/>
                </a:cubicBezTo>
                <a:cubicBezTo>
                  <a:pt x="3808" y="698"/>
                  <a:pt x="3808" y="700"/>
                  <a:pt x="3808" y="701"/>
                </a:cubicBezTo>
                <a:cubicBezTo>
                  <a:pt x="3808" y="703"/>
                  <a:pt x="3807" y="704"/>
                  <a:pt x="3805" y="704"/>
                </a:cubicBezTo>
                <a:cubicBezTo>
                  <a:pt x="3804" y="704"/>
                  <a:pt x="3804" y="704"/>
                  <a:pt x="3804" y="703"/>
                </a:cubicBezTo>
                <a:lnTo>
                  <a:pt x="3804" y="700"/>
                </a:lnTo>
                <a:cubicBezTo>
                  <a:pt x="3804" y="699"/>
                  <a:pt x="3804" y="698"/>
                  <a:pt x="3802" y="698"/>
                </a:cubicBezTo>
                <a:cubicBezTo>
                  <a:pt x="3800" y="698"/>
                  <a:pt x="3799" y="700"/>
                  <a:pt x="3799" y="703"/>
                </a:cubicBezTo>
                <a:cubicBezTo>
                  <a:pt x="3799" y="706"/>
                  <a:pt x="3797" y="709"/>
                  <a:pt x="3793" y="711"/>
                </a:cubicBezTo>
                <a:cubicBezTo>
                  <a:pt x="3790" y="714"/>
                  <a:pt x="3787" y="715"/>
                  <a:pt x="3784" y="715"/>
                </a:cubicBezTo>
                <a:cubicBezTo>
                  <a:pt x="3783" y="715"/>
                  <a:pt x="3782" y="714"/>
                  <a:pt x="3781" y="713"/>
                </a:cubicBezTo>
                <a:cubicBezTo>
                  <a:pt x="3780" y="713"/>
                  <a:pt x="3779" y="712"/>
                  <a:pt x="3779" y="712"/>
                </a:cubicBezTo>
                <a:cubicBezTo>
                  <a:pt x="3779" y="713"/>
                  <a:pt x="3779" y="714"/>
                  <a:pt x="3779" y="716"/>
                </a:cubicBezTo>
                <a:lnTo>
                  <a:pt x="3779" y="716"/>
                </a:lnTo>
                <a:cubicBezTo>
                  <a:pt x="3779" y="719"/>
                  <a:pt x="3772" y="723"/>
                  <a:pt x="3759" y="729"/>
                </a:cubicBezTo>
                <a:cubicBezTo>
                  <a:pt x="3734" y="741"/>
                  <a:pt x="3714" y="747"/>
                  <a:pt x="3697" y="747"/>
                </a:cubicBezTo>
                <a:close/>
                <a:moveTo>
                  <a:pt x="3656" y="627"/>
                </a:moveTo>
                <a:cubicBezTo>
                  <a:pt x="3656" y="627"/>
                  <a:pt x="3657" y="627"/>
                  <a:pt x="3657" y="626"/>
                </a:cubicBezTo>
                <a:cubicBezTo>
                  <a:pt x="3658" y="625"/>
                  <a:pt x="3658" y="624"/>
                  <a:pt x="3659" y="622"/>
                </a:cubicBezTo>
                <a:cubicBezTo>
                  <a:pt x="3660" y="621"/>
                  <a:pt x="3660" y="620"/>
                  <a:pt x="3660" y="618"/>
                </a:cubicBezTo>
                <a:cubicBezTo>
                  <a:pt x="3660" y="618"/>
                  <a:pt x="3660" y="618"/>
                  <a:pt x="3659" y="618"/>
                </a:cubicBezTo>
                <a:cubicBezTo>
                  <a:pt x="3659" y="618"/>
                  <a:pt x="3658" y="618"/>
                  <a:pt x="3658" y="619"/>
                </a:cubicBezTo>
                <a:cubicBezTo>
                  <a:pt x="3657" y="620"/>
                  <a:pt x="3656" y="622"/>
                  <a:pt x="3656" y="623"/>
                </a:cubicBezTo>
                <a:cubicBezTo>
                  <a:pt x="3656" y="624"/>
                  <a:pt x="3655" y="625"/>
                  <a:pt x="3655" y="626"/>
                </a:cubicBezTo>
                <a:cubicBezTo>
                  <a:pt x="3655" y="627"/>
                  <a:pt x="3656" y="627"/>
                  <a:pt x="3656" y="627"/>
                </a:cubicBezTo>
                <a:close/>
                <a:moveTo>
                  <a:pt x="3680" y="734"/>
                </a:moveTo>
                <a:cubicBezTo>
                  <a:pt x="3682" y="734"/>
                  <a:pt x="3683" y="734"/>
                  <a:pt x="3683" y="733"/>
                </a:cubicBezTo>
                <a:lnTo>
                  <a:pt x="3683" y="732"/>
                </a:lnTo>
                <a:lnTo>
                  <a:pt x="3681" y="732"/>
                </a:lnTo>
                <a:cubicBezTo>
                  <a:pt x="3679" y="732"/>
                  <a:pt x="3678" y="732"/>
                  <a:pt x="3678" y="734"/>
                </a:cubicBezTo>
                <a:cubicBezTo>
                  <a:pt x="3678" y="734"/>
                  <a:pt x="3679" y="734"/>
                  <a:pt x="3680" y="734"/>
                </a:cubicBezTo>
                <a:close/>
                <a:moveTo>
                  <a:pt x="3785" y="712"/>
                </a:moveTo>
                <a:cubicBezTo>
                  <a:pt x="3787" y="712"/>
                  <a:pt x="3789" y="711"/>
                  <a:pt x="3789" y="710"/>
                </a:cubicBezTo>
                <a:cubicBezTo>
                  <a:pt x="3789" y="710"/>
                  <a:pt x="3789" y="709"/>
                  <a:pt x="3788" y="708"/>
                </a:cubicBezTo>
                <a:cubicBezTo>
                  <a:pt x="3787" y="707"/>
                  <a:pt x="3786" y="707"/>
                  <a:pt x="3786" y="707"/>
                </a:cubicBezTo>
                <a:cubicBezTo>
                  <a:pt x="3786" y="707"/>
                  <a:pt x="3785" y="708"/>
                  <a:pt x="3784" y="709"/>
                </a:cubicBezTo>
                <a:cubicBezTo>
                  <a:pt x="3782" y="710"/>
                  <a:pt x="3782" y="711"/>
                  <a:pt x="3781" y="711"/>
                </a:cubicBezTo>
                <a:lnTo>
                  <a:pt x="3785" y="712"/>
                </a:lnTo>
                <a:close/>
                <a:moveTo>
                  <a:pt x="3701" y="735"/>
                </a:moveTo>
                <a:cubicBezTo>
                  <a:pt x="3702" y="735"/>
                  <a:pt x="3708" y="733"/>
                  <a:pt x="3718" y="730"/>
                </a:cubicBezTo>
                <a:cubicBezTo>
                  <a:pt x="3721" y="730"/>
                  <a:pt x="3729" y="727"/>
                  <a:pt x="3742" y="722"/>
                </a:cubicBezTo>
                <a:cubicBezTo>
                  <a:pt x="3754" y="717"/>
                  <a:pt x="3761" y="714"/>
                  <a:pt x="3762" y="713"/>
                </a:cubicBezTo>
                <a:cubicBezTo>
                  <a:pt x="3762" y="713"/>
                  <a:pt x="3764" y="712"/>
                  <a:pt x="3768" y="712"/>
                </a:cubicBezTo>
                <a:cubicBezTo>
                  <a:pt x="3772" y="711"/>
                  <a:pt x="3776" y="709"/>
                  <a:pt x="3781" y="706"/>
                </a:cubicBezTo>
                <a:cubicBezTo>
                  <a:pt x="3785" y="704"/>
                  <a:pt x="3788" y="702"/>
                  <a:pt x="3789" y="702"/>
                </a:cubicBezTo>
                <a:cubicBezTo>
                  <a:pt x="3789" y="702"/>
                  <a:pt x="3790" y="703"/>
                  <a:pt x="3790" y="703"/>
                </a:cubicBezTo>
                <a:lnTo>
                  <a:pt x="3789" y="706"/>
                </a:lnTo>
                <a:cubicBezTo>
                  <a:pt x="3789" y="707"/>
                  <a:pt x="3789" y="708"/>
                  <a:pt x="3791" y="708"/>
                </a:cubicBezTo>
                <a:cubicBezTo>
                  <a:pt x="3792" y="708"/>
                  <a:pt x="3793" y="707"/>
                  <a:pt x="3795" y="706"/>
                </a:cubicBezTo>
                <a:cubicBezTo>
                  <a:pt x="3796" y="705"/>
                  <a:pt x="3797" y="705"/>
                  <a:pt x="3797" y="704"/>
                </a:cubicBezTo>
                <a:cubicBezTo>
                  <a:pt x="3797" y="704"/>
                  <a:pt x="3796" y="703"/>
                  <a:pt x="3795" y="702"/>
                </a:cubicBezTo>
                <a:cubicBezTo>
                  <a:pt x="3793" y="701"/>
                  <a:pt x="3792" y="701"/>
                  <a:pt x="3792" y="700"/>
                </a:cubicBezTo>
                <a:lnTo>
                  <a:pt x="3792" y="699"/>
                </a:lnTo>
                <a:cubicBezTo>
                  <a:pt x="3796" y="697"/>
                  <a:pt x="3801" y="694"/>
                  <a:pt x="3806" y="692"/>
                </a:cubicBezTo>
                <a:lnTo>
                  <a:pt x="3811" y="691"/>
                </a:lnTo>
                <a:cubicBezTo>
                  <a:pt x="3813" y="691"/>
                  <a:pt x="3814" y="690"/>
                  <a:pt x="3814" y="688"/>
                </a:cubicBezTo>
                <a:cubicBezTo>
                  <a:pt x="3814" y="687"/>
                  <a:pt x="3814" y="686"/>
                  <a:pt x="3812" y="686"/>
                </a:cubicBezTo>
                <a:cubicBezTo>
                  <a:pt x="3811" y="686"/>
                  <a:pt x="3808" y="688"/>
                  <a:pt x="3804" y="690"/>
                </a:cubicBezTo>
                <a:lnTo>
                  <a:pt x="3802" y="691"/>
                </a:lnTo>
                <a:cubicBezTo>
                  <a:pt x="3801" y="691"/>
                  <a:pt x="3801" y="690"/>
                  <a:pt x="3801" y="690"/>
                </a:cubicBezTo>
                <a:lnTo>
                  <a:pt x="3802" y="688"/>
                </a:lnTo>
                <a:cubicBezTo>
                  <a:pt x="3802" y="687"/>
                  <a:pt x="3802" y="687"/>
                  <a:pt x="3802" y="687"/>
                </a:cubicBezTo>
                <a:cubicBezTo>
                  <a:pt x="3801" y="687"/>
                  <a:pt x="3801" y="687"/>
                  <a:pt x="3800" y="688"/>
                </a:cubicBezTo>
                <a:cubicBezTo>
                  <a:pt x="3799" y="688"/>
                  <a:pt x="3798" y="688"/>
                  <a:pt x="3798" y="689"/>
                </a:cubicBezTo>
                <a:cubicBezTo>
                  <a:pt x="3797" y="690"/>
                  <a:pt x="3797" y="690"/>
                  <a:pt x="3797" y="691"/>
                </a:cubicBezTo>
                <a:lnTo>
                  <a:pt x="3797" y="691"/>
                </a:lnTo>
                <a:cubicBezTo>
                  <a:pt x="3797" y="693"/>
                  <a:pt x="3796" y="694"/>
                  <a:pt x="3792" y="694"/>
                </a:cubicBezTo>
                <a:cubicBezTo>
                  <a:pt x="3787" y="695"/>
                  <a:pt x="3777" y="699"/>
                  <a:pt x="3761" y="707"/>
                </a:cubicBezTo>
                <a:cubicBezTo>
                  <a:pt x="3749" y="713"/>
                  <a:pt x="3741" y="718"/>
                  <a:pt x="3735" y="720"/>
                </a:cubicBezTo>
                <a:cubicBezTo>
                  <a:pt x="3730" y="722"/>
                  <a:pt x="3726" y="723"/>
                  <a:pt x="3722" y="724"/>
                </a:cubicBezTo>
                <a:cubicBezTo>
                  <a:pt x="3719" y="725"/>
                  <a:pt x="3717" y="725"/>
                  <a:pt x="3717" y="727"/>
                </a:cubicBezTo>
                <a:cubicBezTo>
                  <a:pt x="3716" y="728"/>
                  <a:pt x="3715" y="728"/>
                  <a:pt x="3714" y="728"/>
                </a:cubicBezTo>
                <a:cubicBezTo>
                  <a:pt x="3713" y="728"/>
                  <a:pt x="3712" y="728"/>
                  <a:pt x="3711" y="728"/>
                </a:cubicBezTo>
                <a:cubicBezTo>
                  <a:pt x="3710" y="728"/>
                  <a:pt x="3709" y="728"/>
                  <a:pt x="3709" y="728"/>
                </a:cubicBezTo>
                <a:cubicBezTo>
                  <a:pt x="3708" y="728"/>
                  <a:pt x="3708" y="728"/>
                  <a:pt x="3708" y="728"/>
                </a:cubicBezTo>
                <a:lnTo>
                  <a:pt x="3709" y="730"/>
                </a:lnTo>
                <a:cubicBezTo>
                  <a:pt x="3709" y="731"/>
                  <a:pt x="3708" y="732"/>
                  <a:pt x="3707" y="732"/>
                </a:cubicBezTo>
                <a:lnTo>
                  <a:pt x="3698" y="730"/>
                </a:lnTo>
                <a:lnTo>
                  <a:pt x="3698" y="730"/>
                </a:lnTo>
                <a:lnTo>
                  <a:pt x="3699" y="731"/>
                </a:lnTo>
                <a:cubicBezTo>
                  <a:pt x="3700" y="732"/>
                  <a:pt x="3700" y="732"/>
                  <a:pt x="3700" y="733"/>
                </a:cubicBezTo>
                <a:lnTo>
                  <a:pt x="3700" y="735"/>
                </a:lnTo>
                <a:lnTo>
                  <a:pt x="3701" y="735"/>
                </a:lnTo>
                <a:close/>
                <a:moveTo>
                  <a:pt x="3807" y="686"/>
                </a:moveTo>
                <a:cubicBezTo>
                  <a:pt x="3809" y="686"/>
                  <a:pt x="3810" y="685"/>
                  <a:pt x="3811" y="683"/>
                </a:cubicBezTo>
                <a:lnTo>
                  <a:pt x="3811" y="683"/>
                </a:lnTo>
                <a:cubicBezTo>
                  <a:pt x="3811" y="683"/>
                  <a:pt x="3811" y="683"/>
                  <a:pt x="3811" y="683"/>
                </a:cubicBezTo>
                <a:lnTo>
                  <a:pt x="3809" y="683"/>
                </a:lnTo>
                <a:cubicBezTo>
                  <a:pt x="3806" y="684"/>
                  <a:pt x="3805" y="685"/>
                  <a:pt x="3805" y="686"/>
                </a:cubicBezTo>
                <a:cubicBezTo>
                  <a:pt x="3805" y="686"/>
                  <a:pt x="3806" y="686"/>
                  <a:pt x="3807" y="686"/>
                </a:cubicBezTo>
                <a:close/>
                <a:moveTo>
                  <a:pt x="3687" y="727"/>
                </a:moveTo>
                <a:cubicBezTo>
                  <a:pt x="3691" y="727"/>
                  <a:pt x="3696" y="726"/>
                  <a:pt x="3701" y="725"/>
                </a:cubicBezTo>
                <a:cubicBezTo>
                  <a:pt x="3704" y="724"/>
                  <a:pt x="3706" y="724"/>
                  <a:pt x="3709" y="723"/>
                </a:cubicBezTo>
                <a:cubicBezTo>
                  <a:pt x="3711" y="722"/>
                  <a:pt x="3713" y="722"/>
                  <a:pt x="3714" y="722"/>
                </a:cubicBezTo>
                <a:cubicBezTo>
                  <a:pt x="3714" y="721"/>
                  <a:pt x="3715" y="721"/>
                  <a:pt x="3716" y="721"/>
                </a:cubicBezTo>
                <a:cubicBezTo>
                  <a:pt x="3717" y="720"/>
                  <a:pt x="3717" y="720"/>
                  <a:pt x="3718" y="719"/>
                </a:cubicBezTo>
                <a:cubicBezTo>
                  <a:pt x="3719" y="718"/>
                  <a:pt x="3720" y="718"/>
                  <a:pt x="3722" y="718"/>
                </a:cubicBezTo>
                <a:cubicBezTo>
                  <a:pt x="3724" y="718"/>
                  <a:pt x="3730" y="716"/>
                  <a:pt x="3739" y="712"/>
                </a:cubicBezTo>
                <a:cubicBezTo>
                  <a:pt x="3748" y="708"/>
                  <a:pt x="3757" y="705"/>
                  <a:pt x="3766" y="700"/>
                </a:cubicBezTo>
                <a:cubicBezTo>
                  <a:pt x="3772" y="697"/>
                  <a:pt x="3777" y="695"/>
                  <a:pt x="3781" y="694"/>
                </a:cubicBezTo>
                <a:cubicBezTo>
                  <a:pt x="3783" y="694"/>
                  <a:pt x="3784" y="693"/>
                  <a:pt x="3785" y="691"/>
                </a:cubicBezTo>
                <a:cubicBezTo>
                  <a:pt x="3786" y="690"/>
                  <a:pt x="3787" y="690"/>
                  <a:pt x="3787" y="690"/>
                </a:cubicBezTo>
                <a:lnTo>
                  <a:pt x="3789" y="690"/>
                </a:lnTo>
                <a:cubicBezTo>
                  <a:pt x="3789" y="690"/>
                  <a:pt x="3790" y="689"/>
                  <a:pt x="3790" y="688"/>
                </a:cubicBezTo>
                <a:cubicBezTo>
                  <a:pt x="3790" y="687"/>
                  <a:pt x="3791" y="687"/>
                  <a:pt x="3792" y="687"/>
                </a:cubicBezTo>
                <a:cubicBezTo>
                  <a:pt x="3794" y="687"/>
                  <a:pt x="3796" y="686"/>
                  <a:pt x="3797" y="686"/>
                </a:cubicBezTo>
                <a:cubicBezTo>
                  <a:pt x="3799" y="683"/>
                  <a:pt x="3802" y="682"/>
                  <a:pt x="3804" y="681"/>
                </a:cubicBezTo>
                <a:cubicBezTo>
                  <a:pt x="3806" y="681"/>
                  <a:pt x="3807" y="680"/>
                  <a:pt x="3808" y="679"/>
                </a:cubicBezTo>
                <a:cubicBezTo>
                  <a:pt x="3809" y="678"/>
                  <a:pt x="3810" y="678"/>
                  <a:pt x="3811" y="678"/>
                </a:cubicBezTo>
                <a:cubicBezTo>
                  <a:pt x="3816" y="677"/>
                  <a:pt x="3818" y="677"/>
                  <a:pt x="3818" y="676"/>
                </a:cubicBezTo>
                <a:lnTo>
                  <a:pt x="3817" y="674"/>
                </a:lnTo>
                <a:cubicBezTo>
                  <a:pt x="3817" y="674"/>
                  <a:pt x="3819" y="674"/>
                  <a:pt x="3821" y="674"/>
                </a:cubicBezTo>
                <a:cubicBezTo>
                  <a:pt x="3823" y="674"/>
                  <a:pt x="3824" y="674"/>
                  <a:pt x="3824" y="674"/>
                </a:cubicBezTo>
                <a:cubicBezTo>
                  <a:pt x="3824" y="674"/>
                  <a:pt x="3823" y="675"/>
                  <a:pt x="3821" y="676"/>
                </a:cubicBezTo>
                <a:cubicBezTo>
                  <a:pt x="3820" y="677"/>
                  <a:pt x="3819" y="678"/>
                  <a:pt x="3819" y="679"/>
                </a:cubicBezTo>
                <a:cubicBezTo>
                  <a:pt x="3819" y="679"/>
                  <a:pt x="3820" y="680"/>
                  <a:pt x="3821" y="680"/>
                </a:cubicBezTo>
                <a:lnTo>
                  <a:pt x="3822" y="681"/>
                </a:lnTo>
                <a:cubicBezTo>
                  <a:pt x="3822" y="681"/>
                  <a:pt x="3821" y="681"/>
                  <a:pt x="3821" y="681"/>
                </a:cubicBezTo>
                <a:lnTo>
                  <a:pt x="3815" y="680"/>
                </a:lnTo>
                <a:cubicBezTo>
                  <a:pt x="3815" y="680"/>
                  <a:pt x="3816" y="681"/>
                  <a:pt x="3816" y="681"/>
                </a:cubicBezTo>
                <a:cubicBezTo>
                  <a:pt x="3817" y="681"/>
                  <a:pt x="3817" y="682"/>
                  <a:pt x="3817" y="683"/>
                </a:cubicBezTo>
                <a:lnTo>
                  <a:pt x="3817" y="685"/>
                </a:lnTo>
                <a:cubicBezTo>
                  <a:pt x="3817" y="686"/>
                  <a:pt x="3817" y="687"/>
                  <a:pt x="3819" y="687"/>
                </a:cubicBezTo>
                <a:cubicBezTo>
                  <a:pt x="3820" y="687"/>
                  <a:pt x="3821" y="685"/>
                  <a:pt x="3824" y="681"/>
                </a:cubicBezTo>
                <a:cubicBezTo>
                  <a:pt x="3824" y="679"/>
                  <a:pt x="3826" y="678"/>
                  <a:pt x="3827" y="676"/>
                </a:cubicBezTo>
                <a:cubicBezTo>
                  <a:pt x="3828" y="675"/>
                  <a:pt x="3829" y="674"/>
                  <a:pt x="3830" y="674"/>
                </a:cubicBezTo>
                <a:cubicBezTo>
                  <a:pt x="3831" y="674"/>
                  <a:pt x="3831" y="675"/>
                  <a:pt x="3831" y="675"/>
                </a:cubicBezTo>
                <a:cubicBezTo>
                  <a:pt x="3831" y="675"/>
                  <a:pt x="3831" y="676"/>
                  <a:pt x="3830" y="676"/>
                </a:cubicBezTo>
                <a:cubicBezTo>
                  <a:pt x="3828" y="677"/>
                  <a:pt x="3828" y="678"/>
                  <a:pt x="3828" y="679"/>
                </a:cubicBezTo>
                <a:cubicBezTo>
                  <a:pt x="3828" y="680"/>
                  <a:pt x="3829" y="681"/>
                  <a:pt x="3830" y="681"/>
                </a:cubicBezTo>
                <a:cubicBezTo>
                  <a:pt x="3831" y="681"/>
                  <a:pt x="3832" y="680"/>
                  <a:pt x="3832" y="679"/>
                </a:cubicBezTo>
                <a:cubicBezTo>
                  <a:pt x="3832" y="679"/>
                  <a:pt x="3832" y="678"/>
                  <a:pt x="3832" y="676"/>
                </a:cubicBezTo>
                <a:lnTo>
                  <a:pt x="3832" y="673"/>
                </a:lnTo>
                <a:cubicBezTo>
                  <a:pt x="3832" y="672"/>
                  <a:pt x="3832" y="671"/>
                  <a:pt x="3831" y="669"/>
                </a:cubicBezTo>
                <a:cubicBezTo>
                  <a:pt x="3830" y="668"/>
                  <a:pt x="3830" y="666"/>
                  <a:pt x="3830" y="666"/>
                </a:cubicBezTo>
                <a:cubicBezTo>
                  <a:pt x="3830" y="666"/>
                  <a:pt x="3830" y="665"/>
                  <a:pt x="3830" y="665"/>
                </a:cubicBezTo>
                <a:lnTo>
                  <a:pt x="3834" y="666"/>
                </a:lnTo>
                <a:cubicBezTo>
                  <a:pt x="3836" y="666"/>
                  <a:pt x="3837" y="665"/>
                  <a:pt x="3837" y="664"/>
                </a:cubicBezTo>
                <a:lnTo>
                  <a:pt x="3837" y="663"/>
                </a:lnTo>
                <a:cubicBezTo>
                  <a:pt x="3837" y="662"/>
                  <a:pt x="3840" y="661"/>
                  <a:pt x="3846" y="661"/>
                </a:cubicBezTo>
                <a:cubicBezTo>
                  <a:pt x="3846" y="662"/>
                  <a:pt x="3844" y="664"/>
                  <a:pt x="3841" y="666"/>
                </a:cubicBezTo>
                <a:cubicBezTo>
                  <a:pt x="3837" y="668"/>
                  <a:pt x="3835" y="669"/>
                  <a:pt x="3835" y="670"/>
                </a:cubicBezTo>
                <a:lnTo>
                  <a:pt x="3835" y="670"/>
                </a:lnTo>
                <a:cubicBezTo>
                  <a:pt x="3837" y="670"/>
                  <a:pt x="3838" y="671"/>
                  <a:pt x="3838" y="672"/>
                </a:cubicBezTo>
                <a:lnTo>
                  <a:pt x="3838" y="673"/>
                </a:lnTo>
                <a:cubicBezTo>
                  <a:pt x="3838" y="674"/>
                  <a:pt x="3838" y="675"/>
                  <a:pt x="3840" y="676"/>
                </a:cubicBezTo>
                <a:lnTo>
                  <a:pt x="3842" y="676"/>
                </a:lnTo>
                <a:lnTo>
                  <a:pt x="3842" y="676"/>
                </a:lnTo>
                <a:lnTo>
                  <a:pt x="3840" y="675"/>
                </a:lnTo>
                <a:cubicBezTo>
                  <a:pt x="3839" y="674"/>
                  <a:pt x="3838" y="673"/>
                  <a:pt x="3838" y="673"/>
                </a:cubicBezTo>
                <a:cubicBezTo>
                  <a:pt x="3838" y="673"/>
                  <a:pt x="3838" y="672"/>
                  <a:pt x="3839" y="672"/>
                </a:cubicBezTo>
                <a:cubicBezTo>
                  <a:pt x="3840" y="672"/>
                  <a:pt x="3841" y="672"/>
                  <a:pt x="3841" y="671"/>
                </a:cubicBezTo>
                <a:cubicBezTo>
                  <a:pt x="3841" y="671"/>
                  <a:pt x="3842" y="670"/>
                  <a:pt x="3842" y="670"/>
                </a:cubicBezTo>
                <a:cubicBezTo>
                  <a:pt x="3842" y="668"/>
                  <a:pt x="3842" y="667"/>
                  <a:pt x="3844" y="666"/>
                </a:cubicBezTo>
                <a:cubicBezTo>
                  <a:pt x="3845" y="666"/>
                  <a:pt x="3846" y="666"/>
                  <a:pt x="3846" y="667"/>
                </a:cubicBezTo>
                <a:lnTo>
                  <a:pt x="3846" y="668"/>
                </a:lnTo>
                <a:cubicBezTo>
                  <a:pt x="3846" y="668"/>
                  <a:pt x="3846" y="668"/>
                  <a:pt x="3846" y="669"/>
                </a:cubicBezTo>
                <a:cubicBezTo>
                  <a:pt x="3847" y="669"/>
                  <a:pt x="3847" y="669"/>
                  <a:pt x="3848" y="669"/>
                </a:cubicBezTo>
                <a:cubicBezTo>
                  <a:pt x="3849" y="669"/>
                  <a:pt x="3849" y="665"/>
                  <a:pt x="3849" y="660"/>
                </a:cubicBezTo>
                <a:cubicBezTo>
                  <a:pt x="3849" y="656"/>
                  <a:pt x="3849" y="654"/>
                  <a:pt x="3848" y="653"/>
                </a:cubicBezTo>
                <a:cubicBezTo>
                  <a:pt x="3846" y="653"/>
                  <a:pt x="3833" y="659"/>
                  <a:pt x="3810" y="671"/>
                </a:cubicBezTo>
                <a:cubicBezTo>
                  <a:pt x="3765" y="694"/>
                  <a:pt x="3737" y="707"/>
                  <a:pt x="3725" y="710"/>
                </a:cubicBezTo>
                <a:lnTo>
                  <a:pt x="3709" y="714"/>
                </a:lnTo>
                <a:cubicBezTo>
                  <a:pt x="3701" y="717"/>
                  <a:pt x="3692" y="718"/>
                  <a:pt x="3680" y="718"/>
                </a:cubicBezTo>
                <a:cubicBezTo>
                  <a:pt x="3671" y="718"/>
                  <a:pt x="3666" y="718"/>
                  <a:pt x="3666" y="720"/>
                </a:cubicBezTo>
                <a:cubicBezTo>
                  <a:pt x="3666" y="721"/>
                  <a:pt x="3668" y="722"/>
                  <a:pt x="3673" y="724"/>
                </a:cubicBezTo>
                <a:cubicBezTo>
                  <a:pt x="3678" y="726"/>
                  <a:pt x="3682" y="727"/>
                  <a:pt x="3687" y="727"/>
                </a:cubicBezTo>
                <a:close/>
                <a:moveTo>
                  <a:pt x="3855" y="652"/>
                </a:moveTo>
                <a:cubicBezTo>
                  <a:pt x="3857" y="652"/>
                  <a:pt x="3858" y="651"/>
                  <a:pt x="3858" y="650"/>
                </a:cubicBezTo>
                <a:cubicBezTo>
                  <a:pt x="3858" y="649"/>
                  <a:pt x="3857" y="648"/>
                  <a:pt x="3857" y="648"/>
                </a:cubicBezTo>
                <a:lnTo>
                  <a:pt x="3855" y="647"/>
                </a:lnTo>
                <a:cubicBezTo>
                  <a:pt x="3854" y="647"/>
                  <a:pt x="3854" y="647"/>
                  <a:pt x="3853" y="648"/>
                </a:cubicBezTo>
                <a:cubicBezTo>
                  <a:pt x="3852" y="649"/>
                  <a:pt x="3851" y="649"/>
                  <a:pt x="3851" y="650"/>
                </a:cubicBezTo>
                <a:cubicBezTo>
                  <a:pt x="3851" y="650"/>
                  <a:pt x="3852" y="651"/>
                  <a:pt x="3853" y="652"/>
                </a:cubicBezTo>
                <a:lnTo>
                  <a:pt x="3855" y="652"/>
                </a:lnTo>
                <a:close/>
                <a:moveTo>
                  <a:pt x="3861" y="650"/>
                </a:moveTo>
                <a:cubicBezTo>
                  <a:pt x="3862" y="650"/>
                  <a:pt x="3863" y="650"/>
                  <a:pt x="3864" y="649"/>
                </a:cubicBezTo>
                <a:cubicBezTo>
                  <a:pt x="3866" y="648"/>
                  <a:pt x="3867" y="647"/>
                  <a:pt x="3867" y="645"/>
                </a:cubicBezTo>
                <a:lnTo>
                  <a:pt x="3867" y="644"/>
                </a:lnTo>
                <a:cubicBezTo>
                  <a:pt x="3866" y="643"/>
                  <a:pt x="3866" y="643"/>
                  <a:pt x="3864" y="643"/>
                </a:cubicBezTo>
                <a:cubicBezTo>
                  <a:pt x="3864" y="643"/>
                  <a:pt x="3863" y="643"/>
                  <a:pt x="3862" y="644"/>
                </a:cubicBezTo>
                <a:cubicBezTo>
                  <a:pt x="3861" y="645"/>
                  <a:pt x="3861" y="647"/>
                  <a:pt x="3861" y="649"/>
                </a:cubicBezTo>
                <a:cubicBezTo>
                  <a:pt x="3861" y="649"/>
                  <a:pt x="3861" y="650"/>
                  <a:pt x="3861" y="650"/>
                </a:cubicBezTo>
                <a:close/>
                <a:moveTo>
                  <a:pt x="3972" y="597"/>
                </a:moveTo>
                <a:cubicBezTo>
                  <a:pt x="3973" y="597"/>
                  <a:pt x="3974" y="595"/>
                  <a:pt x="3974" y="593"/>
                </a:cubicBezTo>
                <a:cubicBezTo>
                  <a:pt x="3974" y="592"/>
                  <a:pt x="3973" y="591"/>
                  <a:pt x="3973" y="591"/>
                </a:cubicBezTo>
                <a:lnTo>
                  <a:pt x="3972" y="592"/>
                </a:lnTo>
                <a:cubicBezTo>
                  <a:pt x="3971" y="592"/>
                  <a:pt x="3971" y="593"/>
                  <a:pt x="3971" y="595"/>
                </a:cubicBezTo>
                <a:cubicBezTo>
                  <a:pt x="3971" y="595"/>
                  <a:pt x="3971" y="595"/>
                  <a:pt x="3971" y="595"/>
                </a:cubicBezTo>
                <a:cubicBezTo>
                  <a:pt x="3971" y="596"/>
                  <a:pt x="3972" y="596"/>
                  <a:pt x="3972" y="597"/>
                </a:cubicBezTo>
                <a:close/>
                <a:moveTo>
                  <a:pt x="3681" y="576"/>
                </a:moveTo>
                <a:cubicBezTo>
                  <a:pt x="3681" y="576"/>
                  <a:pt x="3680" y="576"/>
                  <a:pt x="3680" y="575"/>
                </a:cubicBezTo>
                <a:cubicBezTo>
                  <a:pt x="3680" y="575"/>
                  <a:pt x="3681" y="574"/>
                  <a:pt x="3682" y="573"/>
                </a:cubicBezTo>
                <a:cubicBezTo>
                  <a:pt x="3683" y="572"/>
                  <a:pt x="3684" y="571"/>
                  <a:pt x="3685" y="570"/>
                </a:cubicBezTo>
                <a:cubicBezTo>
                  <a:pt x="3686" y="570"/>
                  <a:pt x="3687" y="569"/>
                  <a:pt x="3687" y="569"/>
                </a:cubicBezTo>
                <a:cubicBezTo>
                  <a:pt x="3687" y="569"/>
                  <a:pt x="3688" y="570"/>
                  <a:pt x="3688" y="570"/>
                </a:cubicBezTo>
                <a:cubicBezTo>
                  <a:pt x="3688" y="570"/>
                  <a:pt x="3687" y="571"/>
                  <a:pt x="3685" y="573"/>
                </a:cubicBezTo>
                <a:cubicBezTo>
                  <a:pt x="3684" y="575"/>
                  <a:pt x="3682" y="576"/>
                  <a:pt x="3681" y="576"/>
                </a:cubicBezTo>
                <a:close/>
                <a:moveTo>
                  <a:pt x="4004" y="578"/>
                </a:moveTo>
                <a:cubicBezTo>
                  <a:pt x="4004" y="578"/>
                  <a:pt x="4004" y="578"/>
                  <a:pt x="4004" y="578"/>
                </a:cubicBezTo>
                <a:cubicBezTo>
                  <a:pt x="4004" y="577"/>
                  <a:pt x="4005" y="576"/>
                  <a:pt x="4007" y="575"/>
                </a:cubicBezTo>
                <a:cubicBezTo>
                  <a:pt x="4008" y="573"/>
                  <a:pt x="4010" y="572"/>
                  <a:pt x="4010" y="572"/>
                </a:cubicBezTo>
                <a:cubicBezTo>
                  <a:pt x="4011" y="572"/>
                  <a:pt x="4011" y="573"/>
                  <a:pt x="4011" y="573"/>
                </a:cubicBezTo>
                <a:lnTo>
                  <a:pt x="4012" y="573"/>
                </a:lnTo>
                <a:cubicBezTo>
                  <a:pt x="4012" y="574"/>
                  <a:pt x="4011" y="575"/>
                  <a:pt x="4010" y="576"/>
                </a:cubicBezTo>
                <a:cubicBezTo>
                  <a:pt x="4010" y="576"/>
                  <a:pt x="4008" y="577"/>
                  <a:pt x="4007" y="578"/>
                </a:cubicBezTo>
                <a:cubicBezTo>
                  <a:pt x="4006" y="578"/>
                  <a:pt x="4005" y="578"/>
                  <a:pt x="4004" y="578"/>
                </a:cubicBezTo>
                <a:close/>
                <a:moveTo>
                  <a:pt x="3661" y="679"/>
                </a:moveTo>
                <a:cubicBezTo>
                  <a:pt x="3661" y="679"/>
                  <a:pt x="3660" y="678"/>
                  <a:pt x="3660" y="676"/>
                </a:cubicBezTo>
                <a:cubicBezTo>
                  <a:pt x="3660" y="674"/>
                  <a:pt x="3661" y="674"/>
                  <a:pt x="3661" y="674"/>
                </a:cubicBezTo>
                <a:cubicBezTo>
                  <a:pt x="3662" y="674"/>
                  <a:pt x="3662" y="674"/>
                  <a:pt x="3663" y="674"/>
                </a:cubicBezTo>
                <a:cubicBezTo>
                  <a:pt x="3663" y="674"/>
                  <a:pt x="3663" y="675"/>
                  <a:pt x="3663" y="676"/>
                </a:cubicBezTo>
                <a:cubicBezTo>
                  <a:pt x="3663" y="676"/>
                  <a:pt x="3663" y="677"/>
                  <a:pt x="3663" y="678"/>
                </a:cubicBezTo>
                <a:cubicBezTo>
                  <a:pt x="3662" y="679"/>
                  <a:pt x="3662" y="679"/>
                  <a:pt x="3661" y="679"/>
                </a:cubicBezTo>
                <a:close/>
                <a:moveTo>
                  <a:pt x="3869" y="656"/>
                </a:moveTo>
                <a:cubicBezTo>
                  <a:pt x="3868" y="656"/>
                  <a:pt x="3868" y="656"/>
                  <a:pt x="3868" y="654"/>
                </a:cubicBezTo>
                <a:cubicBezTo>
                  <a:pt x="3868" y="654"/>
                  <a:pt x="3869" y="653"/>
                  <a:pt x="3869" y="652"/>
                </a:cubicBezTo>
                <a:cubicBezTo>
                  <a:pt x="3870" y="652"/>
                  <a:pt x="3871" y="652"/>
                  <a:pt x="3872" y="651"/>
                </a:cubicBezTo>
                <a:cubicBezTo>
                  <a:pt x="3873" y="650"/>
                  <a:pt x="3874" y="650"/>
                  <a:pt x="3874" y="650"/>
                </a:cubicBezTo>
                <a:lnTo>
                  <a:pt x="3874" y="650"/>
                </a:lnTo>
                <a:lnTo>
                  <a:pt x="3873" y="653"/>
                </a:lnTo>
                <a:cubicBezTo>
                  <a:pt x="3871" y="655"/>
                  <a:pt x="3870" y="656"/>
                  <a:pt x="3869" y="656"/>
                </a:cubicBezTo>
                <a:close/>
                <a:moveTo>
                  <a:pt x="3919" y="633"/>
                </a:moveTo>
                <a:lnTo>
                  <a:pt x="3916" y="633"/>
                </a:lnTo>
                <a:cubicBezTo>
                  <a:pt x="3916" y="633"/>
                  <a:pt x="3917" y="632"/>
                  <a:pt x="3918" y="632"/>
                </a:cubicBezTo>
                <a:cubicBezTo>
                  <a:pt x="3921" y="631"/>
                  <a:pt x="3923" y="630"/>
                  <a:pt x="3925" y="627"/>
                </a:cubicBezTo>
                <a:cubicBezTo>
                  <a:pt x="3927" y="626"/>
                  <a:pt x="3929" y="625"/>
                  <a:pt x="3931" y="625"/>
                </a:cubicBezTo>
                <a:cubicBezTo>
                  <a:pt x="3932" y="625"/>
                  <a:pt x="3933" y="625"/>
                  <a:pt x="3933" y="626"/>
                </a:cubicBezTo>
                <a:lnTo>
                  <a:pt x="3930" y="626"/>
                </a:lnTo>
                <a:cubicBezTo>
                  <a:pt x="3928" y="626"/>
                  <a:pt x="3926" y="627"/>
                  <a:pt x="3925" y="630"/>
                </a:cubicBezTo>
                <a:cubicBezTo>
                  <a:pt x="3923" y="632"/>
                  <a:pt x="3921" y="633"/>
                  <a:pt x="3919" y="633"/>
                </a:cubicBezTo>
                <a:close/>
                <a:moveTo>
                  <a:pt x="3902" y="644"/>
                </a:moveTo>
                <a:cubicBezTo>
                  <a:pt x="3901" y="644"/>
                  <a:pt x="3901" y="643"/>
                  <a:pt x="3901" y="643"/>
                </a:cubicBezTo>
                <a:cubicBezTo>
                  <a:pt x="3901" y="642"/>
                  <a:pt x="3903" y="640"/>
                  <a:pt x="3908" y="638"/>
                </a:cubicBezTo>
                <a:cubicBezTo>
                  <a:pt x="3910" y="637"/>
                  <a:pt x="3912" y="637"/>
                  <a:pt x="3913" y="637"/>
                </a:cubicBezTo>
                <a:lnTo>
                  <a:pt x="3913" y="637"/>
                </a:lnTo>
                <a:cubicBezTo>
                  <a:pt x="3913" y="637"/>
                  <a:pt x="3913" y="638"/>
                  <a:pt x="3911" y="639"/>
                </a:cubicBezTo>
                <a:cubicBezTo>
                  <a:pt x="3910" y="640"/>
                  <a:pt x="3909" y="641"/>
                  <a:pt x="3907" y="642"/>
                </a:cubicBezTo>
                <a:cubicBezTo>
                  <a:pt x="3905" y="643"/>
                  <a:pt x="3903" y="644"/>
                  <a:pt x="3902" y="644"/>
                </a:cubicBezTo>
                <a:close/>
                <a:moveTo>
                  <a:pt x="3862" y="669"/>
                </a:moveTo>
                <a:cubicBezTo>
                  <a:pt x="3861" y="669"/>
                  <a:pt x="3860" y="669"/>
                  <a:pt x="3858" y="669"/>
                </a:cubicBezTo>
                <a:cubicBezTo>
                  <a:pt x="3857" y="669"/>
                  <a:pt x="3856" y="668"/>
                  <a:pt x="3856" y="667"/>
                </a:cubicBezTo>
                <a:cubicBezTo>
                  <a:pt x="3856" y="666"/>
                  <a:pt x="3858" y="665"/>
                  <a:pt x="3861" y="665"/>
                </a:cubicBezTo>
                <a:cubicBezTo>
                  <a:pt x="3863" y="665"/>
                  <a:pt x="3865" y="665"/>
                  <a:pt x="3865" y="664"/>
                </a:cubicBezTo>
                <a:lnTo>
                  <a:pt x="3864" y="662"/>
                </a:lnTo>
                <a:cubicBezTo>
                  <a:pt x="3864" y="661"/>
                  <a:pt x="3864" y="661"/>
                  <a:pt x="3865" y="661"/>
                </a:cubicBezTo>
                <a:lnTo>
                  <a:pt x="3865" y="661"/>
                </a:lnTo>
                <a:cubicBezTo>
                  <a:pt x="3867" y="661"/>
                  <a:pt x="3869" y="660"/>
                  <a:pt x="3873" y="659"/>
                </a:cubicBezTo>
                <a:cubicBezTo>
                  <a:pt x="3876" y="657"/>
                  <a:pt x="3880" y="655"/>
                  <a:pt x="3884" y="653"/>
                </a:cubicBezTo>
                <a:cubicBezTo>
                  <a:pt x="3887" y="651"/>
                  <a:pt x="3890" y="649"/>
                  <a:pt x="3892" y="647"/>
                </a:cubicBezTo>
                <a:cubicBezTo>
                  <a:pt x="3894" y="646"/>
                  <a:pt x="3896" y="645"/>
                  <a:pt x="3897" y="645"/>
                </a:cubicBezTo>
                <a:cubicBezTo>
                  <a:pt x="3898" y="645"/>
                  <a:pt x="3899" y="646"/>
                  <a:pt x="3899" y="647"/>
                </a:cubicBezTo>
                <a:cubicBezTo>
                  <a:pt x="3899" y="649"/>
                  <a:pt x="3898" y="649"/>
                  <a:pt x="3896" y="649"/>
                </a:cubicBezTo>
                <a:cubicBezTo>
                  <a:pt x="3894" y="649"/>
                  <a:pt x="3893" y="650"/>
                  <a:pt x="3893" y="651"/>
                </a:cubicBezTo>
                <a:lnTo>
                  <a:pt x="3894" y="653"/>
                </a:lnTo>
                <a:cubicBezTo>
                  <a:pt x="3894" y="654"/>
                  <a:pt x="3894" y="654"/>
                  <a:pt x="3893" y="654"/>
                </a:cubicBezTo>
                <a:lnTo>
                  <a:pt x="3892" y="653"/>
                </a:lnTo>
                <a:cubicBezTo>
                  <a:pt x="3890" y="653"/>
                  <a:pt x="3888" y="654"/>
                  <a:pt x="3887" y="656"/>
                </a:cubicBezTo>
                <a:cubicBezTo>
                  <a:pt x="3885" y="658"/>
                  <a:pt x="3884" y="659"/>
                  <a:pt x="3882" y="659"/>
                </a:cubicBezTo>
                <a:cubicBezTo>
                  <a:pt x="3881" y="659"/>
                  <a:pt x="3879" y="660"/>
                  <a:pt x="3876" y="661"/>
                </a:cubicBezTo>
                <a:cubicBezTo>
                  <a:pt x="3869" y="665"/>
                  <a:pt x="3866" y="667"/>
                  <a:pt x="3866" y="668"/>
                </a:cubicBezTo>
                <a:cubicBezTo>
                  <a:pt x="3866" y="669"/>
                  <a:pt x="3865" y="669"/>
                  <a:pt x="3862" y="669"/>
                </a:cubicBezTo>
                <a:close/>
                <a:moveTo>
                  <a:pt x="3856" y="667"/>
                </a:moveTo>
                <a:close/>
                <a:moveTo>
                  <a:pt x="3938" y="623"/>
                </a:moveTo>
                <a:cubicBezTo>
                  <a:pt x="3938" y="623"/>
                  <a:pt x="3938" y="623"/>
                  <a:pt x="3938" y="623"/>
                </a:cubicBezTo>
                <a:cubicBezTo>
                  <a:pt x="3938" y="622"/>
                  <a:pt x="3939" y="620"/>
                  <a:pt x="3940" y="618"/>
                </a:cubicBezTo>
                <a:cubicBezTo>
                  <a:pt x="3944" y="614"/>
                  <a:pt x="3946" y="611"/>
                  <a:pt x="3948" y="611"/>
                </a:cubicBezTo>
                <a:cubicBezTo>
                  <a:pt x="3949" y="611"/>
                  <a:pt x="3952" y="610"/>
                  <a:pt x="3955" y="608"/>
                </a:cubicBezTo>
                <a:cubicBezTo>
                  <a:pt x="3958" y="606"/>
                  <a:pt x="3960" y="605"/>
                  <a:pt x="3961" y="605"/>
                </a:cubicBezTo>
                <a:cubicBezTo>
                  <a:pt x="3961" y="605"/>
                  <a:pt x="3962" y="605"/>
                  <a:pt x="3962" y="606"/>
                </a:cubicBezTo>
                <a:cubicBezTo>
                  <a:pt x="3962" y="608"/>
                  <a:pt x="3961" y="610"/>
                  <a:pt x="3961" y="610"/>
                </a:cubicBezTo>
                <a:lnTo>
                  <a:pt x="3959" y="609"/>
                </a:lnTo>
                <a:cubicBezTo>
                  <a:pt x="3958" y="609"/>
                  <a:pt x="3955" y="610"/>
                  <a:pt x="3952" y="613"/>
                </a:cubicBezTo>
                <a:cubicBezTo>
                  <a:pt x="3949" y="616"/>
                  <a:pt x="3946" y="617"/>
                  <a:pt x="3945" y="617"/>
                </a:cubicBezTo>
                <a:cubicBezTo>
                  <a:pt x="3943" y="617"/>
                  <a:pt x="3941" y="619"/>
                  <a:pt x="3940" y="621"/>
                </a:cubicBezTo>
                <a:cubicBezTo>
                  <a:pt x="3939" y="623"/>
                  <a:pt x="3939" y="623"/>
                  <a:pt x="3938" y="623"/>
                </a:cubicBezTo>
                <a:close/>
                <a:moveTo>
                  <a:pt x="3773" y="362"/>
                </a:moveTo>
                <a:close/>
                <a:moveTo>
                  <a:pt x="3758" y="383"/>
                </a:moveTo>
                <a:cubicBezTo>
                  <a:pt x="3758" y="383"/>
                  <a:pt x="3757" y="383"/>
                  <a:pt x="3757" y="382"/>
                </a:cubicBezTo>
                <a:lnTo>
                  <a:pt x="3764" y="377"/>
                </a:lnTo>
                <a:cubicBezTo>
                  <a:pt x="3764" y="377"/>
                  <a:pt x="3763" y="378"/>
                  <a:pt x="3762" y="379"/>
                </a:cubicBezTo>
                <a:cubicBezTo>
                  <a:pt x="3760" y="382"/>
                  <a:pt x="3759" y="383"/>
                  <a:pt x="3758" y="383"/>
                </a:cubicBezTo>
                <a:close/>
                <a:moveTo>
                  <a:pt x="3747" y="394"/>
                </a:moveTo>
                <a:close/>
                <a:moveTo>
                  <a:pt x="3773" y="362"/>
                </a:moveTo>
                <a:cubicBezTo>
                  <a:pt x="3773" y="362"/>
                  <a:pt x="3773" y="362"/>
                  <a:pt x="3773" y="362"/>
                </a:cubicBezTo>
                <a:cubicBezTo>
                  <a:pt x="3773" y="361"/>
                  <a:pt x="3774" y="360"/>
                  <a:pt x="3776" y="358"/>
                </a:cubicBezTo>
                <a:lnTo>
                  <a:pt x="3779" y="356"/>
                </a:lnTo>
                <a:lnTo>
                  <a:pt x="3777" y="359"/>
                </a:lnTo>
                <a:cubicBezTo>
                  <a:pt x="3775" y="361"/>
                  <a:pt x="3774" y="362"/>
                  <a:pt x="3773" y="362"/>
                </a:cubicBezTo>
                <a:close/>
                <a:moveTo>
                  <a:pt x="3757" y="382"/>
                </a:moveTo>
                <a:close/>
                <a:moveTo>
                  <a:pt x="3722" y="458"/>
                </a:moveTo>
                <a:cubicBezTo>
                  <a:pt x="3720" y="458"/>
                  <a:pt x="3719" y="457"/>
                  <a:pt x="3719" y="455"/>
                </a:cubicBezTo>
                <a:lnTo>
                  <a:pt x="3719" y="455"/>
                </a:lnTo>
                <a:cubicBezTo>
                  <a:pt x="3719" y="453"/>
                  <a:pt x="3720" y="451"/>
                  <a:pt x="3721" y="451"/>
                </a:cubicBezTo>
                <a:cubicBezTo>
                  <a:pt x="3721" y="451"/>
                  <a:pt x="3721" y="452"/>
                  <a:pt x="3722" y="452"/>
                </a:cubicBezTo>
                <a:cubicBezTo>
                  <a:pt x="3723" y="453"/>
                  <a:pt x="3723" y="453"/>
                  <a:pt x="3724" y="453"/>
                </a:cubicBezTo>
                <a:cubicBezTo>
                  <a:pt x="3725" y="453"/>
                  <a:pt x="3726" y="453"/>
                  <a:pt x="3727" y="451"/>
                </a:cubicBezTo>
                <a:cubicBezTo>
                  <a:pt x="3728" y="451"/>
                  <a:pt x="3729" y="450"/>
                  <a:pt x="3729" y="450"/>
                </a:cubicBezTo>
                <a:lnTo>
                  <a:pt x="3728" y="453"/>
                </a:lnTo>
                <a:cubicBezTo>
                  <a:pt x="3727" y="456"/>
                  <a:pt x="3725" y="458"/>
                  <a:pt x="3722" y="458"/>
                </a:cubicBezTo>
                <a:close/>
                <a:moveTo>
                  <a:pt x="3747" y="394"/>
                </a:moveTo>
                <a:cubicBezTo>
                  <a:pt x="3747" y="394"/>
                  <a:pt x="3747" y="394"/>
                  <a:pt x="3747" y="394"/>
                </a:cubicBezTo>
                <a:cubicBezTo>
                  <a:pt x="3747" y="394"/>
                  <a:pt x="3747" y="393"/>
                  <a:pt x="3748" y="392"/>
                </a:cubicBezTo>
                <a:cubicBezTo>
                  <a:pt x="3749" y="391"/>
                  <a:pt x="3751" y="390"/>
                  <a:pt x="3753" y="389"/>
                </a:cubicBezTo>
                <a:cubicBezTo>
                  <a:pt x="3755" y="387"/>
                  <a:pt x="3756" y="387"/>
                  <a:pt x="3757" y="387"/>
                </a:cubicBezTo>
                <a:lnTo>
                  <a:pt x="3757" y="387"/>
                </a:lnTo>
                <a:cubicBezTo>
                  <a:pt x="3757" y="388"/>
                  <a:pt x="3756" y="389"/>
                  <a:pt x="3754" y="390"/>
                </a:cubicBezTo>
                <a:cubicBezTo>
                  <a:pt x="3750" y="393"/>
                  <a:pt x="3748" y="394"/>
                  <a:pt x="3747" y="394"/>
                </a:cubicBezTo>
                <a:close/>
                <a:moveTo>
                  <a:pt x="3707" y="482"/>
                </a:moveTo>
                <a:cubicBezTo>
                  <a:pt x="3707" y="482"/>
                  <a:pt x="3705" y="481"/>
                  <a:pt x="3703" y="479"/>
                </a:cubicBezTo>
                <a:cubicBezTo>
                  <a:pt x="3703" y="478"/>
                  <a:pt x="3702" y="474"/>
                  <a:pt x="3700" y="468"/>
                </a:cubicBezTo>
                <a:cubicBezTo>
                  <a:pt x="3699" y="463"/>
                  <a:pt x="3698" y="459"/>
                  <a:pt x="3696" y="457"/>
                </a:cubicBezTo>
                <a:lnTo>
                  <a:pt x="3695" y="455"/>
                </a:lnTo>
                <a:lnTo>
                  <a:pt x="3698" y="457"/>
                </a:lnTo>
                <a:cubicBezTo>
                  <a:pt x="3698" y="457"/>
                  <a:pt x="3698" y="456"/>
                  <a:pt x="3698" y="456"/>
                </a:cubicBezTo>
                <a:lnTo>
                  <a:pt x="3698" y="453"/>
                </a:lnTo>
                <a:cubicBezTo>
                  <a:pt x="3698" y="453"/>
                  <a:pt x="3698" y="452"/>
                  <a:pt x="3699" y="452"/>
                </a:cubicBezTo>
                <a:cubicBezTo>
                  <a:pt x="3700" y="452"/>
                  <a:pt x="3701" y="451"/>
                  <a:pt x="3701" y="449"/>
                </a:cubicBezTo>
                <a:cubicBezTo>
                  <a:pt x="3701" y="447"/>
                  <a:pt x="3703" y="442"/>
                  <a:pt x="3706" y="434"/>
                </a:cubicBezTo>
                <a:cubicBezTo>
                  <a:pt x="3709" y="428"/>
                  <a:pt x="3710" y="424"/>
                  <a:pt x="3710" y="423"/>
                </a:cubicBezTo>
                <a:cubicBezTo>
                  <a:pt x="3710" y="422"/>
                  <a:pt x="3710" y="422"/>
                  <a:pt x="3710" y="422"/>
                </a:cubicBezTo>
                <a:cubicBezTo>
                  <a:pt x="3709" y="422"/>
                  <a:pt x="3708" y="424"/>
                  <a:pt x="3706" y="427"/>
                </a:cubicBezTo>
                <a:cubicBezTo>
                  <a:pt x="3704" y="431"/>
                  <a:pt x="3703" y="434"/>
                  <a:pt x="3701" y="438"/>
                </a:cubicBezTo>
                <a:cubicBezTo>
                  <a:pt x="3700" y="442"/>
                  <a:pt x="3699" y="444"/>
                  <a:pt x="3699" y="445"/>
                </a:cubicBezTo>
                <a:cubicBezTo>
                  <a:pt x="3699" y="446"/>
                  <a:pt x="3698" y="448"/>
                  <a:pt x="3697" y="450"/>
                </a:cubicBezTo>
                <a:cubicBezTo>
                  <a:pt x="3696" y="452"/>
                  <a:pt x="3694" y="453"/>
                  <a:pt x="3693" y="455"/>
                </a:cubicBezTo>
                <a:cubicBezTo>
                  <a:pt x="3691" y="456"/>
                  <a:pt x="3690" y="457"/>
                  <a:pt x="3689" y="457"/>
                </a:cubicBezTo>
                <a:cubicBezTo>
                  <a:pt x="3688" y="457"/>
                  <a:pt x="3688" y="456"/>
                  <a:pt x="3688" y="453"/>
                </a:cubicBezTo>
                <a:cubicBezTo>
                  <a:pt x="3688" y="441"/>
                  <a:pt x="3696" y="421"/>
                  <a:pt x="3714" y="394"/>
                </a:cubicBezTo>
                <a:cubicBezTo>
                  <a:pt x="3731" y="366"/>
                  <a:pt x="3742" y="349"/>
                  <a:pt x="3749" y="342"/>
                </a:cubicBezTo>
                <a:cubicBezTo>
                  <a:pt x="3749" y="341"/>
                  <a:pt x="3752" y="338"/>
                  <a:pt x="3756" y="333"/>
                </a:cubicBezTo>
                <a:cubicBezTo>
                  <a:pt x="3763" y="322"/>
                  <a:pt x="3768" y="317"/>
                  <a:pt x="3771" y="317"/>
                </a:cubicBezTo>
                <a:cubicBezTo>
                  <a:pt x="3774" y="317"/>
                  <a:pt x="3776" y="319"/>
                  <a:pt x="3776" y="322"/>
                </a:cubicBezTo>
                <a:cubicBezTo>
                  <a:pt x="3776" y="324"/>
                  <a:pt x="3775" y="326"/>
                  <a:pt x="3774" y="329"/>
                </a:cubicBezTo>
                <a:cubicBezTo>
                  <a:pt x="3772" y="332"/>
                  <a:pt x="3772" y="333"/>
                  <a:pt x="3772" y="334"/>
                </a:cubicBezTo>
                <a:cubicBezTo>
                  <a:pt x="3772" y="335"/>
                  <a:pt x="3772" y="335"/>
                  <a:pt x="3774" y="335"/>
                </a:cubicBezTo>
                <a:cubicBezTo>
                  <a:pt x="3775" y="335"/>
                  <a:pt x="3776" y="337"/>
                  <a:pt x="3776" y="341"/>
                </a:cubicBezTo>
                <a:cubicBezTo>
                  <a:pt x="3776" y="348"/>
                  <a:pt x="3775" y="352"/>
                  <a:pt x="3772" y="355"/>
                </a:cubicBezTo>
                <a:cubicBezTo>
                  <a:pt x="3766" y="360"/>
                  <a:pt x="3758" y="372"/>
                  <a:pt x="3749" y="390"/>
                </a:cubicBezTo>
                <a:cubicBezTo>
                  <a:pt x="3744" y="397"/>
                  <a:pt x="3742" y="401"/>
                  <a:pt x="3742" y="403"/>
                </a:cubicBezTo>
                <a:lnTo>
                  <a:pt x="3742" y="404"/>
                </a:lnTo>
                <a:cubicBezTo>
                  <a:pt x="3742" y="405"/>
                  <a:pt x="3742" y="406"/>
                  <a:pt x="3742" y="406"/>
                </a:cubicBezTo>
                <a:lnTo>
                  <a:pt x="3740" y="405"/>
                </a:lnTo>
                <a:cubicBezTo>
                  <a:pt x="3739" y="405"/>
                  <a:pt x="3737" y="406"/>
                  <a:pt x="3735" y="408"/>
                </a:cubicBezTo>
                <a:lnTo>
                  <a:pt x="3734" y="411"/>
                </a:lnTo>
                <a:cubicBezTo>
                  <a:pt x="3735" y="411"/>
                  <a:pt x="3735" y="411"/>
                  <a:pt x="3737" y="410"/>
                </a:cubicBezTo>
                <a:lnTo>
                  <a:pt x="3740" y="409"/>
                </a:lnTo>
                <a:cubicBezTo>
                  <a:pt x="3740" y="410"/>
                  <a:pt x="3739" y="411"/>
                  <a:pt x="3738" y="411"/>
                </a:cubicBezTo>
                <a:cubicBezTo>
                  <a:pt x="3736" y="413"/>
                  <a:pt x="3735" y="415"/>
                  <a:pt x="3734" y="419"/>
                </a:cubicBezTo>
                <a:cubicBezTo>
                  <a:pt x="3733" y="422"/>
                  <a:pt x="3731" y="426"/>
                  <a:pt x="3728" y="429"/>
                </a:cubicBezTo>
                <a:cubicBezTo>
                  <a:pt x="3717" y="447"/>
                  <a:pt x="3712" y="456"/>
                  <a:pt x="3712" y="458"/>
                </a:cubicBezTo>
                <a:cubicBezTo>
                  <a:pt x="3712" y="458"/>
                  <a:pt x="3712" y="459"/>
                  <a:pt x="3712" y="459"/>
                </a:cubicBezTo>
                <a:lnTo>
                  <a:pt x="3714" y="458"/>
                </a:lnTo>
                <a:cubicBezTo>
                  <a:pt x="3715" y="458"/>
                  <a:pt x="3716" y="459"/>
                  <a:pt x="3718" y="460"/>
                </a:cubicBezTo>
                <a:cubicBezTo>
                  <a:pt x="3719" y="461"/>
                  <a:pt x="3719" y="462"/>
                  <a:pt x="3719" y="463"/>
                </a:cubicBezTo>
                <a:cubicBezTo>
                  <a:pt x="3719" y="464"/>
                  <a:pt x="3719" y="464"/>
                  <a:pt x="3719" y="465"/>
                </a:cubicBezTo>
                <a:cubicBezTo>
                  <a:pt x="3718" y="465"/>
                  <a:pt x="3718" y="465"/>
                  <a:pt x="3717" y="465"/>
                </a:cubicBezTo>
                <a:cubicBezTo>
                  <a:pt x="3717" y="465"/>
                  <a:pt x="3716" y="465"/>
                  <a:pt x="3716" y="464"/>
                </a:cubicBezTo>
                <a:cubicBezTo>
                  <a:pt x="3716" y="463"/>
                  <a:pt x="3715" y="462"/>
                  <a:pt x="3713" y="462"/>
                </a:cubicBezTo>
                <a:cubicBezTo>
                  <a:pt x="3712" y="462"/>
                  <a:pt x="3711" y="463"/>
                  <a:pt x="3711" y="463"/>
                </a:cubicBezTo>
                <a:cubicBezTo>
                  <a:pt x="3711" y="463"/>
                  <a:pt x="3711" y="464"/>
                  <a:pt x="3712" y="464"/>
                </a:cubicBezTo>
                <a:cubicBezTo>
                  <a:pt x="3712" y="465"/>
                  <a:pt x="3712" y="466"/>
                  <a:pt x="3712" y="467"/>
                </a:cubicBezTo>
                <a:cubicBezTo>
                  <a:pt x="3712" y="469"/>
                  <a:pt x="3712" y="471"/>
                  <a:pt x="3712" y="473"/>
                </a:cubicBezTo>
                <a:cubicBezTo>
                  <a:pt x="3711" y="476"/>
                  <a:pt x="3710" y="478"/>
                  <a:pt x="3709" y="479"/>
                </a:cubicBezTo>
                <a:cubicBezTo>
                  <a:pt x="3708" y="481"/>
                  <a:pt x="3708" y="482"/>
                  <a:pt x="3707" y="482"/>
                </a:cubicBezTo>
                <a:close/>
                <a:moveTo>
                  <a:pt x="3755" y="353"/>
                </a:moveTo>
                <a:cubicBezTo>
                  <a:pt x="3756" y="353"/>
                  <a:pt x="3758" y="352"/>
                  <a:pt x="3760" y="349"/>
                </a:cubicBezTo>
                <a:cubicBezTo>
                  <a:pt x="3763" y="346"/>
                  <a:pt x="3764" y="345"/>
                  <a:pt x="3764" y="344"/>
                </a:cubicBezTo>
                <a:cubicBezTo>
                  <a:pt x="3763" y="344"/>
                  <a:pt x="3761" y="346"/>
                  <a:pt x="3759" y="349"/>
                </a:cubicBezTo>
                <a:cubicBezTo>
                  <a:pt x="3757" y="352"/>
                  <a:pt x="3755" y="353"/>
                  <a:pt x="3755" y="353"/>
                </a:cubicBezTo>
                <a:close/>
                <a:moveTo>
                  <a:pt x="3747" y="365"/>
                </a:moveTo>
                <a:cubicBezTo>
                  <a:pt x="3748" y="365"/>
                  <a:pt x="3749" y="364"/>
                  <a:pt x="3752" y="361"/>
                </a:cubicBezTo>
                <a:cubicBezTo>
                  <a:pt x="3754" y="358"/>
                  <a:pt x="3755" y="356"/>
                  <a:pt x="3755" y="356"/>
                </a:cubicBezTo>
                <a:cubicBezTo>
                  <a:pt x="3754" y="356"/>
                  <a:pt x="3753" y="357"/>
                  <a:pt x="3750" y="360"/>
                </a:cubicBezTo>
                <a:cubicBezTo>
                  <a:pt x="3748" y="363"/>
                  <a:pt x="3747" y="365"/>
                  <a:pt x="3747" y="365"/>
                </a:cubicBezTo>
                <a:close/>
                <a:moveTo>
                  <a:pt x="3719" y="408"/>
                </a:moveTo>
                <a:cubicBezTo>
                  <a:pt x="3720" y="408"/>
                  <a:pt x="3725" y="401"/>
                  <a:pt x="3735" y="386"/>
                </a:cubicBezTo>
                <a:cubicBezTo>
                  <a:pt x="3742" y="375"/>
                  <a:pt x="3745" y="368"/>
                  <a:pt x="3745" y="368"/>
                </a:cubicBezTo>
                <a:cubicBezTo>
                  <a:pt x="3745" y="368"/>
                  <a:pt x="3742" y="372"/>
                  <a:pt x="3737" y="379"/>
                </a:cubicBezTo>
                <a:cubicBezTo>
                  <a:pt x="3732" y="387"/>
                  <a:pt x="3728" y="392"/>
                  <a:pt x="3726" y="392"/>
                </a:cubicBezTo>
                <a:cubicBezTo>
                  <a:pt x="3726" y="392"/>
                  <a:pt x="3726" y="393"/>
                  <a:pt x="3725" y="394"/>
                </a:cubicBezTo>
                <a:cubicBezTo>
                  <a:pt x="3725" y="394"/>
                  <a:pt x="3725" y="395"/>
                  <a:pt x="3725" y="396"/>
                </a:cubicBezTo>
                <a:cubicBezTo>
                  <a:pt x="3725" y="397"/>
                  <a:pt x="3725" y="398"/>
                  <a:pt x="3724" y="398"/>
                </a:cubicBezTo>
                <a:cubicBezTo>
                  <a:pt x="3723" y="399"/>
                  <a:pt x="3722" y="399"/>
                  <a:pt x="3721" y="399"/>
                </a:cubicBezTo>
                <a:cubicBezTo>
                  <a:pt x="3720" y="399"/>
                  <a:pt x="3719" y="401"/>
                  <a:pt x="3719" y="404"/>
                </a:cubicBezTo>
                <a:lnTo>
                  <a:pt x="3719" y="408"/>
                </a:lnTo>
                <a:close/>
                <a:moveTo>
                  <a:pt x="3712" y="420"/>
                </a:moveTo>
                <a:cubicBezTo>
                  <a:pt x="3713" y="420"/>
                  <a:pt x="3715" y="419"/>
                  <a:pt x="3716" y="416"/>
                </a:cubicBezTo>
                <a:cubicBezTo>
                  <a:pt x="3717" y="414"/>
                  <a:pt x="3717" y="413"/>
                  <a:pt x="3717" y="412"/>
                </a:cubicBezTo>
                <a:cubicBezTo>
                  <a:pt x="3717" y="411"/>
                  <a:pt x="3717" y="411"/>
                  <a:pt x="3717" y="411"/>
                </a:cubicBezTo>
                <a:cubicBezTo>
                  <a:pt x="3715" y="411"/>
                  <a:pt x="3714" y="413"/>
                  <a:pt x="3712" y="416"/>
                </a:cubicBezTo>
                <a:cubicBezTo>
                  <a:pt x="3712" y="417"/>
                  <a:pt x="3711" y="419"/>
                  <a:pt x="3711" y="419"/>
                </a:cubicBezTo>
                <a:cubicBezTo>
                  <a:pt x="3711" y="420"/>
                  <a:pt x="3711" y="420"/>
                  <a:pt x="3712" y="420"/>
                </a:cubicBezTo>
                <a:close/>
                <a:moveTo>
                  <a:pt x="3724" y="449"/>
                </a:moveTo>
                <a:cubicBezTo>
                  <a:pt x="3724" y="449"/>
                  <a:pt x="3723" y="449"/>
                  <a:pt x="3723" y="448"/>
                </a:cubicBezTo>
                <a:lnTo>
                  <a:pt x="3724" y="447"/>
                </a:lnTo>
                <a:cubicBezTo>
                  <a:pt x="3724" y="446"/>
                  <a:pt x="3725" y="445"/>
                  <a:pt x="3726" y="445"/>
                </a:cubicBezTo>
                <a:lnTo>
                  <a:pt x="3727" y="445"/>
                </a:lnTo>
                <a:cubicBezTo>
                  <a:pt x="3728" y="445"/>
                  <a:pt x="3728" y="445"/>
                  <a:pt x="3728" y="444"/>
                </a:cubicBezTo>
                <a:lnTo>
                  <a:pt x="3728" y="441"/>
                </a:lnTo>
                <a:cubicBezTo>
                  <a:pt x="3728" y="439"/>
                  <a:pt x="3728" y="438"/>
                  <a:pt x="3730" y="436"/>
                </a:cubicBezTo>
                <a:cubicBezTo>
                  <a:pt x="3731" y="434"/>
                  <a:pt x="3732" y="433"/>
                  <a:pt x="3733" y="433"/>
                </a:cubicBezTo>
                <a:lnTo>
                  <a:pt x="3735" y="433"/>
                </a:lnTo>
                <a:cubicBezTo>
                  <a:pt x="3735" y="433"/>
                  <a:pt x="3735" y="433"/>
                  <a:pt x="3735" y="433"/>
                </a:cubicBezTo>
                <a:lnTo>
                  <a:pt x="3735" y="430"/>
                </a:lnTo>
                <a:cubicBezTo>
                  <a:pt x="3735" y="429"/>
                  <a:pt x="3735" y="427"/>
                  <a:pt x="3736" y="425"/>
                </a:cubicBezTo>
                <a:cubicBezTo>
                  <a:pt x="3737" y="424"/>
                  <a:pt x="3737" y="422"/>
                  <a:pt x="3739" y="421"/>
                </a:cubicBezTo>
                <a:cubicBezTo>
                  <a:pt x="3740" y="419"/>
                  <a:pt x="3741" y="419"/>
                  <a:pt x="3742" y="419"/>
                </a:cubicBezTo>
                <a:lnTo>
                  <a:pt x="3744" y="419"/>
                </a:lnTo>
                <a:cubicBezTo>
                  <a:pt x="3744" y="419"/>
                  <a:pt x="3745" y="419"/>
                  <a:pt x="3746" y="418"/>
                </a:cubicBezTo>
                <a:cubicBezTo>
                  <a:pt x="3746" y="417"/>
                  <a:pt x="3747" y="416"/>
                  <a:pt x="3747" y="416"/>
                </a:cubicBezTo>
                <a:lnTo>
                  <a:pt x="3743" y="417"/>
                </a:lnTo>
                <a:cubicBezTo>
                  <a:pt x="3743" y="417"/>
                  <a:pt x="3743" y="417"/>
                  <a:pt x="3743" y="417"/>
                </a:cubicBezTo>
                <a:cubicBezTo>
                  <a:pt x="3743" y="415"/>
                  <a:pt x="3745" y="410"/>
                  <a:pt x="3750" y="403"/>
                </a:cubicBezTo>
                <a:cubicBezTo>
                  <a:pt x="3754" y="397"/>
                  <a:pt x="3757" y="393"/>
                  <a:pt x="3759" y="393"/>
                </a:cubicBezTo>
                <a:cubicBezTo>
                  <a:pt x="3759" y="394"/>
                  <a:pt x="3760" y="394"/>
                  <a:pt x="3760" y="394"/>
                </a:cubicBezTo>
                <a:cubicBezTo>
                  <a:pt x="3761" y="394"/>
                  <a:pt x="3762" y="393"/>
                  <a:pt x="3764" y="392"/>
                </a:cubicBezTo>
                <a:cubicBezTo>
                  <a:pt x="3765" y="392"/>
                  <a:pt x="3765" y="391"/>
                  <a:pt x="3766" y="391"/>
                </a:cubicBezTo>
                <a:cubicBezTo>
                  <a:pt x="3766" y="391"/>
                  <a:pt x="3766" y="391"/>
                  <a:pt x="3766" y="391"/>
                </a:cubicBezTo>
                <a:cubicBezTo>
                  <a:pt x="3766" y="393"/>
                  <a:pt x="3764" y="395"/>
                  <a:pt x="3761" y="399"/>
                </a:cubicBezTo>
                <a:cubicBezTo>
                  <a:pt x="3760" y="400"/>
                  <a:pt x="3759" y="400"/>
                  <a:pt x="3759" y="400"/>
                </a:cubicBezTo>
                <a:lnTo>
                  <a:pt x="3758" y="400"/>
                </a:lnTo>
                <a:lnTo>
                  <a:pt x="3759" y="398"/>
                </a:lnTo>
                <a:cubicBezTo>
                  <a:pt x="3759" y="398"/>
                  <a:pt x="3759" y="397"/>
                  <a:pt x="3759" y="397"/>
                </a:cubicBezTo>
                <a:lnTo>
                  <a:pt x="3757" y="399"/>
                </a:lnTo>
                <a:cubicBezTo>
                  <a:pt x="3757" y="399"/>
                  <a:pt x="3757" y="400"/>
                  <a:pt x="3757" y="401"/>
                </a:cubicBezTo>
                <a:lnTo>
                  <a:pt x="3757" y="404"/>
                </a:lnTo>
                <a:cubicBezTo>
                  <a:pt x="3757" y="405"/>
                  <a:pt x="3757" y="406"/>
                  <a:pt x="3755" y="407"/>
                </a:cubicBezTo>
                <a:cubicBezTo>
                  <a:pt x="3754" y="409"/>
                  <a:pt x="3753" y="409"/>
                  <a:pt x="3751" y="409"/>
                </a:cubicBezTo>
                <a:lnTo>
                  <a:pt x="3749" y="409"/>
                </a:lnTo>
                <a:lnTo>
                  <a:pt x="3750" y="411"/>
                </a:lnTo>
                <a:cubicBezTo>
                  <a:pt x="3750" y="413"/>
                  <a:pt x="3749" y="414"/>
                  <a:pt x="3748" y="417"/>
                </a:cubicBezTo>
                <a:cubicBezTo>
                  <a:pt x="3747" y="419"/>
                  <a:pt x="3746" y="422"/>
                  <a:pt x="3744" y="425"/>
                </a:cubicBezTo>
                <a:cubicBezTo>
                  <a:pt x="3742" y="429"/>
                  <a:pt x="3740" y="432"/>
                  <a:pt x="3738" y="435"/>
                </a:cubicBezTo>
                <a:cubicBezTo>
                  <a:pt x="3736" y="438"/>
                  <a:pt x="3735" y="441"/>
                  <a:pt x="3734" y="442"/>
                </a:cubicBezTo>
                <a:cubicBezTo>
                  <a:pt x="3733" y="444"/>
                  <a:pt x="3732" y="446"/>
                  <a:pt x="3730" y="447"/>
                </a:cubicBezTo>
                <a:cubicBezTo>
                  <a:pt x="3727" y="448"/>
                  <a:pt x="3726" y="449"/>
                  <a:pt x="3724" y="449"/>
                </a:cubicBezTo>
                <a:close/>
                <a:moveTo>
                  <a:pt x="3760" y="391"/>
                </a:moveTo>
                <a:cubicBezTo>
                  <a:pt x="3760" y="391"/>
                  <a:pt x="3760" y="391"/>
                  <a:pt x="3760" y="391"/>
                </a:cubicBezTo>
                <a:cubicBezTo>
                  <a:pt x="3760" y="389"/>
                  <a:pt x="3764" y="384"/>
                  <a:pt x="3771" y="373"/>
                </a:cubicBezTo>
                <a:cubicBezTo>
                  <a:pt x="3778" y="365"/>
                  <a:pt x="3781" y="359"/>
                  <a:pt x="3781" y="356"/>
                </a:cubicBezTo>
                <a:cubicBezTo>
                  <a:pt x="3781" y="355"/>
                  <a:pt x="3781" y="355"/>
                  <a:pt x="3781" y="354"/>
                </a:cubicBezTo>
                <a:cubicBezTo>
                  <a:pt x="3780" y="353"/>
                  <a:pt x="3780" y="353"/>
                  <a:pt x="3780" y="351"/>
                </a:cubicBezTo>
                <a:cubicBezTo>
                  <a:pt x="3780" y="350"/>
                  <a:pt x="3781" y="349"/>
                  <a:pt x="3782" y="347"/>
                </a:cubicBezTo>
                <a:cubicBezTo>
                  <a:pt x="3784" y="345"/>
                  <a:pt x="3785" y="344"/>
                  <a:pt x="3785" y="344"/>
                </a:cubicBezTo>
                <a:lnTo>
                  <a:pt x="3785" y="345"/>
                </a:lnTo>
                <a:lnTo>
                  <a:pt x="3782" y="353"/>
                </a:lnTo>
                <a:cubicBezTo>
                  <a:pt x="3783" y="353"/>
                  <a:pt x="3784" y="352"/>
                  <a:pt x="3787" y="348"/>
                </a:cubicBezTo>
                <a:cubicBezTo>
                  <a:pt x="3789" y="346"/>
                  <a:pt x="3790" y="345"/>
                  <a:pt x="3791" y="345"/>
                </a:cubicBezTo>
                <a:cubicBezTo>
                  <a:pt x="3792" y="345"/>
                  <a:pt x="3792" y="345"/>
                  <a:pt x="3792" y="346"/>
                </a:cubicBezTo>
                <a:cubicBezTo>
                  <a:pt x="3792" y="348"/>
                  <a:pt x="3791" y="350"/>
                  <a:pt x="3789" y="353"/>
                </a:cubicBezTo>
                <a:lnTo>
                  <a:pt x="3788" y="355"/>
                </a:lnTo>
                <a:lnTo>
                  <a:pt x="3791" y="354"/>
                </a:lnTo>
                <a:cubicBezTo>
                  <a:pt x="3791" y="354"/>
                  <a:pt x="3792" y="354"/>
                  <a:pt x="3792" y="355"/>
                </a:cubicBezTo>
                <a:cubicBezTo>
                  <a:pt x="3792" y="356"/>
                  <a:pt x="3788" y="362"/>
                  <a:pt x="3781" y="372"/>
                </a:cubicBezTo>
                <a:cubicBezTo>
                  <a:pt x="3772" y="384"/>
                  <a:pt x="3767" y="389"/>
                  <a:pt x="3766" y="389"/>
                </a:cubicBezTo>
                <a:cubicBezTo>
                  <a:pt x="3765" y="389"/>
                  <a:pt x="3764" y="390"/>
                  <a:pt x="3763" y="390"/>
                </a:cubicBezTo>
                <a:cubicBezTo>
                  <a:pt x="3762" y="391"/>
                  <a:pt x="3761" y="391"/>
                  <a:pt x="3760" y="391"/>
                </a:cubicBezTo>
                <a:close/>
                <a:moveTo>
                  <a:pt x="3775" y="374"/>
                </a:moveTo>
                <a:cubicBezTo>
                  <a:pt x="3776" y="374"/>
                  <a:pt x="3777" y="373"/>
                  <a:pt x="3779" y="370"/>
                </a:cubicBezTo>
                <a:lnTo>
                  <a:pt x="3781" y="368"/>
                </a:lnTo>
                <a:lnTo>
                  <a:pt x="3781" y="367"/>
                </a:lnTo>
                <a:cubicBezTo>
                  <a:pt x="3781" y="367"/>
                  <a:pt x="3781" y="368"/>
                  <a:pt x="3779" y="369"/>
                </a:cubicBezTo>
                <a:cubicBezTo>
                  <a:pt x="3778" y="370"/>
                  <a:pt x="3777" y="370"/>
                  <a:pt x="3776" y="371"/>
                </a:cubicBezTo>
                <a:cubicBezTo>
                  <a:pt x="3775" y="372"/>
                  <a:pt x="3775" y="373"/>
                  <a:pt x="3775" y="373"/>
                </a:cubicBezTo>
                <a:cubicBezTo>
                  <a:pt x="3775" y="374"/>
                  <a:pt x="3775" y="374"/>
                  <a:pt x="3775" y="374"/>
                </a:cubicBezTo>
                <a:close/>
                <a:moveTo>
                  <a:pt x="3782" y="365"/>
                </a:moveTo>
                <a:cubicBezTo>
                  <a:pt x="3783" y="365"/>
                  <a:pt x="3783" y="365"/>
                  <a:pt x="3784" y="364"/>
                </a:cubicBezTo>
                <a:cubicBezTo>
                  <a:pt x="3785" y="363"/>
                  <a:pt x="3786" y="362"/>
                  <a:pt x="3786" y="361"/>
                </a:cubicBezTo>
                <a:lnTo>
                  <a:pt x="3788" y="359"/>
                </a:lnTo>
                <a:lnTo>
                  <a:pt x="3788" y="358"/>
                </a:lnTo>
                <a:lnTo>
                  <a:pt x="3785" y="360"/>
                </a:lnTo>
                <a:cubicBezTo>
                  <a:pt x="3783" y="362"/>
                  <a:pt x="3781" y="364"/>
                  <a:pt x="3781" y="365"/>
                </a:cubicBezTo>
                <a:cubicBezTo>
                  <a:pt x="3781" y="365"/>
                  <a:pt x="3782" y="365"/>
                  <a:pt x="3782" y="365"/>
                </a:cubicBezTo>
                <a:close/>
                <a:moveTo>
                  <a:pt x="3715" y="475"/>
                </a:moveTo>
                <a:cubicBezTo>
                  <a:pt x="3714" y="475"/>
                  <a:pt x="3714" y="474"/>
                  <a:pt x="3714" y="472"/>
                </a:cubicBezTo>
                <a:cubicBezTo>
                  <a:pt x="3714" y="469"/>
                  <a:pt x="3715" y="468"/>
                  <a:pt x="3716" y="468"/>
                </a:cubicBezTo>
                <a:cubicBezTo>
                  <a:pt x="3717" y="468"/>
                  <a:pt x="3717" y="469"/>
                  <a:pt x="3717" y="470"/>
                </a:cubicBezTo>
                <a:cubicBezTo>
                  <a:pt x="3717" y="470"/>
                  <a:pt x="3717" y="471"/>
                  <a:pt x="3717" y="472"/>
                </a:cubicBezTo>
                <a:cubicBezTo>
                  <a:pt x="3717" y="473"/>
                  <a:pt x="3716" y="474"/>
                  <a:pt x="3716" y="474"/>
                </a:cubicBezTo>
                <a:cubicBezTo>
                  <a:pt x="3716" y="475"/>
                  <a:pt x="3715" y="475"/>
                  <a:pt x="3715" y="475"/>
                </a:cubicBezTo>
                <a:close/>
                <a:moveTo>
                  <a:pt x="3987" y="753"/>
                </a:moveTo>
                <a:cubicBezTo>
                  <a:pt x="3985" y="753"/>
                  <a:pt x="3984" y="753"/>
                  <a:pt x="3984" y="753"/>
                </a:cubicBezTo>
                <a:cubicBezTo>
                  <a:pt x="3984" y="752"/>
                  <a:pt x="3985" y="752"/>
                  <a:pt x="3985" y="751"/>
                </a:cubicBezTo>
                <a:cubicBezTo>
                  <a:pt x="3987" y="750"/>
                  <a:pt x="3988" y="750"/>
                  <a:pt x="3988" y="749"/>
                </a:cubicBezTo>
                <a:cubicBezTo>
                  <a:pt x="3988" y="749"/>
                  <a:pt x="3987" y="748"/>
                  <a:pt x="3986" y="748"/>
                </a:cubicBezTo>
                <a:cubicBezTo>
                  <a:pt x="3985" y="747"/>
                  <a:pt x="3984" y="747"/>
                  <a:pt x="3984" y="747"/>
                </a:cubicBezTo>
                <a:lnTo>
                  <a:pt x="3987" y="746"/>
                </a:lnTo>
                <a:cubicBezTo>
                  <a:pt x="3988" y="746"/>
                  <a:pt x="3988" y="746"/>
                  <a:pt x="3988" y="746"/>
                </a:cubicBezTo>
                <a:cubicBezTo>
                  <a:pt x="3988" y="745"/>
                  <a:pt x="3987" y="745"/>
                  <a:pt x="3986" y="744"/>
                </a:cubicBezTo>
                <a:cubicBezTo>
                  <a:pt x="3985" y="743"/>
                  <a:pt x="3984" y="742"/>
                  <a:pt x="3984" y="742"/>
                </a:cubicBezTo>
                <a:lnTo>
                  <a:pt x="3987" y="742"/>
                </a:lnTo>
                <a:cubicBezTo>
                  <a:pt x="3989" y="742"/>
                  <a:pt x="3990" y="743"/>
                  <a:pt x="3990" y="746"/>
                </a:cubicBezTo>
                <a:cubicBezTo>
                  <a:pt x="3990" y="751"/>
                  <a:pt x="3989" y="753"/>
                  <a:pt x="3987" y="753"/>
                </a:cubicBezTo>
                <a:close/>
                <a:moveTo>
                  <a:pt x="4011" y="810"/>
                </a:moveTo>
                <a:cubicBezTo>
                  <a:pt x="4007" y="810"/>
                  <a:pt x="4003" y="810"/>
                  <a:pt x="3998" y="808"/>
                </a:cubicBezTo>
                <a:cubicBezTo>
                  <a:pt x="3994" y="807"/>
                  <a:pt x="3990" y="803"/>
                  <a:pt x="3985" y="796"/>
                </a:cubicBezTo>
                <a:cubicBezTo>
                  <a:pt x="3980" y="789"/>
                  <a:pt x="3977" y="784"/>
                  <a:pt x="3975" y="778"/>
                </a:cubicBezTo>
                <a:cubicBezTo>
                  <a:pt x="3974" y="773"/>
                  <a:pt x="3973" y="765"/>
                  <a:pt x="3973" y="756"/>
                </a:cubicBezTo>
                <a:cubicBezTo>
                  <a:pt x="3973" y="735"/>
                  <a:pt x="3975" y="710"/>
                  <a:pt x="3979" y="679"/>
                </a:cubicBezTo>
                <a:cubicBezTo>
                  <a:pt x="3984" y="647"/>
                  <a:pt x="3989" y="619"/>
                  <a:pt x="3996" y="593"/>
                </a:cubicBezTo>
                <a:lnTo>
                  <a:pt x="3997" y="592"/>
                </a:lnTo>
                <a:cubicBezTo>
                  <a:pt x="3997" y="589"/>
                  <a:pt x="3997" y="586"/>
                  <a:pt x="3997" y="583"/>
                </a:cubicBezTo>
                <a:cubicBezTo>
                  <a:pt x="3997" y="580"/>
                  <a:pt x="3998" y="579"/>
                  <a:pt x="3999" y="579"/>
                </a:cubicBezTo>
                <a:cubicBezTo>
                  <a:pt x="4000" y="579"/>
                  <a:pt x="4000" y="578"/>
                  <a:pt x="4000" y="577"/>
                </a:cubicBezTo>
                <a:lnTo>
                  <a:pt x="4000" y="573"/>
                </a:lnTo>
                <a:cubicBezTo>
                  <a:pt x="4000" y="571"/>
                  <a:pt x="4000" y="570"/>
                  <a:pt x="4001" y="570"/>
                </a:cubicBezTo>
                <a:cubicBezTo>
                  <a:pt x="4002" y="570"/>
                  <a:pt x="4002" y="569"/>
                  <a:pt x="4002" y="568"/>
                </a:cubicBezTo>
                <a:lnTo>
                  <a:pt x="4002" y="566"/>
                </a:lnTo>
                <a:cubicBezTo>
                  <a:pt x="4002" y="564"/>
                  <a:pt x="4003" y="563"/>
                  <a:pt x="4005" y="563"/>
                </a:cubicBezTo>
                <a:cubicBezTo>
                  <a:pt x="4006" y="563"/>
                  <a:pt x="4007" y="562"/>
                  <a:pt x="4007" y="562"/>
                </a:cubicBezTo>
                <a:lnTo>
                  <a:pt x="4006" y="561"/>
                </a:lnTo>
                <a:cubicBezTo>
                  <a:pt x="4005" y="561"/>
                  <a:pt x="4005" y="560"/>
                  <a:pt x="4004" y="559"/>
                </a:cubicBezTo>
                <a:cubicBezTo>
                  <a:pt x="4003" y="558"/>
                  <a:pt x="4003" y="558"/>
                  <a:pt x="4003" y="557"/>
                </a:cubicBezTo>
                <a:cubicBezTo>
                  <a:pt x="4003" y="555"/>
                  <a:pt x="4004" y="554"/>
                  <a:pt x="4006" y="554"/>
                </a:cubicBezTo>
                <a:cubicBezTo>
                  <a:pt x="4008" y="555"/>
                  <a:pt x="4008" y="556"/>
                  <a:pt x="4008" y="558"/>
                </a:cubicBezTo>
                <a:cubicBezTo>
                  <a:pt x="4008" y="562"/>
                  <a:pt x="4006" y="573"/>
                  <a:pt x="4001" y="590"/>
                </a:cubicBezTo>
                <a:cubicBezTo>
                  <a:pt x="3994" y="618"/>
                  <a:pt x="3988" y="646"/>
                  <a:pt x="3984" y="674"/>
                </a:cubicBezTo>
                <a:cubicBezTo>
                  <a:pt x="3980" y="703"/>
                  <a:pt x="3978" y="726"/>
                  <a:pt x="3978" y="744"/>
                </a:cubicBezTo>
                <a:cubicBezTo>
                  <a:pt x="3978" y="750"/>
                  <a:pt x="3978" y="755"/>
                  <a:pt x="3979" y="760"/>
                </a:cubicBezTo>
                <a:cubicBezTo>
                  <a:pt x="3981" y="772"/>
                  <a:pt x="3982" y="778"/>
                  <a:pt x="3983" y="778"/>
                </a:cubicBezTo>
                <a:cubicBezTo>
                  <a:pt x="3984" y="778"/>
                  <a:pt x="3984" y="777"/>
                  <a:pt x="3984" y="774"/>
                </a:cubicBezTo>
                <a:cubicBezTo>
                  <a:pt x="3984" y="772"/>
                  <a:pt x="3985" y="770"/>
                  <a:pt x="3985" y="767"/>
                </a:cubicBezTo>
                <a:lnTo>
                  <a:pt x="3986" y="765"/>
                </a:lnTo>
                <a:lnTo>
                  <a:pt x="3987" y="768"/>
                </a:lnTo>
                <a:cubicBezTo>
                  <a:pt x="3988" y="770"/>
                  <a:pt x="3988" y="773"/>
                  <a:pt x="3989" y="776"/>
                </a:cubicBezTo>
                <a:cubicBezTo>
                  <a:pt x="3990" y="779"/>
                  <a:pt x="3990" y="782"/>
                  <a:pt x="3992" y="785"/>
                </a:cubicBezTo>
                <a:cubicBezTo>
                  <a:pt x="3993" y="787"/>
                  <a:pt x="3993" y="789"/>
                  <a:pt x="3994" y="789"/>
                </a:cubicBezTo>
                <a:cubicBezTo>
                  <a:pt x="3995" y="789"/>
                  <a:pt x="3996" y="789"/>
                  <a:pt x="3996" y="788"/>
                </a:cubicBezTo>
                <a:lnTo>
                  <a:pt x="3995" y="784"/>
                </a:lnTo>
                <a:cubicBezTo>
                  <a:pt x="3994" y="780"/>
                  <a:pt x="3993" y="768"/>
                  <a:pt x="3993" y="749"/>
                </a:cubicBezTo>
                <a:cubicBezTo>
                  <a:pt x="3993" y="730"/>
                  <a:pt x="3993" y="721"/>
                  <a:pt x="3992" y="721"/>
                </a:cubicBezTo>
                <a:cubicBezTo>
                  <a:pt x="3990" y="721"/>
                  <a:pt x="3990" y="726"/>
                  <a:pt x="3990" y="735"/>
                </a:cubicBezTo>
                <a:cubicBezTo>
                  <a:pt x="3990" y="736"/>
                  <a:pt x="3990" y="737"/>
                  <a:pt x="3989" y="737"/>
                </a:cubicBezTo>
                <a:cubicBezTo>
                  <a:pt x="3988" y="738"/>
                  <a:pt x="3988" y="739"/>
                  <a:pt x="3987" y="739"/>
                </a:cubicBezTo>
                <a:cubicBezTo>
                  <a:pt x="3985" y="739"/>
                  <a:pt x="3985" y="738"/>
                  <a:pt x="3985" y="736"/>
                </a:cubicBezTo>
                <a:cubicBezTo>
                  <a:pt x="3985" y="733"/>
                  <a:pt x="3987" y="719"/>
                  <a:pt x="3990" y="693"/>
                </a:cubicBezTo>
                <a:cubicBezTo>
                  <a:pt x="3993" y="665"/>
                  <a:pt x="3996" y="650"/>
                  <a:pt x="3997" y="648"/>
                </a:cubicBezTo>
                <a:cubicBezTo>
                  <a:pt x="3997" y="647"/>
                  <a:pt x="3998" y="644"/>
                  <a:pt x="3998" y="641"/>
                </a:cubicBezTo>
                <a:cubicBezTo>
                  <a:pt x="3998" y="631"/>
                  <a:pt x="4001" y="616"/>
                  <a:pt x="4006" y="597"/>
                </a:cubicBezTo>
                <a:cubicBezTo>
                  <a:pt x="4011" y="577"/>
                  <a:pt x="4016" y="559"/>
                  <a:pt x="4022" y="542"/>
                </a:cubicBezTo>
                <a:cubicBezTo>
                  <a:pt x="4027" y="528"/>
                  <a:pt x="4030" y="519"/>
                  <a:pt x="4030" y="514"/>
                </a:cubicBezTo>
                <a:cubicBezTo>
                  <a:pt x="4030" y="510"/>
                  <a:pt x="4030" y="508"/>
                  <a:pt x="4032" y="508"/>
                </a:cubicBezTo>
                <a:cubicBezTo>
                  <a:pt x="4033" y="508"/>
                  <a:pt x="4034" y="508"/>
                  <a:pt x="4034" y="509"/>
                </a:cubicBezTo>
                <a:cubicBezTo>
                  <a:pt x="4034" y="511"/>
                  <a:pt x="4034" y="512"/>
                  <a:pt x="4034" y="512"/>
                </a:cubicBezTo>
                <a:cubicBezTo>
                  <a:pt x="4035" y="512"/>
                  <a:pt x="4035" y="511"/>
                  <a:pt x="4036" y="510"/>
                </a:cubicBezTo>
                <a:cubicBezTo>
                  <a:pt x="4037" y="509"/>
                  <a:pt x="4039" y="509"/>
                  <a:pt x="4043" y="509"/>
                </a:cubicBezTo>
                <a:cubicBezTo>
                  <a:pt x="4045" y="509"/>
                  <a:pt x="4046" y="509"/>
                  <a:pt x="4046" y="509"/>
                </a:cubicBezTo>
                <a:cubicBezTo>
                  <a:pt x="4046" y="508"/>
                  <a:pt x="4045" y="507"/>
                  <a:pt x="4044" y="506"/>
                </a:cubicBezTo>
                <a:cubicBezTo>
                  <a:pt x="4044" y="505"/>
                  <a:pt x="4043" y="504"/>
                  <a:pt x="4043" y="503"/>
                </a:cubicBezTo>
                <a:cubicBezTo>
                  <a:pt x="4043" y="502"/>
                  <a:pt x="4044" y="502"/>
                  <a:pt x="4044" y="502"/>
                </a:cubicBezTo>
                <a:cubicBezTo>
                  <a:pt x="4048" y="502"/>
                  <a:pt x="4052" y="505"/>
                  <a:pt x="4057" y="509"/>
                </a:cubicBezTo>
                <a:cubicBezTo>
                  <a:pt x="4058" y="510"/>
                  <a:pt x="4059" y="511"/>
                  <a:pt x="4059" y="512"/>
                </a:cubicBezTo>
                <a:cubicBezTo>
                  <a:pt x="4061" y="513"/>
                  <a:pt x="4063" y="514"/>
                  <a:pt x="4064" y="515"/>
                </a:cubicBezTo>
                <a:cubicBezTo>
                  <a:pt x="4064" y="515"/>
                  <a:pt x="4064" y="516"/>
                  <a:pt x="4064" y="517"/>
                </a:cubicBezTo>
                <a:cubicBezTo>
                  <a:pt x="4064" y="521"/>
                  <a:pt x="4059" y="538"/>
                  <a:pt x="4048" y="570"/>
                </a:cubicBezTo>
                <a:cubicBezTo>
                  <a:pt x="4045" y="577"/>
                  <a:pt x="4044" y="581"/>
                  <a:pt x="4043" y="584"/>
                </a:cubicBezTo>
                <a:cubicBezTo>
                  <a:pt x="4042" y="588"/>
                  <a:pt x="4041" y="593"/>
                  <a:pt x="4040" y="600"/>
                </a:cubicBezTo>
                <a:cubicBezTo>
                  <a:pt x="4040" y="603"/>
                  <a:pt x="4040" y="604"/>
                  <a:pt x="4039" y="606"/>
                </a:cubicBezTo>
                <a:cubicBezTo>
                  <a:pt x="4039" y="607"/>
                  <a:pt x="4039" y="609"/>
                  <a:pt x="4038" y="610"/>
                </a:cubicBezTo>
                <a:cubicBezTo>
                  <a:pt x="4038" y="612"/>
                  <a:pt x="4037" y="614"/>
                  <a:pt x="4037" y="617"/>
                </a:cubicBezTo>
                <a:cubicBezTo>
                  <a:pt x="4037" y="619"/>
                  <a:pt x="4036" y="622"/>
                  <a:pt x="4035" y="627"/>
                </a:cubicBezTo>
                <a:lnTo>
                  <a:pt x="4034" y="632"/>
                </a:lnTo>
                <a:cubicBezTo>
                  <a:pt x="4033" y="636"/>
                  <a:pt x="4032" y="642"/>
                  <a:pt x="4030" y="650"/>
                </a:cubicBezTo>
                <a:cubicBezTo>
                  <a:pt x="4030" y="652"/>
                  <a:pt x="4029" y="654"/>
                  <a:pt x="4029" y="656"/>
                </a:cubicBezTo>
                <a:cubicBezTo>
                  <a:pt x="4029" y="657"/>
                  <a:pt x="4029" y="659"/>
                  <a:pt x="4028" y="660"/>
                </a:cubicBezTo>
                <a:cubicBezTo>
                  <a:pt x="4028" y="662"/>
                  <a:pt x="4028" y="663"/>
                  <a:pt x="4028" y="665"/>
                </a:cubicBezTo>
                <a:cubicBezTo>
                  <a:pt x="4027" y="667"/>
                  <a:pt x="4027" y="669"/>
                  <a:pt x="4027" y="671"/>
                </a:cubicBezTo>
                <a:cubicBezTo>
                  <a:pt x="4026" y="673"/>
                  <a:pt x="4025" y="675"/>
                  <a:pt x="4025" y="677"/>
                </a:cubicBezTo>
                <a:cubicBezTo>
                  <a:pt x="4025" y="680"/>
                  <a:pt x="4024" y="682"/>
                  <a:pt x="4024" y="684"/>
                </a:cubicBezTo>
                <a:cubicBezTo>
                  <a:pt x="4024" y="687"/>
                  <a:pt x="4023" y="691"/>
                  <a:pt x="4022" y="695"/>
                </a:cubicBezTo>
                <a:cubicBezTo>
                  <a:pt x="4019" y="721"/>
                  <a:pt x="4017" y="744"/>
                  <a:pt x="4017" y="763"/>
                </a:cubicBezTo>
                <a:cubicBezTo>
                  <a:pt x="4017" y="770"/>
                  <a:pt x="4017" y="773"/>
                  <a:pt x="4019" y="773"/>
                </a:cubicBezTo>
                <a:cubicBezTo>
                  <a:pt x="4021" y="773"/>
                  <a:pt x="4025" y="768"/>
                  <a:pt x="4033" y="758"/>
                </a:cubicBezTo>
                <a:cubicBezTo>
                  <a:pt x="4043" y="744"/>
                  <a:pt x="4055" y="726"/>
                  <a:pt x="4068" y="705"/>
                </a:cubicBezTo>
                <a:cubicBezTo>
                  <a:pt x="4079" y="688"/>
                  <a:pt x="4084" y="681"/>
                  <a:pt x="4085" y="681"/>
                </a:cubicBezTo>
                <a:lnTo>
                  <a:pt x="4081" y="688"/>
                </a:lnTo>
                <a:cubicBezTo>
                  <a:pt x="4075" y="698"/>
                  <a:pt x="4067" y="711"/>
                  <a:pt x="4057" y="727"/>
                </a:cubicBezTo>
                <a:cubicBezTo>
                  <a:pt x="4046" y="743"/>
                  <a:pt x="4037" y="756"/>
                  <a:pt x="4030" y="765"/>
                </a:cubicBezTo>
                <a:cubicBezTo>
                  <a:pt x="4021" y="777"/>
                  <a:pt x="4016" y="784"/>
                  <a:pt x="4016" y="785"/>
                </a:cubicBezTo>
                <a:cubicBezTo>
                  <a:pt x="4016" y="786"/>
                  <a:pt x="4016" y="787"/>
                  <a:pt x="4015" y="787"/>
                </a:cubicBezTo>
                <a:lnTo>
                  <a:pt x="4014" y="786"/>
                </a:lnTo>
                <a:cubicBezTo>
                  <a:pt x="4013" y="786"/>
                  <a:pt x="4012" y="788"/>
                  <a:pt x="4012" y="791"/>
                </a:cubicBezTo>
                <a:cubicBezTo>
                  <a:pt x="4012" y="794"/>
                  <a:pt x="4012" y="795"/>
                  <a:pt x="4014" y="795"/>
                </a:cubicBezTo>
                <a:cubicBezTo>
                  <a:pt x="4014" y="795"/>
                  <a:pt x="4015" y="795"/>
                  <a:pt x="4017" y="795"/>
                </a:cubicBezTo>
                <a:cubicBezTo>
                  <a:pt x="4019" y="794"/>
                  <a:pt x="4019" y="794"/>
                  <a:pt x="4019" y="793"/>
                </a:cubicBezTo>
                <a:cubicBezTo>
                  <a:pt x="4019" y="793"/>
                  <a:pt x="4019" y="792"/>
                  <a:pt x="4018" y="792"/>
                </a:cubicBezTo>
                <a:cubicBezTo>
                  <a:pt x="4017" y="791"/>
                  <a:pt x="4016" y="790"/>
                  <a:pt x="4016" y="790"/>
                </a:cubicBezTo>
                <a:cubicBezTo>
                  <a:pt x="4016" y="789"/>
                  <a:pt x="4017" y="788"/>
                  <a:pt x="4018" y="787"/>
                </a:cubicBezTo>
                <a:cubicBezTo>
                  <a:pt x="4019" y="786"/>
                  <a:pt x="4020" y="785"/>
                  <a:pt x="4020" y="785"/>
                </a:cubicBezTo>
                <a:cubicBezTo>
                  <a:pt x="4020" y="785"/>
                  <a:pt x="4020" y="786"/>
                  <a:pt x="4020" y="787"/>
                </a:cubicBezTo>
                <a:cubicBezTo>
                  <a:pt x="4020" y="789"/>
                  <a:pt x="4021" y="789"/>
                  <a:pt x="4021" y="789"/>
                </a:cubicBezTo>
                <a:cubicBezTo>
                  <a:pt x="4022" y="789"/>
                  <a:pt x="4023" y="789"/>
                  <a:pt x="4024" y="788"/>
                </a:cubicBezTo>
                <a:cubicBezTo>
                  <a:pt x="4025" y="787"/>
                  <a:pt x="4025" y="787"/>
                  <a:pt x="4026" y="787"/>
                </a:cubicBezTo>
                <a:cubicBezTo>
                  <a:pt x="4027" y="787"/>
                  <a:pt x="4028" y="787"/>
                  <a:pt x="4028" y="787"/>
                </a:cubicBezTo>
                <a:lnTo>
                  <a:pt x="4029" y="787"/>
                </a:lnTo>
                <a:lnTo>
                  <a:pt x="4028" y="785"/>
                </a:lnTo>
                <a:cubicBezTo>
                  <a:pt x="4028" y="783"/>
                  <a:pt x="4029" y="782"/>
                  <a:pt x="4032" y="780"/>
                </a:cubicBezTo>
                <a:cubicBezTo>
                  <a:pt x="4034" y="779"/>
                  <a:pt x="4035" y="779"/>
                  <a:pt x="4037" y="778"/>
                </a:cubicBezTo>
                <a:cubicBezTo>
                  <a:pt x="4038" y="777"/>
                  <a:pt x="4038" y="776"/>
                  <a:pt x="4038" y="776"/>
                </a:cubicBezTo>
                <a:cubicBezTo>
                  <a:pt x="4038" y="775"/>
                  <a:pt x="4038" y="774"/>
                  <a:pt x="4037" y="774"/>
                </a:cubicBezTo>
                <a:lnTo>
                  <a:pt x="4035" y="776"/>
                </a:lnTo>
                <a:lnTo>
                  <a:pt x="4035" y="775"/>
                </a:lnTo>
                <a:lnTo>
                  <a:pt x="4037" y="772"/>
                </a:lnTo>
                <a:cubicBezTo>
                  <a:pt x="4039" y="771"/>
                  <a:pt x="4040" y="769"/>
                  <a:pt x="4042" y="767"/>
                </a:cubicBezTo>
                <a:cubicBezTo>
                  <a:pt x="4045" y="765"/>
                  <a:pt x="4047" y="764"/>
                  <a:pt x="4049" y="763"/>
                </a:cubicBezTo>
                <a:cubicBezTo>
                  <a:pt x="4050" y="762"/>
                  <a:pt x="4051" y="761"/>
                  <a:pt x="4051" y="761"/>
                </a:cubicBezTo>
                <a:lnTo>
                  <a:pt x="4045" y="762"/>
                </a:lnTo>
                <a:lnTo>
                  <a:pt x="4045" y="761"/>
                </a:lnTo>
                <a:cubicBezTo>
                  <a:pt x="4045" y="761"/>
                  <a:pt x="4046" y="760"/>
                  <a:pt x="4048" y="758"/>
                </a:cubicBezTo>
                <a:cubicBezTo>
                  <a:pt x="4050" y="756"/>
                  <a:pt x="4052" y="754"/>
                  <a:pt x="4053" y="753"/>
                </a:cubicBezTo>
                <a:cubicBezTo>
                  <a:pt x="4054" y="752"/>
                  <a:pt x="4054" y="750"/>
                  <a:pt x="4054" y="750"/>
                </a:cubicBezTo>
                <a:cubicBezTo>
                  <a:pt x="4054" y="749"/>
                  <a:pt x="4055" y="748"/>
                  <a:pt x="4055" y="748"/>
                </a:cubicBezTo>
                <a:cubicBezTo>
                  <a:pt x="4056" y="747"/>
                  <a:pt x="4057" y="747"/>
                  <a:pt x="4058" y="747"/>
                </a:cubicBezTo>
                <a:cubicBezTo>
                  <a:pt x="4059" y="747"/>
                  <a:pt x="4059" y="747"/>
                  <a:pt x="4060" y="746"/>
                </a:cubicBezTo>
                <a:cubicBezTo>
                  <a:pt x="4061" y="745"/>
                  <a:pt x="4061" y="745"/>
                  <a:pt x="4062" y="744"/>
                </a:cubicBezTo>
                <a:lnTo>
                  <a:pt x="4062" y="743"/>
                </a:lnTo>
                <a:cubicBezTo>
                  <a:pt x="4062" y="742"/>
                  <a:pt x="4061" y="742"/>
                  <a:pt x="4061" y="742"/>
                </a:cubicBezTo>
                <a:lnTo>
                  <a:pt x="4060" y="743"/>
                </a:lnTo>
                <a:cubicBezTo>
                  <a:pt x="4059" y="743"/>
                  <a:pt x="4059" y="743"/>
                  <a:pt x="4058" y="743"/>
                </a:cubicBezTo>
                <a:cubicBezTo>
                  <a:pt x="4058" y="743"/>
                  <a:pt x="4058" y="743"/>
                  <a:pt x="4058" y="743"/>
                </a:cubicBezTo>
                <a:cubicBezTo>
                  <a:pt x="4058" y="742"/>
                  <a:pt x="4058" y="742"/>
                  <a:pt x="4059" y="741"/>
                </a:cubicBezTo>
                <a:cubicBezTo>
                  <a:pt x="4060" y="740"/>
                  <a:pt x="4062" y="740"/>
                  <a:pt x="4064" y="739"/>
                </a:cubicBezTo>
                <a:cubicBezTo>
                  <a:pt x="4066" y="738"/>
                  <a:pt x="4067" y="737"/>
                  <a:pt x="4067" y="736"/>
                </a:cubicBezTo>
                <a:cubicBezTo>
                  <a:pt x="4067" y="736"/>
                  <a:pt x="4067" y="736"/>
                  <a:pt x="4066" y="735"/>
                </a:cubicBezTo>
                <a:cubicBezTo>
                  <a:pt x="4065" y="735"/>
                  <a:pt x="4065" y="735"/>
                  <a:pt x="4065" y="734"/>
                </a:cubicBezTo>
                <a:cubicBezTo>
                  <a:pt x="4065" y="732"/>
                  <a:pt x="4066" y="731"/>
                  <a:pt x="4067" y="729"/>
                </a:cubicBezTo>
                <a:cubicBezTo>
                  <a:pt x="4069" y="727"/>
                  <a:pt x="4070" y="725"/>
                  <a:pt x="4070" y="724"/>
                </a:cubicBezTo>
                <a:cubicBezTo>
                  <a:pt x="4070" y="724"/>
                  <a:pt x="4070" y="723"/>
                  <a:pt x="4069" y="723"/>
                </a:cubicBezTo>
                <a:cubicBezTo>
                  <a:pt x="4069" y="723"/>
                  <a:pt x="4069" y="723"/>
                  <a:pt x="4069" y="723"/>
                </a:cubicBezTo>
                <a:cubicBezTo>
                  <a:pt x="4069" y="723"/>
                  <a:pt x="4070" y="722"/>
                  <a:pt x="4071" y="720"/>
                </a:cubicBezTo>
                <a:cubicBezTo>
                  <a:pt x="4072" y="718"/>
                  <a:pt x="4074" y="718"/>
                  <a:pt x="4075" y="718"/>
                </a:cubicBezTo>
                <a:cubicBezTo>
                  <a:pt x="4075" y="718"/>
                  <a:pt x="4075" y="718"/>
                  <a:pt x="4076" y="718"/>
                </a:cubicBezTo>
                <a:cubicBezTo>
                  <a:pt x="4076" y="718"/>
                  <a:pt x="4076" y="719"/>
                  <a:pt x="4076" y="719"/>
                </a:cubicBezTo>
                <a:cubicBezTo>
                  <a:pt x="4076" y="720"/>
                  <a:pt x="4075" y="720"/>
                  <a:pt x="4074" y="721"/>
                </a:cubicBezTo>
                <a:lnTo>
                  <a:pt x="4071" y="723"/>
                </a:lnTo>
                <a:cubicBezTo>
                  <a:pt x="4071" y="723"/>
                  <a:pt x="4072" y="723"/>
                  <a:pt x="4073" y="723"/>
                </a:cubicBezTo>
                <a:cubicBezTo>
                  <a:pt x="4075" y="723"/>
                  <a:pt x="4078" y="721"/>
                  <a:pt x="4079" y="719"/>
                </a:cubicBezTo>
                <a:cubicBezTo>
                  <a:pt x="4080" y="716"/>
                  <a:pt x="4081" y="714"/>
                  <a:pt x="4081" y="713"/>
                </a:cubicBezTo>
                <a:cubicBezTo>
                  <a:pt x="4081" y="713"/>
                  <a:pt x="4081" y="712"/>
                  <a:pt x="4080" y="712"/>
                </a:cubicBezTo>
                <a:lnTo>
                  <a:pt x="4078" y="713"/>
                </a:lnTo>
                <a:cubicBezTo>
                  <a:pt x="4076" y="713"/>
                  <a:pt x="4075" y="713"/>
                  <a:pt x="4075" y="712"/>
                </a:cubicBezTo>
                <a:cubicBezTo>
                  <a:pt x="4075" y="711"/>
                  <a:pt x="4075" y="710"/>
                  <a:pt x="4077" y="710"/>
                </a:cubicBezTo>
                <a:cubicBezTo>
                  <a:pt x="4078" y="710"/>
                  <a:pt x="4079" y="709"/>
                  <a:pt x="4080" y="709"/>
                </a:cubicBezTo>
                <a:cubicBezTo>
                  <a:pt x="4081" y="709"/>
                  <a:pt x="4082" y="709"/>
                  <a:pt x="4083" y="708"/>
                </a:cubicBezTo>
                <a:cubicBezTo>
                  <a:pt x="4086" y="707"/>
                  <a:pt x="4089" y="703"/>
                  <a:pt x="4094" y="696"/>
                </a:cubicBezTo>
                <a:cubicBezTo>
                  <a:pt x="4098" y="688"/>
                  <a:pt x="4106" y="675"/>
                  <a:pt x="4117" y="655"/>
                </a:cubicBezTo>
                <a:cubicBezTo>
                  <a:pt x="4128" y="636"/>
                  <a:pt x="4133" y="626"/>
                  <a:pt x="4133" y="625"/>
                </a:cubicBezTo>
                <a:cubicBezTo>
                  <a:pt x="4133" y="623"/>
                  <a:pt x="4133" y="622"/>
                  <a:pt x="4133" y="622"/>
                </a:cubicBezTo>
                <a:lnTo>
                  <a:pt x="4132" y="622"/>
                </a:lnTo>
                <a:cubicBezTo>
                  <a:pt x="4131" y="622"/>
                  <a:pt x="4129" y="624"/>
                  <a:pt x="4128" y="628"/>
                </a:cubicBezTo>
                <a:cubicBezTo>
                  <a:pt x="4127" y="632"/>
                  <a:pt x="4127" y="634"/>
                  <a:pt x="4126" y="634"/>
                </a:cubicBezTo>
                <a:cubicBezTo>
                  <a:pt x="4125" y="634"/>
                  <a:pt x="4124" y="634"/>
                  <a:pt x="4124" y="635"/>
                </a:cubicBezTo>
                <a:cubicBezTo>
                  <a:pt x="4123" y="636"/>
                  <a:pt x="4123" y="636"/>
                  <a:pt x="4123" y="637"/>
                </a:cubicBezTo>
                <a:cubicBezTo>
                  <a:pt x="4123" y="639"/>
                  <a:pt x="4122" y="641"/>
                  <a:pt x="4119" y="644"/>
                </a:cubicBezTo>
                <a:cubicBezTo>
                  <a:pt x="4119" y="644"/>
                  <a:pt x="4117" y="647"/>
                  <a:pt x="4115" y="652"/>
                </a:cubicBezTo>
                <a:cubicBezTo>
                  <a:pt x="4114" y="655"/>
                  <a:pt x="4113" y="657"/>
                  <a:pt x="4111" y="657"/>
                </a:cubicBezTo>
                <a:cubicBezTo>
                  <a:pt x="4110" y="657"/>
                  <a:pt x="4109" y="658"/>
                  <a:pt x="4109" y="660"/>
                </a:cubicBezTo>
                <a:cubicBezTo>
                  <a:pt x="4109" y="663"/>
                  <a:pt x="4109" y="664"/>
                  <a:pt x="4108" y="664"/>
                </a:cubicBezTo>
                <a:cubicBezTo>
                  <a:pt x="4107" y="664"/>
                  <a:pt x="4106" y="664"/>
                  <a:pt x="4106" y="665"/>
                </a:cubicBezTo>
                <a:lnTo>
                  <a:pt x="4107" y="666"/>
                </a:lnTo>
                <a:cubicBezTo>
                  <a:pt x="4107" y="667"/>
                  <a:pt x="4106" y="668"/>
                  <a:pt x="4105" y="668"/>
                </a:cubicBezTo>
                <a:cubicBezTo>
                  <a:pt x="4104" y="668"/>
                  <a:pt x="4103" y="669"/>
                  <a:pt x="4103" y="672"/>
                </a:cubicBezTo>
                <a:cubicBezTo>
                  <a:pt x="4103" y="673"/>
                  <a:pt x="4103" y="673"/>
                  <a:pt x="4103" y="674"/>
                </a:cubicBezTo>
                <a:cubicBezTo>
                  <a:pt x="4102" y="675"/>
                  <a:pt x="4102" y="675"/>
                  <a:pt x="4101" y="675"/>
                </a:cubicBezTo>
                <a:cubicBezTo>
                  <a:pt x="4101" y="675"/>
                  <a:pt x="4100" y="675"/>
                  <a:pt x="4100" y="676"/>
                </a:cubicBezTo>
                <a:cubicBezTo>
                  <a:pt x="4099" y="677"/>
                  <a:pt x="4099" y="677"/>
                  <a:pt x="4099" y="678"/>
                </a:cubicBezTo>
                <a:cubicBezTo>
                  <a:pt x="4099" y="679"/>
                  <a:pt x="4099" y="680"/>
                  <a:pt x="4098" y="681"/>
                </a:cubicBezTo>
                <a:cubicBezTo>
                  <a:pt x="4097" y="682"/>
                  <a:pt x="4095" y="685"/>
                  <a:pt x="4091" y="690"/>
                </a:cubicBezTo>
                <a:cubicBezTo>
                  <a:pt x="4090" y="692"/>
                  <a:pt x="4089" y="694"/>
                  <a:pt x="4088" y="695"/>
                </a:cubicBezTo>
                <a:cubicBezTo>
                  <a:pt x="4087" y="697"/>
                  <a:pt x="4087" y="697"/>
                  <a:pt x="4087" y="698"/>
                </a:cubicBezTo>
                <a:cubicBezTo>
                  <a:pt x="4086" y="698"/>
                  <a:pt x="4086" y="699"/>
                  <a:pt x="4084" y="700"/>
                </a:cubicBezTo>
                <a:lnTo>
                  <a:pt x="4084" y="699"/>
                </a:lnTo>
                <a:cubicBezTo>
                  <a:pt x="4084" y="697"/>
                  <a:pt x="4086" y="693"/>
                  <a:pt x="4089" y="688"/>
                </a:cubicBezTo>
                <a:lnTo>
                  <a:pt x="4092" y="683"/>
                </a:lnTo>
                <a:cubicBezTo>
                  <a:pt x="4095" y="679"/>
                  <a:pt x="4096" y="676"/>
                  <a:pt x="4097" y="675"/>
                </a:cubicBezTo>
                <a:cubicBezTo>
                  <a:pt x="4098" y="674"/>
                  <a:pt x="4100" y="670"/>
                  <a:pt x="4103" y="665"/>
                </a:cubicBezTo>
                <a:cubicBezTo>
                  <a:pt x="4105" y="663"/>
                  <a:pt x="4107" y="659"/>
                  <a:pt x="4109" y="654"/>
                </a:cubicBezTo>
                <a:cubicBezTo>
                  <a:pt x="4110" y="651"/>
                  <a:pt x="4111" y="650"/>
                  <a:pt x="4112" y="650"/>
                </a:cubicBezTo>
                <a:cubicBezTo>
                  <a:pt x="4113" y="650"/>
                  <a:pt x="4113" y="649"/>
                  <a:pt x="4113" y="648"/>
                </a:cubicBezTo>
                <a:lnTo>
                  <a:pt x="4113" y="647"/>
                </a:lnTo>
                <a:cubicBezTo>
                  <a:pt x="4113" y="646"/>
                  <a:pt x="4114" y="645"/>
                  <a:pt x="4115" y="644"/>
                </a:cubicBezTo>
                <a:cubicBezTo>
                  <a:pt x="4117" y="644"/>
                  <a:pt x="4118" y="643"/>
                  <a:pt x="4118" y="642"/>
                </a:cubicBezTo>
                <a:lnTo>
                  <a:pt x="4117" y="640"/>
                </a:lnTo>
                <a:cubicBezTo>
                  <a:pt x="4117" y="639"/>
                  <a:pt x="4117" y="639"/>
                  <a:pt x="4118" y="639"/>
                </a:cubicBezTo>
                <a:cubicBezTo>
                  <a:pt x="4119" y="639"/>
                  <a:pt x="4120" y="638"/>
                  <a:pt x="4120" y="638"/>
                </a:cubicBezTo>
                <a:lnTo>
                  <a:pt x="4119" y="636"/>
                </a:lnTo>
                <a:cubicBezTo>
                  <a:pt x="4119" y="635"/>
                  <a:pt x="4120" y="634"/>
                  <a:pt x="4122" y="633"/>
                </a:cubicBezTo>
                <a:cubicBezTo>
                  <a:pt x="4124" y="632"/>
                  <a:pt x="4125" y="629"/>
                  <a:pt x="4126" y="626"/>
                </a:cubicBezTo>
                <a:cubicBezTo>
                  <a:pt x="4126" y="624"/>
                  <a:pt x="4127" y="622"/>
                  <a:pt x="4129" y="620"/>
                </a:cubicBezTo>
                <a:cubicBezTo>
                  <a:pt x="4131" y="618"/>
                  <a:pt x="4132" y="616"/>
                  <a:pt x="4132" y="614"/>
                </a:cubicBezTo>
                <a:cubicBezTo>
                  <a:pt x="4133" y="612"/>
                  <a:pt x="4134" y="610"/>
                  <a:pt x="4135" y="608"/>
                </a:cubicBezTo>
                <a:cubicBezTo>
                  <a:pt x="4137" y="607"/>
                  <a:pt x="4137" y="605"/>
                  <a:pt x="4137" y="605"/>
                </a:cubicBezTo>
                <a:cubicBezTo>
                  <a:pt x="4137" y="604"/>
                  <a:pt x="4137" y="604"/>
                  <a:pt x="4137" y="604"/>
                </a:cubicBezTo>
                <a:cubicBezTo>
                  <a:pt x="4137" y="604"/>
                  <a:pt x="4136" y="604"/>
                  <a:pt x="4136" y="604"/>
                </a:cubicBezTo>
                <a:cubicBezTo>
                  <a:pt x="4136" y="603"/>
                  <a:pt x="4137" y="602"/>
                  <a:pt x="4140" y="599"/>
                </a:cubicBezTo>
                <a:cubicBezTo>
                  <a:pt x="4143" y="596"/>
                  <a:pt x="4144" y="595"/>
                  <a:pt x="4144" y="593"/>
                </a:cubicBezTo>
                <a:lnTo>
                  <a:pt x="4144" y="593"/>
                </a:lnTo>
                <a:cubicBezTo>
                  <a:pt x="4144" y="592"/>
                  <a:pt x="4145" y="590"/>
                  <a:pt x="4147" y="588"/>
                </a:cubicBezTo>
                <a:cubicBezTo>
                  <a:pt x="4149" y="585"/>
                  <a:pt x="4150" y="584"/>
                  <a:pt x="4151" y="584"/>
                </a:cubicBezTo>
                <a:cubicBezTo>
                  <a:pt x="4151" y="584"/>
                  <a:pt x="4151" y="584"/>
                  <a:pt x="4151" y="584"/>
                </a:cubicBezTo>
                <a:cubicBezTo>
                  <a:pt x="4151" y="585"/>
                  <a:pt x="4151" y="587"/>
                  <a:pt x="4150" y="589"/>
                </a:cubicBezTo>
                <a:cubicBezTo>
                  <a:pt x="4147" y="595"/>
                  <a:pt x="4144" y="600"/>
                  <a:pt x="4143" y="602"/>
                </a:cubicBezTo>
                <a:cubicBezTo>
                  <a:pt x="4141" y="603"/>
                  <a:pt x="4139" y="606"/>
                  <a:pt x="4137" y="611"/>
                </a:cubicBezTo>
                <a:lnTo>
                  <a:pt x="4134" y="621"/>
                </a:lnTo>
                <a:cubicBezTo>
                  <a:pt x="4135" y="621"/>
                  <a:pt x="4138" y="617"/>
                  <a:pt x="4143" y="608"/>
                </a:cubicBezTo>
                <a:cubicBezTo>
                  <a:pt x="4148" y="600"/>
                  <a:pt x="4151" y="595"/>
                  <a:pt x="4151" y="595"/>
                </a:cubicBezTo>
                <a:cubicBezTo>
                  <a:pt x="4151" y="595"/>
                  <a:pt x="4152" y="595"/>
                  <a:pt x="4152" y="595"/>
                </a:cubicBezTo>
                <a:cubicBezTo>
                  <a:pt x="4152" y="597"/>
                  <a:pt x="4151" y="600"/>
                  <a:pt x="4148" y="605"/>
                </a:cubicBezTo>
                <a:cubicBezTo>
                  <a:pt x="4136" y="631"/>
                  <a:pt x="4118" y="663"/>
                  <a:pt x="4094" y="700"/>
                </a:cubicBezTo>
                <a:cubicBezTo>
                  <a:pt x="4068" y="742"/>
                  <a:pt x="4048" y="771"/>
                  <a:pt x="4033" y="786"/>
                </a:cubicBezTo>
                <a:cubicBezTo>
                  <a:pt x="4028" y="791"/>
                  <a:pt x="4026" y="794"/>
                  <a:pt x="4026" y="795"/>
                </a:cubicBezTo>
                <a:cubicBezTo>
                  <a:pt x="4026" y="796"/>
                  <a:pt x="4027" y="797"/>
                  <a:pt x="4030" y="797"/>
                </a:cubicBezTo>
                <a:lnTo>
                  <a:pt x="4032" y="797"/>
                </a:lnTo>
                <a:cubicBezTo>
                  <a:pt x="4035" y="797"/>
                  <a:pt x="4037" y="797"/>
                  <a:pt x="4037" y="796"/>
                </a:cubicBezTo>
                <a:lnTo>
                  <a:pt x="4037" y="795"/>
                </a:lnTo>
                <a:cubicBezTo>
                  <a:pt x="4037" y="794"/>
                  <a:pt x="4037" y="794"/>
                  <a:pt x="4038" y="794"/>
                </a:cubicBezTo>
                <a:cubicBezTo>
                  <a:pt x="4040" y="794"/>
                  <a:pt x="4043" y="791"/>
                  <a:pt x="4048" y="786"/>
                </a:cubicBezTo>
                <a:lnTo>
                  <a:pt x="4050" y="781"/>
                </a:lnTo>
                <a:lnTo>
                  <a:pt x="4050" y="780"/>
                </a:lnTo>
                <a:cubicBezTo>
                  <a:pt x="4050" y="779"/>
                  <a:pt x="4050" y="778"/>
                  <a:pt x="4051" y="777"/>
                </a:cubicBezTo>
                <a:cubicBezTo>
                  <a:pt x="4052" y="775"/>
                  <a:pt x="4054" y="774"/>
                  <a:pt x="4054" y="774"/>
                </a:cubicBezTo>
                <a:lnTo>
                  <a:pt x="4056" y="775"/>
                </a:lnTo>
                <a:cubicBezTo>
                  <a:pt x="4057" y="775"/>
                  <a:pt x="4060" y="771"/>
                  <a:pt x="4067" y="762"/>
                </a:cubicBezTo>
                <a:cubicBezTo>
                  <a:pt x="4069" y="760"/>
                  <a:pt x="4070" y="758"/>
                  <a:pt x="4071" y="757"/>
                </a:cubicBezTo>
                <a:cubicBezTo>
                  <a:pt x="4074" y="755"/>
                  <a:pt x="4075" y="752"/>
                  <a:pt x="4075" y="751"/>
                </a:cubicBezTo>
                <a:cubicBezTo>
                  <a:pt x="4075" y="750"/>
                  <a:pt x="4076" y="748"/>
                  <a:pt x="4078" y="747"/>
                </a:cubicBezTo>
                <a:cubicBezTo>
                  <a:pt x="4080" y="745"/>
                  <a:pt x="4081" y="743"/>
                  <a:pt x="4081" y="739"/>
                </a:cubicBezTo>
                <a:cubicBezTo>
                  <a:pt x="4081" y="736"/>
                  <a:pt x="4081" y="734"/>
                  <a:pt x="4083" y="734"/>
                </a:cubicBezTo>
                <a:cubicBezTo>
                  <a:pt x="4084" y="734"/>
                  <a:pt x="4086" y="732"/>
                  <a:pt x="4088" y="730"/>
                </a:cubicBezTo>
                <a:cubicBezTo>
                  <a:pt x="4094" y="723"/>
                  <a:pt x="4097" y="718"/>
                  <a:pt x="4097" y="716"/>
                </a:cubicBezTo>
                <a:lnTo>
                  <a:pt x="4093" y="720"/>
                </a:lnTo>
                <a:cubicBezTo>
                  <a:pt x="4092" y="721"/>
                  <a:pt x="4092" y="722"/>
                  <a:pt x="4091" y="722"/>
                </a:cubicBezTo>
                <a:cubicBezTo>
                  <a:pt x="4091" y="722"/>
                  <a:pt x="4090" y="722"/>
                  <a:pt x="4090" y="721"/>
                </a:cubicBezTo>
                <a:cubicBezTo>
                  <a:pt x="4090" y="721"/>
                  <a:pt x="4091" y="720"/>
                  <a:pt x="4092" y="718"/>
                </a:cubicBezTo>
                <a:cubicBezTo>
                  <a:pt x="4092" y="717"/>
                  <a:pt x="4094" y="715"/>
                  <a:pt x="4095" y="713"/>
                </a:cubicBezTo>
                <a:cubicBezTo>
                  <a:pt x="4096" y="712"/>
                  <a:pt x="4097" y="710"/>
                  <a:pt x="4097" y="710"/>
                </a:cubicBezTo>
                <a:cubicBezTo>
                  <a:pt x="4097" y="710"/>
                  <a:pt x="4097" y="709"/>
                  <a:pt x="4097" y="709"/>
                </a:cubicBezTo>
                <a:cubicBezTo>
                  <a:pt x="4096" y="709"/>
                  <a:pt x="4096" y="709"/>
                  <a:pt x="4096" y="709"/>
                </a:cubicBezTo>
                <a:cubicBezTo>
                  <a:pt x="4096" y="708"/>
                  <a:pt x="4097" y="707"/>
                  <a:pt x="4099" y="705"/>
                </a:cubicBezTo>
                <a:cubicBezTo>
                  <a:pt x="4102" y="702"/>
                  <a:pt x="4103" y="699"/>
                  <a:pt x="4103" y="698"/>
                </a:cubicBezTo>
                <a:cubicBezTo>
                  <a:pt x="4103" y="696"/>
                  <a:pt x="4104" y="695"/>
                  <a:pt x="4107" y="693"/>
                </a:cubicBezTo>
                <a:cubicBezTo>
                  <a:pt x="4109" y="691"/>
                  <a:pt x="4110" y="689"/>
                  <a:pt x="4110" y="686"/>
                </a:cubicBezTo>
                <a:cubicBezTo>
                  <a:pt x="4111" y="684"/>
                  <a:pt x="4112" y="682"/>
                  <a:pt x="4114" y="680"/>
                </a:cubicBezTo>
                <a:cubicBezTo>
                  <a:pt x="4117" y="679"/>
                  <a:pt x="4118" y="674"/>
                  <a:pt x="4118" y="667"/>
                </a:cubicBezTo>
                <a:cubicBezTo>
                  <a:pt x="4118" y="667"/>
                  <a:pt x="4118" y="666"/>
                  <a:pt x="4119" y="666"/>
                </a:cubicBezTo>
                <a:lnTo>
                  <a:pt x="4121" y="667"/>
                </a:lnTo>
                <a:cubicBezTo>
                  <a:pt x="4121" y="667"/>
                  <a:pt x="4121" y="667"/>
                  <a:pt x="4121" y="666"/>
                </a:cubicBezTo>
                <a:lnTo>
                  <a:pt x="4121" y="664"/>
                </a:lnTo>
                <a:cubicBezTo>
                  <a:pt x="4121" y="661"/>
                  <a:pt x="4122" y="660"/>
                  <a:pt x="4123" y="659"/>
                </a:cubicBezTo>
                <a:cubicBezTo>
                  <a:pt x="4124" y="659"/>
                  <a:pt x="4125" y="657"/>
                  <a:pt x="4127" y="653"/>
                </a:cubicBezTo>
                <a:cubicBezTo>
                  <a:pt x="4128" y="648"/>
                  <a:pt x="4131" y="644"/>
                  <a:pt x="4134" y="639"/>
                </a:cubicBezTo>
                <a:cubicBezTo>
                  <a:pt x="4137" y="634"/>
                  <a:pt x="4139" y="630"/>
                  <a:pt x="4141" y="627"/>
                </a:cubicBezTo>
                <a:cubicBezTo>
                  <a:pt x="4142" y="624"/>
                  <a:pt x="4143" y="622"/>
                  <a:pt x="4144" y="622"/>
                </a:cubicBezTo>
                <a:cubicBezTo>
                  <a:pt x="4145" y="622"/>
                  <a:pt x="4146" y="622"/>
                  <a:pt x="4146" y="621"/>
                </a:cubicBezTo>
                <a:lnTo>
                  <a:pt x="4145" y="619"/>
                </a:lnTo>
                <a:cubicBezTo>
                  <a:pt x="4145" y="618"/>
                  <a:pt x="4146" y="617"/>
                  <a:pt x="4147" y="615"/>
                </a:cubicBezTo>
                <a:cubicBezTo>
                  <a:pt x="4148" y="614"/>
                  <a:pt x="4149" y="612"/>
                  <a:pt x="4150" y="609"/>
                </a:cubicBezTo>
                <a:cubicBezTo>
                  <a:pt x="4152" y="606"/>
                  <a:pt x="4153" y="604"/>
                  <a:pt x="4154" y="603"/>
                </a:cubicBezTo>
                <a:cubicBezTo>
                  <a:pt x="4155" y="602"/>
                  <a:pt x="4156" y="601"/>
                  <a:pt x="4156" y="599"/>
                </a:cubicBezTo>
                <a:lnTo>
                  <a:pt x="4156" y="597"/>
                </a:lnTo>
                <a:cubicBezTo>
                  <a:pt x="4156" y="595"/>
                  <a:pt x="4157" y="594"/>
                  <a:pt x="4158" y="593"/>
                </a:cubicBezTo>
                <a:cubicBezTo>
                  <a:pt x="4160" y="592"/>
                  <a:pt x="4161" y="591"/>
                  <a:pt x="4161" y="590"/>
                </a:cubicBezTo>
                <a:cubicBezTo>
                  <a:pt x="4161" y="590"/>
                  <a:pt x="4161" y="589"/>
                  <a:pt x="4160" y="589"/>
                </a:cubicBezTo>
                <a:cubicBezTo>
                  <a:pt x="4160" y="587"/>
                  <a:pt x="4161" y="585"/>
                  <a:pt x="4163" y="584"/>
                </a:cubicBezTo>
                <a:cubicBezTo>
                  <a:pt x="4164" y="583"/>
                  <a:pt x="4165" y="582"/>
                  <a:pt x="4165" y="581"/>
                </a:cubicBezTo>
                <a:lnTo>
                  <a:pt x="4165" y="581"/>
                </a:lnTo>
                <a:cubicBezTo>
                  <a:pt x="4164" y="580"/>
                  <a:pt x="4164" y="579"/>
                  <a:pt x="4162" y="579"/>
                </a:cubicBezTo>
                <a:lnTo>
                  <a:pt x="4160" y="580"/>
                </a:lnTo>
                <a:cubicBezTo>
                  <a:pt x="4159" y="580"/>
                  <a:pt x="4158" y="580"/>
                  <a:pt x="4158" y="579"/>
                </a:cubicBezTo>
                <a:lnTo>
                  <a:pt x="4159" y="578"/>
                </a:lnTo>
                <a:cubicBezTo>
                  <a:pt x="4159" y="577"/>
                  <a:pt x="4159" y="576"/>
                  <a:pt x="4158" y="576"/>
                </a:cubicBezTo>
                <a:cubicBezTo>
                  <a:pt x="4157" y="575"/>
                  <a:pt x="4157" y="575"/>
                  <a:pt x="4156" y="575"/>
                </a:cubicBezTo>
                <a:cubicBezTo>
                  <a:pt x="4156" y="575"/>
                  <a:pt x="4156" y="576"/>
                  <a:pt x="4156" y="577"/>
                </a:cubicBezTo>
                <a:cubicBezTo>
                  <a:pt x="4156" y="578"/>
                  <a:pt x="4155" y="579"/>
                  <a:pt x="4154" y="580"/>
                </a:cubicBezTo>
                <a:cubicBezTo>
                  <a:pt x="4154" y="580"/>
                  <a:pt x="4153" y="581"/>
                  <a:pt x="4152" y="581"/>
                </a:cubicBezTo>
                <a:cubicBezTo>
                  <a:pt x="4151" y="581"/>
                  <a:pt x="4150" y="581"/>
                  <a:pt x="4150" y="580"/>
                </a:cubicBezTo>
                <a:cubicBezTo>
                  <a:pt x="4150" y="580"/>
                  <a:pt x="4151" y="579"/>
                  <a:pt x="4152" y="577"/>
                </a:cubicBezTo>
                <a:cubicBezTo>
                  <a:pt x="4154" y="576"/>
                  <a:pt x="4154" y="574"/>
                  <a:pt x="4154" y="573"/>
                </a:cubicBezTo>
                <a:lnTo>
                  <a:pt x="4154" y="570"/>
                </a:lnTo>
                <a:cubicBezTo>
                  <a:pt x="4154" y="570"/>
                  <a:pt x="4154" y="570"/>
                  <a:pt x="4154" y="570"/>
                </a:cubicBezTo>
                <a:cubicBezTo>
                  <a:pt x="4156" y="570"/>
                  <a:pt x="4158" y="571"/>
                  <a:pt x="4160" y="573"/>
                </a:cubicBezTo>
                <a:cubicBezTo>
                  <a:pt x="4162" y="575"/>
                  <a:pt x="4163" y="576"/>
                  <a:pt x="4164" y="576"/>
                </a:cubicBezTo>
                <a:cubicBezTo>
                  <a:pt x="4165" y="576"/>
                  <a:pt x="4166" y="576"/>
                  <a:pt x="4168" y="574"/>
                </a:cubicBezTo>
                <a:cubicBezTo>
                  <a:pt x="4169" y="572"/>
                  <a:pt x="4170" y="571"/>
                  <a:pt x="4170" y="571"/>
                </a:cubicBezTo>
                <a:cubicBezTo>
                  <a:pt x="4170" y="571"/>
                  <a:pt x="4170" y="570"/>
                  <a:pt x="4170" y="570"/>
                </a:cubicBezTo>
                <a:cubicBezTo>
                  <a:pt x="4169" y="570"/>
                  <a:pt x="4169" y="570"/>
                  <a:pt x="4169" y="570"/>
                </a:cubicBezTo>
                <a:cubicBezTo>
                  <a:pt x="4168" y="570"/>
                  <a:pt x="4167" y="571"/>
                  <a:pt x="4165" y="572"/>
                </a:cubicBezTo>
                <a:cubicBezTo>
                  <a:pt x="4164" y="573"/>
                  <a:pt x="4163" y="574"/>
                  <a:pt x="4162" y="574"/>
                </a:cubicBezTo>
                <a:cubicBezTo>
                  <a:pt x="4162" y="574"/>
                  <a:pt x="4162" y="574"/>
                  <a:pt x="4162" y="573"/>
                </a:cubicBezTo>
                <a:cubicBezTo>
                  <a:pt x="4162" y="573"/>
                  <a:pt x="4162" y="572"/>
                  <a:pt x="4162" y="571"/>
                </a:cubicBezTo>
                <a:cubicBezTo>
                  <a:pt x="4163" y="571"/>
                  <a:pt x="4163" y="570"/>
                  <a:pt x="4163" y="569"/>
                </a:cubicBezTo>
                <a:cubicBezTo>
                  <a:pt x="4163" y="568"/>
                  <a:pt x="4163" y="567"/>
                  <a:pt x="4162" y="566"/>
                </a:cubicBezTo>
                <a:cubicBezTo>
                  <a:pt x="4161" y="566"/>
                  <a:pt x="4161" y="565"/>
                  <a:pt x="4161" y="564"/>
                </a:cubicBezTo>
                <a:cubicBezTo>
                  <a:pt x="4161" y="563"/>
                  <a:pt x="4161" y="563"/>
                  <a:pt x="4162" y="561"/>
                </a:cubicBezTo>
                <a:cubicBezTo>
                  <a:pt x="4163" y="560"/>
                  <a:pt x="4164" y="559"/>
                  <a:pt x="4166" y="559"/>
                </a:cubicBezTo>
                <a:lnTo>
                  <a:pt x="4167" y="560"/>
                </a:lnTo>
                <a:cubicBezTo>
                  <a:pt x="4167" y="560"/>
                  <a:pt x="4168" y="559"/>
                  <a:pt x="4168" y="559"/>
                </a:cubicBezTo>
                <a:cubicBezTo>
                  <a:pt x="4168" y="558"/>
                  <a:pt x="4167" y="558"/>
                  <a:pt x="4167" y="557"/>
                </a:cubicBezTo>
                <a:cubicBezTo>
                  <a:pt x="4167" y="556"/>
                  <a:pt x="4166" y="555"/>
                  <a:pt x="4166" y="554"/>
                </a:cubicBezTo>
                <a:cubicBezTo>
                  <a:pt x="4166" y="552"/>
                  <a:pt x="4167" y="550"/>
                  <a:pt x="4169" y="550"/>
                </a:cubicBezTo>
                <a:cubicBezTo>
                  <a:pt x="4170" y="550"/>
                  <a:pt x="4171" y="551"/>
                  <a:pt x="4172" y="551"/>
                </a:cubicBezTo>
                <a:cubicBezTo>
                  <a:pt x="4173" y="553"/>
                  <a:pt x="4174" y="553"/>
                  <a:pt x="4175" y="553"/>
                </a:cubicBezTo>
                <a:cubicBezTo>
                  <a:pt x="4176" y="553"/>
                  <a:pt x="4176" y="553"/>
                  <a:pt x="4176" y="553"/>
                </a:cubicBezTo>
                <a:lnTo>
                  <a:pt x="4176" y="552"/>
                </a:lnTo>
                <a:cubicBezTo>
                  <a:pt x="4176" y="551"/>
                  <a:pt x="4176" y="551"/>
                  <a:pt x="4175" y="551"/>
                </a:cubicBezTo>
                <a:cubicBezTo>
                  <a:pt x="4174" y="551"/>
                  <a:pt x="4174" y="551"/>
                  <a:pt x="4174" y="550"/>
                </a:cubicBezTo>
                <a:lnTo>
                  <a:pt x="4175" y="548"/>
                </a:lnTo>
                <a:cubicBezTo>
                  <a:pt x="4175" y="547"/>
                  <a:pt x="4174" y="547"/>
                  <a:pt x="4174" y="547"/>
                </a:cubicBezTo>
                <a:lnTo>
                  <a:pt x="4172" y="548"/>
                </a:lnTo>
                <a:cubicBezTo>
                  <a:pt x="4171" y="548"/>
                  <a:pt x="4170" y="547"/>
                  <a:pt x="4170" y="546"/>
                </a:cubicBezTo>
                <a:cubicBezTo>
                  <a:pt x="4170" y="544"/>
                  <a:pt x="4171" y="543"/>
                  <a:pt x="4172" y="542"/>
                </a:cubicBezTo>
                <a:cubicBezTo>
                  <a:pt x="4173" y="541"/>
                  <a:pt x="4173" y="541"/>
                  <a:pt x="4174" y="541"/>
                </a:cubicBezTo>
                <a:cubicBezTo>
                  <a:pt x="4175" y="541"/>
                  <a:pt x="4176" y="541"/>
                  <a:pt x="4176" y="542"/>
                </a:cubicBezTo>
                <a:cubicBezTo>
                  <a:pt x="4177" y="544"/>
                  <a:pt x="4178" y="544"/>
                  <a:pt x="4180" y="544"/>
                </a:cubicBezTo>
                <a:cubicBezTo>
                  <a:pt x="4180" y="544"/>
                  <a:pt x="4180" y="544"/>
                  <a:pt x="4180" y="544"/>
                </a:cubicBezTo>
                <a:cubicBezTo>
                  <a:pt x="4180" y="543"/>
                  <a:pt x="4180" y="542"/>
                  <a:pt x="4178" y="541"/>
                </a:cubicBezTo>
                <a:cubicBezTo>
                  <a:pt x="4177" y="539"/>
                  <a:pt x="4176" y="537"/>
                  <a:pt x="4176" y="534"/>
                </a:cubicBezTo>
                <a:cubicBezTo>
                  <a:pt x="4176" y="532"/>
                  <a:pt x="4176" y="530"/>
                  <a:pt x="4177" y="528"/>
                </a:cubicBezTo>
                <a:cubicBezTo>
                  <a:pt x="4178" y="526"/>
                  <a:pt x="4179" y="525"/>
                  <a:pt x="4180" y="525"/>
                </a:cubicBezTo>
                <a:lnTo>
                  <a:pt x="4181" y="525"/>
                </a:lnTo>
                <a:cubicBezTo>
                  <a:pt x="4183" y="525"/>
                  <a:pt x="4184" y="524"/>
                  <a:pt x="4186" y="522"/>
                </a:cubicBezTo>
                <a:lnTo>
                  <a:pt x="4188" y="519"/>
                </a:lnTo>
                <a:cubicBezTo>
                  <a:pt x="4188" y="519"/>
                  <a:pt x="4187" y="520"/>
                  <a:pt x="4186" y="521"/>
                </a:cubicBezTo>
                <a:cubicBezTo>
                  <a:pt x="4184" y="522"/>
                  <a:pt x="4183" y="523"/>
                  <a:pt x="4182" y="523"/>
                </a:cubicBezTo>
                <a:cubicBezTo>
                  <a:pt x="4182" y="523"/>
                  <a:pt x="4181" y="522"/>
                  <a:pt x="4181" y="521"/>
                </a:cubicBezTo>
                <a:cubicBezTo>
                  <a:pt x="4181" y="518"/>
                  <a:pt x="4183" y="516"/>
                  <a:pt x="4185" y="513"/>
                </a:cubicBezTo>
                <a:cubicBezTo>
                  <a:pt x="4185" y="512"/>
                  <a:pt x="4186" y="512"/>
                  <a:pt x="4186" y="512"/>
                </a:cubicBezTo>
                <a:cubicBezTo>
                  <a:pt x="4187" y="512"/>
                  <a:pt x="4187" y="513"/>
                  <a:pt x="4187" y="514"/>
                </a:cubicBezTo>
                <a:lnTo>
                  <a:pt x="4186" y="517"/>
                </a:lnTo>
                <a:cubicBezTo>
                  <a:pt x="4186" y="517"/>
                  <a:pt x="4187" y="517"/>
                  <a:pt x="4188" y="516"/>
                </a:cubicBezTo>
                <a:cubicBezTo>
                  <a:pt x="4189" y="515"/>
                  <a:pt x="4189" y="514"/>
                  <a:pt x="4189" y="514"/>
                </a:cubicBezTo>
                <a:cubicBezTo>
                  <a:pt x="4189" y="513"/>
                  <a:pt x="4189" y="512"/>
                  <a:pt x="4189" y="512"/>
                </a:cubicBezTo>
                <a:cubicBezTo>
                  <a:pt x="4188" y="512"/>
                  <a:pt x="4188" y="511"/>
                  <a:pt x="4188" y="509"/>
                </a:cubicBezTo>
                <a:cubicBezTo>
                  <a:pt x="4188" y="507"/>
                  <a:pt x="4188" y="505"/>
                  <a:pt x="4189" y="502"/>
                </a:cubicBezTo>
                <a:cubicBezTo>
                  <a:pt x="4190" y="499"/>
                  <a:pt x="4191" y="497"/>
                  <a:pt x="4192" y="495"/>
                </a:cubicBezTo>
                <a:cubicBezTo>
                  <a:pt x="4193" y="493"/>
                  <a:pt x="4194" y="492"/>
                  <a:pt x="4195" y="492"/>
                </a:cubicBezTo>
                <a:cubicBezTo>
                  <a:pt x="4196" y="492"/>
                  <a:pt x="4196" y="491"/>
                  <a:pt x="4196" y="491"/>
                </a:cubicBezTo>
                <a:lnTo>
                  <a:pt x="4196" y="488"/>
                </a:lnTo>
                <a:cubicBezTo>
                  <a:pt x="4196" y="485"/>
                  <a:pt x="4198" y="479"/>
                  <a:pt x="4202" y="470"/>
                </a:cubicBezTo>
                <a:cubicBezTo>
                  <a:pt x="4208" y="455"/>
                  <a:pt x="4211" y="446"/>
                  <a:pt x="4213" y="441"/>
                </a:cubicBezTo>
                <a:cubicBezTo>
                  <a:pt x="4214" y="438"/>
                  <a:pt x="4215" y="435"/>
                  <a:pt x="4216" y="433"/>
                </a:cubicBezTo>
                <a:cubicBezTo>
                  <a:pt x="4218" y="431"/>
                  <a:pt x="4218" y="430"/>
                  <a:pt x="4219" y="430"/>
                </a:cubicBezTo>
                <a:cubicBezTo>
                  <a:pt x="4219" y="430"/>
                  <a:pt x="4220" y="429"/>
                  <a:pt x="4220" y="429"/>
                </a:cubicBezTo>
                <a:lnTo>
                  <a:pt x="4220" y="427"/>
                </a:lnTo>
                <a:cubicBezTo>
                  <a:pt x="4220" y="421"/>
                  <a:pt x="4223" y="409"/>
                  <a:pt x="4231" y="391"/>
                </a:cubicBezTo>
                <a:cubicBezTo>
                  <a:pt x="4238" y="372"/>
                  <a:pt x="4243" y="363"/>
                  <a:pt x="4244" y="363"/>
                </a:cubicBezTo>
                <a:cubicBezTo>
                  <a:pt x="4246" y="363"/>
                  <a:pt x="4246" y="362"/>
                  <a:pt x="4246" y="360"/>
                </a:cubicBezTo>
                <a:cubicBezTo>
                  <a:pt x="4246" y="358"/>
                  <a:pt x="4248" y="357"/>
                  <a:pt x="4250" y="357"/>
                </a:cubicBezTo>
                <a:cubicBezTo>
                  <a:pt x="4252" y="357"/>
                  <a:pt x="4253" y="356"/>
                  <a:pt x="4253" y="354"/>
                </a:cubicBezTo>
                <a:cubicBezTo>
                  <a:pt x="4253" y="353"/>
                  <a:pt x="4253" y="353"/>
                  <a:pt x="4252" y="353"/>
                </a:cubicBezTo>
                <a:lnTo>
                  <a:pt x="4249" y="353"/>
                </a:lnTo>
                <a:cubicBezTo>
                  <a:pt x="4249" y="353"/>
                  <a:pt x="4250" y="353"/>
                  <a:pt x="4251" y="351"/>
                </a:cubicBezTo>
                <a:cubicBezTo>
                  <a:pt x="4253" y="350"/>
                  <a:pt x="4254" y="349"/>
                  <a:pt x="4256" y="348"/>
                </a:cubicBezTo>
                <a:cubicBezTo>
                  <a:pt x="4257" y="348"/>
                  <a:pt x="4258" y="348"/>
                  <a:pt x="4258" y="348"/>
                </a:cubicBezTo>
                <a:cubicBezTo>
                  <a:pt x="4259" y="348"/>
                  <a:pt x="4259" y="347"/>
                  <a:pt x="4259" y="346"/>
                </a:cubicBezTo>
                <a:cubicBezTo>
                  <a:pt x="4259" y="346"/>
                  <a:pt x="4259" y="345"/>
                  <a:pt x="4258" y="344"/>
                </a:cubicBezTo>
                <a:cubicBezTo>
                  <a:pt x="4258" y="344"/>
                  <a:pt x="4258" y="343"/>
                  <a:pt x="4258" y="343"/>
                </a:cubicBezTo>
                <a:cubicBezTo>
                  <a:pt x="4258" y="343"/>
                  <a:pt x="4259" y="343"/>
                  <a:pt x="4260" y="344"/>
                </a:cubicBezTo>
                <a:cubicBezTo>
                  <a:pt x="4261" y="345"/>
                  <a:pt x="4261" y="345"/>
                  <a:pt x="4261" y="346"/>
                </a:cubicBezTo>
                <a:cubicBezTo>
                  <a:pt x="4261" y="347"/>
                  <a:pt x="4261" y="347"/>
                  <a:pt x="4260" y="348"/>
                </a:cubicBezTo>
                <a:lnTo>
                  <a:pt x="4260" y="348"/>
                </a:lnTo>
                <a:cubicBezTo>
                  <a:pt x="4260" y="349"/>
                  <a:pt x="4261" y="350"/>
                  <a:pt x="4262" y="350"/>
                </a:cubicBezTo>
                <a:cubicBezTo>
                  <a:pt x="4263" y="350"/>
                  <a:pt x="4263" y="354"/>
                  <a:pt x="4263" y="362"/>
                </a:cubicBezTo>
                <a:cubicBezTo>
                  <a:pt x="4263" y="376"/>
                  <a:pt x="4262" y="386"/>
                  <a:pt x="4261" y="392"/>
                </a:cubicBezTo>
                <a:cubicBezTo>
                  <a:pt x="4258" y="403"/>
                  <a:pt x="4250" y="426"/>
                  <a:pt x="4237" y="462"/>
                </a:cubicBezTo>
                <a:cubicBezTo>
                  <a:pt x="4223" y="497"/>
                  <a:pt x="4215" y="517"/>
                  <a:pt x="4213" y="520"/>
                </a:cubicBezTo>
                <a:cubicBezTo>
                  <a:pt x="4211" y="522"/>
                  <a:pt x="4211" y="523"/>
                  <a:pt x="4211" y="524"/>
                </a:cubicBezTo>
                <a:cubicBezTo>
                  <a:pt x="4211" y="524"/>
                  <a:pt x="4211" y="524"/>
                  <a:pt x="4211" y="524"/>
                </a:cubicBezTo>
                <a:cubicBezTo>
                  <a:pt x="4211" y="525"/>
                  <a:pt x="4211" y="525"/>
                  <a:pt x="4211" y="525"/>
                </a:cubicBezTo>
                <a:cubicBezTo>
                  <a:pt x="4211" y="526"/>
                  <a:pt x="4211" y="528"/>
                  <a:pt x="4211" y="529"/>
                </a:cubicBezTo>
                <a:cubicBezTo>
                  <a:pt x="4208" y="534"/>
                  <a:pt x="4207" y="536"/>
                  <a:pt x="4206" y="536"/>
                </a:cubicBezTo>
                <a:lnTo>
                  <a:pt x="4205" y="536"/>
                </a:lnTo>
                <a:cubicBezTo>
                  <a:pt x="4203" y="536"/>
                  <a:pt x="4202" y="538"/>
                  <a:pt x="4202" y="542"/>
                </a:cubicBezTo>
                <a:lnTo>
                  <a:pt x="4203" y="546"/>
                </a:lnTo>
                <a:cubicBezTo>
                  <a:pt x="4203" y="546"/>
                  <a:pt x="4203" y="546"/>
                  <a:pt x="4202" y="546"/>
                </a:cubicBezTo>
                <a:lnTo>
                  <a:pt x="4201" y="546"/>
                </a:lnTo>
                <a:cubicBezTo>
                  <a:pt x="4200" y="546"/>
                  <a:pt x="4199" y="546"/>
                  <a:pt x="4198" y="548"/>
                </a:cubicBezTo>
                <a:cubicBezTo>
                  <a:pt x="4198" y="549"/>
                  <a:pt x="4197" y="550"/>
                  <a:pt x="4197" y="552"/>
                </a:cubicBezTo>
                <a:lnTo>
                  <a:pt x="4198" y="555"/>
                </a:lnTo>
                <a:cubicBezTo>
                  <a:pt x="4198" y="555"/>
                  <a:pt x="4198" y="556"/>
                  <a:pt x="4197" y="556"/>
                </a:cubicBezTo>
                <a:cubicBezTo>
                  <a:pt x="4196" y="556"/>
                  <a:pt x="4195" y="556"/>
                  <a:pt x="4195" y="557"/>
                </a:cubicBezTo>
                <a:lnTo>
                  <a:pt x="4196" y="558"/>
                </a:lnTo>
                <a:cubicBezTo>
                  <a:pt x="4196" y="560"/>
                  <a:pt x="4195" y="561"/>
                  <a:pt x="4194" y="561"/>
                </a:cubicBezTo>
                <a:cubicBezTo>
                  <a:pt x="4193" y="561"/>
                  <a:pt x="4193" y="561"/>
                  <a:pt x="4193" y="562"/>
                </a:cubicBezTo>
                <a:lnTo>
                  <a:pt x="4194" y="564"/>
                </a:lnTo>
                <a:cubicBezTo>
                  <a:pt x="4194" y="565"/>
                  <a:pt x="4193" y="565"/>
                  <a:pt x="4192" y="565"/>
                </a:cubicBezTo>
                <a:cubicBezTo>
                  <a:pt x="4191" y="565"/>
                  <a:pt x="4191" y="566"/>
                  <a:pt x="4191" y="567"/>
                </a:cubicBezTo>
                <a:lnTo>
                  <a:pt x="4191" y="569"/>
                </a:lnTo>
                <a:cubicBezTo>
                  <a:pt x="4191" y="570"/>
                  <a:pt x="4191" y="570"/>
                  <a:pt x="4190" y="570"/>
                </a:cubicBezTo>
                <a:cubicBezTo>
                  <a:pt x="4189" y="570"/>
                  <a:pt x="4189" y="570"/>
                  <a:pt x="4189" y="571"/>
                </a:cubicBezTo>
                <a:lnTo>
                  <a:pt x="4189" y="572"/>
                </a:lnTo>
                <a:cubicBezTo>
                  <a:pt x="4189" y="573"/>
                  <a:pt x="4189" y="574"/>
                  <a:pt x="4188" y="574"/>
                </a:cubicBezTo>
                <a:cubicBezTo>
                  <a:pt x="4187" y="574"/>
                  <a:pt x="4187" y="575"/>
                  <a:pt x="4187" y="576"/>
                </a:cubicBezTo>
                <a:lnTo>
                  <a:pt x="4187" y="578"/>
                </a:lnTo>
                <a:cubicBezTo>
                  <a:pt x="4187" y="579"/>
                  <a:pt x="4187" y="579"/>
                  <a:pt x="4186" y="579"/>
                </a:cubicBezTo>
                <a:cubicBezTo>
                  <a:pt x="4185" y="579"/>
                  <a:pt x="4184" y="580"/>
                  <a:pt x="4183" y="581"/>
                </a:cubicBezTo>
                <a:cubicBezTo>
                  <a:pt x="4182" y="582"/>
                  <a:pt x="4181" y="584"/>
                  <a:pt x="4180" y="587"/>
                </a:cubicBezTo>
                <a:cubicBezTo>
                  <a:pt x="4179" y="589"/>
                  <a:pt x="4178" y="591"/>
                  <a:pt x="4178" y="592"/>
                </a:cubicBezTo>
                <a:lnTo>
                  <a:pt x="4181" y="590"/>
                </a:lnTo>
                <a:cubicBezTo>
                  <a:pt x="4181" y="590"/>
                  <a:pt x="4181" y="591"/>
                  <a:pt x="4181" y="591"/>
                </a:cubicBezTo>
                <a:cubicBezTo>
                  <a:pt x="4181" y="592"/>
                  <a:pt x="4180" y="594"/>
                  <a:pt x="4176" y="598"/>
                </a:cubicBezTo>
                <a:lnTo>
                  <a:pt x="4174" y="601"/>
                </a:lnTo>
                <a:lnTo>
                  <a:pt x="4176" y="600"/>
                </a:lnTo>
                <a:cubicBezTo>
                  <a:pt x="4176" y="600"/>
                  <a:pt x="4176" y="600"/>
                  <a:pt x="4176" y="600"/>
                </a:cubicBezTo>
                <a:cubicBezTo>
                  <a:pt x="4176" y="600"/>
                  <a:pt x="4176" y="602"/>
                  <a:pt x="4175" y="603"/>
                </a:cubicBezTo>
                <a:cubicBezTo>
                  <a:pt x="4174" y="605"/>
                  <a:pt x="4173" y="606"/>
                  <a:pt x="4172" y="607"/>
                </a:cubicBezTo>
                <a:cubicBezTo>
                  <a:pt x="4171" y="608"/>
                  <a:pt x="4171" y="609"/>
                  <a:pt x="4170" y="609"/>
                </a:cubicBezTo>
                <a:cubicBezTo>
                  <a:pt x="4169" y="609"/>
                  <a:pt x="4169" y="609"/>
                  <a:pt x="4169" y="610"/>
                </a:cubicBezTo>
                <a:lnTo>
                  <a:pt x="4169" y="611"/>
                </a:lnTo>
                <a:cubicBezTo>
                  <a:pt x="4169" y="613"/>
                  <a:pt x="4168" y="615"/>
                  <a:pt x="4166" y="617"/>
                </a:cubicBezTo>
                <a:cubicBezTo>
                  <a:pt x="4164" y="620"/>
                  <a:pt x="4163" y="622"/>
                  <a:pt x="4163" y="622"/>
                </a:cubicBezTo>
                <a:lnTo>
                  <a:pt x="4164" y="625"/>
                </a:lnTo>
                <a:cubicBezTo>
                  <a:pt x="4164" y="625"/>
                  <a:pt x="4163" y="627"/>
                  <a:pt x="4161" y="628"/>
                </a:cubicBezTo>
                <a:cubicBezTo>
                  <a:pt x="4160" y="630"/>
                  <a:pt x="4159" y="631"/>
                  <a:pt x="4158" y="632"/>
                </a:cubicBezTo>
                <a:cubicBezTo>
                  <a:pt x="4158" y="632"/>
                  <a:pt x="4158" y="634"/>
                  <a:pt x="4158" y="635"/>
                </a:cubicBezTo>
                <a:cubicBezTo>
                  <a:pt x="4158" y="637"/>
                  <a:pt x="4157" y="637"/>
                  <a:pt x="4156" y="637"/>
                </a:cubicBezTo>
                <a:lnTo>
                  <a:pt x="4154" y="637"/>
                </a:lnTo>
                <a:cubicBezTo>
                  <a:pt x="4154" y="637"/>
                  <a:pt x="4153" y="638"/>
                  <a:pt x="4153" y="639"/>
                </a:cubicBezTo>
                <a:cubicBezTo>
                  <a:pt x="4152" y="640"/>
                  <a:pt x="4152" y="641"/>
                  <a:pt x="4152" y="642"/>
                </a:cubicBezTo>
                <a:cubicBezTo>
                  <a:pt x="4152" y="642"/>
                  <a:pt x="4152" y="642"/>
                  <a:pt x="4152" y="642"/>
                </a:cubicBezTo>
                <a:lnTo>
                  <a:pt x="4154" y="642"/>
                </a:lnTo>
                <a:cubicBezTo>
                  <a:pt x="4154" y="642"/>
                  <a:pt x="4154" y="642"/>
                  <a:pt x="4154" y="642"/>
                </a:cubicBezTo>
                <a:cubicBezTo>
                  <a:pt x="4154" y="644"/>
                  <a:pt x="4153" y="645"/>
                  <a:pt x="4151" y="648"/>
                </a:cubicBezTo>
                <a:lnTo>
                  <a:pt x="4149" y="649"/>
                </a:lnTo>
                <a:cubicBezTo>
                  <a:pt x="4146" y="649"/>
                  <a:pt x="4145" y="650"/>
                  <a:pt x="4145" y="653"/>
                </a:cubicBezTo>
                <a:cubicBezTo>
                  <a:pt x="4145" y="654"/>
                  <a:pt x="4146" y="654"/>
                  <a:pt x="4146" y="654"/>
                </a:cubicBezTo>
                <a:lnTo>
                  <a:pt x="4147" y="653"/>
                </a:lnTo>
                <a:cubicBezTo>
                  <a:pt x="4147" y="653"/>
                  <a:pt x="4148" y="653"/>
                  <a:pt x="4148" y="653"/>
                </a:cubicBezTo>
                <a:cubicBezTo>
                  <a:pt x="4149" y="653"/>
                  <a:pt x="4149" y="653"/>
                  <a:pt x="4149" y="653"/>
                </a:cubicBezTo>
                <a:cubicBezTo>
                  <a:pt x="4149" y="655"/>
                  <a:pt x="4148" y="657"/>
                  <a:pt x="4145" y="659"/>
                </a:cubicBezTo>
                <a:lnTo>
                  <a:pt x="4142" y="660"/>
                </a:lnTo>
                <a:cubicBezTo>
                  <a:pt x="4142" y="660"/>
                  <a:pt x="4141" y="660"/>
                  <a:pt x="4141" y="660"/>
                </a:cubicBezTo>
                <a:cubicBezTo>
                  <a:pt x="4141" y="660"/>
                  <a:pt x="4140" y="660"/>
                  <a:pt x="4138" y="662"/>
                </a:cubicBezTo>
                <a:cubicBezTo>
                  <a:pt x="4137" y="663"/>
                  <a:pt x="4136" y="664"/>
                  <a:pt x="4136" y="665"/>
                </a:cubicBezTo>
                <a:cubicBezTo>
                  <a:pt x="4136" y="666"/>
                  <a:pt x="4137" y="666"/>
                  <a:pt x="4139" y="666"/>
                </a:cubicBezTo>
                <a:lnTo>
                  <a:pt x="4142" y="666"/>
                </a:lnTo>
                <a:cubicBezTo>
                  <a:pt x="4142" y="667"/>
                  <a:pt x="4140" y="667"/>
                  <a:pt x="4137" y="669"/>
                </a:cubicBezTo>
                <a:cubicBezTo>
                  <a:pt x="4135" y="670"/>
                  <a:pt x="4133" y="672"/>
                  <a:pt x="4132" y="675"/>
                </a:cubicBezTo>
                <a:cubicBezTo>
                  <a:pt x="4131" y="679"/>
                  <a:pt x="4129" y="681"/>
                  <a:pt x="4126" y="683"/>
                </a:cubicBezTo>
                <a:cubicBezTo>
                  <a:pt x="4124" y="684"/>
                  <a:pt x="4123" y="685"/>
                  <a:pt x="4123" y="686"/>
                </a:cubicBezTo>
                <a:lnTo>
                  <a:pt x="4123" y="687"/>
                </a:lnTo>
                <a:cubicBezTo>
                  <a:pt x="4123" y="689"/>
                  <a:pt x="4121" y="693"/>
                  <a:pt x="4118" y="699"/>
                </a:cubicBezTo>
                <a:cubicBezTo>
                  <a:pt x="4114" y="708"/>
                  <a:pt x="4111" y="713"/>
                  <a:pt x="4111" y="714"/>
                </a:cubicBezTo>
                <a:cubicBezTo>
                  <a:pt x="4111" y="715"/>
                  <a:pt x="4111" y="716"/>
                  <a:pt x="4111" y="716"/>
                </a:cubicBezTo>
                <a:lnTo>
                  <a:pt x="4109" y="715"/>
                </a:lnTo>
                <a:cubicBezTo>
                  <a:pt x="4108" y="715"/>
                  <a:pt x="4107" y="717"/>
                  <a:pt x="4105" y="720"/>
                </a:cubicBezTo>
                <a:cubicBezTo>
                  <a:pt x="4103" y="723"/>
                  <a:pt x="4102" y="725"/>
                  <a:pt x="4102" y="725"/>
                </a:cubicBezTo>
                <a:cubicBezTo>
                  <a:pt x="4102" y="726"/>
                  <a:pt x="4099" y="730"/>
                  <a:pt x="4093" y="737"/>
                </a:cubicBezTo>
                <a:cubicBezTo>
                  <a:pt x="4074" y="764"/>
                  <a:pt x="4064" y="777"/>
                  <a:pt x="4062" y="777"/>
                </a:cubicBezTo>
                <a:cubicBezTo>
                  <a:pt x="4061" y="777"/>
                  <a:pt x="4061" y="777"/>
                  <a:pt x="4061" y="778"/>
                </a:cubicBezTo>
                <a:lnTo>
                  <a:pt x="4062" y="781"/>
                </a:lnTo>
                <a:cubicBezTo>
                  <a:pt x="4062" y="782"/>
                  <a:pt x="4061" y="783"/>
                  <a:pt x="4060" y="783"/>
                </a:cubicBezTo>
                <a:cubicBezTo>
                  <a:pt x="4059" y="783"/>
                  <a:pt x="4055" y="786"/>
                  <a:pt x="4049" y="792"/>
                </a:cubicBezTo>
                <a:cubicBezTo>
                  <a:pt x="4036" y="804"/>
                  <a:pt x="4024" y="810"/>
                  <a:pt x="4011" y="810"/>
                </a:cubicBezTo>
                <a:close/>
                <a:moveTo>
                  <a:pt x="4069" y="732"/>
                </a:moveTo>
                <a:cubicBezTo>
                  <a:pt x="4070" y="732"/>
                  <a:pt x="4070" y="731"/>
                  <a:pt x="4071" y="731"/>
                </a:cubicBezTo>
                <a:cubicBezTo>
                  <a:pt x="4072" y="730"/>
                  <a:pt x="4073" y="729"/>
                  <a:pt x="4073" y="728"/>
                </a:cubicBezTo>
                <a:cubicBezTo>
                  <a:pt x="4073" y="727"/>
                  <a:pt x="4072" y="727"/>
                  <a:pt x="4072" y="727"/>
                </a:cubicBezTo>
                <a:lnTo>
                  <a:pt x="4071" y="727"/>
                </a:lnTo>
                <a:cubicBezTo>
                  <a:pt x="4069" y="728"/>
                  <a:pt x="4068" y="729"/>
                  <a:pt x="4068" y="730"/>
                </a:cubicBezTo>
                <a:cubicBezTo>
                  <a:pt x="4068" y="731"/>
                  <a:pt x="4069" y="732"/>
                  <a:pt x="4069" y="732"/>
                </a:cubicBezTo>
                <a:close/>
                <a:moveTo>
                  <a:pt x="4046" y="521"/>
                </a:moveTo>
                <a:cubicBezTo>
                  <a:pt x="4048" y="521"/>
                  <a:pt x="4049" y="520"/>
                  <a:pt x="4050" y="518"/>
                </a:cubicBezTo>
                <a:lnTo>
                  <a:pt x="4050" y="517"/>
                </a:lnTo>
                <a:cubicBezTo>
                  <a:pt x="4050" y="515"/>
                  <a:pt x="4049" y="514"/>
                  <a:pt x="4049" y="514"/>
                </a:cubicBezTo>
                <a:cubicBezTo>
                  <a:pt x="4048" y="513"/>
                  <a:pt x="4047" y="513"/>
                  <a:pt x="4047" y="513"/>
                </a:cubicBezTo>
                <a:lnTo>
                  <a:pt x="4047" y="514"/>
                </a:lnTo>
                <a:cubicBezTo>
                  <a:pt x="4047" y="514"/>
                  <a:pt x="4048" y="514"/>
                  <a:pt x="4048" y="515"/>
                </a:cubicBezTo>
                <a:cubicBezTo>
                  <a:pt x="4048" y="516"/>
                  <a:pt x="4047" y="517"/>
                  <a:pt x="4046" y="518"/>
                </a:cubicBezTo>
                <a:lnTo>
                  <a:pt x="4045" y="520"/>
                </a:lnTo>
                <a:cubicBezTo>
                  <a:pt x="4045" y="521"/>
                  <a:pt x="4045" y="521"/>
                  <a:pt x="4046" y="521"/>
                </a:cubicBezTo>
                <a:close/>
                <a:moveTo>
                  <a:pt x="4040" y="546"/>
                </a:moveTo>
                <a:lnTo>
                  <a:pt x="4039" y="544"/>
                </a:lnTo>
                <a:cubicBezTo>
                  <a:pt x="4039" y="543"/>
                  <a:pt x="4040" y="542"/>
                  <a:pt x="4041" y="541"/>
                </a:cubicBezTo>
                <a:cubicBezTo>
                  <a:pt x="4043" y="541"/>
                  <a:pt x="4044" y="539"/>
                  <a:pt x="4044" y="536"/>
                </a:cubicBezTo>
                <a:lnTo>
                  <a:pt x="4044" y="535"/>
                </a:lnTo>
                <a:cubicBezTo>
                  <a:pt x="4043" y="531"/>
                  <a:pt x="4043" y="528"/>
                  <a:pt x="4042" y="528"/>
                </a:cubicBezTo>
                <a:cubicBezTo>
                  <a:pt x="4042" y="528"/>
                  <a:pt x="4041" y="529"/>
                  <a:pt x="4041" y="530"/>
                </a:cubicBezTo>
                <a:cubicBezTo>
                  <a:pt x="4040" y="531"/>
                  <a:pt x="4040" y="532"/>
                  <a:pt x="4040" y="534"/>
                </a:cubicBezTo>
                <a:cubicBezTo>
                  <a:pt x="4040" y="535"/>
                  <a:pt x="4040" y="536"/>
                  <a:pt x="4041" y="537"/>
                </a:cubicBezTo>
                <a:cubicBezTo>
                  <a:pt x="4042" y="538"/>
                  <a:pt x="4042" y="539"/>
                  <a:pt x="4042" y="539"/>
                </a:cubicBezTo>
                <a:lnTo>
                  <a:pt x="4042" y="540"/>
                </a:lnTo>
                <a:lnTo>
                  <a:pt x="4038" y="539"/>
                </a:lnTo>
                <a:cubicBezTo>
                  <a:pt x="4037" y="539"/>
                  <a:pt x="4036" y="540"/>
                  <a:pt x="4036" y="541"/>
                </a:cubicBezTo>
                <a:cubicBezTo>
                  <a:pt x="4036" y="542"/>
                  <a:pt x="4036" y="544"/>
                  <a:pt x="4037" y="545"/>
                </a:cubicBezTo>
                <a:cubicBezTo>
                  <a:pt x="4038" y="546"/>
                  <a:pt x="4039" y="546"/>
                  <a:pt x="4040" y="546"/>
                </a:cubicBezTo>
                <a:close/>
                <a:moveTo>
                  <a:pt x="4025" y="558"/>
                </a:moveTo>
                <a:cubicBezTo>
                  <a:pt x="4026" y="558"/>
                  <a:pt x="4027" y="557"/>
                  <a:pt x="4027" y="556"/>
                </a:cubicBezTo>
                <a:cubicBezTo>
                  <a:pt x="4027" y="554"/>
                  <a:pt x="4027" y="554"/>
                  <a:pt x="4026" y="554"/>
                </a:cubicBezTo>
                <a:cubicBezTo>
                  <a:pt x="4025" y="554"/>
                  <a:pt x="4025" y="554"/>
                  <a:pt x="4024" y="556"/>
                </a:cubicBezTo>
                <a:lnTo>
                  <a:pt x="4024" y="557"/>
                </a:lnTo>
                <a:cubicBezTo>
                  <a:pt x="4024" y="558"/>
                  <a:pt x="4024" y="558"/>
                  <a:pt x="4025" y="558"/>
                </a:cubicBezTo>
                <a:close/>
                <a:moveTo>
                  <a:pt x="4019" y="579"/>
                </a:moveTo>
                <a:cubicBezTo>
                  <a:pt x="4020" y="579"/>
                  <a:pt x="4020" y="578"/>
                  <a:pt x="4021" y="574"/>
                </a:cubicBezTo>
                <a:lnTo>
                  <a:pt x="4021" y="572"/>
                </a:lnTo>
                <a:cubicBezTo>
                  <a:pt x="4021" y="571"/>
                  <a:pt x="4021" y="571"/>
                  <a:pt x="4021" y="571"/>
                </a:cubicBezTo>
                <a:lnTo>
                  <a:pt x="4020" y="571"/>
                </a:lnTo>
                <a:cubicBezTo>
                  <a:pt x="4019" y="572"/>
                  <a:pt x="4019" y="574"/>
                  <a:pt x="4019" y="575"/>
                </a:cubicBezTo>
                <a:cubicBezTo>
                  <a:pt x="4019" y="578"/>
                  <a:pt x="4019" y="579"/>
                  <a:pt x="4019" y="579"/>
                </a:cubicBezTo>
                <a:close/>
                <a:moveTo>
                  <a:pt x="4015" y="595"/>
                </a:moveTo>
                <a:cubicBezTo>
                  <a:pt x="4015" y="595"/>
                  <a:pt x="4016" y="594"/>
                  <a:pt x="4016" y="593"/>
                </a:cubicBezTo>
                <a:lnTo>
                  <a:pt x="4016" y="590"/>
                </a:lnTo>
                <a:cubicBezTo>
                  <a:pt x="4015" y="589"/>
                  <a:pt x="4015" y="589"/>
                  <a:pt x="4015" y="589"/>
                </a:cubicBezTo>
                <a:cubicBezTo>
                  <a:pt x="4014" y="589"/>
                  <a:pt x="4014" y="590"/>
                  <a:pt x="4014" y="591"/>
                </a:cubicBezTo>
                <a:cubicBezTo>
                  <a:pt x="4014" y="593"/>
                  <a:pt x="4015" y="594"/>
                  <a:pt x="4015" y="595"/>
                </a:cubicBezTo>
                <a:close/>
                <a:moveTo>
                  <a:pt x="4007" y="622"/>
                </a:moveTo>
                <a:cubicBezTo>
                  <a:pt x="4009" y="622"/>
                  <a:pt x="4010" y="621"/>
                  <a:pt x="4010" y="617"/>
                </a:cubicBezTo>
                <a:cubicBezTo>
                  <a:pt x="4010" y="615"/>
                  <a:pt x="4010" y="614"/>
                  <a:pt x="4009" y="614"/>
                </a:cubicBezTo>
                <a:cubicBezTo>
                  <a:pt x="4009" y="614"/>
                  <a:pt x="4008" y="614"/>
                  <a:pt x="4007" y="615"/>
                </a:cubicBezTo>
                <a:cubicBezTo>
                  <a:pt x="4006" y="618"/>
                  <a:pt x="4006" y="620"/>
                  <a:pt x="4006" y="620"/>
                </a:cubicBezTo>
                <a:cubicBezTo>
                  <a:pt x="4006" y="622"/>
                  <a:pt x="4006" y="622"/>
                  <a:pt x="4007" y="622"/>
                </a:cubicBezTo>
                <a:close/>
                <a:moveTo>
                  <a:pt x="4006" y="632"/>
                </a:moveTo>
                <a:cubicBezTo>
                  <a:pt x="4007" y="632"/>
                  <a:pt x="4007" y="631"/>
                  <a:pt x="4007" y="630"/>
                </a:cubicBezTo>
                <a:cubicBezTo>
                  <a:pt x="4007" y="628"/>
                  <a:pt x="4007" y="627"/>
                  <a:pt x="4006" y="627"/>
                </a:cubicBezTo>
                <a:cubicBezTo>
                  <a:pt x="4004" y="627"/>
                  <a:pt x="4003" y="628"/>
                  <a:pt x="4003" y="630"/>
                </a:cubicBezTo>
                <a:cubicBezTo>
                  <a:pt x="4003" y="631"/>
                  <a:pt x="4004" y="632"/>
                  <a:pt x="4006" y="632"/>
                </a:cubicBezTo>
                <a:close/>
                <a:moveTo>
                  <a:pt x="4003" y="644"/>
                </a:moveTo>
                <a:cubicBezTo>
                  <a:pt x="4005" y="643"/>
                  <a:pt x="4006" y="642"/>
                  <a:pt x="4006" y="639"/>
                </a:cubicBezTo>
                <a:cubicBezTo>
                  <a:pt x="4006" y="637"/>
                  <a:pt x="4005" y="636"/>
                  <a:pt x="4004" y="636"/>
                </a:cubicBezTo>
                <a:cubicBezTo>
                  <a:pt x="4003" y="636"/>
                  <a:pt x="4002" y="637"/>
                  <a:pt x="4002" y="641"/>
                </a:cubicBezTo>
                <a:lnTo>
                  <a:pt x="4002" y="642"/>
                </a:lnTo>
                <a:cubicBezTo>
                  <a:pt x="4002" y="644"/>
                  <a:pt x="4002" y="644"/>
                  <a:pt x="4003" y="644"/>
                </a:cubicBezTo>
                <a:close/>
                <a:moveTo>
                  <a:pt x="4001" y="655"/>
                </a:moveTo>
                <a:cubicBezTo>
                  <a:pt x="4003" y="655"/>
                  <a:pt x="4003" y="654"/>
                  <a:pt x="4003" y="652"/>
                </a:cubicBezTo>
                <a:cubicBezTo>
                  <a:pt x="4003" y="651"/>
                  <a:pt x="4003" y="650"/>
                  <a:pt x="4001" y="650"/>
                </a:cubicBezTo>
                <a:cubicBezTo>
                  <a:pt x="4000" y="650"/>
                  <a:pt x="3999" y="651"/>
                  <a:pt x="3999" y="652"/>
                </a:cubicBezTo>
                <a:cubicBezTo>
                  <a:pt x="3999" y="654"/>
                  <a:pt x="4000" y="655"/>
                  <a:pt x="4001" y="655"/>
                </a:cubicBezTo>
                <a:close/>
                <a:moveTo>
                  <a:pt x="3999" y="668"/>
                </a:moveTo>
                <a:cubicBezTo>
                  <a:pt x="4000" y="668"/>
                  <a:pt x="4001" y="667"/>
                  <a:pt x="4001" y="666"/>
                </a:cubicBezTo>
                <a:cubicBezTo>
                  <a:pt x="4001" y="664"/>
                  <a:pt x="4000" y="664"/>
                  <a:pt x="3999" y="664"/>
                </a:cubicBezTo>
                <a:cubicBezTo>
                  <a:pt x="3998" y="664"/>
                  <a:pt x="3997" y="664"/>
                  <a:pt x="3997" y="666"/>
                </a:cubicBezTo>
                <a:cubicBezTo>
                  <a:pt x="3997" y="667"/>
                  <a:pt x="3998" y="668"/>
                  <a:pt x="3999" y="668"/>
                </a:cubicBezTo>
                <a:close/>
                <a:moveTo>
                  <a:pt x="3995" y="685"/>
                </a:moveTo>
                <a:cubicBezTo>
                  <a:pt x="3996" y="685"/>
                  <a:pt x="3997" y="684"/>
                  <a:pt x="3998" y="683"/>
                </a:cubicBezTo>
                <a:cubicBezTo>
                  <a:pt x="3998" y="681"/>
                  <a:pt x="3999" y="680"/>
                  <a:pt x="3999" y="678"/>
                </a:cubicBezTo>
                <a:cubicBezTo>
                  <a:pt x="3999" y="676"/>
                  <a:pt x="3998" y="676"/>
                  <a:pt x="3998" y="676"/>
                </a:cubicBezTo>
                <a:lnTo>
                  <a:pt x="3997" y="676"/>
                </a:lnTo>
                <a:cubicBezTo>
                  <a:pt x="3995" y="677"/>
                  <a:pt x="3995" y="679"/>
                  <a:pt x="3995" y="683"/>
                </a:cubicBezTo>
                <a:cubicBezTo>
                  <a:pt x="3995" y="684"/>
                  <a:pt x="3995" y="685"/>
                  <a:pt x="3995" y="685"/>
                </a:cubicBezTo>
                <a:close/>
                <a:moveTo>
                  <a:pt x="3993" y="719"/>
                </a:moveTo>
                <a:cubicBezTo>
                  <a:pt x="3994" y="719"/>
                  <a:pt x="3995" y="716"/>
                  <a:pt x="3995" y="710"/>
                </a:cubicBezTo>
                <a:cubicBezTo>
                  <a:pt x="3995" y="705"/>
                  <a:pt x="3994" y="703"/>
                  <a:pt x="3993" y="703"/>
                </a:cubicBezTo>
                <a:cubicBezTo>
                  <a:pt x="3993" y="703"/>
                  <a:pt x="3993" y="706"/>
                  <a:pt x="3992" y="711"/>
                </a:cubicBezTo>
                <a:lnTo>
                  <a:pt x="3992" y="714"/>
                </a:lnTo>
                <a:cubicBezTo>
                  <a:pt x="3992" y="716"/>
                  <a:pt x="3992" y="717"/>
                  <a:pt x="3992" y="717"/>
                </a:cubicBezTo>
                <a:cubicBezTo>
                  <a:pt x="3992" y="717"/>
                  <a:pt x="3992" y="718"/>
                  <a:pt x="3993" y="719"/>
                </a:cubicBezTo>
                <a:close/>
                <a:moveTo>
                  <a:pt x="3995" y="700"/>
                </a:moveTo>
                <a:cubicBezTo>
                  <a:pt x="3997" y="700"/>
                  <a:pt x="3997" y="698"/>
                  <a:pt x="3997" y="694"/>
                </a:cubicBezTo>
                <a:cubicBezTo>
                  <a:pt x="3997" y="691"/>
                  <a:pt x="3997" y="689"/>
                  <a:pt x="3995" y="689"/>
                </a:cubicBezTo>
                <a:lnTo>
                  <a:pt x="3995" y="690"/>
                </a:lnTo>
                <a:cubicBezTo>
                  <a:pt x="3994" y="691"/>
                  <a:pt x="3994" y="691"/>
                  <a:pt x="3994" y="693"/>
                </a:cubicBezTo>
                <a:cubicBezTo>
                  <a:pt x="3993" y="694"/>
                  <a:pt x="3993" y="695"/>
                  <a:pt x="3993" y="696"/>
                </a:cubicBezTo>
                <a:cubicBezTo>
                  <a:pt x="3993" y="697"/>
                  <a:pt x="3993" y="698"/>
                  <a:pt x="3993" y="698"/>
                </a:cubicBezTo>
                <a:cubicBezTo>
                  <a:pt x="3993" y="699"/>
                  <a:pt x="3994" y="700"/>
                  <a:pt x="3995" y="700"/>
                </a:cubicBezTo>
                <a:close/>
                <a:moveTo>
                  <a:pt x="3999" y="803"/>
                </a:moveTo>
                <a:cubicBezTo>
                  <a:pt x="4001" y="803"/>
                  <a:pt x="4002" y="803"/>
                  <a:pt x="4002" y="803"/>
                </a:cubicBezTo>
                <a:lnTo>
                  <a:pt x="4002" y="802"/>
                </a:lnTo>
                <a:cubicBezTo>
                  <a:pt x="4000" y="801"/>
                  <a:pt x="4000" y="801"/>
                  <a:pt x="4000" y="800"/>
                </a:cubicBezTo>
                <a:cubicBezTo>
                  <a:pt x="4000" y="800"/>
                  <a:pt x="4000" y="799"/>
                  <a:pt x="4002" y="797"/>
                </a:cubicBezTo>
                <a:cubicBezTo>
                  <a:pt x="4003" y="796"/>
                  <a:pt x="4003" y="795"/>
                  <a:pt x="4003" y="795"/>
                </a:cubicBezTo>
                <a:cubicBezTo>
                  <a:pt x="4002" y="795"/>
                  <a:pt x="4001" y="795"/>
                  <a:pt x="4000" y="796"/>
                </a:cubicBezTo>
                <a:cubicBezTo>
                  <a:pt x="3998" y="798"/>
                  <a:pt x="3997" y="799"/>
                  <a:pt x="3996" y="800"/>
                </a:cubicBezTo>
                <a:cubicBezTo>
                  <a:pt x="3995" y="801"/>
                  <a:pt x="3995" y="801"/>
                  <a:pt x="3995" y="802"/>
                </a:cubicBezTo>
                <a:cubicBezTo>
                  <a:pt x="3995" y="803"/>
                  <a:pt x="3996" y="803"/>
                  <a:pt x="3999" y="803"/>
                </a:cubicBezTo>
                <a:close/>
                <a:moveTo>
                  <a:pt x="3998" y="776"/>
                </a:moveTo>
                <a:cubicBezTo>
                  <a:pt x="3999" y="776"/>
                  <a:pt x="4000" y="774"/>
                  <a:pt x="4000" y="771"/>
                </a:cubicBezTo>
                <a:lnTo>
                  <a:pt x="4000" y="769"/>
                </a:lnTo>
                <a:cubicBezTo>
                  <a:pt x="4000" y="764"/>
                  <a:pt x="4000" y="762"/>
                  <a:pt x="4001" y="762"/>
                </a:cubicBezTo>
                <a:cubicBezTo>
                  <a:pt x="4002" y="762"/>
                  <a:pt x="4003" y="762"/>
                  <a:pt x="4003" y="762"/>
                </a:cubicBezTo>
                <a:cubicBezTo>
                  <a:pt x="4003" y="762"/>
                  <a:pt x="4002" y="761"/>
                  <a:pt x="4001" y="760"/>
                </a:cubicBezTo>
                <a:cubicBezTo>
                  <a:pt x="4000" y="759"/>
                  <a:pt x="3999" y="759"/>
                  <a:pt x="3999" y="758"/>
                </a:cubicBezTo>
                <a:cubicBezTo>
                  <a:pt x="3999" y="758"/>
                  <a:pt x="4000" y="758"/>
                  <a:pt x="4003" y="757"/>
                </a:cubicBezTo>
                <a:cubicBezTo>
                  <a:pt x="4005" y="757"/>
                  <a:pt x="4006" y="757"/>
                  <a:pt x="4006" y="757"/>
                </a:cubicBezTo>
                <a:lnTo>
                  <a:pt x="4002" y="755"/>
                </a:lnTo>
                <a:cubicBezTo>
                  <a:pt x="4001" y="754"/>
                  <a:pt x="4000" y="754"/>
                  <a:pt x="4000" y="754"/>
                </a:cubicBezTo>
                <a:cubicBezTo>
                  <a:pt x="4000" y="754"/>
                  <a:pt x="4001" y="753"/>
                  <a:pt x="4002" y="753"/>
                </a:cubicBezTo>
                <a:cubicBezTo>
                  <a:pt x="4004" y="753"/>
                  <a:pt x="4005" y="750"/>
                  <a:pt x="4005" y="742"/>
                </a:cubicBezTo>
                <a:cubicBezTo>
                  <a:pt x="4005" y="734"/>
                  <a:pt x="4006" y="726"/>
                  <a:pt x="4008" y="717"/>
                </a:cubicBezTo>
                <a:lnTo>
                  <a:pt x="4013" y="684"/>
                </a:lnTo>
                <a:cubicBezTo>
                  <a:pt x="4013" y="680"/>
                  <a:pt x="4013" y="679"/>
                  <a:pt x="4014" y="679"/>
                </a:cubicBezTo>
                <a:cubicBezTo>
                  <a:pt x="4014" y="679"/>
                  <a:pt x="4015" y="678"/>
                  <a:pt x="4015" y="676"/>
                </a:cubicBezTo>
                <a:cubicBezTo>
                  <a:pt x="4015" y="675"/>
                  <a:pt x="4015" y="674"/>
                  <a:pt x="4015" y="672"/>
                </a:cubicBezTo>
                <a:lnTo>
                  <a:pt x="4016" y="665"/>
                </a:lnTo>
                <a:cubicBezTo>
                  <a:pt x="4016" y="665"/>
                  <a:pt x="4017" y="662"/>
                  <a:pt x="4018" y="656"/>
                </a:cubicBezTo>
                <a:cubicBezTo>
                  <a:pt x="4018" y="650"/>
                  <a:pt x="4019" y="646"/>
                  <a:pt x="4020" y="644"/>
                </a:cubicBezTo>
                <a:cubicBezTo>
                  <a:pt x="4021" y="640"/>
                  <a:pt x="4021" y="637"/>
                  <a:pt x="4021" y="634"/>
                </a:cubicBezTo>
                <a:lnTo>
                  <a:pt x="4021" y="633"/>
                </a:lnTo>
                <a:cubicBezTo>
                  <a:pt x="4021" y="631"/>
                  <a:pt x="4022" y="630"/>
                  <a:pt x="4023" y="630"/>
                </a:cubicBezTo>
                <a:cubicBezTo>
                  <a:pt x="4024" y="630"/>
                  <a:pt x="4024" y="629"/>
                  <a:pt x="4024" y="628"/>
                </a:cubicBezTo>
                <a:cubicBezTo>
                  <a:pt x="4024" y="628"/>
                  <a:pt x="4024" y="627"/>
                  <a:pt x="4024" y="627"/>
                </a:cubicBezTo>
                <a:cubicBezTo>
                  <a:pt x="4024" y="626"/>
                  <a:pt x="4023" y="625"/>
                  <a:pt x="4022" y="625"/>
                </a:cubicBezTo>
                <a:lnTo>
                  <a:pt x="4020" y="626"/>
                </a:lnTo>
                <a:cubicBezTo>
                  <a:pt x="4020" y="626"/>
                  <a:pt x="4019" y="626"/>
                  <a:pt x="4019" y="625"/>
                </a:cubicBezTo>
                <a:cubicBezTo>
                  <a:pt x="4019" y="624"/>
                  <a:pt x="4020" y="622"/>
                  <a:pt x="4021" y="621"/>
                </a:cubicBezTo>
                <a:cubicBezTo>
                  <a:pt x="4023" y="620"/>
                  <a:pt x="4024" y="620"/>
                  <a:pt x="4025" y="620"/>
                </a:cubicBezTo>
                <a:cubicBezTo>
                  <a:pt x="4026" y="620"/>
                  <a:pt x="4027" y="620"/>
                  <a:pt x="4027" y="619"/>
                </a:cubicBezTo>
                <a:cubicBezTo>
                  <a:pt x="4027" y="619"/>
                  <a:pt x="4026" y="619"/>
                  <a:pt x="4025" y="618"/>
                </a:cubicBezTo>
                <a:cubicBezTo>
                  <a:pt x="4024" y="617"/>
                  <a:pt x="4024" y="615"/>
                  <a:pt x="4024" y="611"/>
                </a:cubicBezTo>
                <a:cubicBezTo>
                  <a:pt x="4024" y="605"/>
                  <a:pt x="4025" y="603"/>
                  <a:pt x="4026" y="603"/>
                </a:cubicBezTo>
                <a:lnTo>
                  <a:pt x="4028" y="603"/>
                </a:lnTo>
                <a:lnTo>
                  <a:pt x="4029" y="603"/>
                </a:lnTo>
                <a:cubicBezTo>
                  <a:pt x="4029" y="602"/>
                  <a:pt x="4028" y="601"/>
                  <a:pt x="4027" y="599"/>
                </a:cubicBezTo>
                <a:cubicBezTo>
                  <a:pt x="4027" y="598"/>
                  <a:pt x="4026" y="597"/>
                  <a:pt x="4026" y="596"/>
                </a:cubicBezTo>
                <a:cubicBezTo>
                  <a:pt x="4026" y="595"/>
                  <a:pt x="4027" y="595"/>
                  <a:pt x="4028" y="595"/>
                </a:cubicBezTo>
                <a:cubicBezTo>
                  <a:pt x="4029" y="595"/>
                  <a:pt x="4029" y="594"/>
                  <a:pt x="4029" y="593"/>
                </a:cubicBezTo>
                <a:lnTo>
                  <a:pt x="4029" y="588"/>
                </a:lnTo>
                <a:cubicBezTo>
                  <a:pt x="4029" y="586"/>
                  <a:pt x="4029" y="585"/>
                  <a:pt x="4030" y="585"/>
                </a:cubicBezTo>
                <a:cubicBezTo>
                  <a:pt x="4031" y="585"/>
                  <a:pt x="4031" y="585"/>
                  <a:pt x="4031" y="583"/>
                </a:cubicBezTo>
                <a:cubicBezTo>
                  <a:pt x="4031" y="582"/>
                  <a:pt x="4031" y="580"/>
                  <a:pt x="4030" y="579"/>
                </a:cubicBezTo>
                <a:cubicBezTo>
                  <a:pt x="4030" y="577"/>
                  <a:pt x="4030" y="576"/>
                  <a:pt x="4030" y="575"/>
                </a:cubicBezTo>
                <a:lnTo>
                  <a:pt x="4030" y="575"/>
                </a:lnTo>
                <a:cubicBezTo>
                  <a:pt x="4031" y="575"/>
                  <a:pt x="4032" y="576"/>
                  <a:pt x="4033" y="577"/>
                </a:cubicBezTo>
                <a:lnTo>
                  <a:pt x="4036" y="579"/>
                </a:lnTo>
                <a:cubicBezTo>
                  <a:pt x="4036" y="579"/>
                  <a:pt x="4035" y="578"/>
                  <a:pt x="4034" y="576"/>
                </a:cubicBezTo>
                <a:cubicBezTo>
                  <a:pt x="4034" y="575"/>
                  <a:pt x="4033" y="573"/>
                  <a:pt x="4033" y="571"/>
                </a:cubicBezTo>
                <a:cubicBezTo>
                  <a:pt x="4033" y="569"/>
                  <a:pt x="4034" y="566"/>
                  <a:pt x="4035" y="561"/>
                </a:cubicBezTo>
                <a:cubicBezTo>
                  <a:pt x="4036" y="557"/>
                  <a:pt x="4036" y="554"/>
                  <a:pt x="4036" y="552"/>
                </a:cubicBezTo>
                <a:cubicBezTo>
                  <a:pt x="4036" y="551"/>
                  <a:pt x="4036" y="550"/>
                  <a:pt x="4035" y="550"/>
                </a:cubicBezTo>
                <a:cubicBezTo>
                  <a:pt x="4035" y="550"/>
                  <a:pt x="4034" y="550"/>
                  <a:pt x="4034" y="551"/>
                </a:cubicBezTo>
                <a:cubicBezTo>
                  <a:pt x="4033" y="553"/>
                  <a:pt x="4032" y="554"/>
                  <a:pt x="4032" y="556"/>
                </a:cubicBezTo>
                <a:cubicBezTo>
                  <a:pt x="4032" y="557"/>
                  <a:pt x="4032" y="559"/>
                  <a:pt x="4031" y="560"/>
                </a:cubicBezTo>
                <a:cubicBezTo>
                  <a:pt x="4031" y="561"/>
                  <a:pt x="4030" y="562"/>
                  <a:pt x="4030" y="563"/>
                </a:cubicBezTo>
                <a:cubicBezTo>
                  <a:pt x="4026" y="566"/>
                  <a:pt x="4021" y="581"/>
                  <a:pt x="4016" y="607"/>
                </a:cubicBezTo>
                <a:cubicBezTo>
                  <a:pt x="4011" y="634"/>
                  <a:pt x="4007" y="663"/>
                  <a:pt x="4002" y="694"/>
                </a:cubicBezTo>
                <a:cubicBezTo>
                  <a:pt x="3998" y="725"/>
                  <a:pt x="3996" y="748"/>
                  <a:pt x="3996" y="763"/>
                </a:cubicBezTo>
                <a:cubicBezTo>
                  <a:pt x="3996" y="772"/>
                  <a:pt x="3997" y="776"/>
                  <a:pt x="3998" y="776"/>
                </a:cubicBezTo>
                <a:close/>
                <a:moveTo>
                  <a:pt x="4011" y="783"/>
                </a:moveTo>
                <a:cubicBezTo>
                  <a:pt x="4012" y="783"/>
                  <a:pt x="4012" y="780"/>
                  <a:pt x="4012" y="774"/>
                </a:cubicBezTo>
                <a:lnTo>
                  <a:pt x="4012" y="770"/>
                </a:lnTo>
                <a:cubicBezTo>
                  <a:pt x="4012" y="767"/>
                  <a:pt x="4012" y="764"/>
                  <a:pt x="4013" y="763"/>
                </a:cubicBezTo>
                <a:cubicBezTo>
                  <a:pt x="4013" y="762"/>
                  <a:pt x="4013" y="762"/>
                  <a:pt x="4013" y="761"/>
                </a:cubicBezTo>
                <a:cubicBezTo>
                  <a:pt x="4013" y="760"/>
                  <a:pt x="4013" y="760"/>
                  <a:pt x="4012" y="760"/>
                </a:cubicBezTo>
                <a:cubicBezTo>
                  <a:pt x="4011" y="760"/>
                  <a:pt x="4010" y="758"/>
                  <a:pt x="4009" y="755"/>
                </a:cubicBezTo>
                <a:lnTo>
                  <a:pt x="4008" y="753"/>
                </a:lnTo>
                <a:cubicBezTo>
                  <a:pt x="4008" y="753"/>
                  <a:pt x="4008" y="756"/>
                  <a:pt x="4008" y="762"/>
                </a:cubicBezTo>
                <a:cubicBezTo>
                  <a:pt x="4008" y="769"/>
                  <a:pt x="4008" y="775"/>
                  <a:pt x="4010" y="780"/>
                </a:cubicBezTo>
                <a:lnTo>
                  <a:pt x="4011" y="783"/>
                </a:lnTo>
                <a:close/>
                <a:moveTo>
                  <a:pt x="4023" y="805"/>
                </a:moveTo>
                <a:lnTo>
                  <a:pt x="4032" y="804"/>
                </a:lnTo>
                <a:lnTo>
                  <a:pt x="4032" y="803"/>
                </a:lnTo>
                <a:cubicBezTo>
                  <a:pt x="4032" y="803"/>
                  <a:pt x="4031" y="802"/>
                  <a:pt x="4029" y="800"/>
                </a:cubicBezTo>
                <a:cubicBezTo>
                  <a:pt x="4027" y="799"/>
                  <a:pt x="4025" y="798"/>
                  <a:pt x="4024" y="798"/>
                </a:cubicBezTo>
                <a:cubicBezTo>
                  <a:pt x="4023" y="798"/>
                  <a:pt x="4022" y="799"/>
                  <a:pt x="4020" y="799"/>
                </a:cubicBezTo>
                <a:cubicBezTo>
                  <a:pt x="4018" y="801"/>
                  <a:pt x="4017" y="802"/>
                  <a:pt x="4017" y="803"/>
                </a:cubicBezTo>
                <a:cubicBezTo>
                  <a:pt x="4017" y="804"/>
                  <a:pt x="4019" y="805"/>
                  <a:pt x="4023" y="805"/>
                </a:cubicBezTo>
                <a:close/>
                <a:moveTo>
                  <a:pt x="4170" y="565"/>
                </a:moveTo>
                <a:cubicBezTo>
                  <a:pt x="4172" y="565"/>
                  <a:pt x="4173" y="564"/>
                  <a:pt x="4173" y="563"/>
                </a:cubicBezTo>
                <a:cubicBezTo>
                  <a:pt x="4173" y="561"/>
                  <a:pt x="4173" y="561"/>
                  <a:pt x="4172" y="561"/>
                </a:cubicBezTo>
                <a:cubicBezTo>
                  <a:pt x="4171" y="561"/>
                  <a:pt x="4171" y="561"/>
                  <a:pt x="4170" y="562"/>
                </a:cubicBezTo>
                <a:cubicBezTo>
                  <a:pt x="4170" y="563"/>
                  <a:pt x="4169" y="563"/>
                  <a:pt x="4169" y="564"/>
                </a:cubicBezTo>
                <a:cubicBezTo>
                  <a:pt x="4169" y="565"/>
                  <a:pt x="4170" y="565"/>
                  <a:pt x="4170" y="565"/>
                </a:cubicBezTo>
                <a:close/>
                <a:moveTo>
                  <a:pt x="4200" y="491"/>
                </a:moveTo>
                <a:lnTo>
                  <a:pt x="4201" y="490"/>
                </a:lnTo>
                <a:cubicBezTo>
                  <a:pt x="4201" y="489"/>
                  <a:pt x="4200" y="488"/>
                  <a:pt x="4199" y="487"/>
                </a:cubicBezTo>
                <a:cubicBezTo>
                  <a:pt x="4198" y="485"/>
                  <a:pt x="4198" y="485"/>
                  <a:pt x="4197" y="485"/>
                </a:cubicBezTo>
                <a:lnTo>
                  <a:pt x="4197" y="485"/>
                </a:lnTo>
                <a:cubicBezTo>
                  <a:pt x="4197" y="486"/>
                  <a:pt x="4198" y="487"/>
                  <a:pt x="4198" y="488"/>
                </a:cubicBezTo>
                <a:cubicBezTo>
                  <a:pt x="4199" y="490"/>
                  <a:pt x="4199" y="491"/>
                  <a:pt x="4200" y="491"/>
                </a:cubicBezTo>
                <a:close/>
                <a:moveTo>
                  <a:pt x="4206" y="533"/>
                </a:moveTo>
                <a:cubicBezTo>
                  <a:pt x="4206" y="533"/>
                  <a:pt x="4207" y="532"/>
                  <a:pt x="4208" y="529"/>
                </a:cubicBezTo>
                <a:lnTo>
                  <a:pt x="4209" y="527"/>
                </a:lnTo>
                <a:cubicBezTo>
                  <a:pt x="4209" y="527"/>
                  <a:pt x="4208" y="527"/>
                  <a:pt x="4208" y="527"/>
                </a:cubicBezTo>
                <a:lnTo>
                  <a:pt x="4208" y="527"/>
                </a:lnTo>
                <a:cubicBezTo>
                  <a:pt x="4207" y="528"/>
                  <a:pt x="4206" y="528"/>
                  <a:pt x="4206" y="529"/>
                </a:cubicBezTo>
                <a:cubicBezTo>
                  <a:pt x="4206" y="529"/>
                  <a:pt x="4205" y="530"/>
                  <a:pt x="4205" y="531"/>
                </a:cubicBezTo>
                <a:cubicBezTo>
                  <a:pt x="4205" y="532"/>
                  <a:pt x="4206" y="533"/>
                  <a:pt x="4206" y="533"/>
                </a:cubicBezTo>
                <a:close/>
                <a:moveTo>
                  <a:pt x="4208" y="501"/>
                </a:moveTo>
                <a:lnTo>
                  <a:pt x="4211" y="497"/>
                </a:lnTo>
                <a:cubicBezTo>
                  <a:pt x="4213" y="495"/>
                  <a:pt x="4214" y="492"/>
                  <a:pt x="4214" y="491"/>
                </a:cubicBezTo>
                <a:cubicBezTo>
                  <a:pt x="4214" y="490"/>
                  <a:pt x="4214" y="490"/>
                  <a:pt x="4213" y="490"/>
                </a:cubicBezTo>
                <a:cubicBezTo>
                  <a:pt x="4213" y="490"/>
                  <a:pt x="4212" y="492"/>
                  <a:pt x="4210" y="497"/>
                </a:cubicBezTo>
                <a:lnTo>
                  <a:pt x="4208" y="500"/>
                </a:lnTo>
                <a:lnTo>
                  <a:pt x="4208" y="501"/>
                </a:lnTo>
                <a:close/>
                <a:moveTo>
                  <a:pt x="4213" y="516"/>
                </a:moveTo>
                <a:cubicBezTo>
                  <a:pt x="4214" y="516"/>
                  <a:pt x="4214" y="515"/>
                  <a:pt x="4215" y="512"/>
                </a:cubicBezTo>
                <a:cubicBezTo>
                  <a:pt x="4215" y="510"/>
                  <a:pt x="4215" y="508"/>
                  <a:pt x="4217" y="506"/>
                </a:cubicBezTo>
                <a:cubicBezTo>
                  <a:pt x="4218" y="504"/>
                  <a:pt x="4221" y="497"/>
                  <a:pt x="4225" y="486"/>
                </a:cubicBezTo>
                <a:cubicBezTo>
                  <a:pt x="4235" y="459"/>
                  <a:pt x="4243" y="435"/>
                  <a:pt x="4250" y="414"/>
                </a:cubicBezTo>
                <a:cubicBezTo>
                  <a:pt x="4253" y="402"/>
                  <a:pt x="4256" y="392"/>
                  <a:pt x="4258" y="382"/>
                </a:cubicBezTo>
                <a:cubicBezTo>
                  <a:pt x="4261" y="372"/>
                  <a:pt x="4262" y="365"/>
                  <a:pt x="4262" y="362"/>
                </a:cubicBezTo>
                <a:cubicBezTo>
                  <a:pt x="4262" y="360"/>
                  <a:pt x="4261" y="360"/>
                  <a:pt x="4261" y="360"/>
                </a:cubicBezTo>
                <a:cubicBezTo>
                  <a:pt x="4261" y="360"/>
                  <a:pt x="4260" y="360"/>
                  <a:pt x="4259" y="362"/>
                </a:cubicBezTo>
                <a:cubicBezTo>
                  <a:pt x="4258" y="363"/>
                  <a:pt x="4258" y="365"/>
                  <a:pt x="4258" y="367"/>
                </a:cubicBezTo>
                <a:lnTo>
                  <a:pt x="4258" y="371"/>
                </a:lnTo>
                <a:cubicBezTo>
                  <a:pt x="4258" y="372"/>
                  <a:pt x="4258" y="373"/>
                  <a:pt x="4257" y="374"/>
                </a:cubicBezTo>
                <a:cubicBezTo>
                  <a:pt x="4256" y="375"/>
                  <a:pt x="4256" y="375"/>
                  <a:pt x="4256" y="376"/>
                </a:cubicBezTo>
                <a:lnTo>
                  <a:pt x="4256" y="378"/>
                </a:lnTo>
                <a:cubicBezTo>
                  <a:pt x="4256" y="379"/>
                  <a:pt x="4256" y="379"/>
                  <a:pt x="4255" y="379"/>
                </a:cubicBezTo>
                <a:cubicBezTo>
                  <a:pt x="4254" y="379"/>
                  <a:pt x="4254" y="380"/>
                  <a:pt x="4254" y="382"/>
                </a:cubicBezTo>
                <a:lnTo>
                  <a:pt x="4254" y="387"/>
                </a:lnTo>
                <a:cubicBezTo>
                  <a:pt x="4254" y="388"/>
                  <a:pt x="4254" y="389"/>
                  <a:pt x="4253" y="390"/>
                </a:cubicBezTo>
                <a:cubicBezTo>
                  <a:pt x="4252" y="391"/>
                  <a:pt x="4251" y="393"/>
                  <a:pt x="4250" y="397"/>
                </a:cubicBezTo>
                <a:cubicBezTo>
                  <a:pt x="4249" y="401"/>
                  <a:pt x="4247" y="407"/>
                  <a:pt x="4244" y="416"/>
                </a:cubicBezTo>
                <a:cubicBezTo>
                  <a:pt x="4236" y="438"/>
                  <a:pt x="4230" y="452"/>
                  <a:pt x="4228" y="456"/>
                </a:cubicBezTo>
                <a:cubicBezTo>
                  <a:pt x="4226" y="457"/>
                  <a:pt x="4226" y="458"/>
                  <a:pt x="4226" y="459"/>
                </a:cubicBezTo>
                <a:cubicBezTo>
                  <a:pt x="4226" y="460"/>
                  <a:pt x="4226" y="460"/>
                  <a:pt x="4228" y="461"/>
                </a:cubicBezTo>
                <a:cubicBezTo>
                  <a:pt x="4229" y="462"/>
                  <a:pt x="4229" y="463"/>
                  <a:pt x="4229" y="464"/>
                </a:cubicBezTo>
                <a:cubicBezTo>
                  <a:pt x="4229" y="465"/>
                  <a:pt x="4229" y="465"/>
                  <a:pt x="4227" y="466"/>
                </a:cubicBezTo>
                <a:cubicBezTo>
                  <a:pt x="4227" y="466"/>
                  <a:pt x="4226" y="465"/>
                  <a:pt x="4226" y="465"/>
                </a:cubicBezTo>
                <a:cubicBezTo>
                  <a:pt x="4225" y="465"/>
                  <a:pt x="4225" y="465"/>
                  <a:pt x="4224" y="465"/>
                </a:cubicBezTo>
                <a:cubicBezTo>
                  <a:pt x="4223" y="465"/>
                  <a:pt x="4223" y="465"/>
                  <a:pt x="4223" y="466"/>
                </a:cubicBezTo>
                <a:cubicBezTo>
                  <a:pt x="4222" y="472"/>
                  <a:pt x="4220" y="477"/>
                  <a:pt x="4217" y="480"/>
                </a:cubicBezTo>
                <a:cubicBezTo>
                  <a:pt x="4215" y="482"/>
                  <a:pt x="4215" y="484"/>
                  <a:pt x="4215" y="485"/>
                </a:cubicBezTo>
                <a:cubicBezTo>
                  <a:pt x="4215" y="486"/>
                  <a:pt x="4215" y="487"/>
                  <a:pt x="4215" y="487"/>
                </a:cubicBezTo>
                <a:cubicBezTo>
                  <a:pt x="4216" y="487"/>
                  <a:pt x="4216" y="486"/>
                  <a:pt x="4216" y="485"/>
                </a:cubicBezTo>
                <a:cubicBezTo>
                  <a:pt x="4216" y="484"/>
                  <a:pt x="4216" y="483"/>
                  <a:pt x="4217" y="483"/>
                </a:cubicBezTo>
                <a:lnTo>
                  <a:pt x="4220" y="484"/>
                </a:lnTo>
                <a:lnTo>
                  <a:pt x="4220" y="482"/>
                </a:lnTo>
                <a:cubicBezTo>
                  <a:pt x="4220" y="481"/>
                  <a:pt x="4220" y="480"/>
                  <a:pt x="4222" y="478"/>
                </a:cubicBezTo>
                <a:cubicBezTo>
                  <a:pt x="4223" y="477"/>
                  <a:pt x="4224" y="476"/>
                  <a:pt x="4225" y="476"/>
                </a:cubicBezTo>
                <a:lnTo>
                  <a:pt x="4225" y="477"/>
                </a:lnTo>
                <a:cubicBezTo>
                  <a:pt x="4225" y="478"/>
                  <a:pt x="4224" y="480"/>
                  <a:pt x="4222" y="485"/>
                </a:cubicBezTo>
                <a:cubicBezTo>
                  <a:pt x="4221" y="489"/>
                  <a:pt x="4220" y="491"/>
                  <a:pt x="4219" y="491"/>
                </a:cubicBezTo>
                <a:cubicBezTo>
                  <a:pt x="4218" y="491"/>
                  <a:pt x="4217" y="493"/>
                  <a:pt x="4217" y="498"/>
                </a:cubicBezTo>
                <a:cubicBezTo>
                  <a:pt x="4216" y="502"/>
                  <a:pt x="4215" y="505"/>
                  <a:pt x="4214" y="507"/>
                </a:cubicBezTo>
                <a:cubicBezTo>
                  <a:pt x="4213" y="508"/>
                  <a:pt x="4212" y="511"/>
                  <a:pt x="4212" y="513"/>
                </a:cubicBezTo>
                <a:cubicBezTo>
                  <a:pt x="4212" y="515"/>
                  <a:pt x="4212" y="516"/>
                  <a:pt x="4213" y="516"/>
                </a:cubicBezTo>
                <a:close/>
                <a:moveTo>
                  <a:pt x="3987" y="757"/>
                </a:moveTo>
                <a:cubicBezTo>
                  <a:pt x="3985" y="757"/>
                  <a:pt x="3985" y="757"/>
                  <a:pt x="3985" y="757"/>
                </a:cubicBezTo>
                <a:lnTo>
                  <a:pt x="3985" y="756"/>
                </a:lnTo>
                <a:lnTo>
                  <a:pt x="3988" y="755"/>
                </a:lnTo>
                <a:cubicBezTo>
                  <a:pt x="3989" y="755"/>
                  <a:pt x="3990" y="756"/>
                  <a:pt x="3990" y="756"/>
                </a:cubicBezTo>
                <a:cubicBezTo>
                  <a:pt x="3990" y="757"/>
                  <a:pt x="3989" y="757"/>
                  <a:pt x="3987" y="757"/>
                </a:cubicBezTo>
                <a:close/>
                <a:moveTo>
                  <a:pt x="4082" y="707"/>
                </a:moveTo>
                <a:cubicBezTo>
                  <a:pt x="4080" y="707"/>
                  <a:pt x="4079" y="706"/>
                  <a:pt x="4079" y="705"/>
                </a:cubicBezTo>
                <a:cubicBezTo>
                  <a:pt x="4079" y="703"/>
                  <a:pt x="4080" y="703"/>
                  <a:pt x="4082" y="703"/>
                </a:cubicBezTo>
                <a:cubicBezTo>
                  <a:pt x="4083" y="703"/>
                  <a:pt x="4084" y="703"/>
                  <a:pt x="4084" y="705"/>
                </a:cubicBezTo>
                <a:cubicBezTo>
                  <a:pt x="4084" y="706"/>
                  <a:pt x="4083" y="707"/>
                  <a:pt x="4082" y="707"/>
                </a:cubicBezTo>
                <a:close/>
                <a:moveTo>
                  <a:pt x="4087" y="677"/>
                </a:moveTo>
                <a:lnTo>
                  <a:pt x="4087" y="676"/>
                </a:lnTo>
                <a:cubicBezTo>
                  <a:pt x="4087" y="675"/>
                  <a:pt x="4089" y="672"/>
                  <a:pt x="4092" y="667"/>
                </a:cubicBezTo>
                <a:lnTo>
                  <a:pt x="4094" y="666"/>
                </a:lnTo>
                <a:lnTo>
                  <a:pt x="4094" y="666"/>
                </a:lnTo>
                <a:cubicBezTo>
                  <a:pt x="4094" y="668"/>
                  <a:pt x="4093" y="670"/>
                  <a:pt x="4090" y="674"/>
                </a:cubicBezTo>
                <a:cubicBezTo>
                  <a:pt x="4089" y="676"/>
                  <a:pt x="4088" y="677"/>
                  <a:pt x="4087" y="677"/>
                </a:cubicBezTo>
                <a:close/>
                <a:moveTo>
                  <a:pt x="4171" y="515"/>
                </a:moveTo>
                <a:lnTo>
                  <a:pt x="4172" y="511"/>
                </a:lnTo>
                <a:cubicBezTo>
                  <a:pt x="4173" y="509"/>
                  <a:pt x="4174" y="508"/>
                  <a:pt x="4176" y="508"/>
                </a:cubicBezTo>
                <a:cubicBezTo>
                  <a:pt x="4176" y="508"/>
                  <a:pt x="4176" y="508"/>
                  <a:pt x="4176" y="509"/>
                </a:cubicBezTo>
                <a:cubicBezTo>
                  <a:pt x="4176" y="509"/>
                  <a:pt x="4176" y="510"/>
                  <a:pt x="4175" y="511"/>
                </a:cubicBezTo>
                <a:cubicBezTo>
                  <a:pt x="4173" y="514"/>
                  <a:pt x="4172" y="515"/>
                  <a:pt x="4171" y="515"/>
                </a:cubicBezTo>
                <a:close/>
                <a:moveTo>
                  <a:pt x="4183" y="494"/>
                </a:moveTo>
                <a:cubicBezTo>
                  <a:pt x="4182" y="494"/>
                  <a:pt x="4181" y="493"/>
                  <a:pt x="4181" y="490"/>
                </a:cubicBezTo>
                <a:cubicBezTo>
                  <a:pt x="4181" y="489"/>
                  <a:pt x="4182" y="488"/>
                  <a:pt x="4183" y="488"/>
                </a:cubicBezTo>
                <a:cubicBezTo>
                  <a:pt x="4184" y="488"/>
                  <a:pt x="4185" y="489"/>
                  <a:pt x="4185" y="491"/>
                </a:cubicBezTo>
                <a:lnTo>
                  <a:pt x="4185" y="492"/>
                </a:lnTo>
                <a:cubicBezTo>
                  <a:pt x="4184" y="493"/>
                  <a:pt x="4183" y="494"/>
                  <a:pt x="4183" y="494"/>
                </a:cubicBezTo>
                <a:close/>
                <a:moveTo>
                  <a:pt x="4168" y="531"/>
                </a:moveTo>
                <a:cubicBezTo>
                  <a:pt x="4167" y="531"/>
                  <a:pt x="4167" y="531"/>
                  <a:pt x="4166" y="530"/>
                </a:cubicBezTo>
                <a:cubicBezTo>
                  <a:pt x="4166" y="529"/>
                  <a:pt x="4166" y="529"/>
                  <a:pt x="4165" y="528"/>
                </a:cubicBezTo>
                <a:cubicBezTo>
                  <a:pt x="4165" y="528"/>
                  <a:pt x="4165" y="528"/>
                  <a:pt x="4165" y="527"/>
                </a:cubicBezTo>
                <a:cubicBezTo>
                  <a:pt x="4165" y="527"/>
                  <a:pt x="4165" y="526"/>
                  <a:pt x="4166" y="526"/>
                </a:cubicBezTo>
                <a:cubicBezTo>
                  <a:pt x="4168" y="526"/>
                  <a:pt x="4168" y="527"/>
                  <a:pt x="4168" y="528"/>
                </a:cubicBezTo>
                <a:cubicBezTo>
                  <a:pt x="4168" y="530"/>
                  <a:pt x="4168" y="531"/>
                  <a:pt x="4168" y="531"/>
                </a:cubicBezTo>
                <a:close/>
                <a:moveTo>
                  <a:pt x="4191" y="470"/>
                </a:moveTo>
                <a:cubicBezTo>
                  <a:pt x="4190" y="470"/>
                  <a:pt x="4190" y="470"/>
                  <a:pt x="4190" y="469"/>
                </a:cubicBezTo>
                <a:cubicBezTo>
                  <a:pt x="4190" y="468"/>
                  <a:pt x="4191" y="467"/>
                  <a:pt x="4192" y="466"/>
                </a:cubicBezTo>
                <a:cubicBezTo>
                  <a:pt x="4193" y="465"/>
                  <a:pt x="4194" y="464"/>
                  <a:pt x="4195" y="464"/>
                </a:cubicBezTo>
                <a:cubicBezTo>
                  <a:pt x="4195" y="464"/>
                  <a:pt x="4196" y="465"/>
                  <a:pt x="4196" y="465"/>
                </a:cubicBezTo>
                <a:cubicBezTo>
                  <a:pt x="4196" y="465"/>
                  <a:pt x="4196" y="466"/>
                  <a:pt x="4195" y="467"/>
                </a:cubicBezTo>
                <a:cubicBezTo>
                  <a:pt x="4195" y="468"/>
                  <a:pt x="4194" y="468"/>
                  <a:pt x="4193" y="469"/>
                </a:cubicBezTo>
                <a:cubicBezTo>
                  <a:pt x="4193" y="470"/>
                  <a:pt x="4192" y="470"/>
                  <a:pt x="4191" y="470"/>
                </a:cubicBezTo>
                <a:close/>
                <a:moveTo>
                  <a:pt x="4195" y="462"/>
                </a:moveTo>
                <a:cubicBezTo>
                  <a:pt x="4194" y="462"/>
                  <a:pt x="4194" y="461"/>
                  <a:pt x="4194" y="460"/>
                </a:cubicBezTo>
                <a:cubicBezTo>
                  <a:pt x="4194" y="458"/>
                  <a:pt x="4195" y="457"/>
                  <a:pt x="4197" y="457"/>
                </a:cubicBezTo>
                <a:cubicBezTo>
                  <a:pt x="4198" y="457"/>
                  <a:pt x="4198" y="457"/>
                  <a:pt x="4198" y="458"/>
                </a:cubicBezTo>
                <a:lnTo>
                  <a:pt x="4198" y="460"/>
                </a:lnTo>
                <a:cubicBezTo>
                  <a:pt x="4197" y="461"/>
                  <a:pt x="4196" y="462"/>
                  <a:pt x="4195" y="462"/>
                </a:cubicBezTo>
                <a:close/>
                <a:moveTo>
                  <a:pt x="4010" y="554"/>
                </a:moveTo>
                <a:cubicBezTo>
                  <a:pt x="4009" y="554"/>
                  <a:pt x="4008" y="553"/>
                  <a:pt x="4007" y="552"/>
                </a:cubicBezTo>
                <a:lnTo>
                  <a:pt x="4007" y="551"/>
                </a:lnTo>
                <a:cubicBezTo>
                  <a:pt x="4007" y="549"/>
                  <a:pt x="4008" y="544"/>
                  <a:pt x="4011" y="535"/>
                </a:cubicBezTo>
                <a:cubicBezTo>
                  <a:pt x="4014" y="527"/>
                  <a:pt x="4015" y="523"/>
                  <a:pt x="4015" y="521"/>
                </a:cubicBezTo>
                <a:cubicBezTo>
                  <a:pt x="4015" y="521"/>
                  <a:pt x="4016" y="519"/>
                  <a:pt x="4017" y="515"/>
                </a:cubicBezTo>
                <a:cubicBezTo>
                  <a:pt x="4025" y="497"/>
                  <a:pt x="4031" y="487"/>
                  <a:pt x="4033" y="487"/>
                </a:cubicBezTo>
                <a:cubicBezTo>
                  <a:pt x="4036" y="487"/>
                  <a:pt x="4037" y="491"/>
                  <a:pt x="4038" y="497"/>
                </a:cubicBezTo>
                <a:cubicBezTo>
                  <a:pt x="4038" y="501"/>
                  <a:pt x="4037" y="504"/>
                  <a:pt x="4036" y="508"/>
                </a:cubicBezTo>
                <a:lnTo>
                  <a:pt x="4032" y="506"/>
                </a:lnTo>
                <a:cubicBezTo>
                  <a:pt x="4031" y="506"/>
                  <a:pt x="4027" y="512"/>
                  <a:pt x="4021" y="526"/>
                </a:cubicBezTo>
                <a:cubicBezTo>
                  <a:pt x="4014" y="539"/>
                  <a:pt x="4011" y="547"/>
                  <a:pt x="4011" y="551"/>
                </a:cubicBezTo>
                <a:lnTo>
                  <a:pt x="4011" y="553"/>
                </a:lnTo>
                <a:cubicBezTo>
                  <a:pt x="4011" y="553"/>
                  <a:pt x="4011" y="554"/>
                  <a:pt x="4010" y="554"/>
                </a:cubicBezTo>
                <a:close/>
                <a:moveTo>
                  <a:pt x="4644" y="607"/>
                </a:moveTo>
                <a:cubicBezTo>
                  <a:pt x="4644" y="607"/>
                  <a:pt x="4644" y="606"/>
                  <a:pt x="4644" y="606"/>
                </a:cubicBezTo>
                <a:cubicBezTo>
                  <a:pt x="4644" y="605"/>
                  <a:pt x="4644" y="605"/>
                  <a:pt x="4645" y="604"/>
                </a:cubicBezTo>
                <a:cubicBezTo>
                  <a:pt x="4645" y="603"/>
                  <a:pt x="4646" y="603"/>
                  <a:pt x="4647" y="601"/>
                </a:cubicBezTo>
                <a:cubicBezTo>
                  <a:pt x="4649" y="600"/>
                  <a:pt x="4649" y="600"/>
                  <a:pt x="4650" y="600"/>
                </a:cubicBezTo>
                <a:lnTo>
                  <a:pt x="4650" y="600"/>
                </a:lnTo>
                <a:lnTo>
                  <a:pt x="4648" y="603"/>
                </a:lnTo>
                <a:cubicBezTo>
                  <a:pt x="4646" y="605"/>
                  <a:pt x="4645" y="607"/>
                  <a:pt x="4644" y="607"/>
                </a:cubicBezTo>
                <a:close/>
                <a:moveTo>
                  <a:pt x="4420" y="735"/>
                </a:moveTo>
                <a:cubicBezTo>
                  <a:pt x="4420" y="735"/>
                  <a:pt x="4419" y="734"/>
                  <a:pt x="4417" y="732"/>
                </a:cubicBezTo>
                <a:cubicBezTo>
                  <a:pt x="4417" y="731"/>
                  <a:pt x="4416" y="730"/>
                  <a:pt x="4416" y="730"/>
                </a:cubicBezTo>
                <a:cubicBezTo>
                  <a:pt x="4416" y="729"/>
                  <a:pt x="4417" y="728"/>
                  <a:pt x="4418" y="728"/>
                </a:cubicBezTo>
                <a:lnTo>
                  <a:pt x="4420" y="727"/>
                </a:lnTo>
                <a:cubicBezTo>
                  <a:pt x="4421" y="727"/>
                  <a:pt x="4421" y="728"/>
                  <a:pt x="4421" y="730"/>
                </a:cubicBezTo>
                <a:cubicBezTo>
                  <a:pt x="4421" y="734"/>
                  <a:pt x="4421" y="735"/>
                  <a:pt x="4420" y="735"/>
                </a:cubicBezTo>
                <a:close/>
                <a:moveTo>
                  <a:pt x="4464" y="509"/>
                </a:moveTo>
                <a:cubicBezTo>
                  <a:pt x="4464" y="509"/>
                  <a:pt x="4463" y="508"/>
                  <a:pt x="4463" y="506"/>
                </a:cubicBezTo>
                <a:cubicBezTo>
                  <a:pt x="4463" y="504"/>
                  <a:pt x="4464" y="502"/>
                  <a:pt x="4464" y="502"/>
                </a:cubicBezTo>
                <a:cubicBezTo>
                  <a:pt x="4464" y="502"/>
                  <a:pt x="4465" y="504"/>
                  <a:pt x="4465" y="506"/>
                </a:cubicBezTo>
                <a:lnTo>
                  <a:pt x="4464" y="509"/>
                </a:lnTo>
                <a:cubicBezTo>
                  <a:pt x="4464" y="509"/>
                  <a:pt x="4464" y="509"/>
                  <a:pt x="4464" y="509"/>
                </a:cubicBezTo>
                <a:close/>
                <a:moveTo>
                  <a:pt x="4611" y="630"/>
                </a:moveTo>
                <a:cubicBezTo>
                  <a:pt x="4611" y="630"/>
                  <a:pt x="4610" y="629"/>
                  <a:pt x="4610" y="627"/>
                </a:cubicBezTo>
                <a:cubicBezTo>
                  <a:pt x="4610" y="626"/>
                  <a:pt x="4611" y="625"/>
                  <a:pt x="4613" y="625"/>
                </a:cubicBezTo>
                <a:cubicBezTo>
                  <a:pt x="4614" y="625"/>
                  <a:pt x="4614" y="625"/>
                  <a:pt x="4614" y="626"/>
                </a:cubicBezTo>
                <a:lnTo>
                  <a:pt x="4614" y="627"/>
                </a:lnTo>
                <a:cubicBezTo>
                  <a:pt x="4613" y="629"/>
                  <a:pt x="4612" y="630"/>
                  <a:pt x="4611" y="630"/>
                </a:cubicBezTo>
                <a:close/>
                <a:moveTo>
                  <a:pt x="4451" y="547"/>
                </a:moveTo>
                <a:lnTo>
                  <a:pt x="4451" y="546"/>
                </a:lnTo>
                <a:cubicBezTo>
                  <a:pt x="4451" y="546"/>
                  <a:pt x="4451" y="545"/>
                  <a:pt x="4452" y="543"/>
                </a:cubicBezTo>
                <a:cubicBezTo>
                  <a:pt x="4453" y="541"/>
                  <a:pt x="4453" y="540"/>
                  <a:pt x="4454" y="539"/>
                </a:cubicBezTo>
                <a:cubicBezTo>
                  <a:pt x="4454" y="538"/>
                  <a:pt x="4455" y="538"/>
                  <a:pt x="4455" y="538"/>
                </a:cubicBezTo>
                <a:cubicBezTo>
                  <a:pt x="4456" y="538"/>
                  <a:pt x="4456" y="538"/>
                  <a:pt x="4456" y="539"/>
                </a:cubicBezTo>
                <a:cubicBezTo>
                  <a:pt x="4456" y="539"/>
                  <a:pt x="4455" y="541"/>
                  <a:pt x="4454" y="543"/>
                </a:cubicBezTo>
                <a:cubicBezTo>
                  <a:pt x="4453" y="546"/>
                  <a:pt x="4452" y="547"/>
                  <a:pt x="4451" y="547"/>
                </a:cubicBezTo>
                <a:close/>
                <a:moveTo>
                  <a:pt x="4425" y="733"/>
                </a:moveTo>
                <a:cubicBezTo>
                  <a:pt x="4424" y="733"/>
                  <a:pt x="4424" y="732"/>
                  <a:pt x="4424" y="730"/>
                </a:cubicBezTo>
                <a:cubicBezTo>
                  <a:pt x="4424" y="727"/>
                  <a:pt x="4424" y="726"/>
                  <a:pt x="4426" y="726"/>
                </a:cubicBezTo>
                <a:cubicBezTo>
                  <a:pt x="4427" y="726"/>
                  <a:pt x="4427" y="727"/>
                  <a:pt x="4427" y="728"/>
                </a:cubicBezTo>
                <a:cubicBezTo>
                  <a:pt x="4427" y="728"/>
                  <a:pt x="4427" y="729"/>
                  <a:pt x="4427" y="730"/>
                </a:cubicBezTo>
                <a:cubicBezTo>
                  <a:pt x="4426" y="730"/>
                  <a:pt x="4426" y="731"/>
                  <a:pt x="4426" y="732"/>
                </a:cubicBezTo>
                <a:cubicBezTo>
                  <a:pt x="4425" y="733"/>
                  <a:pt x="4425" y="733"/>
                  <a:pt x="4425" y="733"/>
                </a:cubicBezTo>
                <a:close/>
                <a:moveTo>
                  <a:pt x="4459" y="528"/>
                </a:moveTo>
                <a:lnTo>
                  <a:pt x="4459" y="527"/>
                </a:lnTo>
                <a:lnTo>
                  <a:pt x="4460" y="523"/>
                </a:lnTo>
                <a:cubicBezTo>
                  <a:pt x="4461" y="518"/>
                  <a:pt x="4462" y="515"/>
                  <a:pt x="4463" y="515"/>
                </a:cubicBezTo>
                <a:cubicBezTo>
                  <a:pt x="4463" y="515"/>
                  <a:pt x="4463" y="517"/>
                  <a:pt x="4463" y="519"/>
                </a:cubicBezTo>
                <a:cubicBezTo>
                  <a:pt x="4463" y="520"/>
                  <a:pt x="4463" y="522"/>
                  <a:pt x="4462" y="523"/>
                </a:cubicBezTo>
                <a:cubicBezTo>
                  <a:pt x="4462" y="524"/>
                  <a:pt x="4461" y="526"/>
                  <a:pt x="4461" y="526"/>
                </a:cubicBezTo>
                <a:lnTo>
                  <a:pt x="4459" y="528"/>
                </a:lnTo>
                <a:close/>
                <a:moveTo>
                  <a:pt x="4711" y="558"/>
                </a:moveTo>
                <a:cubicBezTo>
                  <a:pt x="4711" y="558"/>
                  <a:pt x="4711" y="558"/>
                  <a:pt x="4711" y="558"/>
                </a:cubicBezTo>
                <a:cubicBezTo>
                  <a:pt x="4711" y="557"/>
                  <a:pt x="4714" y="554"/>
                  <a:pt x="4721" y="550"/>
                </a:cubicBezTo>
                <a:cubicBezTo>
                  <a:pt x="4728" y="545"/>
                  <a:pt x="4732" y="543"/>
                  <a:pt x="4734" y="543"/>
                </a:cubicBezTo>
                <a:cubicBezTo>
                  <a:pt x="4734" y="544"/>
                  <a:pt x="4731" y="546"/>
                  <a:pt x="4726" y="549"/>
                </a:cubicBezTo>
                <a:cubicBezTo>
                  <a:pt x="4717" y="555"/>
                  <a:pt x="4712" y="558"/>
                  <a:pt x="4711" y="558"/>
                </a:cubicBezTo>
                <a:close/>
                <a:moveTo>
                  <a:pt x="4430" y="735"/>
                </a:moveTo>
                <a:lnTo>
                  <a:pt x="4429" y="735"/>
                </a:lnTo>
                <a:cubicBezTo>
                  <a:pt x="4429" y="734"/>
                  <a:pt x="4432" y="733"/>
                  <a:pt x="4438" y="730"/>
                </a:cubicBezTo>
                <a:lnTo>
                  <a:pt x="4453" y="723"/>
                </a:lnTo>
                <a:cubicBezTo>
                  <a:pt x="4456" y="722"/>
                  <a:pt x="4466" y="718"/>
                  <a:pt x="4482" y="711"/>
                </a:cubicBezTo>
                <a:cubicBezTo>
                  <a:pt x="4511" y="697"/>
                  <a:pt x="4526" y="690"/>
                  <a:pt x="4526" y="688"/>
                </a:cubicBezTo>
                <a:cubicBezTo>
                  <a:pt x="4526" y="688"/>
                  <a:pt x="4525" y="688"/>
                  <a:pt x="4525" y="688"/>
                </a:cubicBezTo>
                <a:cubicBezTo>
                  <a:pt x="4523" y="688"/>
                  <a:pt x="4514" y="692"/>
                  <a:pt x="4498" y="700"/>
                </a:cubicBezTo>
                <a:cubicBezTo>
                  <a:pt x="4486" y="707"/>
                  <a:pt x="4475" y="711"/>
                  <a:pt x="4468" y="713"/>
                </a:cubicBezTo>
                <a:cubicBezTo>
                  <a:pt x="4463" y="715"/>
                  <a:pt x="4458" y="716"/>
                  <a:pt x="4455" y="718"/>
                </a:cubicBezTo>
                <a:cubicBezTo>
                  <a:pt x="4452" y="720"/>
                  <a:pt x="4450" y="721"/>
                  <a:pt x="4450" y="722"/>
                </a:cubicBezTo>
                <a:cubicBezTo>
                  <a:pt x="4450" y="723"/>
                  <a:pt x="4450" y="723"/>
                  <a:pt x="4449" y="723"/>
                </a:cubicBezTo>
                <a:lnTo>
                  <a:pt x="4449" y="723"/>
                </a:lnTo>
                <a:cubicBezTo>
                  <a:pt x="4446" y="723"/>
                  <a:pt x="4443" y="724"/>
                  <a:pt x="4439" y="725"/>
                </a:cubicBezTo>
                <a:cubicBezTo>
                  <a:pt x="4435" y="727"/>
                  <a:pt x="4433" y="728"/>
                  <a:pt x="4431" y="728"/>
                </a:cubicBezTo>
                <a:cubicBezTo>
                  <a:pt x="4431" y="728"/>
                  <a:pt x="4430" y="728"/>
                  <a:pt x="4430" y="726"/>
                </a:cubicBezTo>
                <a:cubicBezTo>
                  <a:pt x="4430" y="725"/>
                  <a:pt x="4433" y="723"/>
                  <a:pt x="4438" y="721"/>
                </a:cubicBezTo>
                <a:cubicBezTo>
                  <a:pt x="4454" y="715"/>
                  <a:pt x="4484" y="701"/>
                  <a:pt x="4527" y="679"/>
                </a:cubicBezTo>
                <a:cubicBezTo>
                  <a:pt x="4544" y="670"/>
                  <a:pt x="4556" y="663"/>
                  <a:pt x="4563" y="659"/>
                </a:cubicBezTo>
                <a:cubicBezTo>
                  <a:pt x="4567" y="657"/>
                  <a:pt x="4570" y="655"/>
                  <a:pt x="4573" y="654"/>
                </a:cubicBezTo>
                <a:cubicBezTo>
                  <a:pt x="4575" y="652"/>
                  <a:pt x="4577" y="651"/>
                  <a:pt x="4578" y="650"/>
                </a:cubicBezTo>
                <a:cubicBezTo>
                  <a:pt x="4580" y="649"/>
                  <a:pt x="4580" y="649"/>
                  <a:pt x="4580" y="648"/>
                </a:cubicBezTo>
                <a:cubicBezTo>
                  <a:pt x="4580" y="647"/>
                  <a:pt x="4581" y="647"/>
                  <a:pt x="4582" y="647"/>
                </a:cubicBezTo>
                <a:lnTo>
                  <a:pt x="4583" y="647"/>
                </a:lnTo>
                <a:cubicBezTo>
                  <a:pt x="4585" y="647"/>
                  <a:pt x="4587" y="646"/>
                  <a:pt x="4588" y="644"/>
                </a:cubicBezTo>
                <a:cubicBezTo>
                  <a:pt x="4589" y="643"/>
                  <a:pt x="4591" y="642"/>
                  <a:pt x="4592" y="641"/>
                </a:cubicBezTo>
                <a:lnTo>
                  <a:pt x="4597" y="639"/>
                </a:lnTo>
                <a:cubicBezTo>
                  <a:pt x="4598" y="639"/>
                  <a:pt x="4598" y="639"/>
                  <a:pt x="4598" y="639"/>
                </a:cubicBezTo>
                <a:cubicBezTo>
                  <a:pt x="4598" y="641"/>
                  <a:pt x="4588" y="649"/>
                  <a:pt x="4567" y="661"/>
                </a:cubicBezTo>
                <a:cubicBezTo>
                  <a:pt x="4560" y="665"/>
                  <a:pt x="4555" y="669"/>
                  <a:pt x="4551" y="672"/>
                </a:cubicBezTo>
                <a:cubicBezTo>
                  <a:pt x="4547" y="675"/>
                  <a:pt x="4545" y="677"/>
                  <a:pt x="4545" y="677"/>
                </a:cubicBezTo>
                <a:lnTo>
                  <a:pt x="4546" y="677"/>
                </a:lnTo>
                <a:cubicBezTo>
                  <a:pt x="4546" y="677"/>
                  <a:pt x="4549" y="676"/>
                  <a:pt x="4553" y="673"/>
                </a:cubicBezTo>
                <a:cubicBezTo>
                  <a:pt x="4588" y="652"/>
                  <a:pt x="4605" y="640"/>
                  <a:pt x="4605" y="637"/>
                </a:cubicBezTo>
                <a:lnTo>
                  <a:pt x="4605" y="637"/>
                </a:lnTo>
                <a:cubicBezTo>
                  <a:pt x="4605" y="636"/>
                  <a:pt x="4605" y="635"/>
                  <a:pt x="4606" y="635"/>
                </a:cubicBezTo>
                <a:lnTo>
                  <a:pt x="4608" y="635"/>
                </a:lnTo>
                <a:cubicBezTo>
                  <a:pt x="4609" y="635"/>
                  <a:pt x="4613" y="633"/>
                  <a:pt x="4619" y="630"/>
                </a:cubicBezTo>
                <a:cubicBezTo>
                  <a:pt x="4636" y="618"/>
                  <a:pt x="4649" y="609"/>
                  <a:pt x="4658" y="601"/>
                </a:cubicBezTo>
                <a:cubicBezTo>
                  <a:pt x="4663" y="596"/>
                  <a:pt x="4665" y="593"/>
                  <a:pt x="4665" y="592"/>
                </a:cubicBezTo>
                <a:lnTo>
                  <a:pt x="4665" y="590"/>
                </a:lnTo>
                <a:cubicBezTo>
                  <a:pt x="4665" y="589"/>
                  <a:pt x="4665" y="589"/>
                  <a:pt x="4665" y="589"/>
                </a:cubicBezTo>
                <a:cubicBezTo>
                  <a:pt x="4666" y="589"/>
                  <a:pt x="4666" y="590"/>
                  <a:pt x="4667" y="590"/>
                </a:cubicBezTo>
                <a:cubicBezTo>
                  <a:pt x="4668" y="591"/>
                  <a:pt x="4668" y="592"/>
                  <a:pt x="4669" y="592"/>
                </a:cubicBezTo>
                <a:cubicBezTo>
                  <a:pt x="4670" y="592"/>
                  <a:pt x="4672" y="591"/>
                  <a:pt x="4675" y="588"/>
                </a:cubicBezTo>
                <a:cubicBezTo>
                  <a:pt x="4680" y="585"/>
                  <a:pt x="4682" y="583"/>
                  <a:pt x="4682" y="582"/>
                </a:cubicBezTo>
                <a:cubicBezTo>
                  <a:pt x="4682" y="582"/>
                  <a:pt x="4682" y="581"/>
                  <a:pt x="4682" y="581"/>
                </a:cubicBezTo>
                <a:cubicBezTo>
                  <a:pt x="4681" y="581"/>
                  <a:pt x="4680" y="582"/>
                  <a:pt x="4679" y="582"/>
                </a:cubicBezTo>
                <a:cubicBezTo>
                  <a:pt x="4679" y="583"/>
                  <a:pt x="4678" y="583"/>
                  <a:pt x="4677" y="583"/>
                </a:cubicBezTo>
                <a:cubicBezTo>
                  <a:pt x="4677" y="583"/>
                  <a:pt x="4677" y="583"/>
                  <a:pt x="4677" y="583"/>
                </a:cubicBezTo>
                <a:cubicBezTo>
                  <a:pt x="4677" y="581"/>
                  <a:pt x="4678" y="580"/>
                  <a:pt x="4682" y="580"/>
                </a:cubicBezTo>
                <a:cubicBezTo>
                  <a:pt x="4685" y="580"/>
                  <a:pt x="4691" y="577"/>
                  <a:pt x="4699" y="571"/>
                </a:cubicBezTo>
                <a:cubicBezTo>
                  <a:pt x="4702" y="569"/>
                  <a:pt x="4703" y="568"/>
                  <a:pt x="4703" y="567"/>
                </a:cubicBezTo>
                <a:lnTo>
                  <a:pt x="4703" y="566"/>
                </a:lnTo>
                <a:lnTo>
                  <a:pt x="4702" y="566"/>
                </a:lnTo>
                <a:cubicBezTo>
                  <a:pt x="4702" y="566"/>
                  <a:pt x="4700" y="566"/>
                  <a:pt x="4699" y="568"/>
                </a:cubicBezTo>
                <a:cubicBezTo>
                  <a:pt x="4697" y="569"/>
                  <a:pt x="4696" y="570"/>
                  <a:pt x="4696" y="570"/>
                </a:cubicBezTo>
                <a:cubicBezTo>
                  <a:pt x="4696" y="570"/>
                  <a:pt x="4695" y="570"/>
                  <a:pt x="4695" y="569"/>
                </a:cubicBezTo>
                <a:cubicBezTo>
                  <a:pt x="4695" y="569"/>
                  <a:pt x="4696" y="568"/>
                  <a:pt x="4697" y="567"/>
                </a:cubicBezTo>
                <a:cubicBezTo>
                  <a:pt x="4699" y="566"/>
                  <a:pt x="4701" y="564"/>
                  <a:pt x="4702" y="563"/>
                </a:cubicBezTo>
                <a:lnTo>
                  <a:pt x="4708" y="560"/>
                </a:lnTo>
                <a:cubicBezTo>
                  <a:pt x="4708" y="560"/>
                  <a:pt x="4707" y="561"/>
                  <a:pt x="4706" y="562"/>
                </a:cubicBezTo>
                <a:lnTo>
                  <a:pt x="4704" y="566"/>
                </a:lnTo>
                <a:cubicBezTo>
                  <a:pt x="4705" y="566"/>
                  <a:pt x="4706" y="565"/>
                  <a:pt x="4707" y="564"/>
                </a:cubicBezTo>
                <a:cubicBezTo>
                  <a:pt x="4709" y="563"/>
                  <a:pt x="4711" y="563"/>
                  <a:pt x="4714" y="563"/>
                </a:cubicBezTo>
                <a:cubicBezTo>
                  <a:pt x="4716" y="563"/>
                  <a:pt x="4716" y="563"/>
                  <a:pt x="4716" y="562"/>
                </a:cubicBezTo>
                <a:lnTo>
                  <a:pt x="4716" y="561"/>
                </a:lnTo>
                <a:cubicBezTo>
                  <a:pt x="4716" y="560"/>
                  <a:pt x="4717" y="559"/>
                  <a:pt x="4718" y="558"/>
                </a:cubicBezTo>
                <a:cubicBezTo>
                  <a:pt x="4721" y="556"/>
                  <a:pt x="4724" y="555"/>
                  <a:pt x="4727" y="555"/>
                </a:cubicBezTo>
                <a:cubicBezTo>
                  <a:pt x="4727" y="555"/>
                  <a:pt x="4728" y="555"/>
                  <a:pt x="4728" y="555"/>
                </a:cubicBezTo>
                <a:cubicBezTo>
                  <a:pt x="4729" y="555"/>
                  <a:pt x="4729" y="556"/>
                  <a:pt x="4729" y="556"/>
                </a:cubicBezTo>
                <a:cubicBezTo>
                  <a:pt x="4729" y="556"/>
                  <a:pt x="4730" y="555"/>
                  <a:pt x="4730" y="554"/>
                </a:cubicBezTo>
                <a:lnTo>
                  <a:pt x="4730" y="553"/>
                </a:lnTo>
                <a:cubicBezTo>
                  <a:pt x="4730" y="551"/>
                  <a:pt x="4731" y="551"/>
                  <a:pt x="4733" y="551"/>
                </a:cubicBezTo>
                <a:cubicBezTo>
                  <a:pt x="4736" y="551"/>
                  <a:pt x="4737" y="550"/>
                  <a:pt x="4737" y="548"/>
                </a:cubicBezTo>
                <a:lnTo>
                  <a:pt x="4737" y="548"/>
                </a:lnTo>
                <a:cubicBezTo>
                  <a:pt x="4737" y="546"/>
                  <a:pt x="4737" y="546"/>
                  <a:pt x="4738" y="546"/>
                </a:cubicBezTo>
                <a:lnTo>
                  <a:pt x="4742" y="546"/>
                </a:lnTo>
                <a:cubicBezTo>
                  <a:pt x="4744" y="546"/>
                  <a:pt x="4745" y="546"/>
                  <a:pt x="4746" y="545"/>
                </a:cubicBezTo>
                <a:cubicBezTo>
                  <a:pt x="4747" y="544"/>
                  <a:pt x="4748" y="544"/>
                  <a:pt x="4749" y="544"/>
                </a:cubicBezTo>
                <a:cubicBezTo>
                  <a:pt x="4749" y="544"/>
                  <a:pt x="4750" y="544"/>
                  <a:pt x="4750" y="544"/>
                </a:cubicBezTo>
                <a:cubicBezTo>
                  <a:pt x="4749" y="546"/>
                  <a:pt x="4746" y="549"/>
                  <a:pt x="4742" y="552"/>
                </a:cubicBezTo>
                <a:lnTo>
                  <a:pt x="4716" y="571"/>
                </a:lnTo>
                <a:cubicBezTo>
                  <a:pt x="4706" y="579"/>
                  <a:pt x="4698" y="584"/>
                  <a:pt x="4695" y="586"/>
                </a:cubicBezTo>
                <a:lnTo>
                  <a:pt x="4694" y="587"/>
                </a:lnTo>
                <a:cubicBezTo>
                  <a:pt x="4691" y="589"/>
                  <a:pt x="4689" y="590"/>
                  <a:pt x="4688" y="592"/>
                </a:cubicBezTo>
                <a:cubicBezTo>
                  <a:pt x="4686" y="595"/>
                  <a:pt x="4677" y="601"/>
                  <a:pt x="4661" y="612"/>
                </a:cubicBezTo>
                <a:cubicBezTo>
                  <a:pt x="4630" y="637"/>
                  <a:pt x="4611" y="649"/>
                  <a:pt x="4603" y="649"/>
                </a:cubicBezTo>
                <a:lnTo>
                  <a:pt x="4600" y="649"/>
                </a:lnTo>
                <a:lnTo>
                  <a:pt x="4602" y="650"/>
                </a:lnTo>
                <a:cubicBezTo>
                  <a:pt x="4603" y="650"/>
                  <a:pt x="4603" y="651"/>
                  <a:pt x="4603" y="652"/>
                </a:cubicBezTo>
                <a:cubicBezTo>
                  <a:pt x="4603" y="653"/>
                  <a:pt x="4602" y="654"/>
                  <a:pt x="4600" y="655"/>
                </a:cubicBezTo>
                <a:cubicBezTo>
                  <a:pt x="4598" y="656"/>
                  <a:pt x="4597" y="656"/>
                  <a:pt x="4597" y="656"/>
                </a:cubicBezTo>
                <a:cubicBezTo>
                  <a:pt x="4596" y="656"/>
                  <a:pt x="4596" y="656"/>
                  <a:pt x="4596" y="656"/>
                </a:cubicBezTo>
                <a:lnTo>
                  <a:pt x="4597" y="652"/>
                </a:lnTo>
                <a:cubicBezTo>
                  <a:pt x="4597" y="651"/>
                  <a:pt x="4597" y="651"/>
                  <a:pt x="4595" y="651"/>
                </a:cubicBezTo>
                <a:cubicBezTo>
                  <a:pt x="4593" y="652"/>
                  <a:pt x="4593" y="653"/>
                  <a:pt x="4593" y="655"/>
                </a:cubicBezTo>
                <a:lnTo>
                  <a:pt x="4593" y="656"/>
                </a:lnTo>
                <a:cubicBezTo>
                  <a:pt x="4593" y="658"/>
                  <a:pt x="4592" y="660"/>
                  <a:pt x="4589" y="661"/>
                </a:cubicBezTo>
                <a:cubicBezTo>
                  <a:pt x="4587" y="663"/>
                  <a:pt x="4585" y="663"/>
                  <a:pt x="4585" y="663"/>
                </a:cubicBezTo>
                <a:lnTo>
                  <a:pt x="4591" y="658"/>
                </a:lnTo>
                <a:lnTo>
                  <a:pt x="4591" y="657"/>
                </a:lnTo>
                <a:cubicBezTo>
                  <a:pt x="4590" y="657"/>
                  <a:pt x="4590" y="658"/>
                  <a:pt x="4588" y="658"/>
                </a:cubicBezTo>
                <a:cubicBezTo>
                  <a:pt x="4587" y="659"/>
                  <a:pt x="4586" y="659"/>
                  <a:pt x="4585" y="659"/>
                </a:cubicBezTo>
                <a:cubicBezTo>
                  <a:pt x="4584" y="659"/>
                  <a:pt x="4583" y="659"/>
                  <a:pt x="4582" y="659"/>
                </a:cubicBezTo>
                <a:cubicBezTo>
                  <a:pt x="4582" y="659"/>
                  <a:pt x="4581" y="660"/>
                  <a:pt x="4581" y="661"/>
                </a:cubicBezTo>
                <a:lnTo>
                  <a:pt x="4582" y="663"/>
                </a:lnTo>
                <a:cubicBezTo>
                  <a:pt x="4582" y="665"/>
                  <a:pt x="4580" y="667"/>
                  <a:pt x="4578" y="669"/>
                </a:cubicBezTo>
                <a:lnTo>
                  <a:pt x="4573" y="670"/>
                </a:lnTo>
                <a:cubicBezTo>
                  <a:pt x="4573" y="670"/>
                  <a:pt x="4575" y="669"/>
                  <a:pt x="4577" y="667"/>
                </a:cubicBezTo>
                <a:cubicBezTo>
                  <a:pt x="4579" y="666"/>
                  <a:pt x="4580" y="665"/>
                  <a:pt x="4580" y="664"/>
                </a:cubicBezTo>
                <a:lnTo>
                  <a:pt x="4577" y="665"/>
                </a:lnTo>
                <a:cubicBezTo>
                  <a:pt x="4575" y="666"/>
                  <a:pt x="4573" y="666"/>
                  <a:pt x="4573" y="666"/>
                </a:cubicBezTo>
                <a:cubicBezTo>
                  <a:pt x="4572" y="666"/>
                  <a:pt x="4572" y="668"/>
                  <a:pt x="4572" y="670"/>
                </a:cubicBezTo>
                <a:cubicBezTo>
                  <a:pt x="4572" y="671"/>
                  <a:pt x="4571" y="672"/>
                  <a:pt x="4570" y="673"/>
                </a:cubicBezTo>
                <a:cubicBezTo>
                  <a:pt x="4567" y="676"/>
                  <a:pt x="4565" y="677"/>
                  <a:pt x="4563" y="677"/>
                </a:cubicBezTo>
                <a:cubicBezTo>
                  <a:pt x="4562" y="677"/>
                  <a:pt x="4562" y="677"/>
                  <a:pt x="4562" y="677"/>
                </a:cubicBezTo>
                <a:cubicBezTo>
                  <a:pt x="4561" y="677"/>
                  <a:pt x="4561" y="677"/>
                  <a:pt x="4561" y="676"/>
                </a:cubicBezTo>
                <a:lnTo>
                  <a:pt x="4565" y="674"/>
                </a:lnTo>
                <a:cubicBezTo>
                  <a:pt x="4568" y="673"/>
                  <a:pt x="4569" y="671"/>
                  <a:pt x="4569" y="671"/>
                </a:cubicBezTo>
                <a:cubicBezTo>
                  <a:pt x="4569" y="671"/>
                  <a:pt x="4569" y="670"/>
                  <a:pt x="4569" y="670"/>
                </a:cubicBezTo>
                <a:cubicBezTo>
                  <a:pt x="4567" y="670"/>
                  <a:pt x="4563" y="672"/>
                  <a:pt x="4557" y="676"/>
                </a:cubicBezTo>
                <a:cubicBezTo>
                  <a:pt x="4550" y="679"/>
                  <a:pt x="4547" y="682"/>
                  <a:pt x="4547" y="683"/>
                </a:cubicBezTo>
                <a:lnTo>
                  <a:pt x="4547" y="685"/>
                </a:lnTo>
                <a:cubicBezTo>
                  <a:pt x="4547" y="686"/>
                  <a:pt x="4546" y="686"/>
                  <a:pt x="4545" y="686"/>
                </a:cubicBezTo>
                <a:lnTo>
                  <a:pt x="4545" y="686"/>
                </a:lnTo>
                <a:cubicBezTo>
                  <a:pt x="4541" y="686"/>
                  <a:pt x="4532" y="690"/>
                  <a:pt x="4516" y="698"/>
                </a:cubicBezTo>
                <a:cubicBezTo>
                  <a:pt x="4507" y="703"/>
                  <a:pt x="4496" y="708"/>
                  <a:pt x="4483" y="714"/>
                </a:cubicBezTo>
                <a:cubicBezTo>
                  <a:pt x="4452" y="728"/>
                  <a:pt x="4434" y="735"/>
                  <a:pt x="4430" y="735"/>
                </a:cubicBezTo>
                <a:close/>
                <a:moveTo>
                  <a:pt x="4528" y="686"/>
                </a:moveTo>
                <a:cubicBezTo>
                  <a:pt x="4529" y="686"/>
                  <a:pt x="4530" y="686"/>
                  <a:pt x="4531" y="686"/>
                </a:cubicBezTo>
                <a:cubicBezTo>
                  <a:pt x="4533" y="685"/>
                  <a:pt x="4534" y="684"/>
                  <a:pt x="4534" y="683"/>
                </a:cubicBezTo>
                <a:cubicBezTo>
                  <a:pt x="4533" y="683"/>
                  <a:pt x="4533" y="683"/>
                  <a:pt x="4533" y="683"/>
                </a:cubicBezTo>
                <a:cubicBezTo>
                  <a:pt x="4532" y="683"/>
                  <a:pt x="4531" y="683"/>
                  <a:pt x="4530" y="685"/>
                </a:cubicBezTo>
                <a:lnTo>
                  <a:pt x="4528" y="686"/>
                </a:lnTo>
                <a:close/>
                <a:moveTo>
                  <a:pt x="4278" y="755"/>
                </a:moveTo>
                <a:lnTo>
                  <a:pt x="4278" y="755"/>
                </a:lnTo>
                <a:cubicBezTo>
                  <a:pt x="4277" y="755"/>
                  <a:pt x="4276" y="754"/>
                  <a:pt x="4275" y="752"/>
                </a:cubicBezTo>
                <a:lnTo>
                  <a:pt x="4274" y="749"/>
                </a:lnTo>
                <a:lnTo>
                  <a:pt x="4275" y="749"/>
                </a:lnTo>
                <a:lnTo>
                  <a:pt x="4276" y="751"/>
                </a:lnTo>
                <a:cubicBezTo>
                  <a:pt x="4278" y="752"/>
                  <a:pt x="4278" y="753"/>
                  <a:pt x="4278" y="754"/>
                </a:cubicBezTo>
                <a:lnTo>
                  <a:pt x="4278" y="755"/>
                </a:lnTo>
                <a:close/>
                <a:moveTo>
                  <a:pt x="4273" y="735"/>
                </a:moveTo>
                <a:cubicBezTo>
                  <a:pt x="4273" y="735"/>
                  <a:pt x="4272" y="734"/>
                  <a:pt x="4270" y="731"/>
                </a:cubicBezTo>
                <a:lnTo>
                  <a:pt x="4268" y="728"/>
                </a:lnTo>
                <a:lnTo>
                  <a:pt x="4274" y="734"/>
                </a:lnTo>
                <a:cubicBezTo>
                  <a:pt x="4274" y="735"/>
                  <a:pt x="4273" y="735"/>
                  <a:pt x="4273" y="735"/>
                </a:cubicBezTo>
                <a:close/>
                <a:moveTo>
                  <a:pt x="4426" y="458"/>
                </a:moveTo>
                <a:cubicBezTo>
                  <a:pt x="4425" y="458"/>
                  <a:pt x="4424" y="456"/>
                  <a:pt x="4423" y="454"/>
                </a:cubicBezTo>
                <a:lnTo>
                  <a:pt x="4422" y="451"/>
                </a:lnTo>
                <a:cubicBezTo>
                  <a:pt x="4422" y="450"/>
                  <a:pt x="4422" y="449"/>
                  <a:pt x="4423" y="449"/>
                </a:cubicBezTo>
                <a:cubicBezTo>
                  <a:pt x="4423" y="449"/>
                  <a:pt x="4424" y="450"/>
                  <a:pt x="4425" y="451"/>
                </a:cubicBezTo>
                <a:cubicBezTo>
                  <a:pt x="4426" y="453"/>
                  <a:pt x="4427" y="454"/>
                  <a:pt x="4428" y="454"/>
                </a:cubicBezTo>
                <a:lnTo>
                  <a:pt x="4430" y="453"/>
                </a:lnTo>
                <a:lnTo>
                  <a:pt x="4429" y="455"/>
                </a:lnTo>
                <a:cubicBezTo>
                  <a:pt x="4429" y="457"/>
                  <a:pt x="4427" y="458"/>
                  <a:pt x="4426" y="458"/>
                </a:cubicBezTo>
                <a:close/>
                <a:moveTo>
                  <a:pt x="4312" y="499"/>
                </a:moveTo>
                <a:cubicBezTo>
                  <a:pt x="4312" y="498"/>
                  <a:pt x="4312" y="498"/>
                  <a:pt x="4312" y="498"/>
                </a:cubicBezTo>
                <a:cubicBezTo>
                  <a:pt x="4312" y="497"/>
                  <a:pt x="4312" y="497"/>
                  <a:pt x="4313" y="495"/>
                </a:cubicBezTo>
                <a:cubicBezTo>
                  <a:pt x="4313" y="494"/>
                  <a:pt x="4314" y="492"/>
                  <a:pt x="4315" y="491"/>
                </a:cubicBezTo>
                <a:cubicBezTo>
                  <a:pt x="4316" y="490"/>
                  <a:pt x="4317" y="489"/>
                  <a:pt x="4318" y="488"/>
                </a:cubicBezTo>
                <a:cubicBezTo>
                  <a:pt x="4319" y="488"/>
                  <a:pt x="4319" y="487"/>
                  <a:pt x="4320" y="487"/>
                </a:cubicBezTo>
                <a:cubicBezTo>
                  <a:pt x="4320" y="487"/>
                  <a:pt x="4320" y="487"/>
                  <a:pt x="4320" y="488"/>
                </a:cubicBezTo>
                <a:cubicBezTo>
                  <a:pt x="4320" y="489"/>
                  <a:pt x="4319" y="491"/>
                  <a:pt x="4315" y="495"/>
                </a:cubicBezTo>
                <a:cubicBezTo>
                  <a:pt x="4313" y="497"/>
                  <a:pt x="4312" y="499"/>
                  <a:pt x="4312" y="499"/>
                </a:cubicBezTo>
                <a:close/>
                <a:moveTo>
                  <a:pt x="4262" y="691"/>
                </a:moveTo>
                <a:lnTo>
                  <a:pt x="4262" y="691"/>
                </a:lnTo>
                <a:cubicBezTo>
                  <a:pt x="4262" y="691"/>
                  <a:pt x="4261" y="691"/>
                  <a:pt x="4261" y="690"/>
                </a:cubicBezTo>
                <a:lnTo>
                  <a:pt x="4261" y="688"/>
                </a:lnTo>
                <a:cubicBezTo>
                  <a:pt x="4261" y="686"/>
                  <a:pt x="4262" y="686"/>
                  <a:pt x="4262" y="686"/>
                </a:cubicBezTo>
                <a:lnTo>
                  <a:pt x="4262" y="686"/>
                </a:lnTo>
                <a:cubicBezTo>
                  <a:pt x="4263" y="687"/>
                  <a:pt x="4263" y="688"/>
                  <a:pt x="4263" y="688"/>
                </a:cubicBezTo>
                <a:cubicBezTo>
                  <a:pt x="4263" y="690"/>
                  <a:pt x="4263" y="691"/>
                  <a:pt x="4262" y="691"/>
                </a:cubicBezTo>
                <a:close/>
                <a:moveTo>
                  <a:pt x="4644" y="606"/>
                </a:moveTo>
                <a:close/>
                <a:moveTo>
                  <a:pt x="4357" y="786"/>
                </a:moveTo>
                <a:lnTo>
                  <a:pt x="4340" y="785"/>
                </a:lnTo>
                <a:cubicBezTo>
                  <a:pt x="4331" y="784"/>
                  <a:pt x="4322" y="783"/>
                  <a:pt x="4315" y="779"/>
                </a:cubicBezTo>
                <a:cubicBezTo>
                  <a:pt x="4307" y="776"/>
                  <a:pt x="4301" y="772"/>
                  <a:pt x="4298" y="768"/>
                </a:cubicBezTo>
                <a:cubicBezTo>
                  <a:pt x="4296" y="766"/>
                  <a:pt x="4295" y="765"/>
                  <a:pt x="4293" y="765"/>
                </a:cubicBezTo>
                <a:cubicBezTo>
                  <a:pt x="4292" y="765"/>
                  <a:pt x="4290" y="764"/>
                  <a:pt x="4288" y="763"/>
                </a:cubicBezTo>
                <a:cubicBezTo>
                  <a:pt x="4283" y="760"/>
                  <a:pt x="4281" y="758"/>
                  <a:pt x="4281" y="756"/>
                </a:cubicBezTo>
                <a:cubicBezTo>
                  <a:pt x="4281" y="756"/>
                  <a:pt x="4281" y="756"/>
                  <a:pt x="4282" y="756"/>
                </a:cubicBezTo>
                <a:cubicBezTo>
                  <a:pt x="4282" y="756"/>
                  <a:pt x="4283" y="756"/>
                  <a:pt x="4284" y="757"/>
                </a:cubicBezTo>
                <a:cubicBezTo>
                  <a:pt x="4285" y="757"/>
                  <a:pt x="4286" y="758"/>
                  <a:pt x="4287" y="759"/>
                </a:cubicBezTo>
                <a:lnTo>
                  <a:pt x="4288" y="760"/>
                </a:lnTo>
                <a:cubicBezTo>
                  <a:pt x="4288" y="760"/>
                  <a:pt x="4288" y="759"/>
                  <a:pt x="4288" y="759"/>
                </a:cubicBezTo>
                <a:lnTo>
                  <a:pt x="4287" y="756"/>
                </a:lnTo>
                <a:cubicBezTo>
                  <a:pt x="4282" y="748"/>
                  <a:pt x="4278" y="742"/>
                  <a:pt x="4277" y="737"/>
                </a:cubicBezTo>
                <a:cubicBezTo>
                  <a:pt x="4274" y="732"/>
                  <a:pt x="4273" y="726"/>
                  <a:pt x="4272" y="719"/>
                </a:cubicBezTo>
                <a:cubicBezTo>
                  <a:pt x="4271" y="707"/>
                  <a:pt x="4270" y="691"/>
                  <a:pt x="4270" y="670"/>
                </a:cubicBezTo>
                <a:cubicBezTo>
                  <a:pt x="4270" y="662"/>
                  <a:pt x="4271" y="658"/>
                  <a:pt x="4272" y="658"/>
                </a:cubicBezTo>
                <a:lnTo>
                  <a:pt x="4275" y="659"/>
                </a:lnTo>
                <a:cubicBezTo>
                  <a:pt x="4275" y="659"/>
                  <a:pt x="4276" y="659"/>
                  <a:pt x="4276" y="658"/>
                </a:cubicBezTo>
                <a:lnTo>
                  <a:pt x="4276" y="658"/>
                </a:lnTo>
                <a:cubicBezTo>
                  <a:pt x="4275" y="658"/>
                  <a:pt x="4275" y="657"/>
                  <a:pt x="4275" y="657"/>
                </a:cubicBezTo>
                <a:cubicBezTo>
                  <a:pt x="4275" y="656"/>
                  <a:pt x="4276" y="655"/>
                  <a:pt x="4277" y="653"/>
                </a:cubicBezTo>
                <a:cubicBezTo>
                  <a:pt x="4278" y="652"/>
                  <a:pt x="4278" y="651"/>
                  <a:pt x="4278" y="650"/>
                </a:cubicBezTo>
                <a:cubicBezTo>
                  <a:pt x="4278" y="649"/>
                  <a:pt x="4278" y="649"/>
                  <a:pt x="4277" y="649"/>
                </a:cubicBezTo>
                <a:cubicBezTo>
                  <a:pt x="4276" y="649"/>
                  <a:pt x="4275" y="650"/>
                  <a:pt x="4273" y="651"/>
                </a:cubicBezTo>
                <a:cubicBezTo>
                  <a:pt x="4272" y="653"/>
                  <a:pt x="4271" y="654"/>
                  <a:pt x="4270" y="654"/>
                </a:cubicBezTo>
                <a:cubicBezTo>
                  <a:pt x="4270" y="654"/>
                  <a:pt x="4270" y="653"/>
                  <a:pt x="4270" y="651"/>
                </a:cubicBezTo>
                <a:cubicBezTo>
                  <a:pt x="4270" y="648"/>
                  <a:pt x="4270" y="644"/>
                  <a:pt x="4271" y="637"/>
                </a:cubicBezTo>
                <a:lnTo>
                  <a:pt x="4271" y="627"/>
                </a:lnTo>
                <a:cubicBezTo>
                  <a:pt x="4271" y="623"/>
                  <a:pt x="4271" y="621"/>
                  <a:pt x="4270" y="621"/>
                </a:cubicBezTo>
                <a:cubicBezTo>
                  <a:pt x="4270" y="622"/>
                  <a:pt x="4269" y="624"/>
                  <a:pt x="4268" y="628"/>
                </a:cubicBezTo>
                <a:cubicBezTo>
                  <a:pt x="4268" y="631"/>
                  <a:pt x="4267" y="635"/>
                  <a:pt x="4266" y="639"/>
                </a:cubicBezTo>
                <a:cubicBezTo>
                  <a:pt x="4265" y="644"/>
                  <a:pt x="4265" y="647"/>
                  <a:pt x="4265" y="651"/>
                </a:cubicBezTo>
                <a:cubicBezTo>
                  <a:pt x="4265" y="654"/>
                  <a:pt x="4265" y="656"/>
                  <a:pt x="4264" y="656"/>
                </a:cubicBezTo>
                <a:cubicBezTo>
                  <a:pt x="4264" y="656"/>
                  <a:pt x="4263" y="656"/>
                  <a:pt x="4263" y="655"/>
                </a:cubicBezTo>
                <a:cubicBezTo>
                  <a:pt x="4263" y="654"/>
                  <a:pt x="4263" y="654"/>
                  <a:pt x="4262" y="654"/>
                </a:cubicBezTo>
                <a:cubicBezTo>
                  <a:pt x="4261" y="654"/>
                  <a:pt x="4260" y="662"/>
                  <a:pt x="4260" y="677"/>
                </a:cubicBezTo>
                <a:lnTo>
                  <a:pt x="4260" y="687"/>
                </a:lnTo>
                <a:cubicBezTo>
                  <a:pt x="4260" y="702"/>
                  <a:pt x="4261" y="711"/>
                  <a:pt x="4264" y="715"/>
                </a:cubicBezTo>
                <a:cubicBezTo>
                  <a:pt x="4265" y="718"/>
                  <a:pt x="4266" y="720"/>
                  <a:pt x="4266" y="721"/>
                </a:cubicBezTo>
                <a:lnTo>
                  <a:pt x="4266" y="723"/>
                </a:lnTo>
                <a:cubicBezTo>
                  <a:pt x="4266" y="723"/>
                  <a:pt x="4266" y="723"/>
                  <a:pt x="4268" y="723"/>
                </a:cubicBezTo>
                <a:cubicBezTo>
                  <a:pt x="4269" y="723"/>
                  <a:pt x="4270" y="724"/>
                  <a:pt x="4271" y="724"/>
                </a:cubicBezTo>
                <a:cubicBezTo>
                  <a:pt x="4272" y="725"/>
                  <a:pt x="4272" y="725"/>
                  <a:pt x="4272" y="726"/>
                </a:cubicBezTo>
                <a:cubicBezTo>
                  <a:pt x="4272" y="727"/>
                  <a:pt x="4272" y="728"/>
                  <a:pt x="4271" y="728"/>
                </a:cubicBezTo>
                <a:cubicBezTo>
                  <a:pt x="4271" y="728"/>
                  <a:pt x="4270" y="727"/>
                  <a:pt x="4270" y="727"/>
                </a:cubicBezTo>
                <a:cubicBezTo>
                  <a:pt x="4269" y="727"/>
                  <a:pt x="4269" y="727"/>
                  <a:pt x="4268" y="727"/>
                </a:cubicBezTo>
                <a:cubicBezTo>
                  <a:pt x="4267" y="727"/>
                  <a:pt x="4266" y="728"/>
                  <a:pt x="4266" y="730"/>
                </a:cubicBezTo>
                <a:cubicBezTo>
                  <a:pt x="4266" y="732"/>
                  <a:pt x="4267" y="734"/>
                  <a:pt x="4268" y="738"/>
                </a:cubicBezTo>
                <a:cubicBezTo>
                  <a:pt x="4270" y="741"/>
                  <a:pt x="4271" y="744"/>
                  <a:pt x="4271" y="746"/>
                </a:cubicBezTo>
                <a:lnTo>
                  <a:pt x="4271" y="746"/>
                </a:lnTo>
                <a:cubicBezTo>
                  <a:pt x="4270" y="746"/>
                  <a:pt x="4268" y="742"/>
                  <a:pt x="4264" y="734"/>
                </a:cubicBezTo>
                <a:cubicBezTo>
                  <a:pt x="4261" y="725"/>
                  <a:pt x="4259" y="720"/>
                  <a:pt x="4259" y="719"/>
                </a:cubicBezTo>
                <a:cubicBezTo>
                  <a:pt x="4259" y="717"/>
                  <a:pt x="4258" y="714"/>
                  <a:pt x="4256" y="710"/>
                </a:cubicBezTo>
                <a:lnTo>
                  <a:pt x="4256" y="707"/>
                </a:lnTo>
                <a:cubicBezTo>
                  <a:pt x="4254" y="704"/>
                  <a:pt x="4253" y="702"/>
                  <a:pt x="4253" y="700"/>
                </a:cubicBezTo>
                <a:lnTo>
                  <a:pt x="4253" y="697"/>
                </a:lnTo>
                <a:cubicBezTo>
                  <a:pt x="4253" y="696"/>
                  <a:pt x="4253" y="693"/>
                  <a:pt x="4252" y="690"/>
                </a:cubicBezTo>
                <a:cubicBezTo>
                  <a:pt x="4250" y="683"/>
                  <a:pt x="4249" y="674"/>
                  <a:pt x="4249" y="665"/>
                </a:cubicBezTo>
                <a:cubicBezTo>
                  <a:pt x="4249" y="659"/>
                  <a:pt x="4250" y="651"/>
                  <a:pt x="4251" y="642"/>
                </a:cubicBezTo>
                <a:cubicBezTo>
                  <a:pt x="4253" y="628"/>
                  <a:pt x="4255" y="619"/>
                  <a:pt x="4256" y="616"/>
                </a:cubicBezTo>
                <a:lnTo>
                  <a:pt x="4259" y="596"/>
                </a:lnTo>
                <a:cubicBezTo>
                  <a:pt x="4259" y="594"/>
                  <a:pt x="4260" y="593"/>
                  <a:pt x="4261" y="593"/>
                </a:cubicBezTo>
                <a:cubicBezTo>
                  <a:pt x="4262" y="593"/>
                  <a:pt x="4262" y="593"/>
                  <a:pt x="4262" y="591"/>
                </a:cubicBezTo>
                <a:lnTo>
                  <a:pt x="4262" y="586"/>
                </a:lnTo>
                <a:cubicBezTo>
                  <a:pt x="4262" y="585"/>
                  <a:pt x="4262" y="584"/>
                  <a:pt x="4263" y="584"/>
                </a:cubicBezTo>
                <a:cubicBezTo>
                  <a:pt x="4264" y="584"/>
                  <a:pt x="4264" y="583"/>
                  <a:pt x="4264" y="583"/>
                </a:cubicBezTo>
                <a:lnTo>
                  <a:pt x="4264" y="579"/>
                </a:lnTo>
                <a:cubicBezTo>
                  <a:pt x="4264" y="578"/>
                  <a:pt x="4264" y="577"/>
                  <a:pt x="4265" y="577"/>
                </a:cubicBezTo>
                <a:cubicBezTo>
                  <a:pt x="4267" y="577"/>
                  <a:pt x="4267" y="576"/>
                  <a:pt x="4267" y="575"/>
                </a:cubicBezTo>
                <a:lnTo>
                  <a:pt x="4267" y="575"/>
                </a:lnTo>
                <a:cubicBezTo>
                  <a:pt x="4267" y="573"/>
                  <a:pt x="4268" y="571"/>
                  <a:pt x="4270" y="567"/>
                </a:cubicBezTo>
                <a:cubicBezTo>
                  <a:pt x="4272" y="564"/>
                  <a:pt x="4273" y="562"/>
                  <a:pt x="4273" y="560"/>
                </a:cubicBezTo>
                <a:lnTo>
                  <a:pt x="4272" y="557"/>
                </a:lnTo>
                <a:cubicBezTo>
                  <a:pt x="4272" y="556"/>
                  <a:pt x="4273" y="556"/>
                  <a:pt x="4273" y="556"/>
                </a:cubicBezTo>
                <a:cubicBezTo>
                  <a:pt x="4274" y="556"/>
                  <a:pt x="4275" y="556"/>
                  <a:pt x="4275" y="554"/>
                </a:cubicBezTo>
                <a:lnTo>
                  <a:pt x="4274" y="552"/>
                </a:lnTo>
                <a:cubicBezTo>
                  <a:pt x="4274" y="550"/>
                  <a:pt x="4275" y="550"/>
                  <a:pt x="4277" y="550"/>
                </a:cubicBezTo>
                <a:cubicBezTo>
                  <a:pt x="4279" y="550"/>
                  <a:pt x="4280" y="549"/>
                  <a:pt x="4280" y="548"/>
                </a:cubicBezTo>
                <a:lnTo>
                  <a:pt x="4279" y="546"/>
                </a:lnTo>
                <a:cubicBezTo>
                  <a:pt x="4279" y="544"/>
                  <a:pt x="4280" y="542"/>
                  <a:pt x="4281" y="540"/>
                </a:cubicBezTo>
                <a:cubicBezTo>
                  <a:pt x="4283" y="538"/>
                  <a:pt x="4283" y="537"/>
                  <a:pt x="4284" y="537"/>
                </a:cubicBezTo>
                <a:lnTo>
                  <a:pt x="4283" y="539"/>
                </a:lnTo>
                <a:cubicBezTo>
                  <a:pt x="4283" y="540"/>
                  <a:pt x="4283" y="540"/>
                  <a:pt x="4283" y="540"/>
                </a:cubicBezTo>
                <a:cubicBezTo>
                  <a:pt x="4283" y="540"/>
                  <a:pt x="4284" y="540"/>
                  <a:pt x="4285" y="539"/>
                </a:cubicBezTo>
                <a:cubicBezTo>
                  <a:pt x="4286" y="538"/>
                  <a:pt x="4286" y="537"/>
                  <a:pt x="4286" y="536"/>
                </a:cubicBezTo>
                <a:lnTo>
                  <a:pt x="4286" y="533"/>
                </a:lnTo>
                <a:cubicBezTo>
                  <a:pt x="4286" y="532"/>
                  <a:pt x="4286" y="531"/>
                  <a:pt x="4287" y="531"/>
                </a:cubicBezTo>
                <a:cubicBezTo>
                  <a:pt x="4287" y="530"/>
                  <a:pt x="4287" y="529"/>
                  <a:pt x="4288" y="529"/>
                </a:cubicBezTo>
                <a:cubicBezTo>
                  <a:pt x="4288" y="529"/>
                  <a:pt x="4288" y="529"/>
                  <a:pt x="4288" y="530"/>
                </a:cubicBezTo>
                <a:lnTo>
                  <a:pt x="4287" y="534"/>
                </a:lnTo>
                <a:lnTo>
                  <a:pt x="4287" y="534"/>
                </a:lnTo>
                <a:cubicBezTo>
                  <a:pt x="4288" y="534"/>
                  <a:pt x="4290" y="532"/>
                  <a:pt x="4292" y="527"/>
                </a:cubicBezTo>
                <a:cubicBezTo>
                  <a:pt x="4294" y="524"/>
                  <a:pt x="4295" y="522"/>
                  <a:pt x="4295" y="522"/>
                </a:cubicBezTo>
                <a:lnTo>
                  <a:pt x="4292" y="525"/>
                </a:lnTo>
                <a:cubicBezTo>
                  <a:pt x="4292" y="524"/>
                  <a:pt x="4293" y="521"/>
                  <a:pt x="4295" y="517"/>
                </a:cubicBezTo>
                <a:cubicBezTo>
                  <a:pt x="4300" y="511"/>
                  <a:pt x="4303" y="508"/>
                  <a:pt x="4304" y="508"/>
                </a:cubicBezTo>
                <a:lnTo>
                  <a:pt x="4305" y="508"/>
                </a:lnTo>
                <a:cubicBezTo>
                  <a:pt x="4305" y="508"/>
                  <a:pt x="4306" y="507"/>
                  <a:pt x="4306" y="507"/>
                </a:cubicBezTo>
                <a:lnTo>
                  <a:pt x="4306" y="506"/>
                </a:lnTo>
                <a:cubicBezTo>
                  <a:pt x="4306" y="505"/>
                  <a:pt x="4306" y="504"/>
                  <a:pt x="4307" y="504"/>
                </a:cubicBezTo>
                <a:cubicBezTo>
                  <a:pt x="4308" y="504"/>
                  <a:pt x="4313" y="500"/>
                  <a:pt x="4321" y="492"/>
                </a:cubicBezTo>
                <a:cubicBezTo>
                  <a:pt x="4343" y="471"/>
                  <a:pt x="4365" y="458"/>
                  <a:pt x="4389" y="453"/>
                </a:cubicBezTo>
                <a:cubicBezTo>
                  <a:pt x="4397" y="451"/>
                  <a:pt x="4401" y="450"/>
                  <a:pt x="4401" y="448"/>
                </a:cubicBezTo>
                <a:lnTo>
                  <a:pt x="4400" y="447"/>
                </a:lnTo>
                <a:lnTo>
                  <a:pt x="4401" y="447"/>
                </a:lnTo>
                <a:cubicBezTo>
                  <a:pt x="4401" y="447"/>
                  <a:pt x="4402" y="448"/>
                  <a:pt x="4403" y="449"/>
                </a:cubicBezTo>
                <a:cubicBezTo>
                  <a:pt x="4404" y="450"/>
                  <a:pt x="4406" y="451"/>
                  <a:pt x="4406" y="451"/>
                </a:cubicBezTo>
                <a:cubicBezTo>
                  <a:pt x="4407" y="451"/>
                  <a:pt x="4408" y="450"/>
                  <a:pt x="4408" y="450"/>
                </a:cubicBezTo>
                <a:cubicBezTo>
                  <a:pt x="4410" y="448"/>
                  <a:pt x="4412" y="447"/>
                  <a:pt x="4414" y="447"/>
                </a:cubicBezTo>
                <a:cubicBezTo>
                  <a:pt x="4416" y="447"/>
                  <a:pt x="4417" y="448"/>
                  <a:pt x="4418" y="450"/>
                </a:cubicBezTo>
                <a:lnTo>
                  <a:pt x="4418" y="451"/>
                </a:lnTo>
                <a:cubicBezTo>
                  <a:pt x="4418" y="452"/>
                  <a:pt x="4418" y="453"/>
                  <a:pt x="4417" y="453"/>
                </a:cubicBezTo>
                <a:lnTo>
                  <a:pt x="4412" y="452"/>
                </a:lnTo>
                <a:cubicBezTo>
                  <a:pt x="4409" y="452"/>
                  <a:pt x="4407" y="453"/>
                  <a:pt x="4407" y="454"/>
                </a:cubicBezTo>
                <a:cubicBezTo>
                  <a:pt x="4407" y="455"/>
                  <a:pt x="4408" y="455"/>
                  <a:pt x="4410" y="455"/>
                </a:cubicBezTo>
                <a:cubicBezTo>
                  <a:pt x="4411" y="456"/>
                  <a:pt x="4413" y="456"/>
                  <a:pt x="4415" y="457"/>
                </a:cubicBezTo>
                <a:cubicBezTo>
                  <a:pt x="4418" y="458"/>
                  <a:pt x="4420" y="459"/>
                  <a:pt x="4423" y="460"/>
                </a:cubicBezTo>
                <a:cubicBezTo>
                  <a:pt x="4426" y="462"/>
                  <a:pt x="4427" y="462"/>
                  <a:pt x="4429" y="462"/>
                </a:cubicBezTo>
                <a:cubicBezTo>
                  <a:pt x="4430" y="462"/>
                  <a:pt x="4430" y="462"/>
                  <a:pt x="4430" y="462"/>
                </a:cubicBezTo>
                <a:lnTo>
                  <a:pt x="4430" y="461"/>
                </a:lnTo>
                <a:cubicBezTo>
                  <a:pt x="4430" y="460"/>
                  <a:pt x="4431" y="459"/>
                  <a:pt x="4432" y="459"/>
                </a:cubicBezTo>
                <a:cubicBezTo>
                  <a:pt x="4434" y="459"/>
                  <a:pt x="4435" y="460"/>
                  <a:pt x="4435" y="462"/>
                </a:cubicBezTo>
                <a:lnTo>
                  <a:pt x="4435" y="463"/>
                </a:lnTo>
                <a:cubicBezTo>
                  <a:pt x="4435" y="465"/>
                  <a:pt x="4436" y="467"/>
                  <a:pt x="4439" y="468"/>
                </a:cubicBezTo>
                <a:cubicBezTo>
                  <a:pt x="4441" y="469"/>
                  <a:pt x="4444" y="471"/>
                  <a:pt x="4447" y="474"/>
                </a:cubicBezTo>
                <a:cubicBezTo>
                  <a:pt x="4456" y="481"/>
                  <a:pt x="4460" y="486"/>
                  <a:pt x="4460" y="489"/>
                </a:cubicBezTo>
                <a:lnTo>
                  <a:pt x="4459" y="491"/>
                </a:lnTo>
                <a:cubicBezTo>
                  <a:pt x="4459" y="492"/>
                  <a:pt x="4460" y="492"/>
                  <a:pt x="4461" y="492"/>
                </a:cubicBezTo>
                <a:cubicBezTo>
                  <a:pt x="4461" y="493"/>
                  <a:pt x="4461" y="494"/>
                  <a:pt x="4461" y="497"/>
                </a:cubicBezTo>
                <a:cubicBezTo>
                  <a:pt x="4461" y="500"/>
                  <a:pt x="4461" y="506"/>
                  <a:pt x="4459" y="514"/>
                </a:cubicBezTo>
                <a:cubicBezTo>
                  <a:pt x="4457" y="522"/>
                  <a:pt x="4454" y="529"/>
                  <a:pt x="4452" y="535"/>
                </a:cubicBezTo>
                <a:cubicBezTo>
                  <a:pt x="4449" y="542"/>
                  <a:pt x="4448" y="546"/>
                  <a:pt x="4448" y="549"/>
                </a:cubicBezTo>
                <a:cubicBezTo>
                  <a:pt x="4448" y="549"/>
                  <a:pt x="4448" y="550"/>
                  <a:pt x="4448" y="550"/>
                </a:cubicBezTo>
                <a:cubicBezTo>
                  <a:pt x="4449" y="550"/>
                  <a:pt x="4449" y="550"/>
                  <a:pt x="4449" y="551"/>
                </a:cubicBezTo>
                <a:cubicBezTo>
                  <a:pt x="4449" y="552"/>
                  <a:pt x="4448" y="554"/>
                  <a:pt x="4445" y="557"/>
                </a:cubicBezTo>
                <a:cubicBezTo>
                  <a:pt x="4442" y="560"/>
                  <a:pt x="4440" y="562"/>
                  <a:pt x="4440" y="563"/>
                </a:cubicBezTo>
                <a:cubicBezTo>
                  <a:pt x="4440" y="564"/>
                  <a:pt x="4439" y="567"/>
                  <a:pt x="4435" y="572"/>
                </a:cubicBezTo>
                <a:cubicBezTo>
                  <a:pt x="4431" y="577"/>
                  <a:pt x="4427" y="582"/>
                  <a:pt x="4422" y="588"/>
                </a:cubicBezTo>
                <a:cubicBezTo>
                  <a:pt x="4417" y="594"/>
                  <a:pt x="4413" y="599"/>
                  <a:pt x="4409" y="603"/>
                </a:cubicBezTo>
                <a:cubicBezTo>
                  <a:pt x="4371" y="643"/>
                  <a:pt x="4340" y="663"/>
                  <a:pt x="4317" y="663"/>
                </a:cubicBezTo>
                <a:cubicBezTo>
                  <a:pt x="4309" y="663"/>
                  <a:pt x="4303" y="661"/>
                  <a:pt x="4298" y="656"/>
                </a:cubicBezTo>
                <a:cubicBezTo>
                  <a:pt x="4296" y="654"/>
                  <a:pt x="4294" y="653"/>
                  <a:pt x="4293" y="653"/>
                </a:cubicBezTo>
                <a:cubicBezTo>
                  <a:pt x="4291" y="653"/>
                  <a:pt x="4290" y="657"/>
                  <a:pt x="4290" y="666"/>
                </a:cubicBezTo>
                <a:cubicBezTo>
                  <a:pt x="4289" y="674"/>
                  <a:pt x="4288" y="682"/>
                  <a:pt x="4288" y="691"/>
                </a:cubicBezTo>
                <a:cubicBezTo>
                  <a:pt x="4288" y="704"/>
                  <a:pt x="4289" y="715"/>
                  <a:pt x="4291" y="726"/>
                </a:cubicBezTo>
                <a:cubicBezTo>
                  <a:pt x="4293" y="737"/>
                  <a:pt x="4295" y="742"/>
                  <a:pt x="4297" y="742"/>
                </a:cubicBezTo>
                <a:cubicBezTo>
                  <a:pt x="4299" y="742"/>
                  <a:pt x="4300" y="744"/>
                  <a:pt x="4300" y="746"/>
                </a:cubicBezTo>
                <a:cubicBezTo>
                  <a:pt x="4300" y="753"/>
                  <a:pt x="4306" y="759"/>
                  <a:pt x="4317" y="765"/>
                </a:cubicBezTo>
                <a:cubicBezTo>
                  <a:pt x="4328" y="771"/>
                  <a:pt x="4339" y="774"/>
                  <a:pt x="4351" y="774"/>
                </a:cubicBezTo>
                <a:cubicBezTo>
                  <a:pt x="4357" y="774"/>
                  <a:pt x="4365" y="772"/>
                  <a:pt x="4377" y="770"/>
                </a:cubicBezTo>
                <a:cubicBezTo>
                  <a:pt x="4384" y="769"/>
                  <a:pt x="4392" y="767"/>
                  <a:pt x="4403" y="764"/>
                </a:cubicBezTo>
                <a:cubicBezTo>
                  <a:pt x="4408" y="763"/>
                  <a:pt x="4412" y="762"/>
                  <a:pt x="4416" y="761"/>
                </a:cubicBezTo>
                <a:cubicBezTo>
                  <a:pt x="4419" y="760"/>
                  <a:pt x="4422" y="760"/>
                  <a:pt x="4423" y="759"/>
                </a:cubicBezTo>
                <a:cubicBezTo>
                  <a:pt x="4424" y="759"/>
                  <a:pt x="4426" y="759"/>
                  <a:pt x="4427" y="758"/>
                </a:cubicBezTo>
                <a:cubicBezTo>
                  <a:pt x="4428" y="757"/>
                  <a:pt x="4429" y="756"/>
                  <a:pt x="4430" y="756"/>
                </a:cubicBezTo>
                <a:lnTo>
                  <a:pt x="4434" y="757"/>
                </a:lnTo>
                <a:cubicBezTo>
                  <a:pt x="4434" y="757"/>
                  <a:pt x="4435" y="757"/>
                  <a:pt x="4435" y="756"/>
                </a:cubicBezTo>
                <a:cubicBezTo>
                  <a:pt x="4435" y="755"/>
                  <a:pt x="4435" y="754"/>
                  <a:pt x="4436" y="754"/>
                </a:cubicBezTo>
                <a:lnTo>
                  <a:pt x="4437" y="755"/>
                </a:lnTo>
                <a:cubicBezTo>
                  <a:pt x="4438" y="755"/>
                  <a:pt x="4439" y="754"/>
                  <a:pt x="4441" y="753"/>
                </a:cubicBezTo>
                <a:cubicBezTo>
                  <a:pt x="4441" y="752"/>
                  <a:pt x="4443" y="751"/>
                  <a:pt x="4445" y="751"/>
                </a:cubicBezTo>
                <a:cubicBezTo>
                  <a:pt x="4449" y="751"/>
                  <a:pt x="4464" y="745"/>
                  <a:pt x="4491" y="733"/>
                </a:cubicBezTo>
                <a:cubicBezTo>
                  <a:pt x="4517" y="720"/>
                  <a:pt x="4532" y="713"/>
                  <a:pt x="4537" y="710"/>
                </a:cubicBezTo>
                <a:cubicBezTo>
                  <a:pt x="4540" y="708"/>
                  <a:pt x="4543" y="708"/>
                  <a:pt x="4544" y="708"/>
                </a:cubicBezTo>
                <a:cubicBezTo>
                  <a:pt x="4546" y="708"/>
                  <a:pt x="4551" y="704"/>
                  <a:pt x="4562" y="697"/>
                </a:cubicBezTo>
                <a:cubicBezTo>
                  <a:pt x="4572" y="691"/>
                  <a:pt x="4578" y="688"/>
                  <a:pt x="4580" y="688"/>
                </a:cubicBezTo>
                <a:cubicBezTo>
                  <a:pt x="4581" y="688"/>
                  <a:pt x="4581" y="689"/>
                  <a:pt x="4581" y="689"/>
                </a:cubicBezTo>
                <a:cubicBezTo>
                  <a:pt x="4581" y="691"/>
                  <a:pt x="4569" y="700"/>
                  <a:pt x="4545" y="713"/>
                </a:cubicBezTo>
                <a:cubicBezTo>
                  <a:pt x="4533" y="720"/>
                  <a:pt x="4527" y="724"/>
                  <a:pt x="4527" y="725"/>
                </a:cubicBezTo>
                <a:lnTo>
                  <a:pt x="4527" y="725"/>
                </a:lnTo>
                <a:cubicBezTo>
                  <a:pt x="4528" y="725"/>
                  <a:pt x="4538" y="720"/>
                  <a:pt x="4555" y="711"/>
                </a:cubicBezTo>
                <a:cubicBezTo>
                  <a:pt x="4573" y="701"/>
                  <a:pt x="4583" y="696"/>
                  <a:pt x="4585" y="696"/>
                </a:cubicBezTo>
                <a:cubicBezTo>
                  <a:pt x="4587" y="696"/>
                  <a:pt x="4588" y="696"/>
                  <a:pt x="4588" y="695"/>
                </a:cubicBezTo>
                <a:lnTo>
                  <a:pt x="4587" y="692"/>
                </a:lnTo>
                <a:cubicBezTo>
                  <a:pt x="4587" y="692"/>
                  <a:pt x="4588" y="692"/>
                  <a:pt x="4588" y="692"/>
                </a:cubicBezTo>
                <a:cubicBezTo>
                  <a:pt x="4588" y="692"/>
                  <a:pt x="4589" y="693"/>
                  <a:pt x="4589" y="693"/>
                </a:cubicBezTo>
                <a:cubicBezTo>
                  <a:pt x="4591" y="693"/>
                  <a:pt x="4592" y="692"/>
                  <a:pt x="4594" y="691"/>
                </a:cubicBezTo>
                <a:lnTo>
                  <a:pt x="4598" y="689"/>
                </a:lnTo>
                <a:cubicBezTo>
                  <a:pt x="4598" y="691"/>
                  <a:pt x="4589" y="697"/>
                  <a:pt x="4569" y="709"/>
                </a:cubicBezTo>
                <a:cubicBezTo>
                  <a:pt x="4487" y="760"/>
                  <a:pt x="4416" y="786"/>
                  <a:pt x="4357" y="786"/>
                </a:cubicBezTo>
                <a:close/>
                <a:moveTo>
                  <a:pt x="4255" y="666"/>
                </a:moveTo>
                <a:cubicBezTo>
                  <a:pt x="4255" y="666"/>
                  <a:pt x="4256" y="665"/>
                  <a:pt x="4257" y="662"/>
                </a:cubicBezTo>
                <a:cubicBezTo>
                  <a:pt x="4258" y="660"/>
                  <a:pt x="4258" y="659"/>
                  <a:pt x="4258" y="657"/>
                </a:cubicBezTo>
                <a:cubicBezTo>
                  <a:pt x="4258" y="656"/>
                  <a:pt x="4258" y="655"/>
                  <a:pt x="4257" y="654"/>
                </a:cubicBezTo>
                <a:lnTo>
                  <a:pt x="4256" y="653"/>
                </a:lnTo>
                <a:cubicBezTo>
                  <a:pt x="4255" y="653"/>
                  <a:pt x="4255" y="655"/>
                  <a:pt x="4255" y="660"/>
                </a:cubicBezTo>
                <a:cubicBezTo>
                  <a:pt x="4255" y="664"/>
                  <a:pt x="4255" y="666"/>
                  <a:pt x="4255" y="666"/>
                </a:cubicBezTo>
                <a:close/>
                <a:moveTo>
                  <a:pt x="4258" y="643"/>
                </a:moveTo>
                <a:cubicBezTo>
                  <a:pt x="4259" y="643"/>
                  <a:pt x="4259" y="641"/>
                  <a:pt x="4260" y="637"/>
                </a:cubicBezTo>
                <a:lnTo>
                  <a:pt x="4260" y="637"/>
                </a:lnTo>
                <a:cubicBezTo>
                  <a:pt x="4260" y="636"/>
                  <a:pt x="4260" y="635"/>
                  <a:pt x="4259" y="634"/>
                </a:cubicBezTo>
                <a:cubicBezTo>
                  <a:pt x="4259" y="633"/>
                  <a:pt x="4259" y="633"/>
                  <a:pt x="4258" y="633"/>
                </a:cubicBezTo>
                <a:cubicBezTo>
                  <a:pt x="4257" y="633"/>
                  <a:pt x="4257" y="635"/>
                  <a:pt x="4256" y="638"/>
                </a:cubicBezTo>
                <a:cubicBezTo>
                  <a:pt x="4256" y="641"/>
                  <a:pt x="4257" y="643"/>
                  <a:pt x="4258" y="643"/>
                </a:cubicBezTo>
                <a:close/>
                <a:moveTo>
                  <a:pt x="4315" y="655"/>
                </a:moveTo>
                <a:lnTo>
                  <a:pt x="4325" y="652"/>
                </a:lnTo>
                <a:cubicBezTo>
                  <a:pt x="4330" y="651"/>
                  <a:pt x="4333" y="649"/>
                  <a:pt x="4333" y="648"/>
                </a:cubicBezTo>
                <a:lnTo>
                  <a:pt x="4333" y="646"/>
                </a:lnTo>
                <a:lnTo>
                  <a:pt x="4335" y="647"/>
                </a:lnTo>
                <a:cubicBezTo>
                  <a:pt x="4337" y="647"/>
                  <a:pt x="4339" y="647"/>
                  <a:pt x="4342" y="646"/>
                </a:cubicBezTo>
                <a:cubicBezTo>
                  <a:pt x="4344" y="645"/>
                  <a:pt x="4346" y="644"/>
                  <a:pt x="4348" y="642"/>
                </a:cubicBezTo>
                <a:cubicBezTo>
                  <a:pt x="4350" y="641"/>
                  <a:pt x="4351" y="640"/>
                  <a:pt x="4351" y="639"/>
                </a:cubicBezTo>
                <a:lnTo>
                  <a:pt x="4351" y="638"/>
                </a:lnTo>
                <a:cubicBezTo>
                  <a:pt x="4351" y="638"/>
                  <a:pt x="4351" y="637"/>
                  <a:pt x="4351" y="637"/>
                </a:cubicBezTo>
                <a:lnTo>
                  <a:pt x="4353" y="638"/>
                </a:lnTo>
                <a:cubicBezTo>
                  <a:pt x="4355" y="638"/>
                  <a:pt x="4357" y="637"/>
                  <a:pt x="4360" y="634"/>
                </a:cubicBezTo>
                <a:cubicBezTo>
                  <a:pt x="4362" y="632"/>
                  <a:pt x="4364" y="630"/>
                  <a:pt x="4365" y="630"/>
                </a:cubicBezTo>
                <a:cubicBezTo>
                  <a:pt x="4366" y="630"/>
                  <a:pt x="4368" y="629"/>
                  <a:pt x="4372" y="625"/>
                </a:cubicBezTo>
                <a:cubicBezTo>
                  <a:pt x="4377" y="620"/>
                  <a:pt x="4380" y="618"/>
                  <a:pt x="4382" y="618"/>
                </a:cubicBezTo>
                <a:cubicBezTo>
                  <a:pt x="4385" y="618"/>
                  <a:pt x="4386" y="618"/>
                  <a:pt x="4386" y="617"/>
                </a:cubicBezTo>
                <a:lnTo>
                  <a:pt x="4386" y="616"/>
                </a:lnTo>
                <a:cubicBezTo>
                  <a:pt x="4386" y="615"/>
                  <a:pt x="4386" y="614"/>
                  <a:pt x="4387" y="613"/>
                </a:cubicBezTo>
                <a:cubicBezTo>
                  <a:pt x="4389" y="612"/>
                  <a:pt x="4390" y="611"/>
                  <a:pt x="4391" y="610"/>
                </a:cubicBezTo>
                <a:cubicBezTo>
                  <a:pt x="4393" y="609"/>
                  <a:pt x="4394" y="609"/>
                  <a:pt x="4395" y="609"/>
                </a:cubicBezTo>
                <a:lnTo>
                  <a:pt x="4396" y="609"/>
                </a:lnTo>
                <a:cubicBezTo>
                  <a:pt x="4397" y="609"/>
                  <a:pt x="4399" y="607"/>
                  <a:pt x="4401" y="604"/>
                </a:cubicBezTo>
                <a:cubicBezTo>
                  <a:pt x="4403" y="602"/>
                  <a:pt x="4404" y="600"/>
                  <a:pt x="4404" y="600"/>
                </a:cubicBezTo>
                <a:lnTo>
                  <a:pt x="4396" y="607"/>
                </a:lnTo>
                <a:cubicBezTo>
                  <a:pt x="4396" y="606"/>
                  <a:pt x="4397" y="605"/>
                  <a:pt x="4399" y="602"/>
                </a:cubicBezTo>
                <a:cubicBezTo>
                  <a:pt x="4401" y="599"/>
                  <a:pt x="4403" y="598"/>
                  <a:pt x="4404" y="598"/>
                </a:cubicBezTo>
                <a:cubicBezTo>
                  <a:pt x="4406" y="598"/>
                  <a:pt x="4407" y="597"/>
                  <a:pt x="4408" y="596"/>
                </a:cubicBezTo>
                <a:cubicBezTo>
                  <a:pt x="4410" y="596"/>
                  <a:pt x="4410" y="595"/>
                  <a:pt x="4410" y="593"/>
                </a:cubicBezTo>
                <a:lnTo>
                  <a:pt x="4410" y="593"/>
                </a:lnTo>
                <a:lnTo>
                  <a:pt x="4408" y="595"/>
                </a:lnTo>
                <a:lnTo>
                  <a:pt x="4408" y="594"/>
                </a:lnTo>
                <a:cubicBezTo>
                  <a:pt x="4408" y="594"/>
                  <a:pt x="4409" y="593"/>
                  <a:pt x="4410" y="590"/>
                </a:cubicBezTo>
                <a:cubicBezTo>
                  <a:pt x="4412" y="588"/>
                  <a:pt x="4414" y="587"/>
                  <a:pt x="4415" y="586"/>
                </a:cubicBezTo>
                <a:cubicBezTo>
                  <a:pt x="4417" y="585"/>
                  <a:pt x="4417" y="584"/>
                  <a:pt x="4418" y="584"/>
                </a:cubicBezTo>
                <a:lnTo>
                  <a:pt x="4418" y="584"/>
                </a:lnTo>
                <a:cubicBezTo>
                  <a:pt x="4420" y="584"/>
                  <a:pt x="4420" y="584"/>
                  <a:pt x="4420" y="583"/>
                </a:cubicBezTo>
                <a:cubicBezTo>
                  <a:pt x="4420" y="581"/>
                  <a:pt x="4424" y="576"/>
                  <a:pt x="4430" y="567"/>
                </a:cubicBezTo>
                <a:cubicBezTo>
                  <a:pt x="4448" y="543"/>
                  <a:pt x="4457" y="522"/>
                  <a:pt x="4457" y="505"/>
                </a:cubicBezTo>
                <a:cubicBezTo>
                  <a:pt x="4457" y="501"/>
                  <a:pt x="4457" y="497"/>
                  <a:pt x="4456" y="494"/>
                </a:cubicBezTo>
                <a:cubicBezTo>
                  <a:pt x="4454" y="488"/>
                  <a:pt x="4453" y="485"/>
                  <a:pt x="4452" y="485"/>
                </a:cubicBezTo>
                <a:cubicBezTo>
                  <a:pt x="4451" y="485"/>
                  <a:pt x="4451" y="487"/>
                  <a:pt x="4451" y="492"/>
                </a:cubicBezTo>
                <a:lnTo>
                  <a:pt x="4451" y="497"/>
                </a:lnTo>
                <a:cubicBezTo>
                  <a:pt x="4451" y="509"/>
                  <a:pt x="4447" y="523"/>
                  <a:pt x="4439" y="537"/>
                </a:cubicBezTo>
                <a:cubicBezTo>
                  <a:pt x="4436" y="542"/>
                  <a:pt x="4432" y="547"/>
                  <a:pt x="4428" y="553"/>
                </a:cubicBezTo>
                <a:cubicBezTo>
                  <a:pt x="4424" y="558"/>
                  <a:pt x="4419" y="563"/>
                  <a:pt x="4415" y="568"/>
                </a:cubicBezTo>
                <a:cubicBezTo>
                  <a:pt x="4411" y="573"/>
                  <a:pt x="4408" y="575"/>
                  <a:pt x="4407" y="575"/>
                </a:cubicBezTo>
                <a:cubicBezTo>
                  <a:pt x="4406" y="575"/>
                  <a:pt x="4404" y="576"/>
                  <a:pt x="4402" y="578"/>
                </a:cubicBezTo>
                <a:cubicBezTo>
                  <a:pt x="4401" y="580"/>
                  <a:pt x="4400" y="581"/>
                  <a:pt x="4400" y="581"/>
                </a:cubicBezTo>
                <a:lnTo>
                  <a:pt x="4404" y="579"/>
                </a:lnTo>
                <a:lnTo>
                  <a:pt x="4404" y="579"/>
                </a:lnTo>
                <a:cubicBezTo>
                  <a:pt x="4404" y="580"/>
                  <a:pt x="4404" y="581"/>
                  <a:pt x="4402" y="582"/>
                </a:cubicBezTo>
                <a:cubicBezTo>
                  <a:pt x="4401" y="584"/>
                  <a:pt x="4400" y="585"/>
                  <a:pt x="4399" y="585"/>
                </a:cubicBezTo>
                <a:cubicBezTo>
                  <a:pt x="4399" y="585"/>
                  <a:pt x="4398" y="585"/>
                  <a:pt x="4398" y="584"/>
                </a:cubicBezTo>
                <a:cubicBezTo>
                  <a:pt x="4398" y="584"/>
                  <a:pt x="4398" y="584"/>
                  <a:pt x="4398" y="584"/>
                </a:cubicBezTo>
                <a:cubicBezTo>
                  <a:pt x="4396" y="584"/>
                  <a:pt x="4394" y="585"/>
                  <a:pt x="4391" y="588"/>
                </a:cubicBezTo>
                <a:cubicBezTo>
                  <a:pt x="4387" y="593"/>
                  <a:pt x="4384" y="595"/>
                  <a:pt x="4381" y="595"/>
                </a:cubicBezTo>
                <a:cubicBezTo>
                  <a:pt x="4378" y="595"/>
                  <a:pt x="4376" y="596"/>
                  <a:pt x="4376" y="599"/>
                </a:cubicBezTo>
                <a:cubicBezTo>
                  <a:pt x="4376" y="600"/>
                  <a:pt x="4376" y="600"/>
                  <a:pt x="4375" y="601"/>
                </a:cubicBezTo>
                <a:cubicBezTo>
                  <a:pt x="4374" y="602"/>
                  <a:pt x="4374" y="602"/>
                  <a:pt x="4373" y="602"/>
                </a:cubicBezTo>
                <a:cubicBezTo>
                  <a:pt x="4371" y="602"/>
                  <a:pt x="4368" y="604"/>
                  <a:pt x="4366" y="606"/>
                </a:cubicBezTo>
                <a:cubicBezTo>
                  <a:pt x="4363" y="609"/>
                  <a:pt x="4360" y="611"/>
                  <a:pt x="4357" y="611"/>
                </a:cubicBezTo>
                <a:lnTo>
                  <a:pt x="4354" y="610"/>
                </a:lnTo>
                <a:cubicBezTo>
                  <a:pt x="4351" y="610"/>
                  <a:pt x="4349" y="611"/>
                  <a:pt x="4348" y="613"/>
                </a:cubicBezTo>
                <a:cubicBezTo>
                  <a:pt x="4346" y="615"/>
                  <a:pt x="4345" y="615"/>
                  <a:pt x="4345" y="616"/>
                </a:cubicBezTo>
                <a:lnTo>
                  <a:pt x="4348" y="615"/>
                </a:lnTo>
                <a:cubicBezTo>
                  <a:pt x="4351" y="613"/>
                  <a:pt x="4353" y="612"/>
                  <a:pt x="4355" y="612"/>
                </a:cubicBezTo>
                <a:cubicBezTo>
                  <a:pt x="4356" y="612"/>
                  <a:pt x="4357" y="612"/>
                  <a:pt x="4357" y="613"/>
                </a:cubicBezTo>
                <a:cubicBezTo>
                  <a:pt x="4357" y="615"/>
                  <a:pt x="4350" y="620"/>
                  <a:pt x="4337" y="626"/>
                </a:cubicBezTo>
                <a:cubicBezTo>
                  <a:pt x="4323" y="632"/>
                  <a:pt x="4313" y="635"/>
                  <a:pt x="4306" y="635"/>
                </a:cubicBezTo>
                <a:cubicBezTo>
                  <a:pt x="4303" y="635"/>
                  <a:pt x="4300" y="634"/>
                  <a:pt x="4298" y="633"/>
                </a:cubicBezTo>
                <a:lnTo>
                  <a:pt x="4297" y="633"/>
                </a:lnTo>
                <a:cubicBezTo>
                  <a:pt x="4297" y="633"/>
                  <a:pt x="4297" y="633"/>
                  <a:pt x="4297" y="634"/>
                </a:cubicBezTo>
                <a:cubicBezTo>
                  <a:pt x="4297" y="635"/>
                  <a:pt x="4297" y="637"/>
                  <a:pt x="4299" y="640"/>
                </a:cubicBezTo>
                <a:cubicBezTo>
                  <a:pt x="4300" y="643"/>
                  <a:pt x="4301" y="645"/>
                  <a:pt x="4302" y="647"/>
                </a:cubicBezTo>
                <a:cubicBezTo>
                  <a:pt x="4304" y="649"/>
                  <a:pt x="4306" y="650"/>
                  <a:pt x="4308" y="652"/>
                </a:cubicBezTo>
                <a:cubicBezTo>
                  <a:pt x="4311" y="653"/>
                  <a:pt x="4313" y="654"/>
                  <a:pt x="4315" y="655"/>
                </a:cubicBezTo>
                <a:close/>
                <a:moveTo>
                  <a:pt x="4313" y="632"/>
                </a:moveTo>
                <a:cubicBezTo>
                  <a:pt x="4315" y="632"/>
                  <a:pt x="4316" y="631"/>
                  <a:pt x="4316" y="631"/>
                </a:cubicBezTo>
                <a:cubicBezTo>
                  <a:pt x="4316" y="630"/>
                  <a:pt x="4315" y="630"/>
                  <a:pt x="4313" y="630"/>
                </a:cubicBezTo>
                <a:lnTo>
                  <a:pt x="4310" y="630"/>
                </a:lnTo>
                <a:cubicBezTo>
                  <a:pt x="4310" y="630"/>
                  <a:pt x="4310" y="631"/>
                  <a:pt x="4310" y="631"/>
                </a:cubicBezTo>
                <a:cubicBezTo>
                  <a:pt x="4310" y="631"/>
                  <a:pt x="4311" y="632"/>
                  <a:pt x="4313" y="632"/>
                </a:cubicBezTo>
                <a:close/>
                <a:moveTo>
                  <a:pt x="4322" y="630"/>
                </a:moveTo>
                <a:lnTo>
                  <a:pt x="4329" y="626"/>
                </a:lnTo>
                <a:lnTo>
                  <a:pt x="4332" y="625"/>
                </a:lnTo>
                <a:cubicBezTo>
                  <a:pt x="4335" y="623"/>
                  <a:pt x="4338" y="622"/>
                  <a:pt x="4340" y="622"/>
                </a:cubicBezTo>
                <a:lnTo>
                  <a:pt x="4340" y="622"/>
                </a:lnTo>
                <a:cubicBezTo>
                  <a:pt x="4340" y="622"/>
                  <a:pt x="4341" y="622"/>
                  <a:pt x="4341" y="622"/>
                </a:cubicBezTo>
                <a:cubicBezTo>
                  <a:pt x="4341" y="621"/>
                  <a:pt x="4340" y="620"/>
                  <a:pt x="4339" y="620"/>
                </a:cubicBezTo>
                <a:cubicBezTo>
                  <a:pt x="4337" y="620"/>
                  <a:pt x="4335" y="621"/>
                  <a:pt x="4332" y="622"/>
                </a:cubicBezTo>
                <a:cubicBezTo>
                  <a:pt x="4330" y="623"/>
                  <a:pt x="4327" y="624"/>
                  <a:pt x="4325" y="625"/>
                </a:cubicBezTo>
                <a:cubicBezTo>
                  <a:pt x="4323" y="627"/>
                  <a:pt x="4322" y="628"/>
                  <a:pt x="4322" y="629"/>
                </a:cubicBezTo>
                <a:cubicBezTo>
                  <a:pt x="4322" y="629"/>
                  <a:pt x="4322" y="630"/>
                  <a:pt x="4322" y="630"/>
                </a:cubicBezTo>
                <a:close/>
                <a:moveTo>
                  <a:pt x="4366" y="600"/>
                </a:moveTo>
                <a:cubicBezTo>
                  <a:pt x="4366" y="600"/>
                  <a:pt x="4368" y="598"/>
                  <a:pt x="4370" y="595"/>
                </a:cubicBezTo>
                <a:cubicBezTo>
                  <a:pt x="4373" y="593"/>
                  <a:pt x="4374" y="591"/>
                  <a:pt x="4374" y="591"/>
                </a:cubicBezTo>
                <a:cubicBezTo>
                  <a:pt x="4373" y="591"/>
                  <a:pt x="4372" y="592"/>
                  <a:pt x="4370" y="593"/>
                </a:cubicBezTo>
                <a:cubicBezTo>
                  <a:pt x="4367" y="595"/>
                  <a:pt x="4365" y="597"/>
                  <a:pt x="4365" y="598"/>
                </a:cubicBezTo>
                <a:cubicBezTo>
                  <a:pt x="4365" y="599"/>
                  <a:pt x="4365" y="600"/>
                  <a:pt x="4366" y="600"/>
                </a:cubicBezTo>
                <a:close/>
                <a:moveTo>
                  <a:pt x="4302" y="622"/>
                </a:moveTo>
                <a:cubicBezTo>
                  <a:pt x="4305" y="622"/>
                  <a:pt x="4310" y="621"/>
                  <a:pt x="4317" y="617"/>
                </a:cubicBezTo>
                <a:cubicBezTo>
                  <a:pt x="4328" y="611"/>
                  <a:pt x="4340" y="603"/>
                  <a:pt x="4355" y="590"/>
                </a:cubicBezTo>
                <a:cubicBezTo>
                  <a:pt x="4357" y="588"/>
                  <a:pt x="4359" y="586"/>
                  <a:pt x="4361" y="585"/>
                </a:cubicBezTo>
                <a:lnTo>
                  <a:pt x="4366" y="583"/>
                </a:lnTo>
                <a:lnTo>
                  <a:pt x="4367" y="584"/>
                </a:lnTo>
                <a:lnTo>
                  <a:pt x="4366" y="581"/>
                </a:lnTo>
                <a:cubicBezTo>
                  <a:pt x="4366" y="580"/>
                  <a:pt x="4367" y="579"/>
                  <a:pt x="4368" y="578"/>
                </a:cubicBezTo>
                <a:cubicBezTo>
                  <a:pt x="4369" y="576"/>
                  <a:pt x="4371" y="575"/>
                  <a:pt x="4373" y="574"/>
                </a:cubicBezTo>
                <a:cubicBezTo>
                  <a:pt x="4375" y="573"/>
                  <a:pt x="4376" y="572"/>
                  <a:pt x="4378" y="572"/>
                </a:cubicBezTo>
                <a:cubicBezTo>
                  <a:pt x="4379" y="572"/>
                  <a:pt x="4380" y="573"/>
                  <a:pt x="4380" y="573"/>
                </a:cubicBezTo>
                <a:lnTo>
                  <a:pt x="4376" y="579"/>
                </a:lnTo>
                <a:cubicBezTo>
                  <a:pt x="4377" y="579"/>
                  <a:pt x="4377" y="578"/>
                  <a:pt x="4379" y="577"/>
                </a:cubicBezTo>
                <a:cubicBezTo>
                  <a:pt x="4381" y="575"/>
                  <a:pt x="4382" y="574"/>
                  <a:pt x="4382" y="573"/>
                </a:cubicBezTo>
                <a:cubicBezTo>
                  <a:pt x="4382" y="573"/>
                  <a:pt x="4383" y="572"/>
                  <a:pt x="4383" y="570"/>
                </a:cubicBezTo>
                <a:lnTo>
                  <a:pt x="4383" y="569"/>
                </a:lnTo>
                <a:cubicBezTo>
                  <a:pt x="4383" y="568"/>
                  <a:pt x="4384" y="567"/>
                  <a:pt x="4386" y="565"/>
                </a:cubicBezTo>
                <a:cubicBezTo>
                  <a:pt x="4387" y="564"/>
                  <a:pt x="4388" y="563"/>
                  <a:pt x="4389" y="563"/>
                </a:cubicBezTo>
                <a:cubicBezTo>
                  <a:pt x="4389" y="563"/>
                  <a:pt x="4389" y="563"/>
                  <a:pt x="4389" y="564"/>
                </a:cubicBezTo>
                <a:lnTo>
                  <a:pt x="4388" y="567"/>
                </a:lnTo>
                <a:cubicBezTo>
                  <a:pt x="4388" y="567"/>
                  <a:pt x="4389" y="566"/>
                  <a:pt x="4389" y="565"/>
                </a:cubicBezTo>
                <a:cubicBezTo>
                  <a:pt x="4390" y="563"/>
                  <a:pt x="4391" y="562"/>
                  <a:pt x="4393" y="560"/>
                </a:cubicBezTo>
                <a:cubicBezTo>
                  <a:pt x="4394" y="558"/>
                  <a:pt x="4396" y="556"/>
                  <a:pt x="4397" y="555"/>
                </a:cubicBezTo>
                <a:cubicBezTo>
                  <a:pt x="4399" y="554"/>
                  <a:pt x="4399" y="553"/>
                  <a:pt x="4400" y="552"/>
                </a:cubicBezTo>
                <a:cubicBezTo>
                  <a:pt x="4401" y="551"/>
                  <a:pt x="4401" y="550"/>
                  <a:pt x="4401" y="550"/>
                </a:cubicBezTo>
                <a:cubicBezTo>
                  <a:pt x="4401" y="550"/>
                  <a:pt x="4401" y="550"/>
                  <a:pt x="4401" y="550"/>
                </a:cubicBezTo>
                <a:cubicBezTo>
                  <a:pt x="4401" y="550"/>
                  <a:pt x="4400" y="549"/>
                  <a:pt x="4400" y="549"/>
                </a:cubicBezTo>
                <a:cubicBezTo>
                  <a:pt x="4400" y="548"/>
                  <a:pt x="4402" y="546"/>
                  <a:pt x="4405" y="544"/>
                </a:cubicBezTo>
                <a:cubicBezTo>
                  <a:pt x="4408" y="541"/>
                  <a:pt x="4409" y="539"/>
                  <a:pt x="4409" y="539"/>
                </a:cubicBezTo>
                <a:lnTo>
                  <a:pt x="4409" y="539"/>
                </a:lnTo>
                <a:lnTo>
                  <a:pt x="4408" y="539"/>
                </a:lnTo>
                <a:cubicBezTo>
                  <a:pt x="4408" y="539"/>
                  <a:pt x="4409" y="536"/>
                  <a:pt x="4412" y="532"/>
                </a:cubicBezTo>
                <a:cubicBezTo>
                  <a:pt x="4415" y="528"/>
                  <a:pt x="4416" y="526"/>
                  <a:pt x="4416" y="524"/>
                </a:cubicBezTo>
                <a:lnTo>
                  <a:pt x="4416" y="524"/>
                </a:lnTo>
                <a:cubicBezTo>
                  <a:pt x="4416" y="523"/>
                  <a:pt x="4417" y="521"/>
                  <a:pt x="4419" y="519"/>
                </a:cubicBezTo>
                <a:cubicBezTo>
                  <a:pt x="4420" y="516"/>
                  <a:pt x="4421" y="514"/>
                  <a:pt x="4421" y="513"/>
                </a:cubicBezTo>
                <a:cubicBezTo>
                  <a:pt x="4421" y="513"/>
                  <a:pt x="4421" y="513"/>
                  <a:pt x="4420" y="513"/>
                </a:cubicBezTo>
                <a:cubicBezTo>
                  <a:pt x="4420" y="513"/>
                  <a:pt x="4420" y="512"/>
                  <a:pt x="4420" y="512"/>
                </a:cubicBezTo>
                <a:cubicBezTo>
                  <a:pt x="4420" y="512"/>
                  <a:pt x="4420" y="511"/>
                  <a:pt x="4421" y="509"/>
                </a:cubicBezTo>
                <a:cubicBezTo>
                  <a:pt x="4422" y="508"/>
                  <a:pt x="4423" y="505"/>
                  <a:pt x="4424" y="498"/>
                </a:cubicBezTo>
                <a:lnTo>
                  <a:pt x="4425" y="490"/>
                </a:lnTo>
                <a:lnTo>
                  <a:pt x="4425" y="483"/>
                </a:lnTo>
                <a:cubicBezTo>
                  <a:pt x="4425" y="477"/>
                  <a:pt x="4423" y="474"/>
                  <a:pt x="4420" y="474"/>
                </a:cubicBezTo>
                <a:cubicBezTo>
                  <a:pt x="4418" y="474"/>
                  <a:pt x="4416" y="475"/>
                  <a:pt x="4412" y="476"/>
                </a:cubicBezTo>
                <a:cubicBezTo>
                  <a:pt x="4406" y="478"/>
                  <a:pt x="4398" y="482"/>
                  <a:pt x="4389" y="488"/>
                </a:cubicBezTo>
                <a:cubicBezTo>
                  <a:pt x="4379" y="494"/>
                  <a:pt x="4370" y="501"/>
                  <a:pt x="4362" y="507"/>
                </a:cubicBezTo>
                <a:cubicBezTo>
                  <a:pt x="4354" y="514"/>
                  <a:pt x="4350" y="518"/>
                  <a:pt x="4350" y="521"/>
                </a:cubicBezTo>
                <a:lnTo>
                  <a:pt x="4351" y="522"/>
                </a:lnTo>
                <a:cubicBezTo>
                  <a:pt x="4351" y="524"/>
                  <a:pt x="4348" y="527"/>
                  <a:pt x="4344" y="533"/>
                </a:cubicBezTo>
                <a:cubicBezTo>
                  <a:pt x="4333" y="547"/>
                  <a:pt x="4327" y="555"/>
                  <a:pt x="4327" y="559"/>
                </a:cubicBezTo>
                <a:cubicBezTo>
                  <a:pt x="4327" y="560"/>
                  <a:pt x="4328" y="561"/>
                  <a:pt x="4329" y="561"/>
                </a:cubicBezTo>
                <a:cubicBezTo>
                  <a:pt x="4330" y="562"/>
                  <a:pt x="4330" y="562"/>
                  <a:pt x="4330" y="563"/>
                </a:cubicBezTo>
                <a:lnTo>
                  <a:pt x="4327" y="563"/>
                </a:lnTo>
                <a:cubicBezTo>
                  <a:pt x="4324" y="563"/>
                  <a:pt x="4317" y="573"/>
                  <a:pt x="4308" y="594"/>
                </a:cubicBezTo>
                <a:cubicBezTo>
                  <a:pt x="4303" y="605"/>
                  <a:pt x="4300" y="614"/>
                  <a:pt x="4300" y="619"/>
                </a:cubicBezTo>
                <a:cubicBezTo>
                  <a:pt x="4300" y="621"/>
                  <a:pt x="4301" y="622"/>
                  <a:pt x="4302" y="622"/>
                </a:cubicBezTo>
                <a:close/>
                <a:moveTo>
                  <a:pt x="4319" y="553"/>
                </a:moveTo>
                <a:cubicBezTo>
                  <a:pt x="4322" y="553"/>
                  <a:pt x="4324" y="551"/>
                  <a:pt x="4324" y="549"/>
                </a:cubicBezTo>
                <a:cubicBezTo>
                  <a:pt x="4324" y="548"/>
                  <a:pt x="4324" y="548"/>
                  <a:pt x="4325" y="548"/>
                </a:cubicBezTo>
                <a:lnTo>
                  <a:pt x="4326" y="548"/>
                </a:lnTo>
                <a:cubicBezTo>
                  <a:pt x="4327" y="548"/>
                  <a:pt x="4330" y="546"/>
                  <a:pt x="4332" y="541"/>
                </a:cubicBezTo>
                <a:cubicBezTo>
                  <a:pt x="4339" y="529"/>
                  <a:pt x="4350" y="515"/>
                  <a:pt x="4365" y="501"/>
                </a:cubicBezTo>
                <a:cubicBezTo>
                  <a:pt x="4380" y="487"/>
                  <a:pt x="4393" y="478"/>
                  <a:pt x="4406" y="472"/>
                </a:cubicBezTo>
                <a:cubicBezTo>
                  <a:pt x="4411" y="469"/>
                  <a:pt x="4414" y="468"/>
                  <a:pt x="4414" y="468"/>
                </a:cubicBezTo>
                <a:cubicBezTo>
                  <a:pt x="4414" y="468"/>
                  <a:pt x="4413" y="467"/>
                  <a:pt x="4413" y="467"/>
                </a:cubicBezTo>
                <a:lnTo>
                  <a:pt x="4409" y="468"/>
                </a:lnTo>
                <a:cubicBezTo>
                  <a:pt x="4403" y="468"/>
                  <a:pt x="4399" y="469"/>
                  <a:pt x="4396" y="470"/>
                </a:cubicBezTo>
                <a:cubicBezTo>
                  <a:pt x="4393" y="471"/>
                  <a:pt x="4390" y="473"/>
                  <a:pt x="4385" y="476"/>
                </a:cubicBezTo>
                <a:cubicBezTo>
                  <a:pt x="4371" y="483"/>
                  <a:pt x="4357" y="495"/>
                  <a:pt x="4342" y="511"/>
                </a:cubicBezTo>
                <a:cubicBezTo>
                  <a:pt x="4334" y="519"/>
                  <a:pt x="4328" y="525"/>
                  <a:pt x="4324" y="527"/>
                </a:cubicBezTo>
                <a:cubicBezTo>
                  <a:pt x="4322" y="528"/>
                  <a:pt x="4320" y="529"/>
                  <a:pt x="4320" y="530"/>
                </a:cubicBezTo>
                <a:lnTo>
                  <a:pt x="4321" y="531"/>
                </a:lnTo>
                <a:cubicBezTo>
                  <a:pt x="4321" y="533"/>
                  <a:pt x="4319" y="534"/>
                  <a:pt x="4317" y="536"/>
                </a:cubicBezTo>
                <a:cubicBezTo>
                  <a:pt x="4314" y="537"/>
                  <a:pt x="4313" y="539"/>
                  <a:pt x="4313" y="541"/>
                </a:cubicBezTo>
                <a:cubicBezTo>
                  <a:pt x="4313" y="543"/>
                  <a:pt x="4312" y="545"/>
                  <a:pt x="4309" y="546"/>
                </a:cubicBezTo>
                <a:cubicBezTo>
                  <a:pt x="4308" y="546"/>
                  <a:pt x="4307" y="547"/>
                  <a:pt x="4307" y="548"/>
                </a:cubicBezTo>
                <a:cubicBezTo>
                  <a:pt x="4307" y="548"/>
                  <a:pt x="4309" y="549"/>
                  <a:pt x="4312" y="551"/>
                </a:cubicBezTo>
                <a:cubicBezTo>
                  <a:pt x="4315" y="552"/>
                  <a:pt x="4317" y="553"/>
                  <a:pt x="4319" y="553"/>
                </a:cubicBezTo>
                <a:close/>
                <a:moveTo>
                  <a:pt x="4283" y="584"/>
                </a:moveTo>
                <a:cubicBezTo>
                  <a:pt x="4284" y="584"/>
                  <a:pt x="4285" y="583"/>
                  <a:pt x="4285" y="582"/>
                </a:cubicBezTo>
                <a:lnTo>
                  <a:pt x="4285" y="579"/>
                </a:lnTo>
                <a:cubicBezTo>
                  <a:pt x="4283" y="576"/>
                  <a:pt x="4282" y="575"/>
                  <a:pt x="4282" y="575"/>
                </a:cubicBezTo>
                <a:lnTo>
                  <a:pt x="4281" y="575"/>
                </a:lnTo>
                <a:lnTo>
                  <a:pt x="4282" y="580"/>
                </a:lnTo>
                <a:cubicBezTo>
                  <a:pt x="4282" y="581"/>
                  <a:pt x="4282" y="581"/>
                  <a:pt x="4282" y="581"/>
                </a:cubicBezTo>
                <a:lnTo>
                  <a:pt x="4279" y="580"/>
                </a:lnTo>
                <a:lnTo>
                  <a:pt x="4278" y="580"/>
                </a:lnTo>
                <a:lnTo>
                  <a:pt x="4279" y="581"/>
                </a:lnTo>
                <a:cubicBezTo>
                  <a:pt x="4280" y="583"/>
                  <a:pt x="4282" y="584"/>
                  <a:pt x="4283" y="584"/>
                </a:cubicBezTo>
                <a:close/>
                <a:moveTo>
                  <a:pt x="4277" y="603"/>
                </a:moveTo>
                <a:lnTo>
                  <a:pt x="4278" y="600"/>
                </a:lnTo>
                <a:cubicBezTo>
                  <a:pt x="4279" y="598"/>
                  <a:pt x="4280" y="596"/>
                  <a:pt x="4280" y="594"/>
                </a:cubicBezTo>
                <a:cubicBezTo>
                  <a:pt x="4281" y="592"/>
                  <a:pt x="4282" y="590"/>
                  <a:pt x="4283" y="590"/>
                </a:cubicBezTo>
                <a:cubicBezTo>
                  <a:pt x="4283" y="589"/>
                  <a:pt x="4284" y="588"/>
                  <a:pt x="4284" y="588"/>
                </a:cubicBezTo>
                <a:cubicBezTo>
                  <a:pt x="4284" y="587"/>
                  <a:pt x="4283" y="586"/>
                  <a:pt x="4281" y="586"/>
                </a:cubicBezTo>
                <a:cubicBezTo>
                  <a:pt x="4278" y="587"/>
                  <a:pt x="4277" y="590"/>
                  <a:pt x="4277" y="596"/>
                </a:cubicBezTo>
                <a:cubicBezTo>
                  <a:pt x="4277" y="601"/>
                  <a:pt x="4277" y="603"/>
                  <a:pt x="4277" y="603"/>
                </a:cubicBezTo>
                <a:close/>
                <a:moveTo>
                  <a:pt x="4277" y="646"/>
                </a:moveTo>
                <a:cubicBezTo>
                  <a:pt x="4278" y="646"/>
                  <a:pt x="4279" y="644"/>
                  <a:pt x="4280" y="641"/>
                </a:cubicBezTo>
                <a:lnTo>
                  <a:pt x="4280" y="640"/>
                </a:lnTo>
                <a:cubicBezTo>
                  <a:pt x="4280" y="640"/>
                  <a:pt x="4280" y="639"/>
                  <a:pt x="4280" y="639"/>
                </a:cubicBezTo>
                <a:lnTo>
                  <a:pt x="4277" y="641"/>
                </a:lnTo>
                <a:lnTo>
                  <a:pt x="4277" y="639"/>
                </a:lnTo>
                <a:cubicBezTo>
                  <a:pt x="4279" y="636"/>
                  <a:pt x="4280" y="634"/>
                  <a:pt x="4280" y="632"/>
                </a:cubicBezTo>
                <a:cubicBezTo>
                  <a:pt x="4280" y="629"/>
                  <a:pt x="4279" y="627"/>
                  <a:pt x="4277" y="626"/>
                </a:cubicBezTo>
                <a:lnTo>
                  <a:pt x="4277" y="626"/>
                </a:lnTo>
                <a:cubicBezTo>
                  <a:pt x="4275" y="626"/>
                  <a:pt x="4275" y="630"/>
                  <a:pt x="4274" y="636"/>
                </a:cubicBezTo>
                <a:lnTo>
                  <a:pt x="4274" y="637"/>
                </a:lnTo>
                <a:cubicBezTo>
                  <a:pt x="4274" y="642"/>
                  <a:pt x="4275" y="645"/>
                  <a:pt x="4277" y="646"/>
                </a:cubicBezTo>
                <a:close/>
                <a:moveTo>
                  <a:pt x="4282" y="618"/>
                </a:moveTo>
                <a:cubicBezTo>
                  <a:pt x="4283" y="618"/>
                  <a:pt x="4283" y="617"/>
                  <a:pt x="4284" y="617"/>
                </a:cubicBezTo>
                <a:cubicBezTo>
                  <a:pt x="4284" y="616"/>
                  <a:pt x="4284" y="615"/>
                  <a:pt x="4284" y="615"/>
                </a:cubicBezTo>
                <a:cubicBezTo>
                  <a:pt x="4284" y="615"/>
                  <a:pt x="4284" y="614"/>
                  <a:pt x="4284" y="614"/>
                </a:cubicBezTo>
                <a:lnTo>
                  <a:pt x="4283" y="614"/>
                </a:lnTo>
                <a:cubicBezTo>
                  <a:pt x="4282" y="614"/>
                  <a:pt x="4282" y="613"/>
                  <a:pt x="4282" y="612"/>
                </a:cubicBezTo>
                <a:cubicBezTo>
                  <a:pt x="4282" y="611"/>
                  <a:pt x="4282" y="611"/>
                  <a:pt x="4282" y="611"/>
                </a:cubicBezTo>
                <a:lnTo>
                  <a:pt x="4283" y="611"/>
                </a:lnTo>
                <a:cubicBezTo>
                  <a:pt x="4284" y="611"/>
                  <a:pt x="4285" y="609"/>
                  <a:pt x="4286" y="606"/>
                </a:cubicBezTo>
                <a:cubicBezTo>
                  <a:pt x="4287" y="601"/>
                  <a:pt x="4288" y="598"/>
                  <a:pt x="4290" y="595"/>
                </a:cubicBezTo>
                <a:cubicBezTo>
                  <a:pt x="4292" y="592"/>
                  <a:pt x="4294" y="590"/>
                  <a:pt x="4295" y="590"/>
                </a:cubicBezTo>
                <a:cubicBezTo>
                  <a:pt x="4297" y="590"/>
                  <a:pt x="4297" y="590"/>
                  <a:pt x="4297" y="588"/>
                </a:cubicBezTo>
                <a:lnTo>
                  <a:pt x="4297" y="587"/>
                </a:lnTo>
                <a:cubicBezTo>
                  <a:pt x="4297" y="587"/>
                  <a:pt x="4297" y="586"/>
                  <a:pt x="4298" y="585"/>
                </a:cubicBezTo>
                <a:cubicBezTo>
                  <a:pt x="4298" y="585"/>
                  <a:pt x="4298" y="585"/>
                  <a:pt x="4299" y="584"/>
                </a:cubicBezTo>
                <a:cubicBezTo>
                  <a:pt x="4300" y="584"/>
                  <a:pt x="4302" y="582"/>
                  <a:pt x="4304" y="578"/>
                </a:cubicBezTo>
                <a:cubicBezTo>
                  <a:pt x="4307" y="574"/>
                  <a:pt x="4309" y="570"/>
                  <a:pt x="4311" y="566"/>
                </a:cubicBezTo>
                <a:cubicBezTo>
                  <a:pt x="4313" y="562"/>
                  <a:pt x="4314" y="559"/>
                  <a:pt x="4314" y="558"/>
                </a:cubicBezTo>
                <a:cubicBezTo>
                  <a:pt x="4314" y="557"/>
                  <a:pt x="4313" y="556"/>
                  <a:pt x="4311" y="556"/>
                </a:cubicBezTo>
                <a:cubicBezTo>
                  <a:pt x="4305" y="556"/>
                  <a:pt x="4301" y="559"/>
                  <a:pt x="4297" y="565"/>
                </a:cubicBezTo>
                <a:cubicBezTo>
                  <a:pt x="4295" y="569"/>
                  <a:pt x="4293" y="571"/>
                  <a:pt x="4292" y="571"/>
                </a:cubicBezTo>
                <a:cubicBezTo>
                  <a:pt x="4291" y="571"/>
                  <a:pt x="4291" y="571"/>
                  <a:pt x="4291" y="571"/>
                </a:cubicBezTo>
                <a:cubicBezTo>
                  <a:pt x="4290" y="571"/>
                  <a:pt x="4290" y="570"/>
                  <a:pt x="4290" y="569"/>
                </a:cubicBezTo>
                <a:lnTo>
                  <a:pt x="4290" y="567"/>
                </a:lnTo>
                <a:cubicBezTo>
                  <a:pt x="4290" y="566"/>
                  <a:pt x="4290" y="565"/>
                  <a:pt x="4289" y="565"/>
                </a:cubicBezTo>
                <a:cubicBezTo>
                  <a:pt x="4288" y="565"/>
                  <a:pt x="4288" y="565"/>
                  <a:pt x="4288" y="564"/>
                </a:cubicBezTo>
                <a:lnTo>
                  <a:pt x="4288" y="562"/>
                </a:lnTo>
                <a:cubicBezTo>
                  <a:pt x="4288" y="561"/>
                  <a:pt x="4288" y="561"/>
                  <a:pt x="4288" y="561"/>
                </a:cubicBezTo>
                <a:lnTo>
                  <a:pt x="4287" y="562"/>
                </a:lnTo>
                <a:cubicBezTo>
                  <a:pt x="4286" y="562"/>
                  <a:pt x="4286" y="563"/>
                  <a:pt x="4286" y="564"/>
                </a:cubicBezTo>
                <a:cubicBezTo>
                  <a:pt x="4286" y="565"/>
                  <a:pt x="4287" y="567"/>
                  <a:pt x="4288" y="569"/>
                </a:cubicBezTo>
                <a:cubicBezTo>
                  <a:pt x="4290" y="571"/>
                  <a:pt x="4290" y="574"/>
                  <a:pt x="4290" y="576"/>
                </a:cubicBezTo>
                <a:cubicBezTo>
                  <a:pt x="4290" y="579"/>
                  <a:pt x="4289" y="583"/>
                  <a:pt x="4286" y="588"/>
                </a:cubicBezTo>
                <a:cubicBezTo>
                  <a:pt x="4285" y="591"/>
                  <a:pt x="4284" y="593"/>
                  <a:pt x="4284" y="595"/>
                </a:cubicBezTo>
                <a:cubicBezTo>
                  <a:pt x="4284" y="595"/>
                  <a:pt x="4284" y="595"/>
                  <a:pt x="4284" y="595"/>
                </a:cubicBezTo>
                <a:lnTo>
                  <a:pt x="4285" y="595"/>
                </a:lnTo>
                <a:cubicBezTo>
                  <a:pt x="4285" y="596"/>
                  <a:pt x="4284" y="597"/>
                  <a:pt x="4283" y="598"/>
                </a:cubicBezTo>
                <a:cubicBezTo>
                  <a:pt x="4282" y="598"/>
                  <a:pt x="4281" y="600"/>
                  <a:pt x="4280" y="603"/>
                </a:cubicBezTo>
                <a:cubicBezTo>
                  <a:pt x="4279" y="607"/>
                  <a:pt x="4278" y="610"/>
                  <a:pt x="4278" y="612"/>
                </a:cubicBezTo>
                <a:cubicBezTo>
                  <a:pt x="4278" y="614"/>
                  <a:pt x="4279" y="615"/>
                  <a:pt x="4280" y="616"/>
                </a:cubicBezTo>
                <a:cubicBezTo>
                  <a:pt x="4280" y="617"/>
                  <a:pt x="4281" y="618"/>
                  <a:pt x="4282" y="618"/>
                </a:cubicBezTo>
                <a:close/>
                <a:moveTo>
                  <a:pt x="4589" y="674"/>
                </a:moveTo>
                <a:cubicBezTo>
                  <a:pt x="4589" y="674"/>
                  <a:pt x="4598" y="667"/>
                  <a:pt x="4617" y="654"/>
                </a:cubicBezTo>
                <a:cubicBezTo>
                  <a:pt x="4640" y="637"/>
                  <a:pt x="4657" y="625"/>
                  <a:pt x="4669" y="615"/>
                </a:cubicBezTo>
                <a:lnTo>
                  <a:pt x="4715" y="579"/>
                </a:lnTo>
                <a:cubicBezTo>
                  <a:pt x="4730" y="568"/>
                  <a:pt x="4737" y="562"/>
                  <a:pt x="4737" y="561"/>
                </a:cubicBezTo>
                <a:cubicBezTo>
                  <a:pt x="4737" y="560"/>
                  <a:pt x="4737" y="559"/>
                  <a:pt x="4738" y="559"/>
                </a:cubicBezTo>
                <a:lnTo>
                  <a:pt x="4739" y="559"/>
                </a:lnTo>
                <a:cubicBezTo>
                  <a:pt x="4740" y="559"/>
                  <a:pt x="4742" y="558"/>
                  <a:pt x="4744" y="557"/>
                </a:cubicBezTo>
                <a:cubicBezTo>
                  <a:pt x="4745" y="556"/>
                  <a:pt x="4746" y="555"/>
                  <a:pt x="4746" y="553"/>
                </a:cubicBezTo>
                <a:lnTo>
                  <a:pt x="4746" y="552"/>
                </a:lnTo>
                <a:lnTo>
                  <a:pt x="4747" y="552"/>
                </a:lnTo>
                <a:cubicBezTo>
                  <a:pt x="4749" y="552"/>
                  <a:pt x="4753" y="550"/>
                  <a:pt x="4759" y="546"/>
                </a:cubicBezTo>
                <a:lnTo>
                  <a:pt x="4768" y="540"/>
                </a:lnTo>
                <a:lnTo>
                  <a:pt x="4767" y="541"/>
                </a:lnTo>
                <a:cubicBezTo>
                  <a:pt x="4766" y="542"/>
                  <a:pt x="4766" y="543"/>
                  <a:pt x="4766" y="544"/>
                </a:cubicBezTo>
                <a:lnTo>
                  <a:pt x="4767" y="547"/>
                </a:lnTo>
                <a:lnTo>
                  <a:pt x="4765" y="546"/>
                </a:lnTo>
                <a:cubicBezTo>
                  <a:pt x="4763" y="546"/>
                  <a:pt x="4761" y="548"/>
                  <a:pt x="4759" y="552"/>
                </a:cubicBezTo>
                <a:cubicBezTo>
                  <a:pt x="4756" y="556"/>
                  <a:pt x="4754" y="558"/>
                  <a:pt x="4753" y="558"/>
                </a:cubicBezTo>
                <a:lnTo>
                  <a:pt x="4750" y="558"/>
                </a:lnTo>
                <a:cubicBezTo>
                  <a:pt x="4747" y="558"/>
                  <a:pt x="4746" y="559"/>
                  <a:pt x="4746" y="560"/>
                </a:cubicBezTo>
                <a:lnTo>
                  <a:pt x="4746" y="561"/>
                </a:lnTo>
                <a:cubicBezTo>
                  <a:pt x="4746" y="563"/>
                  <a:pt x="4746" y="565"/>
                  <a:pt x="4744" y="566"/>
                </a:cubicBezTo>
                <a:cubicBezTo>
                  <a:pt x="4742" y="567"/>
                  <a:pt x="4741" y="568"/>
                  <a:pt x="4741" y="568"/>
                </a:cubicBezTo>
                <a:lnTo>
                  <a:pt x="4741" y="567"/>
                </a:lnTo>
                <a:lnTo>
                  <a:pt x="4742" y="565"/>
                </a:lnTo>
                <a:cubicBezTo>
                  <a:pt x="4742" y="565"/>
                  <a:pt x="4740" y="567"/>
                  <a:pt x="4736" y="572"/>
                </a:cubicBezTo>
                <a:cubicBezTo>
                  <a:pt x="4730" y="578"/>
                  <a:pt x="4726" y="582"/>
                  <a:pt x="4724" y="582"/>
                </a:cubicBezTo>
                <a:cubicBezTo>
                  <a:pt x="4724" y="582"/>
                  <a:pt x="4724" y="582"/>
                  <a:pt x="4724" y="581"/>
                </a:cubicBezTo>
                <a:cubicBezTo>
                  <a:pt x="4724" y="581"/>
                  <a:pt x="4724" y="580"/>
                  <a:pt x="4726" y="578"/>
                </a:cubicBezTo>
                <a:cubicBezTo>
                  <a:pt x="4727" y="576"/>
                  <a:pt x="4728" y="575"/>
                  <a:pt x="4728" y="574"/>
                </a:cubicBezTo>
                <a:lnTo>
                  <a:pt x="4726" y="576"/>
                </a:lnTo>
                <a:cubicBezTo>
                  <a:pt x="4724" y="578"/>
                  <a:pt x="4722" y="580"/>
                  <a:pt x="4722" y="581"/>
                </a:cubicBezTo>
                <a:cubicBezTo>
                  <a:pt x="4722" y="583"/>
                  <a:pt x="4721" y="584"/>
                  <a:pt x="4719" y="586"/>
                </a:cubicBezTo>
                <a:cubicBezTo>
                  <a:pt x="4715" y="591"/>
                  <a:pt x="4709" y="595"/>
                  <a:pt x="4701" y="600"/>
                </a:cubicBezTo>
                <a:lnTo>
                  <a:pt x="4694" y="603"/>
                </a:lnTo>
                <a:cubicBezTo>
                  <a:pt x="4692" y="603"/>
                  <a:pt x="4691" y="604"/>
                  <a:pt x="4689" y="606"/>
                </a:cubicBezTo>
                <a:lnTo>
                  <a:pt x="4687" y="609"/>
                </a:lnTo>
                <a:cubicBezTo>
                  <a:pt x="4687" y="609"/>
                  <a:pt x="4688" y="609"/>
                  <a:pt x="4689" y="608"/>
                </a:cubicBezTo>
                <a:cubicBezTo>
                  <a:pt x="4690" y="607"/>
                  <a:pt x="4691" y="606"/>
                  <a:pt x="4691" y="606"/>
                </a:cubicBezTo>
                <a:cubicBezTo>
                  <a:pt x="4691" y="607"/>
                  <a:pt x="4690" y="608"/>
                  <a:pt x="4688" y="610"/>
                </a:cubicBezTo>
                <a:cubicBezTo>
                  <a:pt x="4685" y="613"/>
                  <a:pt x="4682" y="615"/>
                  <a:pt x="4680" y="615"/>
                </a:cubicBezTo>
                <a:lnTo>
                  <a:pt x="4679" y="614"/>
                </a:lnTo>
                <a:lnTo>
                  <a:pt x="4679" y="614"/>
                </a:lnTo>
                <a:cubicBezTo>
                  <a:pt x="4679" y="615"/>
                  <a:pt x="4679" y="615"/>
                  <a:pt x="4680" y="617"/>
                </a:cubicBezTo>
                <a:cubicBezTo>
                  <a:pt x="4681" y="618"/>
                  <a:pt x="4681" y="619"/>
                  <a:pt x="4681" y="619"/>
                </a:cubicBezTo>
                <a:cubicBezTo>
                  <a:pt x="4681" y="619"/>
                  <a:pt x="4681" y="619"/>
                  <a:pt x="4681" y="619"/>
                </a:cubicBezTo>
                <a:lnTo>
                  <a:pt x="4677" y="619"/>
                </a:lnTo>
                <a:cubicBezTo>
                  <a:pt x="4674" y="619"/>
                  <a:pt x="4672" y="620"/>
                  <a:pt x="4672" y="620"/>
                </a:cubicBezTo>
                <a:cubicBezTo>
                  <a:pt x="4672" y="622"/>
                  <a:pt x="4671" y="624"/>
                  <a:pt x="4668" y="626"/>
                </a:cubicBezTo>
                <a:cubicBezTo>
                  <a:pt x="4665" y="628"/>
                  <a:pt x="4663" y="630"/>
                  <a:pt x="4663" y="630"/>
                </a:cubicBezTo>
                <a:cubicBezTo>
                  <a:pt x="4663" y="629"/>
                  <a:pt x="4664" y="628"/>
                  <a:pt x="4665" y="626"/>
                </a:cubicBezTo>
                <a:cubicBezTo>
                  <a:pt x="4666" y="625"/>
                  <a:pt x="4666" y="625"/>
                  <a:pt x="4666" y="625"/>
                </a:cubicBezTo>
                <a:cubicBezTo>
                  <a:pt x="4666" y="625"/>
                  <a:pt x="4664" y="626"/>
                  <a:pt x="4662" y="628"/>
                </a:cubicBezTo>
                <a:lnTo>
                  <a:pt x="4657" y="633"/>
                </a:lnTo>
                <a:lnTo>
                  <a:pt x="4658" y="632"/>
                </a:lnTo>
                <a:cubicBezTo>
                  <a:pt x="4658" y="631"/>
                  <a:pt x="4658" y="631"/>
                  <a:pt x="4658" y="630"/>
                </a:cubicBezTo>
                <a:cubicBezTo>
                  <a:pt x="4658" y="630"/>
                  <a:pt x="4658" y="630"/>
                  <a:pt x="4658" y="630"/>
                </a:cubicBezTo>
                <a:cubicBezTo>
                  <a:pt x="4657" y="630"/>
                  <a:pt x="4654" y="632"/>
                  <a:pt x="4649" y="635"/>
                </a:cubicBezTo>
                <a:cubicBezTo>
                  <a:pt x="4645" y="639"/>
                  <a:pt x="4642" y="642"/>
                  <a:pt x="4642" y="643"/>
                </a:cubicBezTo>
                <a:cubicBezTo>
                  <a:pt x="4642" y="644"/>
                  <a:pt x="4643" y="645"/>
                  <a:pt x="4644" y="646"/>
                </a:cubicBezTo>
                <a:lnTo>
                  <a:pt x="4645" y="648"/>
                </a:lnTo>
                <a:lnTo>
                  <a:pt x="4645" y="648"/>
                </a:lnTo>
                <a:cubicBezTo>
                  <a:pt x="4645" y="648"/>
                  <a:pt x="4644" y="648"/>
                  <a:pt x="4643" y="647"/>
                </a:cubicBezTo>
                <a:cubicBezTo>
                  <a:pt x="4642" y="646"/>
                  <a:pt x="4641" y="645"/>
                  <a:pt x="4640" y="645"/>
                </a:cubicBezTo>
                <a:cubicBezTo>
                  <a:pt x="4637" y="645"/>
                  <a:pt x="4632" y="648"/>
                  <a:pt x="4624" y="653"/>
                </a:cubicBezTo>
                <a:cubicBezTo>
                  <a:pt x="4604" y="667"/>
                  <a:pt x="4592" y="674"/>
                  <a:pt x="4589" y="674"/>
                </a:cubicBezTo>
                <a:close/>
                <a:moveTo>
                  <a:pt x="4696" y="602"/>
                </a:moveTo>
                <a:cubicBezTo>
                  <a:pt x="4697" y="602"/>
                  <a:pt x="4698" y="601"/>
                  <a:pt x="4700" y="598"/>
                </a:cubicBezTo>
                <a:lnTo>
                  <a:pt x="4702" y="595"/>
                </a:lnTo>
                <a:lnTo>
                  <a:pt x="4702" y="595"/>
                </a:lnTo>
                <a:cubicBezTo>
                  <a:pt x="4702" y="595"/>
                  <a:pt x="4701" y="596"/>
                  <a:pt x="4700" y="597"/>
                </a:cubicBezTo>
                <a:cubicBezTo>
                  <a:pt x="4699" y="598"/>
                  <a:pt x="4697" y="598"/>
                  <a:pt x="4697" y="599"/>
                </a:cubicBezTo>
                <a:cubicBezTo>
                  <a:pt x="4696" y="600"/>
                  <a:pt x="4695" y="601"/>
                  <a:pt x="4695" y="601"/>
                </a:cubicBezTo>
                <a:cubicBezTo>
                  <a:pt x="4695" y="602"/>
                  <a:pt x="4696" y="602"/>
                  <a:pt x="4696" y="602"/>
                </a:cubicBezTo>
                <a:close/>
                <a:moveTo>
                  <a:pt x="4704" y="595"/>
                </a:moveTo>
                <a:cubicBezTo>
                  <a:pt x="4706" y="595"/>
                  <a:pt x="4709" y="592"/>
                  <a:pt x="4714" y="588"/>
                </a:cubicBezTo>
                <a:cubicBezTo>
                  <a:pt x="4717" y="585"/>
                  <a:pt x="4719" y="584"/>
                  <a:pt x="4719" y="583"/>
                </a:cubicBezTo>
                <a:lnTo>
                  <a:pt x="4718" y="583"/>
                </a:lnTo>
                <a:cubicBezTo>
                  <a:pt x="4717" y="583"/>
                  <a:pt x="4716" y="584"/>
                  <a:pt x="4712" y="587"/>
                </a:cubicBezTo>
                <a:cubicBezTo>
                  <a:pt x="4707" y="591"/>
                  <a:pt x="4704" y="594"/>
                  <a:pt x="4704" y="595"/>
                </a:cubicBezTo>
                <a:close/>
                <a:moveTo>
                  <a:pt x="4731" y="575"/>
                </a:moveTo>
                <a:cubicBezTo>
                  <a:pt x="4731" y="575"/>
                  <a:pt x="4733" y="573"/>
                  <a:pt x="4735" y="571"/>
                </a:cubicBezTo>
                <a:lnTo>
                  <a:pt x="4737" y="568"/>
                </a:lnTo>
                <a:lnTo>
                  <a:pt x="4736" y="568"/>
                </a:lnTo>
                <a:lnTo>
                  <a:pt x="4734" y="570"/>
                </a:lnTo>
                <a:cubicBezTo>
                  <a:pt x="4731" y="572"/>
                  <a:pt x="4730" y="573"/>
                  <a:pt x="4730" y="574"/>
                </a:cubicBezTo>
                <a:cubicBezTo>
                  <a:pt x="4730" y="575"/>
                  <a:pt x="4730" y="575"/>
                  <a:pt x="4731" y="575"/>
                </a:cubicBezTo>
                <a:close/>
                <a:moveTo>
                  <a:pt x="4752" y="556"/>
                </a:moveTo>
                <a:cubicBezTo>
                  <a:pt x="4753" y="556"/>
                  <a:pt x="4754" y="555"/>
                  <a:pt x="4756" y="552"/>
                </a:cubicBezTo>
                <a:lnTo>
                  <a:pt x="4758" y="550"/>
                </a:lnTo>
                <a:cubicBezTo>
                  <a:pt x="4758" y="550"/>
                  <a:pt x="4757" y="551"/>
                  <a:pt x="4755" y="552"/>
                </a:cubicBezTo>
                <a:cubicBezTo>
                  <a:pt x="4753" y="554"/>
                  <a:pt x="4752" y="555"/>
                  <a:pt x="4752" y="556"/>
                </a:cubicBezTo>
                <a:cubicBezTo>
                  <a:pt x="4752" y="556"/>
                  <a:pt x="4752" y="556"/>
                  <a:pt x="4752" y="556"/>
                </a:cubicBezTo>
                <a:close/>
                <a:moveTo>
                  <a:pt x="4757" y="540"/>
                </a:moveTo>
                <a:cubicBezTo>
                  <a:pt x="4756" y="540"/>
                  <a:pt x="4756" y="540"/>
                  <a:pt x="4756" y="539"/>
                </a:cubicBezTo>
                <a:cubicBezTo>
                  <a:pt x="4756" y="539"/>
                  <a:pt x="4757" y="539"/>
                  <a:pt x="4758" y="538"/>
                </a:cubicBezTo>
                <a:cubicBezTo>
                  <a:pt x="4758" y="538"/>
                  <a:pt x="4759" y="537"/>
                  <a:pt x="4760" y="537"/>
                </a:cubicBezTo>
                <a:cubicBezTo>
                  <a:pt x="4760" y="537"/>
                  <a:pt x="4761" y="537"/>
                  <a:pt x="4761" y="537"/>
                </a:cubicBezTo>
                <a:cubicBezTo>
                  <a:pt x="4761" y="537"/>
                  <a:pt x="4762" y="537"/>
                  <a:pt x="4762" y="537"/>
                </a:cubicBezTo>
                <a:lnTo>
                  <a:pt x="4762" y="538"/>
                </a:lnTo>
                <a:cubicBezTo>
                  <a:pt x="4760" y="539"/>
                  <a:pt x="4759" y="540"/>
                  <a:pt x="4757" y="540"/>
                </a:cubicBezTo>
                <a:close/>
                <a:moveTo>
                  <a:pt x="4407" y="740"/>
                </a:moveTo>
                <a:cubicBezTo>
                  <a:pt x="4406" y="740"/>
                  <a:pt x="4404" y="738"/>
                  <a:pt x="4402" y="736"/>
                </a:cubicBezTo>
                <a:cubicBezTo>
                  <a:pt x="4401" y="735"/>
                  <a:pt x="4400" y="734"/>
                  <a:pt x="4400" y="734"/>
                </a:cubicBezTo>
                <a:cubicBezTo>
                  <a:pt x="4400" y="733"/>
                  <a:pt x="4401" y="733"/>
                  <a:pt x="4401" y="733"/>
                </a:cubicBezTo>
                <a:lnTo>
                  <a:pt x="4403" y="733"/>
                </a:lnTo>
                <a:cubicBezTo>
                  <a:pt x="4407" y="734"/>
                  <a:pt x="4408" y="735"/>
                  <a:pt x="4408" y="739"/>
                </a:cubicBezTo>
                <a:cubicBezTo>
                  <a:pt x="4408" y="739"/>
                  <a:pt x="4408" y="740"/>
                  <a:pt x="4407" y="740"/>
                </a:cubicBezTo>
                <a:close/>
                <a:moveTo>
                  <a:pt x="4398" y="742"/>
                </a:moveTo>
                <a:cubicBezTo>
                  <a:pt x="4397" y="742"/>
                  <a:pt x="4396" y="742"/>
                  <a:pt x="4396" y="741"/>
                </a:cubicBezTo>
                <a:lnTo>
                  <a:pt x="4397" y="740"/>
                </a:lnTo>
                <a:cubicBezTo>
                  <a:pt x="4397" y="738"/>
                  <a:pt x="4398" y="737"/>
                  <a:pt x="4399" y="737"/>
                </a:cubicBezTo>
                <a:cubicBezTo>
                  <a:pt x="4399" y="737"/>
                  <a:pt x="4400" y="738"/>
                  <a:pt x="4400" y="740"/>
                </a:cubicBezTo>
                <a:cubicBezTo>
                  <a:pt x="4400" y="741"/>
                  <a:pt x="4399" y="742"/>
                  <a:pt x="4398" y="742"/>
                </a:cubicBezTo>
                <a:close/>
                <a:moveTo>
                  <a:pt x="4390" y="744"/>
                </a:moveTo>
                <a:lnTo>
                  <a:pt x="4387" y="744"/>
                </a:lnTo>
                <a:cubicBezTo>
                  <a:pt x="4387" y="743"/>
                  <a:pt x="4388" y="742"/>
                  <a:pt x="4390" y="741"/>
                </a:cubicBezTo>
                <a:lnTo>
                  <a:pt x="4392" y="741"/>
                </a:lnTo>
                <a:cubicBezTo>
                  <a:pt x="4393" y="741"/>
                  <a:pt x="4394" y="741"/>
                  <a:pt x="4394" y="742"/>
                </a:cubicBezTo>
                <a:cubicBezTo>
                  <a:pt x="4394" y="744"/>
                  <a:pt x="4392" y="744"/>
                  <a:pt x="4390" y="744"/>
                </a:cubicBezTo>
                <a:close/>
                <a:moveTo>
                  <a:pt x="4349" y="769"/>
                </a:moveTo>
                <a:cubicBezTo>
                  <a:pt x="4346" y="769"/>
                  <a:pt x="4345" y="769"/>
                  <a:pt x="4345" y="768"/>
                </a:cubicBezTo>
                <a:lnTo>
                  <a:pt x="4346" y="768"/>
                </a:lnTo>
                <a:lnTo>
                  <a:pt x="4350" y="767"/>
                </a:lnTo>
                <a:cubicBezTo>
                  <a:pt x="4352" y="767"/>
                  <a:pt x="4353" y="768"/>
                  <a:pt x="4353" y="768"/>
                </a:cubicBezTo>
                <a:cubicBezTo>
                  <a:pt x="4353" y="769"/>
                  <a:pt x="4352" y="769"/>
                  <a:pt x="4349" y="769"/>
                </a:cubicBezTo>
                <a:close/>
                <a:moveTo>
                  <a:pt x="4359" y="751"/>
                </a:moveTo>
                <a:cubicBezTo>
                  <a:pt x="4358" y="751"/>
                  <a:pt x="4357" y="750"/>
                  <a:pt x="4357" y="750"/>
                </a:cubicBezTo>
                <a:lnTo>
                  <a:pt x="4358" y="750"/>
                </a:lnTo>
                <a:lnTo>
                  <a:pt x="4360" y="749"/>
                </a:lnTo>
                <a:cubicBezTo>
                  <a:pt x="4362" y="749"/>
                  <a:pt x="4363" y="750"/>
                  <a:pt x="4363" y="750"/>
                </a:cubicBezTo>
                <a:cubicBezTo>
                  <a:pt x="4363" y="751"/>
                  <a:pt x="4362" y="751"/>
                  <a:pt x="4359" y="751"/>
                </a:cubicBezTo>
                <a:close/>
                <a:moveTo>
                  <a:pt x="4343" y="746"/>
                </a:moveTo>
                <a:cubicBezTo>
                  <a:pt x="4341" y="746"/>
                  <a:pt x="4340" y="746"/>
                  <a:pt x="4340" y="746"/>
                </a:cubicBezTo>
                <a:cubicBezTo>
                  <a:pt x="4340" y="745"/>
                  <a:pt x="4341" y="745"/>
                  <a:pt x="4344" y="745"/>
                </a:cubicBezTo>
                <a:lnTo>
                  <a:pt x="4346" y="745"/>
                </a:lnTo>
                <a:cubicBezTo>
                  <a:pt x="4346" y="745"/>
                  <a:pt x="4347" y="745"/>
                  <a:pt x="4347" y="746"/>
                </a:cubicBezTo>
                <a:cubicBezTo>
                  <a:pt x="4347" y="746"/>
                  <a:pt x="4345" y="746"/>
                  <a:pt x="4343" y="746"/>
                </a:cubicBezTo>
                <a:close/>
                <a:moveTo>
                  <a:pt x="4589" y="674"/>
                </a:moveTo>
                <a:close/>
                <a:moveTo>
                  <a:pt x="4414" y="737"/>
                </a:moveTo>
                <a:lnTo>
                  <a:pt x="4414" y="737"/>
                </a:lnTo>
                <a:cubicBezTo>
                  <a:pt x="4413" y="737"/>
                  <a:pt x="4412" y="736"/>
                  <a:pt x="4411" y="734"/>
                </a:cubicBezTo>
                <a:cubicBezTo>
                  <a:pt x="4410" y="732"/>
                  <a:pt x="4409" y="732"/>
                  <a:pt x="4409" y="731"/>
                </a:cubicBezTo>
                <a:cubicBezTo>
                  <a:pt x="4409" y="731"/>
                  <a:pt x="4409" y="730"/>
                  <a:pt x="4410" y="730"/>
                </a:cubicBezTo>
                <a:cubicBezTo>
                  <a:pt x="4412" y="730"/>
                  <a:pt x="4413" y="731"/>
                  <a:pt x="4414" y="732"/>
                </a:cubicBezTo>
                <a:cubicBezTo>
                  <a:pt x="4414" y="733"/>
                  <a:pt x="4415" y="735"/>
                  <a:pt x="4415" y="736"/>
                </a:cubicBezTo>
                <a:lnTo>
                  <a:pt x="4414" y="737"/>
                </a:lnTo>
                <a:close/>
                <a:moveTo>
                  <a:pt x="4724" y="633"/>
                </a:moveTo>
                <a:lnTo>
                  <a:pt x="4724" y="609"/>
                </a:lnTo>
                <a:cubicBezTo>
                  <a:pt x="4724" y="609"/>
                  <a:pt x="4725" y="613"/>
                  <a:pt x="4725" y="621"/>
                </a:cubicBezTo>
                <a:lnTo>
                  <a:pt x="4724" y="631"/>
                </a:lnTo>
                <a:cubicBezTo>
                  <a:pt x="4724" y="632"/>
                  <a:pt x="4724" y="633"/>
                  <a:pt x="4724" y="633"/>
                </a:cubicBezTo>
                <a:close/>
                <a:moveTo>
                  <a:pt x="4732" y="676"/>
                </a:moveTo>
                <a:cubicBezTo>
                  <a:pt x="4732" y="676"/>
                  <a:pt x="4731" y="675"/>
                  <a:pt x="4731" y="674"/>
                </a:cubicBezTo>
                <a:lnTo>
                  <a:pt x="4730" y="671"/>
                </a:lnTo>
                <a:cubicBezTo>
                  <a:pt x="4730" y="671"/>
                  <a:pt x="4730" y="670"/>
                  <a:pt x="4731" y="670"/>
                </a:cubicBezTo>
                <a:cubicBezTo>
                  <a:pt x="4731" y="670"/>
                  <a:pt x="4731" y="671"/>
                  <a:pt x="4732" y="671"/>
                </a:cubicBezTo>
                <a:cubicBezTo>
                  <a:pt x="4733" y="672"/>
                  <a:pt x="4733" y="674"/>
                  <a:pt x="4733" y="675"/>
                </a:cubicBezTo>
                <a:cubicBezTo>
                  <a:pt x="4733" y="676"/>
                  <a:pt x="4733" y="676"/>
                  <a:pt x="4732" y="676"/>
                </a:cubicBezTo>
                <a:close/>
                <a:moveTo>
                  <a:pt x="4726" y="654"/>
                </a:moveTo>
                <a:cubicBezTo>
                  <a:pt x="4726" y="654"/>
                  <a:pt x="4725" y="653"/>
                  <a:pt x="4725" y="651"/>
                </a:cubicBezTo>
                <a:cubicBezTo>
                  <a:pt x="4725" y="649"/>
                  <a:pt x="4726" y="648"/>
                  <a:pt x="4726" y="648"/>
                </a:cubicBezTo>
                <a:cubicBezTo>
                  <a:pt x="4727" y="648"/>
                  <a:pt x="4727" y="649"/>
                  <a:pt x="4727" y="651"/>
                </a:cubicBezTo>
                <a:lnTo>
                  <a:pt x="4727" y="654"/>
                </a:lnTo>
                <a:lnTo>
                  <a:pt x="4726" y="654"/>
                </a:lnTo>
                <a:close/>
                <a:moveTo>
                  <a:pt x="4841" y="485"/>
                </a:moveTo>
                <a:lnTo>
                  <a:pt x="4840" y="485"/>
                </a:lnTo>
                <a:cubicBezTo>
                  <a:pt x="4840" y="484"/>
                  <a:pt x="4841" y="483"/>
                  <a:pt x="4844" y="482"/>
                </a:cubicBezTo>
                <a:cubicBezTo>
                  <a:pt x="4846" y="480"/>
                  <a:pt x="4848" y="480"/>
                  <a:pt x="4848" y="480"/>
                </a:cubicBezTo>
                <a:lnTo>
                  <a:pt x="4849" y="480"/>
                </a:lnTo>
                <a:cubicBezTo>
                  <a:pt x="4849" y="481"/>
                  <a:pt x="4848" y="482"/>
                  <a:pt x="4845" y="483"/>
                </a:cubicBezTo>
                <a:cubicBezTo>
                  <a:pt x="4843" y="484"/>
                  <a:pt x="4841" y="485"/>
                  <a:pt x="4841" y="485"/>
                </a:cubicBezTo>
                <a:close/>
                <a:moveTo>
                  <a:pt x="4819" y="497"/>
                </a:moveTo>
                <a:lnTo>
                  <a:pt x="4819" y="497"/>
                </a:lnTo>
                <a:lnTo>
                  <a:pt x="4819" y="497"/>
                </a:lnTo>
                <a:cubicBezTo>
                  <a:pt x="4820" y="496"/>
                  <a:pt x="4821" y="495"/>
                  <a:pt x="4824" y="493"/>
                </a:cubicBezTo>
                <a:cubicBezTo>
                  <a:pt x="4827" y="492"/>
                  <a:pt x="4830" y="490"/>
                  <a:pt x="4833" y="489"/>
                </a:cubicBezTo>
                <a:cubicBezTo>
                  <a:pt x="4836" y="487"/>
                  <a:pt x="4837" y="487"/>
                  <a:pt x="4838" y="487"/>
                </a:cubicBezTo>
                <a:cubicBezTo>
                  <a:pt x="4838" y="487"/>
                  <a:pt x="4835" y="489"/>
                  <a:pt x="4830" y="492"/>
                </a:cubicBezTo>
                <a:cubicBezTo>
                  <a:pt x="4824" y="495"/>
                  <a:pt x="4821" y="497"/>
                  <a:pt x="4819" y="497"/>
                </a:cubicBezTo>
                <a:close/>
                <a:moveTo>
                  <a:pt x="4880" y="456"/>
                </a:moveTo>
                <a:cubicBezTo>
                  <a:pt x="4880" y="456"/>
                  <a:pt x="4881" y="454"/>
                  <a:pt x="4883" y="451"/>
                </a:cubicBezTo>
                <a:cubicBezTo>
                  <a:pt x="4886" y="448"/>
                  <a:pt x="4887" y="447"/>
                  <a:pt x="4888" y="447"/>
                </a:cubicBezTo>
                <a:cubicBezTo>
                  <a:pt x="4888" y="447"/>
                  <a:pt x="4887" y="449"/>
                  <a:pt x="4885" y="451"/>
                </a:cubicBezTo>
                <a:cubicBezTo>
                  <a:pt x="4882" y="455"/>
                  <a:pt x="4880" y="456"/>
                  <a:pt x="4880" y="456"/>
                </a:cubicBezTo>
                <a:close/>
                <a:moveTo>
                  <a:pt x="4895" y="442"/>
                </a:moveTo>
                <a:cubicBezTo>
                  <a:pt x="4895" y="441"/>
                  <a:pt x="4897" y="438"/>
                  <a:pt x="4901" y="433"/>
                </a:cubicBezTo>
                <a:cubicBezTo>
                  <a:pt x="4905" y="429"/>
                  <a:pt x="4908" y="426"/>
                  <a:pt x="4910" y="426"/>
                </a:cubicBezTo>
                <a:cubicBezTo>
                  <a:pt x="4910" y="426"/>
                  <a:pt x="4908" y="429"/>
                  <a:pt x="4903" y="434"/>
                </a:cubicBezTo>
                <a:lnTo>
                  <a:pt x="4895" y="442"/>
                </a:lnTo>
                <a:close/>
                <a:moveTo>
                  <a:pt x="4835" y="397"/>
                </a:moveTo>
                <a:lnTo>
                  <a:pt x="4835" y="393"/>
                </a:lnTo>
                <a:cubicBezTo>
                  <a:pt x="4836" y="391"/>
                  <a:pt x="4838" y="389"/>
                  <a:pt x="4838" y="389"/>
                </a:cubicBezTo>
                <a:cubicBezTo>
                  <a:pt x="4839" y="389"/>
                  <a:pt x="4839" y="390"/>
                  <a:pt x="4839" y="390"/>
                </a:cubicBezTo>
                <a:cubicBezTo>
                  <a:pt x="4839" y="391"/>
                  <a:pt x="4839" y="392"/>
                  <a:pt x="4838" y="393"/>
                </a:cubicBezTo>
                <a:cubicBezTo>
                  <a:pt x="4836" y="395"/>
                  <a:pt x="4835" y="397"/>
                  <a:pt x="4835" y="397"/>
                </a:cubicBezTo>
                <a:close/>
                <a:moveTo>
                  <a:pt x="4913" y="424"/>
                </a:moveTo>
                <a:lnTo>
                  <a:pt x="4912" y="423"/>
                </a:lnTo>
                <a:cubicBezTo>
                  <a:pt x="4912" y="423"/>
                  <a:pt x="4913" y="421"/>
                  <a:pt x="4916" y="419"/>
                </a:cubicBezTo>
                <a:cubicBezTo>
                  <a:pt x="4918" y="416"/>
                  <a:pt x="4920" y="415"/>
                  <a:pt x="4920" y="415"/>
                </a:cubicBezTo>
                <a:cubicBezTo>
                  <a:pt x="4920" y="415"/>
                  <a:pt x="4919" y="417"/>
                  <a:pt x="4917" y="419"/>
                </a:cubicBezTo>
                <a:cubicBezTo>
                  <a:pt x="4914" y="422"/>
                  <a:pt x="4913" y="424"/>
                  <a:pt x="4913" y="424"/>
                </a:cubicBezTo>
                <a:close/>
                <a:moveTo>
                  <a:pt x="5050" y="128"/>
                </a:moveTo>
                <a:cubicBezTo>
                  <a:pt x="5049" y="128"/>
                  <a:pt x="5048" y="127"/>
                  <a:pt x="5045" y="124"/>
                </a:cubicBezTo>
                <a:cubicBezTo>
                  <a:pt x="5041" y="120"/>
                  <a:pt x="5035" y="118"/>
                  <a:pt x="5027" y="118"/>
                </a:cubicBezTo>
                <a:cubicBezTo>
                  <a:pt x="5022" y="118"/>
                  <a:pt x="5017" y="119"/>
                  <a:pt x="5012" y="120"/>
                </a:cubicBezTo>
                <a:cubicBezTo>
                  <a:pt x="5006" y="122"/>
                  <a:pt x="5002" y="122"/>
                  <a:pt x="5000" y="122"/>
                </a:cubicBezTo>
                <a:lnTo>
                  <a:pt x="4999" y="122"/>
                </a:lnTo>
                <a:cubicBezTo>
                  <a:pt x="4999" y="122"/>
                  <a:pt x="5002" y="120"/>
                  <a:pt x="5009" y="118"/>
                </a:cubicBezTo>
                <a:cubicBezTo>
                  <a:pt x="5016" y="116"/>
                  <a:pt x="5022" y="115"/>
                  <a:pt x="5027" y="115"/>
                </a:cubicBezTo>
                <a:cubicBezTo>
                  <a:pt x="5039" y="115"/>
                  <a:pt x="5046" y="119"/>
                  <a:pt x="5049" y="125"/>
                </a:cubicBezTo>
                <a:lnTo>
                  <a:pt x="5051" y="127"/>
                </a:lnTo>
                <a:cubicBezTo>
                  <a:pt x="5051" y="128"/>
                  <a:pt x="5050" y="128"/>
                  <a:pt x="5050" y="128"/>
                </a:cubicBezTo>
                <a:close/>
                <a:moveTo>
                  <a:pt x="5005" y="360"/>
                </a:moveTo>
                <a:cubicBezTo>
                  <a:pt x="5004" y="360"/>
                  <a:pt x="5004" y="359"/>
                  <a:pt x="5004" y="359"/>
                </a:cubicBezTo>
                <a:lnTo>
                  <a:pt x="5004" y="357"/>
                </a:lnTo>
                <a:cubicBezTo>
                  <a:pt x="5006" y="356"/>
                  <a:pt x="5007" y="355"/>
                  <a:pt x="5008" y="355"/>
                </a:cubicBezTo>
                <a:cubicBezTo>
                  <a:pt x="5009" y="355"/>
                  <a:pt x="5009" y="355"/>
                  <a:pt x="5009" y="357"/>
                </a:cubicBezTo>
                <a:cubicBezTo>
                  <a:pt x="5009" y="357"/>
                  <a:pt x="5009" y="357"/>
                  <a:pt x="5008" y="358"/>
                </a:cubicBezTo>
                <a:cubicBezTo>
                  <a:pt x="5008" y="359"/>
                  <a:pt x="5007" y="360"/>
                  <a:pt x="5005" y="360"/>
                </a:cubicBezTo>
                <a:close/>
                <a:moveTo>
                  <a:pt x="5009" y="353"/>
                </a:moveTo>
                <a:cubicBezTo>
                  <a:pt x="5009" y="353"/>
                  <a:pt x="5008" y="353"/>
                  <a:pt x="5008" y="352"/>
                </a:cubicBezTo>
                <a:cubicBezTo>
                  <a:pt x="5008" y="352"/>
                  <a:pt x="5009" y="351"/>
                  <a:pt x="5009" y="350"/>
                </a:cubicBezTo>
                <a:cubicBezTo>
                  <a:pt x="5009" y="349"/>
                  <a:pt x="5011" y="348"/>
                  <a:pt x="5012" y="348"/>
                </a:cubicBezTo>
                <a:cubicBezTo>
                  <a:pt x="5013" y="348"/>
                  <a:pt x="5013" y="349"/>
                  <a:pt x="5013" y="350"/>
                </a:cubicBezTo>
                <a:lnTo>
                  <a:pt x="5013" y="350"/>
                </a:lnTo>
                <a:cubicBezTo>
                  <a:pt x="5012" y="352"/>
                  <a:pt x="5011" y="353"/>
                  <a:pt x="5009" y="353"/>
                </a:cubicBezTo>
                <a:close/>
                <a:moveTo>
                  <a:pt x="4868" y="772"/>
                </a:moveTo>
                <a:cubicBezTo>
                  <a:pt x="4854" y="772"/>
                  <a:pt x="4842" y="771"/>
                  <a:pt x="4832" y="767"/>
                </a:cubicBezTo>
                <a:cubicBezTo>
                  <a:pt x="4819" y="764"/>
                  <a:pt x="4812" y="762"/>
                  <a:pt x="4812" y="762"/>
                </a:cubicBezTo>
                <a:cubicBezTo>
                  <a:pt x="4812" y="762"/>
                  <a:pt x="4811" y="762"/>
                  <a:pt x="4811" y="762"/>
                </a:cubicBezTo>
                <a:cubicBezTo>
                  <a:pt x="4810" y="761"/>
                  <a:pt x="4809" y="761"/>
                  <a:pt x="4809" y="760"/>
                </a:cubicBezTo>
                <a:cubicBezTo>
                  <a:pt x="4809" y="759"/>
                  <a:pt x="4809" y="759"/>
                  <a:pt x="4807" y="759"/>
                </a:cubicBezTo>
                <a:cubicBezTo>
                  <a:pt x="4803" y="759"/>
                  <a:pt x="4798" y="756"/>
                  <a:pt x="4790" y="751"/>
                </a:cubicBezTo>
                <a:cubicBezTo>
                  <a:pt x="4782" y="746"/>
                  <a:pt x="4776" y="740"/>
                  <a:pt x="4770" y="734"/>
                </a:cubicBezTo>
                <a:cubicBezTo>
                  <a:pt x="4748" y="706"/>
                  <a:pt x="4738" y="677"/>
                  <a:pt x="4738" y="649"/>
                </a:cubicBezTo>
                <a:cubicBezTo>
                  <a:pt x="4738" y="637"/>
                  <a:pt x="4737" y="632"/>
                  <a:pt x="4736" y="631"/>
                </a:cubicBezTo>
                <a:lnTo>
                  <a:pt x="4736" y="631"/>
                </a:lnTo>
                <a:cubicBezTo>
                  <a:pt x="4736" y="631"/>
                  <a:pt x="4735" y="630"/>
                  <a:pt x="4735" y="627"/>
                </a:cubicBezTo>
                <a:cubicBezTo>
                  <a:pt x="4735" y="623"/>
                  <a:pt x="4736" y="615"/>
                  <a:pt x="4738" y="604"/>
                </a:cubicBezTo>
                <a:cubicBezTo>
                  <a:pt x="4739" y="593"/>
                  <a:pt x="4741" y="583"/>
                  <a:pt x="4743" y="573"/>
                </a:cubicBezTo>
                <a:cubicBezTo>
                  <a:pt x="4745" y="563"/>
                  <a:pt x="4747" y="556"/>
                  <a:pt x="4749" y="553"/>
                </a:cubicBezTo>
                <a:lnTo>
                  <a:pt x="4750" y="551"/>
                </a:lnTo>
                <a:cubicBezTo>
                  <a:pt x="4751" y="551"/>
                  <a:pt x="4751" y="551"/>
                  <a:pt x="4751" y="552"/>
                </a:cubicBezTo>
                <a:lnTo>
                  <a:pt x="4750" y="557"/>
                </a:lnTo>
                <a:cubicBezTo>
                  <a:pt x="4751" y="557"/>
                  <a:pt x="4751" y="555"/>
                  <a:pt x="4753" y="552"/>
                </a:cubicBezTo>
                <a:cubicBezTo>
                  <a:pt x="4759" y="532"/>
                  <a:pt x="4762" y="519"/>
                  <a:pt x="4762" y="513"/>
                </a:cubicBezTo>
                <a:cubicBezTo>
                  <a:pt x="4762" y="511"/>
                  <a:pt x="4762" y="509"/>
                  <a:pt x="4760" y="509"/>
                </a:cubicBezTo>
                <a:cubicBezTo>
                  <a:pt x="4759" y="509"/>
                  <a:pt x="4759" y="509"/>
                  <a:pt x="4758" y="510"/>
                </a:cubicBezTo>
                <a:cubicBezTo>
                  <a:pt x="4757" y="510"/>
                  <a:pt x="4756" y="508"/>
                  <a:pt x="4756" y="505"/>
                </a:cubicBezTo>
                <a:cubicBezTo>
                  <a:pt x="4756" y="504"/>
                  <a:pt x="4756" y="503"/>
                  <a:pt x="4757" y="503"/>
                </a:cubicBezTo>
                <a:cubicBezTo>
                  <a:pt x="4757" y="502"/>
                  <a:pt x="4758" y="502"/>
                  <a:pt x="4758" y="501"/>
                </a:cubicBezTo>
                <a:lnTo>
                  <a:pt x="4759" y="501"/>
                </a:lnTo>
                <a:cubicBezTo>
                  <a:pt x="4759" y="501"/>
                  <a:pt x="4760" y="500"/>
                  <a:pt x="4760" y="499"/>
                </a:cubicBezTo>
                <a:cubicBezTo>
                  <a:pt x="4760" y="498"/>
                  <a:pt x="4760" y="497"/>
                  <a:pt x="4760" y="497"/>
                </a:cubicBezTo>
                <a:cubicBezTo>
                  <a:pt x="4761" y="496"/>
                  <a:pt x="4761" y="495"/>
                  <a:pt x="4763" y="493"/>
                </a:cubicBezTo>
                <a:cubicBezTo>
                  <a:pt x="4763" y="493"/>
                  <a:pt x="4764" y="495"/>
                  <a:pt x="4764" y="498"/>
                </a:cubicBezTo>
                <a:cubicBezTo>
                  <a:pt x="4764" y="501"/>
                  <a:pt x="4764" y="503"/>
                  <a:pt x="4766" y="503"/>
                </a:cubicBezTo>
                <a:cubicBezTo>
                  <a:pt x="4767" y="503"/>
                  <a:pt x="4768" y="502"/>
                  <a:pt x="4769" y="500"/>
                </a:cubicBezTo>
                <a:lnTo>
                  <a:pt x="4770" y="498"/>
                </a:lnTo>
                <a:cubicBezTo>
                  <a:pt x="4770" y="496"/>
                  <a:pt x="4769" y="495"/>
                  <a:pt x="4767" y="493"/>
                </a:cubicBezTo>
                <a:cubicBezTo>
                  <a:pt x="4765" y="491"/>
                  <a:pt x="4764" y="490"/>
                  <a:pt x="4764" y="487"/>
                </a:cubicBezTo>
                <a:cubicBezTo>
                  <a:pt x="4764" y="487"/>
                  <a:pt x="4764" y="485"/>
                  <a:pt x="4765" y="485"/>
                </a:cubicBezTo>
                <a:cubicBezTo>
                  <a:pt x="4765" y="484"/>
                  <a:pt x="4766" y="483"/>
                  <a:pt x="4767" y="483"/>
                </a:cubicBezTo>
                <a:cubicBezTo>
                  <a:pt x="4768" y="483"/>
                  <a:pt x="4769" y="483"/>
                  <a:pt x="4770" y="482"/>
                </a:cubicBezTo>
                <a:cubicBezTo>
                  <a:pt x="4771" y="482"/>
                  <a:pt x="4771" y="482"/>
                  <a:pt x="4771" y="481"/>
                </a:cubicBezTo>
                <a:cubicBezTo>
                  <a:pt x="4771" y="480"/>
                  <a:pt x="4770" y="479"/>
                  <a:pt x="4769" y="479"/>
                </a:cubicBezTo>
                <a:cubicBezTo>
                  <a:pt x="4768" y="479"/>
                  <a:pt x="4767" y="478"/>
                  <a:pt x="4767" y="477"/>
                </a:cubicBezTo>
                <a:cubicBezTo>
                  <a:pt x="4767" y="475"/>
                  <a:pt x="4768" y="472"/>
                  <a:pt x="4770" y="468"/>
                </a:cubicBezTo>
                <a:lnTo>
                  <a:pt x="4772" y="463"/>
                </a:lnTo>
                <a:cubicBezTo>
                  <a:pt x="4771" y="463"/>
                  <a:pt x="4771" y="463"/>
                  <a:pt x="4771" y="462"/>
                </a:cubicBezTo>
                <a:cubicBezTo>
                  <a:pt x="4771" y="462"/>
                  <a:pt x="4772" y="461"/>
                  <a:pt x="4774" y="459"/>
                </a:cubicBezTo>
                <a:cubicBezTo>
                  <a:pt x="4775" y="457"/>
                  <a:pt x="4776" y="455"/>
                  <a:pt x="4776" y="452"/>
                </a:cubicBezTo>
                <a:lnTo>
                  <a:pt x="4776" y="450"/>
                </a:lnTo>
                <a:cubicBezTo>
                  <a:pt x="4776" y="448"/>
                  <a:pt x="4777" y="447"/>
                  <a:pt x="4779" y="446"/>
                </a:cubicBezTo>
                <a:cubicBezTo>
                  <a:pt x="4781" y="445"/>
                  <a:pt x="4781" y="445"/>
                  <a:pt x="4781" y="444"/>
                </a:cubicBezTo>
                <a:cubicBezTo>
                  <a:pt x="4781" y="444"/>
                  <a:pt x="4781" y="443"/>
                  <a:pt x="4779" y="442"/>
                </a:cubicBezTo>
                <a:cubicBezTo>
                  <a:pt x="4778" y="441"/>
                  <a:pt x="4778" y="441"/>
                  <a:pt x="4778" y="441"/>
                </a:cubicBezTo>
                <a:cubicBezTo>
                  <a:pt x="4778" y="440"/>
                  <a:pt x="4778" y="440"/>
                  <a:pt x="4779" y="440"/>
                </a:cubicBezTo>
                <a:cubicBezTo>
                  <a:pt x="4780" y="440"/>
                  <a:pt x="4781" y="439"/>
                  <a:pt x="4781" y="438"/>
                </a:cubicBezTo>
                <a:lnTo>
                  <a:pt x="4780" y="436"/>
                </a:lnTo>
                <a:cubicBezTo>
                  <a:pt x="4780" y="436"/>
                  <a:pt x="4780" y="436"/>
                  <a:pt x="4780" y="436"/>
                </a:cubicBezTo>
                <a:lnTo>
                  <a:pt x="4782" y="437"/>
                </a:lnTo>
                <a:cubicBezTo>
                  <a:pt x="4783" y="438"/>
                  <a:pt x="4784" y="439"/>
                  <a:pt x="4784" y="441"/>
                </a:cubicBezTo>
                <a:cubicBezTo>
                  <a:pt x="4784" y="445"/>
                  <a:pt x="4782" y="451"/>
                  <a:pt x="4778" y="459"/>
                </a:cubicBezTo>
                <a:cubicBezTo>
                  <a:pt x="4774" y="465"/>
                  <a:pt x="4773" y="470"/>
                  <a:pt x="4773" y="471"/>
                </a:cubicBezTo>
                <a:cubicBezTo>
                  <a:pt x="4773" y="472"/>
                  <a:pt x="4773" y="472"/>
                  <a:pt x="4773" y="472"/>
                </a:cubicBezTo>
                <a:cubicBezTo>
                  <a:pt x="4775" y="471"/>
                  <a:pt x="4777" y="469"/>
                  <a:pt x="4779" y="464"/>
                </a:cubicBezTo>
                <a:cubicBezTo>
                  <a:pt x="4781" y="460"/>
                  <a:pt x="4782" y="456"/>
                  <a:pt x="4783" y="451"/>
                </a:cubicBezTo>
                <a:cubicBezTo>
                  <a:pt x="4784" y="446"/>
                  <a:pt x="4785" y="442"/>
                  <a:pt x="4785" y="439"/>
                </a:cubicBezTo>
                <a:cubicBezTo>
                  <a:pt x="4785" y="438"/>
                  <a:pt x="4785" y="437"/>
                  <a:pt x="4785" y="436"/>
                </a:cubicBezTo>
                <a:cubicBezTo>
                  <a:pt x="4783" y="433"/>
                  <a:pt x="4782" y="432"/>
                  <a:pt x="4782" y="431"/>
                </a:cubicBezTo>
                <a:lnTo>
                  <a:pt x="4784" y="432"/>
                </a:lnTo>
                <a:cubicBezTo>
                  <a:pt x="4786" y="432"/>
                  <a:pt x="4787" y="430"/>
                  <a:pt x="4787" y="426"/>
                </a:cubicBezTo>
                <a:cubicBezTo>
                  <a:pt x="4787" y="425"/>
                  <a:pt x="4787" y="424"/>
                  <a:pt x="4787" y="424"/>
                </a:cubicBezTo>
                <a:cubicBezTo>
                  <a:pt x="4786" y="423"/>
                  <a:pt x="4786" y="423"/>
                  <a:pt x="4786" y="422"/>
                </a:cubicBezTo>
                <a:lnTo>
                  <a:pt x="4789" y="423"/>
                </a:lnTo>
                <a:cubicBezTo>
                  <a:pt x="4790" y="423"/>
                  <a:pt x="4790" y="423"/>
                  <a:pt x="4790" y="422"/>
                </a:cubicBezTo>
                <a:lnTo>
                  <a:pt x="4789" y="416"/>
                </a:lnTo>
                <a:cubicBezTo>
                  <a:pt x="4789" y="415"/>
                  <a:pt x="4789" y="415"/>
                  <a:pt x="4789" y="415"/>
                </a:cubicBezTo>
                <a:lnTo>
                  <a:pt x="4792" y="419"/>
                </a:lnTo>
                <a:cubicBezTo>
                  <a:pt x="4792" y="419"/>
                  <a:pt x="4792" y="419"/>
                  <a:pt x="4792" y="418"/>
                </a:cubicBezTo>
                <a:lnTo>
                  <a:pt x="4791" y="413"/>
                </a:lnTo>
                <a:cubicBezTo>
                  <a:pt x="4791" y="412"/>
                  <a:pt x="4792" y="411"/>
                  <a:pt x="4792" y="411"/>
                </a:cubicBezTo>
                <a:lnTo>
                  <a:pt x="4793" y="411"/>
                </a:lnTo>
                <a:cubicBezTo>
                  <a:pt x="4794" y="411"/>
                  <a:pt x="4795" y="410"/>
                  <a:pt x="4796" y="408"/>
                </a:cubicBezTo>
                <a:cubicBezTo>
                  <a:pt x="4798" y="406"/>
                  <a:pt x="4798" y="404"/>
                  <a:pt x="4798" y="402"/>
                </a:cubicBezTo>
                <a:cubicBezTo>
                  <a:pt x="4798" y="401"/>
                  <a:pt x="4798" y="400"/>
                  <a:pt x="4798" y="399"/>
                </a:cubicBezTo>
                <a:cubicBezTo>
                  <a:pt x="4798" y="398"/>
                  <a:pt x="4797" y="398"/>
                  <a:pt x="4797" y="397"/>
                </a:cubicBezTo>
                <a:lnTo>
                  <a:pt x="4799" y="397"/>
                </a:lnTo>
                <a:cubicBezTo>
                  <a:pt x="4801" y="397"/>
                  <a:pt x="4802" y="396"/>
                  <a:pt x="4803" y="394"/>
                </a:cubicBezTo>
                <a:cubicBezTo>
                  <a:pt x="4805" y="392"/>
                  <a:pt x="4805" y="390"/>
                  <a:pt x="4805" y="389"/>
                </a:cubicBezTo>
                <a:cubicBezTo>
                  <a:pt x="4805" y="388"/>
                  <a:pt x="4805" y="388"/>
                  <a:pt x="4805" y="388"/>
                </a:cubicBezTo>
                <a:cubicBezTo>
                  <a:pt x="4804" y="388"/>
                  <a:pt x="4804" y="389"/>
                  <a:pt x="4803" y="390"/>
                </a:cubicBezTo>
                <a:cubicBezTo>
                  <a:pt x="4801" y="392"/>
                  <a:pt x="4800" y="393"/>
                  <a:pt x="4800" y="393"/>
                </a:cubicBezTo>
                <a:lnTo>
                  <a:pt x="4802" y="387"/>
                </a:lnTo>
                <a:cubicBezTo>
                  <a:pt x="4805" y="381"/>
                  <a:pt x="4807" y="378"/>
                  <a:pt x="4808" y="378"/>
                </a:cubicBezTo>
                <a:lnTo>
                  <a:pt x="4806" y="384"/>
                </a:lnTo>
                <a:cubicBezTo>
                  <a:pt x="4806" y="384"/>
                  <a:pt x="4806" y="385"/>
                  <a:pt x="4807" y="385"/>
                </a:cubicBezTo>
                <a:cubicBezTo>
                  <a:pt x="4807" y="385"/>
                  <a:pt x="4808" y="383"/>
                  <a:pt x="4810" y="380"/>
                </a:cubicBezTo>
                <a:lnTo>
                  <a:pt x="4811" y="376"/>
                </a:lnTo>
                <a:cubicBezTo>
                  <a:pt x="4811" y="376"/>
                  <a:pt x="4810" y="377"/>
                  <a:pt x="4810" y="377"/>
                </a:cubicBezTo>
                <a:cubicBezTo>
                  <a:pt x="4809" y="377"/>
                  <a:pt x="4809" y="378"/>
                  <a:pt x="4808" y="378"/>
                </a:cubicBezTo>
                <a:lnTo>
                  <a:pt x="4808" y="377"/>
                </a:lnTo>
                <a:cubicBezTo>
                  <a:pt x="4808" y="376"/>
                  <a:pt x="4809" y="374"/>
                  <a:pt x="4810" y="370"/>
                </a:cubicBezTo>
                <a:cubicBezTo>
                  <a:pt x="4811" y="367"/>
                  <a:pt x="4813" y="366"/>
                  <a:pt x="4813" y="366"/>
                </a:cubicBezTo>
                <a:cubicBezTo>
                  <a:pt x="4814" y="366"/>
                  <a:pt x="4814" y="366"/>
                  <a:pt x="4815" y="367"/>
                </a:cubicBezTo>
                <a:cubicBezTo>
                  <a:pt x="4815" y="367"/>
                  <a:pt x="4815" y="368"/>
                  <a:pt x="4816" y="368"/>
                </a:cubicBezTo>
                <a:cubicBezTo>
                  <a:pt x="4816" y="368"/>
                  <a:pt x="4816" y="367"/>
                  <a:pt x="4817" y="366"/>
                </a:cubicBezTo>
                <a:cubicBezTo>
                  <a:pt x="4818" y="365"/>
                  <a:pt x="4818" y="364"/>
                  <a:pt x="4818" y="364"/>
                </a:cubicBezTo>
                <a:cubicBezTo>
                  <a:pt x="4818" y="363"/>
                  <a:pt x="4818" y="363"/>
                  <a:pt x="4817" y="363"/>
                </a:cubicBezTo>
                <a:lnTo>
                  <a:pt x="4816" y="364"/>
                </a:lnTo>
                <a:cubicBezTo>
                  <a:pt x="4815" y="364"/>
                  <a:pt x="4815" y="363"/>
                  <a:pt x="4815" y="363"/>
                </a:cubicBezTo>
                <a:cubicBezTo>
                  <a:pt x="4815" y="362"/>
                  <a:pt x="4815" y="361"/>
                  <a:pt x="4816" y="360"/>
                </a:cubicBezTo>
                <a:cubicBezTo>
                  <a:pt x="4817" y="359"/>
                  <a:pt x="4818" y="359"/>
                  <a:pt x="4819" y="359"/>
                </a:cubicBezTo>
                <a:cubicBezTo>
                  <a:pt x="4820" y="359"/>
                  <a:pt x="4820" y="358"/>
                  <a:pt x="4821" y="357"/>
                </a:cubicBezTo>
                <a:cubicBezTo>
                  <a:pt x="4823" y="355"/>
                  <a:pt x="4825" y="353"/>
                  <a:pt x="4825" y="351"/>
                </a:cubicBezTo>
                <a:cubicBezTo>
                  <a:pt x="4825" y="351"/>
                  <a:pt x="4824" y="351"/>
                  <a:pt x="4824" y="351"/>
                </a:cubicBezTo>
                <a:cubicBezTo>
                  <a:pt x="4824" y="351"/>
                  <a:pt x="4823" y="351"/>
                  <a:pt x="4823" y="351"/>
                </a:cubicBezTo>
                <a:cubicBezTo>
                  <a:pt x="4822" y="352"/>
                  <a:pt x="4822" y="352"/>
                  <a:pt x="4821" y="352"/>
                </a:cubicBezTo>
                <a:cubicBezTo>
                  <a:pt x="4821" y="352"/>
                  <a:pt x="4821" y="352"/>
                  <a:pt x="4821" y="351"/>
                </a:cubicBezTo>
                <a:cubicBezTo>
                  <a:pt x="4821" y="351"/>
                  <a:pt x="4821" y="349"/>
                  <a:pt x="4823" y="345"/>
                </a:cubicBezTo>
                <a:cubicBezTo>
                  <a:pt x="4828" y="336"/>
                  <a:pt x="4831" y="330"/>
                  <a:pt x="4834" y="325"/>
                </a:cubicBezTo>
                <a:cubicBezTo>
                  <a:pt x="4837" y="321"/>
                  <a:pt x="4839" y="319"/>
                  <a:pt x="4839" y="319"/>
                </a:cubicBezTo>
                <a:cubicBezTo>
                  <a:pt x="4840" y="319"/>
                  <a:pt x="4840" y="319"/>
                  <a:pt x="4840" y="320"/>
                </a:cubicBezTo>
                <a:cubicBezTo>
                  <a:pt x="4840" y="321"/>
                  <a:pt x="4840" y="323"/>
                  <a:pt x="4838" y="324"/>
                </a:cubicBezTo>
                <a:cubicBezTo>
                  <a:pt x="4837" y="326"/>
                  <a:pt x="4836" y="328"/>
                  <a:pt x="4835" y="330"/>
                </a:cubicBezTo>
                <a:cubicBezTo>
                  <a:pt x="4833" y="333"/>
                  <a:pt x="4832" y="335"/>
                  <a:pt x="4831" y="337"/>
                </a:cubicBezTo>
                <a:cubicBezTo>
                  <a:pt x="4830" y="339"/>
                  <a:pt x="4829" y="340"/>
                  <a:pt x="4829" y="341"/>
                </a:cubicBezTo>
                <a:lnTo>
                  <a:pt x="4831" y="340"/>
                </a:lnTo>
                <a:cubicBezTo>
                  <a:pt x="4834" y="336"/>
                  <a:pt x="4838" y="331"/>
                  <a:pt x="4841" y="324"/>
                </a:cubicBezTo>
                <a:cubicBezTo>
                  <a:pt x="4844" y="318"/>
                  <a:pt x="4845" y="313"/>
                  <a:pt x="4845" y="310"/>
                </a:cubicBezTo>
                <a:lnTo>
                  <a:pt x="4845" y="309"/>
                </a:lnTo>
                <a:cubicBezTo>
                  <a:pt x="4845" y="306"/>
                  <a:pt x="4846" y="305"/>
                  <a:pt x="4846" y="305"/>
                </a:cubicBezTo>
                <a:lnTo>
                  <a:pt x="4849" y="306"/>
                </a:lnTo>
                <a:cubicBezTo>
                  <a:pt x="4850" y="306"/>
                  <a:pt x="4852" y="305"/>
                  <a:pt x="4853" y="302"/>
                </a:cubicBezTo>
                <a:cubicBezTo>
                  <a:pt x="4855" y="300"/>
                  <a:pt x="4855" y="298"/>
                  <a:pt x="4855" y="298"/>
                </a:cubicBezTo>
                <a:cubicBezTo>
                  <a:pt x="4855" y="298"/>
                  <a:pt x="4854" y="299"/>
                  <a:pt x="4853" y="300"/>
                </a:cubicBezTo>
                <a:cubicBezTo>
                  <a:pt x="4851" y="302"/>
                  <a:pt x="4850" y="303"/>
                  <a:pt x="4849" y="303"/>
                </a:cubicBezTo>
                <a:cubicBezTo>
                  <a:pt x="4849" y="303"/>
                  <a:pt x="4849" y="303"/>
                  <a:pt x="4849" y="302"/>
                </a:cubicBezTo>
                <a:cubicBezTo>
                  <a:pt x="4848" y="302"/>
                  <a:pt x="4848" y="301"/>
                  <a:pt x="4848" y="301"/>
                </a:cubicBezTo>
                <a:cubicBezTo>
                  <a:pt x="4847" y="301"/>
                  <a:pt x="4845" y="303"/>
                  <a:pt x="4843" y="306"/>
                </a:cubicBezTo>
                <a:cubicBezTo>
                  <a:pt x="4841" y="309"/>
                  <a:pt x="4840" y="312"/>
                  <a:pt x="4840" y="313"/>
                </a:cubicBezTo>
                <a:cubicBezTo>
                  <a:pt x="4840" y="313"/>
                  <a:pt x="4840" y="313"/>
                  <a:pt x="4840" y="313"/>
                </a:cubicBezTo>
                <a:cubicBezTo>
                  <a:pt x="4841" y="313"/>
                  <a:pt x="4841" y="313"/>
                  <a:pt x="4841" y="312"/>
                </a:cubicBezTo>
                <a:cubicBezTo>
                  <a:pt x="4842" y="312"/>
                  <a:pt x="4842" y="312"/>
                  <a:pt x="4843" y="312"/>
                </a:cubicBezTo>
                <a:cubicBezTo>
                  <a:pt x="4843" y="312"/>
                  <a:pt x="4844" y="312"/>
                  <a:pt x="4844" y="313"/>
                </a:cubicBezTo>
                <a:cubicBezTo>
                  <a:pt x="4844" y="316"/>
                  <a:pt x="4842" y="317"/>
                  <a:pt x="4839" y="317"/>
                </a:cubicBezTo>
                <a:lnTo>
                  <a:pt x="4839" y="317"/>
                </a:lnTo>
                <a:cubicBezTo>
                  <a:pt x="4836" y="317"/>
                  <a:pt x="4833" y="322"/>
                  <a:pt x="4827" y="333"/>
                </a:cubicBezTo>
                <a:cubicBezTo>
                  <a:pt x="4821" y="344"/>
                  <a:pt x="4818" y="349"/>
                  <a:pt x="4816" y="349"/>
                </a:cubicBezTo>
                <a:lnTo>
                  <a:pt x="4815" y="349"/>
                </a:lnTo>
                <a:cubicBezTo>
                  <a:pt x="4815" y="349"/>
                  <a:pt x="4814" y="350"/>
                  <a:pt x="4814" y="351"/>
                </a:cubicBezTo>
                <a:cubicBezTo>
                  <a:pt x="4813" y="355"/>
                  <a:pt x="4812" y="358"/>
                  <a:pt x="4812" y="358"/>
                </a:cubicBezTo>
                <a:cubicBezTo>
                  <a:pt x="4812" y="359"/>
                  <a:pt x="4811" y="359"/>
                  <a:pt x="4811" y="360"/>
                </a:cubicBezTo>
                <a:cubicBezTo>
                  <a:pt x="4811" y="361"/>
                  <a:pt x="4811" y="361"/>
                  <a:pt x="4811" y="362"/>
                </a:cubicBezTo>
                <a:cubicBezTo>
                  <a:pt x="4811" y="362"/>
                  <a:pt x="4810" y="363"/>
                  <a:pt x="4809" y="366"/>
                </a:cubicBezTo>
                <a:cubicBezTo>
                  <a:pt x="4808" y="369"/>
                  <a:pt x="4806" y="372"/>
                  <a:pt x="4804" y="375"/>
                </a:cubicBezTo>
                <a:cubicBezTo>
                  <a:pt x="4800" y="383"/>
                  <a:pt x="4797" y="388"/>
                  <a:pt x="4796" y="391"/>
                </a:cubicBezTo>
                <a:cubicBezTo>
                  <a:pt x="4793" y="400"/>
                  <a:pt x="4789" y="409"/>
                  <a:pt x="4785" y="418"/>
                </a:cubicBezTo>
                <a:cubicBezTo>
                  <a:pt x="4782" y="424"/>
                  <a:pt x="4779" y="430"/>
                  <a:pt x="4777" y="436"/>
                </a:cubicBezTo>
                <a:cubicBezTo>
                  <a:pt x="4774" y="443"/>
                  <a:pt x="4772" y="448"/>
                  <a:pt x="4771" y="453"/>
                </a:cubicBezTo>
                <a:cubicBezTo>
                  <a:pt x="4769" y="457"/>
                  <a:pt x="4768" y="460"/>
                  <a:pt x="4767" y="463"/>
                </a:cubicBezTo>
                <a:cubicBezTo>
                  <a:pt x="4766" y="466"/>
                  <a:pt x="4764" y="468"/>
                  <a:pt x="4764" y="469"/>
                </a:cubicBezTo>
                <a:cubicBezTo>
                  <a:pt x="4763" y="470"/>
                  <a:pt x="4762" y="471"/>
                  <a:pt x="4762" y="473"/>
                </a:cubicBezTo>
                <a:cubicBezTo>
                  <a:pt x="4762" y="474"/>
                  <a:pt x="4762" y="475"/>
                  <a:pt x="4761" y="477"/>
                </a:cubicBezTo>
                <a:lnTo>
                  <a:pt x="4758" y="487"/>
                </a:lnTo>
                <a:cubicBezTo>
                  <a:pt x="4754" y="494"/>
                  <a:pt x="4752" y="499"/>
                  <a:pt x="4752" y="502"/>
                </a:cubicBezTo>
                <a:cubicBezTo>
                  <a:pt x="4751" y="505"/>
                  <a:pt x="4750" y="507"/>
                  <a:pt x="4749" y="507"/>
                </a:cubicBezTo>
                <a:lnTo>
                  <a:pt x="4748" y="506"/>
                </a:lnTo>
                <a:lnTo>
                  <a:pt x="4748" y="506"/>
                </a:lnTo>
                <a:cubicBezTo>
                  <a:pt x="4748" y="504"/>
                  <a:pt x="4749" y="497"/>
                  <a:pt x="4753" y="486"/>
                </a:cubicBezTo>
                <a:cubicBezTo>
                  <a:pt x="4756" y="475"/>
                  <a:pt x="4760" y="463"/>
                  <a:pt x="4766" y="448"/>
                </a:cubicBezTo>
                <a:cubicBezTo>
                  <a:pt x="4771" y="434"/>
                  <a:pt x="4778" y="416"/>
                  <a:pt x="4789" y="394"/>
                </a:cubicBezTo>
                <a:cubicBezTo>
                  <a:pt x="4799" y="372"/>
                  <a:pt x="4809" y="352"/>
                  <a:pt x="4819" y="334"/>
                </a:cubicBezTo>
                <a:cubicBezTo>
                  <a:pt x="4829" y="316"/>
                  <a:pt x="4835" y="307"/>
                  <a:pt x="4836" y="307"/>
                </a:cubicBezTo>
                <a:cubicBezTo>
                  <a:pt x="4837" y="307"/>
                  <a:pt x="4837" y="307"/>
                  <a:pt x="4837" y="306"/>
                </a:cubicBezTo>
                <a:lnTo>
                  <a:pt x="4837" y="304"/>
                </a:lnTo>
                <a:cubicBezTo>
                  <a:pt x="4837" y="304"/>
                  <a:pt x="4838" y="302"/>
                  <a:pt x="4840" y="301"/>
                </a:cubicBezTo>
                <a:cubicBezTo>
                  <a:pt x="4841" y="301"/>
                  <a:pt x="4842" y="300"/>
                  <a:pt x="4842" y="299"/>
                </a:cubicBezTo>
                <a:cubicBezTo>
                  <a:pt x="4842" y="298"/>
                  <a:pt x="4841" y="298"/>
                  <a:pt x="4841" y="297"/>
                </a:cubicBezTo>
                <a:cubicBezTo>
                  <a:pt x="4841" y="297"/>
                  <a:pt x="4841" y="296"/>
                  <a:pt x="4841" y="296"/>
                </a:cubicBezTo>
                <a:lnTo>
                  <a:pt x="4842" y="296"/>
                </a:lnTo>
                <a:cubicBezTo>
                  <a:pt x="4844" y="296"/>
                  <a:pt x="4845" y="294"/>
                  <a:pt x="4847" y="290"/>
                </a:cubicBezTo>
                <a:cubicBezTo>
                  <a:pt x="4848" y="286"/>
                  <a:pt x="4850" y="284"/>
                  <a:pt x="4851" y="284"/>
                </a:cubicBezTo>
                <a:cubicBezTo>
                  <a:pt x="4852" y="284"/>
                  <a:pt x="4853" y="284"/>
                  <a:pt x="4853" y="283"/>
                </a:cubicBezTo>
                <a:lnTo>
                  <a:pt x="4852" y="282"/>
                </a:lnTo>
                <a:cubicBezTo>
                  <a:pt x="4852" y="281"/>
                  <a:pt x="4853" y="279"/>
                  <a:pt x="4854" y="279"/>
                </a:cubicBezTo>
                <a:cubicBezTo>
                  <a:pt x="4855" y="279"/>
                  <a:pt x="4856" y="278"/>
                  <a:pt x="4856" y="278"/>
                </a:cubicBezTo>
                <a:cubicBezTo>
                  <a:pt x="4856" y="277"/>
                  <a:pt x="4856" y="276"/>
                  <a:pt x="4857" y="274"/>
                </a:cubicBezTo>
                <a:cubicBezTo>
                  <a:pt x="4857" y="273"/>
                  <a:pt x="4858" y="271"/>
                  <a:pt x="4860" y="269"/>
                </a:cubicBezTo>
                <a:cubicBezTo>
                  <a:pt x="4862" y="268"/>
                  <a:pt x="4863" y="267"/>
                  <a:pt x="4863" y="267"/>
                </a:cubicBezTo>
                <a:lnTo>
                  <a:pt x="4861" y="267"/>
                </a:lnTo>
                <a:cubicBezTo>
                  <a:pt x="4861" y="266"/>
                  <a:pt x="4862" y="264"/>
                  <a:pt x="4864" y="262"/>
                </a:cubicBezTo>
                <a:cubicBezTo>
                  <a:pt x="4866" y="259"/>
                  <a:pt x="4867" y="257"/>
                  <a:pt x="4868" y="256"/>
                </a:cubicBezTo>
                <a:lnTo>
                  <a:pt x="4871" y="254"/>
                </a:lnTo>
                <a:cubicBezTo>
                  <a:pt x="4871" y="254"/>
                  <a:pt x="4870" y="255"/>
                  <a:pt x="4870" y="257"/>
                </a:cubicBezTo>
                <a:cubicBezTo>
                  <a:pt x="4870" y="259"/>
                  <a:pt x="4870" y="260"/>
                  <a:pt x="4872" y="260"/>
                </a:cubicBezTo>
                <a:cubicBezTo>
                  <a:pt x="4872" y="260"/>
                  <a:pt x="4872" y="259"/>
                  <a:pt x="4872" y="256"/>
                </a:cubicBezTo>
                <a:cubicBezTo>
                  <a:pt x="4872" y="254"/>
                  <a:pt x="4874" y="250"/>
                  <a:pt x="4878" y="244"/>
                </a:cubicBezTo>
                <a:cubicBezTo>
                  <a:pt x="4881" y="238"/>
                  <a:pt x="4885" y="232"/>
                  <a:pt x="4889" y="228"/>
                </a:cubicBezTo>
                <a:cubicBezTo>
                  <a:pt x="4893" y="223"/>
                  <a:pt x="4896" y="220"/>
                  <a:pt x="4897" y="220"/>
                </a:cubicBezTo>
                <a:cubicBezTo>
                  <a:pt x="4898" y="220"/>
                  <a:pt x="4898" y="220"/>
                  <a:pt x="4898" y="220"/>
                </a:cubicBezTo>
                <a:cubicBezTo>
                  <a:pt x="4898" y="221"/>
                  <a:pt x="4897" y="223"/>
                  <a:pt x="4895" y="224"/>
                </a:cubicBezTo>
                <a:cubicBezTo>
                  <a:pt x="4889" y="231"/>
                  <a:pt x="4886" y="235"/>
                  <a:pt x="4886" y="237"/>
                </a:cubicBezTo>
                <a:lnTo>
                  <a:pt x="4886" y="237"/>
                </a:lnTo>
                <a:lnTo>
                  <a:pt x="4887" y="237"/>
                </a:lnTo>
                <a:cubicBezTo>
                  <a:pt x="4887" y="237"/>
                  <a:pt x="4889" y="236"/>
                  <a:pt x="4892" y="232"/>
                </a:cubicBezTo>
                <a:cubicBezTo>
                  <a:pt x="4894" y="230"/>
                  <a:pt x="4897" y="226"/>
                  <a:pt x="4898" y="223"/>
                </a:cubicBezTo>
                <a:cubicBezTo>
                  <a:pt x="4900" y="219"/>
                  <a:pt x="4902" y="217"/>
                  <a:pt x="4902" y="215"/>
                </a:cubicBezTo>
                <a:cubicBezTo>
                  <a:pt x="4902" y="212"/>
                  <a:pt x="4903" y="211"/>
                  <a:pt x="4905" y="211"/>
                </a:cubicBezTo>
                <a:cubicBezTo>
                  <a:pt x="4906" y="211"/>
                  <a:pt x="4907" y="210"/>
                  <a:pt x="4907" y="209"/>
                </a:cubicBezTo>
                <a:lnTo>
                  <a:pt x="4906" y="207"/>
                </a:lnTo>
                <a:lnTo>
                  <a:pt x="4908" y="206"/>
                </a:lnTo>
                <a:cubicBezTo>
                  <a:pt x="4909" y="206"/>
                  <a:pt x="4913" y="203"/>
                  <a:pt x="4920" y="195"/>
                </a:cubicBezTo>
                <a:cubicBezTo>
                  <a:pt x="4927" y="188"/>
                  <a:pt x="4931" y="184"/>
                  <a:pt x="4933" y="184"/>
                </a:cubicBezTo>
                <a:cubicBezTo>
                  <a:pt x="4933" y="184"/>
                  <a:pt x="4933" y="184"/>
                  <a:pt x="4933" y="184"/>
                </a:cubicBezTo>
                <a:lnTo>
                  <a:pt x="4932" y="188"/>
                </a:lnTo>
                <a:cubicBezTo>
                  <a:pt x="4932" y="189"/>
                  <a:pt x="4932" y="189"/>
                  <a:pt x="4933" y="189"/>
                </a:cubicBezTo>
                <a:cubicBezTo>
                  <a:pt x="4934" y="189"/>
                  <a:pt x="4939" y="186"/>
                  <a:pt x="4946" y="178"/>
                </a:cubicBezTo>
                <a:cubicBezTo>
                  <a:pt x="4960" y="164"/>
                  <a:pt x="4975" y="152"/>
                  <a:pt x="4992" y="143"/>
                </a:cubicBezTo>
                <a:cubicBezTo>
                  <a:pt x="5008" y="135"/>
                  <a:pt x="5022" y="131"/>
                  <a:pt x="5033" y="131"/>
                </a:cubicBezTo>
                <a:cubicBezTo>
                  <a:pt x="5038" y="131"/>
                  <a:pt x="5042" y="132"/>
                  <a:pt x="5046" y="134"/>
                </a:cubicBezTo>
                <a:cubicBezTo>
                  <a:pt x="5047" y="135"/>
                  <a:pt x="5048" y="136"/>
                  <a:pt x="5049" y="136"/>
                </a:cubicBezTo>
                <a:cubicBezTo>
                  <a:pt x="5049" y="136"/>
                  <a:pt x="5051" y="136"/>
                  <a:pt x="5053" y="136"/>
                </a:cubicBezTo>
                <a:cubicBezTo>
                  <a:pt x="5054" y="137"/>
                  <a:pt x="5057" y="137"/>
                  <a:pt x="5060" y="139"/>
                </a:cubicBezTo>
                <a:cubicBezTo>
                  <a:pt x="5067" y="143"/>
                  <a:pt x="5072" y="147"/>
                  <a:pt x="5075" y="151"/>
                </a:cubicBezTo>
                <a:cubicBezTo>
                  <a:pt x="5077" y="153"/>
                  <a:pt x="5078" y="156"/>
                  <a:pt x="5079" y="160"/>
                </a:cubicBezTo>
                <a:cubicBezTo>
                  <a:pt x="5082" y="169"/>
                  <a:pt x="5083" y="179"/>
                  <a:pt x="5083" y="191"/>
                </a:cubicBezTo>
                <a:cubicBezTo>
                  <a:pt x="5083" y="236"/>
                  <a:pt x="5065" y="289"/>
                  <a:pt x="5029" y="350"/>
                </a:cubicBezTo>
                <a:cubicBezTo>
                  <a:pt x="4992" y="411"/>
                  <a:pt x="4949" y="459"/>
                  <a:pt x="4901" y="495"/>
                </a:cubicBezTo>
                <a:cubicBezTo>
                  <a:pt x="4888" y="502"/>
                  <a:pt x="4880" y="506"/>
                  <a:pt x="4877" y="506"/>
                </a:cubicBezTo>
                <a:cubicBezTo>
                  <a:pt x="4877" y="506"/>
                  <a:pt x="4876" y="506"/>
                  <a:pt x="4876" y="505"/>
                </a:cubicBezTo>
                <a:cubicBezTo>
                  <a:pt x="4876" y="505"/>
                  <a:pt x="4877" y="504"/>
                  <a:pt x="4877" y="502"/>
                </a:cubicBezTo>
                <a:cubicBezTo>
                  <a:pt x="4879" y="500"/>
                  <a:pt x="4881" y="500"/>
                  <a:pt x="4882" y="500"/>
                </a:cubicBezTo>
                <a:cubicBezTo>
                  <a:pt x="4883" y="500"/>
                  <a:pt x="4883" y="500"/>
                  <a:pt x="4883" y="501"/>
                </a:cubicBezTo>
                <a:cubicBezTo>
                  <a:pt x="4883" y="501"/>
                  <a:pt x="4883" y="502"/>
                  <a:pt x="4882" y="502"/>
                </a:cubicBezTo>
                <a:cubicBezTo>
                  <a:pt x="4882" y="503"/>
                  <a:pt x="4882" y="504"/>
                  <a:pt x="4882" y="504"/>
                </a:cubicBezTo>
                <a:lnTo>
                  <a:pt x="4883" y="503"/>
                </a:lnTo>
                <a:cubicBezTo>
                  <a:pt x="4884" y="503"/>
                  <a:pt x="4885" y="502"/>
                  <a:pt x="4885" y="501"/>
                </a:cubicBezTo>
                <a:cubicBezTo>
                  <a:pt x="4885" y="496"/>
                  <a:pt x="4886" y="493"/>
                  <a:pt x="4887" y="493"/>
                </a:cubicBezTo>
                <a:cubicBezTo>
                  <a:pt x="4887" y="493"/>
                  <a:pt x="4888" y="494"/>
                  <a:pt x="4890" y="495"/>
                </a:cubicBezTo>
                <a:lnTo>
                  <a:pt x="4892" y="497"/>
                </a:lnTo>
                <a:cubicBezTo>
                  <a:pt x="4892" y="497"/>
                  <a:pt x="4892" y="496"/>
                  <a:pt x="4892" y="495"/>
                </a:cubicBezTo>
                <a:cubicBezTo>
                  <a:pt x="4891" y="495"/>
                  <a:pt x="4891" y="494"/>
                  <a:pt x="4891" y="493"/>
                </a:cubicBezTo>
                <a:cubicBezTo>
                  <a:pt x="4891" y="492"/>
                  <a:pt x="4892" y="490"/>
                  <a:pt x="4893" y="489"/>
                </a:cubicBezTo>
                <a:cubicBezTo>
                  <a:pt x="4894" y="487"/>
                  <a:pt x="4895" y="487"/>
                  <a:pt x="4897" y="487"/>
                </a:cubicBezTo>
                <a:cubicBezTo>
                  <a:pt x="4898" y="487"/>
                  <a:pt x="4898" y="488"/>
                  <a:pt x="4898" y="489"/>
                </a:cubicBezTo>
                <a:cubicBezTo>
                  <a:pt x="4898" y="490"/>
                  <a:pt x="4898" y="490"/>
                  <a:pt x="4898" y="491"/>
                </a:cubicBezTo>
                <a:cubicBezTo>
                  <a:pt x="4898" y="492"/>
                  <a:pt x="4897" y="492"/>
                  <a:pt x="4897" y="492"/>
                </a:cubicBezTo>
                <a:lnTo>
                  <a:pt x="4899" y="491"/>
                </a:lnTo>
                <a:cubicBezTo>
                  <a:pt x="4900" y="490"/>
                  <a:pt x="4900" y="489"/>
                  <a:pt x="4900" y="488"/>
                </a:cubicBezTo>
                <a:cubicBezTo>
                  <a:pt x="4900" y="486"/>
                  <a:pt x="4901" y="484"/>
                  <a:pt x="4903" y="481"/>
                </a:cubicBezTo>
                <a:cubicBezTo>
                  <a:pt x="4905" y="479"/>
                  <a:pt x="4907" y="478"/>
                  <a:pt x="4909" y="478"/>
                </a:cubicBezTo>
                <a:lnTo>
                  <a:pt x="4912" y="478"/>
                </a:lnTo>
                <a:lnTo>
                  <a:pt x="4913" y="477"/>
                </a:lnTo>
                <a:lnTo>
                  <a:pt x="4913" y="476"/>
                </a:lnTo>
                <a:cubicBezTo>
                  <a:pt x="4913" y="474"/>
                  <a:pt x="4916" y="471"/>
                  <a:pt x="4920" y="467"/>
                </a:cubicBezTo>
                <a:lnTo>
                  <a:pt x="4923" y="464"/>
                </a:lnTo>
                <a:cubicBezTo>
                  <a:pt x="4923" y="465"/>
                  <a:pt x="4924" y="465"/>
                  <a:pt x="4924" y="465"/>
                </a:cubicBezTo>
                <a:cubicBezTo>
                  <a:pt x="4925" y="465"/>
                  <a:pt x="4926" y="463"/>
                  <a:pt x="4929" y="459"/>
                </a:cubicBezTo>
                <a:cubicBezTo>
                  <a:pt x="4931" y="455"/>
                  <a:pt x="4933" y="453"/>
                  <a:pt x="4935" y="453"/>
                </a:cubicBezTo>
                <a:cubicBezTo>
                  <a:pt x="4935" y="453"/>
                  <a:pt x="4935" y="454"/>
                  <a:pt x="4935" y="454"/>
                </a:cubicBezTo>
                <a:cubicBezTo>
                  <a:pt x="4935" y="455"/>
                  <a:pt x="4935" y="456"/>
                  <a:pt x="4935" y="456"/>
                </a:cubicBezTo>
                <a:cubicBezTo>
                  <a:pt x="4934" y="457"/>
                  <a:pt x="4934" y="458"/>
                  <a:pt x="4934" y="458"/>
                </a:cubicBezTo>
                <a:cubicBezTo>
                  <a:pt x="4934" y="458"/>
                  <a:pt x="4935" y="458"/>
                  <a:pt x="4937" y="456"/>
                </a:cubicBezTo>
                <a:cubicBezTo>
                  <a:pt x="4938" y="455"/>
                  <a:pt x="4939" y="454"/>
                  <a:pt x="4939" y="453"/>
                </a:cubicBezTo>
                <a:cubicBezTo>
                  <a:pt x="4939" y="452"/>
                  <a:pt x="4939" y="451"/>
                  <a:pt x="4938" y="451"/>
                </a:cubicBezTo>
                <a:cubicBezTo>
                  <a:pt x="4938" y="450"/>
                  <a:pt x="4937" y="449"/>
                  <a:pt x="4937" y="448"/>
                </a:cubicBezTo>
                <a:cubicBezTo>
                  <a:pt x="4937" y="447"/>
                  <a:pt x="4940" y="444"/>
                  <a:pt x="4947" y="439"/>
                </a:cubicBezTo>
                <a:cubicBezTo>
                  <a:pt x="4954" y="433"/>
                  <a:pt x="4958" y="430"/>
                  <a:pt x="4958" y="429"/>
                </a:cubicBezTo>
                <a:cubicBezTo>
                  <a:pt x="4958" y="427"/>
                  <a:pt x="4959" y="427"/>
                  <a:pt x="4960" y="427"/>
                </a:cubicBezTo>
                <a:cubicBezTo>
                  <a:pt x="4961" y="427"/>
                  <a:pt x="4965" y="423"/>
                  <a:pt x="4971" y="416"/>
                </a:cubicBezTo>
                <a:cubicBezTo>
                  <a:pt x="4975" y="411"/>
                  <a:pt x="4978" y="407"/>
                  <a:pt x="4978" y="406"/>
                </a:cubicBezTo>
                <a:lnTo>
                  <a:pt x="4977" y="406"/>
                </a:lnTo>
                <a:cubicBezTo>
                  <a:pt x="4977" y="406"/>
                  <a:pt x="4980" y="402"/>
                  <a:pt x="4986" y="395"/>
                </a:cubicBezTo>
                <a:cubicBezTo>
                  <a:pt x="4995" y="386"/>
                  <a:pt x="4999" y="380"/>
                  <a:pt x="4999" y="379"/>
                </a:cubicBezTo>
                <a:cubicBezTo>
                  <a:pt x="4999" y="377"/>
                  <a:pt x="5001" y="375"/>
                  <a:pt x="5004" y="371"/>
                </a:cubicBezTo>
                <a:cubicBezTo>
                  <a:pt x="5008" y="367"/>
                  <a:pt x="5010" y="365"/>
                  <a:pt x="5010" y="363"/>
                </a:cubicBezTo>
                <a:cubicBezTo>
                  <a:pt x="5010" y="362"/>
                  <a:pt x="5011" y="360"/>
                  <a:pt x="5014" y="356"/>
                </a:cubicBezTo>
                <a:cubicBezTo>
                  <a:pt x="5017" y="353"/>
                  <a:pt x="5018" y="350"/>
                  <a:pt x="5018" y="349"/>
                </a:cubicBezTo>
                <a:cubicBezTo>
                  <a:pt x="5018" y="347"/>
                  <a:pt x="5018" y="346"/>
                  <a:pt x="5019" y="346"/>
                </a:cubicBezTo>
                <a:cubicBezTo>
                  <a:pt x="5019" y="345"/>
                  <a:pt x="5019" y="345"/>
                  <a:pt x="5020" y="344"/>
                </a:cubicBezTo>
                <a:lnTo>
                  <a:pt x="5021" y="344"/>
                </a:lnTo>
                <a:cubicBezTo>
                  <a:pt x="5022" y="344"/>
                  <a:pt x="5023" y="343"/>
                  <a:pt x="5026" y="339"/>
                </a:cubicBezTo>
                <a:cubicBezTo>
                  <a:pt x="5027" y="336"/>
                  <a:pt x="5029" y="334"/>
                  <a:pt x="5029" y="333"/>
                </a:cubicBezTo>
                <a:cubicBezTo>
                  <a:pt x="5029" y="333"/>
                  <a:pt x="5028" y="332"/>
                  <a:pt x="5028" y="332"/>
                </a:cubicBezTo>
                <a:cubicBezTo>
                  <a:pt x="5028" y="332"/>
                  <a:pt x="5027" y="332"/>
                  <a:pt x="5027" y="332"/>
                </a:cubicBezTo>
                <a:cubicBezTo>
                  <a:pt x="5027" y="331"/>
                  <a:pt x="5028" y="331"/>
                  <a:pt x="5030" y="329"/>
                </a:cubicBezTo>
                <a:cubicBezTo>
                  <a:pt x="5032" y="328"/>
                  <a:pt x="5033" y="326"/>
                  <a:pt x="5034" y="323"/>
                </a:cubicBezTo>
                <a:cubicBezTo>
                  <a:pt x="5034" y="322"/>
                  <a:pt x="5035" y="321"/>
                  <a:pt x="5036" y="320"/>
                </a:cubicBezTo>
                <a:cubicBezTo>
                  <a:pt x="5036" y="318"/>
                  <a:pt x="5037" y="317"/>
                  <a:pt x="5039" y="316"/>
                </a:cubicBezTo>
                <a:cubicBezTo>
                  <a:pt x="5040" y="313"/>
                  <a:pt x="5041" y="311"/>
                  <a:pt x="5041" y="308"/>
                </a:cubicBezTo>
                <a:lnTo>
                  <a:pt x="5041" y="306"/>
                </a:lnTo>
                <a:cubicBezTo>
                  <a:pt x="5041" y="305"/>
                  <a:pt x="5041" y="304"/>
                  <a:pt x="5043" y="303"/>
                </a:cubicBezTo>
                <a:cubicBezTo>
                  <a:pt x="5045" y="302"/>
                  <a:pt x="5046" y="301"/>
                  <a:pt x="5046" y="300"/>
                </a:cubicBezTo>
                <a:lnTo>
                  <a:pt x="5045" y="298"/>
                </a:lnTo>
                <a:cubicBezTo>
                  <a:pt x="5045" y="296"/>
                  <a:pt x="5046" y="295"/>
                  <a:pt x="5046" y="294"/>
                </a:cubicBezTo>
                <a:cubicBezTo>
                  <a:pt x="5047" y="293"/>
                  <a:pt x="5048" y="292"/>
                  <a:pt x="5048" y="292"/>
                </a:cubicBezTo>
                <a:lnTo>
                  <a:pt x="5049" y="292"/>
                </a:lnTo>
                <a:cubicBezTo>
                  <a:pt x="5050" y="292"/>
                  <a:pt x="5050" y="292"/>
                  <a:pt x="5050" y="291"/>
                </a:cubicBezTo>
                <a:lnTo>
                  <a:pt x="5049" y="287"/>
                </a:lnTo>
                <a:cubicBezTo>
                  <a:pt x="5049" y="287"/>
                  <a:pt x="5049" y="287"/>
                  <a:pt x="5049" y="287"/>
                </a:cubicBezTo>
                <a:lnTo>
                  <a:pt x="5053" y="288"/>
                </a:lnTo>
                <a:cubicBezTo>
                  <a:pt x="5053" y="288"/>
                  <a:pt x="5053" y="288"/>
                  <a:pt x="5053" y="288"/>
                </a:cubicBezTo>
                <a:lnTo>
                  <a:pt x="5053" y="287"/>
                </a:lnTo>
                <a:cubicBezTo>
                  <a:pt x="5053" y="282"/>
                  <a:pt x="5054" y="275"/>
                  <a:pt x="5058" y="267"/>
                </a:cubicBezTo>
                <a:cubicBezTo>
                  <a:pt x="5070" y="232"/>
                  <a:pt x="5076" y="205"/>
                  <a:pt x="5076" y="186"/>
                </a:cubicBezTo>
                <a:cubicBezTo>
                  <a:pt x="5076" y="179"/>
                  <a:pt x="5075" y="174"/>
                  <a:pt x="5073" y="169"/>
                </a:cubicBezTo>
                <a:cubicBezTo>
                  <a:pt x="5071" y="165"/>
                  <a:pt x="5070" y="163"/>
                  <a:pt x="5070" y="163"/>
                </a:cubicBezTo>
                <a:cubicBezTo>
                  <a:pt x="5069" y="163"/>
                  <a:pt x="5069" y="163"/>
                  <a:pt x="5069" y="164"/>
                </a:cubicBezTo>
                <a:cubicBezTo>
                  <a:pt x="5069" y="164"/>
                  <a:pt x="5070" y="166"/>
                  <a:pt x="5071" y="169"/>
                </a:cubicBezTo>
                <a:cubicBezTo>
                  <a:pt x="5071" y="173"/>
                  <a:pt x="5072" y="177"/>
                  <a:pt x="5072" y="183"/>
                </a:cubicBezTo>
                <a:cubicBezTo>
                  <a:pt x="5072" y="192"/>
                  <a:pt x="5071" y="203"/>
                  <a:pt x="5068" y="213"/>
                </a:cubicBezTo>
                <a:lnTo>
                  <a:pt x="5066" y="224"/>
                </a:lnTo>
                <a:cubicBezTo>
                  <a:pt x="5066" y="226"/>
                  <a:pt x="5065" y="230"/>
                  <a:pt x="5063" y="235"/>
                </a:cubicBezTo>
                <a:cubicBezTo>
                  <a:pt x="5061" y="242"/>
                  <a:pt x="5059" y="246"/>
                  <a:pt x="5058" y="246"/>
                </a:cubicBezTo>
                <a:cubicBezTo>
                  <a:pt x="5057" y="246"/>
                  <a:pt x="5057" y="248"/>
                  <a:pt x="5057" y="252"/>
                </a:cubicBezTo>
                <a:cubicBezTo>
                  <a:pt x="5057" y="256"/>
                  <a:pt x="5056" y="259"/>
                  <a:pt x="5053" y="264"/>
                </a:cubicBezTo>
                <a:cubicBezTo>
                  <a:pt x="5051" y="268"/>
                  <a:pt x="5050" y="271"/>
                  <a:pt x="5050" y="274"/>
                </a:cubicBezTo>
                <a:cubicBezTo>
                  <a:pt x="5050" y="274"/>
                  <a:pt x="5050" y="275"/>
                  <a:pt x="5051" y="275"/>
                </a:cubicBezTo>
                <a:lnTo>
                  <a:pt x="5051" y="276"/>
                </a:lnTo>
                <a:cubicBezTo>
                  <a:pt x="5050" y="276"/>
                  <a:pt x="5049" y="275"/>
                  <a:pt x="5048" y="273"/>
                </a:cubicBezTo>
                <a:cubicBezTo>
                  <a:pt x="5046" y="272"/>
                  <a:pt x="5045" y="271"/>
                  <a:pt x="5045" y="271"/>
                </a:cubicBezTo>
                <a:lnTo>
                  <a:pt x="5045" y="271"/>
                </a:lnTo>
                <a:cubicBezTo>
                  <a:pt x="5045" y="272"/>
                  <a:pt x="5045" y="274"/>
                  <a:pt x="5047" y="278"/>
                </a:cubicBezTo>
                <a:cubicBezTo>
                  <a:pt x="5047" y="280"/>
                  <a:pt x="5048" y="281"/>
                  <a:pt x="5048" y="283"/>
                </a:cubicBezTo>
                <a:cubicBezTo>
                  <a:pt x="5048" y="285"/>
                  <a:pt x="5046" y="287"/>
                  <a:pt x="5043" y="290"/>
                </a:cubicBezTo>
                <a:cubicBezTo>
                  <a:pt x="5040" y="293"/>
                  <a:pt x="5039" y="294"/>
                  <a:pt x="5039" y="294"/>
                </a:cubicBezTo>
                <a:cubicBezTo>
                  <a:pt x="5039" y="295"/>
                  <a:pt x="5039" y="295"/>
                  <a:pt x="5039" y="295"/>
                </a:cubicBezTo>
                <a:lnTo>
                  <a:pt x="5041" y="294"/>
                </a:lnTo>
                <a:cubicBezTo>
                  <a:pt x="5042" y="294"/>
                  <a:pt x="5042" y="294"/>
                  <a:pt x="5042" y="296"/>
                </a:cubicBezTo>
                <a:cubicBezTo>
                  <a:pt x="5041" y="298"/>
                  <a:pt x="5040" y="299"/>
                  <a:pt x="5039" y="299"/>
                </a:cubicBezTo>
                <a:cubicBezTo>
                  <a:pt x="5037" y="299"/>
                  <a:pt x="5036" y="299"/>
                  <a:pt x="5035" y="301"/>
                </a:cubicBezTo>
                <a:cubicBezTo>
                  <a:pt x="5035" y="303"/>
                  <a:pt x="5035" y="304"/>
                  <a:pt x="5035" y="304"/>
                </a:cubicBezTo>
                <a:lnTo>
                  <a:pt x="5037" y="303"/>
                </a:lnTo>
                <a:cubicBezTo>
                  <a:pt x="5038" y="303"/>
                  <a:pt x="5038" y="303"/>
                  <a:pt x="5038" y="304"/>
                </a:cubicBezTo>
                <a:cubicBezTo>
                  <a:pt x="5038" y="305"/>
                  <a:pt x="5037" y="308"/>
                  <a:pt x="5034" y="314"/>
                </a:cubicBezTo>
                <a:cubicBezTo>
                  <a:pt x="5031" y="320"/>
                  <a:pt x="5029" y="323"/>
                  <a:pt x="5027" y="323"/>
                </a:cubicBezTo>
                <a:cubicBezTo>
                  <a:pt x="5026" y="323"/>
                  <a:pt x="5026" y="323"/>
                  <a:pt x="5026" y="322"/>
                </a:cubicBezTo>
                <a:lnTo>
                  <a:pt x="5027" y="318"/>
                </a:lnTo>
                <a:cubicBezTo>
                  <a:pt x="5026" y="318"/>
                  <a:pt x="5025" y="320"/>
                  <a:pt x="5022" y="323"/>
                </a:cubicBezTo>
                <a:cubicBezTo>
                  <a:pt x="5020" y="325"/>
                  <a:pt x="5019" y="326"/>
                  <a:pt x="5019" y="327"/>
                </a:cubicBezTo>
                <a:lnTo>
                  <a:pt x="5026" y="326"/>
                </a:lnTo>
                <a:cubicBezTo>
                  <a:pt x="5026" y="326"/>
                  <a:pt x="5026" y="326"/>
                  <a:pt x="5026" y="326"/>
                </a:cubicBezTo>
                <a:cubicBezTo>
                  <a:pt x="5026" y="327"/>
                  <a:pt x="5025" y="330"/>
                  <a:pt x="5022" y="335"/>
                </a:cubicBezTo>
                <a:cubicBezTo>
                  <a:pt x="5020" y="338"/>
                  <a:pt x="5018" y="341"/>
                  <a:pt x="5016" y="343"/>
                </a:cubicBezTo>
                <a:cubicBezTo>
                  <a:pt x="5014" y="346"/>
                  <a:pt x="5012" y="347"/>
                  <a:pt x="5012" y="347"/>
                </a:cubicBezTo>
                <a:cubicBezTo>
                  <a:pt x="5012" y="347"/>
                  <a:pt x="5012" y="347"/>
                  <a:pt x="5012" y="346"/>
                </a:cubicBezTo>
                <a:lnTo>
                  <a:pt x="5013" y="343"/>
                </a:lnTo>
                <a:cubicBezTo>
                  <a:pt x="5012" y="343"/>
                  <a:pt x="5011" y="344"/>
                  <a:pt x="5009" y="346"/>
                </a:cubicBezTo>
                <a:cubicBezTo>
                  <a:pt x="5006" y="348"/>
                  <a:pt x="5004" y="351"/>
                  <a:pt x="5004" y="353"/>
                </a:cubicBezTo>
                <a:cubicBezTo>
                  <a:pt x="5004" y="354"/>
                  <a:pt x="4997" y="364"/>
                  <a:pt x="4982" y="384"/>
                </a:cubicBezTo>
                <a:cubicBezTo>
                  <a:pt x="4977" y="390"/>
                  <a:pt x="4975" y="394"/>
                  <a:pt x="4975" y="395"/>
                </a:cubicBezTo>
                <a:cubicBezTo>
                  <a:pt x="4975" y="396"/>
                  <a:pt x="4972" y="399"/>
                  <a:pt x="4968" y="404"/>
                </a:cubicBezTo>
                <a:cubicBezTo>
                  <a:pt x="4965" y="406"/>
                  <a:pt x="4963" y="408"/>
                  <a:pt x="4963" y="409"/>
                </a:cubicBezTo>
                <a:lnTo>
                  <a:pt x="4965" y="409"/>
                </a:lnTo>
                <a:cubicBezTo>
                  <a:pt x="4964" y="410"/>
                  <a:pt x="4962" y="413"/>
                  <a:pt x="4956" y="418"/>
                </a:cubicBezTo>
                <a:cubicBezTo>
                  <a:pt x="4949" y="424"/>
                  <a:pt x="4946" y="429"/>
                  <a:pt x="4946" y="430"/>
                </a:cubicBezTo>
                <a:lnTo>
                  <a:pt x="4946" y="431"/>
                </a:lnTo>
                <a:cubicBezTo>
                  <a:pt x="4946" y="431"/>
                  <a:pt x="4945" y="433"/>
                  <a:pt x="4942" y="436"/>
                </a:cubicBezTo>
                <a:cubicBezTo>
                  <a:pt x="4939" y="441"/>
                  <a:pt x="4933" y="446"/>
                  <a:pt x="4925" y="453"/>
                </a:cubicBezTo>
                <a:lnTo>
                  <a:pt x="4920" y="457"/>
                </a:lnTo>
                <a:lnTo>
                  <a:pt x="4919" y="457"/>
                </a:lnTo>
                <a:lnTo>
                  <a:pt x="4919" y="458"/>
                </a:lnTo>
                <a:cubicBezTo>
                  <a:pt x="4919" y="460"/>
                  <a:pt x="4915" y="466"/>
                  <a:pt x="4906" y="475"/>
                </a:cubicBezTo>
                <a:cubicBezTo>
                  <a:pt x="4897" y="483"/>
                  <a:pt x="4886" y="492"/>
                  <a:pt x="4873" y="501"/>
                </a:cubicBezTo>
                <a:cubicBezTo>
                  <a:pt x="4859" y="511"/>
                  <a:pt x="4852" y="517"/>
                  <a:pt x="4852" y="518"/>
                </a:cubicBezTo>
                <a:cubicBezTo>
                  <a:pt x="4852" y="519"/>
                  <a:pt x="4852" y="519"/>
                  <a:pt x="4851" y="519"/>
                </a:cubicBezTo>
                <a:lnTo>
                  <a:pt x="4846" y="518"/>
                </a:lnTo>
                <a:lnTo>
                  <a:pt x="4845" y="519"/>
                </a:lnTo>
                <a:lnTo>
                  <a:pt x="4846" y="520"/>
                </a:lnTo>
                <a:cubicBezTo>
                  <a:pt x="4846" y="522"/>
                  <a:pt x="4839" y="523"/>
                  <a:pt x="4826" y="523"/>
                </a:cubicBezTo>
                <a:lnTo>
                  <a:pt x="4820" y="523"/>
                </a:lnTo>
                <a:cubicBezTo>
                  <a:pt x="4811" y="523"/>
                  <a:pt x="4806" y="522"/>
                  <a:pt x="4802" y="520"/>
                </a:cubicBezTo>
                <a:cubicBezTo>
                  <a:pt x="4799" y="518"/>
                  <a:pt x="4796" y="514"/>
                  <a:pt x="4794" y="509"/>
                </a:cubicBezTo>
                <a:cubicBezTo>
                  <a:pt x="4793" y="506"/>
                  <a:pt x="4793" y="504"/>
                  <a:pt x="4792" y="504"/>
                </a:cubicBezTo>
                <a:cubicBezTo>
                  <a:pt x="4791" y="504"/>
                  <a:pt x="4791" y="505"/>
                  <a:pt x="4790" y="507"/>
                </a:cubicBezTo>
                <a:cubicBezTo>
                  <a:pt x="4789" y="509"/>
                  <a:pt x="4789" y="511"/>
                  <a:pt x="4789" y="511"/>
                </a:cubicBezTo>
                <a:lnTo>
                  <a:pt x="4788" y="509"/>
                </a:lnTo>
                <a:cubicBezTo>
                  <a:pt x="4788" y="507"/>
                  <a:pt x="4789" y="505"/>
                  <a:pt x="4790" y="503"/>
                </a:cubicBezTo>
                <a:cubicBezTo>
                  <a:pt x="4791" y="502"/>
                  <a:pt x="4791" y="500"/>
                  <a:pt x="4791" y="498"/>
                </a:cubicBezTo>
                <a:cubicBezTo>
                  <a:pt x="4791" y="497"/>
                  <a:pt x="4791" y="496"/>
                  <a:pt x="4790" y="496"/>
                </a:cubicBezTo>
                <a:lnTo>
                  <a:pt x="4789" y="497"/>
                </a:lnTo>
                <a:cubicBezTo>
                  <a:pt x="4788" y="497"/>
                  <a:pt x="4788" y="496"/>
                  <a:pt x="4788" y="495"/>
                </a:cubicBezTo>
                <a:cubicBezTo>
                  <a:pt x="4788" y="494"/>
                  <a:pt x="4788" y="493"/>
                  <a:pt x="4788" y="493"/>
                </a:cubicBezTo>
                <a:lnTo>
                  <a:pt x="4788" y="493"/>
                </a:lnTo>
                <a:cubicBezTo>
                  <a:pt x="4787" y="493"/>
                  <a:pt x="4787" y="494"/>
                  <a:pt x="4786" y="496"/>
                </a:cubicBezTo>
                <a:cubicBezTo>
                  <a:pt x="4785" y="497"/>
                  <a:pt x="4785" y="499"/>
                  <a:pt x="4785" y="501"/>
                </a:cubicBezTo>
                <a:cubicBezTo>
                  <a:pt x="4785" y="502"/>
                  <a:pt x="4785" y="504"/>
                  <a:pt x="4785" y="505"/>
                </a:cubicBezTo>
                <a:cubicBezTo>
                  <a:pt x="4786" y="505"/>
                  <a:pt x="4786" y="506"/>
                  <a:pt x="4786" y="507"/>
                </a:cubicBezTo>
                <a:cubicBezTo>
                  <a:pt x="4786" y="508"/>
                  <a:pt x="4785" y="508"/>
                  <a:pt x="4785" y="508"/>
                </a:cubicBezTo>
                <a:lnTo>
                  <a:pt x="4784" y="508"/>
                </a:lnTo>
                <a:cubicBezTo>
                  <a:pt x="4783" y="508"/>
                  <a:pt x="4782" y="508"/>
                  <a:pt x="4781" y="510"/>
                </a:cubicBezTo>
                <a:cubicBezTo>
                  <a:pt x="4780" y="511"/>
                  <a:pt x="4780" y="513"/>
                  <a:pt x="4780" y="515"/>
                </a:cubicBezTo>
                <a:cubicBezTo>
                  <a:pt x="4780" y="516"/>
                  <a:pt x="4780" y="517"/>
                  <a:pt x="4781" y="518"/>
                </a:cubicBezTo>
                <a:lnTo>
                  <a:pt x="4781" y="519"/>
                </a:lnTo>
                <a:cubicBezTo>
                  <a:pt x="4781" y="519"/>
                  <a:pt x="4781" y="520"/>
                  <a:pt x="4781" y="520"/>
                </a:cubicBezTo>
                <a:lnTo>
                  <a:pt x="4778" y="519"/>
                </a:lnTo>
                <a:cubicBezTo>
                  <a:pt x="4778" y="519"/>
                  <a:pt x="4778" y="519"/>
                  <a:pt x="4778" y="519"/>
                </a:cubicBezTo>
                <a:lnTo>
                  <a:pt x="4779" y="525"/>
                </a:lnTo>
                <a:cubicBezTo>
                  <a:pt x="4779" y="526"/>
                  <a:pt x="4779" y="526"/>
                  <a:pt x="4778" y="526"/>
                </a:cubicBezTo>
                <a:lnTo>
                  <a:pt x="4776" y="525"/>
                </a:lnTo>
                <a:cubicBezTo>
                  <a:pt x="4775" y="525"/>
                  <a:pt x="4775" y="526"/>
                  <a:pt x="4775" y="526"/>
                </a:cubicBezTo>
                <a:lnTo>
                  <a:pt x="4776" y="530"/>
                </a:lnTo>
                <a:cubicBezTo>
                  <a:pt x="4776" y="531"/>
                  <a:pt x="4776" y="532"/>
                  <a:pt x="4775" y="532"/>
                </a:cubicBezTo>
                <a:cubicBezTo>
                  <a:pt x="4774" y="532"/>
                  <a:pt x="4774" y="532"/>
                  <a:pt x="4774" y="534"/>
                </a:cubicBezTo>
                <a:lnTo>
                  <a:pt x="4775" y="539"/>
                </a:lnTo>
                <a:cubicBezTo>
                  <a:pt x="4775" y="540"/>
                  <a:pt x="4775" y="541"/>
                  <a:pt x="4775" y="541"/>
                </a:cubicBezTo>
                <a:cubicBezTo>
                  <a:pt x="4774" y="541"/>
                  <a:pt x="4773" y="540"/>
                  <a:pt x="4773" y="539"/>
                </a:cubicBezTo>
                <a:cubicBezTo>
                  <a:pt x="4772" y="539"/>
                  <a:pt x="4771" y="539"/>
                  <a:pt x="4771" y="539"/>
                </a:cubicBezTo>
                <a:lnTo>
                  <a:pt x="4771" y="539"/>
                </a:lnTo>
                <a:cubicBezTo>
                  <a:pt x="4771" y="539"/>
                  <a:pt x="4771" y="540"/>
                  <a:pt x="4773" y="541"/>
                </a:cubicBezTo>
                <a:cubicBezTo>
                  <a:pt x="4774" y="543"/>
                  <a:pt x="4774" y="544"/>
                  <a:pt x="4774" y="544"/>
                </a:cubicBezTo>
                <a:cubicBezTo>
                  <a:pt x="4774" y="546"/>
                  <a:pt x="4774" y="546"/>
                  <a:pt x="4772" y="546"/>
                </a:cubicBezTo>
                <a:lnTo>
                  <a:pt x="4770" y="546"/>
                </a:lnTo>
                <a:cubicBezTo>
                  <a:pt x="4769" y="546"/>
                  <a:pt x="4769" y="546"/>
                  <a:pt x="4769" y="546"/>
                </a:cubicBezTo>
                <a:cubicBezTo>
                  <a:pt x="4769" y="547"/>
                  <a:pt x="4770" y="548"/>
                  <a:pt x="4771" y="549"/>
                </a:cubicBezTo>
                <a:cubicBezTo>
                  <a:pt x="4771" y="551"/>
                  <a:pt x="4771" y="553"/>
                  <a:pt x="4771" y="554"/>
                </a:cubicBezTo>
                <a:cubicBezTo>
                  <a:pt x="4771" y="556"/>
                  <a:pt x="4771" y="558"/>
                  <a:pt x="4770" y="560"/>
                </a:cubicBezTo>
                <a:cubicBezTo>
                  <a:pt x="4769" y="562"/>
                  <a:pt x="4768" y="563"/>
                  <a:pt x="4767" y="563"/>
                </a:cubicBezTo>
                <a:lnTo>
                  <a:pt x="4764" y="562"/>
                </a:lnTo>
                <a:cubicBezTo>
                  <a:pt x="4764" y="562"/>
                  <a:pt x="4765" y="563"/>
                  <a:pt x="4766" y="565"/>
                </a:cubicBezTo>
                <a:cubicBezTo>
                  <a:pt x="4767" y="566"/>
                  <a:pt x="4768" y="567"/>
                  <a:pt x="4768" y="569"/>
                </a:cubicBezTo>
                <a:cubicBezTo>
                  <a:pt x="4768" y="570"/>
                  <a:pt x="4767" y="571"/>
                  <a:pt x="4766" y="571"/>
                </a:cubicBezTo>
                <a:cubicBezTo>
                  <a:pt x="4766" y="572"/>
                  <a:pt x="4765" y="573"/>
                  <a:pt x="4764" y="573"/>
                </a:cubicBezTo>
                <a:cubicBezTo>
                  <a:pt x="4764" y="573"/>
                  <a:pt x="4764" y="572"/>
                  <a:pt x="4764" y="571"/>
                </a:cubicBezTo>
                <a:cubicBezTo>
                  <a:pt x="4764" y="569"/>
                  <a:pt x="4764" y="569"/>
                  <a:pt x="4764" y="569"/>
                </a:cubicBezTo>
                <a:lnTo>
                  <a:pt x="4763" y="569"/>
                </a:lnTo>
                <a:lnTo>
                  <a:pt x="4763" y="570"/>
                </a:lnTo>
                <a:cubicBezTo>
                  <a:pt x="4763" y="571"/>
                  <a:pt x="4763" y="572"/>
                  <a:pt x="4764" y="573"/>
                </a:cubicBezTo>
                <a:cubicBezTo>
                  <a:pt x="4765" y="574"/>
                  <a:pt x="4765" y="576"/>
                  <a:pt x="4765" y="577"/>
                </a:cubicBezTo>
                <a:cubicBezTo>
                  <a:pt x="4765" y="580"/>
                  <a:pt x="4764" y="583"/>
                  <a:pt x="4763" y="587"/>
                </a:cubicBezTo>
                <a:cubicBezTo>
                  <a:pt x="4758" y="604"/>
                  <a:pt x="4756" y="625"/>
                  <a:pt x="4756" y="651"/>
                </a:cubicBezTo>
                <a:cubicBezTo>
                  <a:pt x="4756" y="667"/>
                  <a:pt x="4758" y="682"/>
                  <a:pt x="4762" y="695"/>
                </a:cubicBezTo>
                <a:cubicBezTo>
                  <a:pt x="4766" y="708"/>
                  <a:pt x="4769" y="715"/>
                  <a:pt x="4772" y="715"/>
                </a:cubicBezTo>
                <a:cubicBezTo>
                  <a:pt x="4776" y="715"/>
                  <a:pt x="4779" y="717"/>
                  <a:pt x="4782" y="719"/>
                </a:cubicBezTo>
                <a:cubicBezTo>
                  <a:pt x="4788" y="726"/>
                  <a:pt x="4790" y="730"/>
                  <a:pt x="4790" y="732"/>
                </a:cubicBezTo>
                <a:cubicBezTo>
                  <a:pt x="4790" y="732"/>
                  <a:pt x="4790" y="733"/>
                  <a:pt x="4789" y="734"/>
                </a:cubicBezTo>
                <a:cubicBezTo>
                  <a:pt x="4789" y="734"/>
                  <a:pt x="4786" y="731"/>
                  <a:pt x="4783" y="725"/>
                </a:cubicBezTo>
                <a:cubicBezTo>
                  <a:pt x="4780" y="721"/>
                  <a:pt x="4778" y="719"/>
                  <a:pt x="4778" y="719"/>
                </a:cubicBezTo>
                <a:cubicBezTo>
                  <a:pt x="4777" y="719"/>
                  <a:pt x="4777" y="719"/>
                  <a:pt x="4777" y="720"/>
                </a:cubicBezTo>
                <a:cubicBezTo>
                  <a:pt x="4777" y="721"/>
                  <a:pt x="4777" y="721"/>
                  <a:pt x="4776" y="721"/>
                </a:cubicBezTo>
                <a:lnTo>
                  <a:pt x="4774" y="720"/>
                </a:lnTo>
                <a:cubicBezTo>
                  <a:pt x="4774" y="721"/>
                  <a:pt x="4776" y="723"/>
                  <a:pt x="4780" y="727"/>
                </a:cubicBezTo>
                <a:cubicBezTo>
                  <a:pt x="4787" y="732"/>
                  <a:pt x="4791" y="735"/>
                  <a:pt x="4793" y="735"/>
                </a:cubicBezTo>
                <a:cubicBezTo>
                  <a:pt x="4794" y="735"/>
                  <a:pt x="4795" y="735"/>
                  <a:pt x="4795" y="737"/>
                </a:cubicBezTo>
                <a:lnTo>
                  <a:pt x="4795" y="737"/>
                </a:lnTo>
                <a:cubicBezTo>
                  <a:pt x="4795" y="739"/>
                  <a:pt x="4796" y="739"/>
                  <a:pt x="4798" y="739"/>
                </a:cubicBezTo>
                <a:lnTo>
                  <a:pt x="4799" y="739"/>
                </a:lnTo>
                <a:cubicBezTo>
                  <a:pt x="4801" y="739"/>
                  <a:pt x="4802" y="739"/>
                  <a:pt x="4803" y="741"/>
                </a:cubicBezTo>
                <a:cubicBezTo>
                  <a:pt x="4804" y="742"/>
                  <a:pt x="4804" y="743"/>
                  <a:pt x="4806" y="743"/>
                </a:cubicBezTo>
                <a:cubicBezTo>
                  <a:pt x="4806" y="743"/>
                  <a:pt x="4807" y="742"/>
                  <a:pt x="4807" y="742"/>
                </a:cubicBezTo>
                <a:cubicBezTo>
                  <a:pt x="4807" y="741"/>
                  <a:pt x="4807" y="740"/>
                  <a:pt x="4806" y="740"/>
                </a:cubicBezTo>
                <a:cubicBezTo>
                  <a:pt x="4806" y="740"/>
                  <a:pt x="4806" y="739"/>
                  <a:pt x="4806" y="739"/>
                </a:cubicBezTo>
                <a:cubicBezTo>
                  <a:pt x="4806" y="739"/>
                  <a:pt x="4807" y="739"/>
                  <a:pt x="4808" y="739"/>
                </a:cubicBezTo>
                <a:cubicBezTo>
                  <a:pt x="4809" y="740"/>
                  <a:pt x="4809" y="741"/>
                  <a:pt x="4809" y="742"/>
                </a:cubicBezTo>
                <a:lnTo>
                  <a:pt x="4809" y="743"/>
                </a:lnTo>
                <a:cubicBezTo>
                  <a:pt x="4809" y="744"/>
                  <a:pt x="4809" y="745"/>
                  <a:pt x="4811" y="745"/>
                </a:cubicBezTo>
                <a:cubicBezTo>
                  <a:pt x="4812" y="746"/>
                  <a:pt x="4813" y="747"/>
                  <a:pt x="4815" y="747"/>
                </a:cubicBezTo>
                <a:cubicBezTo>
                  <a:pt x="4815" y="747"/>
                  <a:pt x="4816" y="746"/>
                  <a:pt x="4816" y="746"/>
                </a:cubicBezTo>
                <a:cubicBezTo>
                  <a:pt x="4817" y="746"/>
                  <a:pt x="4817" y="746"/>
                  <a:pt x="4817" y="746"/>
                </a:cubicBezTo>
                <a:cubicBezTo>
                  <a:pt x="4819" y="746"/>
                  <a:pt x="4822" y="747"/>
                  <a:pt x="4826" y="748"/>
                </a:cubicBezTo>
                <a:cubicBezTo>
                  <a:pt x="4831" y="751"/>
                  <a:pt x="4839" y="752"/>
                  <a:pt x="4848" y="752"/>
                </a:cubicBezTo>
                <a:cubicBezTo>
                  <a:pt x="4874" y="752"/>
                  <a:pt x="4908" y="745"/>
                  <a:pt x="4951" y="730"/>
                </a:cubicBezTo>
                <a:cubicBezTo>
                  <a:pt x="4971" y="724"/>
                  <a:pt x="4988" y="718"/>
                  <a:pt x="5002" y="711"/>
                </a:cubicBezTo>
                <a:cubicBezTo>
                  <a:pt x="5008" y="709"/>
                  <a:pt x="5012" y="707"/>
                  <a:pt x="5016" y="705"/>
                </a:cubicBezTo>
                <a:cubicBezTo>
                  <a:pt x="5019" y="704"/>
                  <a:pt x="5026" y="701"/>
                  <a:pt x="5035" y="696"/>
                </a:cubicBezTo>
                <a:cubicBezTo>
                  <a:pt x="5060" y="683"/>
                  <a:pt x="5075" y="675"/>
                  <a:pt x="5081" y="671"/>
                </a:cubicBezTo>
                <a:cubicBezTo>
                  <a:pt x="5087" y="667"/>
                  <a:pt x="5091" y="665"/>
                  <a:pt x="5094" y="665"/>
                </a:cubicBezTo>
                <a:cubicBezTo>
                  <a:pt x="5095" y="665"/>
                  <a:pt x="5096" y="666"/>
                  <a:pt x="5096" y="666"/>
                </a:cubicBezTo>
                <a:cubicBezTo>
                  <a:pt x="5096" y="667"/>
                  <a:pt x="5093" y="670"/>
                  <a:pt x="5087" y="672"/>
                </a:cubicBezTo>
                <a:cubicBezTo>
                  <a:pt x="5083" y="675"/>
                  <a:pt x="5081" y="677"/>
                  <a:pt x="5081" y="679"/>
                </a:cubicBezTo>
                <a:lnTo>
                  <a:pt x="5081" y="680"/>
                </a:lnTo>
                <a:cubicBezTo>
                  <a:pt x="5081" y="680"/>
                  <a:pt x="5081" y="681"/>
                  <a:pt x="5081" y="681"/>
                </a:cubicBezTo>
                <a:lnTo>
                  <a:pt x="5080" y="680"/>
                </a:lnTo>
                <a:cubicBezTo>
                  <a:pt x="5075" y="680"/>
                  <a:pt x="5069" y="682"/>
                  <a:pt x="5063" y="686"/>
                </a:cubicBezTo>
                <a:cubicBezTo>
                  <a:pt x="5040" y="698"/>
                  <a:pt x="5015" y="710"/>
                  <a:pt x="4988" y="720"/>
                </a:cubicBezTo>
                <a:cubicBezTo>
                  <a:pt x="4960" y="731"/>
                  <a:pt x="4935" y="740"/>
                  <a:pt x="4913" y="745"/>
                </a:cubicBezTo>
                <a:cubicBezTo>
                  <a:pt x="4898" y="749"/>
                  <a:pt x="4890" y="752"/>
                  <a:pt x="4890" y="752"/>
                </a:cubicBezTo>
                <a:cubicBezTo>
                  <a:pt x="4890" y="753"/>
                  <a:pt x="4891" y="754"/>
                  <a:pt x="4892" y="754"/>
                </a:cubicBezTo>
                <a:cubicBezTo>
                  <a:pt x="4896" y="754"/>
                  <a:pt x="4905" y="752"/>
                  <a:pt x="4918" y="748"/>
                </a:cubicBezTo>
                <a:cubicBezTo>
                  <a:pt x="4930" y="745"/>
                  <a:pt x="4937" y="744"/>
                  <a:pt x="4941" y="744"/>
                </a:cubicBezTo>
                <a:cubicBezTo>
                  <a:pt x="4942" y="744"/>
                  <a:pt x="4942" y="744"/>
                  <a:pt x="4943" y="744"/>
                </a:cubicBezTo>
                <a:cubicBezTo>
                  <a:pt x="4944" y="745"/>
                  <a:pt x="4944" y="745"/>
                  <a:pt x="4944" y="745"/>
                </a:cubicBezTo>
                <a:lnTo>
                  <a:pt x="4944" y="744"/>
                </a:lnTo>
                <a:cubicBezTo>
                  <a:pt x="4944" y="742"/>
                  <a:pt x="4952" y="738"/>
                  <a:pt x="4967" y="732"/>
                </a:cubicBezTo>
                <a:cubicBezTo>
                  <a:pt x="4980" y="728"/>
                  <a:pt x="4990" y="724"/>
                  <a:pt x="4995" y="723"/>
                </a:cubicBezTo>
                <a:cubicBezTo>
                  <a:pt x="4997" y="723"/>
                  <a:pt x="4999" y="723"/>
                  <a:pt x="4999" y="722"/>
                </a:cubicBezTo>
                <a:cubicBezTo>
                  <a:pt x="4999" y="721"/>
                  <a:pt x="5001" y="720"/>
                  <a:pt x="5004" y="720"/>
                </a:cubicBezTo>
                <a:cubicBezTo>
                  <a:pt x="5007" y="720"/>
                  <a:pt x="5009" y="719"/>
                  <a:pt x="5009" y="718"/>
                </a:cubicBezTo>
                <a:cubicBezTo>
                  <a:pt x="5009" y="717"/>
                  <a:pt x="5010" y="716"/>
                  <a:pt x="5011" y="716"/>
                </a:cubicBezTo>
                <a:lnTo>
                  <a:pt x="5013" y="716"/>
                </a:lnTo>
                <a:cubicBezTo>
                  <a:pt x="5014" y="716"/>
                  <a:pt x="5016" y="715"/>
                  <a:pt x="5017" y="714"/>
                </a:cubicBezTo>
                <a:cubicBezTo>
                  <a:pt x="5019" y="712"/>
                  <a:pt x="5021" y="711"/>
                  <a:pt x="5022" y="711"/>
                </a:cubicBezTo>
                <a:lnTo>
                  <a:pt x="5023" y="712"/>
                </a:lnTo>
                <a:cubicBezTo>
                  <a:pt x="5024" y="712"/>
                  <a:pt x="5025" y="711"/>
                  <a:pt x="5025" y="710"/>
                </a:cubicBezTo>
                <a:cubicBezTo>
                  <a:pt x="5025" y="709"/>
                  <a:pt x="5026" y="709"/>
                  <a:pt x="5028" y="709"/>
                </a:cubicBezTo>
                <a:lnTo>
                  <a:pt x="5030" y="709"/>
                </a:lnTo>
                <a:cubicBezTo>
                  <a:pt x="5031" y="709"/>
                  <a:pt x="5031" y="709"/>
                  <a:pt x="5031" y="708"/>
                </a:cubicBezTo>
                <a:cubicBezTo>
                  <a:pt x="5031" y="707"/>
                  <a:pt x="5032" y="707"/>
                  <a:pt x="5033" y="707"/>
                </a:cubicBezTo>
                <a:cubicBezTo>
                  <a:pt x="5033" y="707"/>
                  <a:pt x="5034" y="707"/>
                  <a:pt x="5035" y="707"/>
                </a:cubicBezTo>
                <a:cubicBezTo>
                  <a:pt x="5035" y="708"/>
                  <a:pt x="5036" y="708"/>
                  <a:pt x="5036" y="708"/>
                </a:cubicBezTo>
                <a:cubicBezTo>
                  <a:pt x="5037" y="708"/>
                  <a:pt x="5039" y="707"/>
                  <a:pt x="5039" y="705"/>
                </a:cubicBezTo>
                <a:cubicBezTo>
                  <a:pt x="5040" y="704"/>
                  <a:pt x="5041" y="703"/>
                  <a:pt x="5042" y="703"/>
                </a:cubicBezTo>
                <a:lnTo>
                  <a:pt x="5044" y="703"/>
                </a:lnTo>
                <a:cubicBezTo>
                  <a:pt x="5046" y="703"/>
                  <a:pt x="5048" y="702"/>
                  <a:pt x="5049" y="700"/>
                </a:cubicBezTo>
                <a:cubicBezTo>
                  <a:pt x="5050" y="700"/>
                  <a:pt x="5051" y="699"/>
                  <a:pt x="5051" y="699"/>
                </a:cubicBezTo>
                <a:cubicBezTo>
                  <a:pt x="5052" y="699"/>
                  <a:pt x="5053" y="698"/>
                  <a:pt x="5054" y="698"/>
                </a:cubicBezTo>
                <a:lnTo>
                  <a:pt x="5054" y="699"/>
                </a:lnTo>
                <a:cubicBezTo>
                  <a:pt x="5055" y="699"/>
                  <a:pt x="5055" y="698"/>
                  <a:pt x="5055" y="696"/>
                </a:cubicBezTo>
                <a:cubicBezTo>
                  <a:pt x="5055" y="693"/>
                  <a:pt x="5056" y="693"/>
                  <a:pt x="5056" y="693"/>
                </a:cubicBezTo>
                <a:cubicBezTo>
                  <a:pt x="5056" y="693"/>
                  <a:pt x="5057" y="693"/>
                  <a:pt x="5058" y="695"/>
                </a:cubicBezTo>
                <a:cubicBezTo>
                  <a:pt x="5058" y="696"/>
                  <a:pt x="5059" y="697"/>
                  <a:pt x="5059" y="697"/>
                </a:cubicBezTo>
                <a:cubicBezTo>
                  <a:pt x="5059" y="697"/>
                  <a:pt x="5060" y="696"/>
                  <a:pt x="5060" y="695"/>
                </a:cubicBezTo>
                <a:cubicBezTo>
                  <a:pt x="5060" y="694"/>
                  <a:pt x="5061" y="693"/>
                  <a:pt x="5062" y="693"/>
                </a:cubicBezTo>
                <a:lnTo>
                  <a:pt x="5063" y="694"/>
                </a:lnTo>
                <a:cubicBezTo>
                  <a:pt x="5063" y="694"/>
                  <a:pt x="5064" y="693"/>
                  <a:pt x="5064" y="691"/>
                </a:cubicBezTo>
                <a:cubicBezTo>
                  <a:pt x="5064" y="689"/>
                  <a:pt x="5064" y="688"/>
                  <a:pt x="5064" y="688"/>
                </a:cubicBezTo>
                <a:cubicBezTo>
                  <a:pt x="5065" y="688"/>
                  <a:pt x="5065" y="689"/>
                  <a:pt x="5066" y="690"/>
                </a:cubicBezTo>
                <a:cubicBezTo>
                  <a:pt x="5066" y="691"/>
                  <a:pt x="5067" y="691"/>
                  <a:pt x="5068" y="691"/>
                </a:cubicBezTo>
                <a:cubicBezTo>
                  <a:pt x="5068" y="691"/>
                  <a:pt x="5069" y="690"/>
                  <a:pt x="5071" y="689"/>
                </a:cubicBezTo>
                <a:cubicBezTo>
                  <a:pt x="5073" y="687"/>
                  <a:pt x="5074" y="686"/>
                  <a:pt x="5075" y="686"/>
                </a:cubicBezTo>
                <a:lnTo>
                  <a:pt x="5076" y="687"/>
                </a:lnTo>
                <a:cubicBezTo>
                  <a:pt x="5077" y="687"/>
                  <a:pt x="5077" y="686"/>
                  <a:pt x="5077" y="685"/>
                </a:cubicBezTo>
                <a:cubicBezTo>
                  <a:pt x="5077" y="684"/>
                  <a:pt x="5077" y="683"/>
                  <a:pt x="5078" y="683"/>
                </a:cubicBezTo>
                <a:lnTo>
                  <a:pt x="5079" y="684"/>
                </a:lnTo>
                <a:cubicBezTo>
                  <a:pt x="5081" y="684"/>
                  <a:pt x="5085" y="682"/>
                  <a:pt x="5093" y="677"/>
                </a:cubicBezTo>
                <a:cubicBezTo>
                  <a:pt x="5101" y="673"/>
                  <a:pt x="5104" y="670"/>
                  <a:pt x="5104" y="669"/>
                </a:cubicBezTo>
                <a:lnTo>
                  <a:pt x="5104" y="669"/>
                </a:lnTo>
                <a:cubicBezTo>
                  <a:pt x="5104" y="669"/>
                  <a:pt x="5104" y="669"/>
                  <a:pt x="5104" y="669"/>
                </a:cubicBezTo>
                <a:cubicBezTo>
                  <a:pt x="5104" y="669"/>
                  <a:pt x="5105" y="667"/>
                  <a:pt x="5107" y="666"/>
                </a:cubicBezTo>
                <a:cubicBezTo>
                  <a:pt x="5109" y="664"/>
                  <a:pt x="5111" y="664"/>
                  <a:pt x="5114" y="664"/>
                </a:cubicBezTo>
                <a:cubicBezTo>
                  <a:pt x="5115" y="664"/>
                  <a:pt x="5117" y="663"/>
                  <a:pt x="5119" y="660"/>
                </a:cubicBezTo>
                <a:cubicBezTo>
                  <a:pt x="5121" y="657"/>
                  <a:pt x="5122" y="656"/>
                  <a:pt x="5122" y="656"/>
                </a:cubicBezTo>
                <a:cubicBezTo>
                  <a:pt x="5123" y="656"/>
                  <a:pt x="5123" y="656"/>
                  <a:pt x="5123" y="657"/>
                </a:cubicBezTo>
                <a:cubicBezTo>
                  <a:pt x="5123" y="657"/>
                  <a:pt x="5123" y="657"/>
                  <a:pt x="5123" y="657"/>
                </a:cubicBezTo>
                <a:cubicBezTo>
                  <a:pt x="5124" y="657"/>
                  <a:pt x="5125" y="656"/>
                  <a:pt x="5126" y="654"/>
                </a:cubicBezTo>
                <a:lnTo>
                  <a:pt x="5129" y="652"/>
                </a:lnTo>
                <a:lnTo>
                  <a:pt x="5128" y="654"/>
                </a:lnTo>
                <a:cubicBezTo>
                  <a:pt x="5128" y="654"/>
                  <a:pt x="5128" y="654"/>
                  <a:pt x="5128" y="654"/>
                </a:cubicBezTo>
                <a:cubicBezTo>
                  <a:pt x="5128" y="654"/>
                  <a:pt x="5130" y="653"/>
                  <a:pt x="5132" y="650"/>
                </a:cubicBezTo>
                <a:cubicBezTo>
                  <a:pt x="5134" y="649"/>
                  <a:pt x="5135" y="647"/>
                  <a:pt x="5137" y="646"/>
                </a:cubicBezTo>
                <a:cubicBezTo>
                  <a:pt x="5139" y="645"/>
                  <a:pt x="5141" y="645"/>
                  <a:pt x="5141" y="645"/>
                </a:cubicBezTo>
                <a:cubicBezTo>
                  <a:pt x="5142" y="645"/>
                  <a:pt x="5143" y="643"/>
                  <a:pt x="5146" y="640"/>
                </a:cubicBezTo>
                <a:cubicBezTo>
                  <a:pt x="5148" y="637"/>
                  <a:pt x="5151" y="635"/>
                  <a:pt x="5153" y="634"/>
                </a:cubicBezTo>
                <a:cubicBezTo>
                  <a:pt x="5158" y="631"/>
                  <a:pt x="5161" y="628"/>
                  <a:pt x="5165" y="625"/>
                </a:cubicBezTo>
                <a:cubicBezTo>
                  <a:pt x="5171" y="620"/>
                  <a:pt x="5174" y="617"/>
                  <a:pt x="5174" y="617"/>
                </a:cubicBezTo>
                <a:cubicBezTo>
                  <a:pt x="5174" y="616"/>
                  <a:pt x="5175" y="616"/>
                  <a:pt x="5175" y="616"/>
                </a:cubicBezTo>
                <a:cubicBezTo>
                  <a:pt x="5178" y="616"/>
                  <a:pt x="5179" y="615"/>
                  <a:pt x="5179" y="613"/>
                </a:cubicBezTo>
                <a:cubicBezTo>
                  <a:pt x="5179" y="611"/>
                  <a:pt x="5180" y="610"/>
                  <a:pt x="5182" y="610"/>
                </a:cubicBezTo>
                <a:cubicBezTo>
                  <a:pt x="5184" y="610"/>
                  <a:pt x="5188" y="607"/>
                  <a:pt x="5194" y="601"/>
                </a:cubicBezTo>
                <a:lnTo>
                  <a:pt x="5216" y="580"/>
                </a:lnTo>
                <a:cubicBezTo>
                  <a:pt x="5234" y="562"/>
                  <a:pt x="5249" y="547"/>
                  <a:pt x="5260" y="535"/>
                </a:cubicBezTo>
                <a:lnTo>
                  <a:pt x="5272" y="521"/>
                </a:lnTo>
                <a:cubicBezTo>
                  <a:pt x="5272" y="521"/>
                  <a:pt x="5272" y="521"/>
                  <a:pt x="5272" y="523"/>
                </a:cubicBezTo>
                <a:cubicBezTo>
                  <a:pt x="5272" y="525"/>
                  <a:pt x="5272" y="527"/>
                  <a:pt x="5270" y="528"/>
                </a:cubicBezTo>
                <a:cubicBezTo>
                  <a:pt x="5269" y="529"/>
                  <a:pt x="5269" y="531"/>
                  <a:pt x="5269" y="533"/>
                </a:cubicBezTo>
                <a:lnTo>
                  <a:pt x="5269" y="535"/>
                </a:lnTo>
                <a:cubicBezTo>
                  <a:pt x="5269" y="535"/>
                  <a:pt x="5269" y="535"/>
                  <a:pt x="5269" y="535"/>
                </a:cubicBezTo>
                <a:lnTo>
                  <a:pt x="5269" y="535"/>
                </a:lnTo>
                <a:cubicBezTo>
                  <a:pt x="5267" y="535"/>
                  <a:pt x="5266" y="536"/>
                  <a:pt x="5265" y="538"/>
                </a:cubicBezTo>
                <a:cubicBezTo>
                  <a:pt x="5264" y="540"/>
                  <a:pt x="5263" y="543"/>
                  <a:pt x="5263" y="546"/>
                </a:cubicBezTo>
                <a:cubicBezTo>
                  <a:pt x="5262" y="551"/>
                  <a:pt x="5257" y="558"/>
                  <a:pt x="5249" y="568"/>
                </a:cubicBezTo>
                <a:cubicBezTo>
                  <a:pt x="5241" y="579"/>
                  <a:pt x="5231" y="590"/>
                  <a:pt x="5219" y="601"/>
                </a:cubicBezTo>
                <a:cubicBezTo>
                  <a:pt x="5207" y="613"/>
                  <a:pt x="5196" y="623"/>
                  <a:pt x="5185" y="632"/>
                </a:cubicBezTo>
                <a:cubicBezTo>
                  <a:pt x="5182" y="634"/>
                  <a:pt x="5178" y="637"/>
                  <a:pt x="5173" y="641"/>
                </a:cubicBezTo>
                <a:cubicBezTo>
                  <a:pt x="5133" y="674"/>
                  <a:pt x="5082" y="705"/>
                  <a:pt x="5019" y="732"/>
                </a:cubicBezTo>
                <a:cubicBezTo>
                  <a:pt x="4959" y="759"/>
                  <a:pt x="4909" y="772"/>
                  <a:pt x="4868" y="772"/>
                </a:cubicBezTo>
                <a:close/>
                <a:moveTo>
                  <a:pt x="4876" y="769"/>
                </a:moveTo>
                <a:cubicBezTo>
                  <a:pt x="4878" y="769"/>
                  <a:pt x="4878" y="769"/>
                  <a:pt x="4878" y="769"/>
                </a:cubicBezTo>
                <a:lnTo>
                  <a:pt x="4878" y="768"/>
                </a:lnTo>
                <a:lnTo>
                  <a:pt x="4875" y="768"/>
                </a:lnTo>
                <a:cubicBezTo>
                  <a:pt x="4872" y="768"/>
                  <a:pt x="4870" y="768"/>
                  <a:pt x="4870" y="769"/>
                </a:cubicBezTo>
                <a:lnTo>
                  <a:pt x="4876" y="769"/>
                </a:lnTo>
                <a:close/>
                <a:moveTo>
                  <a:pt x="4858" y="757"/>
                </a:moveTo>
                <a:cubicBezTo>
                  <a:pt x="4875" y="757"/>
                  <a:pt x="4884" y="757"/>
                  <a:pt x="4886" y="756"/>
                </a:cubicBezTo>
                <a:cubicBezTo>
                  <a:pt x="4887" y="755"/>
                  <a:pt x="4888" y="754"/>
                  <a:pt x="4888" y="754"/>
                </a:cubicBezTo>
                <a:cubicBezTo>
                  <a:pt x="4888" y="753"/>
                  <a:pt x="4888" y="752"/>
                  <a:pt x="4886" y="752"/>
                </a:cubicBezTo>
                <a:lnTo>
                  <a:pt x="4880" y="753"/>
                </a:lnTo>
                <a:cubicBezTo>
                  <a:pt x="4872" y="754"/>
                  <a:pt x="4867" y="754"/>
                  <a:pt x="4863" y="754"/>
                </a:cubicBezTo>
                <a:cubicBezTo>
                  <a:pt x="4857" y="754"/>
                  <a:pt x="4853" y="755"/>
                  <a:pt x="4852" y="756"/>
                </a:cubicBezTo>
                <a:lnTo>
                  <a:pt x="4851" y="756"/>
                </a:lnTo>
                <a:cubicBezTo>
                  <a:pt x="4851" y="757"/>
                  <a:pt x="4853" y="757"/>
                  <a:pt x="4858" y="757"/>
                </a:cubicBezTo>
                <a:close/>
                <a:moveTo>
                  <a:pt x="4845" y="759"/>
                </a:moveTo>
                <a:cubicBezTo>
                  <a:pt x="4846" y="759"/>
                  <a:pt x="4846" y="759"/>
                  <a:pt x="4846" y="758"/>
                </a:cubicBezTo>
                <a:lnTo>
                  <a:pt x="4846" y="758"/>
                </a:lnTo>
                <a:cubicBezTo>
                  <a:pt x="4846" y="757"/>
                  <a:pt x="4843" y="756"/>
                  <a:pt x="4838" y="755"/>
                </a:cubicBezTo>
                <a:lnTo>
                  <a:pt x="4833" y="755"/>
                </a:lnTo>
                <a:cubicBezTo>
                  <a:pt x="4833" y="755"/>
                  <a:pt x="4833" y="755"/>
                  <a:pt x="4833" y="755"/>
                </a:cubicBezTo>
                <a:cubicBezTo>
                  <a:pt x="4833" y="756"/>
                  <a:pt x="4833" y="756"/>
                  <a:pt x="4834" y="757"/>
                </a:cubicBezTo>
                <a:cubicBezTo>
                  <a:pt x="4835" y="757"/>
                  <a:pt x="4836" y="758"/>
                  <a:pt x="4839" y="758"/>
                </a:cubicBezTo>
                <a:cubicBezTo>
                  <a:pt x="4841" y="759"/>
                  <a:pt x="4843" y="759"/>
                  <a:pt x="4845" y="759"/>
                </a:cubicBezTo>
                <a:close/>
                <a:moveTo>
                  <a:pt x="4938" y="448"/>
                </a:moveTo>
                <a:lnTo>
                  <a:pt x="4941" y="448"/>
                </a:lnTo>
                <a:cubicBezTo>
                  <a:pt x="4943" y="447"/>
                  <a:pt x="4944" y="446"/>
                  <a:pt x="4944" y="445"/>
                </a:cubicBezTo>
                <a:lnTo>
                  <a:pt x="4943" y="445"/>
                </a:lnTo>
                <a:cubicBezTo>
                  <a:pt x="4942" y="445"/>
                  <a:pt x="4941" y="446"/>
                  <a:pt x="4940" y="446"/>
                </a:cubicBezTo>
                <a:cubicBezTo>
                  <a:pt x="4939" y="447"/>
                  <a:pt x="4938" y="448"/>
                  <a:pt x="4938" y="448"/>
                </a:cubicBezTo>
                <a:close/>
                <a:moveTo>
                  <a:pt x="4872" y="483"/>
                </a:moveTo>
                <a:cubicBezTo>
                  <a:pt x="4874" y="483"/>
                  <a:pt x="4876" y="482"/>
                  <a:pt x="4878" y="479"/>
                </a:cubicBezTo>
                <a:cubicBezTo>
                  <a:pt x="4880" y="476"/>
                  <a:pt x="4882" y="475"/>
                  <a:pt x="4882" y="475"/>
                </a:cubicBezTo>
                <a:lnTo>
                  <a:pt x="4881" y="474"/>
                </a:lnTo>
                <a:cubicBezTo>
                  <a:pt x="4881" y="474"/>
                  <a:pt x="4880" y="475"/>
                  <a:pt x="4879" y="475"/>
                </a:cubicBezTo>
                <a:cubicBezTo>
                  <a:pt x="4878" y="476"/>
                  <a:pt x="4876" y="478"/>
                  <a:pt x="4875" y="479"/>
                </a:cubicBezTo>
                <a:cubicBezTo>
                  <a:pt x="4873" y="481"/>
                  <a:pt x="4872" y="482"/>
                  <a:pt x="4872" y="483"/>
                </a:cubicBezTo>
                <a:cubicBezTo>
                  <a:pt x="4872" y="483"/>
                  <a:pt x="4872" y="483"/>
                  <a:pt x="4872" y="483"/>
                </a:cubicBezTo>
                <a:close/>
                <a:moveTo>
                  <a:pt x="4903" y="456"/>
                </a:moveTo>
                <a:cubicBezTo>
                  <a:pt x="4904" y="456"/>
                  <a:pt x="4906" y="455"/>
                  <a:pt x="4909" y="451"/>
                </a:cubicBezTo>
                <a:cubicBezTo>
                  <a:pt x="4911" y="449"/>
                  <a:pt x="4912" y="447"/>
                  <a:pt x="4912" y="447"/>
                </a:cubicBezTo>
                <a:cubicBezTo>
                  <a:pt x="4911" y="447"/>
                  <a:pt x="4910" y="448"/>
                  <a:pt x="4907" y="451"/>
                </a:cubicBezTo>
                <a:cubicBezTo>
                  <a:pt x="4905" y="454"/>
                  <a:pt x="4903" y="456"/>
                  <a:pt x="4903" y="456"/>
                </a:cubicBezTo>
                <a:close/>
                <a:moveTo>
                  <a:pt x="5014" y="339"/>
                </a:moveTo>
                <a:cubicBezTo>
                  <a:pt x="5015" y="339"/>
                  <a:pt x="5016" y="338"/>
                  <a:pt x="5018" y="334"/>
                </a:cubicBezTo>
                <a:cubicBezTo>
                  <a:pt x="5019" y="332"/>
                  <a:pt x="5020" y="331"/>
                  <a:pt x="5020" y="330"/>
                </a:cubicBezTo>
                <a:lnTo>
                  <a:pt x="5020" y="330"/>
                </a:lnTo>
                <a:lnTo>
                  <a:pt x="5017" y="332"/>
                </a:lnTo>
                <a:cubicBezTo>
                  <a:pt x="5015" y="335"/>
                  <a:pt x="5014" y="337"/>
                  <a:pt x="5014" y="339"/>
                </a:cubicBezTo>
                <a:cubicBezTo>
                  <a:pt x="5014" y="339"/>
                  <a:pt x="5014" y="339"/>
                  <a:pt x="5014" y="339"/>
                </a:cubicBezTo>
                <a:close/>
                <a:moveTo>
                  <a:pt x="5027" y="316"/>
                </a:moveTo>
                <a:cubicBezTo>
                  <a:pt x="5028" y="316"/>
                  <a:pt x="5029" y="316"/>
                  <a:pt x="5030" y="314"/>
                </a:cubicBezTo>
                <a:lnTo>
                  <a:pt x="5030" y="313"/>
                </a:lnTo>
                <a:cubicBezTo>
                  <a:pt x="5030" y="313"/>
                  <a:pt x="5030" y="313"/>
                  <a:pt x="5030" y="313"/>
                </a:cubicBezTo>
                <a:lnTo>
                  <a:pt x="5029" y="313"/>
                </a:lnTo>
                <a:cubicBezTo>
                  <a:pt x="5026" y="314"/>
                  <a:pt x="5025" y="315"/>
                  <a:pt x="5025" y="316"/>
                </a:cubicBezTo>
                <a:cubicBezTo>
                  <a:pt x="5025" y="316"/>
                  <a:pt x="5026" y="316"/>
                  <a:pt x="5027" y="316"/>
                </a:cubicBezTo>
                <a:close/>
                <a:moveTo>
                  <a:pt x="4921" y="204"/>
                </a:moveTo>
                <a:cubicBezTo>
                  <a:pt x="4922" y="204"/>
                  <a:pt x="4924" y="202"/>
                  <a:pt x="4926" y="199"/>
                </a:cubicBezTo>
                <a:cubicBezTo>
                  <a:pt x="4928" y="197"/>
                  <a:pt x="4929" y="195"/>
                  <a:pt x="4929" y="195"/>
                </a:cubicBezTo>
                <a:cubicBezTo>
                  <a:pt x="4929" y="195"/>
                  <a:pt x="4927" y="195"/>
                  <a:pt x="4925" y="197"/>
                </a:cubicBezTo>
                <a:cubicBezTo>
                  <a:pt x="4922" y="198"/>
                  <a:pt x="4921" y="200"/>
                  <a:pt x="4921" y="202"/>
                </a:cubicBezTo>
                <a:cubicBezTo>
                  <a:pt x="4921" y="203"/>
                  <a:pt x="4921" y="204"/>
                  <a:pt x="4921" y="204"/>
                </a:cubicBezTo>
                <a:close/>
                <a:moveTo>
                  <a:pt x="4882" y="249"/>
                </a:moveTo>
                <a:cubicBezTo>
                  <a:pt x="4883" y="249"/>
                  <a:pt x="4883" y="248"/>
                  <a:pt x="4883" y="246"/>
                </a:cubicBezTo>
                <a:cubicBezTo>
                  <a:pt x="4883" y="245"/>
                  <a:pt x="4883" y="244"/>
                  <a:pt x="4882" y="244"/>
                </a:cubicBezTo>
                <a:lnTo>
                  <a:pt x="4881" y="244"/>
                </a:lnTo>
                <a:cubicBezTo>
                  <a:pt x="4880" y="245"/>
                  <a:pt x="4880" y="245"/>
                  <a:pt x="4880" y="246"/>
                </a:cubicBezTo>
                <a:cubicBezTo>
                  <a:pt x="4880" y="247"/>
                  <a:pt x="4880" y="247"/>
                  <a:pt x="4881" y="248"/>
                </a:cubicBezTo>
                <a:cubicBezTo>
                  <a:pt x="4882" y="249"/>
                  <a:pt x="4882" y="249"/>
                  <a:pt x="4882" y="249"/>
                </a:cubicBezTo>
                <a:close/>
                <a:moveTo>
                  <a:pt x="4817" y="509"/>
                </a:moveTo>
                <a:cubicBezTo>
                  <a:pt x="4820" y="509"/>
                  <a:pt x="4825" y="507"/>
                  <a:pt x="4831" y="504"/>
                </a:cubicBezTo>
                <a:cubicBezTo>
                  <a:pt x="4834" y="502"/>
                  <a:pt x="4837" y="501"/>
                  <a:pt x="4840" y="499"/>
                </a:cubicBezTo>
                <a:cubicBezTo>
                  <a:pt x="4842" y="498"/>
                  <a:pt x="4844" y="496"/>
                  <a:pt x="4845" y="495"/>
                </a:cubicBezTo>
                <a:cubicBezTo>
                  <a:pt x="4846" y="494"/>
                  <a:pt x="4848" y="493"/>
                  <a:pt x="4848" y="493"/>
                </a:cubicBezTo>
                <a:cubicBezTo>
                  <a:pt x="4849" y="493"/>
                  <a:pt x="4850" y="494"/>
                  <a:pt x="4850" y="495"/>
                </a:cubicBezTo>
                <a:cubicBezTo>
                  <a:pt x="4850" y="496"/>
                  <a:pt x="4848" y="498"/>
                  <a:pt x="4843" y="500"/>
                </a:cubicBezTo>
                <a:cubicBezTo>
                  <a:pt x="4839" y="502"/>
                  <a:pt x="4836" y="504"/>
                  <a:pt x="4836" y="506"/>
                </a:cubicBezTo>
                <a:lnTo>
                  <a:pt x="4837" y="506"/>
                </a:lnTo>
                <a:cubicBezTo>
                  <a:pt x="4839" y="506"/>
                  <a:pt x="4843" y="504"/>
                  <a:pt x="4848" y="501"/>
                </a:cubicBezTo>
                <a:cubicBezTo>
                  <a:pt x="4861" y="493"/>
                  <a:pt x="4868" y="488"/>
                  <a:pt x="4868" y="486"/>
                </a:cubicBezTo>
                <a:cubicBezTo>
                  <a:pt x="4868" y="486"/>
                  <a:pt x="4867" y="486"/>
                  <a:pt x="4867" y="486"/>
                </a:cubicBezTo>
                <a:cubicBezTo>
                  <a:pt x="4866" y="486"/>
                  <a:pt x="4864" y="487"/>
                  <a:pt x="4863" y="488"/>
                </a:cubicBezTo>
                <a:cubicBezTo>
                  <a:pt x="4861" y="490"/>
                  <a:pt x="4860" y="492"/>
                  <a:pt x="4858" y="492"/>
                </a:cubicBezTo>
                <a:cubicBezTo>
                  <a:pt x="4856" y="493"/>
                  <a:pt x="4854" y="494"/>
                  <a:pt x="4853" y="494"/>
                </a:cubicBezTo>
                <a:cubicBezTo>
                  <a:pt x="4852" y="494"/>
                  <a:pt x="4851" y="494"/>
                  <a:pt x="4851" y="493"/>
                </a:cubicBezTo>
                <a:cubicBezTo>
                  <a:pt x="4851" y="492"/>
                  <a:pt x="4856" y="487"/>
                  <a:pt x="4867" y="478"/>
                </a:cubicBezTo>
                <a:cubicBezTo>
                  <a:pt x="4878" y="470"/>
                  <a:pt x="4884" y="465"/>
                  <a:pt x="4886" y="465"/>
                </a:cubicBezTo>
                <a:cubicBezTo>
                  <a:pt x="4887" y="465"/>
                  <a:pt x="4895" y="458"/>
                  <a:pt x="4910" y="442"/>
                </a:cubicBezTo>
                <a:cubicBezTo>
                  <a:pt x="4917" y="433"/>
                  <a:pt x="4924" y="426"/>
                  <a:pt x="4930" y="419"/>
                </a:cubicBezTo>
                <a:cubicBezTo>
                  <a:pt x="4935" y="412"/>
                  <a:pt x="4939" y="408"/>
                  <a:pt x="4939" y="407"/>
                </a:cubicBezTo>
                <a:cubicBezTo>
                  <a:pt x="4941" y="404"/>
                  <a:pt x="4942" y="402"/>
                  <a:pt x="4943" y="400"/>
                </a:cubicBezTo>
                <a:cubicBezTo>
                  <a:pt x="4944" y="398"/>
                  <a:pt x="4945" y="397"/>
                  <a:pt x="4946" y="397"/>
                </a:cubicBezTo>
                <a:lnTo>
                  <a:pt x="4948" y="399"/>
                </a:lnTo>
                <a:cubicBezTo>
                  <a:pt x="4948" y="399"/>
                  <a:pt x="4949" y="398"/>
                  <a:pt x="4949" y="398"/>
                </a:cubicBezTo>
                <a:lnTo>
                  <a:pt x="4947" y="396"/>
                </a:lnTo>
                <a:cubicBezTo>
                  <a:pt x="4947" y="394"/>
                  <a:pt x="4949" y="392"/>
                  <a:pt x="4953" y="389"/>
                </a:cubicBezTo>
                <a:cubicBezTo>
                  <a:pt x="4956" y="385"/>
                  <a:pt x="4958" y="383"/>
                  <a:pt x="4958" y="381"/>
                </a:cubicBezTo>
                <a:cubicBezTo>
                  <a:pt x="4958" y="380"/>
                  <a:pt x="4959" y="377"/>
                  <a:pt x="4962" y="374"/>
                </a:cubicBezTo>
                <a:cubicBezTo>
                  <a:pt x="4965" y="372"/>
                  <a:pt x="4967" y="369"/>
                  <a:pt x="4970" y="364"/>
                </a:cubicBezTo>
                <a:cubicBezTo>
                  <a:pt x="4972" y="360"/>
                  <a:pt x="4973" y="359"/>
                  <a:pt x="4974" y="359"/>
                </a:cubicBezTo>
                <a:lnTo>
                  <a:pt x="4977" y="360"/>
                </a:lnTo>
                <a:lnTo>
                  <a:pt x="4977" y="357"/>
                </a:lnTo>
                <a:cubicBezTo>
                  <a:pt x="4977" y="355"/>
                  <a:pt x="4979" y="352"/>
                  <a:pt x="4982" y="347"/>
                </a:cubicBezTo>
                <a:cubicBezTo>
                  <a:pt x="4986" y="340"/>
                  <a:pt x="4989" y="335"/>
                  <a:pt x="4990" y="332"/>
                </a:cubicBezTo>
                <a:cubicBezTo>
                  <a:pt x="4992" y="327"/>
                  <a:pt x="4994" y="325"/>
                  <a:pt x="4994" y="325"/>
                </a:cubicBezTo>
                <a:cubicBezTo>
                  <a:pt x="4995" y="325"/>
                  <a:pt x="4996" y="325"/>
                  <a:pt x="4996" y="324"/>
                </a:cubicBezTo>
                <a:lnTo>
                  <a:pt x="4996" y="323"/>
                </a:lnTo>
                <a:cubicBezTo>
                  <a:pt x="4996" y="321"/>
                  <a:pt x="4997" y="318"/>
                  <a:pt x="5000" y="316"/>
                </a:cubicBezTo>
                <a:cubicBezTo>
                  <a:pt x="5003" y="313"/>
                  <a:pt x="5004" y="311"/>
                  <a:pt x="5004" y="308"/>
                </a:cubicBezTo>
                <a:lnTo>
                  <a:pt x="5004" y="306"/>
                </a:lnTo>
                <a:cubicBezTo>
                  <a:pt x="5004" y="306"/>
                  <a:pt x="5004" y="305"/>
                  <a:pt x="5006" y="305"/>
                </a:cubicBezTo>
                <a:cubicBezTo>
                  <a:pt x="5007" y="304"/>
                  <a:pt x="5008" y="303"/>
                  <a:pt x="5009" y="301"/>
                </a:cubicBezTo>
                <a:cubicBezTo>
                  <a:pt x="5010" y="299"/>
                  <a:pt x="5011" y="296"/>
                  <a:pt x="5013" y="294"/>
                </a:cubicBezTo>
                <a:cubicBezTo>
                  <a:pt x="5015" y="291"/>
                  <a:pt x="5016" y="288"/>
                  <a:pt x="5017" y="285"/>
                </a:cubicBezTo>
                <a:cubicBezTo>
                  <a:pt x="5017" y="282"/>
                  <a:pt x="5019" y="279"/>
                  <a:pt x="5021" y="277"/>
                </a:cubicBezTo>
                <a:cubicBezTo>
                  <a:pt x="5023" y="275"/>
                  <a:pt x="5024" y="272"/>
                  <a:pt x="5024" y="270"/>
                </a:cubicBezTo>
                <a:lnTo>
                  <a:pt x="5024" y="267"/>
                </a:lnTo>
                <a:cubicBezTo>
                  <a:pt x="5024" y="267"/>
                  <a:pt x="5024" y="267"/>
                  <a:pt x="5024" y="267"/>
                </a:cubicBezTo>
                <a:lnTo>
                  <a:pt x="5026" y="267"/>
                </a:lnTo>
                <a:cubicBezTo>
                  <a:pt x="5026" y="267"/>
                  <a:pt x="5027" y="267"/>
                  <a:pt x="5027" y="265"/>
                </a:cubicBezTo>
                <a:cubicBezTo>
                  <a:pt x="5027" y="264"/>
                  <a:pt x="5027" y="263"/>
                  <a:pt x="5028" y="262"/>
                </a:cubicBezTo>
                <a:cubicBezTo>
                  <a:pt x="5028" y="261"/>
                  <a:pt x="5028" y="260"/>
                  <a:pt x="5028" y="259"/>
                </a:cubicBezTo>
                <a:cubicBezTo>
                  <a:pt x="5028" y="259"/>
                  <a:pt x="5028" y="258"/>
                  <a:pt x="5029" y="257"/>
                </a:cubicBezTo>
                <a:cubicBezTo>
                  <a:pt x="5030" y="255"/>
                  <a:pt x="5031" y="254"/>
                  <a:pt x="5031" y="253"/>
                </a:cubicBezTo>
                <a:cubicBezTo>
                  <a:pt x="5032" y="252"/>
                  <a:pt x="5033" y="251"/>
                  <a:pt x="5033" y="249"/>
                </a:cubicBezTo>
                <a:cubicBezTo>
                  <a:pt x="5033" y="249"/>
                  <a:pt x="5033" y="248"/>
                  <a:pt x="5032" y="247"/>
                </a:cubicBezTo>
                <a:cubicBezTo>
                  <a:pt x="5032" y="247"/>
                  <a:pt x="5032" y="246"/>
                  <a:pt x="5032" y="246"/>
                </a:cubicBezTo>
                <a:cubicBezTo>
                  <a:pt x="5032" y="245"/>
                  <a:pt x="5032" y="245"/>
                  <a:pt x="5032" y="245"/>
                </a:cubicBezTo>
                <a:lnTo>
                  <a:pt x="5035" y="246"/>
                </a:lnTo>
                <a:cubicBezTo>
                  <a:pt x="5035" y="246"/>
                  <a:pt x="5036" y="245"/>
                  <a:pt x="5036" y="243"/>
                </a:cubicBezTo>
                <a:cubicBezTo>
                  <a:pt x="5036" y="242"/>
                  <a:pt x="5036" y="240"/>
                  <a:pt x="5037" y="239"/>
                </a:cubicBezTo>
                <a:cubicBezTo>
                  <a:pt x="5037" y="237"/>
                  <a:pt x="5038" y="236"/>
                  <a:pt x="5039" y="234"/>
                </a:cubicBezTo>
                <a:cubicBezTo>
                  <a:pt x="5042" y="223"/>
                  <a:pt x="5045" y="212"/>
                  <a:pt x="5048" y="200"/>
                </a:cubicBezTo>
                <a:cubicBezTo>
                  <a:pt x="5050" y="188"/>
                  <a:pt x="5051" y="177"/>
                  <a:pt x="5051" y="168"/>
                </a:cubicBezTo>
                <a:cubicBezTo>
                  <a:pt x="5051" y="164"/>
                  <a:pt x="5051" y="160"/>
                  <a:pt x="5050" y="157"/>
                </a:cubicBezTo>
                <a:cubicBezTo>
                  <a:pt x="5049" y="154"/>
                  <a:pt x="5049" y="152"/>
                  <a:pt x="5048" y="151"/>
                </a:cubicBezTo>
                <a:cubicBezTo>
                  <a:pt x="5048" y="149"/>
                  <a:pt x="5047" y="149"/>
                  <a:pt x="5045" y="149"/>
                </a:cubicBezTo>
                <a:cubicBezTo>
                  <a:pt x="5041" y="149"/>
                  <a:pt x="5036" y="151"/>
                  <a:pt x="5029" y="154"/>
                </a:cubicBezTo>
                <a:cubicBezTo>
                  <a:pt x="5016" y="160"/>
                  <a:pt x="5009" y="164"/>
                  <a:pt x="5009" y="167"/>
                </a:cubicBezTo>
                <a:cubicBezTo>
                  <a:pt x="5009" y="168"/>
                  <a:pt x="5009" y="169"/>
                  <a:pt x="5008" y="169"/>
                </a:cubicBezTo>
                <a:lnTo>
                  <a:pt x="5006" y="167"/>
                </a:lnTo>
                <a:cubicBezTo>
                  <a:pt x="5005" y="167"/>
                  <a:pt x="5003" y="168"/>
                  <a:pt x="5002" y="169"/>
                </a:cubicBezTo>
                <a:cubicBezTo>
                  <a:pt x="5001" y="171"/>
                  <a:pt x="5000" y="172"/>
                  <a:pt x="5000" y="173"/>
                </a:cubicBezTo>
                <a:lnTo>
                  <a:pt x="5000" y="175"/>
                </a:lnTo>
                <a:cubicBezTo>
                  <a:pt x="5000" y="175"/>
                  <a:pt x="5000" y="176"/>
                  <a:pt x="5000" y="176"/>
                </a:cubicBezTo>
                <a:lnTo>
                  <a:pt x="4998" y="175"/>
                </a:lnTo>
                <a:cubicBezTo>
                  <a:pt x="4996" y="175"/>
                  <a:pt x="4989" y="180"/>
                  <a:pt x="4977" y="190"/>
                </a:cubicBezTo>
                <a:cubicBezTo>
                  <a:pt x="4965" y="201"/>
                  <a:pt x="4959" y="207"/>
                  <a:pt x="4957" y="210"/>
                </a:cubicBezTo>
                <a:cubicBezTo>
                  <a:pt x="4955" y="214"/>
                  <a:pt x="4952" y="218"/>
                  <a:pt x="4947" y="223"/>
                </a:cubicBezTo>
                <a:cubicBezTo>
                  <a:pt x="4936" y="236"/>
                  <a:pt x="4929" y="243"/>
                  <a:pt x="4927" y="243"/>
                </a:cubicBezTo>
                <a:cubicBezTo>
                  <a:pt x="4926" y="243"/>
                  <a:pt x="4926" y="242"/>
                  <a:pt x="4926" y="242"/>
                </a:cubicBezTo>
                <a:cubicBezTo>
                  <a:pt x="4926" y="241"/>
                  <a:pt x="4928" y="239"/>
                  <a:pt x="4931" y="236"/>
                </a:cubicBezTo>
                <a:cubicBezTo>
                  <a:pt x="4934" y="234"/>
                  <a:pt x="4936" y="232"/>
                  <a:pt x="4936" y="230"/>
                </a:cubicBezTo>
                <a:cubicBezTo>
                  <a:pt x="4936" y="228"/>
                  <a:pt x="4937" y="226"/>
                  <a:pt x="4940" y="223"/>
                </a:cubicBezTo>
                <a:cubicBezTo>
                  <a:pt x="4942" y="221"/>
                  <a:pt x="4944" y="219"/>
                  <a:pt x="4946" y="216"/>
                </a:cubicBezTo>
                <a:cubicBezTo>
                  <a:pt x="4948" y="214"/>
                  <a:pt x="4949" y="212"/>
                  <a:pt x="4949" y="211"/>
                </a:cubicBezTo>
                <a:cubicBezTo>
                  <a:pt x="4949" y="211"/>
                  <a:pt x="4948" y="210"/>
                  <a:pt x="4948" y="210"/>
                </a:cubicBezTo>
                <a:cubicBezTo>
                  <a:pt x="4948" y="210"/>
                  <a:pt x="4945" y="213"/>
                  <a:pt x="4942" y="218"/>
                </a:cubicBezTo>
                <a:cubicBezTo>
                  <a:pt x="4937" y="223"/>
                  <a:pt x="4933" y="228"/>
                  <a:pt x="4928" y="235"/>
                </a:cubicBezTo>
                <a:cubicBezTo>
                  <a:pt x="4923" y="241"/>
                  <a:pt x="4918" y="247"/>
                  <a:pt x="4914" y="252"/>
                </a:cubicBezTo>
                <a:cubicBezTo>
                  <a:pt x="4910" y="257"/>
                  <a:pt x="4908" y="260"/>
                  <a:pt x="4908" y="261"/>
                </a:cubicBezTo>
                <a:cubicBezTo>
                  <a:pt x="4908" y="261"/>
                  <a:pt x="4908" y="262"/>
                  <a:pt x="4908" y="262"/>
                </a:cubicBezTo>
                <a:cubicBezTo>
                  <a:pt x="4908" y="262"/>
                  <a:pt x="4908" y="262"/>
                  <a:pt x="4908" y="262"/>
                </a:cubicBezTo>
                <a:cubicBezTo>
                  <a:pt x="4909" y="262"/>
                  <a:pt x="4910" y="262"/>
                  <a:pt x="4912" y="261"/>
                </a:cubicBezTo>
                <a:cubicBezTo>
                  <a:pt x="4914" y="259"/>
                  <a:pt x="4916" y="259"/>
                  <a:pt x="4916" y="259"/>
                </a:cubicBezTo>
                <a:lnTo>
                  <a:pt x="4916" y="259"/>
                </a:lnTo>
                <a:cubicBezTo>
                  <a:pt x="4916" y="260"/>
                  <a:pt x="4915" y="261"/>
                  <a:pt x="4914" y="262"/>
                </a:cubicBezTo>
                <a:cubicBezTo>
                  <a:pt x="4912" y="264"/>
                  <a:pt x="4911" y="265"/>
                  <a:pt x="4909" y="265"/>
                </a:cubicBezTo>
                <a:lnTo>
                  <a:pt x="4907" y="264"/>
                </a:lnTo>
                <a:cubicBezTo>
                  <a:pt x="4905" y="264"/>
                  <a:pt x="4904" y="265"/>
                  <a:pt x="4903" y="267"/>
                </a:cubicBezTo>
                <a:cubicBezTo>
                  <a:pt x="4902" y="268"/>
                  <a:pt x="4902" y="269"/>
                  <a:pt x="4902" y="271"/>
                </a:cubicBezTo>
                <a:cubicBezTo>
                  <a:pt x="4902" y="271"/>
                  <a:pt x="4902" y="272"/>
                  <a:pt x="4902" y="273"/>
                </a:cubicBezTo>
                <a:lnTo>
                  <a:pt x="4903" y="274"/>
                </a:lnTo>
                <a:cubicBezTo>
                  <a:pt x="4903" y="274"/>
                  <a:pt x="4902" y="274"/>
                  <a:pt x="4902" y="274"/>
                </a:cubicBezTo>
                <a:lnTo>
                  <a:pt x="4901" y="274"/>
                </a:lnTo>
                <a:cubicBezTo>
                  <a:pt x="4900" y="274"/>
                  <a:pt x="4896" y="278"/>
                  <a:pt x="4890" y="287"/>
                </a:cubicBezTo>
                <a:cubicBezTo>
                  <a:pt x="4883" y="295"/>
                  <a:pt x="4880" y="300"/>
                  <a:pt x="4880" y="302"/>
                </a:cubicBezTo>
                <a:lnTo>
                  <a:pt x="4880" y="302"/>
                </a:lnTo>
                <a:cubicBezTo>
                  <a:pt x="4880" y="303"/>
                  <a:pt x="4879" y="305"/>
                  <a:pt x="4877" y="308"/>
                </a:cubicBezTo>
                <a:cubicBezTo>
                  <a:pt x="4874" y="310"/>
                  <a:pt x="4873" y="313"/>
                  <a:pt x="4873" y="315"/>
                </a:cubicBezTo>
                <a:cubicBezTo>
                  <a:pt x="4873" y="317"/>
                  <a:pt x="4872" y="318"/>
                  <a:pt x="4870" y="319"/>
                </a:cubicBezTo>
                <a:cubicBezTo>
                  <a:pt x="4868" y="320"/>
                  <a:pt x="4867" y="321"/>
                  <a:pt x="4867" y="322"/>
                </a:cubicBezTo>
                <a:lnTo>
                  <a:pt x="4868" y="324"/>
                </a:lnTo>
                <a:cubicBezTo>
                  <a:pt x="4868" y="325"/>
                  <a:pt x="4867" y="327"/>
                  <a:pt x="4864" y="329"/>
                </a:cubicBezTo>
                <a:cubicBezTo>
                  <a:pt x="4861" y="333"/>
                  <a:pt x="4860" y="335"/>
                  <a:pt x="4860" y="336"/>
                </a:cubicBezTo>
                <a:cubicBezTo>
                  <a:pt x="4860" y="337"/>
                  <a:pt x="4855" y="346"/>
                  <a:pt x="4846" y="362"/>
                </a:cubicBezTo>
                <a:cubicBezTo>
                  <a:pt x="4838" y="378"/>
                  <a:pt x="4833" y="386"/>
                  <a:pt x="4832" y="387"/>
                </a:cubicBezTo>
                <a:cubicBezTo>
                  <a:pt x="4831" y="387"/>
                  <a:pt x="4830" y="388"/>
                  <a:pt x="4830" y="388"/>
                </a:cubicBezTo>
                <a:lnTo>
                  <a:pt x="4831" y="390"/>
                </a:lnTo>
                <a:cubicBezTo>
                  <a:pt x="4831" y="391"/>
                  <a:pt x="4830" y="392"/>
                  <a:pt x="4830" y="392"/>
                </a:cubicBezTo>
                <a:cubicBezTo>
                  <a:pt x="4829" y="392"/>
                  <a:pt x="4828" y="392"/>
                  <a:pt x="4828" y="393"/>
                </a:cubicBezTo>
                <a:lnTo>
                  <a:pt x="4829" y="395"/>
                </a:lnTo>
                <a:cubicBezTo>
                  <a:pt x="4829" y="396"/>
                  <a:pt x="4828" y="397"/>
                  <a:pt x="4827" y="397"/>
                </a:cubicBezTo>
                <a:cubicBezTo>
                  <a:pt x="4826" y="397"/>
                  <a:pt x="4826" y="397"/>
                  <a:pt x="4826" y="397"/>
                </a:cubicBezTo>
                <a:lnTo>
                  <a:pt x="4826" y="399"/>
                </a:lnTo>
                <a:cubicBezTo>
                  <a:pt x="4826" y="400"/>
                  <a:pt x="4826" y="401"/>
                  <a:pt x="4825" y="401"/>
                </a:cubicBezTo>
                <a:cubicBezTo>
                  <a:pt x="4824" y="401"/>
                  <a:pt x="4823" y="401"/>
                  <a:pt x="4823" y="402"/>
                </a:cubicBezTo>
                <a:lnTo>
                  <a:pt x="4824" y="403"/>
                </a:lnTo>
                <a:cubicBezTo>
                  <a:pt x="4824" y="405"/>
                  <a:pt x="4823" y="409"/>
                  <a:pt x="4820" y="414"/>
                </a:cubicBezTo>
                <a:cubicBezTo>
                  <a:pt x="4817" y="420"/>
                  <a:pt x="4815" y="424"/>
                  <a:pt x="4815" y="427"/>
                </a:cubicBezTo>
                <a:cubicBezTo>
                  <a:pt x="4815" y="429"/>
                  <a:pt x="4816" y="430"/>
                  <a:pt x="4818" y="430"/>
                </a:cubicBezTo>
                <a:cubicBezTo>
                  <a:pt x="4819" y="430"/>
                  <a:pt x="4819" y="429"/>
                  <a:pt x="4819" y="427"/>
                </a:cubicBezTo>
                <a:lnTo>
                  <a:pt x="4819" y="422"/>
                </a:lnTo>
                <a:lnTo>
                  <a:pt x="4820" y="422"/>
                </a:lnTo>
                <a:cubicBezTo>
                  <a:pt x="4821" y="422"/>
                  <a:pt x="4822" y="422"/>
                  <a:pt x="4823" y="420"/>
                </a:cubicBezTo>
                <a:cubicBezTo>
                  <a:pt x="4824" y="419"/>
                  <a:pt x="4825" y="418"/>
                  <a:pt x="4825" y="416"/>
                </a:cubicBezTo>
                <a:cubicBezTo>
                  <a:pt x="4826" y="414"/>
                  <a:pt x="4826" y="413"/>
                  <a:pt x="4826" y="411"/>
                </a:cubicBezTo>
                <a:lnTo>
                  <a:pt x="4825" y="409"/>
                </a:lnTo>
                <a:lnTo>
                  <a:pt x="4826" y="408"/>
                </a:lnTo>
                <a:lnTo>
                  <a:pt x="4828" y="409"/>
                </a:lnTo>
                <a:cubicBezTo>
                  <a:pt x="4829" y="409"/>
                  <a:pt x="4829" y="408"/>
                  <a:pt x="4830" y="406"/>
                </a:cubicBezTo>
                <a:cubicBezTo>
                  <a:pt x="4830" y="405"/>
                  <a:pt x="4830" y="404"/>
                  <a:pt x="4830" y="404"/>
                </a:cubicBezTo>
                <a:cubicBezTo>
                  <a:pt x="4830" y="404"/>
                  <a:pt x="4831" y="404"/>
                  <a:pt x="4831" y="405"/>
                </a:cubicBezTo>
                <a:cubicBezTo>
                  <a:pt x="4831" y="407"/>
                  <a:pt x="4829" y="412"/>
                  <a:pt x="4826" y="418"/>
                </a:cubicBezTo>
                <a:cubicBezTo>
                  <a:pt x="4823" y="425"/>
                  <a:pt x="4822" y="430"/>
                  <a:pt x="4822" y="434"/>
                </a:cubicBezTo>
                <a:lnTo>
                  <a:pt x="4823" y="439"/>
                </a:lnTo>
                <a:cubicBezTo>
                  <a:pt x="4823" y="439"/>
                  <a:pt x="4822" y="439"/>
                  <a:pt x="4822" y="439"/>
                </a:cubicBezTo>
                <a:lnTo>
                  <a:pt x="4819" y="438"/>
                </a:lnTo>
                <a:cubicBezTo>
                  <a:pt x="4819" y="438"/>
                  <a:pt x="4819" y="438"/>
                  <a:pt x="4819" y="439"/>
                </a:cubicBezTo>
                <a:lnTo>
                  <a:pt x="4820" y="443"/>
                </a:lnTo>
                <a:cubicBezTo>
                  <a:pt x="4820" y="444"/>
                  <a:pt x="4819" y="445"/>
                  <a:pt x="4818" y="446"/>
                </a:cubicBezTo>
                <a:cubicBezTo>
                  <a:pt x="4816" y="447"/>
                  <a:pt x="4815" y="448"/>
                  <a:pt x="4815" y="448"/>
                </a:cubicBezTo>
                <a:lnTo>
                  <a:pt x="4815" y="451"/>
                </a:lnTo>
                <a:cubicBezTo>
                  <a:pt x="4815" y="451"/>
                  <a:pt x="4815" y="451"/>
                  <a:pt x="4814" y="451"/>
                </a:cubicBezTo>
                <a:cubicBezTo>
                  <a:pt x="4813" y="451"/>
                  <a:pt x="4813" y="452"/>
                  <a:pt x="4813" y="453"/>
                </a:cubicBezTo>
                <a:lnTo>
                  <a:pt x="4813" y="453"/>
                </a:lnTo>
                <a:cubicBezTo>
                  <a:pt x="4813" y="455"/>
                  <a:pt x="4813" y="456"/>
                  <a:pt x="4812" y="456"/>
                </a:cubicBezTo>
                <a:cubicBezTo>
                  <a:pt x="4812" y="456"/>
                  <a:pt x="4812" y="457"/>
                  <a:pt x="4812" y="458"/>
                </a:cubicBezTo>
                <a:cubicBezTo>
                  <a:pt x="4811" y="460"/>
                  <a:pt x="4811" y="462"/>
                  <a:pt x="4811" y="464"/>
                </a:cubicBezTo>
                <a:cubicBezTo>
                  <a:pt x="4810" y="469"/>
                  <a:pt x="4809" y="473"/>
                  <a:pt x="4807" y="477"/>
                </a:cubicBezTo>
                <a:cubicBezTo>
                  <a:pt x="4805" y="480"/>
                  <a:pt x="4805" y="484"/>
                  <a:pt x="4805" y="487"/>
                </a:cubicBezTo>
                <a:cubicBezTo>
                  <a:pt x="4805" y="494"/>
                  <a:pt x="4806" y="497"/>
                  <a:pt x="4808" y="497"/>
                </a:cubicBezTo>
                <a:cubicBezTo>
                  <a:pt x="4808" y="497"/>
                  <a:pt x="4809" y="497"/>
                  <a:pt x="4809" y="496"/>
                </a:cubicBezTo>
                <a:cubicBezTo>
                  <a:pt x="4810" y="495"/>
                  <a:pt x="4810" y="495"/>
                  <a:pt x="4811" y="495"/>
                </a:cubicBezTo>
                <a:cubicBezTo>
                  <a:pt x="4812" y="495"/>
                  <a:pt x="4813" y="495"/>
                  <a:pt x="4814" y="496"/>
                </a:cubicBezTo>
                <a:cubicBezTo>
                  <a:pt x="4815" y="497"/>
                  <a:pt x="4815" y="498"/>
                  <a:pt x="4815" y="499"/>
                </a:cubicBezTo>
                <a:cubicBezTo>
                  <a:pt x="4815" y="500"/>
                  <a:pt x="4814" y="500"/>
                  <a:pt x="4812" y="500"/>
                </a:cubicBezTo>
                <a:lnTo>
                  <a:pt x="4806" y="500"/>
                </a:lnTo>
                <a:cubicBezTo>
                  <a:pt x="4806" y="500"/>
                  <a:pt x="4806" y="501"/>
                  <a:pt x="4808" y="503"/>
                </a:cubicBezTo>
                <a:cubicBezTo>
                  <a:pt x="4809" y="504"/>
                  <a:pt x="4810" y="505"/>
                  <a:pt x="4811" y="505"/>
                </a:cubicBezTo>
                <a:lnTo>
                  <a:pt x="4813" y="505"/>
                </a:lnTo>
                <a:cubicBezTo>
                  <a:pt x="4814" y="505"/>
                  <a:pt x="4815" y="506"/>
                  <a:pt x="4815" y="507"/>
                </a:cubicBezTo>
                <a:cubicBezTo>
                  <a:pt x="4815" y="508"/>
                  <a:pt x="4815" y="509"/>
                  <a:pt x="4817" y="509"/>
                </a:cubicBezTo>
                <a:close/>
                <a:moveTo>
                  <a:pt x="4792" y="490"/>
                </a:moveTo>
                <a:cubicBezTo>
                  <a:pt x="4793" y="490"/>
                  <a:pt x="4793" y="490"/>
                  <a:pt x="4793" y="488"/>
                </a:cubicBezTo>
                <a:lnTo>
                  <a:pt x="4793" y="486"/>
                </a:lnTo>
                <a:cubicBezTo>
                  <a:pt x="4793" y="484"/>
                  <a:pt x="4793" y="482"/>
                  <a:pt x="4793" y="482"/>
                </a:cubicBezTo>
                <a:lnTo>
                  <a:pt x="4792" y="481"/>
                </a:lnTo>
                <a:cubicBezTo>
                  <a:pt x="4792" y="481"/>
                  <a:pt x="4791" y="482"/>
                  <a:pt x="4791" y="483"/>
                </a:cubicBezTo>
                <a:cubicBezTo>
                  <a:pt x="4789" y="485"/>
                  <a:pt x="4789" y="486"/>
                  <a:pt x="4789" y="487"/>
                </a:cubicBezTo>
                <a:cubicBezTo>
                  <a:pt x="4789" y="489"/>
                  <a:pt x="4790" y="490"/>
                  <a:pt x="4792" y="490"/>
                </a:cubicBezTo>
                <a:close/>
                <a:moveTo>
                  <a:pt x="4795" y="419"/>
                </a:moveTo>
                <a:cubicBezTo>
                  <a:pt x="4796" y="419"/>
                  <a:pt x="4797" y="418"/>
                  <a:pt x="4798" y="416"/>
                </a:cubicBezTo>
                <a:lnTo>
                  <a:pt x="4798" y="414"/>
                </a:lnTo>
                <a:cubicBezTo>
                  <a:pt x="4798" y="414"/>
                  <a:pt x="4798" y="413"/>
                  <a:pt x="4798" y="413"/>
                </a:cubicBezTo>
                <a:lnTo>
                  <a:pt x="4797" y="414"/>
                </a:lnTo>
                <a:cubicBezTo>
                  <a:pt x="4795" y="414"/>
                  <a:pt x="4795" y="416"/>
                  <a:pt x="4795" y="417"/>
                </a:cubicBezTo>
                <a:cubicBezTo>
                  <a:pt x="4795" y="419"/>
                  <a:pt x="4795" y="419"/>
                  <a:pt x="4795" y="419"/>
                </a:cubicBezTo>
                <a:close/>
                <a:moveTo>
                  <a:pt x="4788" y="435"/>
                </a:moveTo>
                <a:cubicBezTo>
                  <a:pt x="4789" y="435"/>
                  <a:pt x="4790" y="433"/>
                  <a:pt x="4791" y="431"/>
                </a:cubicBezTo>
                <a:cubicBezTo>
                  <a:pt x="4793" y="427"/>
                  <a:pt x="4794" y="424"/>
                  <a:pt x="4794" y="423"/>
                </a:cubicBezTo>
                <a:lnTo>
                  <a:pt x="4794" y="422"/>
                </a:lnTo>
                <a:cubicBezTo>
                  <a:pt x="4794" y="422"/>
                  <a:pt x="4793" y="424"/>
                  <a:pt x="4791" y="426"/>
                </a:cubicBezTo>
                <a:cubicBezTo>
                  <a:pt x="4789" y="430"/>
                  <a:pt x="4788" y="433"/>
                  <a:pt x="4788" y="434"/>
                </a:cubicBezTo>
                <a:lnTo>
                  <a:pt x="4788" y="435"/>
                </a:lnTo>
                <a:close/>
                <a:moveTo>
                  <a:pt x="4764" y="511"/>
                </a:moveTo>
                <a:cubicBezTo>
                  <a:pt x="4766" y="511"/>
                  <a:pt x="4766" y="510"/>
                  <a:pt x="4766" y="509"/>
                </a:cubicBezTo>
                <a:cubicBezTo>
                  <a:pt x="4766" y="508"/>
                  <a:pt x="4766" y="507"/>
                  <a:pt x="4766" y="507"/>
                </a:cubicBezTo>
                <a:cubicBezTo>
                  <a:pt x="4764" y="504"/>
                  <a:pt x="4763" y="503"/>
                  <a:pt x="4761" y="503"/>
                </a:cubicBezTo>
                <a:cubicBezTo>
                  <a:pt x="4760" y="503"/>
                  <a:pt x="4759" y="504"/>
                  <a:pt x="4759" y="506"/>
                </a:cubicBezTo>
                <a:cubicBezTo>
                  <a:pt x="4759" y="507"/>
                  <a:pt x="4760" y="508"/>
                  <a:pt x="4761" y="510"/>
                </a:cubicBezTo>
                <a:cubicBezTo>
                  <a:pt x="4762" y="511"/>
                  <a:pt x="4763" y="511"/>
                  <a:pt x="4764" y="511"/>
                </a:cubicBezTo>
                <a:close/>
                <a:moveTo>
                  <a:pt x="4744" y="591"/>
                </a:moveTo>
                <a:cubicBezTo>
                  <a:pt x="4744" y="591"/>
                  <a:pt x="4744" y="590"/>
                  <a:pt x="4744" y="589"/>
                </a:cubicBezTo>
                <a:lnTo>
                  <a:pt x="4744" y="586"/>
                </a:lnTo>
                <a:cubicBezTo>
                  <a:pt x="4744" y="586"/>
                  <a:pt x="4743" y="585"/>
                  <a:pt x="4743" y="585"/>
                </a:cubicBezTo>
                <a:cubicBezTo>
                  <a:pt x="4743" y="585"/>
                  <a:pt x="4742" y="586"/>
                  <a:pt x="4742" y="588"/>
                </a:cubicBezTo>
                <a:cubicBezTo>
                  <a:pt x="4742" y="590"/>
                  <a:pt x="4743" y="591"/>
                  <a:pt x="4744" y="591"/>
                </a:cubicBezTo>
                <a:close/>
                <a:moveTo>
                  <a:pt x="4742" y="602"/>
                </a:moveTo>
                <a:cubicBezTo>
                  <a:pt x="4742" y="601"/>
                  <a:pt x="4742" y="601"/>
                  <a:pt x="4742" y="600"/>
                </a:cubicBezTo>
                <a:lnTo>
                  <a:pt x="4741" y="597"/>
                </a:lnTo>
                <a:cubicBezTo>
                  <a:pt x="4741" y="597"/>
                  <a:pt x="4741" y="598"/>
                  <a:pt x="4741" y="601"/>
                </a:cubicBezTo>
                <a:cubicBezTo>
                  <a:pt x="4741" y="602"/>
                  <a:pt x="4741" y="602"/>
                  <a:pt x="4741" y="602"/>
                </a:cubicBezTo>
                <a:lnTo>
                  <a:pt x="4742" y="602"/>
                </a:lnTo>
                <a:close/>
                <a:moveTo>
                  <a:pt x="4739" y="621"/>
                </a:moveTo>
                <a:cubicBezTo>
                  <a:pt x="4739" y="621"/>
                  <a:pt x="4740" y="620"/>
                  <a:pt x="4740" y="619"/>
                </a:cubicBezTo>
                <a:lnTo>
                  <a:pt x="4740" y="616"/>
                </a:lnTo>
                <a:cubicBezTo>
                  <a:pt x="4739" y="616"/>
                  <a:pt x="4739" y="615"/>
                  <a:pt x="4739" y="615"/>
                </a:cubicBezTo>
                <a:cubicBezTo>
                  <a:pt x="4738" y="615"/>
                  <a:pt x="4738" y="616"/>
                  <a:pt x="4738" y="617"/>
                </a:cubicBezTo>
                <a:cubicBezTo>
                  <a:pt x="4738" y="619"/>
                  <a:pt x="4739" y="621"/>
                  <a:pt x="4739" y="621"/>
                </a:cubicBezTo>
                <a:close/>
                <a:moveTo>
                  <a:pt x="5238" y="540"/>
                </a:moveTo>
                <a:close/>
                <a:moveTo>
                  <a:pt x="4765" y="501"/>
                </a:moveTo>
                <a:cubicBezTo>
                  <a:pt x="4764" y="501"/>
                  <a:pt x="4764" y="501"/>
                  <a:pt x="4764" y="500"/>
                </a:cubicBezTo>
                <a:cubicBezTo>
                  <a:pt x="4764" y="498"/>
                  <a:pt x="4765" y="497"/>
                  <a:pt x="4766" y="496"/>
                </a:cubicBezTo>
                <a:lnTo>
                  <a:pt x="4768" y="495"/>
                </a:lnTo>
                <a:cubicBezTo>
                  <a:pt x="4768" y="495"/>
                  <a:pt x="4768" y="496"/>
                  <a:pt x="4768" y="497"/>
                </a:cubicBezTo>
                <a:cubicBezTo>
                  <a:pt x="4768" y="499"/>
                  <a:pt x="4768" y="500"/>
                  <a:pt x="4766" y="501"/>
                </a:cubicBezTo>
                <a:lnTo>
                  <a:pt x="4765" y="501"/>
                </a:lnTo>
                <a:close/>
                <a:moveTo>
                  <a:pt x="4793" y="408"/>
                </a:moveTo>
                <a:lnTo>
                  <a:pt x="4793" y="408"/>
                </a:lnTo>
                <a:cubicBezTo>
                  <a:pt x="4793" y="407"/>
                  <a:pt x="4793" y="406"/>
                  <a:pt x="4794" y="404"/>
                </a:cubicBezTo>
                <a:cubicBezTo>
                  <a:pt x="4794" y="403"/>
                  <a:pt x="4795" y="402"/>
                  <a:pt x="4796" y="402"/>
                </a:cubicBezTo>
                <a:lnTo>
                  <a:pt x="4796" y="402"/>
                </a:lnTo>
                <a:lnTo>
                  <a:pt x="4797" y="403"/>
                </a:lnTo>
                <a:cubicBezTo>
                  <a:pt x="4797" y="404"/>
                  <a:pt x="4796" y="405"/>
                  <a:pt x="4795" y="406"/>
                </a:cubicBezTo>
                <a:lnTo>
                  <a:pt x="4793" y="408"/>
                </a:lnTo>
                <a:close/>
                <a:moveTo>
                  <a:pt x="5104" y="662"/>
                </a:moveTo>
                <a:cubicBezTo>
                  <a:pt x="5103" y="662"/>
                  <a:pt x="5103" y="662"/>
                  <a:pt x="5103" y="660"/>
                </a:cubicBezTo>
                <a:cubicBezTo>
                  <a:pt x="5103" y="659"/>
                  <a:pt x="5104" y="658"/>
                  <a:pt x="5106" y="658"/>
                </a:cubicBezTo>
                <a:cubicBezTo>
                  <a:pt x="5106" y="658"/>
                  <a:pt x="5106" y="658"/>
                  <a:pt x="5106" y="659"/>
                </a:cubicBezTo>
                <a:cubicBezTo>
                  <a:pt x="5106" y="659"/>
                  <a:pt x="5106" y="660"/>
                  <a:pt x="5106" y="661"/>
                </a:cubicBezTo>
                <a:cubicBezTo>
                  <a:pt x="5105" y="662"/>
                  <a:pt x="5105" y="662"/>
                  <a:pt x="5104" y="662"/>
                </a:cubicBezTo>
                <a:close/>
                <a:moveTo>
                  <a:pt x="4751" y="548"/>
                </a:moveTo>
                <a:cubicBezTo>
                  <a:pt x="4750" y="548"/>
                  <a:pt x="4749" y="547"/>
                  <a:pt x="4749" y="546"/>
                </a:cubicBezTo>
                <a:cubicBezTo>
                  <a:pt x="4748" y="545"/>
                  <a:pt x="4747" y="544"/>
                  <a:pt x="4747" y="544"/>
                </a:cubicBezTo>
                <a:lnTo>
                  <a:pt x="4749" y="544"/>
                </a:lnTo>
                <a:cubicBezTo>
                  <a:pt x="4751" y="544"/>
                  <a:pt x="4751" y="544"/>
                  <a:pt x="4752" y="543"/>
                </a:cubicBezTo>
                <a:cubicBezTo>
                  <a:pt x="4752" y="542"/>
                  <a:pt x="4752" y="541"/>
                  <a:pt x="4753" y="541"/>
                </a:cubicBezTo>
                <a:cubicBezTo>
                  <a:pt x="4753" y="541"/>
                  <a:pt x="4753" y="542"/>
                  <a:pt x="4753" y="544"/>
                </a:cubicBezTo>
                <a:lnTo>
                  <a:pt x="4753" y="544"/>
                </a:lnTo>
                <a:cubicBezTo>
                  <a:pt x="4753" y="546"/>
                  <a:pt x="4753" y="548"/>
                  <a:pt x="4751" y="548"/>
                </a:cubicBezTo>
                <a:close/>
                <a:moveTo>
                  <a:pt x="4749" y="535"/>
                </a:moveTo>
                <a:lnTo>
                  <a:pt x="4748" y="535"/>
                </a:lnTo>
                <a:cubicBezTo>
                  <a:pt x="4748" y="535"/>
                  <a:pt x="4748" y="534"/>
                  <a:pt x="4748" y="534"/>
                </a:cubicBezTo>
                <a:cubicBezTo>
                  <a:pt x="4748" y="532"/>
                  <a:pt x="4748" y="531"/>
                  <a:pt x="4749" y="530"/>
                </a:cubicBezTo>
                <a:cubicBezTo>
                  <a:pt x="4750" y="529"/>
                  <a:pt x="4751" y="527"/>
                  <a:pt x="4751" y="526"/>
                </a:cubicBezTo>
                <a:lnTo>
                  <a:pt x="4750" y="522"/>
                </a:lnTo>
                <a:cubicBezTo>
                  <a:pt x="4750" y="522"/>
                  <a:pt x="4750" y="521"/>
                  <a:pt x="4750" y="521"/>
                </a:cubicBezTo>
                <a:cubicBezTo>
                  <a:pt x="4751" y="521"/>
                  <a:pt x="4751" y="522"/>
                  <a:pt x="4751" y="522"/>
                </a:cubicBezTo>
                <a:cubicBezTo>
                  <a:pt x="4752" y="522"/>
                  <a:pt x="4753" y="523"/>
                  <a:pt x="4753" y="524"/>
                </a:cubicBezTo>
                <a:cubicBezTo>
                  <a:pt x="4753" y="524"/>
                  <a:pt x="4754" y="525"/>
                  <a:pt x="4754" y="527"/>
                </a:cubicBezTo>
                <a:cubicBezTo>
                  <a:pt x="4754" y="528"/>
                  <a:pt x="4754" y="529"/>
                  <a:pt x="4754" y="529"/>
                </a:cubicBezTo>
                <a:lnTo>
                  <a:pt x="4756" y="530"/>
                </a:lnTo>
                <a:lnTo>
                  <a:pt x="4754" y="530"/>
                </a:lnTo>
                <a:cubicBezTo>
                  <a:pt x="4752" y="530"/>
                  <a:pt x="4751" y="531"/>
                  <a:pt x="4751" y="533"/>
                </a:cubicBezTo>
                <a:cubicBezTo>
                  <a:pt x="4751" y="534"/>
                  <a:pt x="4750" y="535"/>
                  <a:pt x="4749" y="535"/>
                </a:cubicBezTo>
                <a:close/>
                <a:moveTo>
                  <a:pt x="4919" y="255"/>
                </a:moveTo>
                <a:cubicBezTo>
                  <a:pt x="4918" y="255"/>
                  <a:pt x="4917" y="254"/>
                  <a:pt x="4917" y="253"/>
                </a:cubicBezTo>
                <a:cubicBezTo>
                  <a:pt x="4917" y="253"/>
                  <a:pt x="4918" y="252"/>
                  <a:pt x="4918" y="251"/>
                </a:cubicBezTo>
                <a:cubicBezTo>
                  <a:pt x="4919" y="250"/>
                  <a:pt x="4920" y="249"/>
                  <a:pt x="4921" y="248"/>
                </a:cubicBezTo>
                <a:cubicBezTo>
                  <a:pt x="4922" y="248"/>
                  <a:pt x="4922" y="247"/>
                  <a:pt x="4923" y="247"/>
                </a:cubicBezTo>
                <a:cubicBezTo>
                  <a:pt x="4924" y="248"/>
                  <a:pt x="4925" y="248"/>
                  <a:pt x="4925" y="249"/>
                </a:cubicBezTo>
                <a:cubicBezTo>
                  <a:pt x="4925" y="250"/>
                  <a:pt x="4924" y="251"/>
                  <a:pt x="4922" y="253"/>
                </a:cubicBezTo>
                <a:cubicBezTo>
                  <a:pt x="4921" y="254"/>
                  <a:pt x="4920" y="255"/>
                  <a:pt x="4919" y="255"/>
                </a:cubicBezTo>
                <a:close/>
                <a:moveTo>
                  <a:pt x="5238" y="541"/>
                </a:moveTo>
                <a:cubicBezTo>
                  <a:pt x="5238" y="541"/>
                  <a:pt x="5238" y="541"/>
                  <a:pt x="5238" y="540"/>
                </a:cubicBezTo>
                <a:cubicBezTo>
                  <a:pt x="5238" y="540"/>
                  <a:pt x="5238" y="539"/>
                  <a:pt x="5239" y="538"/>
                </a:cubicBezTo>
                <a:cubicBezTo>
                  <a:pt x="5240" y="537"/>
                  <a:pt x="5241" y="536"/>
                  <a:pt x="5243" y="535"/>
                </a:cubicBezTo>
                <a:lnTo>
                  <a:pt x="5244" y="534"/>
                </a:lnTo>
                <a:lnTo>
                  <a:pt x="5244" y="534"/>
                </a:lnTo>
                <a:lnTo>
                  <a:pt x="5243" y="537"/>
                </a:lnTo>
                <a:cubicBezTo>
                  <a:pt x="5240" y="540"/>
                  <a:pt x="5239" y="541"/>
                  <a:pt x="5238" y="541"/>
                </a:cubicBezTo>
                <a:close/>
                <a:moveTo>
                  <a:pt x="4931" y="400"/>
                </a:moveTo>
                <a:close/>
                <a:moveTo>
                  <a:pt x="4932" y="401"/>
                </a:moveTo>
                <a:cubicBezTo>
                  <a:pt x="4932" y="401"/>
                  <a:pt x="4931" y="401"/>
                  <a:pt x="4931" y="400"/>
                </a:cubicBezTo>
                <a:cubicBezTo>
                  <a:pt x="4931" y="400"/>
                  <a:pt x="4932" y="399"/>
                  <a:pt x="4933" y="398"/>
                </a:cubicBezTo>
                <a:cubicBezTo>
                  <a:pt x="4934" y="397"/>
                  <a:pt x="4935" y="396"/>
                  <a:pt x="4936" y="395"/>
                </a:cubicBezTo>
                <a:cubicBezTo>
                  <a:pt x="4937" y="394"/>
                  <a:pt x="4938" y="394"/>
                  <a:pt x="4938" y="394"/>
                </a:cubicBezTo>
                <a:lnTo>
                  <a:pt x="4938" y="394"/>
                </a:lnTo>
                <a:lnTo>
                  <a:pt x="4936" y="397"/>
                </a:lnTo>
                <a:cubicBezTo>
                  <a:pt x="4934" y="399"/>
                  <a:pt x="4933" y="401"/>
                  <a:pt x="4932" y="401"/>
                </a:cubicBezTo>
                <a:close/>
                <a:moveTo>
                  <a:pt x="5223" y="552"/>
                </a:moveTo>
                <a:cubicBezTo>
                  <a:pt x="5223" y="551"/>
                  <a:pt x="5223" y="551"/>
                  <a:pt x="5224" y="550"/>
                </a:cubicBezTo>
                <a:cubicBezTo>
                  <a:pt x="5226" y="549"/>
                  <a:pt x="5227" y="548"/>
                  <a:pt x="5227" y="548"/>
                </a:cubicBezTo>
                <a:lnTo>
                  <a:pt x="5228" y="548"/>
                </a:lnTo>
                <a:lnTo>
                  <a:pt x="5228" y="549"/>
                </a:lnTo>
                <a:cubicBezTo>
                  <a:pt x="5228" y="549"/>
                  <a:pt x="5227" y="550"/>
                  <a:pt x="5226" y="551"/>
                </a:cubicBezTo>
                <a:cubicBezTo>
                  <a:pt x="5224" y="551"/>
                  <a:pt x="5223" y="552"/>
                  <a:pt x="5223" y="552"/>
                </a:cubicBezTo>
                <a:close/>
                <a:moveTo>
                  <a:pt x="5163" y="605"/>
                </a:moveTo>
                <a:cubicBezTo>
                  <a:pt x="5162" y="605"/>
                  <a:pt x="5161" y="604"/>
                  <a:pt x="5161" y="603"/>
                </a:cubicBezTo>
                <a:cubicBezTo>
                  <a:pt x="5161" y="601"/>
                  <a:pt x="5162" y="601"/>
                  <a:pt x="5164" y="601"/>
                </a:cubicBezTo>
                <a:cubicBezTo>
                  <a:pt x="5165" y="601"/>
                  <a:pt x="5165" y="601"/>
                  <a:pt x="5165" y="602"/>
                </a:cubicBezTo>
                <a:cubicBezTo>
                  <a:pt x="5165" y="602"/>
                  <a:pt x="5165" y="603"/>
                  <a:pt x="5165" y="604"/>
                </a:cubicBezTo>
                <a:cubicBezTo>
                  <a:pt x="5164" y="605"/>
                  <a:pt x="5163" y="605"/>
                  <a:pt x="5163" y="605"/>
                </a:cubicBezTo>
                <a:close/>
                <a:moveTo>
                  <a:pt x="5111" y="658"/>
                </a:moveTo>
                <a:cubicBezTo>
                  <a:pt x="5111" y="658"/>
                  <a:pt x="5110" y="657"/>
                  <a:pt x="5109" y="656"/>
                </a:cubicBezTo>
                <a:cubicBezTo>
                  <a:pt x="5109" y="656"/>
                  <a:pt x="5108" y="656"/>
                  <a:pt x="5108" y="655"/>
                </a:cubicBezTo>
                <a:cubicBezTo>
                  <a:pt x="5108" y="654"/>
                  <a:pt x="5109" y="654"/>
                  <a:pt x="5111" y="654"/>
                </a:cubicBezTo>
                <a:cubicBezTo>
                  <a:pt x="5112" y="654"/>
                  <a:pt x="5113" y="654"/>
                  <a:pt x="5113" y="655"/>
                </a:cubicBezTo>
                <a:lnTo>
                  <a:pt x="5113" y="656"/>
                </a:lnTo>
                <a:cubicBezTo>
                  <a:pt x="5113" y="656"/>
                  <a:pt x="5112" y="656"/>
                  <a:pt x="5112" y="657"/>
                </a:cubicBezTo>
                <a:cubicBezTo>
                  <a:pt x="5112" y="657"/>
                  <a:pt x="5111" y="658"/>
                  <a:pt x="5111" y="658"/>
                </a:cubicBezTo>
                <a:close/>
                <a:moveTo>
                  <a:pt x="5138" y="623"/>
                </a:moveTo>
                <a:cubicBezTo>
                  <a:pt x="5138" y="622"/>
                  <a:pt x="5139" y="621"/>
                  <a:pt x="5141" y="619"/>
                </a:cubicBezTo>
                <a:cubicBezTo>
                  <a:pt x="5144" y="616"/>
                  <a:pt x="5146" y="614"/>
                  <a:pt x="5147" y="614"/>
                </a:cubicBezTo>
                <a:lnTo>
                  <a:pt x="5148" y="615"/>
                </a:lnTo>
                <a:cubicBezTo>
                  <a:pt x="5148" y="616"/>
                  <a:pt x="5146" y="618"/>
                  <a:pt x="5143" y="620"/>
                </a:cubicBezTo>
                <a:cubicBezTo>
                  <a:pt x="5140" y="622"/>
                  <a:pt x="5138" y="623"/>
                  <a:pt x="5138" y="623"/>
                </a:cubicBezTo>
                <a:close/>
                <a:moveTo>
                  <a:pt x="5170" y="598"/>
                </a:moveTo>
                <a:cubicBezTo>
                  <a:pt x="5170" y="598"/>
                  <a:pt x="5169" y="598"/>
                  <a:pt x="5169" y="598"/>
                </a:cubicBezTo>
                <a:cubicBezTo>
                  <a:pt x="5169" y="597"/>
                  <a:pt x="5171" y="595"/>
                  <a:pt x="5175" y="592"/>
                </a:cubicBezTo>
                <a:cubicBezTo>
                  <a:pt x="5179" y="588"/>
                  <a:pt x="5182" y="586"/>
                  <a:pt x="5184" y="586"/>
                </a:cubicBezTo>
                <a:lnTo>
                  <a:pt x="5184" y="586"/>
                </a:lnTo>
                <a:cubicBezTo>
                  <a:pt x="5185" y="586"/>
                  <a:pt x="5186" y="586"/>
                  <a:pt x="5186" y="585"/>
                </a:cubicBezTo>
                <a:lnTo>
                  <a:pt x="5187" y="583"/>
                </a:lnTo>
                <a:lnTo>
                  <a:pt x="5187" y="585"/>
                </a:lnTo>
                <a:cubicBezTo>
                  <a:pt x="5186" y="587"/>
                  <a:pt x="5185" y="588"/>
                  <a:pt x="5184" y="588"/>
                </a:cubicBezTo>
                <a:lnTo>
                  <a:pt x="5184" y="588"/>
                </a:lnTo>
                <a:cubicBezTo>
                  <a:pt x="5182" y="588"/>
                  <a:pt x="5180" y="589"/>
                  <a:pt x="5177" y="593"/>
                </a:cubicBezTo>
                <a:cubicBezTo>
                  <a:pt x="5173" y="596"/>
                  <a:pt x="5171" y="598"/>
                  <a:pt x="5170" y="598"/>
                </a:cubicBezTo>
                <a:close/>
                <a:moveTo>
                  <a:pt x="4771" y="568"/>
                </a:moveTo>
                <a:cubicBezTo>
                  <a:pt x="4771" y="568"/>
                  <a:pt x="4771" y="568"/>
                  <a:pt x="4771" y="566"/>
                </a:cubicBezTo>
                <a:cubicBezTo>
                  <a:pt x="4771" y="565"/>
                  <a:pt x="4771" y="563"/>
                  <a:pt x="4773" y="563"/>
                </a:cubicBezTo>
                <a:lnTo>
                  <a:pt x="4774" y="562"/>
                </a:lnTo>
                <a:cubicBezTo>
                  <a:pt x="4774" y="562"/>
                  <a:pt x="4774" y="563"/>
                  <a:pt x="4774" y="563"/>
                </a:cubicBezTo>
                <a:lnTo>
                  <a:pt x="4774" y="565"/>
                </a:lnTo>
                <a:cubicBezTo>
                  <a:pt x="4773" y="567"/>
                  <a:pt x="4772" y="568"/>
                  <a:pt x="4771" y="568"/>
                </a:cubicBezTo>
                <a:close/>
                <a:moveTo>
                  <a:pt x="4769" y="577"/>
                </a:moveTo>
                <a:cubicBezTo>
                  <a:pt x="4769" y="577"/>
                  <a:pt x="4768" y="577"/>
                  <a:pt x="4768" y="575"/>
                </a:cubicBezTo>
                <a:cubicBezTo>
                  <a:pt x="4768" y="575"/>
                  <a:pt x="4769" y="574"/>
                  <a:pt x="4769" y="573"/>
                </a:cubicBezTo>
                <a:cubicBezTo>
                  <a:pt x="4770" y="572"/>
                  <a:pt x="4771" y="571"/>
                  <a:pt x="4771" y="571"/>
                </a:cubicBezTo>
                <a:cubicBezTo>
                  <a:pt x="4772" y="571"/>
                  <a:pt x="4772" y="572"/>
                  <a:pt x="4772" y="572"/>
                </a:cubicBezTo>
                <a:lnTo>
                  <a:pt x="4772" y="574"/>
                </a:lnTo>
                <a:cubicBezTo>
                  <a:pt x="4771" y="576"/>
                  <a:pt x="4770" y="577"/>
                  <a:pt x="4769" y="577"/>
                </a:cubicBezTo>
                <a:close/>
                <a:moveTo>
                  <a:pt x="4870" y="511"/>
                </a:moveTo>
                <a:cubicBezTo>
                  <a:pt x="4869" y="511"/>
                  <a:pt x="4868" y="510"/>
                  <a:pt x="4868" y="509"/>
                </a:cubicBezTo>
                <a:cubicBezTo>
                  <a:pt x="4868" y="507"/>
                  <a:pt x="4869" y="507"/>
                  <a:pt x="4871" y="507"/>
                </a:cubicBezTo>
                <a:cubicBezTo>
                  <a:pt x="4872" y="507"/>
                  <a:pt x="4872" y="507"/>
                  <a:pt x="4872" y="508"/>
                </a:cubicBezTo>
                <a:lnTo>
                  <a:pt x="4872" y="509"/>
                </a:lnTo>
                <a:cubicBezTo>
                  <a:pt x="4871" y="510"/>
                  <a:pt x="4870" y="511"/>
                  <a:pt x="4870" y="511"/>
                </a:cubicBezTo>
                <a:close/>
                <a:moveTo>
                  <a:pt x="4767" y="690"/>
                </a:moveTo>
                <a:cubicBezTo>
                  <a:pt x="4767" y="689"/>
                  <a:pt x="4766" y="688"/>
                  <a:pt x="4766" y="686"/>
                </a:cubicBezTo>
                <a:cubicBezTo>
                  <a:pt x="4766" y="685"/>
                  <a:pt x="4767" y="684"/>
                  <a:pt x="4767" y="684"/>
                </a:cubicBezTo>
                <a:cubicBezTo>
                  <a:pt x="4768" y="684"/>
                  <a:pt x="4768" y="685"/>
                  <a:pt x="4768" y="687"/>
                </a:cubicBezTo>
                <a:cubicBezTo>
                  <a:pt x="4768" y="688"/>
                  <a:pt x="4768" y="689"/>
                  <a:pt x="4768" y="689"/>
                </a:cubicBezTo>
                <a:lnTo>
                  <a:pt x="4767" y="690"/>
                </a:lnTo>
                <a:close/>
                <a:moveTo>
                  <a:pt x="4765" y="598"/>
                </a:moveTo>
                <a:cubicBezTo>
                  <a:pt x="4764" y="598"/>
                  <a:pt x="4764" y="597"/>
                  <a:pt x="4764" y="595"/>
                </a:cubicBezTo>
                <a:cubicBezTo>
                  <a:pt x="4764" y="593"/>
                  <a:pt x="4765" y="592"/>
                  <a:pt x="4766" y="592"/>
                </a:cubicBezTo>
                <a:cubicBezTo>
                  <a:pt x="4767" y="592"/>
                  <a:pt x="4768" y="592"/>
                  <a:pt x="4768" y="593"/>
                </a:cubicBezTo>
                <a:lnTo>
                  <a:pt x="4767" y="595"/>
                </a:lnTo>
                <a:cubicBezTo>
                  <a:pt x="4766" y="597"/>
                  <a:pt x="4766" y="598"/>
                  <a:pt x="4765" y="598"/>
                </a:cubicBezTo>
                <a:close/>
                <a:moveTo>
                  <a:pt x="4768" y="589"/>
                </a:moveTo>
                <a:cubicBezTo>
                  <a:pt x="4767" y="589"/>
                  <a:pt x="4766" y="588"/>
                  <a:pt x="4766" y="585"/>
                </a:cubicBezTo>
                <a:cubicBezTo>
                  <a:pt x="4766" y="584"/>
                  <a:pt x="4767" y="582"/>
                  <a:pt x="4768" y="581"/>
                </a:cubicBezTo>
                <a:lnTo>
                  <a:pt x="4769" y="581"/>
                </a:lnTo>
                <a:cubicBezTo>
                  <a:pt x="4769" y="581"/>
                  <a:pt x="4769" y="581"/>
                  <a:pt x="4769" y="583"/>
                </a:cubicBezTo>
                <a:lnTo>
                  <a:pt x="4769" y="584"/>
                </a:lnTo>
                <a:cubicBezTo>
                  <a:pt x="4768" y="588"/>
                  <a:pt x="4768" y="589"/>
                  <a:pt x="4768" y="589"/>
                </a:cubicBezTo>
                <a:close/>
                <a:moveTo>
                  <a:pt x="4761" y="649"/>
                </a:moveTo>
                <a:cubicBezTo>
                  <a:pt x="4759" y="648"/>
                  <a:pt x="4758" y="648"/>
                  <a:pt x="4758" y="648"/>
                </a:cubicBezTo>
                <a:lnTo>
                  <a:pt x="4762" y="647"/>
                </a:lnTo>
                <a:cubicBezTo>
                  <a:pt x="4763" y="647"/>
                  <a:pt x="4763" y="647"/>
                  <a:pt x="4763" y="647"/>
                </a:cubicBezTo>
                <a:cubicBezTo>
                  <a:pt x="4764" y="647"/>
                  <a:pt x="4764" y="647"/>
                  <a:pt x="4764" y="648"/>
                </a:cubicBezTo>
                <a:cubicBezTo>
                  <a:pt x="4764" y="648"/>
                  <a:pt x="4763" y="649"/>
                  <a:pt x="4761" y="649"/>
                </a:cubicBezTo>
                <a:close/>
                <a:moveTo>
                  <a:pt x="4762" y="630"/>
                </a:moveTo>
                <a:lnTo>
                  <a:pt x="4762" y="630"/>
                </a:lnTo>
                <a:cubicBezTo>
                  <a:pt x="4761" y="629"/>
                  <a:pt x="4761" y="627"/>
                  <a:pt x="4761" y="625"/>
                </a:cubicBezTo>
                <a:cubicBezTo>
                  <a:pt x="4761" y="623"/>
                  <a:pt x="4761" y="621"/>
                  <a:pt x="4761" y="619"/>
                </a:cubicBezTo>
                <a:cubicBezTo>
                  <a:pt x="4761" y="616"/>
                  <a:pt x="4761" y="614"/>
                  <a:pt x="4761" y="614"/>
                </a:cubicBezTo>
                <a:cubicBezTo>
                  <a:pt x="4763" y="614"/>
                  <a:pt x="4763" y="617"/>
                  <a:pt x="4763" y="622"/>
                </a:cubicBezTo>
                <a:cubicBezTo>
                  <a:pt x="4763" y="627"/>
                  <a:pt x="4763" y="630"/>
                  <a:pt x="4762" y="630"/>
                </a:cubicBezTo>
                <a:close/>
                <a:moveTo>
                  <a:pt x="4763" y="612"/>
                </a:moveTo>
                <a:cubicBezTo>
                  <a:pt x="4763" y="612"/>
                  <a:pt x="4762" y="611"/>
                  <a:pt x="4762" y="609"/>
                </a:cubicBezTo>
                <a:cubicBezTo>
                  <a:pt x="4762" y="608"/>
                  <a:pt x="4762" y="607"/>
                  <a:pt x="4763" y="607"/>
                </a:cubicBezTo>
                <a:cubicBezTo>
                  <a:pt x="4763" y="606"/>
                  <a:pt x="4763" y="606"/>
                  <a:pt x="4764" y="605"/>
                </a:cubicBezTo>
                <a:cubicBezTo>
                  <a:pt x="4765" y="605"/>
                  <a:pt x="4765" y="606"/>
                  <a:pt x="4765" y="607"/>
                </a:cubicBezTo>
                <a:cubicBezTo>
                  <a:pt x="4765" y="607"/>
                  <a:pt x="4765" y="608"/>
                  <a:pt x="4765" y="609"/>
                </a:cubicBezTo>
                <a:cubicBezTo>
                  <a:pt x="4764" y="610"/>
                  <a:pt x="4764" y="610"/>
                  <a:pt x="4764" y="611"/>
                </a:cubicBezTo>
                <a:cubicBezTo>
                  <a:pt x="4763" y="612"/>
                  <a:pt x="4763" y="612"/>
                  <a:pt x="4763" y="612"/>
                </a:cubicBezTo>
                <a:close/>
                <a:moveTo>
                  <a:pt x="5578" y="589"/>
                </a:moveTo>
                <a:cubicBezTo>
                  <a:pt x="5578" y="589"/>
                  <a:pt x="5577" y="589"/>
                  <a:pt x="5577" y="588"/>
                </a:cubicBezTo>
                <a:cubicBezTo>
                  <a:pt x="5577" y="587"/>
                  <a:pt x="5576" y="586"/>
                  <a:pt x="5576" y="585"/>
                </a:cubicBezTo>
                <a:cubicBezTo>
                  <a:pt x="5575" y="585"/>
                  <a:pt x="5575" y="584"/>
                  <a:pt x="5575" y="583"/>
                </a:cubicBezTo>
                <a:lnTo>
                  <a:pt x="5575" y="583"/>
                </a:lnTo>
                <a:lnTo>
                  <a:pt x="5577" y="585"/>
                </a:lnTo>
                <a:cubicBezTo>
                  <a:pt x="5578" y="586"/>
                  <a:pt x="5579" y="587"/>
                  <a:pt x="5579" y="588"/>
                </a:cubicBezTo>
                <a:lnTo>
                  <a:pt x="5578" y="589"/>
                </a:lnTo>
                <a:close/>
                <a:moveTo>
                  <a:pt x="5265" y="595"/>
                </a:moveTo>
                <a:cubicBezTo>
                  <a:pt x="5264" y="595"/>
                  <a:pt x="5263" y="595"/>
                  <a:pt x="5263" y="594"/>
                </a:cubicBezTo>
                <a:cubicBezTo>
                  <a:pt x="5262" y="593"/>
                  <a:pt x="5261" y="592"/>
                  <a:pt x="5261" y="591"/>
                </a:cubicBezTo>
                <a:cubicBezTo>
                  <a:pt x="5261" y="589"/>
                  <a:pt x="5262" y="587"/>
                  <a:pt x="5264" y="584"/>
                </a:cubicBezTo>
                <a:cubicBezTo>
                  <a:pt x="5265" y="582"/>
                  <a:pt x="5266" y="580"/>
                  <a:pt x="5266" y="580"/>
                </a:cubicBezTo>
                <a:lnTo>
                  <a:pt x="5267" y="586"/>
                </a:lnTo>
                <a:lnTo>
                  <a:pt x="5267" y="588"/>
                </a:lnTo>
                <a:cubicBezTo>
                  <a:pt x="5267" y="593"/>
                  <a:pt x="5267" y="595"/>
                  <a:pt x="5265" y="595"/>
                </a:cubicBezTo>
                <a:close/>
                <a:moveTo>
                  <a:pt x="5280" y="565"/>
                </a:moveTo>
                <a:cubicBezTo>
                  <a:pt x="5280" y="565"/>
                  <a:pt x="5280" y="564"/>
                  <a:pt x="5279" y="563"/>
                </a:cubicBezTo>
                <a:cubicBezTo>
                  <a:pt x="5279" y="563"/>
                  <a:pt x="5278" y="563"/>
                  <a:pt x="5278" y="562"/>
                </a:cubicBezTo>
                <a:lnTo>
                  <a:pt x="5277" y="561"/>
                </a:lnTo>
                <a:cubicBezTo>
                  <a:pt x="5277" y="560"/>
                  <a:pt x="5278" y="560"/>
                  <a:pt x="5279" y="560"/>
                </a:cubicBezTo>
                <a:cubicBezTo>
                  <a:pt x="5280" y="560"/>
                  <a:pt x="5281" y="561"/>
                  <a:pt x="5281" y="562"/>
                </a:cubicBezTo>
                <a:cubicBezTo>
                  <a:pt x="5281" y="564"/>
                  <a:pt x="5281" y="565"/>
                  <a:pt x="5280" y="565"/>
                </a:cubicBezTo>
                <a:close/>
                <a:moveTo>
                  <a:pt x="5286" y="747"/>
                </a:moveTo>
                <a:cubicBezTo>
                  <a:pt x="5282" y="747"/>
                  <a:pt x="5277" y="747"/>
                  <a:pt x="5273" y="746"/>
                </a:cubicBezTo>
                <a:cubicBezTo>
                  <a:pt x="5261" y="743"/>
                  <a:pt x="5253" y="738"/>
                  <a:pt x="5249" y="732"/>
                </a:cubicBezTo>
                <a:cubicBezTo>
                  <a:pt x="5247" y="729"/>
                  <a:pt x="5245" y="728"/>
                  <a:pt x="5243" y="728"/>
                </a:cubicBezTo>
                <a:cubicBezTo>
                  <a:pt x="5241" y="728"/>
                  <a:pt x="5239" y="726"/>
                  <a:pt x="5236" y="722"/>
                </a:cubicBezTo>
                <a:cubicBezTo>
                  <a:pt x="5233" y="718"/>
                  <a:pt x="5230" y="714"/>
                  <a:pt x="5227" y="710"/>
                </a:cubicBezTo>
                <a:cubicBezTo>
                  <a:pt x="5225" y="705"/>
                  <a:pt x="5223" y="702"/>
                  <a:pt x="5223" y="699"/>
                </a:cubicBezTo>
                <a:lnTo>
                  <a:pt x="5224" y="696"/>
                </a:lnTo>
                <a:cubicBezTo>
                  <a:pt x="5224" y="696"/>
                  <a:pt x="5224" y="695"/>
                  <a:pt x="5223" y="695"/>
                </a:cubicBezTo>
                <a:cubicBezTo>
                  <a:pt x="5222" y="695"/>
                  <a:pt x="5221" y="689"/>
                  <a:pt x="5221" y="678"/>
                </a:cubicBezTo>
                <a:cubicBezTo>
                  <a:pt x="5221" y="667"/>
                  <a:pt x="5222" y="654"/>
                  <a:pt x="5223" y="638"/>
                </a:cubicBezTo>
                <a:cubicBezTo>
                  <a:pt x="5224" y="623"/>
                  <a:pt x="5226" y="612"/>
                  <a:pt x="5228" y="604"/>
                </a:cubicBezTo>
                <a:cubicBezTo>
                  <a:pt x="5230" y="599"/>
                  <a:pt x="5230" y="595"/>
                  <a:pt x="5230" y="592"/>
                </a:cubicBezTo>
                <a:lnTo>
                  <a:pt x="5230" y="589"/>
                </a:lnTo>
                <a:cubicBezTo>
                  <a:pt x="5230" y="588"/>
                  <a:pt x="5231" y="586"/>
                  <a:pt x="5232" y="585"/>
                </a:cubicBezTo>
                <a:cubicBezTo>
                  <a:pt x="5233" y="583"/>
                  <a:pt x="5234" y="581"/>
                  <a:pt x="5234" y="579"/>
                </a:cubicBezTo>
                <a:lnTo>
                  <a:pt x="5234" y="577"/>
                </a:lnTo>
                <a:cubicBezTo>
                  <a:pt x="5234" y="577"/>
                  <a:pt x="5234" y="576"/>
                  <a:pt x="5234" y="576"/>
                </a:cubicBezTo>
                <a:lnTo>
                  <a:pt x="5236" y="577"/>
                </a:lnTo>
                <a:cubicBezTo>
                  <a:pt x="5237" y="577"/>
                  <a:pt x="5237" y="577"/>
                  <a:pt x="5237" y="576"/>
                </a:cubicBezTo>
                <a:lnTo>
                  <a:pt x="5237" y="574"/>
                </a:lnTo>
                <a:cubicBezTo>
                  <a:pt x="5237" y="572"/>
                  <a:pt x="5239" y="566"/>
                  <a:pt x="5243" y="557"/>
                </a:cubicBezTo>
                <a:cubicBezTo>
                  <a:pt x="5247" y="549"/>
                  <a:pt x="5252" y="541"/>
                  <a:pt x="5258" y="533"/>
                </a:cubicBezTo>
                <a:cubicBezTo>
                  <a:pt x="5267" y="521"/>
                  <a:pt x="5274" y="515"/>
                  <a:pt x="5280" y="515"/>
                </a:cubicBezTo>
                <a:cubicBezTo>
                  <a:pt x="5281" y="515"/>
                  <a:pt x="5283" y="516"/>
                  <a:pt x="5284" y="516"/>
                </a:cubicBezTo>
                <a:cubicBezTo>
                  <a:pt x="5287" y="517"/>
                  <a:pt x="5290" y="518"/>
                  <a:pt x="5295" y="519"/>
                </a:cubicBezTo>
                <a:cubicBezTo>
                  <a:pt x="5299" y="520"/>
                  <a:pt x="5301" y="522"/>
                  <a:pt x="5301" y="523"/>
                </a:cubicBezTo>
                <a:lnTo>
                  <a:pt x="5299" y="529"/>
                </a:lnTo>
                <a:cubicBezTo>
                  <a:pt x="5299" y="531"/>
                  <a:pt x="5300" y="533"/>
                  <a:pt x="5302" y="533"/>
                </a:cubicBezTo>
                <a:cubicBezTo>
                  <a:pt x="5304" y="534"/>
                  <a:pt x="5305" y="535"/>
                  <a:pt x="5305" y="537"/>
                </a:cubicBezTo>
                <a:lnTo>
                  <a:pt x="5305" y="541"/>
                </a:lnTo>
                <a:cubicBezTo>
                  <a:pt x="5304" y="541"/>
                  <a:pt x="5304" y="540"/>
                  <a:pt x="5304" y="538"/>
                </a:cubicBezTo>
                <a:cubicBezTo>
                  <a:pt x="5303" y="536"/>
                  <a:pt x="5302" y="535"/>
                  <a:pt x="5301" y="535"/>
                </a:cubicBezTo>
                <a:cubicBezTo>
                  <a:pt x="5300" y="535"/>
                  <a:pt x="5299" y="537"/>
                  <a:pt x="5298" y="541"/>
                </a:cubicBezTo>
                <a:cubicBezTo>
                  <a:pt x="5297" y="546"/>
                  <a:pt x="5296" y="548"/>
                  <a:pt x="5295" y="548"/>
                </a:cubicBezTo>
                <a:lnTo>
                  <a:pt x="5293" y="547"/>
                </a:lnTo>
                <a:cubicBezTo>
                  <a:pt x="5293" y="547"/>
                  <a:pt x="5292" y="547"/>
                  <a:pt x="5292" y="548"/>
                </a:cubicBezTo>
                <a:cubicBezTo>
                  <a:pt x="5291" y="548"/>
                  <a:pt x="5290" y="549"/>
                  <a:pt x="5290" y="550"/>
                </a:cubicBezTo>
                <a:cubicBezTo>
                  <a:pt x="5290" y="550"/>
                  <a:pt x="5290" y="551"/>
                  <a:pt x="5291" y="551"/>
                </a:cubicBezTo>
                <a:lnTo>
                  <a:pt x="5293" y="550"/>
                </a:lnTo>
                <a:cubicBezTo>
                  <a:pt x="5294" y="550"/>
                  <a:pt x="5294" y="550"/>
                  <a:pt x="5294" y="551"/>
                </a:cubicBezTo>
                <a:cubicBezTo>
                  <a:pt x="5294" y="553"/>
                  <a:pt x="5293" y="555"/>
                  <a:pt x="5292" y="558"/>
                </a:cubicBezTo>
                <a:lnTo>
                  <a:pt x="5290" y="560"/>
                </a:lnTo>
                <a:lnTo>
                  <a:pt x="5292" y="554"/>
                </a:lnTo>
                <a:lnTo>
                  <a:pt x="5291" y="553"/>
                </a:lnTo>
                <a:cubicBezTo>
                  <a:pt x="5291" y="553"/>
                  <a:pt x="5290" y="554"/>
                  <a:pt x="5289" y="556"/>
                </a:cubicBezTo>
                <a:cubicBezTo>
                  <a:pt x="5287" y="558"/>
                  <a:pt x="5285" y="560"/>
                  <a:pt x="5284" y="560"/>
                </a:cubicBezTo>
                <a:cubicBezTo>
                  <a:pt x="5281" y="560"/>
                  <a:pt x="5279" y="556"/>
                  <a:pt x="5279" y="550"/>
                </a:cubicBezTo>
                <a:lnTo>
                  <a:pt x="5279" y="544"/>
                </a:lnTo>
                <a:cubicBezTo>
                  <a:pt x="5279" y="542"/>
                  <a:pt x="5278" y="541"/>
                  <a:pt x="5277" y="541"/>
                </a:cubicBezTo>
                <a:cubicBezTo>
                  <a:pt x="5277" y="541"/>
                  <a:pt x="5277" y="541"/>
                  <a:pt x="5276" y="541"/>
                </a:cubicBezTo>
                <a:cubicBezTo>
                  <a:pt x="5276" y="542"/>
                  <a:pt x="5275" y="543"/>
                  <a:pt x="5275" y="544"/>
                </a:cubicBezTo>
                <a:lnTo>
                  <a:pt x="5275" y="548"/>
                </a:lnTo>
                <a:cubicBezTo>
                  <a:pt x="5275" y="549"/>
                  <a:pt x="5275" y="551"/>
                  <a:pt x="5274" y="553"/>
                </a:cubicBezTo>
                <a:cubicBezTo>
                  <a:pt x="5274" y="556"/>
                  <a:pt x="5273" y="557"/>
                  <a:pt x="5272" y="559"/>
                </a:cubicBezTo>
                <a:cubicBezTo>
                  <a:pt x="5270" y="560"/>
                  <a:pt x="5270" y="561"/>
                  <a:pt x="5269" y="561"/>
                </a:cubicBezTo>
                <a:cubicBezTo>
                  <a:pt x="5269" y="561"/>
                  <a:pt x="5268" y="561"/>
                  <a:pt x="5268" y="561"/>
                </a:cubicBezTo>
                <a:lnTo>
                  <a:pt x="5267" y="560"/>
                </a:lnTo>
                <a:lnTo>
                  <a:pt x="5267" y="562"/>
                </a:lnTo>
                <a:cubicBezTo>
                  <a:pt x="5267" y="564"/>
                  <a:pt x="5265" y="571"/>
                  <a:pt x="5260" y="583"/>
                </a:cubicBezTo>
                <a:cubicBezTo>
                  <a:pt x="5253" y="598"/>
                  <a:pt x="5250" y="607"/>
                  <a:pt x="5250" y="611"/>
                </a:cubicBezTo>
                <a:lnTo>
                  <a:pt x="5250" y="612"/>
                </a:lnTo>
                <a:cubicBezTo>
                  <a:pt x="5250" y="612"/>
                  <a:pt x="5250" y="611"/>
                  <a:pt x="5250" y="610"/>
                </a:cubicBezTo>
                <a:cubicBezTo>
                  <a:pt x="5251" y="610"/>
                  <a:pt x="5251" y="609"/>
                  <a:pt x="5252" y="609"/>
                </a:cubicBezTo>
                <a:lnTo>
                  <a:pt x="5254" y="610"/>
                </a:lnTo>
                <a:lnTo>
                  <a:pt x="5255" y="609"/>
                </a:lnTo>
                <a:cubicBezTo>
                  <a:pt x="5255" y="608"/>
                  <a:pt x="5254" y="608"/>
                  <a:pt x="5254" y="607"/>
                </a:cubicBezTo>
                <a:cubicBezTo>
                  <a:pt x="5254" y="606"/>
                  <a:pt x="5254" y="605"/>
                  <a:pt x="5254" y="604"/>
                </a:cubicBezTo>
                <a:cubicBezTo>
                  <a:pt x="5254" y="602"/>
                  <a:pt x="5254" y="600"/>
                  <a:pt x="5255" y="598"/>
                </a:cubicBezTo>
                <a:cubicBezTo>
                  <a:pt x="5256" y="597"/>
                  <a:pt x="5257" y="596"/>
                  <a:pt x="5259" y="596"/>
                </a:cubicBezTo>
                <a:cubicBezTo>
                  <a:pt x="5259" y="596"/>
                  <a:pt x="5260" y="596"/>
                  <a:pt x="5261" y="597"/>
                </a:cubicBezTo>
                <a:cubicBezTo>
                  <a:pt x="5262" y="597"/>
                  <a:pt x="5262" y="598"/>
                  <a:pt x="5263" y="599"/>
                </a:cubicBezTo>
                <a:cubicBezTo>
                  <a:pt x="5264" y="600"/>
                  <a:pt x="5264" y="601"/>
                  <a:pt x="5264" y="602"/>
                </a:cubicBezTo>
                <a:cubicBezTo>
                  <a:pt x="5264" y="603"/>
                  <a:pt x="5264" y="603"/>
                  <a:pt x="5264" y="603"/>
                </a:cubicBezTo>
                <a:cubicBezTo>
                  <a:pt x="5263" y="603"/>
                  <a:pt x="5262" y="602"/>
                  <a:pt x="5261" y="600"/>
                </a:cubicBezTo>
                <a:lnTo>
                  <a:pt x="5258" y="597"/>
                </a:lnTo>
                <a:lnTo>
                  <a:pt x="5258" y="597"/>
                </a:lnTo>
                <a:cubicBezTo>
                  <a:pt x="5258" y="598"/>
                  <a:pt x="5259" y="599"/>
                  <a:pt x="5259" y="602"/>
                </a:cubicBezTo>
                <a:cubicBezTo>
                  <a:pt x="5260" y="604"/>
                  <a:pt x="5261" y="605"/>
                  <a:pt x="5261" y="606"/>
                </a:cubicBezTo>
                <a:cubicBezTo>
                  <a:pt x="5261" y="607"/>
                  <a:pt x="5260" y="607"/>
                  <a:pt x="5260" y="607"/>
                </a:cubicBezTo>
                <a:lnTo>
                  <a:pt x="5258" y="606"/>
                </a:lnTo>
                <a:cubicBezTo>
                  <a:pt x="5258" y="606"/>
                  <a:pt x="5258" y="607"/>
                  <a:pt x="5258" y="607"/>
                </a:cubicBezTo>
                <a:lnTo>
                  <a:pt x="5259" y="614"/>
                </a:lnTo>
                <a:cubicBezTo>
                  <a:pt x="5259" y="614"/>
                  <a:pt x="5259" y="614"/>
                  <a:pt x="5259" y="614"/>
                </a:cubicBezTo>
                <a:lnTo>
                  <a:pt x="5256" y="613"/>
                </a:lnTo>
                <a:cubicBezTo>
                  <a:pt x="5256" y="613"/>
                  <a:pt x="5255" y="614"/>
                  <a:pt x="5255" y="614"/>
                </a:cubicBezTo>
                <a:cubicBezTo>
                  <a:pt x="5255" y="615"/>
                  <a:pt x="5256" y="616"/>
                  <a:pt x="5256" y="617"/>
                </a:cubicBezTo>
                <a:cubicBezTo>
                  <a:pt x="5256" y="618"/>
                  <a:pt x="5256" y="619"/>
                  <a:pt x="5256" y="620"/>
                </a:cubicBezTo>
                <a:cubicBezTo>
                  <a:pt x="5256" y="622"/>
                  <a:pt x="5256" y="623"/>
                  <a:pt x="5255" y="623"/>
                </a:cubicBezTo>
                <a:cubicBezTo>
                  <a:pt x="5254" y="624"/>
                  <a:pt x="5254" y="625"/>
                  <a:pt x="5254" y="625"/>
                </a:cubicBezTo>
                <a:lnTo>
                  <a:pt x="5255" y="628"/>
                </a:lnTo>
                <a:cubicBezTo>
                  <a:pt x="5255" y="628"/>
                  <a:pt x="5255" y="628"/>
                  <a:pt x="5255" y="628"/>
                </a:cubicBezTo>
                <a:lnTo>
                  <a:pt x="5252" y="627"/>
                </a:lnTo>
                <a:cubicBezTo>
                  <a:pt x="5251" y="627"/>
                  <a:pt x="5251" y="628"/>
                  <a:pt x="5251" y="629"/>
                </a:cubicBezTo>
                <a:lnTo>
                  <a:pt x="5251" y="634"/>
                </a:lnTo>
                <a:cubicBezTo>
                  <a:pt x="5251" y="636"/>
                  <a:pt x="5251" y="638"/>
                  <a:pt x="5250" y="639"/>
                </a:cubicBezTo>
                <a:cubicBezTo>
                  <a:pt x="5249" y="642"/>
                  <a:pt x="5248" y="648"/>
                  <a:pt x="5247" y="657"/>
                </a:cubicBezTo>
                <a:cubicBezTo>
                  <a:pt x="5246" y="666"/>
                  <a:pt x="5246" y="674"/>
                  <a:pt x="5246" y="683"/>
                </a:cubicBezTo>
                <a:cubicBezTo>
                  <a:pt x="5246" y="690"/>
                  <a:pt x="5246" y="696"/>
                  <a:pt x="5247" y="701"/>
                </a:cubicBezTo>
                <a:cubicBezTo>
                  <a:pt x="5249" y="711"/>
                  <a:pt x="5256" y="716"/>
                  <a:pt x="5268" y="716"/>
                </a:cubicBezTo>
                <a:cubicBezTo>
                  <a:pt x="5297" y="716"/>
                  <a:pt x="5357" y="689"/>
                  <a:pt x="5448" y="637"/>
                </a:cubicBezTo>
                <a:lnTo>
                  <a:pt x="5548" y="578"/>
                </a:lnTo>
                <a:cubicBezTo>
                  <a:pt x="5573" y="563"/>
                  <a:pt x="5587" y="555"/>
                  <a:pt x="5590" y="555"/>
                </a:cubicBezTo>
                <a:lnTo>
                  <a:pt x="5591" y="555"/>
                </a:lnTo>
                <a:cubicBezTo>
                  <a:pt x="5592" y="555"/>
                  <a:pt x="5592" y="555"/>
                  <a:pt x="5592" y="554"/>
                </a:cubicBezTo>
                <a:cubicBezTo>
                  <a:pt x="5592" y="553"/>
                  <a:pt x="5592" y="552"/>
                  <a:pt x="5593" y="551"/>
                </a:cubicBezTo>
                <a:cubicBezTo>
                  <a:pt x="5594" y="551"/>
                  <a:pt x="5594" y="551"/>
                  <a:pt x="5595" y="551"/>
                </a:cubicBezTo>
                <a:cubicBezTo>
                  <a:pt x="5597" y="551"/>
                  <a:pt x="5598" y="550"/>
                  <a:pt x="5598" y="549"/>
                </a:cubicBezTo>
                <a:cubicBezTo>
                  <a:pt x="5598" y="548"/>
                  <a:pt x="5599" y="547"/>
                  <a:pt x="5599" y="547"/>
                </a:cubicBezTo>
                <a:lnTo>
                  <a:pt x="5602" y="548"/>
                </a:lnTo>
                <a:cubicBezTo>
                  <a:pt x="5602" y="548"/>
                  <a:pt x="5603" y="547"/>
                  <a:pt x="5603" y="546"/>
                </a:cubicBezTo>
                <a:cubicBezTo>
                  <a:pt x="5603" y="545"/>
                  <a:pt x="5604" y="545"/>
                  <a:pt x="5606" y="545"/>
                </a:cubicBezTo>
                <a:lnTo>
                  <a:pt x="5607" y="545"/>
                </a:lnTo>
                <a:cubicBezTo>
                  <a:pt x="5609" y="545"/>
                  <a:pt x="5612" y="543"/>
                  <a:pt x="5615" y="540"/>
                </a:cubicBezTo>
                <a:lnTo>
                  <a:pt x="5616" y="539"/>
                </a:lnTo>
                <a:cubicBezTo>
                  <a:pt x="5617" y="539"/>
                  <a:pt x="5619" y="540"/>
                  <a:pt x="5621" y="542"/>
                </a:cubicBezTo>
                <a:cubicBezTo>
                  <a:pt x="5623" y="544"/>
                  <a:pt x="5625" y="546"/>
                  <a:pt x="5627" y="548"/>
                </a:cubicBezTo>
                <a:cubicBezTo>
                  <a:pt x="5628" y="550"/>
                  <a:pt x="5629" y="551"/>
                  <a:pt x="5629" y="552"/>
                </a:cubicBezTo>
                <a:cubicBezTo>
                  <a:pt x="5629" y="555"/>
                  <a:pt x="5623" y="560"/>
                  <a:pt x="5611" y="568"/>
                </a:cubicBezTo>
                <a:cubicBezTo>
                  <a:pt x="5608" y="570"/>
                  <a:pt x="5606" y="571"/>
                  <a:pt x="5605" y="571"/>
                </a:cubicBezTo>
                <a:cubicBezTo>
                  <a:pt x="5604" y="571"/>
                  <a:pt x="5604" y="571"/>
                  <a:pt x="5604" y="570"/>
                </a:cubicBezTo>
                <a:cubicBezTo>
                  <a:pt x="5604" y="569"/>
                  <a:pt x="5604" y="568"/>
                  <a:pt x="5605" y="568"/>
                </a:cubicBezTo>
                <a:lnTo>
                  <a:pt x="5606" y="568"/>
                </a:lnTo>
                <a:cubicBezTo>
                  <a:pt x="5607" y="568"/>
                  <a:pt x="5607" y="568"/>
                  <a:pt x="5607" y="567"/>
                </a:cubicBezTo>
                <a:cubicBezTo>
                  <a:pt x="5607" y="566"/>
                  <a:pt x="5608" y="566"/>
                  <a:pt x="5609" y="565"/>
                </a:cubicBezTo>
                <a:cubicBezTo>
                  <a:pt x="5611" y="564"/>
                  <a:pt x="5612" y="563"/>
                  <a:pt x="5614" y="562"/>
                </a:cubicBezTo>
                <a:cubicBezTo>
                  <a:pt x="5616" y="561"/>
                  <a:pt x="5618" y="561"/>
                  <a:pt x="5620" y="559"/>
                </a:cubicBezTo>
                <a:cubicBezTo>
                  <a:pt x="5621" y="558"/>
                  <a:pt x="5622" y="557"/>
                  <a:pt x="5622" y="556"/>
                </a:cubicBezTo>
                <a:cubicBezTo>
                  <a:pt x="5622" y="554"/>
                  <a:pt x="5622" y="553"/>
                  <a:pt x="5621" y="553"/>
                </a:cubicBezTo>
                <a:cubicBezTo>
                  <a:pt x="5620" y="553"/>
                  <a:pt x="5618" y="554"/>
                  <a:pt x="5616" y="557"/>
                </a:cubicBezTo>
                <a:cubicBezTo>
                  <a:pt x="5613" y="560"/>
                  <a:pt x="5611" y="561"/>
                  <a:pt x="5610" y="561"/>
                </a:cubicBezTo>
                <a:lnTo>
                  <a:pt x="5609" y="561"/>
                </a:lnTo>
                <a:cubicBezTo>
                  <a:pt x="5607" y="561"/>
                  <a:pt x="5606" y="562"/>
                  <a:pt x="5604" y="564"/>
                </a:cubicBezTo>
                <a:cubicBezTo>
                  <a:pt x="5602" y="566"/>
                  <a:pt x="5600" y="568"/>
                  <a:pt x="5597" y="569"/>
                </a:cubicBezTo>
                <a:cubicBezTo>
                  <a:pt x="5594" y="571"/>
                  <a:pt x="5591" y="571"/>
                  <a:pt x="5590" y="571"/>
                </a:cubicBezTo>
                <a:lnTo>
                  <a:pt x="5588" y="571"/>
                </a:lnTo>
                <a:cubicBezTo>
                  <a:pt x="5587" y="571"/>
                  <a:pt x="5587" y="571"/>
                  <a:pt x="5586" y="573"/>
                </a:cubicBezTo>
                <a:cubicBezTo>
                  <a:pt x="5585" y="574"/>
                  <a:pt x="5584" y="576"/>
                  <a:pt x="5584" y="578"/>
                </a:cubicBezTo>
                <a:cubicBezTo>
                  <a:pt x="5583" y="580"/>
                  <a:pt x="5582" y="581"/>
                  <a:pt x="5582" y="583"/>
                </a:cubicBezTo>
                <a:lnTo>
                  <a:pt x="5582" y="586"/>
                </a:lnTo>
                <a:lnTo>
                  <a:pt x="5582" y="585"/>
                </a:lnTo>
                <a:cubicBezTo>
                  <a:pt x="5580" y="582"/>
                  <a:pt x="5579" y="580"/>
                  <a:pt x="5577" y="580"/>
                </a:cubicBezTo>
                <a:cubicBezTo>
                  <a:pt x="5575" y="580"/>
                  <a:pt x="5574" y="581"/>
                  <a:pt x="5573" y="583"/>
                </a:cubicBezTo>
                <a:cubicBezTo>
                  <a:pt x="5572" y="585"/>
                  <a:pt x="5572" y="586"/>
                  <a:pt x="5572" y="588"/>
                </a:cubicBezTo>
                <a:lnTo>
                  <a:pt x="5572" y="588"/>
                </a:lnTo>
                <a:cubicBezTo>
                  <a:pt x="5572" y="589"/>
                  <a:pt x="5571" y="589"/>
                  <a:pt x="5571" y="589"/>
                </a:cubicBezTo>
                <a:lnTo>
                  <a:pt x="5568" y="588"/>
                </a:lnTo>
                <a:cubicBezTo>
                  <a:pt x="5566" y="588"/>
                  <a:pt x="5566" y="590"/>
                  <a:pt x="5566" y="593"/>
                </a:cubicBezTo>
                <a:cubicBezTo>
                  <a:pt x="5566" y="596"/>
                  <a:pt x="5565" y="598"/>
                  <a:pt x="5563" y="598"/>
                </a:cubicBezTo>
                <a:cubicBezTo>
                  <a:pt x="5561" y="599"/>
                  <a:pt x="5560" y="600"/>
                  <a:pt x="5560" y="601"/>
                </a:cubicBezTo>
                <a:lnTo>
                  <a:pt x="5562" y="603"/>
                </a:lnTo>
                <a:lnTo>
                  <a:pt x="5561" y="604"/>
                </a:lnTo>
                <a:lnTo>
                  <a:pt x="5560" y="603"/>
                </a:lnTo>
                <a:cubicBezTo>
                  <a:pt x="5560" y="603"/>
                  <a:pt x="5560" y="603"/>
                  <a:pt x="5559" y="603"/>
                </a:cubicBezTo>
                <a:cubicBezTo>
                  <a:pt x="5558" y="603"/>
                  <a:pt x="5557" y="603"/>
                  <a:pt x="5556" y="604"/>
                </a:cubicBezTo>
                <a:cubicBezTo>
                  <a:pt x="5555" y="605"/>
                  <a:pt x="5554" y="605"/>
                  <a:pt x="5553" y="605"/>
                </a:cubicBezTo>
                <a:cubicBezTo>
                  <a:pt x="5553" y="605"/>
                  <a:pt x="5553" y="605"/>
                  <a:pt x="5553" y="604"/>
                </a:cubicBezTo>
                <a:cubicBezTo>
                  <a:pt x="5553" y="603"/>
                  <a:pt x="5554" y="601"/>
                  <a:pt x="5555" y="601"/>
                </a:cubicBezTo>
                <a:cubicBezTo>
                  <a:pt x="5556" y="600"/>
                  <a:pt x="5557" y="600"/>
                  <a:pt x="5557" y="599"/>
                </a:cubicBezTo>
                <a:cubicBezTo>
                  <a:pt x="5557" y="598"/>
                  <a:pt x="5556" y="596"/>
                  <a:pt x="5556" y="595"/>
                </a:cubicBezTo>
                <a:cubicBezTo>
                  <a:pt x="5555" y="593"/>
                  <a:pt x="5555" y="593"/>
                  <a:pt x="5554" y="593"/>
                </a:cubicBezTo>
                <a:cubicBezTo>
                  <a:pt x="5554" y="593"/>
                  <a:pt x="5553" y="593"/>
                  <a:pt x="5552" y="595"/>
                </a:cubicBezTo>
                <a:cubicBezTo>
                  <a:pt x="5549" y="598"/>
                  <a:pt x="5540" y="603"/>
                  <a:pt x="5524" y="612"/>
                </a:cubicBezTo>
                <a:cubicBezTo>
                  <a:pt x="5508" y="620"/>
                  <a:pt x="5500" y="625"/>
                  <a:pt x="5500" y="627"/>
                </a:cubicBezTo>
                <a:cubicBezTo>
                  <a:pt x="5500" y="628"/>
                  <a:pt x="5499" y="628"/>
                  <a:pt x="5497" y="628"/>
                </a:cubicBezTo>
                <a:cubicBezTo>
                  <a:pt x="5495" y="628"/>
                  <a:pt x="5494" y="629"/>
                  <a:pt x="5494" y="630"/>
                </a:cubicBezTo>
                <a:lnTo>
                  <a:pt x="5494" y="635"/>
                </a:lnTo>
                <a:cubicBezTo>
                  <a:pt x="5494" y="635"/>
                  <a:pt x="5493" y="634"/>
                  <a:pt x="5492" y="634"/>
                </a:cubicBezTo>
                <a:cubicBezTo>
                  <a:pt x="5492" y="633"/>
                  <a:pt x="5490" y="632"/>
                  <a:pt x="5490" y="632"/>
                </a:cubicBezTo>
                <a:cubicBezTo>
                  <a:pt x="5488" y="632"/>
                  <a:pt x="5486" y="633"/>
                  <a:pt x="5483" y="634"/>
                </a:cubicBezTo>
                <a:cubicBezTo>
                  <a:pt x="5481" y="635"/>
                  <a:pt x="5479" y="636"/>
                  <a:pt x="5477" y="638"/>
                </a:cubicBezTo>
                <a:cubicBezTo>
                  <a:pt x="5475" y="639"/>
                  <a:pt x="5474" y="641"/>
                  <a:pt x="5474" y="642"/>
                </a:cubicBezTo>
                <a:lnTo>
                  <a:pt x="5474" y="643"/>
                </a:lnTo>
                <a:lnTo>
                  <a:pt x="5474" y="646"/>
                </a:lnTo>
                <a:cubicBezTo>
                  <a:pt x="5472" y="648"/>
                  <a:pt x="5470" y="650"/>
                  <a:pt x="5468" y="650"/>
                </a:cubicBezTo>
                <a:cubicBezTo>
                  <a:pt x="5467" y="650"/>
                  <a:pt x="5467" y="649"/>
                  <a:pt x="5467" y="649"/>
                </a:cubicBezTo>
                <a:cubicBezTo>
                  <a:pt x="5467" y="648"/>
                  <a:pt x="5467" y="647"/>
                  <a:pt x="5468" y="646"/>
                </a:cubicBezTo>
                <a:cubicBezTo>
                  <a:pt x="5470" y="644"/>
                  <a:pt x="5470" y="643"/>
                  <a:pt x="5470" y="643"/>
                </a:cubicBezTo>
                <a:lnTo>
                  <a:pt x="5470" y="643"/>
                </a:lnTo>
                <a:cubicBezTo>
                  <a:pt x="5469" y="643"/>
                  <a:pt x="5465" y="644"/>
                  <a:pt x="5460" y="648"/>
                </a:cubicBezTo>
                <a:cubicBezTo>
                  <a:pt x="5455" y="652"/>
                  <a:pt x="5452" y="654"/>
                  <a:pt x="5452" y="655"/>
                </a:cubicBezTo>
                <a:cubicBezTo>
                  <a:pt x="5452" y="657"/>
                  <a:pt x="5451" y="658"/>
                  <a:pt x="5451" y="659"/>
                </a:cubicBezTo>
                <a:cubicBezTo>
                  <a:pt x="5450" y="660"/>
                  <a:pt x="5448" y="661"/>
                  <a:pt x="5446" y="661"/>
                </a:cubicBezTo>
                <a:cubicBezTo>
                  <a:pt x="5446" y="661"/>
                  <a:pt x="5447" y="660"/>
                  <a:pt x="5448" y="659"/>
                </a:cubicBezTo>
                <a:cubicBezTo>
                  <a:pt x="5450" y="658"/>
                  <a:pt x="5450" y="657"/>
                  <a:pt x="5450" y="656"/>
                </a:cubicBezTo>
                <a:cubicBezTo>
                  <a:pt x="5450" y="655"/>
                  <a:pt x="5450" y="655"/>
                  <a:pt x="5450" y="655"/>
                </a:cubicBezTo>
                <a:cubicBezTo>
                  <a:pt x="5448" y="655"/>
                  <a:pt x="5446" y="655"/>
                  <a:pt x="5444" y="657"/>
                </a:cubicBezTo>
                <a:cubicBezTo>
                  <a:pt x="5442" y="658"/>
                  <a:pt x="5441" y="659"/>
                  <a:pt x="5441" y="660"/>
                </a:cubicBezTo>
                <a:cubicBezTo>
                  <a:pt x="5441" y="661"/>
                  <a:pt x="5441" y="661"/>
                  <a:pt x="5442" y="661"/>
                </a:cubicBezTo>
                <a:cubicBezTo>
                  <a:pt x="5443" y="661"/>
                  <a:pt x="5443" y="661"/>
                  <a:pt x="5443" y="662"/>
                </a:cubicBezTo>
                <a:lnTo>
                  <a:pt x="5443" y="665"/>
                </a:lnTo>
                <a:cubicBezTo>
                  <a:pt x="5443" y="666"/>
                  <a:pt x="5443" y="668"/>
                  <a:pt x="5445" y="669"/>
                </a:cubicBezTo>
                <a:cubicBezTo>
                  <a:pt x="5446" y="671"/>
                  <a:pt x="5447" y="672"/>
                  <a:pt x="5447" y="673"/>
                </a:cubicBezTo>
                <a:cubicBezTo>
                  <a:pt x="5447" y="674"/>
                  <a:pt x="5446" y="674"/>
                  <a:pt x="5444" y="674"/>
                </a:cubicBezTo>
                <a:cubicBezTo>
                  <a:pt x="5441" y="674"/>
                  <a:pt x="5436" y="677"/>
                  <a:pt x="5428" y="681"/>
                </a:cubicBezTo>
                <a:cubicBezTo>
                  <a:pt x="5420" y="686"/>
                  <a:pt x="5416" y="689"/>
                  <a:pt x="5416" y="690"/>
                </a:cubicBezTo>
                <a:cubicBezTo>
                  <a:pt x="5416" y="691"/>
                  <a:pt x="5415" y="692"/>
                  <a:pt x="5413" y="692"/>
                </a:cubicBezTo>
                <a:lnTo>
                  <a:pt x="5409" y="692"/>
                </a:lnTo>
                <a:cubicBezTo>
                  <a:pt x="5406" y="692"/>
                  <a:pt x="5405" y="692"/>
                  <a:pt x="5405" y="693"/>
                </a:cubicBezTo>
                <a:cubicBezTo>
                  <a:pt x="5405" y="694"/>
                  <a:pt x="5404" y="694"/>
                  <a:pt x="5404" y="694"/>
                </a:cubicBezTo>
                <a:lnTo>
                  <a:pt x="5401" y="693"/>
                </a:lnTo>
                <a:cubicBezTo>
                  <a:pt x="5401" y="693"/>
                  <a:pt x="5401" y="693"/>
                  <a:pt x="5401" y="694"/>
                </a:cubicBezTo>
                <a:cubicBezTo>
                  <a:pt x="5401" y="695"/>
                  <a:pt x="5401" y="696"/>
                  <a:pt x="5402" y="697"/>
                </a:cubicBezTo>
                <a:cubicBezTo>
                  <a:pt x="5402" y="699"/>
                  <a:pt x="5403" y="699"/>
                  <a:pt x="5403" y="700"/>
                </a:cubicBezTo>
                <a:cubicBezTo>
                  <a:pt x="5402" y="700"/>
                  <a:pt x="5401" y="698"/>
                  <a:pt x="5399" y="696"/>
                </a:cubicBezTo>
                <a:cubicBezTo>
                  <a:pt x="5398" y="694"/>
                  <a:pt x="5396" y="693"/>
                  <a:pt x="5396" y="693"/>
                </a:cubicBezTo>
                <a:cubicBezTo>
                  <a:pt x="5396" y="693"/>
                  <a:pt x="5395" y="693"/>
                  <a:pt x="5395" y="694"/>
                </a:cubicBezTo>
                <a:cubicBezTo>
                  <a:pt x="5395" y="694"/>
                  <a:pt x="5396" y="696"/>
                  <a:pt x="5396" y="697"/>
                </a:cubicBezTo>
                <a:cubicBezTo>
                  <a:pt x="5397" y="698"/>
                  <a:pt x="5397" y="700"/>
                  <a:pt x="5397" y="701"/>
                </a:cubicBezTo>
                <a:cubicBezTo>
                  <a:pt x="5397" y="703"/>
                  <a:pt x="5396" y="704"/>
                  <a:pt x="5394" y="704"/>
                </a:cubicBezTo>
                <a:cubicBezTo>
                  <a:pt x="5393" y="704"/>
                  <a:pt x="5393" y="704"/>
                  <a:pt x="5393" y="703"/>
                </a:cubicBezTo>
                <a:lnTo>
                  <a:pt x="5393" y="700"/>
                </a:lnTo>
                <a:cubicBezTo>
                  <a:pt x="5393" y="699"/>
                  <a:pt x="5393" y="698"/>
                  <a:pt x="5391" y="698"/>
                </a:cubicBezTo>
                <a:cubicBezTo>
                  <a:pt x="5389" y="698"/>
                  <a:pt x="5388" y="700"/>
                  <a:pt x="5388" y="703"/>
                </a:cubicBezTo>
                <a:cubicBezTo>
                  <a:pt x="5388" y="706"/>
                  <a:pt x="5386" y="709"/>
                  <a:pt x="5382" y="711"/>
                </a:cubicBezTo>
                <a:cubicBezTo>
                  <a:pt x="5379" y="714"/>
                  <a:pt x="5376" y="715"/>
                  <a:pt x="5373" y="715"/>
                </a:cubicBezTo>
                <a:cubicBezTo>
                  <a:pt x="5372" y="715"/>
                  <a:pt x="5371" y="714"/>
                  <a:pt x="5370" y="713"/>
                </a:cubicBezTo>
                <a:cubicBezTo>
                  <a:pt x="5369" y="713"/>
                  <a:pt x="5368" y="712"/>
                  <a:pt x="5368" y="712"/>
                </a:cubicBezTo>
                <a:cubicBezTo>
                  <a:pt x="5368" y="713"/>
                  <a:pt x="5368" y="714"/>
                  <a:pt x="5368" y="716"/>
                </a:cubicBezTo>
                <a:lnTo>
                  <a:pt x="5368" y="716"/>
                </a:lnTo>
                <a:cubicBezTo>
                  <a:pt x="5368" y="719"/>
                  <a:pt x="5361" y="723"/>
                  <a:pt x="5348" y="729"/>
                </a:cubicBezTo>
                <a:cubicBezTo>
                  <a:pt x="5323" y="741"/>
                  <a:pt x="5302" y="747"/>
                  <a:pt x="5286" y="747"/>
                </a:cubicBezTo>
                <a:close/>
                <a:moveTo>
                  <a:pt x="5245" y="627"/>
                </a:moveTo>
                <a:cubicBezTo>
                  <a:pt x="5245" y="627"/>
                  <a:pt x="5246" y="627"/>
                  <a:pt x="5246" y="626"/>
                </a:cubicBezTo>
                <a:cubicBezTo>
                  <a:pt x="5247" y="625"/>
                  <a:pt x="5247" y="624"/>
                  <a:pt x="5248" y="622"/>
                </a:cubicBezTo>
                <a:cubicBezTo>
                  <a:pt x="5249" y="621"/>
                  <a:pt x="5249" y="620"/>
                  <a:pt x="5249" y="618"/>
                </a:cubicBezTo>
                <a:cubicBezTo>
                  <a:pt x="5249" y="618"/>
                  <a:pt x="5249" y="618"/>
                  <a:pt x="5248" y="618"/>
                </a:cubicBezTo>
                <a:cubicBezTo>
                  <a:pt x="5248" y="618"/>
                  <a:pt x="5247" y="618"/>
                  <a:pt x="5247" y="619"/>
                </a:cubicBezTo>
                <a:cubicBezTo>
                  <a:pt x="5246" y="620"/>
                  <a:pt x="5245" y="622"/>
                  <a:pt x="5245" y="623"/>
                </a:cubicBezTo>
                <a:cubicBezTo>
                  <a:pt x="5245" y="624"/>
                  <a:pt x="5244" y="625"/>
                  <a:pt x="5244" y="626"/>
                </a:cubicBezTo>
                <a:cubicBezTo>
                  <a:pt x="5244" y="627"/>
                  <a:pt x="5245" y="627"/>
                  <a:pt x="5245" y="627"/>
                </a:cubicBezTo>
                <a:close/>
                <a:moveTo>
                  <a:pt x="5269" y="734"/>
                </a:moveTo>
                <a:cubicBezTo>
                  <a:pt x="5271" y="734"/>
                  <a:pt x="5272" y="734"/>
                  <a:pt x="5272" y="733"/>
                </a:cubicBezTo>
                <a:lnTo>
                  <a:pt x="5272" y="732"/>
                </a:lnTo>
                <a:lnTo>
                  <a:pt x="5270" y="732"/>
                </a:lnTo>
                <a:cubicBezTo>
                  <a:pt x="5268" y="732"/>
                  <a:pt x="5267" y="732"/>
                  <a:pt x="5267" y="734"/>
                </a:cubicBezTo>
                <a:cubicBezTo>
                  <a:pt x="5267" y="734"/>
                  <a:pt x="5268" y="734"/>
                  <a:pt x="5269" y="734"/>
                </a:cubicBezTo>
                <a:close/>
                <a:moveTo>
                  <a:pt x="5374" y="712"/>
                </a:moveTo>
                <a:cubicBezTo>
                  <a:pt x="5376" y="712"/>
                  <a:pt x="5378" y="711"/>
                  <a:pt x="5378" y="710"/>
                </a:cubicBezTo>
                <a:cubicBezTo>
                  <a:pt x="5378" y="710"/>
                  <a:pt x="5378" y="709"/>
                  <a:pt x="5377" y="708"/>
                </a:cubicBezTo>
                <a:cubicBezTo>
                  <a:pt x="5376" y="707"/>
                  <a:pt x="5375" y="707"/>
                  <a:pt x="5375" y="707"/>
                </a:cubicBezTo>
                <a:cubicBezTo>
                  <a:pt x="5374" y="707"/>
                  <a:pt x="5374" y="708"/>
                  <a:pt x="5373" y="709"/>
                </a:cubicBezTo>
                <a:cubicBezTo>
                  <a:pt x="5371" y="710"/>
                  <a:pt x="5371" y="711"/>
                  <a:pt x="5370" y="711"/>
                </a:cubicBezTo>
                <a:lnTo>
                  <a:pt x="5374" y="712"/>
                </a:lnTo>
                <a:close/>
                <a:moveTo>
                  <a:pt x="5290" y="735"/>
                </a:moveTo>
                <a:cubicBezTo>
                  <a:pt x="5291" y="735"/>
                  <a:pt x="5297" y="733"/>
                  <a:pt x="5307" y="730"/>
                </a:cubicBezTo>
                <a:cubicBezTo>
                  <a:pt x="5310" y="730"/>
                  <a:pt x="5318" y="727"/>
                  <a:pt x="5331" y="722"/>
                </a:cubicBezTo>
                <a:cubicBezTo>
                  <a:pt x="5343" y="717"/>
                  <a:pt x="5350" y="714"/>
                  <a:pt x="5351" y="713"/>
                </a:cubicBezTo>
                <a:cubicBezTo>
                  <a:pt x="5351" y="713"/>
                  <a:pt x="5353" y="712"/>
                  <a:pt x="5357" y="712"/>
                </a:cubicBezTo>
                <a:cubicBezTo>
                  <a:pt x="5361" y="711"/>
                  <a:pt x="5365" y="709"/>
                  <a:pt x="5369" y="706"/>
                </a:cubicBezTo>
                <a:cubicBezTo>
                  <a:pt x="5374" y="704"/>
                  <a:pt x="5377" y="702"/>
                  <a:pt x="5378" y="702"/>
                </a:cubicBezTo>
                <a:cubicBezTo>
                  <a:pt x="5378" y="702"/>
                  <a:pt x="5379" y="703"/>
                  <a:pt x="5379" y="703"/>
                </a:cubicBezTo>
                <a:lnTo>
                  <a:pt x="5378" y="706"/>
                </a:lnTo>
                <a:cubicBezTo>
                  <a:pt x="5378" y="707"/>
                  <a:pt x="5378" y="708"/>
                  <a:pt x="5380" y="708"/>
                </a:cubicBezTo>
                <a:cubicBezTo>
                  <a:pt x="5381" y="708"/>
                  <a:pt x="5382" y="707"/>
                  <a:pt x="5384" y="706"/>
                </a:cubicBezTo>
                <a:cubicBezTo>
                  <a:pt x="5385" y="705"/>
                  <a:pt x="5386" y="705"/>
                  <a:pt x="5386" y="704"/>
                </a:cubicBezTo>
                <a:cubicBezTo>
                  <a:pt x="5386" y="704"/>
                  <a:pt x="5385" y="703"/>
                  <a:pt x="5384" y="702"/>
                </a:cubicBezTo>
                <a:cubicBezTo>
                  <a:pt x="5382" y="701"/>
                  <a:pt x="5381" y="701"/>
                  <a:pt x="5381" y="700"/>
                </a:cubicBezTo>
                <a:lnTo>
                  <a:pt x="5381" y="699"/>
                </a:lnTo>
                <a:cubicBezTo>
                  <a:pt x="5385" y="697"/>
                  <a:pt x="5390" y="694"/>
                  <a:pt x="5395" y="692"/>
                </a:cubicBezTo>
                <a:lnTo>
                  <a:pt x="5399" y="691"/>
                </a:lnTo>
                <a:cubicBezTo>
                  <a:pt x="5402" y="691"/>
                  <a:pt x="5403" y="690"/>
                  <a:pt x="5403" y="688"/>
                </a:cubicBezTo>
                <a:cubicBezTo>
                  <a:pt x="5403" y="687"/>
                  <a:pt x="5403" y="686"/>
                  <a:pt x="5401" y="686"/>
                </a:cubicBezTo>
                <a:cubicBezTo>
                  <a:pt x="5400" y="686"/>
                  <a:pt x="5397" y="688"/>
                  <a:pt x="5393" y="690"/>
                </a:cubicBezTo>
                <a:lnTo>
                  <a:pt x="5391" y="691"/>
                </a:lnTo>
                <a:cubicBezTo>
                  <a:pt x="5390" y="691"/>
                  <a:pt x="5390" y="690"/>
                  <a:pt x="5390" y="690"/>
                </a:cubicBezTo>
                <a:lnTo>
                  <a:pt x="5391" y="688"/>
                </a:lnTo>
                <a:cubicBezTo>
                  <a:pt x="5391" y="687"/>
                  <a:pt x="5391" y="687"/>
                  <a:pt x="5391" y="687"/>
                </a:cubicBezTo>
                <a:cubicBezTo>
                  <a:pt x="5390" y="687"/>
                  <a:pt x="5390" y="687"/>
                  <a:pt x="5389" y="688"/>
                </a:cubicBezTo>
                <a:cubicBezTo>
                  <a:pt x="5388" y="688"/>
                  <a:pt x="5387" y="688"/>
                  <a:pt x="5387" y="689"/>
                </a:cubicBezTo>
                <a:cubicBezTo>
                  <a:pt x="5386" y="690"/>
                  <a:pt x="5386" y="690"/>
                  <a:pt x="5386" y="691"/>
                </a:cubicBezTo>
                <a:lnTo>
                  <a:pt x="5386" y="691"/>
                </a:lnTo>
                <a:cubicBezTo>
                  <a:pt x="5386" y="693"/>
                  <a:pt x="5384" y="694"/>
                  <a:pt x="5381" y="694"/>
                </a:cubicBezTo>
                <a:cubicBezTo>
                  <a:pt x="5376" y="695"/>
                  <a:pt x="5366" y="699"/>
                  <a:pt x="5350" y="707"/>
                </a:cubicBezTo>
                <a:cubicBezTo>
                  <a:pt x="5338" y="713"/>
                  <a:pt x="5330" y="718"/>
                  <a:pt x="5324" y="720"/>
                </a:cubicBezTo>
                <a:cubicBezTo>
                  <a:pt x="5319" y="722"/>
                  <a:pt x="5315" y="723"/>
                  <a:pt x="5311" y="724"/>
                </a:cubicBezTo>
                <a:cubicBezTo>
                  <a:pt x="5308" y="725"/>
                  <a:pt x="5306" y="725"/>
                  <a:pt x="5306" y="727"/>
                </a:cubicBezTo>
                <a:cubicBezTo>
                  <a:pt x="5305" y="728"/>
                  <a:pt x="5304" y="728"/>
                  <a:pt x="5302" y="728"/>
                </a:cubicBezTo>
                <a:cubicBezTo>
                  <a:pt x="5302" y="728"/>
                  <a:pt x="5301" y="728"/>
                  <a:pt x="5300" y="728"/>
                </a:cubicBezTo>
                <a:cubicBezTo>
                  <a:pt x="5299" y="728"/>
                  <a:pt x="5298" y="728"/>
                  <a:pt x="5298" y="728"/>
                </a:cubicBezTo>
                <a:cubicBezTo>
                  <a:pt x="5297" y="728"/>
                  <a:pt x="5297" y="728"/>
                  <a:pt x="5297" y="728"/>
                </a:cubicBezTo>
                <a:lnTo>
                  <a:pt x="5298" y="730"/>
                </a:lnTo>
                <a:cubicBezTo>
                  <a:pt x="5298" y="731"/>
                  <a:pt x="5297" y="732"/>
                  <a:pt x="5296" y="732"/>
                </a:cubicBezTo>
                <a:lnTo>
                  <a:pt x="5287" y="730"/>
                </a:lnTo>
                <a:lnTo>
                  <a:pt x="5287" y="730"/>
                </a:lnTo>
                <a:lnTo>
                  <a:pt x="5288" y="731"/>
                </a:lnTo>
                <a:cubicBezTo>
                  <a:pt x="5289" y="732"/>
                  <a:pt x="5289" y="732"/>
                  <a:pt x="5289" y="733"/>
                </a:cubicBezTo>
                <a:lnTo>
                  <a:pt x="5289" y="735"/>
                </a:lnTo>
                <a:lnTo>
                  <a:pt x="5290" y="735"/>
                </a:lnTo>
                <a:close/>
                <a:moveTo>
                  <a:pt x="5396" y="686"/>
                </a:moveTo>
                <a:cubicBezTo>
                  <a:pt x="5398" y="686"/>
                  <a:pt x="5399" y="685"/>
                  <a:pt x="5399" y="683"/>
                </a:cubicBezTo>
                <a:lnTo>
                  <a:pt x="5400" y="683"/>
                </a:lnTo>
                <a:cubicBezTo>
                  <a:pt x="5400" y="683"/>
                  <a:pt x="5400" y="683"/>
                  <a:pt x="5399" y="683"/>
                </a:cubicBezTo>
                <a:lnTo>
                  <a:pt x="5398" y="683"/>
                </a:lnTo>
                <a:cubicBezTo>
                  <a:pt x="5395" y="684"/>
                  <a:pt x="5394" y="685"/>
                  <a:pt x="5394" y="686"/>
                </a:cubicBezTo>
                <a:cubicBezTo>
                  <a:pt x="5394" y="686"/>
                  <a:pt x="5395" y="686"/>
                  <a:pt x="5396" y="686"/>
                </a:cubicBezTo>
                <a:close/>
                <a:moveTo>
                  <a:pt x="5276" y="727"/>
                </a:moveTo>
                <a:cubicBezTo>
                  <a:pt x="5280" y="727"/>
                  <a:pt x="5285" y="726"/>
                  <a:pt x="5290" y="725"/>
                </a:cubicBezTo>
                <a:cubicBezTo>
                  <a:pt x="5293" y="724"/>
                  <a:pt x="5295" y="724"/>
                  <a:pt x="5298" y="723"/>
                </a:cubicBezTo>
                <a:cubicBezTo>
                  <a:pt x="5300" y="722"/>
                  <a:pt x="5302" y="722"/>
                  <a:pt x="5302" y="722"/>
                </a:cubicBezTo>
                <a:cubicBezTo>
                  <a:pt x="5303" y="721"/>
                  <a:pt x="5304" y="721"/>
                  <a:pt x="5305" y="721"/>
                </a:cubicBezTo>
                <a:cubicBezTo>
                  <a:pt x="5306" y="720"/>
                  <a:pt x="5306" y="720"/>
                  <a:pt x="5307" y="719"/>
                </a:cubicBezTo>
                <a:cubicBezTo>
                  <a:pt x="5307" y="718"/>
                  <a:pt x="5309" y="718"/>
                  <a:pt x="5311" y="718"/>
                </a:cubicBezTo>
                <a:cubicBezTo>
                  <a:pt x="5313" y="718"/>
                  <a:pt x="5319" y="716"/>
                  <a:pt x="5328" y="712"/>
                </a:cubicBezTo>
                <a:cubicBezTo>
                  <a:pt x="5337" y="708"/>
                  <a:pt x="5346" y="705"/>
                  <a:pt x="5355" y="700"/>
                </a:cubicBezTo>
                <a:cubicBezTo>
                  <a:pt x="5361" y="697"/>
                  <a:pt x="5366" y="695"/>
                  <a:pt x="5370" y="694"/>
                </a:cubicBezTo>
                <a:cubicBezTo>
                  <a:pt x="5372" y="694"/>
                  <a:pt x="5373" y="693"/>
                  <a:pt x="5374" y="691"/>
                </a:cubicBezTo>
                <a:cubicBezTo>
                  <a:pt x="5375" y="690"/>
                  <a:pt x="5376" y="690"/>
                  <a:pt x="5376" y="690"/>
                </a:cubicBezTo>
                <a:lnTo>
                  <a:pt x="5378" y="690"/>
                </a:lnTo>
                <a:cubicBezTo>
                  <a:pt x="5378" y="690"/>
                  <a:pt x="5379" y="689"/>
                  <a:pt x="5379" y="688"/>
                </a:cubicBezTo>
                <a:cubicBezTo>
                  <a:pt x="5379" y="687"/>
                  <a:pt x="5380" y="687"/>
                  <a:pt x="5381" y="687"/>
                </a:cubicBezTo>
                <a:cubicBezTo>
                  <a:pt x="5383" y="687"/>
                  <a:pt x="5385" y="686"/>
                  <a:pt x="5386" y="686"/>
                </a:cubicBezTo>
                <a:cubicBezTo>
                  <a:pt x="5388" y="683"/>
                  <a:pt x="5391" y="682"/>
                  <a:pt x="5393" y="681"/>
                </a:cubicBezTo>
                <a:cubicBezTo>
                  <a:pt x="5395" y="681"/>
                  <a:pt x="5396" y="680"/>
                  <a:pt x="5397" y="679"/>
                </a:cubicBezTo>
                <a:cubicBezTo>
                  <a:pt x="5398" y="678"/>
                  <a:pt x="5399" y="678"/>
                  <a:pt x="5400" y="678"/>
                </a:cubicBezTo>
                <a:cubicBezTo>
                  <a:pt x="5404" y="677"/>
                  <a:pt x="5407" y="677"/>
                  <a:pt x="5407" y="676"/>
                </a:cubicBezTo>
                <a:lnTo>
                  <a:pt x="5406" y="674"/>
                </a:lnTo>
                <a:cubicBezTo>
                  <a:pt x="5406" y="674"/>
                  <a:pt x="5408" y="674"/>
                  <a:pt x="5410" y="674"/>
                </a:cubicBezTo>
                <a:cubicBezTo>
                  <a:pt x="5412" y="674"/>
                  <a:pt x="5413" y="674"/>
                  <a:pt x="5413" y="674"/>
                </a:cubicBezTo>
                <a:cubicBezTo>
                  <a:pt x="5413" y="674"/>
                  <a:pt x="5412" y="675"/>
                  <a:pt x="5410" y="676"/>
                </a:cubicBezTo>
                <a:cubicBezTo>
                  <a:pt x="5409" y="677"/>
                  <a:pt x="5408" y="678"/>
                  <a:pt x="5408" y="679"/>
                </a:cubicBezTo>
                <a:cubicBezTo>
                  <a:pt x="5408" y="679"/>
                  <a:pt x="5409" y="680"/>
                  <a:pt x="5410" y="680"/>
                </a:cubicBezTo>
                <a:lnTo>
                  <a:pt x="5411" y="681"/>
                </a:lnTo>
                <a:cubicBezTo>
                  <a:pt x="5411" y="681"/>
                  <a:pt x="5410" y="681"/>
                  <a:pt x="5410" y="681"/>
                </a:cubicBezTo>
                <a:lnTo>
                  <a:pt x="5404" y="680"/>
                </a:lnTo>
                <a:cubicBezTo>
                  <a:pt x="5404" y="680"/>
                  <a:pt x="5404" y="681"/>
                  <a:pt x="5405" y="681"/>
                </a:cubicBezTo>
                <a:cubicBezTo>
                  <a:pt x="5406" y="681"/>
                  <a:pt x="5406" y="682"/>
                  <a:pt x="5406" y="683"/>
                </a:cubicBezTo>
                <a:lnTo>
                  <a:pt x="5406" y="685"/>
                </a:lnTo>
                <a:cubicBezTo>
                  <a:pt x="5406" y="686"/>
                  <a:pt x="5406" y="687"/>
                  <a:pt x="5408" y="687"/>
                </a:cubicBezTo>
                <a:cubicBezTo>
                  <a:pt x="5409" y="687"/>
                  <a:pt x="5410" y="685"/>
                  <a:pt x="5413" y="681"/>
                </a:cubicBezTo>
                <a:cubicBezTo>
                  <a:pt x="5413" y="679"/>
                  <a:pt x="5415" y="678"/>
                  <a:pt x="5416" y="676"/>
                </a:cubicBezTo>
                <a:cubicBezTo>
                  <a:pt x="5417" y="675"/>
                  <a:pt x="5418" y="674"/>
                  <a:pt x="5419" y="674"/>
                </a:cubicBezTo>
                <a:cubicBezTo>
                  <a:pt x="5420" y="674"/>
                  <a:pt x="5420" y="675"/>
                  <a:pt x="5420" y="675"/>
                </a:cubicBezTo>
                <a:cubicBezTo>
                  <a:pt x="5420" y="675"/>
                  <a:pt x="5420" y="676"/>
                  <a:pt x="5419" y="676"/>
                </a:cubicBezTo>
                <a:cubicBezTo>
                  <a:pt x="5417" y="677"/>
                  <a:pt x="5417" y="678"/>
                  <a:pt x="5417" y="679"/>
                </a:cubicBezTo>
                <a:cubicBezTo>
                  <a:pt x="5417" y="680"/>
                  <a:pt x="5418" y="681"/>
                  <a:pt x="5419" y="681"/>
                </a:cubicBezTo>
                <a:cubicBezTo>
                  <a:pt x="5420" y="681"/>
                  <a:pt x="5421" y="680"/>
                  <a:pt x="5421" y="679"/>
                </a:cubicBezTo>
                <a:cubicBezTo>
                  <a:pt x="5421" y="679"/>
                  <a:pt x="5421" y="678"/>
                  <a:pt x="5421" y="676"/>
                </a:cubicBezTo>
                <a:lnTo>
                  <a:pt x="5421" y="673"/>
                </a:lnTo>
                <a:cubicBezTo>
                  <a:pt x="5421" y="672"/>
                  <a:pt x="5421" y="671"/>
                  <a:pt x="5420" y="669"/>
                </a:cubicBezTo>
                <a:cubicBezTo>
                  <a:pt x="5419" y="668"/>
                  <a:pt x="5419" y="666"/>
                  <a:pt x="5419" y="666"/>
                </a:cubicBezTo>
                <a:cubicBezTo>
                  <a:pt x="5419" y="666"/>
                  <a:pt x="5419" y="665"/>
                  <a:pt x="5419" y="665"/>
                </a:cubicBezTo>
                <a:lnTo>
                  <a:pt x="5423" y="666"/>
                </a:lnTo>
                <a:cubicBezTo>
                  <a:pt x="5425" y="666"/>
                  <a:pt x="5426" y="665"/>
                  <a:pt x="5426" y="664"/>
                </a:cubicBezTo>
                <a:lnTo>
                  <a:pt x="5426" y="663"/>
                </a:lnTo>
                <a:cubicBezTo>
                  <a:pt x="5426" y="662"/>
                  <a:pt x="5429" y="661"/>
                  <a:pt x="5435" y="661"/>
                </a:cubicBezTo>
                <a:cubicBezTo>
                  <a:pt x="5435" y="662"/>
                  <a:pt x="5433" y="664"/>
                  <a:pt x="5430" y="666"/>
                </a:cubicBezTo>
                <a:cubicBezTo>
                  <a:pt x="5426" y="668"/>
                  <a:pt x="5424" y="669"/>
                  <a:pt x="5424" y="670"/>
                </a:cubicBezTo>
                <a:lnTo>
                  <a:pt x="5424" y="670"/>
                </a:lnTo>
                <a:cubicBezTo>
                  <a:pt x="5426" y="670"/>
                  <a:pt x="5426" y="671"/>
                  <a:pt x="5426" y="672"/>
                </a:cubicBezTo>
                <a:lnTo>
                  <a:pt x="5426" y="673"/>
                </a:lnTo>
                <a:cubicBezTo>
                  <a:pt x="5426" y="674"/>
                  <a:pt x="5427" y="675"/>
                  <a:pt x="5429" y="676"/>
                </a:cubicBezTo>
                <a:lnTo>
                  <a:pt x="5431" y="676"/>
                </a:lnTo>
                <a:lnTo>
                  <a:pt x="5431" y="676"/>
                </a:lnTo>
                <a:lnTo>
                  <a:pt x="5429" y="675"/>
                </a:lnTo>
                <a:cubicBezTo>
                  <a:pt x="5428" y="674"/>
                  <a:pt x="5427" y="673"/>
                  <a:pt x="5427" y="673"/>
                </a:cubicBezTo>
                <a:cubicBezTo>
                  <a:pt x="5427" y="673"/>
                  <a:pt x="5427" y="672"/>
                  <a:pt x="5428" y="672"/>
                </a:cubicBezTo>
                <a:cubicBezTo>
                  <a:pt x="5429" y="672"/>
                  <a:pt x="5430" y="672"/>
                  <a:pt x="5430" y="671"/>
                </a:cubicBezTo>
                <a:cubicBezTo>
                  <a:pt x="5430" y="671"/>
                  <a:pt x="5431" y="670"/>
                  <a:pt x="5431" y="670"/>
                </a:cubicBezTo>
                <a:cubicBezTo>
                  <a:pt x="5431" y="668"/>
                  <a:pt x="5431" y="667"/>
                  <a:pt x="5433" y="666"/>
                </a:cubicBezTo>
                <a:cubicBezTo>
                  <a:pt x="5434" y="666"/>
                  <a:pt x="5435" y="666"/>
                  <a:pt x="5435" y="667"/>
                </a:cubicBezTo>
                <a:lnTo>
                  <a:pt x="5435" y="668"/>
                </a:lnTo>
                <a:cubicBezTo>
                  <a:pt x="5435" y="668"/>
                  <a:pt x="5435" y="668"/>
                  <a:pt x="5435" y="669"/>
                </a:cubicBezTo>
                <a:cubicBezTo>
                  <a:pt x="5436" y="669"/>
                  <a:pt x="5436" y="669"/>
                  <a:pt x="5436" y="669"/>
                </a:cubicBezTo>
                <a:cubicBezTo>
                  <a:pt x="5438" y="669"/>
                  <a:pt x="5438" y="665"/>
                  <a:pt x="5438" y="660"/>
                </a:cubicBezTo>
                <a:cubicBezTo>
                  <a:pt x="5438" y="656"/>
                  <a:pt x="5438" y="654"/>
                  <a:pt x="5437" y="653"/>
                </a:cubicBezTo>
                <a:cubicBezTo>
                  <a:pt x="5435" y="653"/>
                  <a:pt x="5422" y="659"/>
                  <a:pt x="5399" y="671"/>
                </a:cubicBezTo>
                <a:cubicBezTo>
                  <a:pt x="5354" y="694"/>
                  <a:pt x="5326" y="707"/>
                  <a:pt x="5314" y="710"/>
                </a:cubicBezTo>
                <a:lnTo>
                  <a:pt x="5298" y="714"/>
                </a:lnTo>
                <a:cubicBezTo>
                  <a:pt x="5290" y="717"/>
                  <a:pt x="5281" y="718"/>
                  <a:pt x="5269" y="718"/>
                </a:cubicBezTo>
                <a:cubicBezTo>
                  <a:pt x="5260" y="718"/>
                  <a:pt x="5255" y="718"/>
                  <a:pt x="5255" y="720"/>
                </a:cubicBezTo>
                <a:cubicBezTo>
                  <a:pt x="5255" y="721"/>
                  <a:pt x="5257" y="722"/>
                  <a:pt x="5262" y="724"/>
                </a:cubicBezTo>
                <a:cubicBezTo>
                  <a:pt x="5267" y="726"/>
                  <a:pt x="5271" y="727"/>
                  <a:pt x="5276" y="727"/>
                </a:cubicBezTo>
                <a:close/>
                <a:moveTo>
                  <a:pt x="5444" y="652"/>
                </a:moveTo>
                <a:cubicBezTo>
                  <a:pt x="5446" y="652"/>
                  <a:pt x="5446" y="651"/>
                  <a:pt x="5446" y="650"/>
                </a:cubicBezTo>
                <a:cubicBezTo>
                  <a:pt x="5446" y="649"/>
                  <a:pt x="5446" y="648"/>
                  <a:pt x="5446" y="648"/>
                </a:cubicBezTo>
                <a:lnTo>
                  <a:pt x="5444" y="647"/>
                </a:lnTo>
                <a:cubicBezTo>
                  <a:pt x="5443" y="647"/>
                  <a:pt x="5443" y="647"/>
                  <a:pt x="5442" y="648"/>
                </a:cubicBezTo>
                <a:cubicBezTo>
                  <a:pt x="5441" y="649"/>
                  <a:pt x="5440" y="649"/>
                  <a:pt x="5440" y="650"/>
                </a:cubicBezTo>
                <a:cubicBezTo>
                  <a:pt x="5440" y="650"/>
                  <a:pt x="5441" y="651"/>
                  <a:pt x="5442" y="652"/>
                </a:cubicBezTo>
                <a:lnTo>
                  <a:pt x="5444" y="652"/>
                </a:lnTo>
                <a:close/>
                <a:moveTo>
                  <a:pt x="5450" y="650"/>
                </a:moveTo>
                <a:cubicBezTo>
                  <a:pt x="5451" y="650"/>
                  <a:pt x="5452" y="650"/>
                  <a:pt x="5453" y="649"/>
                </a:cubicBezTo>
                <a:cubicBezTo>
                  <a:pt x="5455" y="648"/>
                  <a:pt x="5456" y="647"/>
                  <a:pt x="5456" y="645"/>
                </a:cubicBezTo>
                <a:lnTo>
                  <a:pt x="5456" y="644"/>
                </a:lnTo>
                <a:cubicBezTo>
                  <a:pt x="5455" y="643"/>
                  <a:pt x="5455" y="643"/>
                  <a:pt x="5453" y="643"/>
                </a:cubicBezTo>
                <a:cubicBezTo>
                  <a:pt x="5453" y="643"/>
                  <a:pt x="5452" y="643"/>
                  <a:pt x="5451" y="644"/>
                </a:cubicBezTo>
                <a:cubicBezTo>
                  <a:pt x="5450" y="645"/>
                  <a:pt x="5450" y="647"/>
                  <a:pt x="5450" y="649"/>
                </a:cubicBezTo>
                <a:cubicBezTo>
                  <a:pt x="5450" y="649"/>
                  <a:pt x="5450" y="650"/>
                  <a:pt x="5450" y="650"/>
                </a:cubicBezTo>
                <a:close/>
                <a:moveTo>
                  <a:pt x="5561" y="597"/>
                </a:moveTo>
                <a:cubicBezTo>
                  <a:pt x="5562" y="597"/>
                  <a:pt x="5563" y="595"/>
                  <a:pt x="5563" y="593"/>
                </a:cubicBezTo>
                <a:cubicBezTo>
                  <a:pt x="5563" y="592"/>
                  <a:pt x="5562" y="591"/>
                  <a:pt x="5562" y="591"/>
                </a:cubicBezTo>
                <a:lnTo>
                  <a:pt x="5560" y="592"/>
                </a:lnTo>
                <a:cubicBezTo>
                  <a:pt x="5560" y="592"/>
                  <a:pt x="5560" y="593"/>
                  <a:pt x="5560" y="595"/>
                </a:cubicBezTo>
                <a:cubicBezTo>
                  <a:pt x="5560" y="595"/>
                  <a:pt x="5560" y="595"/>
                  <a:pt x="5560" y="595"/>
                </a:cubicBezTo>
                <a:cubicBezTo>
                  <a:pt x="5560" y="596"/>
                  <a:pt x="5560" y="596"/>
                  <a:pt x="5561" y="597"/>
                </a:cubicBezTo>
                <a:close/>
                <a:moveTo>
                  <a:pt x="5270" y="576"/>
                </a:moveTo>
                <a:cubicBezTo>
                  <a:pt x="5270" y="576"/>
                  <a:pt x="5269" y="576"/>
                  <a:pt x="5269" y="575"/>
                </a:cubicBezTo>
                <a:cubicBezTo>
                  <a:pt x="5269" y="575"/>
                  <a:pt x="5270" y="574"/>
                  <a:pt x="5271" y="573"/>
                </a:cubicBezTo>
                <a:cubicBezTo>
                  <a:pt x="5272" y="572"/>
                  <a:pt x="5273" y="571"/>
                  <a:pt x="5274" y="570"/>
                </a:cubicBezTo>
                <a:cubicBezTo>
                  <a:pt x="5275" y="570"/>
                  <a:pt x="5276" y="569"/>
                  <a:pt x="5276" y="569"/>
                </a:cubicBezTo>
                <a:cubicBezTo>
                  <a:pt x="5276" y="569"/>
                  <a:pt x="5277" y="570"/>
                  <a:pt x="5277" y="570"/>
                </a:cubicBezTo>
                <a:cubicBezTo>
                  <a:pt x="5277" y="570"/>
                  <a:pt x="5276" y="571"/>
                  <a:pt x="5274" y="573"/>
                </a:cubicBezTo>
                <a:cubicBezTo>
                  <a:pt x="5273" y="575"/>
                  <a:pt x="5271" y="576"/>
                  <a:pt x="5270" y="576"/>
                </a:cubicBezTo>
                <a:close/>
                <a:moveTo>
                  <a:pt x="5593" y="578"/>
                </a:moveTo>
                <a:cubicBezTo>
                  <a:pt x="5593" y="578"/>
                  <a:pt x="5593" y="578"/>
                  <a:pt x="5593" y="578"/>
                </a:cubicBezTo>
                <a:cubicBezTo>
                  <a:pt x="5593" y="577"/>
                  <a:pt x="5594" y="576"/>
                  <a:pt x="5595" y="575"/>
                </a:cubicBezTo>
                <a:cubicBezTo>
                  <a:pt x="5597" y="573"/>
                  <a:pt x="5599" y="572"/>
                  <a:pt x="5599" y="572"/>
                </a:cubicBezTo>
                <a:cubicBezTo>
                  <a:pt x="5600" y="572"/>
                  <a:pt x="5600" y="573"/>
                  <a:pt x="5600" y="573"/>
                </a:cubicBezTo>
                <a:lnTo>
                  <a:pt x="5601" y="573"/>
                </a:lnTo>
                <a:cubicBezTo>
                  <a:pt x="5601" y="574"/>
                  <a:pt x="5600" y="575"/>
                  <a:pt x="5599" y="576"/>
                </a:cubicBezTo>
                <a:cubicBezTo>
                  <a:pt x="5599" y="576"/>
                  <a:pt x="5597" y="577"/>
                  <a:pt x="5596" y="578"/>
                </a:cubicBezTo>
                <a:cubicBezTo>
                  <a:pt x="5595" y="578"/>
                  <a:pt x="5594" y="578"/>
                  <a:pt x="5593" y="578"/>
                </a:cubicBezTo>
                <a:close/>
                <a:moveTo>
                  <a:pt x="5250" y="679"/>
                </a:moveTo>
                <a:cubicBezTo>
                  <a:pt x="5250" y="679"/>
                  <a:pt x="5249" y="678"/>
                  <a:pt x="5249" y="676"/>
                </a:cubicBezTo>
                <a:cubicBezTo>
                  <a:pt x="5249" y="674"/>
                  <a:pt x="5250" y="674"/>
                  <a:pt x="5250" y="674"/>
                </a:cubicBezTo>
                <a:cubicBezTo>
                  <a:pt x="5250" y="674"/>
                  <a:pt x="5251" y="674"/>
                  <a:pt x="5252" y="674"/>
                </a:cubicBezTo>
                <a:cubicBezTo>
                  <a:pt x="5252" y="674"/>
                  <a:pt x="5252" y="675"/>
                  <a:pt x="5252" y="676"/>
                </a:cubicBezTo>
                <a:cubicBezTo>
                  <a:pt x="5252" y="676"/>
                  <a:pt x="5252" y="677"/>
                  <a:pt x="5252" y="678"/>
                </a:cubicBezTo>
                <a:cubicBezTo>
                  <a:pt x="5251" y="679"/>
                  <a:pt x="5250" y="679"/>
                  <a:pt x="5250" y="679"/>
                </a:cubicBezTo>
                <a:close/>
                <a:moveTo>
                  <a:pt x="5458" y="656"/>
                </a:moveTo>
                <a:cubicBezTo>
                  <a:pt x="5457" y="656"/>
                  <a:pt x="5457" y="656"/>
                  <a:pt x="5457" y="654"/>
                </a:cubicBezTo>
                <a:cubicBezTo>
                  <a:pt x="5457" y="654"/>
                  <a:pt x="5458" y="653"/>
                  <a:pt x="5458" y="652"/>
                </a:cubicBezTo>
                <a:cubicBezTo>
                  <a:pt x="5459" y="652"/>
                  <a:pt x="5460" y="652"/>
                  <a:pt x="5461" y="651"/>
                </a:cubicBezTo>
                <a:cubicBezTo>
                  <a:pt x="5462" y="650"/>
                  <a:pt x="5463" y="650"/>
                  <a:pt x="5463" y="650"/>
                </a:cubicBezTo>
                <a:lnTo>
                  <a:pt x="5463" y="650"/>
                </a:lnTo>
                <a:lnTo>
                  <a:pt x="5462" y="653"/>
                </a:lnTo>
                <a:cubicBezTo>
                  <a:pt x="5460" y="655"/>
                  <a:pt x="5459" y="656"/>
                  <a:pt x="5458" y="656"/>
                </a:cubicBezTo>
                <a:close/>
                <a:moveTo>
                  <a:pt x="5508" y="633"/>
                </a:moveTo>
                <a:lnTo>
                  <a:pt x="5505" y="633"/>
                </a:lnTo>
                <a:cubicBezTo>
                  <a:pt x="5505" y="633"/>
                  <a:pt x="5506" y="632"/>
                  <a:pt x="5507" y="632"/>
                </a:cubicBezTo>
                <a:cubicBezTo>
                  <a:pt x="5510" y="631"/>
                  <a:pt x="5512" y="630"/>
                  <a:pt x="5514" y="627"/>
                </a:cubicBezTo>
                <a:cubicBezTo>
                  <a:pt x="5516" y="626"/>
                  <a:pt x="5518" y="625"/>
                  <a:pt x="5520" y="625"/>
                </a:cubicBezTo>
                <a:cubicBezTo>
                  <a:pt x="5521" y="625"/>
                  <a:pt x="5522" y="625"/>
                  <a:pt x="5522" y="626"/>
                </a:cubicBezTo>
                <a:lnTo>
                  <a:pt x="5519" y="626"/>
                </a:lnTo>
                <a:cubicBezTo>
                  <a:pt x="5517" y="626"/>
                  <a:pt x="5515" y="627"/>
                  <a:pt x="5513" y="630"/>
                </a:cubicBezTo>
                <a:cubicBezTo>
                  <a:pt x="5512" y="632"/>
                  <a:pt x="5510" y="633"/>
                  <a:pt x="5508" y="633"/>
                </a:cubicBezTo>
                <a:close/>
                <a:moveTo>
                  <a:pt x="5491" y="644"/>
                </a:moveTo>
                <a:cubicBezTo>
                  <a:pt x="5490" y="644"/>
                  <a:pt x="5490" y="643"/>
                  <a:pt x="5490" y="643"/>
                </a:cubicBezTo>
                <a:cubicBezTo>
                  <a:pt x="5490" y="642"/>
                  <a:pt x="5492" y="640"/>
                  <a:pt x="5497" y="638"/>
                </a:cubicBezTo>
                <a:cubicBezTo>
                  <a:pt x="5499" y="637"/>
                  <a:pt x="5501" y="637"/>
                  <a:pt x="5502" y="637"/>
                </a:cubicBezTo>
                <a:lnTo>
                  <a:pt x="5502" y="637"/>
                </a:lnTo>
                <a:cubicBezTo>
                  <a:pt x="5502" y="637"/>
                  <a:pt x="5502" y="638"/>
                  <a:pt x="5500" y="639"/>
                </a:cubicBezTo>
                <a:cubicBezTo>
                  <a:pt x="5499" y="640"/>
                  <a:pt x="5498" y="641"/>
                  <a:pt x="5496" y="642"/>
                </a:cubicBezTo>
                <a:cubicBezTo>
                  <a:pt x="5494" y="643"/>
                  <a:pt x="5492" y="644"/>
                  <a:pt x="5491" y="644"/>
                </a:cubicBezTo>
                <a:close/>
                <a:moveTo>
                  <a:pt x="5451" y="669"/>
                </a:moveTo>
                <a:cubicBezTo>
                  <a:pt x="5450" y="669"/>
                  <a:pt x="5449" y="669"/>
                  <a:pt x="5447" y="669"/>
                </a:cubicBezTo>
                <a:cubicBezTo>
                  <a:pt x="5446" y="669"/>
                  <a:pt x="5445" y="668"/>
                  <a:pt x="5445" y="667"/>
                </a:cubicBezTo>
                <a:cubicBezTo>
                  <a:pt x="5445" y="666"/>
                  <a:pt x="5446" y="665"/>
                  <a:pt x="5450" y="665"/>
                </a:cubicBezTo>
                <a:cubicBezTo>
                  <a:pt x="5452" y="665"/>
                  <a:pt x="5454" y="665"/>
                  <a:pt x="5454" y="664"/>
                </a:cubicBezTo>
                <a:lnTo>
                  <a:pt x="5453" y="662"/>
                </a:lnTo>
                <a:cubicBezTo>
                  <a:pt x="5453" y="661"/>
                  <a:pt x="5453" y="661"/>
                  <a:pt x="5454" y="661"/>
                </a:cubicBezTo>
                <a:lnTo>
                  <a:pt x="5454" y="661"/>
                </a:lnTo>
                <a:cubicBezTo>
                  <a:pt x="5456" y="661"/>
                  <a:pt x="5458" y="660"/>
                  <a:pt x="5462" y="659"/>
                </a:cubicBezTo>
                <a:cubicBezTo>
                  <a:pt x="5465" y="657"/>
                  <a:pt x="5469" y="655"/>
                  <a:pt x="5473" y="653"/>
                </a:cubicBezTo>
                <a:cubicBezTo>
                  <a:pt x="5476" y="651"/>
                  <a:pt x="5479" y="649"/>
                  <a:pt x="5481" y="647"/>
                </a:cubicBezTo>
                <a:cubicBezTo>
                  <a:pt x="5483" y="646"/>
                  <a:pt x="5485" y="645"/>
                  <a:pt x="5486" y="645"/>
                </a:cubicBezTo>
                <a:cubicBezTo>
                  <a:pt x="5487" y="645"/>
                  <a:pt x="5488" y="646"/>
                  <a:pt x="5488" y="647"/>
                </a:cubicBezTo>
                <a:cubicBezTo>
                  <a:pt x="5488" y="649"/>
                  <a:pt x="5487" y="649"/>
                  <a:pt x="5485" y="649"/>
                </a:cubicBezTo>
                <a:cubicBezTo>
                  <a:pt x="5483" y="649"/>
                  <a:pt x="5482" y="650"/>
                  <a:pt x="5482" y="651"/>
                </a:cubicBezTo>
                <a:lnTo>
                  <a:pt x="5483" y="653"/>
                </a:lnTo>
                <a:cubicBezTo>
                  <a:pt x="5483" y="654"/>
                  <a:pt x="5483" y="654"/>
                  <a:pt x="5482" y="654"/>
                </a:cubicBezTo>
                <a:lnTo>
                  <a:pt x="5481" y="653"/>
                </a:lnTo>
                <a:cubicBezTo>
                  <a:pt x="5479" y="653"/>
                  <a:pt x="5477" y="654"/>
                  <a:pt x="5476" y="656"/>
                </a:cubicBezTo>
                <a:cubicBezTo>
                  <a:pt x="5474" y="658"/>
                  <a:pt x="5473" y="659"/>
                  <a:pt x="5471" y="659"/>
                </a:cubicBezTo>
                <a:cubicBezTo>
                  <a:pt x="5470" y="659"/>
                  <a:pt x="5468" y="660"/>
                  <a:pt x="5465" y="661"/>
                </a:cubicBezTo>
                <a:cubicBezTo>
                  <a:pt x="5458" y="665"/>
                  <a:pt x="5455" y="667"/>
                  <a:pt x="5455" y="668"/>
                </a:cubicBezTo>
                <a:cubicBezTo>
                  <a:pt x="5455" y="669"/>
                  <a:pt x="5454" y="669"/>
                  <a:pt x="5451" y="669"/>
                </a:cubicBezTo>
                <a:close/>
                <a:moveTo>
                  <a:pt x="5445" y="667"/>
                </a:moveTo>
                <a:close/>
                <a:moveTo>
                  <a:pt x="5527" y="623"/>
                </a:moveTo>
                <a:cubicBezTo>
                  <a:pt x="5527" y="623"/>
                  <a:pt x="5527" y="623"/>
                  <a:pt x="5527" y="623"/>
                </a:cubicBezTo>
                <a:cubicBezTo>
                  <a:pt x="5527" y="622"/>
                  <a:pt x="5528" y="620"/>
                  <a:pt x="5529" y="618"/>
                </a:cubicBezTo>
                <a:cubicBezTo>
                  <a:pt x="5533" y="614"/>
                  <a:pt x="5535" y="611"/>
                  <a:pt x="5537" y="611"/>
                </a:cubicBezTo>
                <a:cubicBezTo>
                  <a:pt x="5538" y="611"/>
                  <a:pt x="5541" y="610"/>
                  <a:pt x="5544" y="608"/>
                </a:cubicBezTo>
                <a:cubicBezTo>
                  <a:pt x="5547" y="606"/>
                  <a:pt x="5549" y="605"/>
                  <a:pt x="5550" y="605"/>
                </a:cubicBezTo>
                <a:cubicBezTo>
                  <a:pt x="5550" y="605"/>
                  <a:pt x="5550" y="605"/>
                  <a:pt x="5550" y="606"/>
                </a:cubicBezTo>
                <a:cubicBezTo>
                  <a:pt x="5550" y="608"/>
                  <a:pt x="5550" y="610"/>
                  <a:pt x="5550" y="610"/>
                </a:cubicBezTo>
                <a:lnTo>
                  <a:pt x="5548" y="609"/>
                </a:lnTo>
                <a:cubicBezTo>
                  <a:pt x="5547" y="609"/>
                  <a:pt x="5544" y="610"/>
                  <a:pt x="5541" y="613"/>
                </a:cubicBezTo>
                <a:cubicBezTo>
                  <a:pt x="5538" y="616"/>
                  <a:pt x="5535" y="617"/>
                  <a:pt x="5534" y="617"/>
                </a:cubicBezTo>
                <a:cubicBezTo>
                  <a:pt x="5532" y="617"/>
                  <a:pt x="5530" y="619"/>
                  <a:pt x="5529" y="621"/>
                </a:cubicBezTo>
                <a:cubicBezTo>
                  <a:pt x="5528" y="623"/>
                  <a:pt x="5528" y="623"/>
                  <a:pt x="5527" y="623"/>
                </a:cubicBezTo>
                <a:close/>
                <a:moveTo>
                  <a:pt x="5362" y="362"/>
                </a:moveTo>
                <a:close/>
                <a:moveTo>
                  <a:pt x="5347" y="383"/>
                </a:moveTo>
                <a:cubicBezTo>
                  <a:pt x="5347" y="383"/>
                  <a:pt x="5346" y="383"/>
                  <a:pt x="5346" y="382"/>
                </a:cubicBezTo>
                <a:lnTo>
                  <a:pt x="5353" y="377"/>
                </a:lnTo>
                <a:cubicBezTo>
                  <a:pt x="5353" y="377"/>
                  <a:pt x="5352" y="378"/>
                  <a:pt x="5351" y="379"/>
                </a:cubicBezTo>
                <a:cubicBezTo>
                  <a:pt x="5349" y="382"/>
                  <a:pt x="5348" y="383"/>
                  <a:pt x="5347" y="383"/>
                </a:cubicBezTo>
                <a:close/>
                <a:moveTo>
                  <a:pt x="5336" y="394"/>
                </a:moveTo>
                <a:close/>
                <a:moveTo>
                  <a:pt x="5362" y="362"/>
                </a:moveTo>
                <a:cubicBezTo>
                  <a:pt x="5362" y="362"/>
                  <a:pt x="5362" y="362"/>
                  <a:pt x="5362" y="362"/>
                </a:cubicBezTo>
                <a:cubicBezTo>
                  <a:pt x="5362" y="361"/>
                  <a:pt x="5363" y="360"/>
                  <a:pt x="5365" y="358"/>
                </a:cubicBezTo>
                <a:lnTo>
                  <a:pt x="5368" y="356"/>
                </a:lnTo>
                <a:lnTo>
                  <a:pt x="5366" y="359"/>
                </a:lnTo>
                <a:cubicBezTo>
                  <a:pt x="5364" y="361"/>
                  <a:pt x="5363" y="362"/>
                  <a:pt x="5362" y="362"/>
                </a:cubicBezTo>
                <a:close/>
                <a:moveTo>
                  <a:pt x="5346" y="382"/>
                </a:moveTo>
                <a:close/>
                <a:moveTo>
                  <a:pt x="5311" y="458"/>
                </a:moveTo>
                <a:cubicBezTo>
                  <a:pt x="5309" y="458"/>
                  <a:pt x="5308" y="457"/>
                  <a:pt x="5308" y="455"/>
                </a:cubicBezTo>
                <a:lnTo>
                  <a:pt x="5308" y="455"/>
                </a:lnTo>
                <a:cubicBezTo>
                  <a:pt x="5308" y="453"/>
                  <a:pt x="5309" y="451"/>
                  <a:pt x="5310" y="451"/>
                </a:cubicBezTo>
                <a:cubicBezTo>
                  <a:pt x="5310" y="451"/>
                  <a:pt x="5310" y="452"/>
                  <a:pt x="5311" y="452"/>
                </a:cubicBezTo>
                <a:cubicBezTo>
                  <a:pt x="5312" y="453"/>
                  <a:pt x="5312" y="453"/>
                  <a:pt x="5313" y="453"/>
                </a:cubicBezTo>
                <a:cubicBezTo>
                  <a:pt x="5314" y="453"/>
                  <a:pt x="5315" y="453"/>
                  <a:pt x="5316" y="451"/>
                </a:cubicBezTo>
                <a:cubicBezTo>
                  <a:pt x="5317" y="451"/>
                  <a:pt x="5317" y="450"/>
                  <a:pt x="5318" y="450"/>
                </a:cubicBezTo>
                <a:lnTo>
                  <a:pt x="5317" y="453"/>
                </a:lnTo>
                <a:cubicBezTo>
                  <a:pt x="5316" y="456"/>
                  <a:pt x="5314" y="458"/>
                  <a:pt x="5311" y="458"/>
                </a:cubicBezTo>
                <a:close/>
                <a:moveTo>
                  <a:pt x="5336" y="394"/>
                </a:moveTo>
                <a:cubicBezTo>
                  <a:pt x="5336" y="394"/>
                  <a:pt x="5336" y="394"/>
                  <a:pt x="5336" y="394"/>
                </a:cubicBezTo>
                <a:cubicBezTo>
                  <a:pt x="5336" y="394"/>
                  <a:pt x="5336" y="393"/>
                  <a:pt x="5337" y="392"/>
                </a:cubicBezTo>
                <a:cubicBezTo>
                  <a:pt x="5338" y="391"/>
                  <a:pt x="5340" y="390"/>
                  <a:pt x="5342" y="389"/>
                </a:cubicBezTo>
                <a:cubicBezTo>
                  <a:pt x="5344" y="387"/>
                  <a:pt x="5345" y="387"/>
                  <a:pt x="5346" y="387"/>
                </a:cubicBezTo>
                <a:lnTo>
                  <a:pt x="5346" y="387"/>
                </a:lnTo>
                <a:cubicBezTo>
                  <a:pt x="5346" y="388"/>
                  <a:pt x="5345" y="389"/>
                  <a:pt x="5343" y="390"/>
                </a:cubicBezTo>
                <a:cubicBezTo>
                  <a:pt x="5339" y="393"/>
                  <a:pt x="5337" y="394"/>
                  <a:pt x="5336" y="394"/>
                </a:cubicBezTo>
                <a:close/>
                <a:moveTo>
                  <a:pt x="5296" y="482"/>
                </a:moveTo>
                <a:cubicBezTo>
                  <a:pt x="5296" y="482"/>
                  <a:pt x="5294" y="481"/>
                  <a:pt x="5292" y="479"/>
                </a:cubicBezTo>
                <a:cubicBezTo>
                  <a:pt x="5292" y="478"/>
                  <a:pt x="5290" y="474"/>
                  <a:pt x="5289" y="468"/>
                </a:cubicBezTo>
                <a:cubicBezTo>
                  <a:pt x="5288" y="463"/>
                  <a:pt x="5287" y="459"/>
                  <a:pt x="5285" y="457"/>
                </a:cubicBezTo>
                <a:lnTo>
                  <a:pt x="5284" y="455"/>
                </a:lnTo>
                <a:lnTo>
                  <a:pt x="5287" y="457"/>
                </a:lnTo>
                <a:cubicBezTo>
                  <a:pt x="5287" y="457"/>
                  <a:pt x="5287" y="456"/>
                  <a:pt x="5287" y="456"/>
                </a:cubicBezTo>
                <a:lnTo>
                  <a:pt x="5287" y="453"/>
                </a:lnTo>
                <a:cubicBezTo>
                  <a:pt x="5287" y="453"/>
                  <a:pt x="5287" y="452"/>
                  <a:pt x="5288" y="452"/>
                </a:cubicBezTo>
                <a:cubicBezTo>
                  <a:pt x="5289" y="452"/>
                  <a:pt x="5290" y="451"/>
                  <a:pt x="5290" y="449"/>
                </a:cubicBezTo>
                <a:cubicBezTo>
                  <a:pt x="5290" y="447"/>
                  <a:pt x="5292" y="442"/>
                  <a:pt x="5295" y="434"/>
                </a:cubicBezTo>
                <a:cubicBezTo>
                  <a:pt x="5298" y="428"/>
                  <a:pt x="5299" y="424"/>
                  <a:pt x="5299" y="423"/>
                </a:cubicBezTo>
                <a:cubicBezTo>
                  <a:pt x="5299" y="422"/>
                  <a:pt x="5299" y="422"/>
                  <a:pt x="5299" y="422"/>
                </a:cubicBezTo>
                <a:cubicBezTo>
                  <a:pt x="5298" y="422"/>
                  <a:pt x="5297" y="424"/>
                  <a:pt x="5295" y="427"/>
                </a:cubicBezTo>
                <a:cubicBezTo>
                  <a:pt x="5293" y="431"/>
                  <a:pt x="5292" y="434"/>
                  <a:pt x="5290" y="438"/>
                </a:cubicBezTo>
                <a:cubicBezTo>
                  <a:pt x="5289" y="442"/>
                  <a:pt x="5288" y="444"/>
                  <a:pt x="5288" y="445"/>
                </a:cubicBezTo>
                <a:cubicBezTo>
                  <a:pt x="5288" y="446"/>
                  <a:pt x="5287" y="448"/>
                  <a:pt x="5286" y="450"/>
                </a:cubicBezTo>
                <a:cubicBezTo>
                  <a:pt x="5285" y="452"/>
                  <a:pt x="5283" y="453"/>
                  <a:pt x="5282" y="455"/>
                </a:cubicBezTo>
                <a:cubicBezTo>
                  <a:pt x="5280" y="456"/>
                  <a:pt x="5279" y="457"/>
                  <a:pt x="5278" y="457"/>
                </a:cubicBezTo>
                <a:cubicBezTo>
                  <a:pt x="5277" y="457"/>
                  <a:pt x="5277" y="456"/>
                  <a:pt x="5277" y="453"/>
                </a:cubicBezTo>
                <a:cubicBezTo>
                  <a:pt x="5277" y="441"/>
                  <a:pt x="5285" y="421"/>
                  <a:pt x="5302" y="394"/>
                </a:cubicBezTo>
                <a:cubicBezTo>
                  <a:pt x="5320" y="366"/>
                  <a:pt x="5331" y="349"/>
                  <a:pt x="5338" y="342"/>
                </a:cubicBezTo>
                <a:cubicBezTo>
                  <a:pt x="5338" y="341"/>
                  <a:pt x="5341" y="338"/>
                  <a:pt x="5345" y="333"/>
                </a:cubicBezTo>
                <a:cubicBezTo>
                  <a:pt x="5352" y="322"/>
                  <a:pt x="5357" y="317"/>
                  <a:pt x="5360" y="317"/>
                </a:cubicBezTo>
                <a:cubicBezTo>
                  <a:pt x="5363" y="317"/>
                  <a:pt x="5365" y="319"/>
                  <a:pt x="5365" y="322"/>
                </a:cubicBezTo>
                <a:cubicBezTo>
                  <a:pt x="5365" y="324"/>
                  <a:pt x="5364" y="326"/>
                  <a:pt x="5363" y="329"/>
                </a:cubicBezTo>
                <a:cubicBezTo>
                  <a:pt x="5361" y="332"/>
                  <a:pt x="5361" y="333"/>
                  <a:pt x="5361" y="334"/>
                </a:cubicBezTo>
                <a:cubicBezTo>
                  <a:pt x="5361" y="335"/>
                  <a:pt x="5361" y="335"/>
                  <a:pt x="5363" y="335"/>
                </a:cubicBezTo>
                <a:cubicBezTo>
                  <a:pt x="5364" y="335"/>
                  <a:pt x="5365" y="337"/>
                  <a:pt x="5365" y="341"/>
                </a:cubicBezTo>
                <a:cubicBezTo>
                  <a:pt x="5365" y="348"/>
                  <a:pt x="5364" y="352"/>
                  <a:pt x="5361" y="355"/>
                </a:cubicBezTo>
                <a:cubicBezTo>
                  <a:pt x="5355" y="360"/>
                  <a:pt x="5347" y="372"/>
                  <a:pt x="5337" y="390"/>
                </a:cubicBezTo>
                <a:cubicBezTo>
                  <a:pt x="5333" y="397"/>
                  <a:pt x="5331" y="401"/>
                  <a:pt x="5331" y="403"/>
                </a:cubicBezTo>
                <a:lnTo>
                  <a:pt x="5331" y="404"/>
                </a:lnTo>
                <a:cubicBezTo>
                  <a:pt x="5331" y="405"/>
                  <a:pt x="5331" y="406"/>
                  <a:pt x="5331" y="406"/>
                </a:cubicBezTo>
                <a:lnTo>
                  <a:pt x="5329" y="405"/>
                </a:lnTo>
                <a:cubicBezTo>
                  <a:pt x="5328" y="405"/>
                  <a:pt x="5326" y="406"/>
                  <a:pt x="5324" y="408"/>
                </a:cubicBezTo>
                <a:lnTo>
                  <a:pt x="5323" y="411"/>
                </a:lnTo>
                <a:cubicBezTo>
                  <a:pt x="5324" y="411"/>
                  <a:pt x="5324" y="411"/>
                  <a:pt x="5326" y="410"/>
                </a:cubicBezTo>
                <a:lnTo>
                  <a:pt x="5329" y="409"/>
                </a:lnTo>
                <a:cubicBezTo>
                  <a:pt x="5329" y="410"/>
                  <a:pt x="5328" y="411"/>
                  <a:pt x="5327" y="411"/>
                </a:cubicBezTo>
                <a:cubicBezTo>
                  <a:pt x="5325" y="413"/>
                  <a:pt x="5324" y="415"/>
                  <a:pt x="5323" y="419"/>
                </a:cubicBezTo>
                <a:cubicBezTo>
                  <a:pt x="5322" y="422"/>
                  <a:pt x="5320" y="426"/>
                  <a:pt x="5317" y="429"/>
                </a:cubicBezTo>
                <a:cubicBezTo>
                  <a:pt x="5306" y="447"/>
                  <a:pt x="5301" y="456"/>
                  <a:pt x="5301" y="458"/>
                </a:cubicBezTo>
                <a:cubicBezTo>
                  <a:pt x="5301" y="458"/>
                  <a:pt x="5301" y="459"/>
                  <a:pt x="5301" y="459"/>
                </a:cubicBezTo>
                <a:lnTo>
                  <a:pt x="5303" y="458"/>
                </a:lnTo>
                <a:cubicBezTo>
                  <a:pt x="5304" y="458"/>
                  <a:pt x="5305" y="459"/>
                  <a:pt x="5307" y="460"/>
                </a:cubicBezTo>
                <a:cubicBezTo>
                  <a:pt x="5307" y="461"/>
                  <a:pt x="5308" y="462"/>
                  <a:pt x="5308" y="463"/>
                </a:cubicBezTo>
                <a:cubicBezTo>
                  <a:pt x="5308" y="464"/>
                  <a:pt x="5308" y="464"/>
                  <a:pt x="5307" y="465"/>
                </a:cubicBezTo>
                <a:cubicBezTo>
                  <a:pt x="5307" y="465"/>
                  <a:pt x="5307" y="465"/>
                  <a:pt x="5306" y="465"/>
                </a:cubicBezTo>
                <a:cubicBezTo>
                  <a:pt x="5306" y="465"/>
                  <a:pt x="5305" y="465"/>
                  <a:pt x="5305" y="464"/>
                </a:cubicBezTo>
                <a:cubicBezTo>
                  <a:pt x="5305" y="463"/>
                  <a:pt x="5304" y="462"/>
                  <a:pt x="5302" y="462"/>
                </a:cubicBezTo>
                <a:cubicBezTo>
                  <a:pt x="5301" y="462"/>
                  <a:pt x="5300" y="463"/>
                  <a:pt x="5300" y="463"/>
                </a:cubicBezTo>
                <a:cubicBezTo>
                  <a:pt x="5300" y="463"/>
                  <a:pt x="5300" y="464"/>
                  <a:pt x="5301" y="464"/>
                </a:cubicBezTo>
                <a:cubicBezTo>
                  <a:pt x="5301" y="465"/>
                  <a:pt x="5301" y="466"/>
                  <a:pt x="5301" y="467"/>
                </a:cubicBezTo>
                <a:cubicBezTo>
                  <a:pt x="5301" y="469"/>
                  <a:pt x="5301" y="471"/>
                  <a:pt x="5301" y="473"/>
                </a:cubicBezTo>
                <a:cubicBezTo>
                  <a:pt x="5300" y="476"/>
                  <a:pt x="5299" y="478"/>
                  <a:pt x="5298" y="479"/>
                </a:cubicBezTo>
                <a:cubicBezTo>
                  <a:pt x="5297" y="481"/>
                  <a:pt x="5297" y="482"/>
                  <a:pt x="5296" y="482"/>
                </a:cubicBezTo>
                <a:close/>
                <a:moveTo>
                  <a:pt x="5344" y="353"/>
                </a:moveTo>
                <a:cubicBezTo>
                  <a:pt x="5345" y="353"/>
                  <a:pt x="5347" y="352"/>
                  <a:pt x="5349" y="349"/>
                </a:cubicBezTo>
                <a:cubicBezTo>
                  <a:pt x="5352" y="346"/>
                  <a:pt x="5353" y="345"/>
                  <a:pt x="5353" y="344"/>
                </a:cubicBezTo>
                <a:cubicBezTo>
                  <a:pt x="5352" y="344"/>
                  <a:pt x="5350" y="346"/>
                  <a:pt x="5347" y="349"/>
                </a:cubicBezTo>
                <a:cubicBezTo>
                  <a:pt x="5346" y="352"/>
                  <a:pt x="5344" y="353"/>
                  <a:pt x="5344" y="353"/>
                </a:cubicBezTo>
                <a:close/>
                <a:moveTo>
                  <a:pt x="5336" y="365"/>
                </a:moveTo>
                <a:cubicBezTo>
                  <a:pt x="5337" y="365"/>
                  <a:pt x="5338" y="364"/>
                  <a:pt x="5341" y="361"/>
                </a:cubicBezTo>
                <a:cubicBezTo>
                  <a:pt x="5343" y="358"/>
                  <a:pt x="5344" y="356"/>
                  <a:pt x="5344" y="356"/>
                </a:cubicBezTo>
                <a:cubicBezTo>
                  <a:pt x="5343" y="356"/>
                  <a:pt x="5342" y="357"/>
                  <a:pt x="5339" y="360"/>
                </a:cubicBezTo>
                <a:cubicBezTo>
                  <a:pt x="5337" y="363"/>
                  <a:pt x="5336" y="365"/>
                  <a:pt x="5336" y="365"/>
                </a:cubicBezTo>
                <a:close/>
                <a:moveTo>
                  <a:pt x="5308" y="408"/>
                </a:moveTo>
                <a:cubicBezTo>
                  <a:pt x="5309" y="408"/>
                  <a:pt x="5314" y="401"/>
                  <a:pt x="5324" y="386"/>
                </a:cubicBezTo>
                <a:cubicBezTo>
                  <a:pt x="5331" y="375"/>
                  <a:pt x="5334" y="368"/>
                  <a:pt x="5334" y="368"/>
                </a:cubicBezTo>
                <a:cubicBezTo>
                  <a:pt x="5334" y="368"/>
                  <a:pt x="5331" y="372"/>
                  <a:pt x="5326" y="379"/>
                </a:cubicBezTo>
                <a:cubicBezTo>
                  <a:pt x="5321" y="387"/>
                  <a:pt x="5317" y="392"/>
                  <a:pt x="5315" y="392"/>
                </a:cubicBezTo>
                <a:cubicBezTo>
                  <a:pt x="5315" y="392"/>
                  <a:pt x="5315" y="393"/>
                  <a:pt x="5314" y="394"/>
                </a:cubicBezTo>
                <a:cubicBezTo>
                  <a:pt x="5314" y="394"/>
                  <a:pt x="5314" y="395"/>
                  <a:pt x="5314" y="396"/>
                </a:cubicBezTo>
                <a:cubicBezTo>
                  <a:pt x="5314" y="397"/>
                  <a:pt x="5314" y="398"/>
                  <a:pt x="5313" y="398"/>
                </a:cubicBezTo>
                <a:cubicBezTo>
                  <a:pt x="5312" y="399"/>
                  <a:pt x="5311" y="399"/>
                  <a:pt x="5310" y="399"/>
                </a:cubicBezTo>
                <a:cubicBezTo>
                  <a:pt x="5309" y="399"/>
                  <a:pt x="5308" y="401"/>
                  <a:pt x="5308" y="404"/>
                </a:cubicBezTo>
                <a:lnTo>
                  <a:pt x="5308" y="408"/>
                </a:lnTo>
                <a:close/>
                <a:moveTo>
                  <a:pt x="5301" y="420"/>
                </a:moveTo>
                <a:cubicBezTo>
                  <a:pt x="5302" y="420"/>
                  <a:pt x="5304" y="419"/>
                  <a:pt x="5305" y="416"/>
                </a:cubicBezTo>
                <a:cubicBezTo>
                  <a:pt x="5306" y="414"/>
                  <a:pt x="5306" y="413"/>
                  <a:pt x="5306" y="412"/>
                </a:cubicBezTo>
                <a:cubicBezTo>
                  <a:pt x="5306" y="411"/>
                  <a:pt x="5306" y="411"/>
                  <a:pt x="5306" y="411"/>
                </a:cubicBezTo>
                <a:cubicBezTo>
                  <a:pt x="5304" y="411"/>
                  <a:pt x="5303" y="413"/>
                  <a:pt x="5301" y="416"/>
                </a:cubicBezTo>
                <a:cubicBezTo>
                  <a:pt x="5301" y="417"/>
                  <a:pt x="5300" y="419"/>
                  <a:pt x="5300" y="419"/>
                </a:cubicBezTo>
                <a:cubicBezTo>
                  <a:pt x="5300" y="420"/>
                  <a:pt x="5300" y="420"/>
                  <a:pt x="5301" y="420"/>
                </a:cubicBezTo>
                <a:close/>
                <a:moveTo>
                  <a:pt x="5313" y="449"/>
                </a:moveTo>
                <a:cubicBezTo>
                  <a:pt x="5313" y="449"/>
                  <a:pt x="5312" y="449"/>
                  <a:pt x="5312" y="448"/>
                </a:cubicBezTo>
                <a:lnTo>
                  <a:pt x="5312" y="447"/>
                </a:lnTo>
                <a:cubicBezTo>
                  <a:pt x="5313" y="446"/>
                  <a:pt x="5314" y="445"/>
                  <a:pt x="5315" y="445"/>
                </a:cubicBezTo>
                <a:lnTo>
                  <a:pt x="5316" y="445"/>
                </a:lnTo>
                <a:cubicBezTo>
                  <a:pt x="5317" y="445"/>
                  <a:pt x="5317" y="445"/>
                  <a:pt x="5317" y="444"/>
                </a:cubicBezTo>
                <a:lnTo>
                  <a:pt x="5317" y="441"/>
                </a:lnTo>
                <a:cubicBezTo>
                  <a:pt x="5317" y="439"/>
                  <a:pt x="5317" y="438"/>
                  <a:pt x="5319" y="436"/>
                </a:cubicBezTo>
                <a:cubicBezTo>
                  <a:pt x="5320" y="434"/>
                  <a:pt x="5321" y="433"/>
                  <a:pt x="5322" y="433"/>
                </a:cubicBezTo>
                <a:lnTo>
                  <a:pt x="5324" y="433"/>
                </a:lnTo>
                <a:cubicBezTo>
                  <a:pt x="5324" y="433"/>
                  <a:pt x="5324" y="433"/>
                  <a:pt x="5324" y="433"/>
                </a:cubicBezTo>
                <a:lnTo>
                  <a:pt x="5324" y="430"/>
                </a:lnTo>
                <a:cubicBezTo>
                  <a:pt x="5324" y="429"/>
                  <a:pt x="5324" y="427"/>
                  <a:pt x="5325" y="425"/>
                </a:cubicBezTo>
                <a:cubicBezTo>
                  <a:pt x="5326" y="424"/>
                  <a:pt x="5326" y="422"/>
                  <a:pt x="5327" y="421"/>
                </a:cubicBezTo>
                <a:cubicBezTo>
                  <a:pt x="5329" y="419"/>
                  <a:pt x="5330" y="419"/>
                  <a:pt x="5331" y="419"/>
                </a:cubicBezTo>
                <a:lnTo>
                  <a:pt x="5332" y="419"/>
                </a:lnTo>
                <a:cubicBezTo>
                  <a:pt x="5333" y="419"/>
                  <a:pt x="5334" y="419"/>
                  <a:pt x="5335" y="418"/>
                </a:cubicBezTo>
                <a:cubicBezTo>
                  <a:pt x="5335" y="417"/>
                  <a:pt x="5336" y="416"/>
                  <a:pt x="5336" y="416"/>
                </a:cubicBezTo>
                <a:lnTo>
                  <a:pt x="5332" y="417"/>
                </a:lnTo>
                <a:cubicBezTo>
                  <a:pt x="5332" y="417"/>
                  <a:pt x="5332" y="417"/>
                  <a:pt x="5332" y="417"/>
                </a:cubicBezTo>
                <a:cubicBezTo>
                  <a:pt x="5332" y="415"/>
                  <a:pt x="5334" y="410"/>
                  <a:pt x="5339" y="403"/>
                </a:cubicBezTo>
                <a:cubicBezTo>
                  <a:pt x="5343" y="397"/>
                  <a:pt x="5346" y="393"/>
                  <a:pt x="5348" y="393"/>
                </a:cubicBezTo>
                <a:cubicBezTo>
                  <a:pt x="5348" y="394"/>
                  <a:pt x="5349" y="394"/>
                  <a:pt x="5349" y="394"/>
                </a:cubicBezTo>
                <a:cubicBezTo>
                  <a:pt x="5350" y="394"/>
                  <a:pt x="5351" y="393"/>
                  <a:pt x="5352" y="392"/>
                </a:cubicBezTo>
                <a:cubicBezTo>
                  <a:pt x="5354" y="392"/>
                  <a:pt x="5354" y="391"/>
                  <a:pt x="5355" y="391"/>
                </a:cubicBezTo>
                <a:cubicBezTo>
                  <a:pt x="5355" y="391"/>
                  <a:pt x="5355" y="391"/>
                  <a:pt x="5355" y="391"/>
                </a:cubicBezTo>
                <a:cubicBezTo>
                  <a:pt x="5355" y="393"/>
                  <a:pt x="5353" y="395"/>
                  <a:pt x="5350" y="399"/>
                </a:cubicBezTo>
                <a:cubicBezTo>
                  <a:pt x="5349" y="400"/>
                  <a:pt x="5348" y="400"/>
                  <a:pt x="5347" y="400"/>
                </a:cubicBezTo>
                <a:lnTo>
                  <a:pt x="5347" y="400"/>
                </a:lnTo>
                <a:lnTo>
                  <a:pt x="5348" y="398"/>
                </a:lnTo>
                <a:cubicBezTo>
                  <a:pt x="5348" y="398"/>
                  <a:pt x="5348" y="397"/>
                  <a:pt x="5348" y="397"/>
                </a:cubicBezTo>
                <a:lnTo>
                  <a:pt x="5346" y="399"/>
                </a:lnTo>
                <a:cubicBezTo>
                  <a:pt x="5346" y="399"/>
                  <a:pt x="5346" y="400"/>
                  <a:pt x="5346" y="401"/>
                </a:cubicBezTo>
                <a:lnTo>
                  <a:pt x="5346" y="404"/>
                </a:lnTo>
                <a:cubicBezTo>
                  <a:pt x="5346" y="405"/>
                  <a:pt x="5346" y="406"/>
                  <a:pt x="5344" y="407"/>
                </a:cubicBezTo>
                <a:cubicBezTo>
                  <a:pt x="5343" y="409"/>
                  <a:pt x="5342" y="409"/>
                  <a:pt x="5340" y="409"/>
                </a:cubicBezTo>
                <a:lnTo>
                  <a:pt x="5338" y="409"/>
                </a:lnTo>
                <a:lnTo>
                  <a:pt x="5339" y="411"/>
                </a:lnTo>
                <a:cubicBezTo>
                  <a:pt x="5339" y="413"/>
                  <a:pt x="5338" y="414"/>
                  <a:pt x="5337" y="417"/>
                </a:cubicBezTo>
                <a:cubicBezTo>
                  <a:pt x="5336" y="419"/>
                  <a:pt x="5335" y="422"/>
                  <a:pt x="5333" y="425"/>
                </a:cubicBezTo>
                <a:cubicBezTo>
                  <a:pt x="5331" y="429"/>
                  <a:pt x="5329" y="432"/>
                  <a:pt x="5327" y="435"/>
                </a:cubicBezTo>
                <a:cubicBezTo>
                  <a:pt x="5325" y="438"/>
                  <a:pt x="5324" y="441"/>
                  <a:pt x="5323" y="442"/>
                </a:cubicBezTo>
                <a:cubicBezTo>
                  <a:pt x="5322" y="444"/>
                  <a:pt x="5321" y="446"/>
                  <a:pt x="5319" y="447"/>
                </a:cubicBezTo>
                <a:cubicBezTo>
                  <a:pt x="5316" y="448"/>
                  <a:pt x="5315" y="449"/>
                  <a:pt x="5313" y="449"/>
                </a:cubicBezTo>
                <a:close/>
                <a:moveTo>
                  <a:pt x="5349" y="391"/>
                </a:moveTo>
                <a:cubicBezTo>
                  <a:pt x="5349" y="391"/>
                  <a:pt x="5349" y="391"/>
                  <a:pt x="5349" y="391"/>
                </a:cubicBezTo>
                <a:cubicBezTo>
                  <a:pt x="5349" y="389"/>
                  <a:pt x="5353" y="384"/>
                  <a:pt x="5360" y="373"/>
                </a:cubicBezTo>
                <a:cubicBezTo>
                  <a:pt x="5367" y="365"/>
                  <a:pt x="5370" y="359"/>
                  <a:pt x="5370" y="356"/>
                </a:cubicBezTo>
                <a:cubicBezTo>
                  <a:pt x="5370" y="355"/>
                  <a:pt x="5370" y="355"/>
                  <a:pt x="5370" y="354"/>
                </a:cubicBezTo>
                <a:cubicBezTo>
                  <a:pt x="5369" y="353"/>
                  <a:pt x="5369" y="353"/>
                  <a:pt x="5369" y="351"/>
                </a:cubicBezTo>
                <a:cubicBezTo>
                  <a:pt x="5369" y="350"/>
                  <a:pt x="5370" y="349"/>
                  <a:pt x="5371" y="347"/>
                </a:cubicBezTo>
                <a:cubicBezTo>
                  <a:pt x="5373" y="345"/>
                  <a:pt x="5374" y="344"/>
                  <a:pt x="5374" y="344"/>
                </a:cubicBezTo>
                <a:lnTo>
                  <a:pt x="5374" y="345"/>
                </a:lnTo>
                <a:lnTo>
                  <a:pt x="5371" y="353"/>
                </a:lnTo>
                <a:cubicBezTo>
                  <a:pt x="5372" y="353"/>
                  <a:pt x="5373" y="352"/>
                  <a:pt x="5376" y="348"/>
                </a:cubicBezTo>
                <a:cubicBezTo>
                  <a:pt x="5378" y="346"/>
                  <a:pt x="5379" y="345"/>
                  <a:pt x="5380" y="345"/>
                </a:cubicBezTo>
                <a:cubicBezTo>
                  <a:pt x="5381" y="345"/>
                  <a:pt x="5381" y="345"/>
                  <a:pt x="5381" y="346"/>
                </a:cubicBezTo>
                <a:cubicBezTo>
                  <a:pt x="5381" y="348"/>
                  <a:pt x="5380" y="350"/>
                  <a:pt x="5378" y="353"/>
                </a:cubicBezTo>
                <a:lnTo>
                  <a:pt x="5377" y="355"/>
                </a:lnTo>
                <a:lnTo>
                  <a:pt x="5380" y="354"/>
                </a:lnTo>
                <a:cubicBezTo>
                  <a:pt x="5380" y="354"/>
                  <a:pt x="5381" y="354"/>
                  <a:pt x="5381" y="355"/>
                </a:cubicBezTo>
                <a:cubicBezTo>
                  <a:pt x="5381" y="356"/>
                  <a:pt x="5377" y="362"/>
                  <a:pt x="5370" y="372"/>
                </a:cubicBezTo>
                <a:cubicBezTo>
                  <a:pt x="5361" y="384"/>
                  <a:pt x="5356" y="389"/>
                  <a:pt x="5355" y="389"/>
                </a:cubicBezTo>
                <a:cubicBezTo>
                  <a:pt x="5354" y="389"/>
                  <a:pt x="5353" y="390"/>
                  <a:pt x="5352" y="390"/>
                </a:cubicBezTo>
                <a:cubicBezTo>
                  <a:pt x="5351" y="391"/>
                  <a:pt x="5350" y="391"/>
                  <a:pt x="5349" y="391"/>
                </a:cubicBezTo>
                <a:close/>
                <a:moveTo>
                  <a:pt x="5364" y="374"/>
                </a:moveTo>
                <a:cubicBezTo>
                  <a:pt x="5365" y="374"/>
                  <a:pt x="5366" y="373"/>
                  <a:pt x="5368" y="370"/>
                </a:cubicBezTo>
                <a:lnTo>
                  <a:pt x="5370" y="368"/>
                </a:lnTo>
                <a:lnTo>
                  <a:pt x="5370" y="367"/>
                </a:lnTo>
                <a:cubicBezTo>
                  <a:pt x="5370" y="367"/>
                  <a:pt x="5369" y="368"/>
                  <a:pt x="5368" y="369"/>
                </a:cubicBezTo>
                <a:cubicBezTo>
                  <a:pt x="5367" y="370"/>
                  <a:pt x="5366" y="370"/>
                  <a:pt x="5365" y="371"/>
                </a:cubicBezTo>
                <a:cubicBezTo>
                  <a:pt x="5364" y="372"/>
                  <a:pt x="5364" y="373"/>
                  <a:pt x="5364" y="373"/>
                </a:cubicBezTo>
                <a:cubicBezTo>
                  <a:pt x="5364" y="374"/>
                  <a:pt x="5364" y="374"/>
                  <a:pt x="5364" y="374"/>
                </a:cubicBezTo>
                <a:close/>
                <a:moveTo>
                  <a:pt x="5371" y="365"/>
                </a:moveTo>
                <a:cubicBezTo>
                  <a:pt x="5372" y="365"/>
                  <a:pt x="5372" y="365"/>
                  <a:pt x="5373" y="364"/>
                </a:cubicBezTo>
                <a:cubicBezTo>
                  <a:pt x="5374" y="363"/>
                  <a:pt x="5374" y="362"/>
                  <a:pt x="5375" y="361"/>
                </a:cubicBezTo>
                <a:lnTo>
                  <a:pt x="5377" y="359"/>
                </a:lnTo>
                <a:lnTo>
                  <a:pt x="5377" y="358"/>
                </a:lnTo>
                <a:lnTo>
                  <a:pt x="5374" y="360"/>
                </a:lnTo>
                <a:cubicBezTo>
                  <a:pt x="5372" y="362"/>
                  <a:pt x="5370" y="364"/>
                  <a:pt x="5370" y="365"/>
                </a:cubicBezTo>
                <a:cubicBezTo>
                  <a:pt x="5370" y="365"/>
                  <a:pt x="5371" y="365"/>
                  <a:pt x="5371" y="365"/>
                </a:cubicBezTo>
                <a:close/>
                <a:moveTo>
                  <a:pt x="5304" y="475"/>
                </a:moveTo>
                <a:cubicBezTo>
                  <a:pt x="5303" y="475"/>
                  <a:pt x="5303" y="474"/>
                  <a:pt x="5303" y="472"/>
                </a:cubicBezTo>
                <a:cubicBezTo>
                  <a:pt x="5303" y="469"/>
                  <a:pt x="5304" y="468"/>
                  <a:pt x="5305" y="468"/>
                </a:cubicBezTo>
                <a:cubicBezTo>
                  <a:pt x="5306" y="468"/>
                  <a:pt x="5306" y="469"/>
                  <a:pt x="5306" y="470"/>
                </a:cubicBezTo>
                <a:cubicBezTo>
                  <a:pt x="5306" y="470"/>
                  <a:pt x="5306" y="471"/>
                  <a:pt x="5306" y="472"/>
                </a:cubicBezTo>
                <a:cubicBezTo>
                  <a:pt x="5306" y="473"/>
                  <a:pt x="5305" y="474"/>
                  <a:pt x="5305" y="474"/>
                </a:cubicBezTo>
                <a:cubicBezTo>
                  <a:pt x="5305" y="475"/>
                  <a:pt x="5304" y="475"/>
                  <a:pt x="5304" y="475"/>
                </a:cubicBezTo>
                <a:close/>
                <a:moveTo>
                  <a:pt x="5743" y="218"/>
                </a:moveTo>
                <a:lnTo>
                  <a:pt x="5742" y="218"/>
                </a:lnTo>
                <a:cubicBezTo>
                  <a:pt x="5741" y="218"/>
                  <a:pt x="5741" y="217"/>
                  <a:pt x="5740" y="215"/>
                </a:cubicBezTo>
                <a:lnTo>
                  <a:pt x="5739" y="212"/>
                </a:lnTo>
                <a:lnTo>
                  <a:pt x="5739" y="212"/>
                </a:lnTo>
                <a:lnTo>
                  <a:pt x="5741" y="213"/>
                </a:lnTo>
                <a:cubicBezTo>
                  <a:pt x="5742" y="215"/>
                  <a:pt x="5743" y="216"/>
                  <a:pt x="5743" y="216"/>
                </a:cubicBezTo>
                <a:lnTo>
                  <a:pt x="5743" y="218"/>
                </a:lnTo>
                <a:close/>
                <a:moveTo>
                  <a:pt x="5670" y="355"/>
                </a:moveTo>
                <a:cubicBezTo>
                  <a:pt x="5669" y="355"/>
                  <a:pt x="5669" y="355"/>
                  <a:pt x="5669" y="355"/>
                </a:cubicBezTo>
                <a:cubicBezTo>
                  <a:pt x="5669" y="354"/>
                  <a:pt x="5669" y="353"/>
                  <a:pt x="5670" y="351"/>
                </a:cubicBezTo>
                <a:cubicBezTo>
                  <a:pt x="5670" y="350"/>
                  <a:pt x="5671" y="350"/>
                  <a:pt x="5671" y="349"/>
                </a:cubicBezTo>
                <a:cubicBezTo>
                  <a:pt x="5671" y="348"/>
                  <a:pt x="5672" y="348"/>
                  <a:pt x="5672" y="348"/>
                </a:cubicBezTo>
                <a:cubicBezTo>
                  <a:pt x="5673" y="348"/>
                  <a:pt x="5673" y="348"/>
                  <a:pt x="5673" y="350"/>
                </a:cubicBezTo>
                <a:cubicBezTo>
                  <a:pt x="5673" y="352"/>
                  <a:pt x="5673" y="354"/>
                  <a:pt x="5671" y="355"/>
                </a:cubicBezTo>
                <a:lnTo>
                  <a:pt x="5670" y="355"/>
                </a:lnTo>
                <a:close/>
                <a:moveTo>
                  <a:pt x="5805" y="307"/>
                </a:moveTo>
                <a:lnTo>
                  <a:pt x="5808" y="301"/>
                </a:lnTo>
                <a:cubicBezTo>
                  <a:pt x="5810" y="298"/>
                  <a:pt x="5812" y="295"/>
                  <a:pt x="5812" y="294"/>
                </a:cubicBezTo>
                <a:cubicBezTo>
                  <a:pt x="5813" y="292"/>
                  <a:pt x="5814" y="292"/>
                  <a:pt x="5814" y="292"/>
                </a:cubicBezTo>
                <a:lnTo>
                  <a:pt x="5814" y="293"/>
                </a:lnTo>
                <a:cubicBezTo>
                  <a:pt x="5814" y="295"/>
                  <a:pt x="5812" y="298"/>
                  <a:pt x="5808" y="302"/>
                </a:cubicBezTo>
                <a:lnTo>
                  <a:pt x="5805" y="307"/>
                </a:lnTo>
                <a:close/>
                <a:moveTo>
                  <a:pt x="5654" y="686"/>
                </a:moveTo>
                <a:cubicBezTo>
                  <a:pt x="5654" y="685"/>
                  <a:pt x="5656" y="682"/>
                  <a:pt x="5660" y="676"/>
                </a:cubicBezTo>
                <a:cubicBezTo>
                  <a:pt x="5667" y="665"/>
                  <a:pt x="5671" y="659"/>
                  <a:pt x="5672" y="659"/>
                </a:cubicBezTo>
                <a:cubicBezTo>
                  <a:pt x="5672" y="660"/>
                  <a:pt x="5670" y="664"/>
                  <a:pt x="5666" y="670"/>
                </a:cubicBezTo>
                <a:cubicBezTo>
                  <a:pt x="5659" y="681"/>
                  <a:pt x="5655" y="686"/>
                  <a:pt x="5654" y="686"/>
                </a:cubicBezTo>
                <a:close/>
                <a:moveTo>
                  <a:pt x="5634" y="718"/>
                </a:moveTo>
                <a:cubicBezTo>
                  <a:pt x="5632" y="718"/>
                  <a:pt x="5632" y="718"/>
                  <a:pt x="5632" y="718"/>
                </a:cubicBezTo>
                <a:lnTo>
                  <a:pt x="5633" y="717"/>
                </a:lnTo>
                <a:cubicBezTo>
                  <a:pt x="5635" y="716"/>
                  <a:pt x="5636" y="714"/>
                  <a:pt x="5636" y="712"/>
                </a:cubicBezTo>
                <a:cubicBezTo>
                  <a:pt x="5636" y="710"/>
                  <a:pt x="5637" y="709"/>
                  <a:pt x="5639" y="709"/>
                </a:cubicBezTo>
                <a:cubicBezTo>
                  <a:pt x="5639" y="709"/>
                  <a:pt x="5639" y="710"/>
                  <a:pt x="5639" y="710"/>
                </a:cubicBezTo>
                <a:cubicBezTo>
                  <a:pt x="5639" y="711"/>
                  <a:pt x="5639" y="712"/>
                  <a:pt x="5639" y="713"/>
                </a:cubicBezTo>
                <a:cubicBezTo>
                  <a:pt x="5638" y="715"/>
                  <a:pt x="5637" y="716"/>
                  <a:pt x="5636" y="717"/>
                </a:cubicBezTo>
                <a:cubicBezTo>
                  <a:pt x="5635" y="718"/>
                  <a:pt x="5634" y="718"/>
                  <a:pt x="5634" y="718"/>
                </a:cubicBezTo>
                <a:close/>
                <a:moveTo>
                  <a:pt x="5854" y="677"/>
                </a:moveTo>
                <a:cubicBezTo>
                  <a:pt x="5851" y="677"/>
                  <a:pt x="5848" y="676"/>
                  <a:pt x="5846" y="674"/>
                </a:cubicBezTo>
                <a:cubicBezTo>
                  <a:pt x="5844" y="672"/>
                  <a:pt x="5843" y="671"/>
                  <a:pt x="5843" y="671"/>
                </a:cubicBezTo>
                <a:cubicBezTo>
                  <a:pt x="5843" y="671"/>
                  <a:pt x="5843" y="670"/>
                  <a:pt x="5844" y="670"/>
                </a:cubicBezTo>
                <a:cubicBezTo>
                  <a:pt x="5845" y="670"/>
                  <a:pt x="5847" y="671"/>
                  <a:pt x="5851" y="674"/>
                </a:cubicBezTo>
                <a:cubicBezTo>
                  <a:pt x="5854" y="675"/>
                  <a:pt x="5855" y="676"/>
                  <a:pt x="5855" y="676"/>
                </a:cubicBezTo>
                <a:cubicBezTo>
                  <a:pt x="5855" y="677"/>
                  <a:pt x="5854" y="677"/>
                  <a:pt x="5854" y="677"/>
                </a:cubicBezTo>
                <a:close/>
                <a:moveTo>
                  <a:pt x="5668" y="644"/>
                </a:moveTo>
                <a:lnTo>
                  <a:pt x="5668" y="642"/>
                </a:lnTo>
                <a:cubicBezTo>
                  <a:pt x="5669" y="640"/>
                  <a:pt x="5671" y="638"/>
                  <a:pt x="5672" y="636"/>
                </a:cubicBezTo>
                <a:cubicBezTo>
                  <a:pt x="5673" y="634"/>
                  <a:pt x="5675" y="633"/>
                  <a:pt x="5676" y="632"/>
                </a:cubicBezTo>
                <a:cubicBezTo>
                  <a:pt x="5678" y="631"/>
                  <a:pt x="5679" y="630"/>
                  <a:pt x="5679" y="630"/>
                </a:cubicBezTo>
                <a:cubicBezTo>
                  <a:pt x="5679" y="630"/>
                  <a:pt x="5680" y="630"/>
                  <a:pt x="5680" y="630"/>
                </a:cubicBezTo>
                <a:cubicBezTo>
                  <a:pt x="5680" y="631"/>
                  <a:pt x="5678" y="634"/>
                  <a:pt x="5673" y="639"/>
                </a:cubicBezTo>
                <a:cubicBezTo>
                  <a:pt x="5670" y="642"/>
                  <a:pt x="5669" y="644"/>
                  <a:pt x="5668" y="644"/>
                </a:cubicBezTo>
                <a:close/>
                <a:moveTo>
                  <a:pt x="5612" y="767"/>
                </a:moveTo>
                <a:cubicBezTo>
                  <a:pt x="5611" y="767"/>
                  <a:pt x="5610" y="766"/>
                  <a:pt x="5609" y="764"/>
                </a:cubicBezTo>
                <a:lnTo>
                  <a:pt x="5609" y="763"/>
                </a:lnTo>
                <a:cubicBezTo>
                  <a:pt x="5609" y="762"/>
                  <a:pt x="5609" y="761"/>
                  <a:pt x="5610" y="760"/>
                </a:cubicBezTo>
                <a:cubicBezTo>
                  <a:pt x="5611" y="758"/>
                  <a:pt x="5611" y="758"/>
                  <a:pt x="5612" y="758"/>
                </a:cubicBezTo>
                <a:cubicBezTo>
                  <a:pt x="5612" y="758"/>
                  <a:pt x="5613" y="758"/>
                  <a:pt x="5613" y="759"/>
                </a:cubicBezTo>
                <a:cubicBezTo>
                  <a:pt x="5614" y="760"/>
                  <a:pt x="5614" y="761"/>
                  <a:pt x="5614" y="761"/>
                </a:cubicBezTo>
                <a:cubicBezTo>
                  <a:pt x="5614" y="762"/>
                  <a:pt x="5613" y="762"/>
                  <a:pt x="5612" y="762"/>
                </a:cubicBezTo>
                <a:cubicBezTo>
                  <a:pt x="5611" y="762"/>
                  <a:pt x="5611" y="762"/>
                  <a:pt x="5611" y="763"/>
                </a:cubicBezTo>
                <a:lnTo>
                  <a:pt x="5612" y="766"/>
                </a:lnTo>
                <a:lnTo>
                  <a:pt x="5612" y="767"/>
                </a:lnTo>
                <a:close/>
                <a:moveTo>
                  <a:pt x="5641" y="707"/>
                </a:moveTo>
                <a:cubicBezTo>
                  <a:pt x="5641" y="706"/>
                  <a:pt x="5641" y="705"/>
                  <a:pt x="5642" y="704"/>
                </a:cubicBezTo>
                <a:cubicBezTo>
                  <a:pt x="5643" y="702"/>
                  <a:pt x="5644" y="700"/>
                  <a:pt x="5645" y="698"/>
                </a:cubicBezTo>
                <a:cubicBezTo>
                  <a:pt x="5646" y="697"/>
                  <a:pt x="5647" y="695"/>
                  <a:pt x="5649" y="693"/>
                </a:cubicBezTo>
                <a:cubicBezTo>
                  <a:pt x="5650" y="691"/>
                  <a:pt x="5651" y="691"/>
                  <a:pt x="5651" y="691"/>
                </a:cubicBezTo>
                <a:cubicBezTo>
                  <a:pt x="5651" y="691"/>
                  <a:pt x="5651" y="692"/>
                  <a:pt x="5650" y="694"/>
                </a:cubicBezTo>
                <a:cubicBezTo>
                  <a:pt x="5649" y="696"/>
                  <a:pt x="5647" y="699"/>
                  <a:pt x="5644" y="703"/>
                </a:cubicBezTo>
                <a:cubicBezTo>
                  <a:pt x="5642" y="705"/>
                  <a:pt x="5641" y="707"/>
                  <a:pt x="5641" y="707"/>
                </a:cubicBezTo>
                <a:close/>
                <a:moveTo>
                  <a:pt x="5622" y="743"/>
                </a:moveTo>
                <a:cubicBezTo>
                  <a:pt x="5621" y="743"/>
                  <a:pt x="5621" y="742"/>
                  <a:pt x="5621" y="742"/>
                </a:cubicBezTo>
                <a:lnTo>
                  <a:pt x="5620" y="740"/>
                </a:lnTo>
                <a:cubicBezTo>
                  <a:pt x="5620" y="739"/>
                  <a:pt x="5621" y="738"/>
                  <a:pt x="5621" y="737"/>
                </a:cubicBezTo>
                <a:lnTo>
                  <a:pt x="5623" y="737"/>
                </a:lnTo>
                <a:cubicBezTo>
                  <a:pt x="5624" y="737"/>
                  <a:pt x="5624" y="737"/>
                  <a:pt x="5625" y="738"/>
                </a:cubicBezTo>
                <a:cubicBezTo>
                  <a:pt x="5625" y="739"/>
                  <a:pt x="5624" y="740"/>
                  <a:pt x="5624" y="741"/>
                </a:cubicBezTo>
                <a:cubicBezTo>
                  <a:pt x="5623" y="742"/>
                  <a:pt x="5622" y="743"/>
                  <a:pt x="5622" y="743"/>
                </a:cubicBezTo>
                <a:close/>
                <a:moveTo>
                  <a:pt x="5616" y="757"/>
                </a:moveTo>
                <a:cubicBezTo>
                  <a:pt x="5616" y="757"/>
                  <a:pt x="5615" y="757"/>
                  <a:pt x="5614" y="756"/>
                </a:cubicBezTo>
                <a:cubicBezTo>
                  <a:pt x="5613" y="755"/>
                  <a:pt x="5613" y="755"/>
                  <a:pt x="5613" y="754"/>
                </a:cubicBezTo>
                <a:cubicBezTo>
                  <a:pt x="5613" y="753"/>
                  <a:pt x="5614" y="752"/>
                  <a:pt x="5614" y="751"/>
                </a:cubicBezTo>
                <a:cubicBezTo>
                  <a:pt x="5615" y="749"/>
                  <a:pt x="5616" y="748"/>
                  <a:pt x="5617" y="747"/>
                </a:cubicBezTo>
                <a:cubicBezTo>
                  <a:pt x="5617" y="746"/>
                  <a:pt x="5619" y="746"/>
                  <a:pt x="5619" y="746"/>
                </a:cubicBezTo>
                <a:lnTo>
                  <a:pt x="5621" y="746"/>
                </a:lnTo>
                <a:cubicBezTo>
                  <a:pt x="5621" y="747"/>
                  <a:pt x="5620" y="747"/>
                  <a:pt x="5619" y="747"/>
                </a:cubicBezTo>
                <a:cubicBezTo>
                  <a:pt x="5618" y="747"/>
                  <a:pt x="5617" y="748"/>
                  <a:pt x="5617" y="750"/>
                </a:cubicBezTo>
                <a:lnTo>
                  <a:pt x="5618" y="751"/>
                </a:lnTo>
                <a:cubicBezTo>
                  <a:pt x="5618" y="752"/>
                  <a:pt x="5618" y="753"/>
                  <a:pt x="5617" y="753"/>
                </a:cubicBezTo>
                <a:cubicBezTo>
                  <a:pt x="5616" y="753"/>
                  <a:pt x="5616" y="753"/>
                  <a:pt x="5616" y="754"/>
                </a:cubicBezTo>
                <a:lnTo>
                  <a:pt x="5616" y="757"/>
                </a:lnTo>
                <a:close/>
                <a:moveTo>
                  <a:pt x="5625" y="734"/>
                </a:moveTo>
                <a:cubicBezTo>
                  <a:pt x="5624" y="734"/>
                  <a:pt x="5623" y="734"/>
                  <a:pt x="5623" y="734"/>
                </a:cubicBezTo>
                <a:lnTo>
                  <a:pt x="5625" y="732"/>
                </a:lnTo>
                <a:cubicBezTo>
                  <a:pt x="5626" y="732"/>
                  <a:pt x="5627" y="731"/>
                  <a:pt x="5627" y="730"/>
                </a:cubicBezTo>
                <a:lnTo>
                  <a:pt x="5627" y="730"/>
                </a:lnTo>
                <a:cubicBezTo>
                  <a:pt x="5627" y="728"/>
                  <a:pt x="5628" y="726"/>
                  <a:pt x="5630" y="724"/>
                </a:cubicBezTo>
                <a:cubicBezTo>
                  <a:pt x="5632" y="722"/>
                  <a:pt x="5633" y="721"/>
                  <a:pt x="5633" y="721"/>
                </a:cubicBezTo>
                <a:lnTo>
                  <a:pt x="5634" y="721"/>
                </a:lnTo>
                <a:cubicBezTo>
                  <a:pt x="5634" y="722"/>
                  <a:pt x="5633" y="724"/>
                  <a:pt x="5631" y="727"/>
                </a:cubicBezTo>
                <a:cubicBezTo>
                  <a:pt x="5629" y="732"/>
                  <a:pt x="5627" y="734"/>
                  <a:pt x="5625" y="734"/>
                </a:cubicBezTo>
                <a:close/>
                <a:moveTo>
                  <a:pt x="5597" y="750"/>
                </a:moveTo>
                <a:lnTo>
                  <a:pt x="5596" y="750"/>
                </a:lnTo>
                <a:cubicBezTo>
                  <a:pt x="5596" y="750"/>
                  <a:pt x="5595" y="750"/>
                  <a:pt x="5595" y="750"/>
                </a:cubicBezTo>
                <a:lnTo>
                  <a:pt x="5595" y="749"/>
                </a:lnTo>
                <a:cubicBezTo>
                  <a:pt x="5598" y="743"/>
                  <a:pt x="5600" y="738"/>
                  <a:pt x="5603" y="733"/>
                </a:cubicBezTo>
                <a:cubicBezTo>
                  <a:pt x="5605" y="729"/>
                  <a:pt x="5607" y="727"/>
                  <a:pt x="5608" y="727"/>
                </a:cubicBezTo>
                <a:cubicBezTo>
                  <a:pt x="5609" y="727"/>
                  <a:pt x="5609" y="727"/>
                  <a:pt x="5609" y="728"/>
                </a:cubicBezTo>
                <a:cubicBezTo>
                  <a:pt x="5609" y="728"/>
                  <a:pt x="5609" y="729"/>
                  <a:pt x="5608" y="730"/>
                </a:cubicBezTo>
                <a:cubicBezTo>
                  <a:pt x="5607" y="730"/>
                  <a:pt x="5606" y="732"/>
                  <a:pt x="5605" y="735"/>
                </a:cubicBezTo>
                <a:cubicBezTo>
                  <a:pt x="5604" y="738"/>
                  <a:pt x="5603" y="740"/>
                  <a:pt x="5601" y="743"/>
                </a:cubicBezTo>
                <a:cubicBezTo>
                  <a:pt x="5600" y="745"/>
                  <a:pt x="5599" y="747"/>
                  <a:pt x="5599" y="747"/>
                </a:cubicBezTo>
                <a:lnTo>
                  <a:pt x="5599" y="748"/>
                </a:lnTo>
                <a:cubicBezTo>
                  <a:pt x="5599" y="749"/>
                  <a:pt x="5598" y="750"/>
                  <a:pt x="5597" y="750"/>
                </a:cubicBezTo>
                <a:close/>
                <a:moveTo>
                  <a:pt x="5597" y="789"/>
                </a:moveTo>
                <a:lnTo>
                  <a:pt x="5597" y="788"/>
                </a:lnTo>
                <a:cubicBezTo>
                  <a:pt x="5597" y="786"/>
                  <a:pt x="5598" y="784"/>
                  <a:pt x="5600" y="781"/>
                </a:cubicBezTo>
                <a:cubicBezTo>
                  <a:pt x="5601" y="778"/>
                  <a:pt x="5603" y="775"/>
                  <a:pt x="5605" y="772"/>
                </a:cubicBezTo>
                <a:cubicBezTo>
                  <a:pt x="5607" y="769"/>
                  <a:pt x="5608" y="768"/>
                  <a:pt x="5608" y="768"/>
                </a:cubicBezTo>
                <a:cubicBezTo>
                  <a:pt x="5609" y="768"/>
                  <a:pt x="5609" y="769"/>
                  <a:pt x="5609" y="770"/>
                </a:cubicBezTo>
                <a:cubicBezTo>
                  <a:pt x="5609" y="771"/>
                  <a:pt x="5609" y="771"/>
                  <a:pt x="5608" y="771"/>
                </a:cubicBezTo>
                <a:cubicBezTo>
                  <a:pt x="5607" y="771"/>
                  <a:pt x="5607" y="771"/>
                  <a:pt x="5607" y="772"/>
                </a:cubicBezTo>
                <a:lnTo>
                  <a:pt x="5607" y="774"/>
                </a:lnTo>
                <a:cubicBezTo>
                  <a:pt x="5607" y="775"/>
                  <a:pt x="5607" y="776"/>
                  <a:pt x="5606" y="776"/>
                </a:cubicBezTo>
                <a:cubicBezTo>
                  <a:pt x="5605" y="776"/>
                  <a:pt x="5603" y="778"/>
                  <a:pt x="5601" y="783"/>
                </a:cubicBezTo>
                <a:cubicBezTo>
                  <a:pt x="5599" y="787"/>
                  <a:pt x="5598" y="789"/>
                  <a:pt x="5597" y="789"/>
                </a:cubicBezTo>
                <a:close/>
                <a:moveTo>
                  <a:pt x="5717" y="383"/>
                </a:moveTo>
                <a:cubicBezTo>
                  <a:pt x="5717" y="382"/>
                  <a:pt x="5718" y="381"/>
                  <a:pt x="5720" y="378"/>
                </a:cubicBezTo>
                <a:cubicBezTo>
                  <a:pt x="5722" y="375"/>
                  <a:pt x="5724" y="374"/>
                  <a:pt x="5725" y="374"/>
                </a:cubicBezTo>
                <a:lnTo>
                  <a:pt x="5725" y="375"/>
                </a:lnTo>
                <a:cubicBezTo>
                  <a:pt x="5725" y="375"/>
                  <a:pt x="5724" y="376"/>
                  <a:pt x="5722" y="379"/>
                </a:cubicBezTo>
                <a:cubicBezTo>
                  <a:pt x="5720" y="382"/>
                  <a:pt x="5718" y="383"/>
                  <a:pt x="5717" y="383"/>
                </a:cubicBezTo>
                <a:close/>
                <a:moveTo>
                  <a:pt x="5609" y="722"/>
                </a:moveTo>
                <a:cubicBezTo>
                  <a:pt x="5609" y="722"/>
                  <a:pt x="5609" y="722"/>
                  <a:pt x="5609" y="721"/>
                </a:cubicBezTo>
                <a:lnTo>
                  <a:pt x="5610" y="718"/>
                </a:lnTo>
                <a:cubicBezTo>
                  <a:pt x="5612" y="715"/>
                  <a:pt x="5612" y="714"/>
                  <a:pt x="5613" y="714"/>
                </a:cubicBezTo>
                <a:cubicBezTo>
                  <a:pt x="5614" y="714"/>
                  <a:pt x="5614" y="715"/>
                  <a:pt x="5614" y="717"/>
                </a:cubicBezTo>
                <a:cubicBezTo>
                  <a:pt x="5614" y="719"/>
                  <a:pt x="5613" y="721"/>
                  <a:pt x="5611" y="721"/>
                </a:cubicBezTo>
                <a:lnTo>
                  <a:pt x="5609" y="722"/>
                </a:lnTo>
                <a:close/>
                <a:moveTo>
                  <a:pt x="5585" y="839"/>
                </a:moveTo>
                <a:cubicBezTo>
                  <a:pt x="5582" y="839"/>
                  <a:pt x="5579" y="838"/>
                  <a:pt x="5574" y="835"/>
                </a:cubicBezTo>
                <a:cubicBezTo>
                  <a:pt x="5561" y="826"/>
                  <a:pt x="5552" y="813"/>
                  <a:pt x="5546" y="795"/>
                </a:cubicBezTo>
                <a:cubicBezTo>
                  <a:pt x="5545" y="791"/>
                  <a:pt x="5544" y="785"/>
                  <a:pt x="5544" y="777"/>
                </a:cubicBezTo>
                <a:cubicBezTo>
                  <a:pt x="5544" y="760"/>
                  <a:pt x="5547" y="738"/>
                  <a:pt x="5551" y="710"/>
                </a:cubicBezTo>
                <a:cubicBezTo>
                  <a:pt x="5556" y="683"/>
                  <a:pt x="5562" y="655"/>
                  <a:pt x="5570" y="628"/>
                </a:cubicBezTo>
                <a:cubicBezTo>
                  <a:pt x="5585" y="577"/>
                  <a:pt x="5601" y="529"/>
                  <a:pt x="5618" y="484"/>
                </a:cubicBezTo>
                <a:cubicBezTo>
                  <a:pt x="5623" y="470"/>
                  <a:pt x="5626" y="463"/>
                  <a:pt x="5626" y="461"/>
                </a:cubicBezTo>
                <a:cubicBezTo>
                  <a:pt x="5627" y="456"/>
                  <a:pt x="5636" y="436"/>
                  <a:pt x="5651" y="400"/>
                </a:cubicBezTo>
                <a:cubicBezTo>
                  <a:pt x="5657" y="385"/>
                  <a:pt x="5660" y="376"/>
                  <a:pt x="5660" y="373"/>
                </a:cubicBezTo>
                <a:cubicBezTo>
                  <a:pt x="5660" y="371"/>
                  <a:pt x="5661" y="370"/>
                  <a:pt x="5662" y="370"/>
                </a:cubicBezTo>
                <a:cubicBezTo>
                  <a:pt x="5663" y="370"/>
                  <a:pt x="5664" y="369"/>
                  <a:pt x="5664" y="369"/>
                </a:cubicBezTo>
                <a:lnTo>
                  <a:pt x="5664" y="368"/>
                </a:lnTo>
                <a:cubicBezTo>
                  <a:pt x="5664" y="366"/>
                  <a:pt x="5664" y="365"/>
                  <a:pt x="5665" y="364"/>
                </a:cubicBezTo>
                <a:cubicBezTo>
                  <a:pt x="5666" y="360"/>
                  <a:pt x="5668" y="358"/>
                  <a:pt x="5669" y="358"/>
                </a:cubicBezTo>
                <a:lnTo>
                  <a:pt x="5669" y="359"/>
                </a:lnTo>
                <a:cubicBezTo>
                  <a:pt x="5669" y="360"/>
                  <a:pt x="5668" y="364"/>
                  <a:pt x="5666" y="370"/>
                </a:cubicBezTo>
                <a:cubicBezTo>
                  <a:pt x="5664" y="377"/>
                  <a:pt x="5661" y="383"/>
                  <a:pt x="5659" y="390"/>
                </a:cubicBezTo>
                <a:cubicBezTo>
                  <a:pt x="5656" y="397"/>
                  <a:pt x="5653" y="403"/>
                  <a:pt x="5651" y="407"/>
                </a:cubicBezTo>
                <a:cubicBezTo>
                  <a:pt x="5651" y="409"/>
                  <a:pt x="5650" y="410"/>
                  <a:pt x="5650" y="411"/>
                </a:cubicBezTo>
                <a:cubicBezTo>
                  <a:pt x="5650" y="412"/>
                  <a:pt x="5650" y="413"/>
                  <a:pt x="5651" y="413"/>
                </a:cubicBezTo>
                <a:cubicBezTo>
                  <a:pt x="5651" y="414"/>
                  <a:pt x="5651" y="414"/>
                  <a:pt x="5651" y="415"/>
                </a:cubicBezTo>
                <a:cubicBezTo>
                  <a:pt x="5651" y="415"/>
                  <a:pt x="5651" y="416"/>
                  <a:pt x="5649" y="416"/>
                </a:cubicBezTo>
                <a:cubicBezTo>
                  <a:pt x="5648" y="416"/>
                  <a:pt x="5648" y="419"/>
                  <a:pt x="5648" y="424"/>
                </a:cubicBezTo>
                <a:lnTo>
                  <a:pt x="5648" y="430"/>
                </a:lnTo>
                <a:cubicBezTo>
                  <a:pt x="5648" y="430"/>
                  <a:pt x="5649" y="428"/>
                  <a:pt x="5651" y="423"/>
                </a:cubicBezTo>
                <a:lnTo>
                  <a:pt x="5651" y="421"/>
                </a:lnTo>
                <a:cubicBezTo>
                  <a:pt x="5655" y="411"/>
                  <a:pt x="5657" y="406"/>
                  <a:pt x="5659" y="404"/>
                </a:cubicBezTo>
                <a:cubicBezTo>
                  <a:pt x="5662" y="401"/>
                  <a:pt x="5663" y="398"/>
                  <a:pt x="5664" y="396"/>
                </a:cubicBezTo>
                <a:cubicBezTo>
                  <a:pt x="5664" y="392"/>
                  <a:pt x="5666" y="387"/>
                  <a:pt x="5669" y="383"/>
                </a:cubicBezTo>
                <a:lnTo>
                  <a:pt x="5671" y="376"/>
                </a:lnTo>
                <a:lnTo>
                  <a:pt x="5672" y="372"/>
                </a:lnTo>
                <a:lnTo>
                  <a:pt x="5672" y="371"/>
                </a:lnTo>
                <a:cubicBezTo>
                  <a:pt x="5672" y="370"/>
                  <a:pt x="5672" y="370"/>
                  <a:pt x="5673" y="370"/>
                </a:cubicBezTo>
                <a:cubicBezTo>
                  <a:pt x="5674" y="370"/>
                  <a:pt x="5675" y="369"/>
                  <a:pt x="5675" y="368"/>
                </a:cubicBezTo>
                <a:lnTo>
                  <a:pt x="5674" y="365"/>
                </a:lnTo>
                <a:cubicBezTo>
                  <a:pt x="5674" y="362"/>
                  <a:pt x="5675" y="361"/>
                  <a:pt x="5676" y="361"/>
                </a:cubicBezTo>
                <a:cubicBezTo>
                  <a:pt x="5677" y="360"/>
                  <a:pt x="5677" y="360"/>
                  <a:pt x="5677" y="360"/>
                </a:cubicBezTo>
                <a:lnTo>
                  <a:pt x="5676" y="357"/>
                </a:lnTo>
                <a:cubicBezTo>
                  <a:pt x="5676" y="357"/>
                  <a:pt x="5677" y="356"/>
                  <a:pt x="5678" y="356"/>
                </a:cubicBezTo>
                <a:cubicBezTo>
                  <a:pt x="5679" y="356"/>
                  <a:pt x="5679" y="356"/>
                  <a:pt x="5679" y="355"/>
                </a:cubicBezTo>
                <a:cubicBezTo>
                  <a:pt x="5679" y="355"/>
                  <a:pt x="5679" y="354"/>
                  <a:pt x="5678" y="353"/>
                </a:cubicBezTo>
                <a:cubicBezTo>
                  <a:pt x="5677" y="352"/>
                  <a:pt x="5676" y="351"/>
                  <a:pt x="5676" y="350"/>
                </a:cubicBezTo>
                <a:cubicBezTo>
                  <a:pt x="5676" y="350"/>
                  <a:pt x="5677" y="350"/>
                  <a:pt x="5679" y="350"/>
                </a:cubicBezTo>
                <a:lnTo>
                  <a:pt x="5681" y="350"/>
                </a:lnTo>
                <a:cubicBezTo>
                  <a:pt x="5683" y="350"/>
                  <a:pt x="5683" y="350"/>
                  <a:pt x="5683" y="349"/>
                </a:cubicBezTo>
                <a:lnTo>
                  <a:pt x="5682" y="345"/>
                </a:lnTo>
                <a:cubicBezTo>
                  <a:pt x="5682" y="345"/>
                  <a:pt x="5682" y="345"/>
                  <a:pt x="5683" y="345"/>
                </a:cubicBezTo>
                <a:lnTo>
                  <a:pt x="5686" y="347"/>
                </a:lnTo>
                <a:lnTo>
                  <a:pt x="5686" y="346"/>
                </a:lnTo>
                <a:cubicBezTo>
                  <a:pt x="5686" y="346"/>
                  <a:pt x="5686" y="345"/>
                  <a:pt x="5685" y="345"/>
                </a:cubicBezTo>
                <a:cubicBezTo>
                  <a:pt x="5684" y="344"/>
                  <a:pt x="5684" y="343"/>
                  <a:pt x="5684" y="342"/>
                </a:cubicBezTo>
                <a:cubicBezTo>
                  <a:pt x="5684" y="335"/>
                  <a:pt x="5689" y="321"/>
                  <a:pt x="5700" y="299"/>
                </a:cubicBezTo>
                <a:cubicBezTo>
                  <a:pt x="5700" y="299"/>
                  <a:pt x="5701" y="299"/>
                  <a:pt x="5701" y="299"/>
                </a:cubicBezTo>
                <a:lnTo>
                  <a:pt x="5704" y="291"/>
                </a:lnTo>
                <a:lnTo>
                  <a:pt x="5705" y="285"/>
                </a:lnTo>
                <a:cubicBezTo>
                  <a:pt x="5705" y="280"/>
                  <a:pt x="5706" y="278"/>
                  <a:pt x="5707" y="278"/>
                </a:cubicBezTo>
                <a:lnTo>
                  <a:pt x="5708" y="279"/>
                </a:lnTo>
                <a:cubicBezTo>
                  <a:pt x="5709" y="279"/>
                  <a:pt x="5714" y="272"/>
                  <a:pt x="5720" y="260"/>
                </a:cubicBezTo>
                <a:cubicBezTo>
                  <a:pt x="5727" y="247"/>
                  <a:pt x="5730" y="240"/>
                  <a:pt x="5730" y="239"/>
                </a:cubicBezTo>
                <a:cubicBezTo>
                  <a:pt x="5730" y="236"/>
                  <a:pt x="5731" y="235"/>
                  <a:pt x="5733" y="235"/>
                </a:cubicBezTo>
                <a:cubicBezTo>
                  <a:pt x="5734" y="235"/>
                  <a:pt x="5735" y="234"/>
                  <a:pt x="5735" y="233"/>
                </a:cubicBezTo>
                <a:cubicBezTo>
                  <a:pt x="5735" y="231"/>
                  <a:pt x="5736" y="230"/>
                  <a:pt x="5736" y="229"/>
                </a:cubicBezTo>
                <a:lnTo>
                  <a:pt x="5736" y="226"/>
                </a:lnTo>
                <a:cubicBezTo>
                  <a:pt x="5736" y="224"/>
                  <a:pt x="5737" y="223"/>
                  <a:pt x="5739" y="223"/>
                </a:cubicBezTo>
                <a:cubicBezTo>
                  <a:pt x="5741" y="223"/>
                  <a:pt x="5742" y="222"/>
                  <a:pt x="5743" y="220"/>
                </a:cubicBezTo>
                <a:cubicBezTo>
                  <a:pt x="5744" y="218"/>
                  <a:pt x="5745" y="215"/>
                  <a:pt x="5745" y="213"/>
                </a:cubicBezTo>
                <a:cubicBezTo>
                  <a:pt x="5745" y="211"/>
                  <a:pt x="5746" y="208"/>
                  <a:pt x="5748" y="205"/>
                </a:cubicBezTo>
                <a:cubicBezTo>
                  <a:pt x="5753" y="196"/>
                  <a:pt x="5757" y="191"/>
                  <a:pt x="5759" y="191"/>
                </a:cubicBezTo>
                <a:cubicBezTo>
                  <a:pt x="5760" y="191"/>
                  <a:pt x="5761" y="191"/>
                  <a:pt x="5761" y="190"/>
                </a:cubicBezTo>
                <a:cubicBezTo>
                  <a:pt x="5761" y="190"/>
                  <a:pt x="5763" y="189"/>
                  <a:pt x="5764" y="187"/>
                </a:cubicBezTo>
                <a:cubicBezTo>
                  <a:pt x="5764" y="187"/>
                  <a:pt x="5764" y="187"/>
                  <a:pt x="5764" y="187"/>
                </a:cubicBezTo>
                <a:lnTo>
                  <a:pt x="5761" y="188"/>
                </a:lnTo>
                <a:lnTo>
                  <a:pt x="5761" y="187"/>
                </a:lnTo>
                <a:lnTo>
                  <a:pt x="5765" y="184"/>
                </a:lnTo>
                <a:lnTo>
                  <a:pt x="5767" y="180"/>
                </a:lnTo>
                <a:lnTo>
                  <a:pt x="5766" y="181"/>
                </a:lnTo>
                <a:lnTo>
                  <a:pt x="5766" y="181"/>
                </a:lnTo>
                <a:lnTo>
                  <a:pt x="5769" y="178"/>
                </a:lnTo>
                <a:cubicBezTo>
                  <a:pt x="5771" y="176"/>
                  <a:pt x="5772" y="174"/>
                  <a:pt x="5772" y="174"/>
                </a:cubicBezTo>
                <a:lnTo>
                  <a:pt x="5771" y="174"/>
                </a:lnTo>
                <a:lnTo>
                  <a:pt x="5770" y="174"/>
                </a:lnTo>
                <a:cubicBezTo>
                  <a:pt x="5770" y="174"/>
                  <a:pt x="5770" y="174"/>
                  <a:pt x="5770" y="174"/>
                </a:cubicBezTo>
                <a:cubicBezTo>
                  <a:pt x="5770" y="173"/>
                  <a:pt x="5771" y="172"/>
                  <a:pt x="5773" y="171"/>
                </a:cubicBezTo>
                <a:cubicBezTo>
                  <a:pt x="5776" y="167"/>
                  <a:pt x="5778" y="165"/>
                  <a:pt x="5778" y="164"/>
                </a:cubicBezTo>
                <a:cubicBezTo>
                  <a:pt x="5778" y="163"/>
                  <a:pt x="5781" y="159"/>
                  <a:pt x="5786" y="152"/>
                </a:cubicBezTo>
                <a:cubicBezTo>
                  <a:pt x="5792" y="145"/>
                  <a:pt x="5797" y="139"/>
                  <a:pt x="5801" y="133"/>
                </a:cubicBezTo>
                <a:cubicBezTo>
                  <a:pt x="5804" y="127"/>
                  <a:pt x="5807" y="125"/>
                  <a:pt x="5808" y="125"/>
                </a:cubicBezTo>
                <a:cubicBezTo>
                  <a:pt x="5808" y="125"/>
                  <a:pt x="5811" y="122"/>
                  <a:pt x="5814" y="116"/>
                </a:cubicBezTo>
                <a:cubicBezTo>
                  <a:pt x="5815" y="113"/>
                  <a:pt x="5817" y="111"/>
                  <a:pt x="5818" y="110"/>
                </a:cubicBezTo>
                <a:cubicBezTo>
                  <a:pt x="5819" y="108"/>
                  <a:pt x="5820" y="107"/>
                  <a:pt x="5821" y="107"/>
                </a:cubicBezTo>
                <a:cubicBezTo>
                  <a:pt x="5822" y="107"/>
                  <a:pt x="5822" y="107"/>
                  <a:pt x="5823" y="106"/>
                </a:cubicBezTo>
                <a:cubicBezTo>
                  <a:pt x="5823" y="106"/>
                  <a:pt x="5823" y="105"/>
                  <a:pt x="5823" y="104"/>
                </a:cubicBezTo>
                <a:lnTo>
                  <a:pt x="5823" y="103"/>
                </a:lnTo>
                <a:cubicBezTo>
                  <a:pt x="5823" y="101"/>
                  <a:pt x="5824" y="99"/>
                  <a:pt x="5826" y="98"/>
                </a:cubicBezTo>
                <a:cubicBezTo>
                  <a:pt x="5827" y="96"/>
                  <a:pt x="5829" y="96"/>
                  <a:pt x="5831" y="96"/>
                </a:cubicBezTo>
                <a:cubicBezTo>
                  <a:pt x="5831" y="96"/>
                  <a:pt x="5832" y="95"/>
                  <a:pt x="5832" y="95"/>
                </a:cubicBezTo>
                <a:cubicBezTo>
                  <a:pt x="5833" y="94"/>
                  <a:pt x="5833" y="93"/>
                  <a:pt x="5833" y="92"/>
                </a:cubicBezTo>
                <a:cubicBezTo>
                  <a:pt x="5833" y="91"/>
                  <a:pt x="5834" y="89"/>
                  <a:pt x="5837" y="86"/>
                </a:cubicBezTo>
                <a:cubicBezTo>
                  <a:pt x="5840" y="82"/>
                  <a:pt x="5844" y="78"/>
                  <a:pt x="5848" y="74"/>
                </a:cubicBezTo>
                <a:cubicBezTo>
                  <a:pt x="5855" y="68"/>
                  <a:pt x="5859" y="64"/>
                  <a:pt x="5859" y="64"/>
                </a:cubicBezTo>
                <a:cubicBezTo>
                  <a:pt x="5858" y="64"/>
                  <a:pt x="5858" y="64"/>
                  <a:pt x="5857" y="65"/>
                </a:cubicBezTo>
                <a:cubicBezTo>
                  <a:pt x="5854" y="68"/>
                  <a:pt x="5852" y="69"/>
                  <a:pt x="5852" y="69"/>
                </a:cubicBezTo>
                <a:cubicBezTo>
                  <a:pt x="5852" y="68"/>
                  <a:pt x="5854" y="67"/>
                  <a:pt x="5857" y="63"/>
                </a:cubicBezTo>
                <a:lnTo>
                  <a:pt x="5861" y="59"/>
                </a:lnTo>
                <a:lnTo>
                  <a:pt x="5865" y="57"/>
                </a:lnTo>
                <a:cubicBezTo>
                  <a:pt x="5867" y="57"/>
                  <a:pt x="5869" y="56"/>
                  <a:pt x="5871" y="54"/>
                </a:cubicBezTo>
                <a:cubicBezTo>
                  <a:pt x="5875" y="50"/>
                  <a:pt x="5880" y="47"/>
                  <a:pt x="5884" y="44"/>
                </a:cubicBezTo>
                <a:cubicBezTo>
                  <a:pt x="5889" y="41"/>
                  <a:pt x="5892" y="39"/>
                  <a:pt x="5893" y="39"/>
                </a:cubicBezTo>
                <a:cubicBezTo>
                  <a:pt x="5895" y="39"/>
                  <a:pt x="5896" y="38"/>
                  <a:pt x="5897" y="37"/>
                </a:cubicBezTo>
                <a:cubicBezTo>
                  <a:pt x="5900" y="35"/>
                  <a:pt x="5902" y="34"/>
                  <a:pt x="5902" y="33"/>
                </a:cubicBezTo>
                <a:lnTo>
                  <a:pt x="5897" y="34"/>
                </a:lnTo>
                <a:cubicBezTo>
                  <a:pt x="5897" y="32"/>
                  <a:pt x="5900" y="30"/>
                  <a:pt x="5904" y="29"/>
                </a:cubicBezTo>
                <a:cubicBezTo>
                  <a:pt x="5907" y="28"/>
                  <a:pt x="5911" y="27"/>
                  <a:pt x="5914" y="27"/>
                </a:cubicBezTo>
                <a:cubicBezTo>
                  <a:pt x="5919" y="27"/>
                  <a:pt x="5924" y="30"/>
                  <a:pt x="5929" y="34"/>
                </a:cubicBezTo>
                <a:cubicBezTo>
                  <a:pt x="5932" y="36"/>
                  <a:pt x="5933" y="38"/>
                  <a:pt x="5933" y="40"/>
                </a:cubicBezTo>
                <a:lnTo>
                  <a:pt x="5932" y="41"/>
                </a:lnTo>
                <a:lnTo>
                  <a:pt x="5932" y="41"/>
                </a:lnTo>
                <a:cubicBezTo>
                  <a:pt x="5930" y="41"/>
                  <a:pt x="5929" y="40"/>
                  <a:pt x="5928" y="38"/>
                </a:cubicBezTo>
                <a:cubicBezTo>
                  <a:pt x="5927" y="36"/>
                  <a:pt x="5926" y="35"/>
                  <a:pt x="5926" y="35"/>
                </a:cubicBezTo>
                <a:cubicBezTo>
                  <a:pt x="5926" y="39"/>
                  <a:pt x="5930" y="43"/>
                  <a:pt x="5937" y="47"/>
                </a:cubicBezTo>
                <a:cubicBezTo>
                  <a:pt x="5942" y="48"/>
                  <a:pt x="5944" y="50"/>
                  <a:pt x="5946" y="53"/>
                </a:cubicBezTo>
                <a:cubicBezTo>
                  <a:pt x="5948" y="56"/>
                  <a:pt x="5949" y="59"/>
                  <a:pt x="5949" y="64"/>
                </a:cubicBezTo>
                <a:cubicBezTo>
                  <a:pt x="5949" y="74"/>
                  <a:pt x="5947" y="86"/>
                  <a:pt x="5943" y="101"/>
                </a:cubicBezTo>
                <a:cubicBezTo>
                  <a:pt x="5940" y="110"/>
                  <a:pt x="5937" y="117"/>
                  <a:pt x="5935" y="122"/>
                </a:cubicBezTo>
                <a:cubicBezTo>
                  <a:pt x="5933" y="124"/>
                  <a:pt x="5933" y="125"/>
                  <a:pt x="5933" y="126"/>
                </a:cubicBezTo>
                <a:cubicBezTo>
                  <a:pt x="5933" y="126"/>
                  <a:pt x="5933" y="127"/>
                  <a:pt x="5933" y="127"/>
                </a:cubicBezTo>
                <a:cubicBezTo>
                  <a:pt x="5934" y="127"/>
                  <a:pt x="5934" y="127"/>
                  <a:pt x="5934" y="127"/>
                </a:cubicBezTo>
                <a:cubicBezTo>
                  <a:pt x="5934" y="127"/>
                  <a:pt x="5933" y="128"/>
                  <a:pt x="5932" y="129"/>
                </a:cubicBezTo>
                <a:cubicBezTo>
                  <a:pt x="5930" y="130"/>
                  <a:pt x="5929" y="133"/>
                  <a:pt x="5929" y="136"/>
                </a:cubicBezTo>
                <a:cubicBezTo>
                  <a:pt x="5929" y="139"/>
                  <a:pt x="5928" y="142"/>
                  <a:pt x="5927" y="142"/>
                </a:cubicBezTo>
                <a:lnTo>
                  <a:pt x="5926" y="141"/>
                </a:lnTo>
                <a:cubicBezTo>
                  <a:pt x="5926" y="141"/>
                  <a:pt x="5926" y="142"/>
                  <a:pt x="5926" y="142"/>
                </a:cubicBezTo>
                <a:lnTo>
                  <a:pt x="5926" y="144"/>
                </a:lnTo>
                <a:cubicBezTo>
                  <a:pt x="5926" y="146"/>
                  <a:pt x="5926" y="147"/>
                  <a:pt x="5924" y="148"/>
                </a:cubicBezTo>
                <a:cubicBezTo>
                  <a:pt x="5922" y="149"/>
                  <a:pt x="5922" y="150"/>
                  <a:pt x="5922" y="152"/>
                </a:cubicBezTo>
                <a:lnTo>
                  <a:pt x="5922" y="157"/>
                </a:lnTo>
                <a:cubicBezTo>
                  <a:pt x="5922" y="158"/>
                  <a:pt x="5922" y="158"/>
                  <a:pt x="5922" y="158"/>
                </a:cubicBezTo>
                <a:lnTo>
                  <a:pt x="5919" y="157"/>
                </a:lnTo>
                <a:cubicBezTo>
                  <a:pt x="5919" y="157"/>
                  <a:pt x="5919" y="157"/>
                  <a:pt x="5919" y="158"/>
                </a:cubicBezTo>
                <a:lnTo>
                  <a:pt x="5920" y="162"/>
                </a:lnTo>
                <a:lnTo>
                  <a:pt x="5917" y="161"/>
                </a:lnTo>
                <a:lnTo>
                  <a:pt x="5918" y="166"/>
                </a:lnTo>
                <a:cubicBezTo>
                  <a:pt x="5918" y="167"/>
                  <a:pt x="5918" y="167"/>
                  <a:pt x="5917" y="167"/>
                </a:cubicBezTo>
                <a:lnTo>
                  <a:pt x="5915" y="166"/>
                </a:lnTo>
                <a:cubicBezTo>
                  <a:pt x="5915" y="166"/>
                  <a:pt x="5914" y="166"/>
                  <a:pt x="5914" y="167"/>
                </a:cubicBezTo>
                <a:lnTo>
                  <a:pt x="5916" y="171"/>
                </a:lnTo>
                <a:cubicBezTo>
                  <a:pt x="5916" y="171"/>
                  <a:pt x="5915" y="171"/>
                  <a:pt x="5915" y="171"/>
                </a:cubicBezTo>
                <a:lnTo>
                  <a:pt x="5913" y="171"/>
                </a:lnTo>
                <a:cubicBezTo>
                  <a:pt x="5913" y="171"/>
                  <a:pt x="5912" y="171"/>
                  <a:pt x="5912" y="172"/>
                </a:cubicBezTo>
                <a:lnTo>
                  <a:pt x="5914" y="179"/>
                </a:lnTo>
                <a:lnTo>
                  <a:pt x="5912" y="178"/>
                </a:lnTo>
                <a:cubicBezTo>
                  <a:pt x="5912" y="177"/>
                  <a:pt x="5911" y="176"/>
                  <a:pt x="5911" y="176"/>
                </a:cubicBezTo>
                <a:cubicBezTo>
                  <a:pt x="5910" y="176"/>
                  <a:pt x="5909" y="178"/>
                  <a:pt x="5909" y="182"/>
                </a:cubicBezTo>
                <a:cubicBezTo>
                  <a:pt x="5909" y="183"/>
                  <a:pt x="5909" y="184"/>
                  <a:pt x="5909" y="185"/>
                </a:cubicBezTo>
                <a:cubicBezTo>
                  <a:pt x="5910" y="186"/>
                  <a:pt x="5910" y="186"/>
                  <a:pt x="5910" y="187"/>
                </a:cubicBezTo>
                <a:cubicBezTo>
                  <a:pt x="5910" y="188"/>
                  <a:pt x="5909" y="188"/>
                  <a:pt x="5909" y="188"/>
                </a:cubicBezTo>
                <a:lnTo>
                  <a:pt x="5907" y="188"/>
                </a:lnTo>
                <a:cubicBezTo>
                  <a:pt x="5906" y="188"/>
                  <a:pt x="5905" y="189"/>
                  <a:pt x="5905" y="191"/>
                </a:cubicBezTo>
                <a:cubicBezTo>
                  <a:pt x="5905" y="193"/>
                  <a:pt x="5905" y="194"/>
                  <a:pt x="5904" y="194"/>
                </a:cubicBezTo>
                <a:lnTo>
                  <a:pt x="5903" y="194"/>
                </a:lnTo>
                <a:cubicBezTo>
                  <a:pt x="5902" y="194"/>
                  <a:pt x="5901" y="195"/>
                  <a:pt x="5900" y="197"/>
                </a:cubicBezTo>
                <a:cubicBezTo>
                  <a:pt x="5900" y="199"/>
                  <a:pt x="5899" y="201"/>
                  <a:pt x="5899" y="201"/>
                </a:cubicBezTo>
                <a:cubicBezTo>
                  <a:pt x="5899" y="202"/>
                  <a:pt x="5899" y="202"/>
                  <a:pt x="5900" y="202"/>
                </a:cubicBezTo>
                <a:lnTo>
                  <a:pt x="5903" y="200"/>
                </a:lnTo>
                <a:cubicBezTo>
                  <a:pt x="5903" y="201"/>
                  <a:pt x="5903" y="201"/>
                  <a:pt x="5902" y="202"/>
                </a:cubicBezTo>
                <a:cubicBezTo>
                  <a:pt x="5902" y="203"/>
                  <a:pt x="5901" y="204"/>
                  <a:pt x="5900" y="204"/>
                </a:cubicBezTo>
                <a:lnTo>
                  <a:pt x="5899" y="203"/>
                </a:lnTo>
                <a:cubicBezTo>
                  <a:pt x="5897" y="203"/>
                  <a:pt x="5896" y="205"/>
                  <a:pt x="5895" y="208"/>
                </a:cubicBezTo>
                <a:lnTo>
                  <a:pt x="5894" y="213"/>
                </a:lnTo>
                <a:lnTo>
                  <a:pt x="5896" y="212"/>
                </a:lnTo>
                <a:cubicBezTo>
                  <a:pt x="5897" y="212"/>
                  <a:pt x="5897" y="212"/>
                  <a:pt x="5897" y="213"/>
                </a:cubicBezTo>
                <a:cubicBezTo>
                  <a:pt x="5897" y="213"/>
                  <a:pt x="5896" y="213"/>
                  <a:pt x="5896" y="215"/>
                </a:cubicBezTo>
                <a:cubicBezTo>
                  <a:pt x="5895" y="216"/>
                  <a:pt x="5895" y="216"/>
                  <a:pt x="5893" y="216"/>
                </a:cubicBezTo>
                <a:lnTo>
                  <a:pt x="5892" y="216"/>
                </a:lnTo>
                <a:cubicBezTo>
                  <a:pt x="5891" y="216"/>
                  <a:pt x="5891" y="218"/>
                  <a:pt x="5891" y="220"/>
                </a:cubicBezTo>
                <a:lnTo>
                  <a:pt x="5891" y="222"/>
                </a:lnTo>
                <a:cubicBezTo>
                  <a:pt x="5891" y="222"/>
                  <a:pt x="5891" y="222"/>
                  <a:pt x="5891" y="222"/>
                </a:cubicBezTo>
                <a:lnTo>
                  <a:pt x="5890" y="222"/>
                </a:lnTo>
                <a:cubicBezTo>
                  <a:pt x="5889" y="222"/>
                  <a:pt x="5887" y="224"/>
                  <a:pt x="5885" y="228"/>
                </a:cubicBezTo>
                <a:lnTo>
                  <a:pt x="5882" y="234"/>
                </a:lnTo>
                <a:cubicBezTo>
                  <a:pt x="5883" y="234"/>
                  <a:pt x="5884" y="233"/>
                  <a:pt x="5886" y="230"/>
                </a:cubicBezTo>
                <a:lnTo>
                  <a:pt x="5890" y="227"/>
                </a:lnTo>
                <a:lnTo>
                  <a:pt x="5889" y="228"/>
                </a:lnTo>
                <a:cubicBezTo>
                  <a:pt x="5888" y="229"/>
                  <a:pt x="5886" y="232"/>
                  <a:pt x="5884" y="237"/>
                </a:cubicBezTo>
                <a:cubicBezTo>
                  <a:pt x="5881" y="242"/>
                  <a:pt x="5878" y="247"/>
                  <a:pt x="5874" y="253"/>
                </a:cubicBezTo>
                <a:cubicBezTo>
                  <a:pt x="5871" y="259"/>
                  <a:pt x="5868" y="264"/>
                  <a:pt x="5865" y="267"/>
                </a:cubicBezTo>
                <a:cubicBezTo>
                  <a:pt x="5863" y="272"/>
                  <a:pt x="5861" y="274"/>
                  <a:pt x="5861" y="274"/>
                </a:cubicBezTo>
                <a:cubicBezTo>
                  <a:pt x="5860" y="274"/>
                  <a:pt x="5860" y="273"/>
                  <a:pt x="5860" y="273"/>
                </a:cubicBezTo>
                <a:lnTo>
                  <a:pt x="5862" y="269"/>
                </a:lnTo>
                <a:cubicBezTo>
                  <a:pt x="5862" y="269"/>
                  <a:pt x="5861" y="269"/>
                  <a:pt x="5860" y="270"/>
                </a:cubicBezTo>
                <a:cubicBezTo>
                  <a:pt x="5859" y="271"/>
                  <a:pt x="5859" y="272"/>
                  <a:pt x="5859" y="275"/>
                </a:cubicBezTo>
                <a:lnTo>
                  <a:pt x="5859" y="276"/>
                </a:lnTo>
                <a:cubicBezTo>
                  <a:pt x="5859" y="277"/>
                  <a:pt x="5859" y="277"/>
                  <a:pt x="5858" y="278"/>
                </a:cubicBezTo>
                <a:cubicBezTo>
                  <a:pt x="5857" y="279"/>
                  <a:pt x="5856" y="280"/>
                  <a:pt x="5855" y="281"/>
                </a:cubicBezTo>
                <a:cubicBezTo>
                  <a:pt x="5855" y="282"/>
                  <a:pt x="5854" y="283"/>
                  <a:pt x="5854" y="283"/>
                </a:cubicBezTo>
                <a:cubicBezTo>
                  <a:pt x="5854" y="282"/>
                  <a:pt x="5854" y="281"/>
                  <a:pt x="5855" y="279"/>
                </a:cubicBezTo>
                <a:cubicBezTo>
                  <a:pt x="5857" y="278"/>
                  <a:pt x="5857" y="277"/>
                  <a:pt x="5857" y="277"/>
                </a:cubicBezTo>
                <a:cubicBezTo>
                  <a:pt x="5857" y="276"/>
                  <a:pt x="5857" y="276"/>
                  <a:pt x="5857" y="276"/>
                </a:cubicBezTo>
                <a:lnTo>
                  <a:pt x="5856" y="277"/>
                </a:lnTo>
                <a:cubicBezTo>
                  <a:pt x="5855" y="277"/>
                  <a:pt x="5855" y="278"/>
                  <a:pt x="5854" y="279"/>
                </a:cubicBezTo>
                <a:cubicBezTo>
                  <a:pt x="5853" y="280"/>
                  <a:pt x="5852" y="281"/>
                  <a:pt x="5851" y="283"/>
                </a:cubicBezTo>
                <a:cubicBezTo>
                  <a:pt x="5850" y="285"/>
                  <a:pt x="5850" y="286"/>
                  <a:pt x="5850" y="286"/>
                </a:cubicBezTo>
                <a:cubicBezTo>
                  <a:pt x="5850" y="286"/>
                  <a:pt x="5850" y="287"/>
                  <a:pt x="5850" y="287"/>
                </a:cubicBezTo>
                <a:lnTo>
                  <a:pt x="5852" y="286"/>
                </a:lnTo>
                <a:cubicBezTo>
                  <a:pt x="5852" y="286"/>
                  <a:pt x="5851" y="288"/>
                  <a:pt x="5848" y="291"/>
                </a:cubicBezTo>
                <a:cubicBezTo>
                  <a:pt x="5840" y="299"/>
                  <a:pt x="5833" y="308"/>
                  <a:pt x="5828" y="318"/>
                </a:cubicBezTo>
                <a:cubicBezTo>
                  <a:pt x="5825" y="322"/>
                  <a:pt x="5824" y="324"/>
                  <a:pt x="5823" y="324"/>
                </a:cubicBezTo>
                <a:cubicBezTo>
                  <a:pt x="5822" y="324"/>
                  <a:pt x="5821" y="325"/>
                  <a:pt x="5821" y="326"/>
                </a:cubicBezTo>
                <a:cubicBezTo>
                  <a:pt x="5821" y="328"/>
                  <a:pt x="5819" y="331"/>
                  <a:pt x="5814" y="337"/>
                </a:cubicBezTo>
                <a:cubicBezTo>
                  <a:pt x="5812" y="339"/>
                  <a:pt x="5810" y="342"/>
                  <a:pt x="5808" y="345"/>
                </a:cubicBezTo>
                <a:cubicBezTo>
                  <a:pt x="5784" y="375"/>
                  <a:pt x="5760" y="402"/>
                  <a:pt x="5733" y="427"/>
                </a:cubicBezTo>
                <a:cubicBezTo>
                  <a:pt x="5721" y="438"/>
                  <a:pt x="5714" y="445"/>
                  <a:pt x="5710" y="446"/>
                </a:cubicBezTo>
                <a:cubicBezTo>
                  <a:pt x="5709" y="446"/>
                  <a:pt x="5707" y="447"/>
                  <a:pt x="5704" y="450"/>
                </a:cubicBezTo>
                <a:cubicBezTo>
                  <a:pt x="5702" y="451"/>
                  <a:pt x="5701" y="451"/>
                  <a:pt x="5699" y="451"/>
                </a:cubicBezTo>
                <a:lnTo>
                  <a:pt x="5695" y="451"/>
                </a:lnTo>
                <a:cubicBezTo>
                  <a:pt x="5693" y="451"/>
                  <a:pt x="5693" y="451"/>
                  <a:pt x="5693" y="452"/>
                </a:cubicBezTo>
                <a:cubicBezTo>
                  <a:pt x="5693" y="453"/>
                  <a:pt x="5691" y="454"/>
                  <a:pt x="5687" y="454"/>
                </a:cubicBezTo>
                <a:lnTo>
                  <a:pt x="5684" y="453"/>
                </a:lnTo>
                <a:cubicBezTo>
                  <a:pt x="5683" y="453"/>
                  <a:pt x="5682" y="454"/>
                  <a:pt x="5681" y="456"/>
                </a:cubicBezTo>
                <a:cubicBezTo>
                  <a:pt x="5679" y="458"/>
                  <a:pt x="5678" y="461"/>
                  <a:pt x="5676" y="465"/>
                </a:cubicBezTo>
                <a:cubicBezTo>
                  <a:pt x="5659" y="508"/>
                  <a:pt x="5639" y="563"/>
                  <a:pt x="5619" y="629"/>
                </a:cubicBezTo>
                <a:cubicBezTo>
                  <a:pt x="5610" y="656"/>
                  <a:pt x="5606" y="672"/>
                  <a:pt x="5605" y="679"/>
                </a:cubicBezTo>
                <a:cubicBezTo>
                  <a:pt x="5605" y="684"/>
                  <a:pt x="5604" y="687"/>
                  <a:pt x="5603" y="687"/>
                </a:cubicBezTo>
                <a:lnTo>
                  <a:pt x="5597" y="709"/>
                </a:lnTo>
                <a:cubicBezTo>
                  <a:pt x="5594" y="722"/>
                  <a:pt x="5592" y="729"/>
                  <a:pt x="5591" y="729"/>
                </a:cubicBezTo>
                <a:lnTo>
                  <a:pt x="5590" y="728"/>
                </a:lnTo>
                <a:cubicBezTo>
                  <a:pt x="5589" y="728"/>
                  <a:pt x="5589" y="731"/>
                  <a:pt x="5589" y="736"/>
                </a:cubicBezTo>
                <a:lnTo>
                  <a:pt x="5590" y="742"/>
                </a:lnTo>
                <a:cubicBezTo>
                  <a:pt x="5589" y="742"/>
                  <a:pt x="5589" y="742"/>
                  <a:pt x="5589" y="740"/>
                </a:cubicBezTo>
                <a:cubicBezTo>
                  <a:pt x="5588" y="739"/>
                  <a:pt x="5588" y="738"/>
                  <a:pt x="5587" y="738"/>
                </a:cubicBezTo>
                <a:cubicBezTo>
                  <a:pt x="5587" y="738"/>
                  <a:pt x="5587" y="739"/>
                  <a:pt x="5587" y="740"/>
                </a:cubicBezTo>
                <a:lnTo>
                  <a:pt x="5588" y="753"/>
                </a:lnTo>
                <a:cubicBezTo>
                  <a:pt x="5588" y="755"/>
                  <a:pt x="5588" y="755"/>
                  <a:pt x="5587" y="755"/>
                </a:cubicBezTo>
                <a:cubicBezTo>
                  <a:pt x="5587" y="755"/>
                  <a:pt x="5587" y="755"/>
                  <a:pt x="5586" y="753"/>
                </a:cubicBezTo>
                <a:cubicBezTo>
                  <a:pt x="5586" y="752"/>
                  <a:pt x="5585" y="751"/>
                  <a:pt x="5585" y="751"/>
                </a:cubicBezTo>
                <a:cubicBezTo>
                  <a:pt x="5585" y="751"/>
                  <a:pt x="5584" y="753"/>
                  <a:pt x="5584" y="758"/>
                </a:cubicBezTo>
                <a:cubicBezTo>
                  <a:pt x="5584" y="763"/>
                  <a:pt x="5585" y="766"/>
                  <a:pt x="5586" y="766"/>
                </a:cubicBezTo>
                <a:cubicBezTo>
                  <a:pt x="5587" y="766"/>
                  <a:pt x="5589" y="764"/>
                  <a:pt x="5591" y="759"/>
                </a:cubicBezTo>
                <a:cubicBezTo>
                  <a:pt x="5591" y="758"/>
                  <a:pt x="5592" y="757"/>
                  <a:pt x="5592" y="756"/>
                </a:cubicBezTo>
                <a:cubicBezTo>
                  <a:pt x="5593" y="756"/>
                  <a:pt x="5594" y="755"/>
                  <a:pt x="5595" y="754"/>
                </a:cubicBezTo>
                <a:cubicBezTo>
                  <a:pt x="5596" y="754"/>
                  <a:pt x="5597" y="755"/>
                  <a:pt x="5597" y="755"/>
                </a:cubicBezTo>
                <a:cubicBezTo>
                  <a:pt x="5597" y="756"/>
                  <a:pt x="5596" y="757"/>
                  <a:pt x="5595" y="757"/>
                </a:cubicBezTo>
                <a:cubicBezTo>
                  <a:pt x="5594" y="757"/>
                  <a:pt x="5594" y="758"/>
                  <a:pt x="5594" y="759"/>
                </a:cubicBezTo>
                <a:lnTo>
                  <a:pt x="5594" y="760"/>
                </a:lnTo>
                <a:cubicBezTo>
                  <a:pt x="5594" y="761"/>
                  <a:pt x="5594" y="762"/>
                  <a:pt x="5593" y="762"/>
                </a:cubicBezTo>
                <a:cubicBezTo>
                  <a:pt x="5592" y="762"/>
                  <a:pt x="5592" y="762"/>
                  <a:pt x="5592" y="764"/>
                </a:cubicBezTo>
                <a:lnTo>
                  <a:pt x="5592" y="765"/>
                </a:lnTo>
                <a:cubicBezTo>
                  <a:pt x="5592" y="766"/>
                  <a:pt x="5592" y="767"/>
                  <a:pt x="5591" y="767"/>
                </a:cubicBezTo>
                <a:cubicBezTo>
                  <a:pt x="5590" y="767"/>
                  <a:pt x="5589" y="768"/>
                  <a:pt x="5588" y="770"/>
                </a:cubicBezTo>
                <a:cubicBezTo>
                  <a:pt x="5585" y="775"/>
                  <a:pt x="5583" y="781"/>
                  <a:pt x="5582" y="789"/>
                </a:cubicBezTo>
                <a:cubicBezTo>
                  <a:pt x="5582" y="791"/>
                  <a:pt x="5583" y="792"/>
                  <a:pt x="5583" y="792"/>
                </a:cubicBezTo>
                <a:cubicBezTo>
                  <a:pt x="5584" y="792"/>
                  <a:pt x="5586" y="786"/>
                  <a:pt x="5591" y="776"/>
                </a:cubicBezTo>
                <a:cubicBezTo>
                  <a:pt x="5597" y="763"/>
                  <a:pt x="5602" y="752"/>
                  <a:pt x="5607" y="742"/>
                </a:cubicBezTo>
                <a:cubicBezTo>
                  <a:pt x="5612" y="732"/>
                  <a:pt x="5616" y="726"/>
                  <a:pt x="5617" y="725"/>
                </a:cubicBezTo>
                <a:lnTo>
                  <a:pt x="5619" y="723"/>
                </a:lnTo>
                <a:cubicBezTo>
                  <a:pt x="5619" y="723"/>
                  <a:pt x="5618" y="723"/>
                  <a:pt x="5618" y="723"/>
                </a:cubicBezTo>
                <a:cubicBezTo>
                  <a:pt x="5618" y="723"/>
                  <a:pt x="5617" y="723"/>
                  <a:pt x="5617" y="723"/>
                </a:cubicBezTo>
                <a:cubicBezTo>
                  <a:pt x="5617" y="722"/>
                  <a:pt x="5618" y="721"/>
                  <a:pt x="5619" y="720"/>
                </a:cubicBezTo>
                <a:cubicBezTo>
                  <a:pt x="5621" y="718"/>
                  <a:pt x="5622" y="717"/>
                  <a:pt x="5622" y="717"/>
                </a:cubicBezTo>
                <a:lnTo>
                  <a:pt x="5622" y="716"/>
                </a:lnTo>
                <a:cubicBezTo>
                  <a:pt x="5622" y="714"/>
                  <a:pt x="5622" y="714"/>
                  <a:pt x="5624" y="714"/>
                </a:cubicBezTo>
                <a:cubicBezTo>
                  <a:pt x="5625" y="714"/>
                  <a:pt x="5625" y="713"/>
                  <a:pt x="5625" y="713"/>
                </a:cubicBezTo>
                <a:cubicBezTo>
                  <a:pt x="5625" y="713"/>
                  <a:pt x="5625" y="712"/>
                  <a:pt x="5625" y="712"/>
                </a:cubicBezTo>
                <a:cubicBezTo>
                  <a:pt x="5624" y="712"/>
                  <a:pt x="5624" y="712"/>
                  <a:pt x="5624" y="711"/>
                </a:cubicBezTo>
                <a:cubicBezTo>
                  <a:pt x="5624" y="710"/>
                  <a:pt x="5625" y="709"/>
                  <a:pt x="5626" y="708"/>
                </a:cubicBezTo>
                <a:cubicBezTo>
                  <a:pt x="5628" y="707"/>
                  <a:pt x="5629" y="707"/>
                  <a:pt x="5629" y="706"/>
                </a:cubicBezTo>
                <a:cubicBezTo>
                  <a:pt x="5629" y="706"/>
                  <a:pt x="5628" y="706"/>
                  <a:pt x="5627" y="706"/>
                </a:cubicBezTo>
                <a:cubicBezTo>
                  <a:pt x="5621" y="706"/>
                  <a:pt x="5618" y="705"/>
                  <a:pt x="5618" y="705"/>
                </a:cubicBezTo>
                <a:cubicBezTo>
                  <a:pt x="5618" y="704"/>
                  <a:pt x="5619" y="703"/>
                  <a:pt x="5619" y="702"/>
                </a:cubicBezTo>
                <a:cubicBezTo>
                  <a:pt x="5620" y="701"/>
                  <a:pt x="5621" y="701"/>
                  <a:pt x="5622" y="701"/>
                </a:cubicBezTo>
                <a:cubicBezTo>
                  <a:pt x="5622" y="701"/>
                  <a:pt x="5623" y="701"/>
                  <a:pt x="5624" y="702"/>
                </a:cubicBezTo>
                <a:cubicBezTo>
                  <a:pt x="5624" y="703"/>
                  <a:pt x="5624" y="704"/>
                  <a:pt x="5625" y="704"/>
                </a:cubicBezTo>
                <a:cubicBezTo>
                  <a:pt x="5626" y="704"/>
                  <a:pt x="5627" y="703"/>
                  <a:pt x="5628" y="701"/>
                </a:cubicBezTo>
                <a:cubicBezTo>
                  <a:pt x="5629" y="700"/>
                  <a:pt x="5629" y="698"/>
                  <a:pt x="5629" y="696"/>
                </a:cubicBezTo>
                <a:cubicBezTo>
                  <a:pt x="5629" y="694"/>
                  <a:pt x="5630" y="693"/>
                  <a:pt x="5631" y="693"/>
                </a:cubicBezTo>
                <a:cubicBezTo>
                  <a:pt x="5633" y="693"/>
                  <a:pt x="5634" y="692"/>
                  <a:pt x="5635" y="689"/>
                </a:cubicBezTo>
                <a:cubicBezTo>
                  <a:pt x="5636" y="686"/>
                  <a:pt x="5637" y="683"/>
                  <a:pt x="5640" y="681"/>
                </a:cubicBezTo>
                <a:cubicBezTo>
                  <a:pt x="5641" y="679"/>
                  <a:pt x="5641" y="678"/>
                  <a:pt x="5641" y="676"/>
                </a:cubicBezTo>
                <a:cubicBezTo>
                  <a:pt x="5641" y="672"/>
                  <a:pt x="5639" y="670"/>
                  <a:pt x="5636" y="670"/>
                </a:cubicBezTo>
                <a:lnTo>
                  <a:pt x="5635" y="670"/>
                </a:lnTo>
                <a:cubicBezTo>
                  <a:pt x="5634" y="670"/>
                  <a:pt x="5634" y="671"/>
                  <a:pt x="5634" y="671"/>
                </a:cubicBezTo>
                <a:lnTo>
                  <a:pt x="5636" y="671"/>
                </a:lnTo>
                <a:cubicBezTo>
                  <a:pt x="5637" y="672"/>
                  <a:pt x="5638" y="673"/>
                  <a:pt x="5638" y="674"/>
                </a:cubicBezTo>
                <a:cubicBezTo>
                  <a:pt x="5638" y="677"/>
                  <a:pt x="5637" y="679"/>
                  <a:pt x="5635" y="681"/>
                </a:cubicBezTo>
                <a:cubicBezTo>
                  <a:pt x="5634" y="684"/>
                  <a:pt x="5632" y="685"/>
                  <a:pt x="5629" y="685"/>
                </a:cubicBezTo>
                <a:lnTo>
                  <a:pt x="5626" y="685"/>
                </a:lnTo>
                <a:lnTo>
                  <a:pt x="5627" y="687"/>
                </a:lnTo>
                <a:cubicBezTo>
                  <a:pt x="5627" y="688"/>
                  <a:pt x="5626" y="689"/>
                  <a:pt x="5626" y="690"/>
                </a:cubicBezTo>
                <a:cubicBezTo>
                  <a:pt x="5625" y="690"/>
                  <a:pt x="5624" y="689"/>
                  <a:pt x="5624" y="688"/>
                </a:cubicBezTo>
                <a:cubicBezTo>
                  <a:pt x="5624" y="684"/>
                  <a:pt x="5626" y="683"/>
                  <a:pt x="5629" y="683"/>
                </a:cubicBezTo>
                <a:cubicBezTo>
                  <a:pt x="5630" y="683"/>
                  <a:pt x="5631" y="683"/>
                  <a:pt x="5631" y="682"/>
                </a:cubicBezTo>
                <a:lnTo>
                  <a:pt x="5631" y="679"/>
                </a:lnTo>
                <a:cubicBezTo>
                  <a:pt x="5631" y="678"/>
                  <a:pt x="5631" y="676"/>
                  <a:pt x="5632" y="674"/>
                </a:cubicBezTo>
                <a:cubicBezTo>
                  <a:pt x="5632" y="672"/>
                  <a:pt x="5633" y="671"/>
                  <a:pt x="5634" y="669"/>
                </a:cubicBezTo>
                <a:cubicBezTo>
                  <a:pt x="5634" y="668"/>
                  <a:pt x="5635" y="667"/>
                  <a:pt x="5636" y="667"/>
                </a:cubicBezTo>
                <a:lnTo>
                  <a:pt x="5637" y="667"/>
                </a:lnTo>
                <a:cubicBezTo>
                  <a:pt x="5637" y="667"/>
                  <a:pt x="5638" y="667"/>
                  <a:pt x="5638" y="666"/>
                </a:cubicBezTo>
                <a:lnTo>
                  <a:pt x="5637" y="664"/>
                </a:lnTo>
                <a:cubicBezTo>
                  <a:pt x="5637" y="663"/>
                  <a:pt x="5638" y="662"/>
                  <a:pt x="5639" y="661"/>
                </a:cubicBezTo>
                <a:cubicBezTo>
                  <a:pt x="5639" y="661"/>
                  <a:pt x="5640" y="660"/>
                  <a:pt x="5640" y="659"/>
                </a:cubicBezTo>
                <a:lnTo>
                  <a:pt x="5639" y="657"/>
                </a:lnTo>
                <a:cubicBezTo>
                  <a:pt x="5639" y="655"/>
                  <a:pt x="5640" y="654"/>
                  <a:pt x="5641" y="654"/>
                </a:cubicBezTo>
                <a:cubicBezTo>
                  <a:pt x="5642" y="654"/>
                  <a:pt x="5644" y="652"/>
                  <a:pt x="5646" y="647"/>
                </a:cubicBezTo>
                <a:cubicBezTo>
                  <a:pt x="5651" y="637"/>
                  <a:pt x="5659" y="625"/>
                  <a:pt x="5671" y="612"/>
                </a:cubicBezTo>
                <a:cubicBezTo>
                  <a:pt x="5683" y="598"/>
                  <a:pt x="5694" y="587"/>
                  <a:pt x="5707" y="576"/>
                </a:cubicBezTo>
                <a:cubicBezTo>
                  <a:pt x="5719" y="566"/>
                  <a:pt x="5727" y="561"/>
                  <a:pt x="5733" y="561"/>
                </a:cubicBezTo>
                <a:cubicBezTo>
                  <a:pt x="5733" y="561"/>
                  <a:pt x="5734" y="561"/>
                  <a:pt x="5734" y="561"/>
                </a:cubicBezTo>
                <a:cubicBezTo>
                  <a:pt x="5735" y="561"/>
                  <a:pt x="5735" y="562"/>
                  <a:pt x="5735" y="562"/>
                </a:cubicBezTo>
                <a:cubicBezTo>
                  <a:pt x="5736" y="562"/>
                  <a:pt x="5736" y="561"/>
                  <a:pt x="5736" y="559"/>
                </a:cubicBezTo>
                <a:cubicBezTo>
                  <a:pt x="5736" y="558"/>
                  <a:pt x="5739" y="557"/>
                  <a:pt x="5743" y="557"/>
                </a:cubicBezTo>
                <a:cubicBezTo>
                  <a:pt x="5748" y="557"/>
                  <a:pt x="5755" y="558"/>
                  <a:pt x="5762" y="559"/>
                </a:cubicBezTo>
                <a:cubicBezTo>
                  <a:pt x="5770" y="561"/>
                  <a:pt x="5777" y="563"/>
                  <a:pt x="5783" y="566"/>
                </a:cubicBezTo>
                <a:cubicBezTo>
                  <a:pt x="5790" y="568"/>
                  <a:pt x="5794" y="570"/>
                  <a:pt x="5796" y="572"/>
                </a:cubicBezTo>
                <a:lnTo>
                  <a:pt x="5799" y="575"/>
                </a:lnTo>
                <a:cubicBezTo>
                  <a:pt x="5799" y="576"/>
                  <a:pt x="5799" y="576"/>
                  <a:pt x="5798" y="576"/>
                </a:cubicBezTo>
                <a:lnTo>
                  <a:pt x="5795" y="574"/>
                </a:lnTo>
                <a:lnTo>
                  <a:pt x="5796" y="575"/>
                </a:lnTo>
                <a:cubicBezTo>
                  <a:pt x="5797" y="577"/>
                  <a:pt x="5798" y="577"/>
                  <a:pt x="5799" y="578"/>
                </a:cubicBezTo>
                <a:cubicBezTo>
                  <a:pt x="5800" y="578"/>
                  <a:pt x="5802" y="578"/>
                  <a:pt x="5803" y="578"/>
                </a:cubicBezTo>
                <a:cubicBezTo>
                  <a:pt x="5805" y="579"/>
                  <a:pt x="5807" y="582"/>
                  <a:pt x="5811" y="587"/>
                </a:cubicBezTo>
                <a:cubicBezTo>
                  <a:pt x="5814" y="591"/>
                  <a:pt x="5815" y="593"/>
                  <a:pt x="5815" y="593"/>
                </a:cubicBezTo>
                <a:cubicBezTo>
                  <a:pt x="5815" y="593"/>
                  <a:pt x="5813" y="591"/>
                  <a:pt x="5809" y="587"/>
                </a:cubicBezTo>
                <a:cubicBezTo>
                  <a:pt x="5805" y="583"/>
                  <a:pt x="5803" y="581"/>
                  <a:pt x="5802" y="581"/>
                </a:cubicBezTo>
                <a:cubicBezTo>
                  <a:pt x="5802" y="582"/>
                  <a:pt x="5804" y="584"/>
                  <a:pt x="5807" y="588"/>
                </a:cubicBezTo>
                <a:cubicBezTo>
                  <a:pt x="5812" y="594"/>
                  <a:pt x="5815" y="597"/>
                  <a:pt x="5817" y="597"/>
                </a:cubicBezTo>
                <a:cubicBezTo>
                  <a:pt x="5820" y="597"/>
                  <a:pt x="5821" y="597"/>
                  <a:pt x="5821" y="597"/>
                </a:cubicBezTo>
                <a:cubicBezTo>
                  <a:pt x="5821" y="598"/>
                  <a:pt x="5820" y="598"/>
                  <a:pt x="5819" y="598"/>
                </a:cubicBezTo>
                <a:cubicBezTo>
                  <a:pt x="5818" y="599"/>
                  <a:pt x="5817" y="600"/>
                  <a:pt x="5817" y="601"/>
                </a:cubicBezTo>
                <a:cubicBezTo>
                  <a:pt x="5817" y="602"/>
                  <a:pt x="5818" y="603"/>
                  <a:pt x="5820" y="604"/>
                </a:cubicBezTo>
                <a:cubicBezTo>
                  <a:pt x="5822" y="606"/>
                  <a:pt x="5823" y="608"/>
                  <a:pt x="5824" y="611"/>
                </a:cubicBezTo>
                <a:cubicBezTo>
                  <a:pt x="5825" y="614"/>
                  <a:pt x="5826" y="616"/>
                  <a:pt x="5827" y="617"/>
                </a:cubicBezTo>
                <a:cubicBezTo>
                  <a:pt x="5828" y="618"/>
                  <a:pt x="5829" y="619"/>
                  <a:pt x="5829" y="619"/>
                </a:cubicBezTo>
                <a:cubicBezTo>
                  <a:pt x="5829" y="620"/>
                  <a:pt x="5829" y="620"/>
                  <a:pt x="5829" y="620"/>
                </a:cubicBezTo>
                <a:cubicBezTo>
                  <a:pt x="5828" y="620"/>
                  <a:pt x="5828" y="620"/>
                  <a:pt x="5828" y="620"/>
                </a:cubicBezTo>
                <a:cubicBezTo>
                  <a:pt x="5828" y="621"/>
                  <a:pt x="5829" y="623"/>
                  <a:pt x="5831" y="625"/>
                </a:cubicBezTo>
                <a:cubicBezTo>
                  <a:pt x="5831" y="625"/>
                  <a:pt x="5831" y="626"/>
                  <a:pt x="5831" y="626"/>
                </a:cubicBezTo>
                <a:lnTo>
                  <a:pt x="5837" y="635"/>
                </a:lnTo>
                <a:cubicBezTo>
                  <a:pt x="5840" y="642"/>
                  <a:pt x="5843" y="647"/>
                  <a:pt x="5847" y="652"/>
                </a:cubicBezTo>
                <a:cubicBezTo>
                  <a:pt x="5850" y="657"/>
                  <a:pt x="5854" y="661"/>
                  <a:pt x="5857" y="662"/>
                </a:cubicBezTo>
                <a:cubicBezTo>
                  <a:pt x="5860" y="664"/>
                  <a:pt x="5862" y="665"/>
                  <a:pt x="5863" y="665"/>
                </a:cubicBezTo>
                <a:cubicBezTo>
                  <a:pt x="5864" y="665"/>
                  <a:pt x="5864" y="665"/>
                  <a:pt x="5864" y="665"/>
                </a:cubicBezTo>
                <a:cubicBezTo>
                  <a:pt x="5864" y="664"/>
                  <a:pt x="5863" y="662"/>
                  <a:pt x="5861" y="660"/>
                </a:cubicBezTo>
                <a:cubicBezTo>
                  <a:pt x="5860" y="659"/>
                  <a:pt x="5859" y="659"/>
                  <a:pt x="5859" y="658"/>
                </a:cubicBezTo>
                <a:cubicBezTo>
                  <a:pt x="5860" y="658"/>
                  <a:pt x="5861" y="659"/>
                  <a:pt x="5864" y="662"/>
                </a:cubicBezTo>
                <a:cubicBezTo>
                  <a:pt x="5869" y="666"/>
                  <a:pt x="5876" y="668"/>
                  <a:pt x="5884" y="668"/>
                </a:cubicBezTo>
                <a:cubicBezTo>
                  <a:pt x="5907" y="668"/>
                  <a:pt x="5937" y="654"/>
                  <a:pt x="5974" y="627"/>
                </a:cubicBezTo>
                <a:cubicBezTo>
                  <a:pt x="5989" y="615"/>
                  <a:pt x="6004" y="604"/>
                  <a:pt x="6018" y="594"/>
                </a:cubicBezTo>
                <a:cubicBezTo>
                  <a:pt x="6035" y="583"/>
                  <a:pt x="6045" y="578"/>
                  <a:pt x="6048" y="578"/>
                </a:cubicBezTo>
                <a:cubicBezTo>
                  <a:pt x="6050" y="578"/>
                  <a:pt x="6050" y="578"/>
                  <a:pt x="6050" y="580"/>
                </a:cubicBezTo>
                <a:lnTo>
                  <a:pt x="6050" y="580"/>
                </a:lnTo>
                <a:cubicBezTo>
                  <a:pt x="6048" y="580"/>
                  <a:pt x="6043" y="584"/>
                  <a:pt x="6035" y="592"/>
                </a:cubicBezTo>
                <a:cubicBezTo>
                  <a:pt x="5983" y="646"/>
                  <a:pt x="5938" y="672"/>
                  <a:pt x="5900" y="672"/>
                </a:cubicBezTo>
                <a:lnTo>
                  <a:pt x="5897" y="672"/>
                </a:lnTo>
                <a:cubicBezTo>
                  <a:pt x="5890" y="672"/>
                  <a:pt x="5887" y="673"/>
                  <a:pt x="5887" y="674"/>
                </a:cubicBezTo>
                <a:lnTo>
                  <a:pt x="5894" y="675"/>
                </a:lnTo>
                <a:cubicBezTo>
                  <a:pt x="5897" y="676"/>
                  <a:pt x="5900" y="676"/>
                  <a:pt x="5904" y="676"/>
                </a:cubicBezTo>
                <a:cubicBezTo>
                  <a:pt x="5922" y="676"/>
                  <a:pt x="5943" y="669"/>
                  <a:pt x="5966" y="655"/>
                </a:cubicBezTo>
                <a:cubicBezTo>
                  <a:pt x="5973" y="651"/>
                  <a:pt x="5978" y="649"/>
                  <a:pt x="5980" y="649"/>
                </a:cubicBezTo>
                <a:lnTo>
                  <a:pt x="5981" y="649"/>
                </a:lnTo>
                <a:lnTo>
                  <a:pt x="5981" y="648"/>
                </a:lnTo>
                <a:cubicBezTo>
                  <a:pt x="5981" y="645"/>
                  <a:pt x="5994" y="634"/>
                  <a:pt x="6018" y="613"/>
                </a:cubicBezTo>
                <a:cubicBezTo>
                  <a:pt x="6022" y="610"/>
                  <a:pt x="6025" y="607"/>
                  <a:pt x="6028" y="605"/>
                </a:cubicBezTo>
                <a:lnTo>
                  <a:pt x="6033" y="603"/>
                </a:lnTo>
                <a:cubicBezTo>
                  <a:pt x="6033" y="603"/>
                  <a:pt x="6033" y="602"/>
                  <a:pt x="6033" y="600"/>
                </a:cubicBezTo>
                <a:cubicBezTo>
                  <a:pt x="6033" y="599"/>
                  <a:pt x="6034" y="598"/>
                  <a:pt x="6036" y="598"/>
                </a:cubicBezTo>
                <a:cubicBezTo>
                  <a:pt x="6037" y="598"/>
                  <a:pt x="6038" y="598"/>
                  <a:pt x="6038" y="596"/>
                </a:cubicBezTo>
                <a:cubicBezTo>
                  <a:pt x="6038" y="595"/>
                  <a:pt x="6039" y="593"/>
                  <a:pt x="6041" y="591"/>
                </a:cubicBezTo>
                <a:cubicBezTo>
                  <a:pt x="6044" y="590"/>
                  <a:pt x="6045" y="588"/>
                  <a:pt x="6045" y="586"/>
                </a:cubicBezTo>
                <a:cubicBezTo>
                  <a:pt x="6045" y="584"/>
                  <a:pt x="6046" y="583"/>
                  <a:pt x="6047" y="583"/>
                </a:cubicBezTo>
                <a:cubicBezTo>
                  <a:pt x="6048" y="583"/>
                  <a:pt x="6049" y="583"/>
                  <a:pt x="6049" y="585"/>
                </a:cubicBezTo>
                <a:cubicBezTo>
                  <a:pt x="6049" y="588"/>
                  <a:pt x="6047" y="593"/>
                  <a:pt x="6042" y="600"/>
                </a:cubicBezTo>
                <a:cubicBezTo>
                  <a:pt x="6038" y="607"/>
                  <a:pt x="6030" y="616"/>
                  <a:pt x="6018" y="627"/>
                </a:cubicBezTo>
                <a:lnTo>
                  <a:pt x="6006" y="639"/>
                </a:lnTo>
                <a:cubicBezTo>
                  <a:pt x="6001" y="643"/>
                  <a:pt x="5998" y="645"/>
                  <a:pt x="5997" y="645"/>
                </a:cubicBezTo>
                <a:cubicBezTo>
                  <a:pt x="5995" y="645"/>
                  <a:pt x="5994" y="646"/>
                  <a:pt x="5993" y="648"/>
                </a:cubicBezTo>
                <a:cubicBezTo>
                  <a:pt x="5990" y="652"/>
                  <a:pt x="5987" y="655"/>
                  <a:pt x="5983" y="658"/>
                </a:cubicBezTo>
                <a:cubicBezTo>
                  <a:pt x="5977" y="662"/>
                  <a:pt x="5974" y="664"/>
                  <a:pt x="5973" y="665"/>
                </a:cubicBezTo>
                <a:cubicBezTo>
                  <a:pt x="5973" y="666"/>
                  <a:pt x="5972" y="666"/>
                  <a:pt x="5970" y="666"/>
                </a:cubicBezTo>
                <a:lnTo>
                  <a:pt x="5966" y="666"/>
                </a:lnTo>
                <a:lnTo>
                  <a:pt x="5965" y="667"/>
                </a:lnTo>
                <a:lnTo>
                  <a:pt x="5965" y="668"/>
                </a:lnTo>
                <a:cubicBezTo>
                  <a:pt x="5965" y="669"/>
                  <a:pt x="5964" y="670"/>
                  <a:pt x="5963" y="672"/>
                </a:cubicBezTo>
                <a:lnTo>
                  <a:pt x="5961" y="674"/>
                </a:lnTo>
                <a:cubicBezTo>
                  <a:pt x="5960" y="674"/>
                  <a:pt x="5960" y="674"/>
                  <a:pt x="5960" y="674"/>
                </a:cubicBezTo>
                <a:lnTo>
                  <a:pt x="5959" y="674"/>
                </a:lnTo>
                <a:cubicBezTo>
                  <a:pt x="5958" y="674"/>
                  <a:pt x="5956" y="674"/>
                  <a:pt x="5952" y="676"/>
                </a:cubicBezTo>
                <a:cubicBezTo>
                  <a:pt x="5938" y="684"/>
                  <a:pt x="5923" y="688"/>
                  <a:pt x="5907" y="688"/>
                </a:cubicBezTo>
                <a:cubicBezTo>
                  <a:pt x="5897" y="688"/>
                  <a:pt x="5887" y="686"/>
                  <a:pt x="5876" y="683"/>
                </a:cubicBezTo>
                <a:cubicBezTo>
                  <a:pt x="5864" y="680"/>
                  <a:pt x="5859" y="678"/>
                  <a:pt x="5858" y="677"/>
                </a:cubicBezTo>
                <a:cubicBezTo>
                  <a:pt x="5858" y="676"/>
                  <a:pt x="5854" y="673"/>
                  <a:pt x="5849" y="668"/>
                </a:cubicBezTo>
                <a:cubicBezTo>
                  <a:pt x="5843" y="663"/>
                  <a:pt x="5839" y="661"/>
                  <a:pt x="5837" y="661"/>
                </a:cubicBezTo>
                <a:cubicBezTo>
                  <a:pt x="5837" y="661"/>
                  <a:pt x="5836" y="661"/>
                  <a:pt x="5836" y="662"/>
                </a:cubicBezTo>
                <a:cubicBezTo>
                  <a:pt x="5836" y="663"/>
                  <a:pt x="5837" y="664"/>
                  <a:pt x="5837" y="665"/>
                </a:cubicBezTo>
                <a:cubicBezTo>
                  <a:pt x="5838" y="666"/>
                  <a:pt x="5838" y="666"/>
                  <a:pt x="5838" y="667"/>
                </a:cubicBezTo>
                <a:cubicBezTo>
                  <a:pt x="5838" y="667"/>
                  <a:pt x="5838" y="667"/>
                  <a:pt x="5837" y="667"/>
                </a:cubicBezTo>
                <a:cubicBezTo>
                  <a:pt x="5837" y="667"/>
                  <a:pt x="5836" y="666"/>
                  <a:pt x="5835" y="665"/>
                </a:cubicBezTo>
                <a:cubicBezTo>
                  <a:pt x="5833" y="664"/>
                  <a:pt x="5833" y="662"/>
                  <a:pt x="5833" y="660"/>
                </a:cubicBezTo>
                <a:cubicBezTo>
                  <a:pt x="5833" y="658"/>
                  <a:pt x="5832" y="657"/>
                  <a:pt x="5832" y="657"/>
                </a:cubicBezTo>
                <a:lnTo>
                  <a:pt x="5831" y="657"/>
                </a:lnTo>
                <a:cubicBezTo>
                  <a:pt x="5830" y="657"/>
                  <a:pt x="5828" y="655"/>
                  <a:pt x="5827" y="652"/>
                </a:cubicBezTo>
                <a:cubicBezTo>
                  <a:pt x="5825" y="650"/>
                  <a:pt x="5824" y="648"/>
                  <a:pt x="5822" y="646"/>
                </a:cubicBezTo>
                <a:cubicBezTo>
                  <a:pt x="5820" y="643"/>
                  <a:pt x="5817" y="637"/>
                  <a:pt x="5812" y="629"/>
                </a:cubicBezTo>
                <a:cubicBezTo>
                  <a:pt x="5807" y="622"/>
                  <a:pt x="5803" y="615"/>
                  <a:pt x="5800" y="609"/>
                </a:cubicBezTo>
                <a:cubicBezTo>
                  <a:pt x="5793" y="598"/>
                  <a:pt x="5788" y="590"/>
                  <a:pt x="5784" y="586"/>
                </a:cubicBezTo>
                <a:cubicBezTo>
                  <a:pt x="5779" y="581"/>
                  <a:pt x="5775" y="579"/>
                  <a:pt x="5770" y="579"/>
                </a:cubicBezTo>
                <a:lnTo>
                  <a:pt x="5768" y="579"/>
                </a:lnTo>
                <a:cubicBezTo>
                  <a:pt x="5755" y="583"/>
                  <a:pt x="5740" y="591"/>
                  <a:pt x="5722" y="605"/>
                </a:cubicBezTo>
                <a:cubicBezTo>
                  <a:pt x="5704" y="619"/>
                  <a:pt x="5691" y="634"/>
                  <a:pt x="5682" y="648"/>
                </a:cubicBezTo>
                <a:cubicBezTo>
                  <a:pt x="5680" y="652"/>
                  <a:pt x="5678" y="654"/>
                  <a:pt x="5676" y="655"/>
                </a:cubicBezTo>
                <a:cubicBezTo>
                  <a:pt x="5675" y="655"/>
                  <a:pt x="5675" y="655"/>
                  <a:pt x="5675" y="655"/>
                </a:cubicBezTo>
                <a:cubicBezTo>
                  <a:pt x="5675" y="653"/>
                  <a:pt x="5678" y="649"/>
                  <a:pt x="5684" y="642"/>
                </a:cubicBezTo>
                <a:cubicBezTo>
                  <a:pt x="5714" y="605"/>
                  <a:pt x="5741" y="583"/>
                  <a:pt x="5764" y="576"/>
                </a:cubicBezTo>
                <a:cubicBezTo>
                  <a:pt x="5768" y="575"/>
                  <a:pt x="5770" y="574"/>
                  <a:pt x="5770" y="573"/>
                </a:cubicBezTo>
                <a:cubicBezTo>
                  <a:pt x="5770" y="572"/>
                  <a:pt x="5769" y="571"/>
                  <a:pt x="5768" y="571"/>
                </a:cubicBezTo>
                <a:cubicBezTo>
                  <a:pt x="5768" y="571"/>
                  <a:pt x="5766" y="570"/>
                  <a:pt x="5765" y="570"/>
                </a:cubicBezTo>
                <a:cubicBezTo>
                  <a:pt x="5761" y="570"/>
                  <a:pt x="5754" y="573"/>
                  <a:pt x="5744" y="580"/>
                </a:cubicBezTo>
                <a:cubicBezTo>
                  <a:pt x="5735" y="586"/>
                  <a:pt x="5725" y="593"/>
                  <a:pt x="5716" y="602"/>
                </a:cubicBezTo>
                <a:cubicBezTo>
                  <a:pt x="5705" y="612"/>
                  <a:pt x="5699" y="617"/>
                  <a:pt x="5698" y="617"/>
                </a:cubicBezTo>
                <a:cubicBezTo>
                  <a:pt x="5698" y="617"/>
                  <a:pt x="5700" y="614"/>
                  <a:pt x="5704" y="610"/>
                </a:cubicBezTo>
                <a:cubicBezTo>
                  <a:pt x="5711" y="601"/>
                  <a:pt x="5718" y="593"/>
                  <a:pt x="5727" y="587"/>
                </a:cubicBezTo>
                <a:cubicBezTo>
                  <a:pt x="5731" y="583"/>
                  <a:pt x="5734" y="581"/>
                  <a:pt x="5734" y="580"/>
                </a:cubicBezTo>
                <a:cubicBezTo>
                  <a:pt x="5734" y="580"/>
                  <a:pt x="5734" y="579"/>
                  <a:pt x="5733" y="579"/>
                </a:cubicBezTo>
                <a:cubicBezTo>
                  <a:pt x="5733" y="579"/>
                  <a:pt x="5731" y="581"/>
                  <a:pt x="5727" y="583"/>
                </a:cubicBezTo>
                <a:cubicBezTo>
                  <a:pt x="5718" y="590"/>
                  <a:pt x="5711" y="596"/>
                  <a:pt x="5707" y="601"/>
                </a:cubicBezTo>
                <a:cubicBezTo>
                  <a:pt x="5706" y="602"/>
                  <a:pt x="5705" y="603"/>
                  <a:pt x="5704" y="604"/>
                </a:cubicBezTo>
                <a:cubicBezTo>
                  <a:pt x="5702" y="605"/>
                  <a:pt x="5701" y="606"/>
                  <a:pt x="5700" y="606"/>
                </a:cubicBezTo>
                <a:cubicBezTo>
                  <a:pt x="5698" y="606"/>
                  <a:pt x="5695" y="609"/>
                  <a:pt x="5692" y="614"/>
                </a:cubicBezTo>
                <a:cubicBezTo>
                  <a:pt x="5689" y="620"/>
                  <a:pt x="5685" y="624"/>
                  <a:pt x="5681" y="627"/>
                </a:cubicBezTo>
                <a:cubicBezTo>
                  <a:pt x="5676" y="629"/>
                  <a:pt x="5672" y="634"/>
                  <a:pt x="5667" y="640"/>
                </a:cubicBezTo>
                <a:lnTo>
                  <a:pt x="5662" y="648"/>
                </a:lnTo>
                <a:lnTo>
                  <a:pt x="5667" y="646"/>
                </a:lnTo>
                <a:cubicBezTo>
                  <a:pt x="5667" y="647"/>
                  <a:pt x="5663" y="653"/>
                  <a:pt x="5656" y="662"/>
                </a:cubicBezTo>
                <a:cubicBezTo>
                  <a:pt x="5643" y="680"/>
                  <a:pt x="5637" y="690"/>
                  <a:pt x="5637" y="692"/>
                </a:cubicBezTo>
                <a:cubicBezTo>
                  <a:pt x="5637" y="692"/>
                  <a:pt x="5637" y="693"/>
                  <a:pt x="5637" y="693"/>
                </a:cubicBezTo>
                <a:lnTo>
                  <a:pt x="5641" y="691"/>
                </a:lnTo>
                <a:cubicBezTo>
                  <a:pt x="5641" y="691"/>
                  <a:pt x="5640" y="692"/>
                  <a:pt x="5640" y="692"/>
                </a:cubicBezTo>
                <a:cubicBezTo>
                  <a:pt x="5639" y="693"/>
                  <a:pt x="5639" y="693"/>
                  <a:pt x="5638" y="694"/>
                </a:cubicBezTo>
                <a:cubicBezTo>
                  <a:pt x="5638" y="694"/>
                  <a:pt x="5637" y="695"/>
                  <a:pt x="5637" y="696"/>
                </a:cubicBezTo>
                <a:cubicBezTo>
                  <a:pt x="5636" y="696"/>
                  <a:pt x="5635" y="697"/>
                  <a:pt x="5635" y="697"/>
                </a:cubicBezTo>
                <a:lnTo>
                  <a:pt x="5633" y="696"/>
                </a:lnTo>
                <a:cubicBezTo>
                  <a:pt x="5632" y="696"/>
                  <a:pt x="5632" y="697"/>
                  <a:pt x="5632" y="698"/>
                </a:cubicBezTo>
                <a:cubicBezTo>
                  <a:pt x="5632" y="700"/>
                  <a:pt x="5632" y="702"/>
                  <a:pt x="5632" y="704"/>
                </a:cubicBezTo>
                <a:cubicBezTo>
                  <a:pt x="5631" y="709"/>
                  <a:pt x="5629" y="712"/>
                  <a:pt x="5627" y="714"/>
                </a:cubicBezTo>
                <a:cubicBezTo>
                  <a:pt x="5627" y="715"/>
                  <a:pt x="5625" y="719"/>
                  <a:pt x="5621" y="727"/>
                </a:cubicBezTo>
                <a:cubicBezTo>
                  <a:pt x="5610" y="750"/>
                  <a:pt x="5602" y="768"/>
                  <a:pt x="5597" y="779"/>
                </a:cubicBezTo>
                <a:cubicBezTo>
                  <a:pt x="5591" y="794"/>
                  <a:pt x="5588" y="804"/>
                  <a:pt x="5588" y="808"/>
                </a:cubicBezTo>
                <a:lnTo>
                  <a:pt x="5589" y="809"/>
                </a:lnTo>
                <a:cubicBezTo>
                  <a:pt x="5590" y="807"/>
                  <a:pt x="5591" y="806"/>
                  <a:pt x="5591" y="803"/>
                </a:cubicBezTo>
                <a:cubicBezTo>
                  <a:pt x="5591" y="801"/>
                  <a:pt x="5591" y="799"/>
                  <a:pt x="5593" y="797"/>
                </a:cubicBezTo>
                <a:lnTo>
                  <a:pt x="5593" y="797"/>
                </a:lnTo>
                <a:cubicBezTo>
                  <a:pt x="5593" y="797"/>
                  <a:pt x="5594" y="799"/>
                  <a:pt x="5594" y="801"/>
                </a:cubicBezTo>
                <a:lnTo>
                  <a:pt x="5593" y="804"/>
                </a:lnTo>
                <a:cubicBezTo>
                  <a:pt x="5593" y="805"/>
                  <a:pt x="5593" y="805"/>
                  <a:pt x="5594" y="805"/>
                </a:cubicBezTo>
                <a:lnTo>
                  <a:pt x="5594" y="804"/>
                </a:lnTo>
                <a:cubicBezTo>
                  <a:pt x="5597" y="801"/>
                  <a:pt x="5599" y="799"/>
                  <a:pt x="5600" y="798"/>
                </a:cubicBezTo>
                <a:lnTo>
                  <a:pt x="5603" y="796"/>
                </a:lnTo>
                <a:cubicBezTo>
                  <a:pt x="5603" y="797"/>
                  <a:pt x="5603" y="798"/>
                  <a:pt x="5602" y="800"/>
                </a:cubicBezTo>
                <a:cubicBezTo>
                  <a:pt x="5600" y="804"/>
                  <a:pt x="5598" y="806"/>
                  <a:pt x="5595" y="808"/>
                </a:cubicBezTo>
                <a:cubicBezTo>
                  <a:pt x="5592" y="810"/>
                  <a:pt x="5591" y="812"/>
                  <a:pt x="5591" y="813"/>
                </a:cubicBezTo>
                <a:cubicBezTo>
                  <a:pt x="5591" y="814"/>
                  <a:pt x="5591" y="815"/>
                  <a:pt x="5592" y="815"/>
                </a:cubicBezTo>
                <a:cubicBezTo>
                  <a:pt x="5592" y="816"/>
                  <a:pt x="5593" y="816"/>
                  <a:pt x="5593" y="816"/>
                </a:cubicBezTo>
                <a:lnTo>
                  <a:pt x="5590" y="816"/>
                </a:lnTo>
                <a:cubicBezTo>
                  <a:pt x="5589" y="816"/>
                  <a:pt x="5588" y="816"/>
                  <a:pt x="5588" y="817"/>
                </a:cubicBezTo>
                <a:cubicBezTo>
                  <a:pt x="5588" y="818"/>
                  <a:pt x="5587" y="818"/>
                  <a:pt x="5586" y="818"/>
                </a:cubicBezTo>
                <a:lnTo>
                  <a:pt x="5585" y="818"/>
                </a:lnTo>
                <a:lnTo>
                  <a:pt x="5586" y="821"/>
                </a:lnTo>
                <a:cubicBezTo>
                  <a:pt x="5587" y="824"/>
                  <a:pt x="5588" y="826"/>
                  <a:pt x="5590" y="826"/>
                </a:cubicBezTo>
                <a:cubicBezTo>
                  <a:pt x="5590" y="826"/>
                  <a:pt x="5590" y="826"/>
                  <a:pt x="5590" y="826"/>
                </a:cubicBezTo>
                <a:cubicBezTo>
                  <a:pt x="5590" y="825"/>
                  <a:pt x="5590" y="824"/>
                  <a:pt x="5590" y="823"/>
                </a:cubicBezTo>
                <a:cubicBezTo>
                  <a:pt x="5589" y="823"/>
                  <a:pt x="5589" y="822"/>
                  <a:pt x="5589" y="821"/>
                </a:cubicBezTo>
                <a:lnTo>
                  <a:pt x="5590" y="822"/>
                </a:lnTo>
                <a:cubicBezTo>
                  <a:pt x="5591" y="824"/>
                  <a:pt x="5592" y="827"/>
                  <a:pt x="5592" y="830"/>
                </a:cubicBezTo>
                <a:cubicBezTo>
                  <a:pt x="5592" y="833"/>
                  <a:pt x="5591" y="835"/>
                  <a:pt x="5590" y="837"/>
                </a:cubicBezTo>
                <a:cubicBezTo>
                  <a:pt x="5589" y="838"/>
                  <a:pt x="5587" y="839"/>
                  <a:pt x="5585" y="839"/>
                </a:cubicBezTo>
                <a:close/>
                <a:moveTo>
                  <a:pt x="5564" y="732"/>
                </a:moveTo>
                <a:lnTo>
                  <a:pt x="5564" y="730"/>
                </a:lnTo>
                <a:lnTo>
                  <a:pt x="5564" y="726"/>
                </a:lnTo>
                <a:cubicBezTo>
                  <a:pt x="5563" y="726"/>
                  <a:pt x="5562" y="727"/>
                  <a:pt x="5562" y="728"/>
                </a:cubicBezTo>
                <a:cubicBezTo>
                  <a:pt x="5562" y="730"/>
                  <a:pt x="5563" y="732"/>
                  <a:pt x="5564" y="732"/>
                </a:cubicBezTo>
                <a:close/>
                <a:moveTo>
                  <a:pt x="5565" y="723"/>
                </a:moveTo>
                <a:lnTo>
                  <a:pt x="5566" y="719"/>
                </a:lnTo>
                <a:cubicBezTo>
                  <a:pt x="5567" y="717"/>
                  <a:pt x="5568" y="715"/>
                  <a:pt x="5568" y="713"/>
                </a:cubicBezTo>
                <a:cubicBezTo>
                  <a:pt x="5568" y="711"/>
                  <a:pt x="5569" y="710"/>
                  <a:pt x="5569" y="709"/>
                </a:cubicBezTo>
                <a:lnTo>
                  <a:pt x="5569" y="707"/>
                </a:lnTo>
                <a:cubicBezTo>
                  <a:pt x="5568" y="707"/>
                  <a:pt x="5568" y="708"/>
                  <a:pt x="5567" y="709"/>
                </a:cubicBezTo>
                <a:cubicBezTo>
                  <a:pt x="5565" y="711"/>
                  <a:pt x="5565" y="714"/>
                  <a:pt x="5565" y="718"/>
                </a:cubicBezTo>
                <a:cubicBezTo>
                  <a:pt x="5565" y="721"/>
                  <a:pt x="5565" y="723"/>
                  <a:pt x="5565" y="723"/>
                </a:cubicBezTo>
                <a:close/>
                <a:moveTo>
                  <a:pt x="5947" y="676"/>
                </a:moveTo>
                <a:cubicBezTo>
                  <a:pt x="5948" y="676"/>
                  <a:pt x="5949" y="675"/>
                  <a:pt x="5952" y="674"/>
                </a:cubicBezTo>
                <a:cubicBezTo>
                  <a:pt x="5954" y="673"/>
                  <a:pt x="5956" y="672"/>
                  <a:pt x="5956" y="671"/>
                </a:cubicBezTo>
                <a:lnTo>
                  <a:pt x="5955" y="671"/>
                </a:lnTo>
                <a:cubicBezTo>
                  <a:pt x="5954" y="671"/>
                  <a:pt x="5953" y="671"/>
                  <a:pt x="5951" y="672"/>
                </a:cubicBezTo>
                <a:cubicBezTo>
                  <a:pt x="5948" y="674"/>
                  <a:pt x="5947" y="675"/>
                  <a:pt x="5947" y="676"/>
                </a:cubicBezTo>
                <a:close/>
                <a:moveTo>
                  <a:pt x="5934" y="681"/>
                </a:moveTo>
                <a:cubicBezTo>
                  <a:pt x="5937" y="681"/>
                  <a:pt x="5939" y="681"/>
                  <a:pt x="5939" y="679"/>
                </a:cubicBezTo>
                <a:lnTo>
                  <a:pt x="5940" y="678"/>
                </a:lnTo>
                <a:cubicBezTo>
                  <a:pt x="5940" y="677"/>
                  <a:pt x="5939" y="677"/>
                  <a:pt x="5939" y="677"/>
                </a:cubicBezTo>
                <a:cubicBezTo>
                  <a:pt x="5937" y="677"/>
                  <a:pt x="5936" y="678"/>
                  <a:pt x="5934" y="679"/>
                </a:cubicBezTo>
                <a:cubicBezTo>
                  <a:pt x="5933" y="680"/>
                  <a:pt x="5932" y="681"/>
                  <a:pt x="5932" y="681"/>
                </a:cubicBezTo>
                <a:cubicBezTo>
                  <a:pt x="5932" y="681"/>
                  <a:pt x="5933" y="681"/>
                  <a:pt x="5934" y="681"/>
                </a:cubicBezTo>
                <a:close/>
                <a:moveTo>
                  <a:pt x="5925" y="683"/>
                </a:moveTo>
                <a:cubicBezTo>
                  <a:pt x="5927" y="683"/>
                  <a:pt x="5928" y="683"/>
                  <a:pt x="5928" y="683"/>
                </a:cubicBezTo>
                <a:cubicBezTo>
                  <a:pt x="5928" y="683"/>
                  <a:pt x="5928" y="682"/>
                  <a:pt x="5928" y="682"/>
                </a:cubicBezTo>
                <a:cubicBezTo>
                  <a:pt x="5927" y="682"/>
                  <a:pt x="5926" y="681"/>
                  <a:pt x="5926" y="681"/>
                </a:cubicBezTo>
                <a:cubicBezTo>
                  <a:pt x="5925" y="681"/>
                  <a:pt x="5924" y="682"/>
                  <a:pt x="5922" y="683"/>
                </a:cubicBezTo>
                <a:cubicBezTo>
                  <a:pt x="5922" y="683"/>
                  <a:pt x="5922" y="683"/>
                  <a:pt x="5922" y="683"/>
                </a:cubicBezTo>
                <a:cubicBezTo>
                  <a:pt x="5922" y="683"/>
                  <a:pt x="5923" y="683"/>
                  <a:pt x="5925" y="683"/>
                </a:cubicBezTo>
                <a:close/>
                <a:moveTo>
                  <a:pt x="5916" y="686"/>
                </a:moveTo>
                <a:cubicBezTo>
                  <a:pt x="5917" y="686"/>
                  <a:pt x="5918" y="686"/>
                  <a:pt x="5918" y="685"/>
                </a:cubicBezTo>
                <a:lnTo>
                  <a:pt x="5918" y="685"/>
                </a:lnTo>
                <a:lnTo>
                  <a:pt x="5916" y="684"/>
                </a:lnTo>
                <a:lnTo>
                  <a:pt x="5914" y="685"/>
                </a:lnTo>
                <a:cubicBezTo>
                  <a:pt x="5913" y="685"/>
                  <a:pt x="5913" y="685"/>
                  <a:pt x="5913" y="686"/>
                </a:cubicBezTo>
                <a:cubicBezTo>
                  <a:pt x="5913" y="686"/>
                  <a:pt x="5914" y="686"/>
                  <a:pt x="5916" y="686"/>
                </a:cubicBezTo>
                <a:close/>
                <a:moveTo>
                  <a:pt x="5884" y="679"/>
                </a:moveTo>
                <a:cubicBezTo>
                  <a:pt x="5886" y="679"/>
                  <a:pt x="5888" y="679"/>
                  <a:pt x="5888" y="679"/>
                </a:cubicBezTo>
                <a:cubicBezTo>
                  <a:pt x="5888" y="678"/>
                  <a:pt x="5886" y="677"/>
                  <a:pt x="5882" y="675"/>
                </a:cubicBezTo>
                <a:cubicBezTo>
                  <a:pt x="5879" y="673"/>
                  <a:pt x="5874" y="672"/>
                  <a:pt x="5870" y="672"/>
                </a:cubicBezTo>
                <a:cubicBezTo>
                  <a:pt x="5867" y="672"/>
                  <a:pt x="5865" y="673"/>
                  <a:pt x="5865" y="674"/>
                </a:cubicBezTo>
                <a:cubicBezTo>
                  <a:pt x="5865" y="674"/>
                  <a:pt x="5867" y="674"/>
                  <a:pt x="5871" y="676"/>
                </a:cubicBezTo>
                <a:cubicBezTo>
                  <a:pt x="5877" y="678"/>
                  <a:pt x="5881" y="679"/>
                  <a:pt x="5884" y="679"/>
                </a:cubicBezTo>
                <a:close/>
                <a:moveTo>
                  <a:pt x="5737" y="578"/>
                </a:moveTo>
                <a:cubicBezTo>
                  <a:pt x="5739" y="578"/>
                  <a:pt x="5741" y="578"/>
                  <a:pt x="5742" y="577"/>
                </a:cubicBezTo>
                <a:cubicBezTo>
                  <a:pt x="5744" y="576"/>
                  <a:pt x="5745" y="575"/>
                  <a:pt x="5745" y="574"/>
                </a:cubicBezTo>
                <a:cubicBezTo>
                  <a:pt x="5745" y="574"/>
                  <a:pt x="5744" y="574"/>
                  <a:pt x="5744" y="574"/>
                </a:cubicBezTo>
                <a:cubicBezTo>
                  <a:pt x="5743" y="574"/>
                  <a:pt x="5741" y="574"/>
                  <a:pt x="5738" y="576"/>
                </a:cubicBezTo>
                <a:cubicBezTo>
                  <a:pt x="5737" y="577"/>
                  <a:pt x="5737" y="578"/>
                  <a:pt x="5737" y="578"/>
                </a:cubicBezTo>
                <a:cubicBezTo>
                  <a:pt x="5737" y="578"/>
                  <a:pt x="5737" y="578"/>
                  <a:pt x="5737" y="578"/>
                </a:cubicBezTo>
                <a:close/>
                <a:moveTo>
                  <a:pt x="5644" y="674"/>
                </a:moveTo>
                <a:cubicBezTo>
                  <a:pt x="5644" y="674"/>
                  <a:pt x="5645" y="674"/>
                  <a:pt x="5646" y="673"/>
                </a:cubicBezTo>
                <a:cubicBezTo>
                  <a:pt x="5647" y="672"/>
                  <a:pt x="5647" y="670"/>
                  <a:pt x="5647" y="668"/>
                </a:cubicBezTo>
                <a:cubicBezTo>
                  <a:pt x="5647" y="666"/>
                  <a:pt x="5648" y="665"/>
                  <a:pt x="5650" y="664"/>
                </a:cubicBezTo>
                <a:cubicBezTo>
                  <a:pt x="5653" y="663"/>
                  <a:pt x="5655" y="661"/>
                  <a:pt x="5655" y="659"/>
                </a:cubicBezTo>
                <a:cubicBezTo>
                  <a:pt x="5655" y="658"/>
                  <a:pt x="5655" y="658"/>
                  <a:pt x="5654" y="658"/>
                </a:cubicBezTo>
                <a:cubicBezTo>
                  <a:pt x="5654" y="658"/>
                  <a:pt x="5652" y="659"/>
                  <a:pt x="5650" y="662"/>
                </a:cubicBezTo>
                <a:cubicBezTo>
                  <a:pt x="5645" y="666"/>
                  <a:pt x="5643" y="670"/>
                  <a:pt x="5643" y="673"/>
                </a:cubicBezTo>
                <a:cubicBezTo>
                  <a:pt x="5643" y="674"/>
                  <a:pt x="5643" y="674"/>
                  <a:pt x="5644" y="674"/>
                </a:cubicBezTo>
                <a:close/>
                <a:moveTo>
                  <a:pt x="5583" y="775"/>
                </a:moveTo>
                <a:cubicBezTo>
                  <a:pt x="5584" y="774"/>
                  <a:pt x="5584" y="773"/>
                  <a:pt x="5584" y="772"/>
                </a:cubicBezTo>
                <a:lnTo>
                  <a:pt x="5584" y="770"/>
                </a:lnTo>
                <a:lnTo>
                  <a:pt x="5582" y="769"/>
                </a:lnTo>
                <a:cubicBezTo>
                  <a:pt x="5582" y="769"/>
                  <a:pt x="5582" y="770"/>
                  <a:pt x="5582" y="772"/>
                </a:cubicBezTo>
                <a:cubicBezTo>
                  <a:pt x="5582" y="774"/>
                  <a:pt x="5582" y="775"/>
                  <a:pt x="5583" y="775"/>
                </a:cubicBezTo>
                <a:close/>
                <a:moveTo>
                  <a:pt x="5627" y="574"/>
                </a:moveTo>
                <a:cubicBezTo>
                  <a:pt x="5628" y="574"/>
                  <a:pt x="5629" y="574"/>
                  <a:pt x="5629" y="573"/>
                </a:cubicBezTo>
                <a:cubicBezTo>
                  <a:pt x="5630" y="572"/>
                  <a:pt x="5631" y="571"/>
                  <a:pt x="5631" y="569"/>
                </a:cubicBezTo>
                <a:cubicBezTo>
                  <a:pt x="5632" y="567"/>
                  <a:pt x="5633" y="565"/>
                  <a:pt x="5633" y="563"/>
                </a:cubicBezTo>
                <a:lnTo>
                  <a:pt x="5633" y="561"/>
                </a:lnTo>
                <a:cubicBezTo>
                  <a:pt x="5633" y="561"/>
                  <a:pt x="5633" y="561"/>
                  <a:pt x="5633" y="561"/>
                </a:cubicBezTo>
                <a:lnTo>
                  <a:pt x="5634" y="560"/>
                </a:lnTo>
                <a:cubicBezTo>
                  <a:pt x="5635" y="560"/>
                  <a:pt x="5636" y="559"/>
                  <a:pt x="5636" y="557"/>
                </a:cubicBezTo>
                <a:cubicBezTo>
                  <a:pt x="5636" y="556"/>
                  <a:pt x="5636" y="556"/>
                  <a:pt x="5636" y="556"/>
                </a:cubicBezTo>
                <a:lnTo>
                  <a:pt x="5634" y="557"/>
                </a:lnTo>
                <a:cubicBezTo>
                  <a:pt x="5633" y="557"/>
                  <a:pt x="5632" y="556"/>
                  <a:pt x="5630" y="555"/>
                </a:cubicBezTo>
                <a:lnTo>
                  <a:pt x="5628" y="553"/>
                </a:lnTo>
                <a:lnTo>
                  <a:pt x="5627" y="553"/>
                </a:lnTo>
                <a:lnTo>
                  <a:pt x="5629" y="556"/>
                </a:lnTo>
                <a:cubicBezTo>
                  <a:pt x="5629" y="557"/>
                  <a:pt x="5629" y="558"/>
                  <a:pt x="5627" y="558"/>
                </a:cubicBezTo>
                <a:cubicBezTo>
                  <a:pt x="5626" y="558"/>
                  <a:pt x="5626" y="558"/>
                  <a:pt x="5626" y="559"/>
                </a:cubicBezTo>
                <a:lnTo>
                  <a:pt x="5627" y="560"/>
                </a:lnTo>
                <a:cubicBezTo>
                  <a:pt x="5628" y="561"/>
                  <a:pt x="5629" y="563"/>
                  <a:pt x="5629" y="565"/>
                </a:cubicBezTo>
                <a:cubicBezTo>
                  <a:pt x="5629" y="568"/>
                  <a:pt x="5628" y="570"/>
                  <a:pt x="5625" y="570"/>
                </a:cubicBezTo>
                <a:lnTo>
                  <a:pt x="5621" y="569"/>
                </a:lnTo>
                <a:cubicBezTo>
                  <a:pt x="5621" y="570"/>
                  <a:pt x="5622" y="571"/>
                  <a:pt x="5624" y="572"/>
                </a:cubicBezTo>
                <a:cubicBezTo>
                  <a:pt x="5625" y="573"/>
                  <a:pt x="5627" y="574"/>
                  <a:pt x="5627" y="574"/>
                </a:cubicBezTo>
                <a:close/>
                <a:moveTo>
                  <a:pt x="5619" y="539"/>
                </a:moveTo>
                <a:lnTo>
                  <a:pt x="5621" y="539"/>
                </a:lnTo>
                <a:cubicBezTo>
                  <a:pt x="5621" y="538"/>
                  <a:pt x="5622" y="536"/>
                  <a:pt x="5622" y="534"/>
                </a:cubicBezTo>
                <a:cubicBezTo>
                  <a:pt x="5623" y="533"/>
                  <a:pt x="5624" y="531"/>
                  <a:pt x="5624" y="529"/>
                </a:cubicBezTo>
                <a:cubicBezTo>
                  <a:pt x="5624" y="528"/>
                  <a:pt x="5625" y="527"/>
                  <a:pt x="5625" y="526"/>
                </a:cubicBezTo>
                <a:cubicBezTo>
                  <a:pt x="5625" y="525"/>
                  <a:pt x="5624" y="525"/>
                  <a:pt x="5624" y="525"/>
                </a:cubicBezTo>
                <a:cubicBezTo>
                  <a:pt x="5624" y="525"/>
                  <a:pt x="5622" y="528"/>
                  <a:pt x="5620" y="535"/>
                </a:cubicBezTo>
                <a:lnTo>
                  <a:pt x="5619" y="539"/>
                </a:lnTo>
                <a:close/>
                <a:moveTo>
                  <a:pt x="5680" y="435"/>
                </a:moveTo>
                <a:cubicBezTo>
                  <a:pt x="5681" y="435"/>
                  <a:pt x="5682" y="434"/>
                  <a:pt x="5683" y="431"/>
                </a:cubicBezTo>
                <a:cubicBezTo>
                  <a:pt x="5685" y="427"/>
                  <a:pt x="5686" y="425"/>
                  <a:pt x="5686" y="424"/>
                </a:cubicBezTo>
                <a:cubicBezTo>
                  <a:pt x="5686" y="424"/>
                  <a:pt x="5686" y="424"/>
                  <a:pt x="5685" y="424"/>
                </a:cubicBezTo>
                <a:cubicBezTo>
                  <a:pt x="5684" y="424"/>
                  <a:pt x="5683" y="424"/>
                  <a:pt x="5682" y="425"/>
                </a:cubicBezTo>
                <a:cubicBezTo>
                  <a:pt x="5680" y="426"/>
                  <a:pt x="5679" y="428"/>
                  <a:pt x="5679" y="430"/>
                </a:cubicBezTo>
                <a:lnTo>
                  <a:pt x="5679" y="432"/>
                </a:lnTo>
                <a:cubicBezTo>
                  <a:pt x="5679" y="434"/>
                  <a:pt x="5680" y="435"/>
                  <a:pt x="5680" y="435"/>
                </a:cubicBezTo>
                <a:close/>
                <a:moveTo>
                  <a:pt x="5687" y="418"/>
                </a:moveTo>
                <a:cubicBezTo>
                  <a:pt x="5688" y="418"/>
                  <a:pt x="5689" y="416"/>
                  <a:pt x="5691" y="413"/>
                </a:cubicBezTo>
                <a:lnTo>
                  <a:pt x="5692" y="409"/>
                </a:lnTo>
                <a:lnTo>
                  <a:pt x="5692" y="409"/>
                </a:lnTo>
                <a:cubicBezTo>
                  <a:pt x="5691" y="409"/>
                  <a:pt x="5691" y="409"/>
                  <a:pt x="5690" y="410"/>
                </a:cubicBezTo>
                <a:cubicBezTo>
                  <a:pt x="5690" y="411"/>
                  <a:pt x="5689" y="412"/>
                  <a:pt x="5688" y="414"/>
                </a:cubicBezTo>
                <a:cubicBezTo>
                  <a:pt x="5688" y="415"/>
                  <a:pt x="5687" y="416"/>
                  <a:pt x="5687" y="417"/>
                </a:cubicBezTo>
                <a:lnTo>
                  <a:pt x="5687" y="418"/>
                </a:lnTo>
                <a:close/>
                <a:moveTo>
                  <a:pt x="5695" y="402"/>
                </a:moveTo>
                <a:cubicBezTo>
                  <a:pt x="5696" y="402"/>
                  <a:pt x="5697" y="401"/>
                  <a:pt x="5697" y="399"/>
                </a:cubicBezTo>
                <a:cubicBezTo>
                  <a:pt x="5697" y="399"/>
                  <a:pt x="5697" y="398"/>
                  <a:pt x="5696" y="397"/>
                </a:cubicBezTo>
                <a:cubicBezTo>
                  <a:pt x="5696" y="397"/>
                  <a:pt x="5695" y="397"/>
                  <a:pt x="5695" y="397"/>
                </a:cubicBezTo>
                <a:cubicBezTo>
                  <a:pt x="5694" y="397"/>
                  <a:pt x="5694" y="397"/>
                  <a:pt x="5694" y="399"/>
                </a:cubicBezTo>
                <a:cubicBezTo>
                  <a:pt x="5694" y="401"/>
                  <a:pt x="5694" y="402"/>
                  <a:pt x="5695" y="402"/>
                </a:cubicBezTo>
                <a:close/>
                <a:moveTo>
                  <a:pt x="5710" y="442"/>
                </a:moveTo>
                <a:cubicBezTo>
                  <a:pt x="5711" y="441"/>
                  <a:pt x="5711" y="441"/>
                  <a:pt x="5711" y="440"/>
                </a:cubicBezTo>
                <a:cubicBezTo>
                  <a:pt x="5711" y="439"/>
                  <a:pt x="5711" y="438"/>
                  <a:pt x="5710" y="438"/>
                </a:cubicBezTo>
                <a:cubicBezTo>
                  <a:pt x="5709" y="437"/>
                  <a:pt x="5709" y="436"/>
                  <a:pt x="5708" y="436"/>
                </a:cubicBezTo>
                <a:cubicBezTo>
                  <a:pt x="5707" y="436"/>
                  <a:pt x="5706" y="437"/>
                  <a:pt x="5706" y="439"/>
                </a:cubicBezTo>
                <a:cubicBezTo>
                  <a:pt x="5706" y="440"/>
                  <a:pt x="5706" y="440"/>
                  <a:pt x="5707" y="441"/>
                </a:cubicBezTo>
                <a:cubicBezTo>
                  <a:pt x="5708" y="442"/>
                  <a:pt x="5709" y="442"/>
                  <a:pt x="5709" y="442"/>
                </a:cubicBezTo>
                <a:lnTo>
                  <a:pt x="5710" y="442"/>
                </a:lnTo>
                <a:close/>
                <a:moveTo>
                  <a:pt x="5720" y="431"/>
                </a:moveTo>
                <a:cubicBezTo>
                  <a:pt x="5722" y="431"/>
                  <a:pt x="5723" y="429"/>
                  <a:pt x="5723" y="427"/>
                </a:cubicBezTo>
                <a:lnTo>
                  <a:pt x="5723" y="426"/>
                </a:lnTo>
                <a:cubicBezTo>
                  <a:pt x="5723" y="425"/>
                  <a:pt x="5723" y="425"/>
                  <a:pt x="5722" y="425"/>
                </a:cubicBezTo>
                <a:lnTo>
                  <a:pt x="5722" y="426"/>
                </a:lnTo>
                <a:cubicBezTo>
                  <a:pt x="5721" y="428"/>
                  <a:pt x="5720" y="428"/>
                  <a:pt x="5719" y="428"/>
                </a:cubicBezTo>
                <a:lnTo>
                  <a:pt x="5717" y="427"/>
                </a:lnTo>
                <a:lnTo>
                  <a:pt x="5718" y="429"/>
                </a:lnTo>
                <a:cubicBezTo>
                  <a:pt x="5718" y="430"/>
                  <a:pt x="5719" y="431"/>
                  <a:pt x="5720" y="431"/>
                </a:cubicBezTo>
                <a:close/>
                <a:moveTo>
                  <a:pt x="5733" y="419"/>
                </a:moveTo>
                <a:cubicBezTo>
                  <a:pt x="5734" y="419"/>
                  <a:pt x="5734" y="419"/>
                  <a:pt x="5734" y="419"/>
                </a:cubicBezTo>
                <a:cubicBezTo>
                  <a:pt x="5734" y="417"/>
                  <a:pt x="5733" y="417"/>
                  <a:pt x="5731" y="417"/>
                </a:cubicBezTo>
                <a:cubicBezTo>
                  <a:pt x="5729" y="417"/>
                  <a:pt x="5729" y="417"/>
                  <a:pt x="5729" y="418"/>
                </a:cubicBezTo>
                <a:cubicBezTo>
                  <a:pt x="5729" y="419"/>
                  <a:pt x="5730" y="419"/>
                  <a:pt x="5731" y="419"/>
                </a:cubicBezTo>
                <a:lnTo>
                  <a:pt x="5733" y="419"/>
                </a:lnTo>
                <a:close/>
                <a:moveTo>
                  <a:pt x="5745" y="404"/>
                </a:moveTo>
                <a:cubicBezTo>
                  <a:pt x="5746" y="404"/>
                  <a:pt x="5747" y="403"/>
                  <a:pt x="5750" y="402"/>
                </a:cubicBezTo>
                <a:cubicBezTo>
                  <a:pt x="5752" y="400"/>
                  <a:pt x="5753" y="398"/>
                  <a:pt x="5753" y="397"/>
                </a:cubicBezTo>
                <a:cubicBezTo>
                  <a:pt x="5753" y="396"/>
                  <a:pt x="5753" y="395"/>
                  <a:pt x="5753" y="395"/>
                </a:cubicBezTo>
                <a:cubicBezTo>
                  <a:pt x="5752" y="395"/>
                  <a:pt x="5751" y="397"/>
                  <a:pt x="5748" y="399"/>
                </a:cubicBezTo>
                <a:cubicBezTo>
                  <a:pt x="5746" y="402"/>
                  <a:pt x="5745" y="404"/>
                  <a:pt x="5745" y="404"/>
                </a:cubicBezTo>
                <a:close/>
                <a:moveTo>
                  <a:pt x="5756" y="392"/>
                </a:moveTo>
                <a:cubicBezTo>
                  <a:pt x="5756" y="392"/>
                  <a:pt x="5757" y="392"/>
                  <a:pt x="5759" y="391"/>
                </a:cubicBezTo>
                <a:cubicBezTo>
                  <a:pt x="5761" y="389"/>
                  <a:pt x="5762" y="388"/>
                  <a:pt x="5763" y="387"/>
                </a:cubicBezTo>
                <a:cubicBezTo>
                  <a:pt x="5764" y="387"/>
                  <a:pt x="5765" y="386"/>
                  <a:pt x="5765" y="385"/>
                </a:cubicBezTo>
                <a:cubicBezTo>
                  <a:pt x="5765" y="384"/>
                  <a:pt x="5764" y="384"/>
                  <a:pt x="5764" y="384"/>
                </a:cubicBezTo>
                <a:cubicBezTo>
                  <a:pt x="5763" y="384"/>
                  <a:pt x="5761" y="385"/>
                  <a:pt x="5759" y="388"/>
                </a:cubicBezTo>
                <a:cubicBezTo>
                  <a:pt x="5756" y="390"/>
                  <a:pt x="5755" y="392"/>
                  <a:pt x="5755" y="392"/>
                </a:cubicBezTo>
                <a:lnTo>
                  <a:pt x="5756" y="392"/>
                </a:lnTo>
                <a:close/>
                <a:moveTo>
                  <a:pt x="5783" y="367"/>
                </a:moveTo>
                <a:cubicBezTo>
                  <a:pt x="5783" y="367"/>
                  <a:pt x="5785" y="366"/>
                  <a:pt x="5786" y="364"/>
                </a:cubicBezTo>
                <a:lnTo>
                  <a:pt x="5788" y="362"/>
                </a:lnTo>
                <a:lnTo>
                  <a:pt x="5788" y="361"/>
                </a:lnTo>
                <a:lnTo>
                  <a:pt x="5786" y="362"/>
                </a:lnTo>
                <a:cubicBezTo>
                  <a:pt x="5783" y="363"/>
                  <a:pt x="5782" y="364"/>
                  <a:pt x="5782" y="366"/>
                </a:cubicBezTo>
                <a:cubicBezTo>
                  <a:pt x="5782" y="367"/>
                  <a:pt x="5782" y="367"/>
                  <a:pt x="5783" y="367"/>
                </a:cubicBezTo>
                <a:close/>
                <a:moveTo>
                  <a:pt x="5852" y="267"/>
                </a:moveTo>
                <a:cubicBezTo>
                  <a:pt x="5853" y="267"/>
                  <a:pt x="5854" y="265"/>
                  <a:pt x="5856" y="262"/>
                </a:cubicBezTo>
                <a:lnTo>
                  <a:pt x="5858" y="260"/>
                </a:lnTo>
                <a:lnTo>
                  <a:pt x="5858" y="259"/>
                </a:lnTo>
                <a:lnTo>
                  <a:pt x="5855" y="262"/>
                </a:lnTo>
                <a:cubicBezTo>
                  <a:pt x="5853" y="264"/>
                  <a:pt x="5851" y="265"/>
                  <a:pt x="5851" y="266"/>
                </a:cubicBezTo>
                <a:cubicBezTo>
                  <a:pt x="5851" y="266"/>
                  <a:pt x="5852" y="267"/>
                  <a:pt x="5852" y="267"/>
                </a:cubicBezTo>
                <a:close/>
                <a:moveTo>
                  <a:pt x="5858" y="231"/>
                </a:moveTo>
                <a:cubicBezTo>
                  <a:pt x="5860" y="231"/>
                  <a:pt x="5862" y="228"/>
                  <a:pt x="5866" y="220"/>
                </a:cubicBezTo>
                <a:cubicBezTo>
                  <a:pt x="5869" y="216"/>
                  <a:pt x="5870" y="214"/>
                  <a:pt x="5870" y="213"/>
                </a:cubicBezTo>
                <a:lnTo>
                  <a:pt x="5869" y="213"/>
                </a:lnTo>
                <a:cubicBezTo>
                  <a:pt x="5869" y="213"/>
                  <a:pt x="5868" y="213"/>
                  <a:pt x="5867" y="215"/>
                </a:cubicBezTo>
                <a:cubicBezTo>
                  <a:pt x="5865" y="218"/>
                  <a:pt x="5864" y="219"/>
                  <a:pt x="5864" y="220"/>
                </a:cubicBezTo>
                <a:lnTo>
                  <a:pt x="5864" y="222"/>
                </a:lnTo>
                <a:cubicBezTo>
                  <a:pt x="5864" y="223"/>
                  <a:pt x="5864" y="223"/>
                  <a:pt x="5863" y="223"/>
                </a:cubicBezTo>
                <a:cubicBezTo>
                  <a:pt x="5862" y="223"/>
                  <a:pt x="5862" y="223"/>
                  <a:pt x="5861" y="224"/>
                </a:cubicBezTo>
                <a:cubicBezTo>
                  <a:pt x="5860" y="225"/>
                  <a:pt x="5860" y="225"/>
                  <a:pt x="5860" y="226"/>
                </a:cubicBezTo>
                <a:cubicBezTo>
                  <a:pt x="5860" y="227"/>
                  <a:pt x="5860" y="228"/>
                  <a:pt x="5859" y="229"/>
                </a:cubicBezTo>
                <a:cubicBezTo>
                  <a:pt x="5859" y="230"/>
                  <a:pt x="5859" y="230"/>
                  <a:pt x="5858" y="231"/>
                </a:cubicBezTo>
                <a:lnTo>
                  <a:pt x="5857" y="231"/>
                </a:lnTo>
                <a:lnTo>
                  <a:pt x="5858" y="231"/>
                </a:lnTo>
                <a:close/>
                <a:moveTo>
                  <a:pt x="5871" y="209"/>
                </a:moveTo>
                <a:cubicBezTo>
                  <a:pt x="5872" y="209"/>
                  <a:pt x="5873" y="208"/>
                  <a:pt x="5874" y="206"/>
                </a:cubicBezTo>
                <a:cubicBezTo>
                  <a:pt x="5875" y="203"/>
                  <a:pt x="5877" y="201"/>
                  <a:pt x="5879" y="197"/>
                </a:cubicBezTo>
                <a:cubicBezTo>
                  <a:pt x="5881" y="192"/>
                  <a:pt x="5882" y="189"/>
                  <a:pt x="5882" y="188"/>
                </a:cubicBezTo>
                <a:lnTo>
                  <a:pt x="5882" y="188"/>
                </a:lnTo>
                <a:lnTo>
                  <a:pt x="5880" y="190"/>
                </a:lnTo>
                <a:cubicBezTo>
                  <a:pt x="5877" y="193"/>
                  <a:pt x="5876" y="195"/>
                  <a:pt x="5876" y="195"/>
                </a:cubicBezTo>
                <a:cubicBezTo>
                  <a:pt x="5876" y="199"/>
                  <a:pt x="5874" y="203"/>
                  <a:pt x="5872" y="206"/>
                </a:cubicBezTo>
                <a:cubicBezTo>
                  <a:pt x="5870" y="207"/>
                  <a:pt x="5870" y="208"/>
                  <a:pt x="5870" y="208"/>
                </a:cubicBezTo>
                <a:cubicBezTo>
                  <a:pt x="5870" y="209"/>
                  <a:pt x="5870" y="209"/>
                  <a:pt x="5871" y="209"/>
                </a:cubicBezTo>
                <a:close/>
                <a:moveTo>
                  <a:pt x="5876" y="246"/>
                </a:moveTo>
                <a:cubicBezTo>
                  <a:pt x="5877" y="246"/>
                  <a:pt x="5878" y="244"/>
                  <a:pt x="5879" y="241"/>
                </a:cubicBezTo>
                <a:cubicBezTo>
                  <a:pt x="5880" y="239"/>
                  <a:pt x="5881" y="238"/>
                  <a:pt x="5881" y="237"/>
                </a:cubicBezTo>
                <a:lnTo>
                  <a:pt x="5881" y="237"/>
                </a:lnTo>
                <a:cubicBezTo>
                  <a:pt x="5880" y="237"/>
                  <a:pt x="5879" y="238"/>
                  <a:pt x="5878" y="240"/>
                </a:cubicBezTo>
                <a:cubicBezTo>
                  <a:pt x="5877" y="243"/>
                  <a:pt x="5876" y="245"/>
                  <a:pt x="5876" y="245"/>
                </a:cubicBezTo>
                <a:lnTo>
                  <a:pt x="5876" y="246"/>
                </a:lnTo>
                <a:close/>
                <a:moveTo>
                  <a:pt x="5871" y="236"/>
                </a:moveTo>
                <a:cubicBezTo>
                  <a:pt x="5872" y="236"/>
                  <a:pt x="5872" y="236"/>
                  <a:pt x="5872" y="235"/>
                </a:cubicBezTo>
                <a:cubicBezTo>
                  <a:pt x="5874" y="232"/>
                  <a:pt x="5875" y="228"/>
                  <a:pt x="5878" y="224"/>
                </a:cubicBezTo>
                <a:cubicBezTo>
                  <a:pt x="5880" y="221"/>
                  <a:pt x="5885" y="211"/>
                  <a:pt x="5894" y="195"/>
                </a:cubicBezTo>
                <a:cubicBezTo>
                  <a:pt x="5902" y="179"/>
                  <a:pt x="5907" y="171"/>
                  <a:pt x="5908" y="171"/>
                </a:cubicBezTo>
                <a:lnTo>
                  <a:pt x="5910" y="171"/>
                </a:lnTo>
                <a:lnTo>
                  <a:pt x="5909" y="167"/>
                </a:lnTo>
                <a:cubicBezTo>
                  <a:pt x="5909" y="163"/>
                  <a:pt x="5910" y="159"/>
                  <a:pt x="5912" y="155"/>
                </a:cubicBezTo>
                <a:cubicBezTo>
                  <a:pt x="5915" y="148"/>
                  <a:pt x="5919" y="139"/>
                  <a:pt x="5922" y="129"/>
                </a:cubicBezTo>
                <a:cubicBezTo>
                  <a:pt x="5931" y="104"/>
                  <a:pt x="5935" y="87"/>
                  <a:pt x="5935" y="80"/>
                </a:cubicBezTo>
                <a:cubicBezTo>
                  <a:pt x="5935" y="78"/>
                  <a:pt x="5935" y="78"/>
                  <a:pt x="5934" y="78"/>
                </a:cubicBezTo>
                <a:cubicBezTo>
                  <a:pt x="5933" y="78"/>
                  <a:pt x="5932" y="81"/>
                  <a:pt x="5931" y="88"/>
                </a:cubicBezTo>
                <a:cubicBezTo>
                  <a:pt x="5930" y="93"/>
                  <a:pt x="5928" y="101"/>
                  <a:pt x="5925" y="112"/>
                </a:cubicBezTo>
                <a:cubicBezTo>
                  <a:pt x="5922" y="122"/>
                  <a:pt x="5919" y="131"/>
                  <a:pt x="5915" y="140"/>
                </a:cubicBezTo>
                <a:cubicBezTo>
                  <a:pt x="5911" y="148"/>
                  <a:pt x="5904" y="164"/>
                  <a:pt x="5893" y="188"/>
                </a:cubicBezTo>
                <a:cubicBezTo>
                  <a:pt x="5882" y="212"/>
                  <a:pt x="5875" y="225"/>
                  <a:pt x="5874" y="227"/>
                </a:cubicBezTo>
                <a:cubicBezTo>
                  <a:pt x="5872" y="229"/>
                  <a:pt x="5871" y="232"/>
                  <a:pt x="5871" y="234"/>
                </a:cubicBezTo>
                <a:lnTo>
                  <a:pt x="5871" y="236"/>
                </a:lnTo>
                <a:close/>
                <a:moveTo>
                  <a:pt x="5922" y="38"/>
                </a:moveTo>
                <a:cubicBezTo>
                  <a:pt x="5922" y="38"/>
                  <a:pt x="5923" y="38"/>
                  <a:pt x="5923" y="38"/>
                </a:cubicBezTo>
                <a:cubicBezTo>
                  <a:pt x="5923" y="37"/>
                  <a:pt x="5922" y="36"/>
                  <a:pt x="5921" y="34"/>
                </a:cubicBezTo>
                <a:cubicBezTo>
                  <a:pt x="5920" y="33"/>
                  <a:pt x="5916" y="32"/>
                  <a:pt x="5911" y="32"/>
                </a:cubicBezTo>
                <a:lnTo>
                  <a:pt x="5909" y="32"/>
                </a:lnTo>
                <a:cubicBezTo>
                  <a:pt x="5906" y="32"/>
                  <a:pt x="5905" y="32"/>
                  <a:pt x="5905" y="32"/>
                </a:cubicBezTo>
                <a:cubicBezTo>
                  <a:pt x="5905" y="34"/>
                  <a:pt x="5908" y="35"/>
                  <a:pt x="5914" y="37"/>
                </a:cubicBezTo>
                <a:cubicBezTo>
                  <a:pt x="5917" y="38"/>
                  <a:pt x="5920" y="38"/>
                  <a:pt x="5922" y="38"/>
                </a:cubicBezTo>
                <a:close/>
                <a:moveTo>
                  <a:pt x="5844" y="113"/>
                </a:moveTo>
                <a:cubicBezTo>
                  <a:pt x="5844" y="113"/>
                  <a:pt x="5845" y="112"/>
                  <a:pt x="5847" y="109"/>
                </a:cubicBezTo>
                <a:lnTo>
                  <a:pt x="5849" y="106"/>
                </a:lnTo>
                <a:cubicBezTo>
                  <a:pt x="5849" y="106"/>
                  <a:pt x="5848" y="107"/>
                  <a:pt x="5847" y="108"/>
                </a:cubicBezTo>
                <a:cubicBezTo>
                  <a:pt x="5844" y="110"/>
                  <a:pt x="5843" y="111"/>
                  <a:pt x="5843" y="112"/>
                </a:cubicBezTo>
                <a:cubicBezTo>
                  <a:pt x="5843" y="113"/>
                  <a:pt x="5843" y="113"/>
                  <a:pt x="5844" y="113"/>
                </a:cubicBezTo>
                <a:close/>
                <a:moveTo>
                  <a:pt x="5835" y="143"/>
                </a:moveTo>
                <a:cubicBezTo>
                  <a:pt x="5836" y="143"/>
                  <a:pt x="5837" y="141"/>
                  <a:pt x="5839" y="139"/>
                </a:cubicBezTo>
                <a:lnTo>
                  <a:pt x="5841" y="136"/>
                </a:lnTo>
                <a:lnTo>
                  <a:pt x="5840" y="136"/>
                </a:lnTo>
                <a:lnTo>
                  <a:pt x="5838" y="138"/>
                </a:lnTo>
                <a:cubicBezTo>
                  <a:pt x="5835" y="140"/>
                  <a:pt x="5834" y="141"/>
                  <a:pt x="5834" y="142"/>
                </a:cubicBezTo>
                <a:cubicBezTo>
                  <a:pt x="5834" y="142"/>
                  <a:pt x="5834" y="143"/>
                  <a:pt x="5835" y="143"/>
                </a:cubicBezTo>
                <a:close/>
                <a:moveTo>
                  <a:pt x="5826" y="136"/>
                </a:moveTo>
                <a:cubicBezTo>
                  <a:pt x="5827" y="136"/>
                  <a:pt x="5827" y="136"/>
                  <a:pt x="5828" y="134"/>
                </a:cubicBezTo>
                <a:cubicBezTo>
                  <a:pt x="5833" y="127"/>
                  <a:pt x="5835" y="123"/>
                  <a:pt x="5835" y="122"/>
                </a:cubicBezTo>
                <a:cubicBezTo>
                  <a:pt x="5835" y="122"/>
                  <a:pt x="5833" y="124"/>
                  <a:pt x="5830" y="129"/>
                </a:cubicBezTo>
                <a:cubicBezTo>
                  <a:pt x="5827" y="133"/>
                  <a:pt x="5826" y="135"/>
                  <a:pt x="5826" y="136"/>
                </a:cubicBezTo>
                <a:close/>
                <a:moveTo>
                  <a:pt x="5811" y="155"/>
                </a:moveTo>
                <a:cubicBezTo>
                  <a:pt x="5811" y="155"/>
                  <a:pt x="5812" y="155"/>
                  <a:pt x="5813" y="154"/>
                </a:cubicBezTo>
                <a:cubicBezTo>
                  <a:pt x="5814" y="154"/>
                  <a:pt x="5815" y="152"/>
                  <a:pt x="5817" y="151"/>
                </a:cubicBezTo>
                <a:cubicBezTo>
                  <a:pt x="5818" y="149"/>
                  <a:pt x="5819" y="148"/>
                  <a:pt x="5820" y="146"/>
                </a:cubicBezTo>
                <a:cubicBezTo>
                  <a:pt x="5820" y="144"/>
                  <a:pt x="5821" y="144"/>
                  <a:pt x="5821" y="143"/>
                </a:cubicBezTo>
                <a:lnTo>
                  <a:pt x="5821" y="143"/>
                </a:lnTo>
                <a:cubicBezTo>
                  <a:pt x="5820" y="143"/>
                  <a:pt x="5817" y="145"/>
                  <a:pt x="5814" y="150"/>
                </a:cubicBezTo>
                <a:cubicBezTo>
                  <a:pt x="5812" y="153"/>
                  <a:pt x="5811" y="155"/>
                  <a:pt x="5811" y="155"/>
                </a:cubicBezTo>
                <a:close/>
                <a:moveTo>
                  <a:pt x="5795" y="178"/>
                </a:moveTo>
                <a:cubicBezTo>
                  <a:pt x="5795" y="178"/>
                  <a:pt x="5796" y="178"/>
                  <a:pt x="5797" y="177"/>
                </a:cubicBezTo>
                <a:cubicBezTo>
                  <a:pt x="5798" y="176"/>
                  <a:pt x="5799" y="175"/>
                  <a:pt x="5800" y="173"/>
                </a:cubicBezTo>
                <a:cubicBezTo>
                  <a:pt x="5801" y="172"/>
                  <a:pt x="5802" y="170"/>
                  <a:pt x="5803" y="169"/>
                </a:cubicBezTo>
                <a:cubicBezTo>
                  <a:pt x="5804" y="168"/>
                  <a:pt x="5805" y="167"/>
                  <a:pt x="5805" y="166"/>
                </a:cubicBezTo>
                <a:cubicBezTo>
                  <a:pt x="5804" y="166"/>
                  <a:pt x="5802" y="167"/>
                  <a:pt x="5800" y="170"/>
                </a:cubicBezTo>
                <a:cubicBezTo>
                  <a:pt x="5797" y="172"/>
                  <a:pt x="5796" y="174"/>
                  <a:pt x="5796" y="175"/>
                </a:cubicBezTo>
                <a:lnTo>
                  <a:pt x="5796" y="175"/>
                </a:lnTo>
                <a:cubicBezTo>
                  <a:pt x="5797" y="175"/>
                  <a:pt x="5797" y="175"/>
                  <a:pt x="5797" y="176"/>
                </a:cubicBezTo>
                <a:lnTo>
                  <a:pt x="5796" y="178"/>
                </a:lnTo>
                <a:lnTo>
                  <a:pt x="5795" y="178"/>
                </a:lnTo>
                <a:close/>
                <a:moveTo>
                  <a:pt x="5800" y="193"/>
                </a:moveTo>
                <a:cubicBezTo>
                  <a:pt x="5801" y="193"/>
                  <a:pt x="5802" y="192"/>
                  <a:pt x="5804" y="189"/>
                </a:cubicBezTo>
                <a:lnTo>
                  <a:pt x="5806" y="187"/>
                </a:lnTo>
                <a:lnTo>
                  <a:pt x="5806" y="186"/>
                </a:lnTo>
                <a:lnTo>
                  <a:pt x="5803" y="188"/>
                </a:lnTo>
                <a:cubicBezTo>
                  <a:pt x="5800" y="191"/>
                  <a:pt x="5799" y="192"/>
                  <a:pt x="5799" y="193"/>
                </a:cubicBezTo>
                <a:cubicBezTo>
                  <a:pt x="5799" y="193"/>
                  <a:pt x="5799" y="193"/>
                  <a:pt x="5800" y="193"/>
                </a:cubicBezTo>
                <a:close/>
                <a:moveTo>
                  <a:pt x="5784" y="221"/>
                </a:moveTo>
                <a:cubicBezTo>
                  <a:pt x="5785" y="221"/>
                  <a:pt x="5785" y="220"/>
                  <a:pt x="5785" y="220"/>
                </a:cubicBezTo>
                <a:cubicBezTo>
                  <a:pt x="5786" y="219"/>
                  <a:pt x="5787" y="218"/>
                  <a:pt x="5788" y="216"/>
                </a:cubicBezTo>
                <a:cubicBezTo>
                  <a:pt x="5788" y="214"/>
                  <a:pt x="5790" y="213"/>
                  <a:pt x="5790" y="210"/>
                </a:cubicBezTo>
                <a:cubicBezTo>
                  <a:pt x="5791" y="209"/>
                  <a:pt x="5792" y="207"/>
                  <a:pt x="5793" y="205"/>
                </a:cubicBezTo>
                <a:cubicBezTo>
                  <a:pt x="5794" y="204"/>
                  <a:pt x="5794" y="203"/>
                  <a:pt x="5794" y="202"/>
                </a:cubicBezTo>
                <a:cubicBezTo>
                  <a:pt x="5793" y="202"/>
                  <a:pt x="5792" y="205"/>
                  <a:pt x="5789" y="210"/>
                </a:cubicBezTo>
                <a:cubicBezTo>
                  <a:pt x="5786" y="215"/>
                  <a:pt x="5784" y="218"/>
                  <a:pt x="5784" y="220"/>
                </a:cubicBezTo>
                <a:lnTo>
                  <a:pt x="5784" y="221"/>
                </a:lnTo>
                <a:close/>
                <a:moveTo>
                  <a:pt x="5776" y="209"/>
                </a:moveTo>
                <a:lnTo>
                  <a:pt x="5781" y="203"/>
                </a:lnTo>
                <a:cubicBezTo>
                  <a:pt x="5788" y="193"/>
                  <a:pt x="5791" y="187"/>
                  <a:pt x="5791" y="185"/>
                </a:cubicBezTo>
                <a:lnTo>
                  <a:pt x="5791" y="185"/>
                </a:lnTo>
                <a:lnTo>
                  <a:pt x="5786" y="190"/>
                </a:lnTo>
                <a:cubicBezTo>
                  <a:pt x="5782" y="195"/>
                  <a:pt x="5780" y="198"/>
                  <a:pt x="5780" y="198"/>
                </a:cubicBezTo>
                <a:cubicBezTo>
                  <a:pt x="5780" y="198"/>
                  <a:pt x="5780" y="201"/>
                  <a:pt x="5778" y="205"/>
                </a:cubicBezTo>
                <a:lnTo>
                  <a:pt x="5776" y="209"/>
                </a:lnTo>
                <a:close/>
                <a:moveTo>
                  <a:pt x="5764" y="230"/>
                </a:moveTo>
                <a:cubicBezTo>
                  <a:pt x="5764" y="230"/>
                  <a:pt x="5766" y="227"/>
                  <a:pt x="5770" y="220"/>
                </a:cubicBezTo>
                <a:cubicBezTo>
                  <a:pt x="5773" y="216"/>
                  <a:pt x="5774" y="213"/>
                  <a:pt x="5774" y="212"/>
                </a:cubicBezTo>
                <a:lnTo>
                  <a:pt x="5774" y="211"/>
                </a:lnTo>
                <a:cubicBezTo>
                  <a:pt x="5772" y="211"/>
                  <a:pt x="5771" y="213"/>
                  <a:pt x="5769" y="217"/>
                </a:cubicBezTo>
                <a:cubicBezTo>
                  <a:pt x="5767" y="221"/>
                  <a:pt x="5766" y="223"/>
                  <a:pt x="5765" y="223"/>
                </a:cubicBezTo>
                <a:cubicBezTo>
                  <a:pt x="5764" y="223"/>
                  <a:pt x="5763" y="224"/>
                  <a:pt x="5763" y="227"/>
                </a:cubicBezTo>
                <a:cubicBezTo>
                  <a:pt x="5763" y="228"/>
                  <a:pt x="5763" y="229"/>
                  <a:pt x="5764" y="230"/>
                </a:cubicBezTo>
                <a:close/>
                <a:moveTo>
                  <a:pt x="5755" y="243"/>
                </a:moveTo>
                <a:cubicBezTo>
                  <a:pt x="5757" y="242"/>
                  <a:pt x="5759" y="240"/>
                  <a:pt x="5760" y="237"/>
                </a:cubicBezTo>
                <a:cubicBezTo>
                  <a:pt x="5761" y="235"/>
                  <a:pt x="5762" y="233"/>
                  <a:pt x="5762" y="233"/>
                </a:cubicBezTo>
                <a:lnTo>
                  <a:pt x="5762" y="232"/>
                </a:lnTo>
                <a:cubicBezTo>
                  <a:pt x="5761" y="232"/>
                  <a:pt x="5759" y="234"/>
                  <a:pt x="5757" y="238"/>
                </a:cubicBezTo>
                <a:cubicBezTo>
                  <a:pt x="5756" y="240"/>
                  <a:pt x="5755" y="242"/>
                  <a:pt x="5755" y="242"/>
                </a:cubicBezTo>
                <a:lnTo>
                  <a:pt x="5755" y="243"/>
                </a:lnTo>
                <a:close/>
                <a:moveTo>
                  <a:pt x="5746" y="286"/>
                </a:moveTo>
                <a:lnTo>
                  <a:pt x="5749" y="283"/>
                </a:lnTo>
                <a:cubicBezTo>
                  <a:pt x="5750" y="281"/>
                  <a:pt x="5751" y="279"/>
                  <a:pt x="5752" y="278"/>
                </a:cubicBezTo>
                <a:cubicBezTo>
                  <a:pt x="5753" y="276"/>
                  <a:pt x="5753" y="275"/>
                  <a:pt x="5753" y="275"/>
                </a:cubicBezTo>
                <a:lnTo>
                  <a:pt x="5753" y="274"/>
                </a:lnTo>
                <a:cubicBezTo>
                  <a:pt x="5753" y="274"/>
                  <a:pt x="5753" y="274"/>
                  <a:pt x="5753" y="274"/>
                </a:cubicBezTo>
                <a:cubicBezTo>
                  <a:pt x="5752" y="274"/>
                  <a:pt x="5750" y="277"/>
                  <a:pt x="5747" y="284"/>
                </a:cubicBezTo>
                <a:lnTo>
                  <a:pt x="5746" y="286"/>
                </a:lnTo>
                <a:close/>
                <a:moveTo>
                  <a:pt x="5717" y="301"/>
                </a:moveTo>
                <a:cubicBezTo>
                  <a:pt x="5718" y="301"/>
                  <a:pt x="5719" y="300"/>
                  <a:pt x="5719" y="297"/>
                </a:cubicBezTo>
                <a:lnTo>
                  <a:pt x="5720" y="296"/>
                </a:lnTo>
                <a:cubicBezTo>
                  <a:pt x="5720" y="295"/>
                  <a:pt x="5720" y="295"/>
                  <a:pt x="5719" y="295"/>
                </a:cubicBezTo>
                <a:lnTo>
                  <a:pt x="5719" y="295"/>
                </a:lnTo>
                <a:cubicBezTo>
                  <a:pt x="5717" y="296"/>
                  <a:pt x="5717" y="297"/>
                  <a:pt x="5717" y="299"/>
                </a:cubicBezTo>
                <a:cubicBezTo>
                  <a:pt x="5717" y="300"/>
                  <a:pt x="5717" y="301"/>
                  <a:pt x="5717" y="301"/>
                </a:cubicBezTo>
                <a:close/>
                <a:moveTo>
                  <a:pt x="5702" y="333"/>
                </a:moveTo>
                <a:cubicBezTo>
                  <a:pt x="5702" y="333"/>
                  <a:pt x="5703" y="332"/>
                  <a:pt x="5703" y="331"/>
                </a:cubicBezTo>
                <a:cubicBezTo>
                  <a:pt x="5704" y="330"/>
                  <a:pt x="5704" y="330"/>
                  <a:pt x="5705" y="330"/>
                </a:cubicBezTo>
                <a:lnTo>
                  <a:pt x="5708" y="330"/>
                </a:lnTo>
                <a:lnTo>
                  <a:pt x="5707" y="328"/>
                </a:lnTo>
                <a:cubicBezTo>
                  <a:pt x="5707" y="326"/>
                  <a:pt x="5707" y="324"/>
                  <a:pt x="5708" y="321"/>
                </a:cubicBezTo>
                <a:cubicBezTo>
                  <a:pt x="5709" y="319"/>
                  <a:pt x="5710" y="316"/>
                  <a:pt x="5711" y="314"/>
                </a:cubicBezTo>
                <a:cubicBezTo>
                  <a:pt x="5713" y="312"/>
                  <a:pt x="5714" y="311"/>
                  <a:pt x="5714" y="311"/>
                </a:cubicBezTo>
                <a:lnTo>
                  <a:pt x="5715" y="311"/>
                </a:lnTo>
                <a:cubicBezTo>
                  <a:pt x="5716" y="311"/>
                  <a:pt x="5716" y="311"/>
                  <a:pt x="5716" y="311"/>
                </a:cubicBezTo>
                <a:cubicBezTo>
                  <a:pt x="5716" y="310"/>
                  <a:pt x="5715" y="309"/>
                  <a:pt x="5715" y="308"/>
                </a:cubicBezTo>
                <a:cubicBezTo>
                  <a:pt x="5714" y="307"/>
                  <a:pt x="5714" y="306"/>
                  <a:pt x="5714" y="306"/>
                </a:cubicBezTo>
                <a:cubicBezTo>
                  <a:pt x="5713" y="306"/>
                  <a:pt x="5712" y="308"/>
                  <a:pt x="5711" y="310"/>
                </a:cubicBezTo>
                <a:cubicBezTo>
                  <a:pt x="5709" y="313"/>
                  <a:pt x="5708" y="314"/>
                  <a:pt x="5708" y="315"/>
                </a:cubicBezTo>
                <a:cubicBezTo>
                  <a:pt x="5707" y="316"/>
                  <a:pt x="5706" y="316"/>
                  <a:pt x="5706" y="317"/>
                </a:cubicBezTo>
                <a:lnTo>
                  <a:pt x="5707" y="318"/>
                </a:lnTo>
                <a:cubicBezTo>
                  <a:pt x="5707" y="318"/>
                  <a:pt x="5706" y="321"/>
                  <a:pt x="5705" y="324"/>
                </a:cubicBezTo>
                <a:cubicBezTo>
                  <a:pt x="5703" y="328"/>
                  <a:pt x="5702" y="330"/>
                  <a:pt x="5702" y="332"/>
                </a:cubicBezTo>
                <a:lnTo>
                  <a:pt x="5702" y="333"/>
                </a:lnTo>
                <a:close/>
                <a:moveTo>
                  <a:pt x="5702" y="383"/>
                </a:moveTo>
                <a:cubicBezTo>
                  <a:pt x="5703" y="383"/>
                  <a:pt x="5703" y="383"/>
                  <a:pt x="5704" y="382"/>
                </a:cubicBezTo>
                <a:cubicBezTo>
                  <a:pt x="5705" y="381"/>
                  <a:pt x="5705" y="380"/>
                  <a:pt x="5705" y="380"/>
                </a:cubicBezTo>
                <a:cubicBezTo>
                  <a:pt x="5705" y="379"/>
                  <a:pt x="5704" y="379"/>
                  <a:pt x="5704" y="379"/>
                </a:cubicBezTo>
                <a:cubicBezTo>
                  <a:pt x="5702" y="379"/>
                  <a:pt x="5702" y="380"/>
                  <a:pt x="5701" y="381"/>
                </a:cubicBezTo>
                <a:cubicBezTo>
                  <a:pt x="5701" y="383"/>
                  <a:pt x="5702" y="383"/>
                  <a:pt x="5702" y="383"/>
                </a:cubicBezTo>
                <a:close/>
                <a:moveTo>
                  <a:pt x="5695" y="420"/>
                </a:moveTo>
                <a:cubicBezTo>
                  <a:pt x="5697" y="420"/>
                  <a:pt x="5704" y="413"/>
                  <a:pt x="5716" y="400"/>
                </a:cubicBezTo>
                <a:lnTo>
                  <a:pt x="5721" y="396"/>
                </a:lnTo>
                <a:cubicBezTo>
                  <a:pt x="5733" y="383"/>
                  <a:pt x="5741" y="376"/>
                  <a:pt x="5743" y="376"/>
                </a:cubicBezTo>
                <a:cubicBezTo>
                  <a:pt x="5744" y="376"/>
                  <a:pt x="5745" y="377"/>
                  <a:pt x="5745" y="379"/>
                </a:cubicBezTo>
                <a:cubicBezTo>
                  <a:pt x="5745" y="379"/>
                  <a:pt x="5745" y="380"/>
                  <a:pt x="5744" y="381"/>
                </a:cubicBezTo>
                <a:cubicBezTo>
                  <a:pt x="5743" y="382"/>
                  <a:pt x="5742" y="384"/>
                  <a:pt x="5741" y="385"/>
                </a:cubicBezTo>
                <a:cubicBezTo>
                  <a:pt x="5740" y="387"/>
                  <a:pt x="5739" y="388"/>
                  <a:pt x="5739" y="388"/>
                </a:cubicBezTo>
                <a:lnTo>
                  <a:pt x="5740" y="379"/>
                </a:lnTo>
                <a:cubicBezTo>
                  <a:pt x="5740" y="379"/>
                  <a:pt x="5739" y="380"/>
                  <a:pt x="5738" y="382"/>
                </a:cubicBezTo>
                <a:cubicBezTo>
                  <a:pt x="5738" y="383"/>
                  <a:pt x="5737" y="385"/>
                  <a:pt x="5736" y="386"/>
                </a:cubicBezTo>
                <a:cubicBezTo>
                  <a:pt x="5735" y="387"/>
                  <a:pt x="5734" y="388"/>
                  <a:pt x="5733" y="389"/>
                </a:cubicBezTo>
                <a:cubicBezTo>
                  <a:pt x="5732" y="389"/>
                  <a:pt x="5732" y="389"/>
                  <a:pt x="5732" y="390"/>
                </a:cubicBezTo>
                <a:cubicBezTo>
                  <a:pt x="5732" y="390"/>
                  <a:pt x="5732" y="390"/>
                  <a:pt x="5733" y="390"/>
                </a:cubicBezTo>
                <a:cubicBezTo>
                  <a:pt x="5734" y="390"/>
                  <a:pt x="5734" y="391"/>
                  <a:pt x="5734" y="391"/>
                </a:cubicBezTo>
                <a:cubicBezTo>
                  <a:pt x="5734" y="393"/>
                  <a:pt x="5731" y="398"/>
                  <a:pt x="5723" y="406"/>
                </a:cubicBezTo>
                <a:lnTo>
                  <a:pt x="5720" y="409"/>
                </a:lnTo>
                <a:cubicBezTo>
                  <a:pt x="5720" y="409"/>
                  <a:pt x="5726" y="404"/>
                  <a:pt x="5736" y="393"/>
                </a:cubicBezTo>
                <a:cubicBezTo>
                  <a:pt x="5764" y="363"/>
                  <a:pt x="5784" y="340"/>
                  <a:pt x="5796" y="324"/>
                </a:cubicBezTo>
                <a:lnTo>
                  <a:pt x="5800" y="320"/>
                </a:lnTo>
                <a:cubicBezTo>
                  <a:pt x="5805" y="313"/>
                  <a:pt x="5813" y="303"/>
                  <a:pt x="5822" y="290"/>
                </a:cubicBezTo>
                <a:cubicBezTo>
                  <a:pt x="5845" y="257"/>
                  <a:pt x="5857" y="238"/>
                  <a:pt x="5857" y="235"/>
                </a:cubicBezTo>
                <a:cubicBezTo>
                  <a:pt x="5857" y="235"/>
                  <a:pt x="5856" y="235"/>
                  <a:pt x="5855" y="235"/>
                </a:cubicBezTo>
                <a:cubicBezTo>
                  <a:pt x="5855" y="235"/>
                  <a:pt x="5854" y="235"/>
                  <a:pt x="5854" y="236"/>
                </a:cubicBezTo>
                <a:cubicBezTo>
                  <a:pt x="5853" y="237"/>
                  <a:pt x="5852" y="237"/>
                  <a:pt x="5852" y="238"/>
                </a:cubicBezTo>
                <a:lnTo>
                  <a:pt x="5853" y="240"/>
                </a:lnTo>
                <a:cubicBezTo>
                  <a:pt x="5853" y="241"/>
                  <a:pt x="5852" y="241"/>
                  <a:pt x="5851" y="241"/>
                </a:cubicBezTo>
                <a:cubicBezTo>
                  <a:pt x="5850" y="241"/>
                  <a:pt x="5849" y="242"/>
                  <a:pt x="5849" y="244"/>
                </a:cubicBezTo>
                <a:cubicBezTo>
                  <a:pt x="5849" y="246"/>
                  <a:pt x="5849" y="247"/>
                  <a:pt x="5847" y="249"/>
                </a:cubicBezTo>
                <a:cubicBezTo>
                  <a:pt x="5845" y="250"/>
                  <a:pt x="5844" y="251"/>
                  <a:pt x="5844" y="252"/>
                </a:cubicBezTo>
                <a:lnTo>
                  <a:pt x="5844" y="254"/>
                </a:lnTo>
                <a:cubicBezTo>
                  <a:pt x="5844" y="255"/>
                  <a:pt x="5844" y="255"/>
                  <a:pt x="5842" y="255"/>
                </a:cubicBezTo>
                <a:cubicBezTo>
                  <a:pt x="5841" y="255"/>
                  <a:pt x="5841" y="256"/>
                  <a:pt x="5841" y="257"/>
                </a:cubicBezTo>
                <a:cubicBezTo>
                  <a:pt x="5841" y="259"/>
                  <a:pt x="5840" y="261"/>
                  <a:pt x="5837" y="263"/>
                </a:cubicBezTo>
                <a:cubicBezTo>
                  <a:pt x="5835" y="264"/>
                  <a:pt x="5835" y="264"/>
                  <a:pt x="5835" y="266"/>
                </a:cubicBezTo>
                <a:lnTo>
                  <a:pt x="5835" y="267"/>
                </a:lnTo>
                <a:cubicBezTo>
                  <a:pt x="5835" y="267"/>
                  <a:pt x="5834" y="269"/>
                  <a:pt x="5832" y="271"/>
                </a:cubicBezTo>
                <a:cubicBezTo>
                  <a:pt x="5830" y="273"/>
                  <a:pt x="5829" y="275"/>
                  <a:pt x="5827" y="277"/>
                </a:cubicBezTo>
                <a:cubicBezTo>
                  <a:pt x="5825" y="278"/>
                  <a:pt x="5824" y="279"/>
                  <a:pt x="5823" y="279"/>
                </a:cubicBezTo>
                <a:cubicBezTo>
                  <a:pt x="5822" y="279"/>
                  <a:pt x="5821" y="279"/>
                  <a:pt x="5821" y="280"/>
                </a:cubicBezTo>
                <a:cubicBezTo>
                  <a:pt x="5820" y="281"/>
                  <a:pt x="5820" y="281"/>
                  <a:pt x="5819" y="282"/>
                </a:cubicBezTo>
                <a:cubicBezTo>
                  <a:pt x="5819" y="283"/>
                  <a:pt x="5819" y="284"/>
                  <a:pt x="5819" y="284"/>
                </a:cubicBezTo>
                <a:lnTo>
                  <a:pt x="5819" y="285"/>
                </a:lnTo>
                <a:lnTo>
                  <a:pt x="5820" y="283"/>
                </a:lnTo>
                <a:cubicBezTo>
                  <a:pt x="5821" y="282"/>
                  <a:pt x="5822" y="281"/>
                  <a:pt x="5822" y="281"/>
                </a:cubicBezTo>
                <a:cubicBezTo>
                  <a:pt x="5823" y="281"/>
                  <a:pt x="5824" y="282"/>
                  <a:pt x="5824" y="283"/>
                </a:cubicBezTo>
                <a:cubicBezTo>
                  <a:pt x="5824" y="284"/>
                  <a:pt x="5823" y="285"/>
                  <a:pt x="5822" y="286"/>
                </a:cubicBezTo>
                <a:cubicBezTo>
                  <a:pt x="5821" y="287"/>
                  <a:pt x="5820" y="288"/>
                  <a:pt x="5818" y="289"/>
                </a:cubicBezTo>
                <a:cubicBezTo>
                  <a:pt x="5817" y="290"/>
                  <a:pt x="5815" y="290"/>
                  <a:pt x="5814" y="291"/>
                </a:cubicBezTo>
                <a:cubicBezTo>
                  <a:pt x="5813" y="291"/>
                  <a:pt x="5811" y="293"/>
                  <a:pt x="5809" y="296"/>
                </a:cubicBezTo>
                <a:cubicBezTo>
                  <a:pt x="5806" y="299"/>
                  <a:pt x="5804" y="303"/>
                  <a:pt x="5802" y="306"/>
                </a:cubicBezTo>
                <a:cubicBezTo>
                  <a:pt x="5799" y="310"/>
                  <a:pt x="5798" y="313"/>
                  <a:pt x="5798" y="314"/>
                </a:cubicBezTo>
                <a:lnTo>
                  <a:pt x="5798" y="315"/>
                </a:lnTo>
                <a:cubicBezTo>
                  <a:pt x="5798" y="316"/>
                  <a:pt x="5798" y="318"/>
                  <a:pt x="5796" y="319"/>
                </a:cubicBezTo>
                <a:cubicBezTo>
                  <a:pt x="5795" y="321"/>
                  <a:pt x="5794" y="321"/>
                  <a:pt x="5793" y="321"/>
                </a:cubicBezTo>
                <a:cubicBezTo>
                  <a:pt x="5793" y="321"/>
                  <a:pt x="5793" y="321"/>
                  <a:pt x="5793" y="321"/>
                </a:cubicBezTo>
                <a:cubicBezTo>
                  <a:pt x="5793" y="320"/>
                  <a:pt x="5793" y="320"/>
                  <a:pt x="5792" y="320"/>
                </a:cubicBezTo>
                <a:cubicBezTo>
                  <a:pt x="5792" y="320"/>
                  <a:pt x="5790" y="321"/>
                  <a:pt x="5787" y="324"/>
                </a:cubicBezTo>
                <a:cubicBezTo>
                  <a:pt x="5784" y="326"/>
                  <a:pt x="5782" y="327"/>
                  <a:pt x="5781" y="327"/>
                </a:cubicBezTo>
                <a:cubicBezTo>
                  <a:pt x="5780" y="327"/>
                  <a:pt x="5780" y="327"/>
                  <a:pt x="5780" y="326"/>
                </a:cubicBezTo>
                <a:cubicBezTo>
                  <a:pt x="5780" y="325"/>
                  <a:pt x="5780" y="324"/>
                  <a:pt x="5779" y="324"/>
                </a:cubicBezTo>
                <a:lnTo>
                  <a:pt x="5778" y="325"/>
                </a:lnTo>
                <a:cubicBezTo>
                  <a:pt x="5778" y="326"/>
                  <a:pt x="5778" y="326"/>
                  <a:pt x="5778" y="327"/>
                </a:cubicBezTo>
                <a:cubicBezTo>
                  <a:pt x="5778" y="329"/>
                  <a:pt x="5779" y="330"/>
                  <a:pt x="5781" y="330"/>
                </a:cubicBezTo>
                <a:cubicBezTo>
                  <a:pt x="5781" y="330"/>
                  <a:pt x="5782" y="329"/>
                  <a:pt x="5783" y="328"/>
                </a:cubicBezTo>
                <a:cubicBezTo>
                  <a:pt x="5784" y="328"/>
                  <a:pt x="5785" y="327"/>
                  <a:pt x="5786" y="327"/>
                </a:cubicBezTo>
                <a:cubicBezTo>
                  <a:pt x="5786" y="327"/>
                  <a:pt x="5787" y="328"/>
                  <a:pt x="5787" y="329"/>
                </a:cubicBezTo>
                <a:cubicBezTo>
                  <a:pt x="5787" y="331"/>
                  <a:pt x="5786" y="332"/>
                  <a:pt x="5785" y="333"/>
                </a:cubicBezTo>
                <a:cubicBezTo>
                  <a:pt x="5784" y="334"/>
                  <a:pt x="5783" y="335"/>
                  <a:pt x="5782" y="335"/>
                </a:cubicBezTo>
                <a:cubicBezTo>
                  <a:pt x="5782" y="335"/>
                  <a:pt x="5782" y="335"/>
                  <a:pt x="5782" y="334"/>
                </a:cubicBezTo>
                <a:cubicBezTo>
                  <a:pt x="5782" y="334"/>
                  <a:pt x="5781" y="334"/>
                  <a:pt x="5781" y="334"/>
                </a:cubicBezTo>
                <a:cubicBezTo>
                  <a:pt x="5781" y="334"/>
                  <a:pt x="5779" y="335"/>
                  <a:pt x="5777" y="336"/>
                </a:cubicBezTo>
                <a:cubicBezTo>
                  <a:pt x="5775" y="338"/>
                  <a:pt x="5773" y="339"/>
                  <a:pt x="5772" y="339"/>
                </a:cubicBezTo>
                <a:lnTo>
                  <a:pt x="5770" y="339"/>
                </a:lnTo>
                <a:cubicBezTo>
                  <a:pt x="5770" y="339"/>
                  <a:pt x="5769" y="339"/>
                  <a:pt x="5768" y="339"/>
                </a:cubicBezTo>
                <a:cubicBezTo>
                  <a:pt x="5768" y="340"/>
                  <a:pt x="5767" y="340"/>
                  <a:pt x="5767" y="341"/>
                </a:cubicBezTo>
                <a:cubicBezTo>
                  <a:pt x="5767" y="342"/>
                  <a:pt x="5767" y="342"/>
                  <a:pt x="5767" y="342"/>
                </a:cubicBezTo>
                <a:lnTo>
                  <a:pt x="5771" y="340"/>
                </a:lnTo>
                <a:cubicBezTo>
                  <a:pt x="5771" y="341"/>
                  <a:pt x="5769" y="343"/>
                  <a:pt x="5766" y="346"/>
                </a:cubicBezTo>
                <a:cubicBezTo>
                  <a:pt x="5764" y="348"/>
                  <a:pt x="5763" y="348"/>
                  <a:pt x="5763" y="348"/>
                </a:cubicBezTo>
                <a:lnTo>
                  <a:pt x="5764" y="346"/>
                </a:lnTo>
                <a:cubicBezTo>
                  <a:pt x="5766" y="344"/>
                  <a:pt x="5766" y="343"/>
                  <a:pt x="5766" y="342"/>
                </a:cubicBezTo>
                <a:cubicBezTo>
                  <a:pt x="5765" y="342"/>
                  <a:pt x="5759" y="348"/>
                  <a:pt x="5747" y="361"/>
                </a:cubicBezTo>
                <a:cubicBezTo>
                  <a:pt x="5738" y="370"/>
                  <a:pt x="5734" y="375"/>
                  <a:pt x="5733" y="375"/>
                </a:cubicBezTo>
                <a:lnTo>
                  <a:pt x="5734" y="373"/>
                </a:lnTo>
                <a:cubicBezTo>
                  <a:pt x="5735" y="372"/>
                  <a:pt x="5736" y="371"/>
                  <a:pt x="5737" y="370"/>
                </a:cubicBezTo>
                <a:cubicBezTo>
                  <a:pt x="5738" y="368"/>
                  <a:pt x="5738" y="367"/>
                  <a:pt x="5738" y="367"/>
                </a:cubicBezTo>
                <a:lnTo>
                  <a:pt x="5737" y="365"/>
                </a:lnTo>
                <a:cubicBezTo>
                  <a:pt x="5737" y="363"/>
                  <a:pt x="5738" y="362"/>
                  <a:pt x="5739" y="362"/>
                </a:cubicBezTo>
                <a:cubicBezTo>
                  <a:pt x="5741" y="360"/>
                  <a:pt x="5744" y="359"/>
                  <a:pt x="5747" y="359"/>
                </a:cubicBezTo>
                <a:cubicBezTo>
                  <a:pt x="5749" y="359"/>
                  <a:pt x="5751" y="355"/>
                  <a:pt x="5755" y="348"/>
                </a:cubicBezTo>
                <a:cubicBezTo>
                  <a:pt x="5759" y="343"/>
                  <a:pt x="5763" y="338"/>
                  <a:pt x="5767" y="333"/>
                </a:cubicBezTo>
                <a:cubicBezTo>
                  <a:pt x="5771" y="330"/>
                  <a:pt x="5773" y="327"/>
                  <a:pt x="5773" y="325"/>
                </a:cubicBezTo>
                <a:cubicBezTo>
                  <a:pt x="5773" y="323"/>
                  <a:pt x="5775" y="321"/>
                  <a:pt x="5778" y="319"/>
                </a:cubicBezTo>
                <a:cubicBezTo>
                  <a:pt x="5781" y="316"/>
                  <a:pt x="5783" y="314"/>
                  <a:pt x="5783" y="313"/>
                </a:cubicBezTo>
                <a:lnTo>
                  <a:pt x="5783" y="313"/>
                </a:lnTo>
                <a:cubicBezTo>
                  <a:pt x="5783" y="311"/>
                  <a:pt x="5785" y="308"/>
                  <a:pt x="5787" y="304"/>
                </a:cubicBezTo>
                <a:cubicBezTo>
                  <a:pt x="5790" y="301"/>
                  <a:pt x="5791" y="298"/>
                  <a:pt x="5791" y="296"/>
                </a:cubicBezTo>
                <a:lnTo>
                  <a:pt x="5790" y="294"/>
                </a:lnTo>
                <a:lnTo>
                  <a:pt x="5793" y="295"/>
                </a:lnTo>
                <a:cubicBezTo>
                  <a:pt x="5794" y="295"/>
                  <a:pt x="5796" y="294"/>
                  <a:pt x="5797" y="293"/>
                </a:cubicBezTo>
                <a:cubicBezTo>
                  <a:pt x="5798" y="291"/>
                  <a:pt x="5799" y="290"/>
                  <a:pt x="5799" y="289"/>
                </a:cubicBezTo>
                <a:lnTo>
                  <a:pt x="5798" y="287"/>
                </a:lnTo>
                <a:cubicBezTo>
                  <a:pt x="5798" y="285"/>
                  <a:pt x="5799" y="283"/>
                  <a:pt x="5801" y="281"/>
                </a:cubicBezTo>
                <a:cubicBezTo>
                  <a:pt x="5803" y="280"/>
                  <a:pt x="5805" y="279"/>
                  <a:pt x="5807" y="279"/>
                </a:cubicBezTo>
                <a:cubicBezTo>
                  <a:pt x="5809" y="279"/>
                  <a:pt x="5811" y="278"/>
                  <a:pt x="5812" y="277"/>
                </a:cubicBezTo>
                <a:cubicBezTo>
                  <a:pt x="5812" y="274"/>
                  <a:pt x="5812" y="272"/>
                  <a:pt x="5813" y="269"/>
                </a:cubicBezTo>
                <a:cubicBezTo>
                  <a:pt x="5815" y="266"/>
                  <a:pt x="5816" y="265"/>
                  <a:pt x="5817" y="265"/>
                </a:cubicBezTo>
                <a:lnTo>
                  <a:pt x="5819" y="266"/>
                </a:lnTo>
                <a:cubicBezTo>
                  <a:pt x="5820" y="266"/>
                  <a:pt x="5821" y="265"/>
                  <a:pt x="5822" y="265"/>
                </a:cubicBezTo>
                <a:cubicBezTo>
                  <a:pt x="5822" y="264"/>
                  <a:pt x="5823" y="264"/>
                  <a:pt x="5823" y="263"/>
                </a:cubicBezTo>
                <a:lnTo>
                  <a:pt x="5822" y="262"/>
                </a:lnTo>
                <a:lnTo>
                  <a:pt x="5820" y="264"/>
                </a:lnTo>
                <a:cubicBezTo>
                  <a:pt x="5819" y="264"/>
                  <a:pt x="5819" y="263"/>
                  <a:pt x="5819" y="263"/>
                </a:cubicBezTo>
                <a:cubicBezTo>
                  <a:pt x="5819" y="262"/>
                  <a:pt x="5822" y="256"/>
                  <a:pt x="5829" y="245"/>
                </a:cubicBezTo>
                <a:cubicBezTo>
                  <a:pt x="5836" y="233"/>
                  <a:pt x="5840" y="226"/>
                  <a:pt x="5842" y="224"/>
                </a:cubicBezTo>
                <a:cubicBezTo>
                  <a:pt x="5844" y="222"/>
                  <a:pt x="5845" y="220"/>
                  <a:pt x="5845" y="219"/>
                </a:cubicBezTo>
                <a:cubicBezTo>
                  <a:pt x="5845" y="217"/>
                  <a:pt x="5849" y="211"/>
                  <a:pt x="5859" y="200"/>
                </a:cubicBezTo>
                <a:cubicBezTo>
                  <a:pt x="5860" y="199"/>
                  <a:pt x="5860" y="197"/>
                  <a:pt x="5860" y="196"/>
                </a:cubicBezTo>
                <a:lnTo>
                  <a:pt x="5860" y="196"/>
                </a:lnTo>
                <a:cubicBezTo>
                  <a:pt x="5860" y="195"/>
                  <a:pt x="5861" y="193"/>
                  <a:pt x="5863" y="191"/>
                </a:cubicBezTo>
                <a:cubicBezTo>
                  <a:pt x="5864" y="188"/>
                  <a:pt x="5865" y="186"/>
                  <a:pt x="5866" y="184"/>
                </a:cubicBezTo>
                <a:cubicBezTo>
                  <a:pt x="5867" y="182"/>
                  <a:pt x="5868" y="180"/>
                  <a:pt x="5870" y="178"/>
                </a:cubicBezTo>
                <a:cubicBezTo>
                  <a:pt x="5872" y="177"/>
                  <a:pt x="5872" y="176"/>
                  <a:pt x="5872" y="176"/>
                </a:cubicBezTo>
                <a:lnTo>
                  <a:pt x="5870" y="176"/>
                </a:lnTo>
                <a:lnTo>
                  <a:pt x="5870" y="176"/>
                </a:lnTo>
                <a:cubicBezTo>
                  <a:pt x="5870" y="176"/>
                  <a:pt x="5871" y="174"/>
                  <a:pt x="5873" y="171"/>
                </a:cubicBezTo>
                <a:cubicBezTo>
                  <a:pt x="5876" y="167"/>
                  <a:pt x="5878" y="164"/>
                  <a:pt x="5878" y="162"/>
                </a:cubicBezTo>
                <a:cubicBezTo>
                  <a:pt x="5878" y="160"/>
                  <a:pt x="5879" y="157"/>
                  <a:pt x="5882" y="152"/>
                </a:cubicBezTo>
                <a:cubicBezTo>
                  <a:pt x="5884" y="146"/>
                  <a:pt x="5885" y="142"/>
                  <a:pt x="5885" y="140"/>
                </a:cubicBezTo>
                <a:lnTo>
                  <a:pt x="5885" y="137"/>
                </a:lnTo>
                <a:cubicBezTo>
                  <a:pt x="5885" y="137"/>
                  <a:pt x="5885" y="137"/>
                  <a:pt x="5885" y="137"/>
                </a:cubicBezTo>
                <a:lnTo>
                  <a:pt x="5886" y="137"/>
                </a:lnTo>
                <a:cubicBezTo>
                  <a:pt x="5887" y="137"/>
                  <a:pt x="5887" y="136"/>
                  <a:pt x="5888" y="134"/>
                </a:cubicBezTo>
                <a:cubicBezTo>
                  <a:pt x="5889" y="133"/>
                  <a:pt x="5890" y="131"/>
                  <a:pt x="5892" y="128"/>
                </a:cubicBezTo>
                <a:cubicBezTo>
                  <a:pt x="5893" y="125"/>
                  <a:pt x="5894" y="122"/>
                  <a:pt x="5895" y="119"/>
                </a:cubicBezTo>
                <a:cubicBezTo>
                  <a:pt x="5897" y="115"/>
                  <a:pt x="5898" y="113"/>
                  <a:pt x="5899" y="111"/>
                </a:cubicBezTo>
                <a:cubicBezTo>
                  <a:pt x="5899" y="109"/>
                  <a:pt x="5900" y="107"/>
                  <a:pt x="5901" y="105"/>
                </a:cubicBezTo>
                <a:cubicBezTo>
                  <a:pt x="5901" y="103"/>
                  <a:pt x="5902" y="102"/>
                  <a:pt x="5902" y="100"/>
                </a:cubicBezTo>
                <a:cubicBezTo>
                  <a:pt x="5902" y="99"/>
                  <a:pt x="5902" y="98"/>
                  <a:pt x="5903" y="98"/>
                </a:cubicBezTo>
                <a:lnTo>
                  <a:pt x="5905" y="99"/>
                </a:lnTo>
                <a:cubicBezTo>
                  <a:pt x="5905" y="98"/>
                  <a:pt x="5905" y="98"/>
                  <a:pt x="5905" y="98"/>
                </a:cubicBezTo>
                <a:cubicBezTo>
                  <a:pt x="5905" y="97"/>
                  <a:pt x="5904" y="97"/>
                  <a:pt x="5904" y="96"/>
                </a:cubicBezTo>
                <a:cubicBezTo>
                  <a:pt x="5904" y="90"/>
                  <a:pt x="5906" y="83"/>
                  <a:pt x="5910" y="76"/>
                </a:cubicBezTo>
                <a:lnTo>
                  <a:pt x="5911" y="73"/>
                </a:lnTo>
                <a:cubicBezTo>
                  <a:pt x="5909" y="73"/>
                  <a:pt x="5904" y="77"/>
                  <a:pt x="5896" y="85"/>
                </a:cubicBezTo>
                <a:cubicBezTo>
                  <a:pt x="5887" y="94"/>
                  <a:pt x="5879" y="103"/>
                  <a:pt x="5871" y="113"/>
                </a:cubicBezTo>
                <a:lnTo>
                  <a:pt x="5861" y="125"/>
                </a:lnTo>
                <a:cubicBezTo>
                  <a:pt x="5852" y="136"/>
                  <a:pt x="5843" y="149"/>
                  <a:pt x="5833" y="162"/>
                </a:cubicBezTo>
                <a:cubicBezTo>
                  <a:pt x="5824" y="176"/>
                  <a:pt x="5816" y="188"/>
                  <a:pt x="5810" y="198"/>
                </a:cubicBezTo>
                <a:cubicBezTo>
                  <a:pt x="5804" y="206"/>
                  <a:pt x="5801" y="210"/>
                  <a:pt x="5800" y="210"/>
                </a:cubicBezTo>
                <a:lnTo>
                  <a:pt x="5799" y="210"/>
                </a:lnTo>
                <a:cubicBezTo>
                  <a:pt x="5798" y="210"/>
                  <a:pt x="5798" y="211"/>
                  <a:pt x="5798" y="213"/>
                </a:cubicBezTo>
                <a:lnTo>
                  <a:pt x="5798" y="215"/>
                </a:lnTo>
                <a:cubicBezTo>
                  <a:pt x="5798" y="216"/>
                  <a:pt x="5797" y="216"/>
                  <a:pt x="5796" y="217"/>
                </a:cubicBezTo>
                <a:cubicBezTo>
                  <a:pt x="5795" y="217"/>
                  <a:pt x="5794" y="217"/>
                  <a:pt x="5793" y="218"/>
                </a:cubicBezTo>
                <a:cubicBezTo>
                  <a:pt x="5792" y="219"/>
                  <a:pt x="5791" y="220"/>
                  <a:pt x="5791" y="220"/>
                </a:cubicBezTo>
                <a:lnTo>
                  <a:pt x="5794" y="219"/>
                </a:lnTo>
                <a:cubicBezTo>
                  <a:pt x="5795" y="219"/>
                  <a:pt x="5795" y="219"/>
                  <a:pt x="5795" y="220"/>
                </a:cubicBezTo>
                <a:cubicBezTo>
                  <a:pt x="5795" y="221"/>
                  <a:pt x="5793" y="224"/>
                  <a:pt x="5791" y="228"/>
                </a:cubicBezTo>
                <a:cubicBezTo>
                  <a:pt x="5788" y="233"/>
                  <a:pt x="5786" y="235"/>
                  <a:pt x="5784" y="235"/>
                </a:cubicBezTo>
                <a:lnTo>
                  <a:pt x="5783" y="235"/>
                </a:lnTo>
                <a:cubicBezTo>
                  <a:pt x="5782" y="235"/>
                  <a:pt x="5782" y="235"/>
                  <a:pt x="5782" y="235"/>
                </a:cubicBezTo>
                <a:lnTo>
                  <a:pt x="5783" y="237"/>
                </a:lnTo>
                <a:cubicBezTo>
                  <a:pt x="5783" y="240"/>
                  <a:pt x="5778" y="250"/>
                  <a:pt x="5769" y="266"/>
                </a:cubicBezTo>
                <a:cubicBezTo>
                  <a:pt x="5761" y="280"/>
                  <a:pt x="5749" y="303"/>
                  <a:pt x="5733" y="335"/>
                </a:cubicBezTo>
                <a:cubicBezTo>
                  <a:pt x="5718" y="367"/>
                  <a:pt x="5710" y="384"/>
                  <a:pt x="5710" y="386"/>
                </a:cubicBezTo>
                <a:cubicBezTo>
                  <a:pt x="5710" y="387"/>
                  <a:pt x="5710" y="387"/>
                  <a:pt x="5711" y="387"/>
                </a:cubicBezTo>
                <a:lnTo>
                  <a:pt x="5713" y="386"/>
                </a:lnTo>
                <a:cubicBezTo>
                  <a:pt x="5714" y="386"/>
                  <a:pt x="5714" y="387"/>
                  <a:pt x="5714" y="387"/>
                </a:cubicBezTo>
                <a:cubicBezTo>
                  <a:pt x="5714" y="388"/>
                  <a:pt x="5713" y="390"/>
                  <a:pt x="5713" y="391"/>
                </a:cubicBezTo>
                <a:cubicBezTo>
                  <a:pt x="5712" y="393"/>
                  <a:pt x="5711" y="394"/>
                  <a:pt x="5710" y="396"/>
                </a:cubicBezTo>
                <a:cubicBezTo>
                  <a:pt x="5709" y="397"/>
                  <a:pt x="5708" y="397"/>
                  <a:pt x="5708" y="397"/>
                </a:cubicBezTo>
                <a:cubicBezTo>
                  <a:pt x="5708" y="397"/>
                  <a:pt x="5709" y="396"/>
                  <a:pt x="5710" y="394"/>
                </a:cubicBezTo>
                <a:cubicBezTo>
                  <a:pt x="5711" y="393"/>
                  <a:pt x="5711" y="392"/>
                  <a:pt x="5711" y="391"/>
                </a:cubicBezTo>
                <a:cubicBezTo>
                  <a:pt x="5711" y="390"/>
                  <a:pt x="5711" y="389"/>
                  <a:pt x="5709" y="389"/>
                </a:cubicBezTo>
                <a:cubicBezTo>
                  <a:pt x="5708" y="389"/>
                  <a:pt x="5707" y="390"/>
                  <a:pt x="5706" y="393"/>
                </a:cubicBezTo>
                <a:cubicBezTo>
                  <a:pt x="5704" y="398"/>
                  <a:pt x="5702" y="404"/>
                  <a:pt x="5698" y="411"/>
                </a:cubicBezTo>
                <a:cubicBezTo>
                  <a:pt x="5696" y="415"/>
                  <a:pt x="5695" y="418"/>
                  <a:pt x="5695" y="419"/>
                </a:cubicBezTo>
                <a:lnTo>
                  <a:pt x="5695" y="420"/>
                </a:lnTo>
                <a:close/>
                <a:moveTo>
                  <a:pt x="5693" y="353"/>
                </a:moveTo>
                <a:cubicBezTo>
                  <a:pt x="5694" y="353"/>
                  <a:pt x="5696" y="350"/>
                  <a:pt x="5698" y="344"/>
                </a:cubicBezTo>
                <a:cubicBezTo>
                  <a:pt x="5699" y="340"/>
                  <a:pt x="5700" y="338"/>
                  <a:pt x="5700" y="336"/>
                </a:cubicBezTo>
                <a:cubicBezTo>
                  <a:pt x="5700" y="334"/>
                  <a:pt x="5699" y="333"/>
                  <a:pt x="5698" y="333"/>
                </a:cubicBezTo>
                <a:cubicBezTo>
                  <a:pt x="5698" y="333"/>
                  <a:pt x="5698" y="333"/>
                  <a:pt x="5698" y="334"/>
                </a:cubicBezTo>
                <a:lnTo>
                  <a:pt x="5698" y="336"/>
                </a:lnTo>
                <a:cubicBezTo>
                  <a:pt x="5698" y="337"/>
                  <a:pt x="5698" y="338"/>
                  <a:pt x="5698" y="338"/>
                </a:cubicBezTo>
                <a:cubicBezTo>
                  <a:pt x="5697" y="338"/>
                  <a:pt x="5697" y="338"/>
                  <a:pt x="5696" y="338"/>
                </a:cubicBezTo>
                <a:cubicBezTo>
                  <a:pt x="5696" y="338"/>
                  <a:pt x="5696" y="340"/>
                  <a:pt x="5695" y="342"/>
                </a:cubicBezTo>
                <a:cubicBezTo>
                  <a:pt x="5695" y="345"/>
                  <a:pt x="5694" y="347"/>
                  <a:pt x="5694" y="349"/>
                </a:cubicBezTo>
                <a:cubicBezTo>
                  <a:pt x="5693" y="351"/>
                  <a:pt x="5693" y="352"/>
                  <a:pt x="5693" y="353"/>
                </a:cubicBezTo>
                <a:cubicBezTo>
                  <a:pt x="5693" y="353"/>
                  <a:pt x="5693" y="353"/>
                  <a:pt x="5693" y="353"/>
                </a:cubicBezTo>
                <a:close/>
                <a:moveTo>
                  <a:pt x="5689" y="337"/>
                </a:moveTo>
                <a:lnTo>
                  <a:pt x="5693" y="333"/>
                </a:lnTo>
                <a:cubicBezTo>
                  <a:pt x="5694" y="330"/>
                  <a:pt x="5695" y="328"/>
                  <a:pt x="5695" y="328"/>
                </a:cubicBezTo>
                <a:cubicBezTo>
                  <a:pt x="5695" y="327"/>
                  <a:pt x="5695" y="326"/>
                  <a:pt x="5695" y="326"/>
                </a:cubicBezTo>
                <a:cubicBezTo>
                  <a:pt x="5694" y="326"/>
                  <a:pt x="5693" y="328"/>
                  <a:pt x="5691" y="333"/>
                </a:cubicBezTo>
                <a:lnTo>
                  <a:pt x="5689" y="337"/>
                </a:lnTo>
                <a:close/>
                <a:moveTo>
                  <a:pt x="5672" y="402"/>
                </a:moveTo>
                <a:cubicBezTo>
                  <a:pt x="5673" y="402"/>
                  <a:pt x="5676" y="395"/>
                  <a:pt x="5682" y="382"/>
                </a:cubicBezTo>
                <a:cubicBezTo>
                  <a:pt x="5687" y="370"/>
                  <a:pt x="5690" y="363"/>
                  <a:pt x="5690" y="362"/>
                </a:cubicBezTo>
                <a:cubicBezTo>
                  <a:pt x="5690" y="362"/>
                  <a:pt x="5690" y="362"/>
                  <a:pt x="5689" y="362"/>
                </a:cubicBezTo>
                <a:lnTo>
                  <a:pt x="5688" y="362"/>
                </a:lnTo>
                <a:cubicBezTo>
                  <a:pt x="5686" y="362"/>
                  <a:pt x="5684" y="362"/>
                  <a:pt x="5684" y="363"/>
                </a:cubicBezTo>
                <a:lnTo>
                  <a:pt x="5684" y="364"/>
                </a:lnTo>
                <a:cubicBezTo>
                  <a:pt x="5684" y="367"/>
                  <a:pt x="5683" y="372"/>
                  <a:pt x="5680" y="379"/>
                </a:cubicBezTo>
                <a:cubicBezTo>
                  <a:pt x="5674" y="392"/>
                  <a:pt x="5672" y="400"/>
                  <a:pt x="5672" y="402"/>
                </a:cubicBezTo>
                <a:close/>
                <a:moveTo>
                  <a:pt x="5633" y="555"/>
                </a:moveTo>
                <a:cubicBezTo>
                  <a:pt x="5634" y="555"/>
                  <a:pt x="5634" y="554"/>
                  <a:pt x="5636" y="554"/>
                </a:cubicBezTo>
                <a:cubicBezTo>
                  <a:pt x="5637" y="553"/>
                  <a:pt x="5638" y="552"/>
                  <a:pt x="5638" y="552"/>
                </a:cubicBezTo>
                <a:lnTo>
                  <a:pt x="5638" y="551"/>
                </a:lnTo>
                <a:cubicBezTo>
                  <a:pt x="5638" y="550"/>
                  <a:pt x="5639" y="548"/>
                  <a:pt x="5640" y="547"/>
                </a:cubicBezTo>
                <a:cubicBezTo>
                  <a:pt x="5641" y="545"/>
                  <a:pt x="5642" y="544"/>
                  <a:pt x="5642" y="541"/>
                </a:cubicBezTo>
                <a:lnTo>
                  <a:pt x="5641" y="539"/>
                </a:lnTo>
                <a:cubicBezTo>
                  <a:pt x="5641" y="538"/>
                  <a:pt x="5642" y="537"/>
                  <a:pt x="5643" y="537"/>
                </a:cubicBezTo>
                <a:cubicBezTo>
                  <a:pt x="5644" y="537"/>
                  <a:pt x="5645" y="536"/>
                  <a:pt x="5645" y="534"/>
                </a:cubicBezTo>
                <a:cubicBezTo>
                  <a:pt x="5645" y="533"/>
                  <a:pt x="5655" y="506"/>
                  <a:pt x="5674" y="453"/>
                </a:cubicBezTo>
                <a:lnTo>
                  <a:pt x="5675" y="452"/>
                </a:lnTo>
                <a:cubicBezTo>
                  <a:pt x="5675" y="451"/>
                  <a:pt x="5674" y="450"/>
                  <a:pt x="5672" y="450"/>
                </a:cubicBezTo>
                <a:cubicBezTo>
                  <a:pt x="5670" y="450"/>
                  <a:pt x="5669" y="451"/>
                  <a:pt x="5669" y="452"/>
                </a:cubicBezTo>
                <a:lnTo>
                  <a:pt x="5670" y="456"/>
                </a:lnTo>
                <a:cubicBezTo>
                  <a:pt x="5670" y="456"/>
                  <a:pt x="5670" y="457"/>
                  <a:pt x="5669" y="457"/>
                </a:cubicBezTo>
                <a:cubicBezTo>
                  <a:pt x="5668" y="457"/>
                  <a:pt x="5666" y="462"/>
                  <a:pt x="5661" y="473"/>
                </a:cubicBezTo>
                <a:cubicBezTo>
                  <a:pt x="5657" y="484"/>
                  <a:pt x="5654" y="490"/>
                  <a:pt x="5654" y="492"/>
                </a:cubicBezTo>
                <a:lnTo>
                  <a:pt x="5655" y="493"/>
                </a:lnTo>
                <a:cubicBezTo>
                  <a:pt x="5655" y="494"/>
                  <a:pt x="5654" y="495"/>
                  <a:pt x="5652" y="497"/>
                </a:cubicBezTo>
                <a:cubicBezTo>
                  <a:pt x="5651" y="499"/>
                  <a:pt x="5650" y="501"/>
                  <a:pt x="5650" y="503"/>
                </a:cubicBezTo>
                <a:lnTo>
                  <a:pt x="5651" y="506"/>
                </a:lnTo>
                <a:cubicBezTo>
                  <a:pt x="5651" y="507"/>
                  <a:pt x="5650" y="507"/>
                  <a:pt x="5649" y="507"/>
                </a:cubicBezTo>
                <a:cubicBezTo>
                  <a:pt x="5648" y="507"/>
                  <a:pt x="5647" y="510"/>
                  <a:pt x="5645" y="516"/>
                </a:cubicBezTo>
                <a:cubicBezTo>
                  <a:pt x="5643" y="522"/>
                  <a:pt x="5641" y="525"/>
                  <a:pt x="5639" y="525"/>
                </a:cubicBezTo>
                <a:lnTo>
                  <a:pt x="5638" y="524"/>
                </a:lnTo>
                <a:lnTo>
                  <a:pt x="5637" y="525"/>
                </a:lnTo>
                <a:cubicBezTo>
                  <a:pt x="5637" y="526"/>
                  <a:pt x="5637" y="527"/>
                  <a:pt x="5638" y="528"/>
                </a:cubicBezTo>
                <a:cubicBezTo>
                  <a:pt x="5639" y="529"/>
                  <a:pt x="5639" y="530"/>
                  <a:pt x="5639" y="532"/>
                </a:cubicBezTo>
                <a:cubicBezTo>
                  <a:pt x="5639" y="535"/>
                  <a:pt x="5637" y="537"/>
                  <a:pt x="5634" y="537"/>
                </a:cubicBezTo>
                <a:cubicBezTo>
                  <a:pt x="5633" y="537"/>
                  <a:pt x="5632" y="537"/>
                  <a:pt x="5632" y="537"/>
                </a:cubicBezTo>
                <a:cubicBezTo>
                  <a:pt x="5632" y="538"/>
                  <a:pt x="5633" y="538"/>
                  <a:pt x="5634" y="539"/>
                </a:cubicBezTo>
                <a:cubicBezTo>
                  <a:pt x="5635" y="540"/>
                  <a:pt x="5635" y="541"/>
                  <a:pt x="5635" y="542"/>
                </a:cubicBezTo>
                <a:cubicBezTo>
                  <a:pt x="5635" y="544"/>
                  <a:pt x="5635" y="545"/>
                  <a:pt x="5634" y="547"/>
                </a:cubicBezTo>
                <a:cubicBezTo>
                  <a:pt x="5633" y="551"/>
                  <a:pt x="5632" y="553"/>
                  <a:pt x="5632" y="554"/>
                </a:cubicBezTo>
                <a:cubicBezTo>
                  <a:pt x="5632" y="554"/>
                  <a:pt x="5632" y="555"/>
                  <a:pt x="5633" y="555"/>
                </a:cubicBezTo>
                <a:close/>
                <a:moveTo>
                  <a:pt x="5626" y="521"/>
                </a:moveTo>
                <a:cubicBezTo>
                  <a:pt x="5626" y="521"/>
                  <a:pt x="5631" y="509"/>
                  <a:pt x="5641" y="485"/>
                </a:cubicBezTo>
                <a:cubicBezTo>
                  <a:pt x="5649" y="464"/>
                  <a:pt x="5653" y="452"/>
                  <a:pt x="5653" y="448"/>
                </a:cubicBezTo>
                <a:cubicBezTo>
                  <a:pt x="5652" y="449"/>
                  <a:pt x="5647" y="461"/>
                  <a:pt x="5638" y="483"/>
                </a:cubicBezTo>
                <a:cubicBezTo>
                  <a:pt x="5630" y="506"/>
                  <a:pt x="5625" y="518"/>
                  <a:pt x="5625" y="520"/>
                </a:cubicBezTo>
                <a:cubicBezTo>
                  <a:pt x="5625" y="520"/>
                  <a:pt x="5625" y="521"/>
                  <a:pt x="5626" y="521"/>
                </a:cubicBezTo>
                <a:close/>
                <a:moveTo>
                  <a:pt x="5604" y="537"/>
                </a:moveTo>
                <a:cubicBezTo>
                  <a:pt x="5604" y="537"/>
                  <a:pt x="5610" y="524"/>
                  <a:pt x="5620" y="498"/>
                </a:cubicBezTo>
                <a:cubicBezTo>
                  <a:pt x="5629" y="476"/>
                  <a:pt x="5635" y="460"/>
                  <a:pt x="5639" y="452"/>
                </a:cubicBezTo>
                <a:cubicBezTo>
                  <a:pt x="5643" y="443"/>
                  <a:pt x="5645" y="437"/>
                  <a:pt x="5645" y="433"/>
                </a:cubicBezTo>
                <a:cubicBezTo>
                  <a:pt x="5645" y="431"/>
                  <a:pt x="5645" y="430"/>
                  <a:pt x="5644" y="430"/>
                </a:cubicBezTo>
                <a:cubicBezTo>
                  <a:pt x="5643" y="430"/>
                  <a:pt x="5639" y="437"/>
                  <a:pt x="5635" y="451"/>
                </a:cubicBezTo>
                <a:cubicBezTo>
                  <a:pt x="5614" y="505"/>
                  <a:pt x="5604" y="533"/>
                  <a:pt x="5604" y="536"/>
                </a:cubicBezTo>
                <a:cubicBezTo>
                  <a:pt x="5604" y="537"/>
                  <a:pt x="5604" y="537"/>
                  <a:pt x="5604" y="537"/>
                </a:cubicBezTo>
                <a:close/>
                <a:moveTo>
                  <a:pt x="5606" y="577"/>
                </a:moveTo>
                <a:cubicBezTo>
                  <a:pt x="5606" y="577"/>
                  <a:pt x="5609" y="572"/>
                  <a:pt x="5613" y="563"/>
                </a:cubicBezTo>
                <a:cubicBezTo>
                  <a:pt x="5617" y="552"/>
                  <a:pt x="5619" y="546"/>
                  <a:pt x="5619" y="544"/>
                </a:cubicBezTo>
                <a:lnTo>
                  <a:pt x="5619" y="544"/>
                </a:lnTo>
                <a:cubicBezTo>
                  <a:pt x="5617" y="544"/>
                  <a:pt x="5615" y="549"/>
                  <a:pt x="5612" y="558"/>
                </a:cubicBezTo>
                <a:cubicBezTo>
                  <a:pt x="5608" y="569"/>
                  <a:pt x="5606" y="575"/>
                  <a:pt x="5606" y="577"/>
                </a:cubicBezTo>
                <a:close/>
                <a:moveTo>
                  <a:pt x="5603" y="589"/>
                </a:moveTo>
                <a:cubicBezTo>
                  <a:pt x="5603" y="589"/>
                  <a:pt x="5604" y="588"/>
                  <a:pt x="5604" y="588"/>
                </a:cubicBezTo>
                <a:cubicBezTo>
                  <a:pt x="5605" y="587"/>
                  <a:pt x="5605" y="585"/>
                  <a:pt x="5605" y="584"/>
                </a:cubicBezTo>
                <a:cubicBezTo>
                  <a:pt x="5605" y="583"/>
                  <a:pt x="5605" y="582"/>
                  <a:pt x="5605" y="582"/>
                </a:cubicBezTo>
                <a:cubicBezTo>
                  <a:pt x="5604" y="582"/>
                  <a:pt x="5604" y="583"/>
                  <a:pt x="5603" y="585"/>
                </a:cubicBezTo>
                <a:lnTo>
                  <a:pt x="5603" y="589"/>
                </a:lnTo>
                <a:close/>
                <a:moveTo>
                  <a:pt x="5582" y="730"/>
                </a:moveTo>
                <a:cubicBezTo>
                  <a:pt x="5584" y="730"/>
                  <a:pt x="5586" y="722"/>
                  <a:pt x="5590" y="707"/>
                </a:cubicBezTo>
                <a:cubicBezTo>
                  <a:pt x="5591" y="700"/>
                  <a:pt x="5595" y="687"/>
                  <a:pt x="5600" y="668"/>
                </a:cubicBezTo>
                <a:cubicBezTo>
                  <a:pt x="5615" y="620"/>
                  <a:pt x="5624" y="592"/>
                  <a:pt x="5627" y="583"/>
                </a:cubicBezTo>
                <a:cubicBezTo>
                  <a:pt x="5628" y="581"/>
                  <a:pt x="5629" y="580"/>
                  <a:pt x="5629" y="579"/>
                </a:cubicBezTo>
                <a:cubicBezTo>
                  <a:pt x="5629" y="578"/>
                  <a:pt x="5628" y="578"/>
                  <a:pt x="5627" y="577"/>
                </a:cubicBezTo>
                <a:cubicBezTo>
                  <a:pt x="5625" y="576"/>
                  <a:pt x="5622" y="575"/>
                  <a:pt x="5621" y="575"/>
                </a:cubicBezTo>
                <a:cubicBezTo>
                  <a:pt x="5619" y="575"/>
                  <a:pt x="5619" y="575"/>
                  <a:pt x="5619" y="576"/>
                </a:cubicBezTo>
                <a:cubicBezTo>
                  <a:pt x="5619" y="577"/>
                  <a:pt x="5619" y="579"/>
                  <a:pt x="5621" y="580"/>
                </a:cubicBezTo>
                <a:lnTo>
                  <a:pt x="5623" y="583"/>
                </a:lnTo>
                <a:lnTo>
                  <a:pt x="5623" y="583"/>
                </a:lnTo>
                <a:lnTo>
                  <a:pt x="5619" y="581"/>
                </a:lnTo>
                <a:cubicBezTo>
                  <a:pt x="5619" y="581"/>
                  <a:pt x="5619" y="581"/>
                  <a:pt x="5619" y="582"/>
                </a:cubicBezTo>
                <a:lnTo>
                  <a:pt x="5619" y="584"/>
                </a:lnTo>
                <a:cubicBezTo>
                  <a:pt x="5619" y="586"/>
                  <a:pt x="5619" y="589"/>
                  <a:pt x="5617" y="591"/>
                </a:cubicBezTo>
                <a:cubicBezTo>
                  <a:pt x="5614" y="594"/>
                  <a:pt x="5612" y="600"/>
                  <a:pt x="5609" y="610"/>
                </a:cubicBezTo>
                <a:lnTo>
                  <a:pt x="5604" y="632"/>
                </a:lnTo>
                <a:cubicBezTo>
                  <a:pt x="5604" y="633"/>
                  <a:pt x="5603" y="635"/>
                  <a:pt x="5602" y="639"/>
                </a:cubicBezTo>
                <a:cubicBezTo>
                  <a:pt x="5600" y="644"/>
                  <a:pt x="5599" y="647"/>
                  <a:pt x="5599" y="648"/>
                </a:cubicBezTo>
                <a:cubicBezTo>
                  <a:pt x="5599" y="648"/>
                  <a:pt x="5599" y="648"/>
                  <a:pt x="5599" y="648"/>
                </a:cubicBezTo>
                <a:lnTo>
                  <a:pt x="5602" y="647"/>
                </a:lnTo>
                <a:lnTo>
                  <a:pt x="5602" y="648"/>
                </a:lnTo>
                <a:lnTo>
                  <a:pt x="5600" y="650"/>
                </a:lnTo>
                <a:cubicBezTo>
                  <a:pt x="5599" y="651"/>
                  <a:pt x="5598" y="653"/>
                  <a:pt x="5598" y="656"/>
                </a:cubicBezTo>
                <a:lnTo>
                  <a:pt x="5598" y="659"/>
                </a:lnTo>
                <a:cubicBezTo>
                  <a:pt x="5598" y="660"/>
                  <a:pt x="5598" y="661"/>
                  <a:pt x="5597" y="661"/>
                </a:cubicBezTo>
                <a:cubicBezTo>
                  <a:pt x="5596" y="661"/>
                  <a:pt x="5595" y="664"/>
                  <a:pt x="5595" y="669"/>
                </a:cubicBezTo>
                <a:cubicBezTo>
                  <a:pt x="5594" y="672"/>
                  <a:pt x="5593" y="680"/>
                  <a:pt x="5590" y="693"/>
                </a:cubicBezTo>
                <a:lnTo>
                  <a:pt x="5588" y="702"/>
                </a:lnTo>
                <a:cubicBezTo>
                  <a:pt x="5584" y="717"/>
                  <a:pt x="5582" y="726"/>
                  <a:pt x="5582" y="728"/>
                </a:cubicBezTo>
                <a:cubicBezTo>
                  <a:pt x="5582" y="729"/>
                  <a:pt x="5582" y="730"/>
                  <a:pt x="5582" y="730"/>
                </a:cubicBezTo>
                <a:close/>
                <a:moveTo>
                  <a:pt x="5578" y="752"/>
                </a:moveTo>
                <a:cubicBezTo>
                  <a:pt x="5579" y="752"/>
                  <a:pt x="5579" y="750"/>
                  <a:pt x="5580" y="747"/>
                </a:cubicBezTo>
                <a:cubicBezTo>
                  <a:pt x="5581" y="742"/>
                  <a:pt x="5582" y="738"/>
                  <a:pt x="5582" y="736"/>
                </a:cubicBezTo>
                <a:cubicBezTo>
                  <a:pt x="5582" y="734"/>
                  <a:pt x="5581" y="733"/>
                  <a:pt x="5581" y="733"/>
                </a:cubicBezTo>
                <a:cubicBezTo>
                  <a:pt x="5581" y="733"/>
                  <a:pt x="5580" y="734"/>
                  <a:pt x="5580" y="737"/>
                </a:cubicBezTo>
                <a:cubicBezTo>
                  <a:pt x="5579" y="740"/>
                  <a:pt x="5578" y="743"/>
                  <a:pt x="5578" y="748"/>
                </a:cubicBezTo>
                <a:lnTo>
                  <a:pt x="5578" y="752"/>
                </a:lnTo>
                <a:close/>
                <a:moveTo>
                  <a:pt x="5577" y="761"/>
                </a:moveTo>
                <a:cubicBezTo>
                  <a:pt x="5577" y="761"/>
                  <a:pt x="5577" y="760"/>
                  <a:pt x="5577" y="759"/>
                </a:cubicBezTo>
                <a:lnTo>
                  <a:pt x="5577" y="757"/>
                </a:lnTo>
                <a:lnTo>
                  <a:pt x="5576" y="756"/>
                </a:lnTo>
                <a:cubicBezTo>
                  <a:pt x="5576" y="756"/>
                  <a:pt x="5576" y="757"/>
                  <a:pt x="5575" y="758"/>
                </a:cubicBezTo>
                <a:cubicBezTo>
                  <a:pt x="5575" y="760"/>
                  <a:pt x="5576" y="761"/>
                  <a:pt x="5576" y="761"/>
                </a:cubicBezTo>
                <a:lnTo>
                  <a:pt x="5577" y="761"/>
                </a:lnTo>
                <a:close/>
                <a:moveTo>
                  <a:pt x="5754" y="368"/>
                </a:moveTo>
                <a:cubicBezTo>
                  <a:pt x="5754" y="368"/>
                  <a:pt x="5753" y="367"/>
                  <a:pt x="5753" y="367"/>
                </a:cubicBezTo>
                <a:cubicBezTo>
                  <a:pt x="5753" y="366"/>
                  <a:pt x="5754" y="366"/>
                  <a:pt x="5755" y="365"/>
                </a:cubicBezTo>
                <a:cubicBezTo>
                  <a:pt x="5756" y="364"/>
                  <a:pt x="5756" y="363"/>
                  <a:pt x="5758" y="362"/>
                </a:cubicBezTo>
                <a:lnTo>
                  <a:pt x="5760" y="360"/>
                </a:lnTo>
                <a:lnTo>
                  <a:pt x="5760" y="360"/>
                </a:lnTo>
                <a:lnTo>
                  <a:pt x="5758" y="364"/>
                </a:lnTo>
                <a:cubicBezTo>
                  <a:pt x="5756" y="366"/>
                  <a:pt x="5755" y="368"/>
                  <a:pt x="5754" y="368"/>
                </a:cubicBezTo>
                <a:close/>
                <a:moveTo>
                  <a:pt x="5728" y="371"/>
                </a:moveTo>
                <a:close/>
                <a:moveTo>
                  <a:pt x="5753" y="367"/>
                </a:moveTo>
                <a:close/>
                <a:moveTo>
                  <a:pt x="5758" y="357"/>
                </a:moveTo>
                <a:close/>
                <a:moveTo>
                  <a:pt x="5758" y="359"/>
                </a:moveTo>
                <a:cubicBezTo>
                  <a:pt x="5758" y="359"/>
                  <a:pt x="5758" y="358"/>
                  <a:pt x="5758" y="357"/>
                </a:cubicBezTo>
                <a:cubicBezTo>
                  <a:pt x="5758" y="357"/>
                  <a:pt x="5758" y="357"/>
                  <a:pt x="5759" y="356"/>
                </a:cubicBezTo>
                <a:cubicBezTo>
                  <a:pt x="5760" y="355"/>
                  <a:pt x="5761" y="354"/>
                  <a:pt x="5762" y="353"/>
                </a:cubicBezTo>
                <a:lnTo>
                  <a:pt x="5764" y="351"/>
                </a:lnTo>
                <a:lnTo>
                  <a:pt x="5765" y="351"/>
                </a:lnTo>
                <a:lnTo>
                  <a:pt x="5763" y="355"/>
                </a:lnTo>
                <a:cubicBezTo>
                  <a:pt x="5760" y="357"/>
                  <a:pt x="5759" y="359"/>
                  <a:pt x="5758" y="359"/>
                </a:cubicBezTo>
                <a:close/>
                <a:moveTo>
                  <a:pt x="5745" y="356"/>
                </a:moveTo>
                <a:cubicBezTo>
                  <a:pt x="5745" y="356"/>
                  <a:pt x="5745" y="356"/>
                  <a:pt x="5745" y="355"/>
                </a:cubicBezTo>
                <a:cubicBezTo>
                  <a:pt x="5745" y="355"/>
                  <a:pt x="5745" y="354"/>
                  <a:pt x="5746" y="353"/>
                </a:cubicBezTo>
                <a:cubicBezTo>
                  <a:pt x="5747" y="352"/>
                  <a:pt x="5748" y="351"/>
                  <a:pt x="5750" y="350"/>
                </a:cubicBezTo>
                <a:lnTo>
                  <a:pt x="5751" y="349"/>
                </a:lnTo>
                <a:lnTo>
                  <a:pt x="5752" y="350"/>
                </a:lnTo>
                <a:lnTo>
                  <a:pt x="5750" y="352"/>
                </a:lnTo>
                <a:cubicBezTo>
                  <a:pt x="5748" y="355"/>
                  <a:pt x="5746" y="356"/>
                  <a:pt x="5745" y="356"/>
                </a:cubicBezTo>
                <a:close/>
                <a:moveTo>
                  <a:pt x="5745" y="355"/>
                </a:moveTo>
                <a:close/>
                <a:moveTo>
                  <a:pt x="5728" y="372"/>
                </a:moveTo>
                <a:cubicBezTo>
                  <a:pt x="5728" y="372"/>
                  <a:pt x="5728" y="372"/>
                  <a:pt x="5728" y="371"/>
                </a:cubicBezTo>
                <a:cubicBezTo>
                  <a:pt x="5728" y="370"/>
                  <a:pt x="5729" y="369"/>
                  <a:pt x="5731" y="367"/>
                </a:cubicBezTo>
                <a:lnTo>
                  <a:pt x="5734" y="365"/>
                </a:lnTo>
                <a:cubicBezTo>
                  <a:pt x="5734" y="365"/>
                  <a:pt x="5733" y="367"/>
                  <a:pt x="5732" y="368"/>
                </a:cubicBezTo>
                <a:cubicBezTo>
                  <a:pt x="5730" y="371"/>
                  <a:pt x="5729" y="372"/>
                  <a:pt x="5728" y="372"/>
                </a:cubicBezTo>
                <a:close/>
                <a:moveTo>
                  <a:pt x="6050" y="800"/>
                </a:moveTo>
                <a:cubicBezTo>
                  <a:pt x="6046" y="800"/>
                  <a:pt x="6042" y="799"/>
                  <a:pt x="6038" y="798"/>
                </a:cubicBezTo>
                <a:lnTo>
                  <a:pt x="6038" y="798"/>
                </a:lnTo>
                <a:cubicBezTo>
                  <a:pt x="6036" y="797"/>
                  <a:pt x="6035" y="796"/>
                  <a:pt x="6034" y="795"/>
                </a:cubicBezTo>
                <a:lnTo>
                  <a:pt x="6033" y="793"/>
                </a:lnTo>
                <a:lnTo>
                  <a:pt x="6033" y="793"/>
                </a:lnTo>
                <a:cubicBezTo>
                  <a:pt x="6031" y="794"/>
                  <a:pt x="6030" y="794"/>
                  <a:pt x="6030" y="794"/>
                </a:cubicBezTo>
                <a:cubicBezTo>
                  <a:pt x="6029" y="795"/>
                  <a:pt x="6028" y="795"/>
                  <a:pt x="6027" y="795"/>
                </a:cubicBezTo>
                <a:cubicBezTo>
                  <a:pt x="6026" y="795"/>
                  <a:pt x="6024" y="794"/>
                  <a:pt x="6021" y="794"/>
                </a:cubicBezTo>
                <a:cubicBezTo>
                  <a:pt x="6019" y="793"/>
                  <a:pt x="6016" y="792"/>
                  <a:pt x="6014" y="790"/>
                </a:cubicBezTo>
                <a:cubicBezTo>
                  <a:pt x="6011" y="788"/>
                  <a:pt x="6010" y="786"/>
                  <a:pt x="6010" y="784"/>
                </a:cubicBezTo>
                <a:lnTo>
                  <a:pt x="6009" y="783"/>
                </a:lnTo>
                <a:lnTo>
                  <a:pt x="6007" y="784"/>
                </a:lnTo>
                <a:cubicBezTo>
                  <a:pt x="6006" y="784"/>
                  <a:pt x="6005" y="783"/>
                  <a:pt x="6003" y="781"/>
                </a:cubicBezTo>
                <a:cubicBezTo>
                  <a:pt x="6001" y="779"/>
                  <a:pt x="5999" y="776"/>
                  <a:pt x="5997" y="772"/>
                </a:cubicBezTo>
                <a:cubicBezTo>
                  <a:pt x="5991" y="760"/>
                  <a:pt x="5988" y="747"/>
                  <a:pt x="5988" y="730"/>
                </a:cubicBezTo>
                <a:cubicBezTo>
                  <a:pt x="5988" y="715"/>
                  <a:pt x="5990" y="697"/>
                  <a:pt x="5996" y="676"/>
                </a:cubicBezTo>
                <a:cubicBezTo>
                  <a:pt x="5999" y="664"/>
                  <a:pt x="6001" y="658"/>
                  <a:pt x="6001" y="657"/>
                </a:cubicBezTo>
                <a:cubicBezTo>
                  <a:pt x="6001" y="656"/>
                  <a:pt x="6001" y="655"/>
                  <a:pt x="6002" y="653"/>
                </a:cubicBezTo>
                <a:cubicBezTo>
                  <a:pt x="6003" y="651"/>
                  <a:pt x="6004" y="648"/>
                  <a:pt x="6005" y="645"/>
                </a:cubicBezTo>
                <a:cubicBezTo>
                  <a:pt x="6007" y="640"/>
                  <a:pt x="6008" y="636"/>
                  <a:pt x="6008" y="634"/>
                </a:cubicBezTo>
                <a:lnTo>
                  <a:pt x="6008" y="632"/>
                </a:lnTo>
                <a:cubicBezTo>
                  <a:pt x="6008" y="631"/>
                  <a:pt x="6008" y="631"/>
                  <a:pt x="6008" y="630"/>
                </a:cubicBezTo>
                <a:cubicBezTo>
                  <a:pt x="6008" y="630"/>
                  <a:pt x="6008" y="630"/>
                  <a:pt x="6009" y="630"/>
                </a:cubicBezTo>
                <a:cubicBezTo>
                  <a:pt x="6010" y="630"/>
                  <a:pt x="6011" y="630"/>
                  <a:pt x="6011" y="628"/>
                </a:cubicBezTo>
                <a:cubicBezTo>
                  <a:pt x="6012" y="627"/>
                  <a:pt x="6013" y="625"/>
                  <a:pt x="6013" y="624"/>
                </a:cubicBezTo>
                <a:cubicBezTo>
                  <a:pt x="6013" y="622"/>
                  <a:pt x="6012" y="621"/>
                  <a:pt x="6011" y="620"/>
                </a:cubicBezTo>
                <a:cubicBezTo>
                  <a:pt x="6011" y="619"/>
                  <a:pt x="6011" y="619"/>
                  <a:pt x="6011" y="618"/>
                </a:cubicBezTo>
                <a:cubicBezTo>
                  <a:pt x="6011" y="617"/>
                  <a:pt x="6012" y="616"/>
                  <a:pt x="6014" y="615"/>
                </a:cubicBezTo>
                <a:cubicBezTo>
                  <a:pt x="6016" y="615"/>
                  <a:pt x="6017" y="613"/>
                  <a:pt x="6017" y="611"/>
                </a:cubicBezTo>
                <a:lnTo>
                  <a:pt x="6016" y="608"/>
                </a:lnTo>
                <a:lnTo>
                  <a:pt x="6016" y="605"/>
                </a:lnTo>
                <a:cubicBezTo>
                  <a:pt x="6016" y="603"/>
                  <a:pt x="6017" y="602"/>
                  <a:pt x="6019" y="602"/>
                </a:cubicBezTo>
                <a:cubicBezTo>
                  <a:pt x="6021" y="602"/>
                  <a:pt x="6022" y="602"/>
                  <a:pt x="6022" y="602"/>
                </a:cubicBezTo>
                <a:cubicBezTo>
                  <a:pt x="6022" y="601"/>
                  <a:pt x="6021" y="601"/>
                  <a:pt x="6020" y="600"/>
                </a:cubicBezTo>
                <a:cubicBezTo>
                  <a:pt x="6019" y="599"/>
                  <a:pt x="6019" y="598"/>
                  <a:pt x="6019" y="598"/>
                </a:cubicBezTo>
                <a:cubicBezTo>
                  <a:pt x="6019" y="597"/>
                  <a:pt x="6019" y="595"/>
                  <a:pt x="6020" y="594"/>
                </a:cubicBezTo>
                <a:cubicBezTo>
                  <a:pt x="6021" y="592"/>
                  <a:pt x="6021" y="591"/>
                  <a:pt x="6022" y="590"/>
                </a:cubicBezTo>
                <a:cubicBezTo>
                  <a:pt x="6022" y="589"/>
                  <a:pt x="6021" y="588"/>
                  <a:pt x="6021" y="588"/>
                </a:cubicBezTo>
                <a:cubicBezTo>
                  <a:pt x="6021" y="587"/>
                  <a:pt x="6023" y="584"/>
                  <a:pt x="6027" y="579"/>
                </a:cubicBezTo>
                <a:lnTo>
                  <a:pt x="6032" y="571"/>
                </a:lnTo>
                <a:cubicBezTo>
                  <a:pt x="6032" y="571"/>
                  <a:pt x="6032" y="571"/>
                  <a:pt x="6032" y="571"/>
                </a:cubicBezTo>
                <a:lnTo>
                  <a:pt x="6031" y="571"/>
                </a:lnTo>
                <a:cubicBezTo>
                  <a:pt x="6031" y="570"/>
                  <a:pt x="6032" y="568"/>
                  <a:pt x="6035" y="565"/>
                </a:cubicBezTo>
                <a:cubicBezTo>
                  <a:pt x="6038" y="560"/>
                  <a:pt x="6039" y="557"/>
                  <a:pt x="6039" y="557"/>
                </a:cubicBezTo>
                <a:cubicBezTo>
                  <a:pt x="6039" y="556"/>
                  <a:pt x="6039" y="556"/>
                  <a:pt x="6039" y="556"/>
                </a:cubicBezTo>
                <a:cubicBezTo>
                  <a:pt x="6039" y="555"/>
                  <a:pt x="6040" y="553"/>
                  <a:pt x="6043" y="549"/>
                </a:cubicBezTo>
                <a:cubicBezTo>
                  <a:pt x="6046" y="545"/>
                  <a:pt x="6047" y="542"/>
                  <a:pt x="6047" y="541"/>
                </a:cubicBezTo>
                <a:cubicBezTo>
                  <a:pt x="6047" y="541"/>
                  <a:pt x="6045" y="539"/>
                  <a:pt x="6041" y="538"/>
                </a:cubicBezTo>
                <a:cubicBezTo>
                  <a:pt x="6039" y="537"/>
                  <a:pt x="6037" y="536"/>
                  <a:pt x="6036" y="535"/>
                </a:cubicBezTo>
                <a:cubicBezTo>
                  <a:pt x="6035" y="534"/>
                  <a:pt x="6034" y="534"/>
                  <a:pt x="6034" y="533"/>
                </a:cubicBezTo>
                <a:cubicBezTo>
                  <a:pt x="6034" y="532"/>
                  <a:pt x="6033" y="531"/>
                  <a:pt x="6032" y="531"/>
                </a:cubicBezTo>
                <a:cubicBezTo>
                  <a:pt x="6031" y="531"/>
                  <a:pt x="6030" y="531"/>
                  <a:pt x="6029" y="531"/>
                </a:cubicBezTo>
                <a:cubicBezTo>
                  <a:pt x="6028" y="531"/>
                  <a:pt x="6027" y="531"/>
                  <a:pt x="6026" y="530"/>
                </a:cubicBezTo>
                <a:lnTo>
                  <a:pt x="6026" y="530"/>
                </a:lnTo>
                <a:lnTo>
                  <a:pt x="6026" y="529"/>
                </a:lnTo>
                <a:cubicBezTo>
                  <a:pt x="6026" y="529"/>
                  <a:pt x="6028" y="527"/>
                  <a:pt x="6031" y="526"/>
                </a:cubicBezTo>
                <a:cubicBezTo>
                  <a:pt x="6034" y="524"/>
                  <a:pt x="6038" y="523"/>
                  <a:pt x="6042" y="521"/>
                </a:cubicBezTo>
                <a:cubicBezTo>
                  <a:pt x="6046" y="519"/>
                  <a:pt x="6050" y="518"/>
                  <a:pt x="6053" y="517"/>
                </a:cubicBezTo>
                <a:cubicBezTo>
                  <a:pt x="6056" y="515"/>
                  <a:pt x="6058" y="515"/>
                  <a:pt x="6059" y="515"/>
                </a:cubicBezTo>
                <a:cubicBezTo>
                  <a:pt x="6060" y="515"/>
                  <a:pt x="6061" y="514"/>
                  <a:pt x="6062" y="513"/>
                </a:cubicBezTo>
                <a:cubicBezTo>
                  <a:pt x="6063" y="512"/>
                  <a:pt x="6064" y="512"/>
                  <a:pt x="6064" y="510"/>
                </a:cubicBezTo>
                <a:cubicBezTo>
                  <a:pt x="6065" y="509"/>
                  <a:pt x="6065" y="508"/>
                  <a:pt x="6065" y="508"/>
                </a:cubicBezTo>
                <a:cubicBezTo>
                  <a:pt x="6065" y="507"/>
                  <a:pt x="6065" y="507"/>
                  <a:pt x="6064" y="507"/>
                </a:cubicBezTo>
                <a:lnTo>
                  <a:pt x="6063" y="507"/>
                </a:lnTo>
                <a:cubicBezTo>
                  <a:pt x="6062" y="507"/>
                  <a:pt x="6059" y="508"/>
                  <a:pt x="6054" y="511"/>
                </a:cubicBezTo>
                <a:cubicBezTo>
                  <a:pt x="6049" y="514"/>
                  <a:pt x="6046" y="515"/>
                  <a:pt x="6045" y="515"/>
                </a:cubicBezTo>
                <a:cubicBezTo>
                  <a:pt x="6044" y="515"/>
                  <a:pt x="6043" y="515"/>
                  <a:pt x="6043" y="515"/>
                </a:cubicBezTo>
                <a:lnTo>
                  <a:pt x="6043" y="517"/>
                </a:lnTo>
                <a:cubicBezTo>
                  <a:pt x="6043" y="517"/>
                  <a:pt x="6043" y="518"/>
                  <a:pt x="6041" y="519"/>
                </a:cubicBezTo>
                <a:cubicBezTo>
                  <a:pt x="6038" y="520"/>
                  <a:pt x="6034" y="521"/>
                  <a:pt x="6028" y="521"/>
                </a:cubicBezTo>
                <a:cubicBezTo>
                  <a:pt x="6025" y="521"/>
                  <a:pt x="6024" y="520"/>
                  <a:pt x="6024" y="519"/>
                </a:cubicBezTo>
                <a:cubicBezTo>
                  <a:pt x="6024" y="519"/>
                  <a:pt x="6024" y="518"/>
                  <a:pt x="6025" y="518"/>
                </a:cubicBezTo>
                <a:cubicBezTo>
                  <a:pt x="6025" y="518"/>
                  <a:pt x="6026" y="518"/>
                  <a:pt x="6027" y="518"/>
                </a:cubicBezTo>
                <a:cubicBezTo>
                  <a:pt x="6036" y="518"/>
                  <a:pt x="6040" y="517"/>
                  <a:pt x="6040" y="515"/>
                </a:cubicBezTo>
                <a:cubicBezTo>
                  <a:pt x="6040" y="513"/>
                  <a:pt x="6038" y="512"/>
                  <a:pt x="6035" y="511"/>
                </a:cubicBezTo>
                <a:cubicBezTo>
                  <a:pt x="6033" y="510"/>
                  <a:pt x="6033" y="509"/>
                  <a:pt x="6033" y="509"/>
                </a:cubicBezTo>
                <a:cubicBezTo>
                  <a:pt x="6034" y="508"/>
                  <a:pt x="6041" y="505"/>
                  <a:pt x="6053" y="500"/>
                </a:cubicBezTo>
                <a:cubicBezTo>
                  <a:pt x="6070" y="493"/>
                  <a:pt x="6079" y="490"/>
                  <a:pt x="6081" y="490"/>
                </a:cubicBezTo>
                <a:cubicBezTo>
                  <a:pt x="6083" y="490"/>
                  <a:pt x="6085" y="488"/>
                  <a:pt x="6087" y="486"/>
                </a:cubicBezTo>
                <a:cubicBezTo>
                  <a:pt x="6089" y="484"/>
                  <a:pt x="6090" y="482"/>
                  <a:pt x="6091" y="482"/>
                </a:cubicBezTo>
                <a:cubicBezTo>
                  <a:pt x="6092" y="482"/>
                  <a:pt x="6093" y="482"/>
                  <a:pt x="6094" y="481"/>
                </a:cubicBezTo>
                <a:cubicBezTo>
                  <a:pt x="6098" y="479"/>
                  <a:pt x="6105" y="477"/>
                  <a:pt x="6115" y="473"/>
                </a:cubicBezTo>
                <a:cubicBezTo>
                  <a:pt x="6135" y="466"/>
                  <a:pt x="6150" y="462"/>
                  <a:pt x="6158" y="460"/>
                </a:cubicBezTo>
                <a:cubicBezTo>
                  <a:pt x="6160" y="460"/>
                  <a:pt x="6162" y="460"/>
                  <a:pt x="6164" y="459"/>
                </a:cubicBezTo>
                <a:cubicBezTo>
                  <a:pt x="6171" y="457"/>
                  <a:pt x="6175" y="456"/>
                  <a:pt x="6177" y="456"/>
                </a:cubicBezTo>
                <a:cubicBezTo>
                  <a:pt x="6179" y="456"/>
                  <a:pt x="6180" y="456"/>
                  <a:pt x="6180" y="456"/>
                </a:cubicBezTo>
                <a:cubicBezTo>
                  <a:pt x="6181" y="456"/>
                  <a:pt x="6181" y="456"/>
                  <a:pt x="6182" y="456"/>
                </a:cubicBezTo>
                <a:cubicBezTo>
                  <a:pt x="6183" y="456"/>
                  <a:pt x="6183" y="455"/>
                  <a:pt x="6184" y="454"/>
                </a:cubicBezTo>
                <a:cubicBezTo>
                  <a:pt x="6184" y="453"/>
                  <a:pt x="6185" y="453"/>
                  <a:pt x="6187" y="453"/>
                </a:cubicBezTo>
                <a:lnTo>
                  <a:pt x="6190" y="453"/>
                </a:lnTo>
                <a:cubicBezTo>
                  <a:pt x="6192" y="453"/>
                  <a:pt x="6194" y="453"/>
                  <a:pt x="6195" y="452"/>
                </a:cubicBezTo>
                <a:cubicBezTo>
                  <a:pt x="6196" y="452"/>
                  <a:pt x="6198" y="451"/>
                  <a:pt x="6199" y="451"/>
                </a:cubicBezTo>
                <a:cubicBezTo>
                  <a:pt x="6200" y="452"/>
                  <a:pt x="6200" y="453"/>
                  <a:pt x="6201" y="455"/>
                </a:cubicBezTo>
                <a:cubicBezTo>
                  <a:pt x="6202" y="458"/>
                  <a:pt x="6203" y="459"/>
                  <a:pt x="6205" y="459"/>
                </a:cubicBezTo>
                <a:cubicBezTo>
                  <a:pt x="6205" y="459"/>
                  <a:pt x="6206" y="459"/>
                  <a:pt x="6206" y="459"/>
                </a:cubicBezTo>
                <a:lnTo>
                  <a:pt x="6206" y="458"/>
                </a:lnTo>
                <a:lnTo>
                  <a:pt x="6205" y="456"/>
                </a:lnTo>
                <a:cubicBezTo>
                  <a:pt x="6205" y="456"/>
                  <a:pt x="6205" y="456"/>
                  <a:pt x="6206" y="456"/>
                </a:cubicBezTo>
                <a:lnTo>
                  <a:pt x="6207" y="456"/>
                </a:lnTo>
                <a:lnTo>
                  <a:pt x="6210" y="456"/>
                </a:lnTo>
                <a:cubicBezTo>
                  <a:pt x="6211" y="456"/>
                  <a:pt x="6211" y="455"/>
                  <a:pt x="6211" y="454"/>
                </a:cubicBezTo>
                <a:cubicBezTo>
                  <a:pt x="6211" y="453"/>
                  <a:pt x="6212" y="453"/>
                  <a:pt x="6215" y="453"/>
                </a:cubicBezTo>
                <a:lnTo>
                  <a:pt x="6224" y="453"/>
                </a:lnTo>
                <a:cubicBezTo>
                  <a:pt x="6225" y="453"/>
                  <a:pt x="6226" y="453"/>
                  <a:pt x="6226" y="452"/>
                </a:cubicBezTo>
                <a:cubicBezTo>
                  <a:pt x="6226" y="451"/>
                  <a:pt x="6228" y="451"/>
                  <a:pt x="6231" y="451"/>
                </a:cubicBezTo>
                <a:cubicBezTo>
                  <a:pt x="6234" y="451"/>
                  <a:pt x="6236" y="451"/>
                  <a:pt x="6236" y="450"/>
                </a:cubicBezTo>
                <a:lnTo>
                  <a:pt x="6236" y="448"/>
                </a:lnTo>
                <a:cubicBezTo>
                  <a:pt x="6236" y="447"/>
                  <a:pt x="6237" y="446"/>
                  <a:pt x="6238" y="446"/>
                </a:cubicBezTo>
                <a:cubicBezTo>
                  <a:pt x="6240" y="446"/>
                  <a:pt x="6241" y="446"/>
                  <a:pt x="6241" y="447"/>
                </a:cubicBezTo>
                <a:cubicBezTo>
                  <a:pt x="6241" y="448"/>
                  <a:pt x="6242" y="448"/>
                  <a:pt x="6243" y="448"/>
                </a:cubicBezTo>
                <a:cubicBezTo>
                  <a:pt x="6251" y="448"/>
                  <a:pt x="6254" y="447"/>
                  <a:pt x="6254" y="443"/>
                </a:cubicBezTo>
                <a:cubicBezTo>
                  <a:pt x="6254" y="442"/>
                  <a:pt x="6255" y="441"/>
                  <a:pt x="6255" y="441"/>
                </a:cubicBezTo>
                <a:cubicBezTo>
                  <a:pt x="6255" y="441"/>
                  <a:pt x="6256" y="442"/>
                  <a:pt x="6257" y="443"/>
                </a:cubicBezTo>
                <a:cubicBezTo>
                  <a:pt x="6257" y="445"/>
                  <a:pt x="6261" y="446"/>
                  <a:pt x="6268" y="446"/>
                </a:cubicBezTo>
                <a:cubicBezTo>
                  <a:pt x="6285" y="446"/>
                  <a:pt x="6293" y="447"/>
                  <a:pt x="6293" y="449"/>
                </a:cubicBezTo>
                <a:lnTo>
                  <a:pt x="6293" y="450"/>
                </a:lnTo>
                <a:cubicBezTo>
                  <a:pt x="6293" y="451"/>
                  <a:pt x="6294" y="451"/>
                  <a:pt x="6296" y="451"/>
                </a:cubicBezTo>
                <a:cubicBezTo>
                  <a:pt x="6299" y="451"/>
                  <a:pt x="6300" y="451"/>
                  <a:pt x="6300" y="448"/>
                </a:cubicBezTo>
                <a:lnTo>
                  <a:pt x="6300" y="448"/>
                </a:lnTo>
                <a:cubicBezTo>
                  <a:pt x="6299" y="446"/>
                  <a:pt x="6298" y="445"/>
                  <a:pt x="6297" y="445"/>
                </a:cubicBezTo>
                <a:lnTo>
                  <a:pt x="6296" y="445"/>
                </a:lnTo>
                <a:cubicBezTo>
                  <a:pt x="6295" y="445"/>
                  <a:pt x="6295" y="445"/>
                  <a:pt x="6295" y="444"/>
                </a:cubicBezTo>
                <a:cubicBezTo>
                  <a:pt x="6295" y="444"/>
                  <a:pt x="6295" y="443"/>
                  <a:pt x="6296" y="443"/>
                </a:cubicBezTo>
                <a:cubicBezTo>
                  <a:pt x="6296" y="442"/>
                  <a:pt x="6296" y="442"/>
                  <a:pt x="6297" y="442"/>
                </a:cubicBezTo>
                <a:cubicBezTo>
                  <a:pt x="6299" y="442"/>
                  <a:pt x="6300" y="443"/>
                  <a:pt x="6301" y="444"/>
                </a:cubicBezTo>
                <a:cubicBezTo>
                  <a:pt x="6302" y="446"/>
                  <a:pt x="6303" y="448"/>
                  <a:pt x="6303" y="450"/>
                </a:cubicBezTo>
                <a:lnTo>
                  <a:pt x="6302" y="454"/>
                </a:lnTo>
                <a:cubicBezTo>
                  <a:pt x="6302" y="457"/>
                  <a:pt x="6304" y="459"/>
                  <a:pt x="6306" y="459"/>
                </a:cubicBezTo>
                <a:cubicBezTo>
                  <a:pt x="6309" y="459"/>
                  <a:pt x="6310" y="460"/>
                  <a:pt x="6310" y="461"/>
                </a:cubicBezTo>
                <a:lnTo>
                  <a:pt x="6310" y="463"/>
                </a:lnTo>
                <a:lnTo>
                  <a:pt x="6310" y="463"/>
                </a:lnTo>
                <a:cubicBezTo>
                  <a:pt x="6310" y="463"/>
                  <a:pt x="6311" y="464"/>
                  <a:pt x="6312" y="464"/>
                </a:cubicBezTo>
                <a:cubicBezTo>
                  <a:pt x="6313" y="464"/>
                  <a:pt x="6314" y="465"/>
                  <a:pt x="6314" y="468"/>
                </a:cubicBezTo>
                <a:cubicBezTo>
                  <a:pt x="6314" y="470"/>
                  <a:pt x="6315" y="472"/>
                  <a:pt x="6317" y="473"/>
                </a:cubicBezTo>
                <a:cubicBezTo>
                  <a:pt x="6319" y="473"/>
                  <a:pt x="6320" y="475"/>
                  <a:pt x="6320" y="478"/>
                </a:cubicBezTo>
                <a:cubicBezTo>
                  <a:pt x="6320" y="479"/>
                  <a:pt x="6320" y="480"/>
                  <a:pt x="6321" y="481"/>
                </a:cubicBezTo>
                <a:cubicBezTo>
                  <a:pt x="6321" y="482"/>
                  <a:pt x="6322" y="483"/>
                  <a:pt x="6323" y="484"/>
                </a:cubicBezTo>
                <a:cubicBezTo>
                  <a:pt x="6324" y="485"/>
                  <a:pt x="6324" y="487"/>
                  <a:pt x="6324" y="490"/>
                </a:cubicBezTo>
                <a:lnTo>
                  <a:pt x="6324" y="495"/>
                </a:lnTo>
                <a:lnTo>
                  <a:pt x="6323" y="502"/>
                </a:lnTo>
                <a:cubicBezTo>
                  <a:pt x="6323" y="502"/>
                  <a:pt x="6323" y="502"/>
                  <a:pt x="6324" y="502"/>
                </a:cubicBezTo>
                <a:cubicBezTo>
                  <a:pt x="6324" y="502"/>
                  <a:pt x="6325" y="502"/>
                  <a:pt x="6326" y="500"/>
                </a:cubicBezTo>
                <a:cubicBezTo>
                  <a:pt x="6327" y="500"/>
                  <a:pt x="6328" y="499"/>
                  <a:pt x="6329" y="499"/>
                </a:cubicBezTo>
                <a:cubicBezTo>
                  <a:pt x="6329" y="499"/>
                  <a:pt x="6329" y="499"/>
                  <a:pt x="6329" y="500"/>
                </a:cubicBezTo>
                <a:cubicBezTo>
                  <a:pt x="6329" y="502"/>
                  <a:pt x="6326" y="510"/>
                  <a:pt x="6319" y="523"/>
                </a:cubicBezTo>
                <a:cubicBezTo>
                  <a:pt x="6311" y="541"/>
                  <a:pt x="6305" y="556"/>
                  <a:pt x="6299" y="571"/>
                </a:cubicBezTo>
                <a:cubicBezTo>
                  <a:pt x="6293" y="589"/>
                  <a:pt x="6289" y="598"/>
                  <a:pt x="6288" y="601"/>
                </a:cubicBezTo>
                <a:cubicBezTo>
                  <a:pt x="6287" y="603"/>
                  <a:pt x="6286" y="605"/>
                  <a:pt x="6286" y="607"/>
                </a:cubicBezTo>
                <a:lnTo>
                  <a:pt x="6279" y="628"/>
                </a:lnTo>
                <a:lnTo>
                  <a:pt x="6277" y="637"/>
                </a:lnTo>
                <a:cubicBezTo>
                  <a:pt x="6275" y="642"/>
                  <a:pt x="6274" y="645"/>
                  <a:pt x="6274" y="645"/>
                </a:cubicBezTo>
                <a:cubicBezTo>
                  <a:pt x="6273" y="646"/>
                  <a:pt x="6273" y="647"/>
                  <a:pt x="6273" y="647"/>
                </a:cubicBezTo>
                <a:cubicBezTo>
                  <a:pt x="6273" y="647"/>
                  <a:pt x="6273" y="648"/>
                  <a:pt x="6273" y="648"/>
                </a:cubicBezTo>
                <a:cubicBezTo>
                  <a:pt x="6273" y="649"/>
                  <a:pt x="6272" y="649"/>
                  <a:pt x="6272" y="649"/>
                </a:cubicBezTo>
                <a:cubicBezTo>
                  <a:pt x="6272" y="650"/>
                  <a:pt x="6272" y="650"/>
                  <a:pt x="6271" y="651"/>
                </a:cubicBezTo>
                <a:cubicBezTo>
                  <a:pt x="6271" y="652"/>
                  <a:pt x="6271" y="652"/>
                  <a:pt x="6271" y="653"/>
                </a:cubicBezTo>
                <a:cubicBezTo>
                  <a:pt x="6269" y="664"/>
                  <a:pt x="6266" y="671"/>
                  <a:pt x="6261" y="676"/>
                </a:cubicBezTo>
                <a:lnTo>
                  <a:pt x="6260" y="677"/>
                </a:lnTo>
                <a:lnTo>
                  <a:pt x="6260" y="678"/>
                </a:lnTo>
                <a:lnTo>
                  <a:pt x="6262" y="677"/>
                </a:lnTo>
                <a:cubicBezTo>
                  <a:pt x="6263" y="677"/>
                  <a:pt x="6264" y="679"/>
                  <a:pt x="6264" y="682"/>
                </a:cubicBezTo>
                <a:cubicBezTo>
                  <a:pt x="6264" y="686"/>
                  <a:pt x="6263" y="688"/>
                  <a:pt x="6262" y="688"/>
                </a:cubicBezTo>
                <a:cubicBezTo>
                  <a:pt x="6261" y="688"/>
                  <a:pt x="6261" y="689"/>
                  <a:pt x="6261" y="690"/>
                </a:cubicBezTo>
                <a:lnTo>
                  <a:pt x="6261" y="698"/>
                </a:lnTo>
                <a:cubicBezTo>
                  <a:pt x="6261" y="701"/>
                  <a:pt x="6261" y="702"/>
                  <a:pt x="6260" y="702"/>
                </a:cubicBezTo>
                <a:cubicBezTo>
                  <a:pt x="6259" y="702"/>
                  <a:pt x="6258" y="703"/>
                  <a:pt x="6257" y="705"/>
                </a:cubicBezTo>
                <a:cubicBezTo>
                  <a:pt x="6257" y="707"/>
                  <a:pt x="6257" y="709"/>
                  <a:pt x="6257" y="712"/>
                </a:cubicBezTo>
                <a:cubicBezTo>
                  <a:pt x="6257" y="719"/>
                  <a:pt x="6257" y="723"/>
                  <a:pt x="6258" y="723"/>
                </a:cubicBezTo>
                <a:cubicBezTo>
                  <a:pt x="6260" y="723"/>
                  <a:pt x="6266" y="720"/>
                  <a:pt x="6276" y="713"/>
                </a:cubicBezTo>
                <a:cubicBezTo>
                  <a:pt x="6286" y="708"/>
                  <a:pt x="6292" y="704"/>
                  <a:pt x="6292" y="703"/>
                </a:cubicBezTo>
                <a:cubicBezTo>
                  <a:pt x="6292" y="702"/>
                  <a:pt x="6293" y="702"/>
                  <a:pt x="6295" y="702"/>
                </a:cubicBezTo>
                <a:cubicBezTo>
                  <a:pt x="6297" y="702"/>
                  <a:pt x="6306" y="695"/>
                  <a:pt x="6321" y="682"/>
                </a:cubicBezTo>
                <a:cubicBezTo>
                  <a:pt x="6337" y="670"/>
                  <a:pt x="6345" y="662"/>
                  <a:pt x="6345" y="659"/>
                </a:cubicBezTo>
                <a:cubicBezTo>
                  <a:pt x="6345" y="659"/>
                  <a:pt x="6344" y="659"/>
                  <a:pt x="6344" y="659"/>
                </a:cubicBezTo>
                <a:lnTo>
                  <a:pt x="6343" y="659"/>
                </a:lnTo>
                <a:cubicBezTo>
                  <a:pt x="6343" y="659"/>
                  <a:pt x="6341" y="660"/>
                  <a:pt x="6338" y="662"/>
                </a:cubicBezTo>
                <a:lnTo>
                  <a:pt x="6342" y="657"/>
                </a:lnTo>
                <a:cubicBezTo>
                  <a:pt x="6347" y="652"/>
                  <a:pt x="6350" y="649"/>
                  <a:pt x="6351" y="649"/>
                </a:cubicBezTo>
                <a:lnTo>
                  <a:pt x="6349" y="652"/>
                </a:lnTo>
                <a:lnTo>
                  <a:pt x="6353" y="650"/>
                </a:lnTo>
                <a:cubicBezTo>
                  <a:pt x="6356" y="647"/>
                  <a:pt x="6357" y="645"/>
                  <a:pt x="6357" y="643"/>
                </a:cubicBezTo>
                <a:cubicBezTo>
                  <a:pt x="6357" y="643"/>
                  <a:pt x="6357" y="643"/>
                  <a:pt x="6357" y="643"/>
                </a:cubicBezTo>
                <a:lnTo>
                  <a:pt x="6353" y="644"/>
                </a:lnTo>
                <a:cubicBezTo>
                  <a:pt x="6353" y="644"/>
                  <a:pt x="6353" y="643"/>
                  <a:pt x="6355" y="640"/>
                </a:cubicBezTo>
                <a:cubicBezTo>
                  <a:pt x="6356" y="638"/>
                  <a:pt x="6358" y="636"/>
                  <a:pt x="6360" y="634"/>
                </a:cubicBezTo>
                <a:cubicBezTo>
                  <a:pt x="6361" y="633"/>
                  <a:pt x="6362" y="632"/>
                  <a:pt x="6363" y="632"/>
                </a:cubicBezTo>
                <a:cubicBezTo>
                  <a:pt x="6363" y="632"/>
                  <a:pt x="6363" y="632"/>
                  <a:pt x="6363" y="632"/>
                </a:cubicBezTo>
                <a:cubicBezTo>
                  <a:pt x="6364" y="632"/>
                  <a:pt x="6364" y="631"/>
                  <a:pt x="6364" y="631"/>
                </a:cubicBezTo>
                <a:lnTo>
                  <a:pt x="6363" y="628"/>
                </a:lnTo>
                <a:cubicBezTo>
                  <a:pt x="6363" y="628"/>
                  <a:pt x="6364" y="628"/>
                  <a:pt x="6365" y="628"/>
                </a:cubicBezTo>
                <a:cubicBezTo>
                  <a:pt x="6365" y="628"/>
                  <a:pt x="6366" y="628"/>
                  <a:pt x="6366" y="627"/>
                </a:cubicBezTo>
                <a:lnTo>
                  <a:pt x="6366" y="626"/>
                </a:lnTo>
                <a:lnTo>
                  <a:pt x="6366" y="625"/>
                </a:lnTo>
                <a:cubicBezTo>
                  <a:pt x="6366" y="623"/>
                  <a:pt x="6366" y="621"/>
                  <a:pt x="6368" y="619"/>
                </a:cubicBezTo>
                <a:cubicBezTo>
                  <a:pt x="6370" y="615"/>
                  <a:pt x="6371" y="607"/>
                  <a:pt x="6371" y="595"/>
                </a:cubicBezTo>
                <a:lnTo>
                  <a:pt x="6371" y="581"/>
                </a:lnTo>
                <a:cubicBezTo>
                  <a:pt x="6371" y="573"/>
                  <a:pt x="6370" y="563"/>
                  <a:pt x="6367" y="550"/>
                </a:cubicBezTo>
                <a:cubicBezTo>
                  <a:pt x="6365" y="539"/>
                  <a:pt x="6364" y="530"/>
                  <a:pt x="6364" y="525"/>
                </a:cubicBezTo>
                <a:cubicBezTo>
                  <a:pt x="6364" y="525"/>
                  <a:pt x="6364" y="523"/>
                  <a:pt x="6365" y="520"/>
                </a:cubicBezTo>
                <a:cubicBezTo>
                  <a:pt x="6365" y="517"/>
                  <a:pt x="6367" y="514"/>
                  <a:pt x="6371" y="512"/>
                </a:cubicBezTo>
                <a:cubicBezTo>
                  <a:pt x="6373" y="511"/>
                  <a:pt x="6375" y="510"/>
                  <a:pt x="6377" y="509"/>
                </a:cubicBezTo>
                <a:cubicBezTo>
                  <a:pt x="6378" y="507"/>
                  <a:pt x="6380" y="506"/>
                  <a:pt x="6381" y="505"/>
                </a:cubicBezTo>
                <a:cubicBezTo>
                  <a:pt x="6381" y="505"/>
                  <a:pt x="6382" y="505"/>
                  <a:pt x="6383" y="504"/>
                </a:cubicBezTo>
                <a:cubicBezTo>
                  <a:pt x="6383" y="504"/>
                  <a:pt x="6383" y="504"/>
                  <a:pt x="6384" y="504"/>
                </a:cubicBezTo>
                <a:cubicBezTo>
                  <a:pt x="6384" y="504"/>
                  <a:pt x="6384" y="504"/>
                  <a:pt x="6384" y="505"/>
                </a:cubicBezTo>
                <a:cubicBezTo>
                  <a:pt x="6386" y="505"/>
                  <a:pt x="6389" y="504"/>
                  <a:pt x="6391" y="503"/>
                </a:cubicBezTo>
                <a:cubicBezTo>
                  <a:pt x="6393" y="502"/>
                  <a:pt x="6395" y="501"/>
                  <a:pt x="6397" y="501"/>
                </a:cubicBezTo>
                <a:cubicBezTo>
                  <a:pt x="6398" y="501"/>
                  <a:pt x="6399" y="502"/>
                  <a:pt x="6400" y="503"/>
                </a:cubicBezTo>
                <a:cubicBezTo>
                  <a:pt x="6400" y="505"/>
                  <a:pt x="6398" y="508"/>
                  <a:pt x="6395" y="511"/>
                </a:cubicBezTo>
                <a:cubicBezTo>
                  <a:pt x="6391" y="513"/>
                  <a:pt x="6390" y="516"/>
                  <a:pt x="6390" y="517"/>
                </a:cubicBezTo>
                <a:cubicBezTo>
                  <a:pt x="6390" y="517"/>
                  <a:pt x="6390" y="518"/>
                  <a:pt x="6390" y="518"/>
                </a:cubicBezTo>
                <a:lnTo>
                  <a:pt x="6390" y="518"/>
                </a:lnTo>
                <a:cubicBezTo>
                  <a:pt x="6390" y="519"/>
                  <a:pt x="6390" y="519"/>
                  <a:pt x="6388" y="519"/>
                </a:cubicBezTo>
                <a:cubicBezTo>
                  <a:pt x="6386" y="519"/>
                  <a:pt x="6385" y="519"/>
                  <a:pt x="6385" y="521"/>
                </a:cubicBezTo>
                <a:lnTo>
                  <a:pt x="6386" y="522"/>
                </a:lnTo>
                <a:cubicBezTo>
                  <a:pt x="6386" y="523"/>
                  <a:pt x="6385" y="524"/>
                  <a:pt x="6385" y="524"/>
                </a:cubicBezTo>
                <a:cubicBezTo>
                  <a:pt x="6384" y="524"/>
                  <a:pt x="6383" y="525"/>
                  <a:pt x="6383" y="526"/>
                </a:cubicBezTo>
                <a:cubicBezTo>
                  <a:pt x="6383" y="528"/>
                  <a:pt x="6383" y="530"/>
                  <a:pt x="6384" y="531"/>
                </a:cubicBezTo>
                <a:cubicBezTo>
                  <a:pt x="6386" y="532"/>
                  <a:pt x="6386" y="532"/>
                  <a:pt x="6386" y="532"/>
                </a:cubicBezTo>
                <a:cubicBezTo>
                  <a:pt x="6386" y="532"/>
                  <a:pt x="6387" y="532"/>
                  <a:pt x="6388" y="534"/>
                </a:cubicBezTo>
                <a:lnTo>
                  <a:pt x="6395" y="573"/>
                </a:lnTo>
                <a:cubicBezTo>
                  <a:pt x="6397" y="585"/>
                  <a:pt x="6398" y="598"/>
                  <a:pt x="6398" y="613"/>
                </a:cubicBezTo>
                <a:cubicBezTo>
                  <a:pt x="6398" y="629"/>
                  <a:pt x="6398" y="640"/>
                  <a:pt x="6397" y="646"/>
                </a:cubicBezTo>
                <a:lnTo>
                  <a:pt x="6397" y="649"/>
                </a:lnTo>
                <a:cubicBezTo>
                  <a:pt x="6397" y="649"/>
                  <a:pt x="6398" y="649"/>
                  <a:pt x="6399" y="649"/>
                </a:cubicBezTo>
                <a:cubicBezTo>
                  <a:pt x="6400" y="649"/>
                  <a:pt x="6401" y="649"/>
                  <a:pt x="6401" y="650"/>
                </a:cubicBezTo>
                <a:lnTo>
                  <a:pt x="6401" y="652"/>
                </a:lnTo>
                <a:cubicBezTo>
                  <a:pt x="6401" y="652"/>
                  <a:pt x="6400" y="654"/>
                  <a:pt x="6398" y="656"/>
                </a:cubicBezTo>
                <a:cubicBezTo>
                  <a:pt x="6396" y="657"/>
                  <a:pt x="6396" y="659"/>
                  <a:pt x="6396" y="661"/>
                </a:cubicBezTo>
                <a:lnTo>
                  <a:pt x="6396" y="664"/>
                </a:lnTo>
                <a:cubicBezTo>
                  <a:pt x="6395" y="664"/>
                  <a:pt x="6395" y="663"/>
                  <a:pt x="6393" y="661"/>
                </a:cubicBezTo>
                <a:cubicBezTo>
                  <a:pt x="6392" y="659"/>
                  <a:pt x="6391" y="658"/>
                  <a:pt x="6390" y="658"/>
                </a:cubicBezTo>
                <a:lnTo>
                  <a:pt x="6390" y="661"/>
                </a:lnTo>
                <a:cubicBezTo>
                  <a:pt x="6390" y="664"/>
                  <a:pt x="6390" y="667"/>
                  <a:pt x="6388" y="671"/>
                </a:cubicBezTo>
                <a:cubicBezTo>
                  <a:pt x="6386" y="675"/>
                  <a:pt x="6385" y="679"/>
                  <a:pt x="6382" y="683"/>
                </a:cubicBezTo>
                <a:cubicBezTo>
                  <a:pt x="6380" y="686"/>
                  <a:pt x="6378" y="688"/>
                  <a:pt x="6377" y="688"/>
                </a:cubicBezTo>
                <a:cubicBezTo>
                  <a:pt x="6376" y="688"/>
                  <a:pt x="6375" y="689"/>
                  <a:pt x="6375" y="692"/>
                </a:cubicBezTo>
                <a:cubicBezTo>
                  <a:pt x="6375" y="694"/>
                  <a:pt x="6368" y="702"/>
                  <a:pt x="6352" y="716"/>
                </a:cubicBezTo>
                <a:cubicBezTo>
                  <a:pt x="6337" y="730"/>
                  <a:pt x="6328" y="737"/>
                  <a:pt x="6325" y="737"/>
                </a:cubicBezTo>
                <a:cubicBezTo>
                  <a:pt x="6324" y="737"/>
                  <a:pt x="6323" y="737"/>
                  <a:pt x="6322" y="739"/>
                </a:cubicBezTo>
                <a:cubicBezTo>
                  <a:pt x="6321" y="740"/>
                  <a:pt x="6317" y="742"/>
                  <a:pt x="6310" y="746"/>
                </a:cubicBezTo>
                <a:cubicBezTo>
                  <a:pt x="6303" y="749"/>
                  <a:pt x="6296" y="752"/>
                  <a:pt x="6288" y="755"/>
                </a:cubicBezTo>
                <a:cubicBezTo>
                  <a:pt x="6280" y="758"/>
                  <a:pt x="6275" y="759"/>
                  <a:pt x="6272" y="759"/>
                </a:cubicBezTo>
                <a:cubicBezTo>
                  <a:pt x="6266" y="759"/>
                  <a:pt x="6262" y="758"/>
                  <a:pt x="6257" y="755"/>
                </a:cubicBezTo>
                <a:cubicBezTo>
                  <a:pt x="6252" y="752"/>
                  <a:pt x="6250" y="750"/>
                  <a:pt x="6250" y="747"/>
                </a:cubicBezTo>
                <a:cubicBezTo>
                  <a:pt x="6250" y="746"/>
                  <a:pt x="6249" y="745"/>
                  <a:pt x="6248" y="743"/>
                </a:cubicBezTo>
                <a:cubicBezTo>
                  <a:pt x="6247" y="742"/>
                  <a:pt x="6245" y="741"/>
                  <a:pt x="6243" y="740"/>
                </a:cubicBezTo>
                <a:cubicBezTo>
                  <a:pt x="6238" y="738"/>
                  <a:pt x="6234" y="735"/>
                  <a:pt x="6229" y="730"/>
                </a:cubicBezTo>
                <a:cubicBezTo>
                  <a:pt x="6224" y="725"/>
                  <a:pt x="6221" y="720"/>
                  <a:pt x="6220" y="717"/>
                </a:cubicBezTo>
                <a:cubicBezTo>
                  <a:pt x="6218" y="713"/>
                  <a:pt x="6217" y="708"/>
                  <a:pt x="6217" y="702"/>
                </a:cubicBezTo>
                <a:cubicBezTo>
                  <a:pt x="6217" y="682"/>
                  <a:pt x="6225" y="648"/>
                  <a:pt x="6241" y="598"/>
                </a:cubicBezTo>
                <a:cubicBezTo>
                  <a:pt x="6243" y="593"/>
                  <a:pt x="6245" y="589"/>
                  <a:pt x="6246" y="585"/>
                </a:cubicBezTo>
                <a:lnTo>
                  <a:pt x="6246" y="579"/>
                </a:lnTo>
                <a:cubicBezTo>
                  <a:pt x="6246" y="579"/>
                  <a:pt x="6246" y="579"/>
                  <a:pt x="6246" y="579"/>
                </a:cubicBezTo>
                <a:cubicBezTo>
                  <a:pt x="6246" y="579"/>
                  <a:pt x="6246" y="578"/>
                  <a:pt x="6247" y="577"/>
                </a:cubicBezTo>
                <a:cubicBezTo>
                  <a:pt x="6248" y="577"/>
                  <a:pt x="6250" y="572"/>
                  <a:pt x="6253" y="563"/>
                </a:cubicBezTo>
                <a:cubicBezTo>
                  <a:pt x="6254" y="559"/>
                  <a:pt x="6256" y="556"/>
                  <a:pt x="6257" y="553"/>
                </a:cubicBezTo>
                <a:cubicBezTo>
                  <a:pt x="6258" y="550"/>
                  <a:pt x="6259" y="549"/>
                  <a:pt x="6260" y="549"/>
                </a:cubicBezTo>
                <a:cubicBezTo>
                  <a:pt x="6261" y="549"/>
                  <a:pt x="6261" y="547"/>
                  <a:pt x="6261" y="544"/>
                </a:cubicBezTo>
                <a:cubicBezTo>
                  <a:pt x="6261" y="542"/>
                  <a:pt x="6261" y="540"/>
                  <a:pt x="6262" y="539"/>
                </a:cubicBezTo>
                <a:cubicBezTo>
                  <a:pt x="6262" y="538"/>
                  <a:pt x="6263" y="537"/>
                  <a:pt x="6264" y="537"/>
                </a:cubicBezTo>
                <a:cubicBezTo>
                  <a:pt x="6265" y="537"/>
                  <a:pt x="6266" y="536"/>
                  <a:pt x="6266" y="535"/>
                </a:cubicBezTo>
                <a:lnTo>
                  <a:pt x="6265" y="534"/>
                </a:lnTo>
                <a:lnTo>
                  <a:pt x="6265" y="530"/>
                </a:lnTo>
                <a:cubicBezTo>
                  <a:pt x="6265" y="528"/>
                  <a:pt x="6266" y="525"/>
                  <a:pt x="6267" y="524"/>
                </a:cubicBezTo>
                <a:cubicBezTo>
                  <a:pt x="6268" y="523"/>
                  <a:pt x="6269" y="523"/>
                  <a:pt x="6270" y="523"/>
                </a:cubicBezTo>
                <a:lnTo>
                  <a:pt x="6271" y="523"/>
                </a:lnTo>
                <a:cubicBezTo>
                  <a:pt x="6271" y="523"/>
                  <a:pt x="6272" y="523"/>
                  <a:pt x="6272" y="522"/>
                </a:cubicBezTo>
                <a:lnTo>
                  <a:pt x="6271" y="515"/>
                </a:lnTo>
                <a:cubicBezTo>
                  <a:pt x="6271" y="513"/>
                  <a:pt x="6271" y="512"/>
                  <a:pt x="6273" y="512"/>
                </a:cubicBezTo>
                <a:cubicBezTo>
                  <a:pt x="6274" y="512"/>
                  <a:pt x="6275" y="512"/>
                  <a:pt x="6276" y="511"/>
                </a:cubicBezTo>
                <a:cubicBezTo>
                  <a:pt x="6278" y="510"/>
                  <a:pt x="6278" y="508"/>
                  <a:pt x="6278" y="505"/>
                </a:cubicBezTo>
                <a:cubicBezTo>
                  <a:pt x="6278" y="504"/>
                  <a:pt x="6278" y="504"/>
                  <a:pt x="6278" y="504"/>
                </a:cubicBezTo>
                <a:lnTo>
                  <a:pt x="6274" y="505"/>
                </a:lnTo>
                <a:cubicBezTo>
                  <a:pt x="6274" y="505"/>
                  <a:pt x="6274" y="504"/>
                  <a:pt x="6275" y="504"/>
                </a:cubicBezTo>
                <a:cubicBezTo>
                  <a:pt x="6275" y="504"/>
                  <a:pt x="6276" y="503"/>
                  <a:pt x="6278" y="501"/>
                </a:cubicBezTo>
                <a:lnTo>
                  <a:pt x="6278" y="502"/>
                </a:lnTo>
                <a:cubicBezTo>
                  <a:pt x="6280" y="502"/>
                  <a:pt x="6281" y="501"/>
                  <a:pt x="6283" y="499"/>
                </a:cubicBezTo>
                <a:cubicBezTo>
                  <a:pt x="6284" y="498"/>
                  <a:pt x="6284" y="497"/>
                  <a:pt x="6284" y="496"/>
                </a:cubicBezTo>
                <a:lnTo>
                  <a:pt x="6284" y="496"/>
                </a:lnTo>
                <a:lnTo>
                  <a:pt x="6284" y="495"/>
                </a:lnTo>
                <a:cubicBezTo>
                  <a:pt x="6284" y="495"/>
                  <a:pt x="6285" y="492"/>
                  <a:pt x="6288" y="487"/>
                </a:cubicBezTo>
                <a:cubicBezTo>
                  <a:pt x="6290" y="483"/>
                  <a:pt x="6291" y="480"/>
                  <a:pt x="6291" y="479"/>
                </a:cubicBezTo>
                <a:cubicBezTo>
                  <a:pt x="6291" y="478"/>
                  <a:pt x="6291" y="478"/>
                  <a:pt x="6290" y="478"/>
                </a:cubicBezTo>
                <a:cubicBezTo>
                  <a:pt x="6278" y="478"/>
                  <a:pt x="6245" y="485"/>
                  <a:pt x="6191" y="498"/>
                </a:cubicBezTo>
                <a:cubicBezTo>
                  <a:pt x="6177" y="502"/>
                  <a:pt x="6168" y="504"/>
                  <a:pt x="6164" y="505"/>
                </a:cubicBezTo>
                <a:lnTo>
                  <a:pt x="6163" y="505"/>
                </a:lnTo>
                <a:cubicBezTo>
                  <a:pt x="6163" y="504"/>
                  <a:pt x="6167" y="503"/>
                  <a:pt x="6176" y="500"/>
                </a:cubicBezTo>
                <a:cubicBezTo>
                  <a:pt x="6185" y="497"/>
                  <a:pt x="6190" y="495"/>
                  <a:pt x="6190" y="493"/>
                </a:cubicBezTo>
                <a:lnTo>
                  <a:pt x="6189" y="492"/>
                </a:lnTo>
                <a:lnTo>
                  <a:pt x="6191" y="492"/>
                </a:lnTo>
                <a:cubicBezTo>
                  <a:pt x="6197" y="492"/>
                  <a:pt x="6203" y="492"/>
                  <a:pt x="6209" y="490"/>
                </a:cubicBezTo>
                <a:cubicBezTo>
                  <a:pt x="6217" y="488"/>
                  <a:pt x="6222" y="486"/>
                  <a:pt x="6222" y="485"/>
                </a:cubicBezTo>
                <a:cubicBezTo>
                  <a:pt x="6222" y="483"/>
                  <a:pt x="6220" y="482"/>
                  <a:pt x="6215" y="481"/>
                </a:cubicBezTo>
                <a:cubicBezTo>
                  <a:pt x="6208" y="481"/>
                  <a:pt x="6204" y="482"/>
                  <a:pt x="6203" y="485"/>
                </a:cubicBezTo>
                <a:lnTo>
                  <a:pt x="6202" y="486"/>
                </a:lnTo>
                <a:cubicBezTo>
                  <a:pt x="6202" y="487"/>
                  <a:pt x="6202" y="487"/>
                  <a:pt x="6203" y="487"/>
                </a:cubicBezTo>
                <a:cubicBezTo>
                  <a:pt x="6203" y="487"/>
                  <a:pt x="6204" y="487"/>
                  <a:pt x="6206" y="486"/>
                </a:cubicBezTo>
                <a:lnTo>
                  <a:pt x="6209" y="485"/>
                </a:lnTo>
                <a:cubicBezTo>
                  <a:pt x="6209" y="486"/>
                  <a:pt x="6208" y="487"/>
                  <a:pt x="6207" y="487"/>
                </a:cubicBezTo>
                <a:cubicBezTo>
                  <a:pt x="6206" y="488"/>
                  <a:pt x="6205" y="489"/>
                  <a:pt x="6204" y="489"/>
                </a:cubicBezTo>
                <a:cubicBezTo>
                  <a:pt x="6204" y="489"/>
                  <a:pt x="6203" y="488"/>
                  <a:pt x="6201" y="487"/>
                </a:cubicBezTo>
                <a:cubicBezTo>
                  <a:pt x="6200" y="485"/>
                  <a:pt x="6199" y="485"/>
                  <a:pt x="6197" y="485"/>
                </a:cubicBezTo>
                <a:lnTo>
                  <a:pt x="6197" y="485"/>
                </a:lnTo>
                <a:cubicBezTo>
                  <a:pt x="6196" y="485"/>
                  <a:pt x="6196" y="485"/>
                  <a:pt x="6196" y="486"/>
                </a:cubicBezTo>
                <a:lnTo>
                  <a:pt x="6197" y="490"/>
                </a:lnTo>
                <a:cubicBezTo>
                  <a:pt x="6197" y="491"/>
                  <a:pt x="6196" y="492"/>
                  <a:pt x="6195" y="492"/>
                </a:cubicBezTo>
                <a:cubicBezTo>
                  <a:pt x="6194" y="491"/>
                  <a:pt x="6193" y="490"/>
                  <a:pt x="6191" y="487"/>
                </a:cubicBezTo>
                <a:cubicBezTo>
                  <a:pt x="6189" y="484"/>
                  <a:pt x="6187" y="482"/>
                  <a:pt x="6186" y="482"/>
                </a:cubicBezTo>
                <a:cubicBezTo>
                  <a:pt x="6186" y="482"/>
                  <a:pt x="6185" y="483"/>
                  <a:pt x="6185" y="484"/>
                </a:cubicBezTo>
                <a:lnTo>
                  <a:pt x="6186" y="487"/>
                </a:lnTo>
                <a:cubicBezTo>
                  <a:pt x="6186" y="490"/>
                  <a:pt x="6184" y="490"/>
                  <a:pt x="6180" y="490"/>
                </a:cubicBezTo>
                <a:cubicBezTo>
                  <a:pt x="6176" y="490"/>
                  <a:pt x="6174" y="490"/>
                  <a:pt x="6174" y="489"/>
                </a:cubicBezTo>
                <a:cubicBezTo>
                  <a:pt x="6174" y="488"/>
                  <a:pt x="6173" y="488"/>
                  <a:pt x="6173" y="488"/>
                </a:cubicBezTo>
                <a:lnTo>
                  <a:pt x="6171" y="491"/>
                </a:lnTo>
                <a:cubicBezTo>
                  <a:pt x="6170" y="494"/>
                  <a:pt x="6168" y="496"/>
                  <a:pt x="6164" y="496"/>
                </a:cubicBezTo>
                <a:cubicBezTo>
                  <a:pt x="6159" y="496"/>
                  <a:pt x="6156" y="497"/>
                  <a:pt x="6155" y="499"/>
                </a:cubicBezTo>
                <a:cubicBezTo>
                  <a:pt x="6155" y="499"/>
                  <a:pt x="6154" y="499"/>
                  <a:pt x="6152" y="499"/>
                </a:cubicBezTo>
                <a:lnTo>
                  <a:pt x="6149" y="499"/>
                </a:lnTo>
                <a:cubicBezTo>
                  <a:pt x="6149" y="499"/>
                  <a:pt x="6148" y="499"/>
                  <a:pt x="6148" y="499"/>
                </a:cubicBezTo>
                <a:cubicBezTo>
                  <a:pt x="6147" y="499"/>
                  <a:pt x="6147" y="500"/>
                  <a:pt x="6147" y="500"/>
                </a:cubicBezTo>
                <a:cubicBezTo>
                  <a:pt x="6147" y="501"/>
                  <a:pt x="6147" y="502"/>
                  <a:pt x="6147" y="502"/>
                </a:cubicBezTo>
                <a:lnTo>
                  <a:pt x="6143" y="502"/>
                </a:lnTo>
                <a:cubicBezTo>
                  <a:pt x="6143" y="502"/>
                  <a:pt x="6142" y="502"/>
                  <a:pt x="6142" y="503"/>
                </a:cubicBezTo>
                <a:cubicBezTo>
                  <a:pt x="6142" y="504"/>
                  <a:pt x="6141" y="504"/>
                  <a:pt x="6140" y="504"/>
                </a:cubicBezTo>
                <a:lnTo>
                  <a:pt x="6138" y="504"/>
                </a:lnTo>
                <a:lnTo>
                  <a:pt x="6138" y="504"/>
                </a:lnTo>
                <a:cubicBezTo>
                  <a:pt x="6136" y="504"/>
                  <a:pt x="6135" y="504"/>
                  <a:pt x="6133" y="505"/>
                </a:cubicBezTo>
                <a:cubicBezTo>
                  <a:pt x="6132" y="507"/>
                  <a:pt x="6131" y="507"/>
                  <a:pt x="6130" y="508"/>
                </a:cubicBezTo>
                <a:cubicBezTo>
                  <a:pt x="6129" y="508"/>
                  <a:pt x="6128" y="509"/>
                  <a:pt x="6128" y="509"/>
                </a:cubicBezTo>
                <a:cubicBezTo>
                  <a:pt x="6127" y="509"/>
                  <a:pt x="6127" y="509"/>
                  <a:pt x="6127" y="511"/>
                </a:cubicBezTo>
                <a:lnTo>
                  <a:pt x="6127" y="512"/>
                </a:lnTo>
                <a:cubicBezTo>
                  <a:pt x="6128" y="515"/>
                  <a:pt x="6129" y="517"/>
                  <a:pt x="6129" y="517"/>
                </a:cubicBezTo>
                <a:cubicBezTo>
                  <a:pt x="6130" y="517"/>
                  <a:pt x="6130" y="516"/>
                  <a:pt x="6130" y="514"/>
                </a:cubicBezTo>
                <a:cubicBezTo>
                  <a:pt x="6130" y="513"/>
                  <a:pt x="6130" y="512"/>
                  <a:pt x="6130" y="511"/>
                </a:cubicBezTo>
                <a:lnTo>
                  <a:pt x="6131" y="511"/>
                </a:lnTo>
                <a:cubicBezTo>
                  <a:pt x="6132" y="511"/>
                  <a:pt x="6133" y="511"/>
                  <a:pt x="6133" y="513"/>
                </a:cubicBezTo>
                <a:cubicBezTo>
                  <a:pt x="6133" y="514"/>
                  <a:pt x="6133" y="514"/>
                  <a:pt x="6133" y="515"/>
                </a:cubicBezTo>
                <a:lnTo>
                  <a:pt x="6133" y="516"/>
                </a:lnTo>
                <a:cubicBezTo>
                  <a:pt x="6133" y="516"/>
                  <a:pt x="6134" y="516"/>
                  <a:pt x="6135" y="514"/>
                </a:cubicBezTo>
                <a:cubicBezTo>
                  <a:pt x="6137" y="513"/>
                  <a:pt x="6137" y="513"/>
                  <a:pt x="6138" y="513"/>
                </a:cubicBezTo>
                <a:cubicBezTo>
                  <a:pt x="6138" y="513"/>
                  <a:pt x="6138" y="513"/>
                  <a:pt x="6138" y="513"/>
                </a:cubicBezTo>
                <a:lnTo>
                  <a:pt x="6137" y="515"/>
                </a:lnTo>
                <a:cubicBezTo>
                  <a:pt x="6136" y="518"/>
                  <a:pt x="6135" y="519"/>
                  <a:pt x="6132" y="519"/>
                </a:cubicBezTo>
                <a:cubicBezTo>
                  <a:pt x="6129" y="519"/>
                  <a:pt x="6128" y="520"/>
                  <a:pt x="6128" y="521"/>
                </a:cubicBezTo>
                <a:lnTo>
                  <a:pt x="6128" y="522"/>
                </a:lnTo>
                <a:cubicBezTo>
                  <a:pt x="6128" y="523"/>
                  <a:pt x="6129" y="524"/>
                  <a:pt x="6131" y="524"/>
                </a:cubicBezTo>
                <a:cubicBezTo>
                  <a:pt x="6133" y="525"/>
                  <a:pt x="6134" y="527"/>
                  <a:pt x="6134" y="527"/>
                </a:cubicBezTo>
                <a:lnTo>
                  <a:pt x="6133" y="530"/>
                </a:lnTo>
                <a:cubicBezTo>
                  <a:pt x="6133" y="530"/>
                  <a:pt x="6133" y="530"/>
                  <a:pt x="6135" y="530"/>
                </a:cubicBezTo>
                <a:lnTo>
                  <a:pt x="6136" y="530"/>
                </a:lnTo>
                <a:cubicBezTo>
                  <a:pt x="6136" y="530"/>
                  <a:pt x="6137" y="531"/>
                  <a:pt x="6138" y="532"/>
                </a:cubicBezTo>
                <a:cubicBezTo>
                  <a:pt x="6138" y="534"/>
                  <a:pt x="6138" y="536"/>
                  <a:pt x="6139" y="536"/>
                </a:cubicBezTo>
                <a:lnTo>
                  <a:pt x="6140" y="537"/>
                </a:lnTo>
                <a:cubicBezTo>
                  <a:pt x="6140" y="537"/>
                  <a:pt x="6140" y="537"/>
                  <a:pt x="6140" y="536"/>
                </a:cubicBezTo>
                <a:cubicBezTo>
                  <a:pt x="6140" y="536"/>
                  <a:pt x="6139" y="535"/>
                  <a:pt x="6139" y="534"/>
                </a:cubicBezTo>
                <a:lnTo>
                  <a:pt x="6139" y="534"/>
                </a:lnTo>
                <a:cubicBezTo>
                  <a:pt x="6139" y="533"/>
                  <a:pt x="6140" y="533"/>
                  <a:pt x="6140" y="533"/>
                </a:cubicBezTo>
                <a:cubicBezTo>
                  <a:pt x="6142" y="533"/>
                  <a:pt x="6143" y="534"/>
                  <a:pt x="6144" y="537"/>
                </a:cubicBezTo>
                <a:cubicBezTo>
                  <a:pt x="6145" y="539"/>
                  <a:pt x="6148" y="544"/>
                  <a:pt x="6152" y="550"/>
                </a:cubicBezTo>
                <a:cubicBezTo>
                  <a:pt x="6175" y="573"/>
                  <a:pt x="6186" y="600"/>
                  <a:pt x="6186" y="628"/>
                </a:cubicBezTo>
                <a:cubicBezTo>
                  <a:pt x="6186" y="654"/>
                  <a:pt x="6176" y="683"/>
                  <a:pt x="6157" y="713"/>
                </a:cubicBezTo>
                <a:cubicBezTo>
                  <a:pt x="6138" y="742"/>
                  <a:pt x="6117" y="765"/>
                  <a:pt x="6095" y="781"/>
                </a:cubicBezTo>
                <a:cubicBezTo>
                  <a:pt x="6078" y="794"/>
                  <a:pt x="6063" y="800"/>
                  <a:pt x="6050" y="800"/>
                </a:cubicBezTo>
                <a:close/>
                <a:moveTo>
                  <a:pt x="6396" y="615"/>
                </a:moveTo>
                <a:cubicBezTo>
                  <a:pt x="6396" y="615"/>
                  <a:pt x="6397" y="614"/>
                  <a:pt x="6397" y="611"/>
                </a:cubicBezTo>
                <a:cubicBezTo>
                  <a:pt x="6397" y="608"/>
                  <a:pt x="6396" y="607"/>
                  <a:pt x="6396" y="607"/>
                </a:cubicBezTo>
                <a:cubicBezTo>
                  <a:pt x="6395" y="607"/>
                  <a:pt x="6395" y="609"/>
                  <a:pt x="6395" y="615"/>
                </a:cubicBezTo>
                <a:lnTo>
                  <a:pt x="6396" y="615"/>
                </a:lnTo>
                <a:close/>
                <a:moveTo>
                  <a:pt x="6274" y="752"/>
                </a:moveTo>
                <a:cubicBezTo>
                  <a:pt x="6276" y="752"/>
                  <a:pt x="6278" y="752"/>
                  <a:pt x="6279" y="751"/>
                </a:cubicBezTo>
                <a:cubicBezTo>
                  <a:pt x="6281" y="750"/>
                  <a:pt x="6282" y="750"/>
                  <a:pt x="6282" y="749"/>
                </a:cubicBezTo>
                <a:cubicBezTo>
                  <a:pt x="6282" y="749"/>
                  <a:pt x="6281" y="748"/>
                  <a:pt x="6278" y="748"/>
                </a:cubicBezTo>
                <a:cubicBezTo>
                  <a:pt x="6270" y="748"/>
                  <a:pt x="6266" y="749"/>
                  <a:pt x="6266" y="751"/>
                </a:cubicBezTo>
                <a:cubicBezTo>
                  <a:pt x="6266" y="752"/>
                  <a:pt x="6267" y="752"/>
                  <a:pt x="6270" y="752"/>
                </a:cubicBezTo>
                <a:lnTo>
                  <a:pt x="6274" y="752"/>
                </a:lnTo>
                <a:close/>
                <a:moveTo>
                  <a:pt x="6343" y="718"/>
                </a:moveTo>
                <a:cubicBezTo>
                  <a:pt x="6343" y="718"/>
                  <a:pt x="6344" y="718"/>
                  <a:pt x="6345" y="717"/>
                </a:cubicBezTo>
                <a:cubicBezTo>
                  <a:pt x="6346" y="716"/>
                  <a:pt x="6348" y="715"/>
                  <a:pt x="6350" y="713"/>
                </a:cubicBezTo>
                <a:cubicBezTo>
                  <a:pt x="6352" y="711"/>
                  <a:pt x="6355" y="709"/>
                  <a:pt x="6356" y="706"/>
                </a:cubicBezTo>
                <a:cubicBezTo>
                  <a:pt x="6359" y="703"/>
                  <a:pt x="6360" y="701"/>
                  <a:pt x="6360" y="701"/>
                </a:cubicBezTo>
                <a:cubicBezTo>
                  <a:pt x="6360" y="701"/>
                  <a:pt x="6357" y="703"/>
                  <a:pt x="6353" y="708"/>
                </a:cubicBezTo>
                <a:cubicBezTo>
                  <a:pt x="6346" y="713"/>
                  <a:pt x="6342" y="717"/>
                  <a:pt x="6342" y="718"/>
                </a:cubicBezTo>
                <a:cubicBezTo>
                  <a:pt x="6342" y="718"/>
                  <a:pt x="6342" y="718"/>
                  <a:pt x="6343" y="718"/>
                </a:cubicBezTo>
                <a:close/>
                <a:moveTo>
                  <a:pt x="6365" y="699"/>
                </a:moveTo>
                <a:cubicBezTo>
                  <a:pt x="6365" y="699"/>
                  <a:pt x="6367" y="698"/>
                  <a:pt x="6369" y="696"/>
                </a:cubicBezTo>
                <a:cubicBezTo>
                  <a:pt x="6371" y="693"/>
                  <a:pt x="6372" y="691"/>
                  <a:pt x="6372" y="690"/>
                </a:cubicBezTo>
                <a:cubicBezTo>
                  <a:pt x="6371" y="690"/>
                  <a:pt x="6370" y="691"/>
                  <a:pt x="6368" y="694"/>
                </a:cubicBezTo>
                <a:cubicBezTo>
                  <a:pt x="6366" y="696"/>
                  <a:pt x="6365" y="698"/>
                  <a:pt x="6365" y="699"/>
                </a:cubicBezTo>
                <a:close/>
                <a:moveTo>
                  <a:pt x="6378" y="681"/>
                </a:moveTo>
                <a:lnTo>
                  <a:pt x="6382" y="677"/>
                </a:lnTo>
                <a:cubicBezTo>
                  <a:pt x="6384" y="674"/>
                  <a:pt x="6386" y="672"/>
                  <a:pt x="6386" y="671"/>
                </a:cubicBezTo>
                <a:lnTo>
                  <a:pt x="6386" y="671"/>
                </a:lnTo>
                <a:lnTo>
                  <a:pt x="6385" y="671"/>
                </a:lnTo>
                <a:cubicBezTo>
                  <a:pt x="6384" y="671"/>
                  <a:pt x="6383" y="672"/>
                  <a:pt x="6381" y="675"/>
                </a:cubicBezTo>
                <a:cubicBezTo>
                  <a:pt x="6379" y="679"/>
                  <a:pt x="6378" y="680"/>
                  <a:pt x="6378" y="681"/>
                </a:cubicBezTo>
                <a:close/>
                <a:moveTo>
                  <a:pt x="6382" y="612"/>
                </a:moveTo>
                <a:cubicBezTo>
                  <a:pt x="6383" y="612"/>
                  <a:pt x="6383" y="611"/>
                  <a:pt x="6384" y="610"/>
                </a:cubicBezTo>
                <a:cubicBezTo>
                  <a:pt x="6385" y="609"/>
                  <a:pt x="6385" y="608"/>
                  <a:pt x="6385" y="608"/>
                </a:cubicBezTo>
                <a:cubicBezTo>
                  <a:pt x="6385" y="606"/>
                  <a:pt x="6384" y="606"/>
                  <a:pt x="6383" y="606"/>
                </a:cubicBezTo>
                <a:cubicBezTo>
                  <a:pt x="6382" y="606"/>
                  <a:pt x="6381" y="607"/>
                  <a:pt x="6381" y="608"/>
                </a:cubicBezTo>
                <a:cubicBezTo>
                  <a:pt x="6381" y="611"/>
                  <a:pt x="6381" y="612"/>
                  <a:pt x="6382" y="612"/>
                </a:cubicBezTo>
                <a:close/>
                <a:moveTo>
                  <a:pt x="6380" y="517"/>
                </a:moveTo>
                <a:cubicBezTo>
                  <a:pt x="6381" y="517"/>
                  <a:pt x="6383" y="516"/>
                  <a:pt x="6387" y="514"/>
                </a:cubicBezTo>
                <a:cubicBezTo>
                  <a:pt x="6392" y="510"/>
                  <a:pt x="6396" y="507"/>
                  <a:pt x="6397" y="506"/>
                </a:cubicBezTo>
                <a:cubicBezTo>
                  <a:pt x="6396" y="506"/>
                  <a:pt x="6396" y="506"/>
                  <a:pt x="6394" y="507"/>
                </a:cubicBezTo>
                <a:cubicBezTo>
                  <a:pt x="6393" y="507"/>
                  <a:pt x="6391" y="508"/>
                  <a:pt x="6388" y="510"/>
                </a:cubicBezTo>
                <a:cubicBezTo>
                  <a:pt x="6386" y="511"/>
                  <a:pt x="6384" y="513"/>
                  <a:pt x="6382" y="514"/>
                </a:cubicBezTo>
                <a:cubicBezTo>
                  <a:pt x="6380" y="516"/>
                  <a:pt x="6379" y="517"/>
                  <a:pt x="6379" y="517"/>
                </a:cubicBezTo>
                <a:lnTo>
                  <a:pt x="6380" y="517"/>
                </a:lnTo>
                <a:close/>
                <a:moveTo>
                  <a:pt x="6376" y="634"/>
                </a:moveTo>
                <a:cubicBezTo>
                  <a:pt x="6376" y="634"/>
                  <a:pt x="6377" y="633"/>
                  <a:pt x="6378" y="629"/>
                </a:cubicBezTo>
                <a:cubicBezTo>
                  <a:pt x="6380" y="623"/>
                  <a:pt x="6381" y="619"/>
                  <a:pt x="6381" y="617"/>
                </a:cubicBezTo>
                <a:lnTo>
                  <a:pt x="6381" y="616"/>
                </a:lnTo>
                <a:cubicBezTo>
                  <a:pt x="6381" y="616"/>
                  <a:pt x="6380" y="619"/>
                  <a:pt x="6378" y="623"/>
                </a:cubicBezTo>
                <a:cubicBezTo>
                  <a:pt x="6376" y="630"/>
                  <a:pt x="6375" y="633"/>
                  <a:pt x="6375" y="634"/>
                </a:cubicBezTo>
                <a:lnTo>
                  <a:pt x="6376" y="634"/>
                </a:lnTo>
                <a:close/>
                <a:moveTo>
                  <a:pt x="6366" y="665"/>
                </a:moveTo>
                <a:cubicBezTo>
                  <a:pt x="6367" y="665"/>
                  <a:pt x="6368" y="664"/>
                  <a:pt x="6368" y="663"/>
                </a:cubicBezTo>
                <a:cubicBezTo>
                  <a:pt x="6369" y="662"/>
                  <a:pt x="6370" y="661"/>
                  <a:pt x="6370" y="661"/>
                </a:cubicBezTo>
                <a:cubicBezTo>
                  <a:pt x="6370" y="658"/>
                  <a:pt x="6371" y="655"/>
                  <a:pt x="6373" y="653"/>
                </a:cubicBezTo>
                <a:cubicBezTo>
                  <a:pt x="6375" y="648"/>
                  <a:pt x="6378" y="645"/>
                  <a:pt x="6380" y="645"/>
                </a:cubicBezTo>
                <a:cubicBezTo>
                  <a:pt x="6381" y="645"/>
                  <a:pt x="6381" y="645"/>
                  <a:pt x="6382" y="646"/>
                </a:cubicBezTo>
                <a:cubicBezTo>
                  <a:pt x="6383" y="646"/>
                  <a:pt x="6383" y="646"/>
                  <a:pt x="6384" y="646"/>
                </a:cubicBezTo>
                <a:cubicBezTo>
                  <a:pt x="6384" y="646"/>
                  <a:pt x="6383" y="645"/>
                  <a:pt x="6382" y="644"/>
                </a:cubicBezTo>
                <a:cubicBezTo>
                  <a:pt x="6381" y="642"/>
                  <a:pt x="6381" y="641"/>
                  <a:pt x="6381" y="639"/>
                </a:cubicBezTo>
                <a:lnTo>
                  <a:pt x="6381" y="637"/>
                </a:lnTo>
                <a:cubicBezTo>
                  <a:pt x="6381" y="637"/>
                  <a:pt x="6381" y="637"/>
                  <a:pt x="6380" y="637"/>
                </a:cubicBezTo>
                <a:cubicBezTo>
                  <a:pt x="6378" y="637"/>
                  <a:pt x="6377" y="638"/>
                  <a:pt x="6377" y="641"/>
                </a:cubicBezTo>
                <a:cubicBezTo>
                  <a:pt x="6377" y="643"/>
                  <a:pt x="6376" y="644"/>
                  <a:pt x="6375" y="644"/>
                </a:cubicBezTo>
                <a:cubicBezTo>
                  <a:pt x="6374" y="645"/>
                  <a:pt x="6372" y="645"/>
                  <a:pt x="6371" y="645"/>
                </a:cubicBezTo>
                <a:cubicBezTo>
                  <a:pt x="6370" y="646"/>
                  <a:pt x="6369" y="646"/>
                  <a:pt x="6368" y="646"/>
                </a:cubicBezTo>
                <a:lnTo>
                  <a:pt x="6367" y="646"/>
                </a:lnTo>
                <a:cubicBezTo>
                  <a:pt x="6367" y="647"/>
                  <a:pt x="6368" y="648"/>
                  <a:pt x="6369" y="650"/>
                </a:cubicBezTo>
                <a:cubicBezTo>
                  <a:pt x="6370" y="651"/>
                  <a:pt x="6370" y="652"/>
                  <a:pt x="6370" y="653"/>
                </a:cubicBezTo>
                <a:cubicBezTo>
                  <a:pt x="6370" y="653"/>
                  <a:pt x="6370" y="653"/>
                  <a:pt x="6369" y="653"/>
                </a:cubicBezTo>
                <a:cubicBezTo>
                  <a:pt x="6368" y="653"/>
                  <a:pt x="6367" y="654"/>
                  <a:pt x="6366" y="654"/>
                </a:cubicBezTo>
                <a:lnTo>
                  <a:pt x="6365" y="662"/>
                </a:lnTo>
                <a:cubicBezTo>
                  <a:pt x="6365" y="664"/>
                  <a:pt x="6365" y="665"/>
                  <a:pt x="6366" y="665"/>
                </a:cubicBezTo>
                <a:close/>
                <a:moveTo>
                  <a:pt x="6346" y="658"/>
                </a:moveTo>
                <a:cubicBezTo>
                  <a:pt x="6348" y="658"/>
                  <a:pt x="6349" y="657"/>
                  <a:pt x="6349" y="656"/>
                </a:cubicBezTo>
                <a:cubicBezTo>
                  <a:pt x="6349" y="654"/>
                  <a:pt x="6348" y="653"/>
                  <a:pt x="6348" y="653"/>
                </a:cubicBezTo>
                <a:cubicBezTo>
                  <a:pt x="6347" y="653"/>
                  <a:pt x="6346" y="654"/>
                  <a:pt x="6346" y="655"/>
                </a:cubicBezTo>
                <a:cubicBezTo>
                  <a:pt x="6345" y="656"/>
                  <a:pt x="6345" y="657"/>
                  <a:pt x="6345" y="657"/>
                </a:cubicBezTo>
                <a:cubicBezTo>
                  <a:pt x="6345" y="658"/>
                  <a:pt x="6346" y="658"/>
                  <a:pt x="6346" y="658"/>
                </a:cubicBezTo>
                <a:close/>
                <a:moveTo>
                  <a:pt x="6299" y="719"/>
                </a:moveTo>
                <a:cubicBezTo>
                  <a:pt x="6301" y="718"/>
                  <a:pt x="6302" y="717"/>
                  <a:pt x="6302" y="715"/>
                </a:cubicBezTo>
                <a:cubicBezTo>
                  <a:pt x="6302" y="715"/>
                  <a:pt x="6301" y="714"/>
                  <a:pt x="6301" y="713"/>
                </a:cubicBezTo>
                <a:cubicBezTo>
                  <a:pt x="6301" y="713"/>
                  <a:pt x="6300" y="712"/>
                  <a:pt x="6299" y="712"/>
                </a:cubicBezTo>
                <a:cubicBezTo>
                  <a:pt x="6298" y="712"/>
                  <a:pt x="6297" y="714"/>
                  <a:pt x="6297" y="717"/>
                </a:cubicBezTo>
                <a:cubicBezTo>
                  <a:pt x="6297" y="718"/>
                  <a:pt x="6298" y="719"/>
                  <a:pt x="6298" y="719"/>
                </a:cubicBezTo>
                <a:lnTo>
                  <a:pt x="6299" y="719"/>
                </a:lnTo>
                <a:close/>
                <a:moveTo>
                  <a:pt x="6291" y="720"/>
                </a:moveTo>
                <a:cubicBezTo>
                  <a:pt x="6291" y="720"/>
                  <a:pt x="6292" y="720"/>
                  <a:pt x="6293" y="719"/>
                </a:cubicBezTo>
                <a:cubicBezTo>
                  <a:pt x="6293" y="718"/>
                  <a:pt x="6293" y="717"/>
                  <a:pt x="6293" y="716"/>
                </a:cubicBezTo>
                <a:cubicBezTo>
                  <a:pt x="6293" y="715"/>
                  <a:pt x="6292" y="714"/>
                  <a:pt x="6291" y="714"/>
                </a:cubicBezTo>
                <a:cubicBezTo>
                  <a:pt x="6291" y="714"/>
                  <a:pt x="6290" y="715"/>
                  <a:pt x="6290" y="717"/>
                </a:cubicBezTo>
                <a:cubicBezTo>
                  <a:pt x="6290" y="719"/>
                  <a:pt x="6291" y="720"/>
                  <a:pt x="6291" y="720"/>
                </a:cubicBezTo>
                <a:close/>
                <a:moveTo>
                  <a:pt x="6286" y="727"/>
                </a:moveTo>
                <a:cubicBezTo>
                  <a:pt x="6286" y="727"/>
                  <a:pt x="6287" y="726"/>
                  <a:pt x="6289" y="725"/>
                </a:cubicBezTo>
                <a:cubicBezTo>
                  <a:pt x="6290" y="725"/>
                  <a:pt x="6291" y="724"/>
                  <a:pt x="6291" y="723"/>
                </a:cubicBezTo>
                <a:lnTo>
                  <a:pt x="6290" y="723"/>
                </a:lnTo>
                <a:cubicBezTo>
                  <a:pt x="6289" y="723"/>
                  <a:pt x="6288" y="723"/>
                  <a:pt x="6287" y="724"/>
                </a:cubicBezTo>
                <a:cubicBezTo>
                  <a:pt x="6286" y="725"/>
                  <a:pt x="6286" y="726"/>
                  <a:pt x="6286" y="727"/>
                </a:cubicBezTo>
                <a:close/>
                <a:moveTo>
                  <a:pt x="6274" y="730"/>
                </a:moveTo>
                <a:cubicBezTo>
                  <a:pt x="6275" y="730"/>
                  <a:pt x="6276" y="729"/>
                  <a:pt x="6276" y="728"/>
                </a:cubicBezTo>
                <a:cubicBezTo>
                  <a:pt x="6277" y="728"/>
                  <a:pt x="6278" y="727"/>
                  <a:pt x="6278" y="726"/>
                </a:cubicBezTo>
                <a:lnTo>
                  <a:pt x="6278" y="726"/>
                </a:lnTo>
                <a:cubicBezTo>
                  <a:pt x="6277" y="726"/>
                  <a:pt x="6276" y="726"/>
                  <a:pt x="6275" y="727"/>
                </a:cubicBezTo>
                <a:cubicBezTo>
                  <a:pt x="6273" y="727"/>
                  <a:pt x="6273" y="728"/>
                  <a:pt x="6273" y="728"/>
                </a:cubicBezTo>
                <a:cubicBezTo>
                  <a:pt x="6272" y="728"/>
                  <a:pt x="6272" y="729"/>
                  <a:pt x="6272" y="729"/>
                </a:cubicBezTo>
                <a:cubicBezTo>
                  <a:pt x="6272" y="729"/>
                  <a:pt x="6273" y="730"/>
                  <a:pt x="6274" y="730"/>
                </a:cubicBezTo>
                <a:close/>
                <a:moveTo>
                  <a:pt x="6271" y="745"/>
                </a:moveTo>
                <a:cubicBezTo>
                  <a:pt x="6277" y="745"/>
                  <a:pt x="6283" y="743"/>
                  <a:pt x="6288" y="740"/>
                </a:cubicBezTo>
                <a:cubicBezTo>
                  <a:pt x="6290" y="738"/>
                  <a:pt x="6292" y="737"/>
                  <a:pt x="6293" y="737"/>
                </a:cubicBezTo>
                <a:lnTo>
                  <a:pt x="6295" y="739"/>
                </a:lnTo>
                <a:cubicBezTo>
                  <a:pt x="6296" y="739"/>
                  <a:pt x="6296" y="738"/>
                  <a:pt x="6296" y="736"/>
                </a:cubicBezTo>
                <a:cubicBezTo>
                  <a:pt x="6296" y="735"/>
                  <a:pt x="6297" y="734"/>
                  <a:pt x="6299" y="734"/>
                </a:cubicBezTo>
                <a:cubicBezTo>
                  <a:pt x="6300" y="734"/>
                  <a:pt x="6305" y="731"/>
                  <a:pt x="6313" y="726"/>
                </a:cubicBezTo>
                <a:cubicBezTo>
                  <a:pt x="6321" y="720"/>
                  <a:pt x="6330" y="714"/>
                  <a:pt x="6339" y="706"/>
                </a:cubicBezTo>
                <a:cubicBezTo>
                  <a:pt x="6348" y="699"/>
                  <a:pt x="6355" y="693"/>
                  <a:pt x="6360" y="688"/>
                </a:cubicBezTo>
                <a:cubicBezTo>
                  <a:pt x="6369" y="679"/>
                  <a:pt x="6377" y="668"/>
                  <a:pt x="6383" y="657"/>
                </a:cubicBezTo>
                <a:cubicBezTo>
                  <a:pt x="6389" y="648"/>
                  <a:pt x="6392" y="640"/>
                  <a:pt x="6392" y="636"/>
                </a:cubicBezTo>
                <a:lnTo>
                  <a:pt x="6392" y="632"/>
                </a:lnTo>
                <a:cubicBezTo>
                  <a:pt x="6392" y="631"/>
                  <a:pt x="6392" y="630"/>
                  <a:pt x="6393" y="630"/>
                </a:cubicBezTo>
                <a:cubicBezTo>
                  <a:pt x="6394" y="630"/>
                  <a:pt x="6394" y="628"/>
                  <a:pt x="6394" y="625"/>
                </a:cubicBezTo>
                <a:cubicBezTo>
                  <a:pt x="6393" y="621"/>
                  <a:pt x="6393" y="619"/>
                  <a:pt x="6392" y="619"/>
                </a:cubicBezTo>
                <a:cubicBezTo>
                  <a:pt x="6391" y="619"/>
                  <a:pt x="6391" y="619"/>
                  <a:pt x="6391" y="620"/>
                </a:cubicBezTo>
                <a:lnTo>
                  <a:pt x="6392" y="625"/>
                </a:lnTo>
                <a:cubicBezTo>
                  <a:pt x="6391" y="625"/>
                  <a:pt x="6391" y="625"/>
                  <a:pt x="6390" y="625"/>
                </a:cubicBezTo>
                <a:cubicBezTo>
                  <a:pt x="6389" y="625"/>
                  <a:pt x="6389" y="626"/>
                  <a:pt x="6388" y="627"/>
                </a:cubicBezTo>
                <a:lnTo>
                  <a:pt x="6388" y="630"/>
                </a:lnTo>
                <a:lnTo>
                  <a:pt x="6389" y="632"/>
                </a:lnTo>
                <a:cubicBezTo>
                  <a:pt x="6389" y="634"/>
                  <a:pt x="6388" y="635"/>
                  <a:pt x="6387" y="635"/>
                </a:cubicBezTo>
                <a:cubicBezTo>
                  <a:pt x="6385" y="636"/>
                  <a:pt x="6384" y="638"/>
                  <a:pt x="6384" y="640"/>
                </a:cubicBezTo>
                <a:lnTo>
                  <a:pt x="6385" y="644"/>
                </a:lnTo>
                <a:cubicBezTo>
                  <a:pt x="6385" y="649"/>
                  <a:pt x="6384" y="652"/>
                  <a:pt x="6383" y="654"/>
                </a:cubicBezTo>
                <a:cubicBezTo>
                  <a:pt x="6381" y="656"/>
                  <a:pt x="6380" y="658"/>
                  <a:pt x="6380" y="658"/>
                </a:cubicBezTo>
                <a:lnTo>
                  <a:pt x="6380" y="657"/>
                </a:lnTo>
                <a:lnTo>
                  <a:pt x="6383" y="650"/>
                </a:lnTo>
                <a:cubicBezTo>
                  <a:pt x="6383" y="649"/>
                  <a:pt x="6383" y="649"/>
                  <a:pt x="6382" y="649"/>
                </a:cubicBezTo>
                <a:cubicBezTo>
                  <a:pt x="6380" y="649"/>
                  <a:pt x="6378" y="650"/>
                  <a:pt x="6377" y="652"/>
                </a:cubicBezTo>
                <a:cubicBezTo>
                  <a:pt x="6375" y="654"/>
                  <a:pt x="6375" y="657"/>
                  <a:pt x="6374" y="660"/>
                </a:cubicBezTo>
                <a:cubicBezTo>
                  <a:pt x="6374" y="661"/>
                  <a:pt x="6374" y="662"/>
                  <a:pt x="6374" y="662"/>
                </a:cubicBezTo>
                <a:cubicBezTo>
                  <a:pt x="6374" y="662"/>
                  <a:pt x="6373" y="663"/>
                  <a:pt x="6373" y="663"/>
                </a:cubicBezTo>
                <a:cubicBezTo>
                  <a:pt x="6371" y="663"/>
                  <a:pt x="6367" y="666"/>
                  <a:pt x="6363" y="673"/>
                </a:cubicBezTo>
                <a:cubicBezTo>
                  <a:pt x="6355" y="681"/>
                  <a:pt x="6345" y="691"/>
                  <a:pt x="6331" y="702"/>
                </a:cubicBezTo>
                <a:cubicBezTo>
                  <a:pt x="6325" y="706"/>
                  <a:pt x="6321" y="709"/>
                  <a:pt x="6320" y="709"/>
                </a:cubicBezTo>
                <a:cubicBezTo>
                  <a:pt x="6318" y="709"/>
                  <a:pt x="6316" y="710"/>
                  <a:pt x="6313" y="713"/>
                </a:cubicBezTo>
                <a:cubicBezTo>
                  <a:pt x="6311" y="715"/>
                  <a:pt x="6309" y="716"/>
                  <a:pt x="6308" y="716"/>
                </a:cubicBezTo>
                <a:lnTo>
                  <a:pt x="6307" y="716"/>
                </a:lnTo>
                <a:lnTo>
                  <a:pt x="6307" y="716"/>
                </a:lnTo>
                <a:cubicBezTo>
                  <a:pt x="6307" y="714"/>
                  <a:pt x="6308" y="713"/>
                  <a:pt x="6311" y="711"/>
                </a:cubicBezTo>
                <a:cubicBezTo>
                  <a:pt x="6316" y="709"/>
                  <a:pt x="6319" y="706"/>
                  <a:pt x="6321" y="703"/>
                </a:cubicBezTo>
                <a:lnTo>
                  <a:pt x="6324" y="701"/>
                </a:lnTo>
                <a:cubicBezTo>
                  <a:pt x="6324" y="701"/>
                  <a:pt x="6325" y="701"/>
                  <a:pt x="6325" y="701"/>
                </a:cubicBezTo>
                <a:cubicBezTo>
                  <a:pt x="6325" y="701"/>
                  <a:pt x="6326" y="701"/>
                  <a:pt x="6327" y="700"/>
                </a:cubicBezTo>
                <a:cubicBezTo>
                  <a:pt x="6328" y="699"/>
                  <a:pt x="6329" y="698"/>
                  <a:pt x="6331" y="696"/>
                </a:cubicBezTo>
                <a:cubicBezTo>
                  <a:pt x="6333" y="694"/>
                  <a:pt x="6334" y="692"/>
                  <a:pt x="6335" y="691"/>
                </a:cubicBezTo>
                <a:lnTo>
                  <a:pt x="6337" y="688"/>
                </a:lnTo>
                <a:cubicBezTo>
                  <a:pt x="6337" y="686"/>
                  <a:pt x="6338" y="684"/>
                  <a:pt x="6340" y="682"/>
                </a:cubicBezTo>
                <a:cubicBezTo>
                  <a:pt x="6343" y="680"/>
                  <a:pt x="6344" y="679"/>
                  <a:pt x="6345" y="679"/>
                </a:cubicBezTo>
                <a:cubicBezTo>
                  <a:pt x="6345" y="679"/>
                  <a:pt x="6344" y="680"/>
                  <a:pt x="6342" y="682"/>
                </a:cubicBezTo>
                <a:cubicBezTo>
                  <a:pt x="6340" y="684"/>
                  <a:pt x="6339" y="686"/>
                  <a:pt x="6339" y="688"/>
                </a:cubicBezTo>
                <a:cubicBezTo>
                  <a:pt x="6339" y="688"/>
                  <a:pt x="6340" y="689"/>
                  <a:pt x="6341" y="689"/>
                </a:cubicBezTo>
                <a:cubicBezTo>
                  <a:pt x="6342" y="689"/>
                  <a:pt x="6343" y="688"/>
                  <a:pt x="6343" y="688"/>
                </a:cubicBezTo>
                <a:cubicBezTo>
                  <a:pt x="6344" y="687"/>
                  <a:pt x="6345" y="686"/>
                  <a:pt x="6345" y="684"/>
                </a:cubicBezTo>
                <a:cubicBezTo>
                  <a:pt x="6346" y="683"/>
                  <a:pt x="6346" y="682"/>
                  <a:pt x="6346" y="681"/>
                </a:cubicBezTo>
                <a:lnTo>
                  <a:pt x="6345" y="677"/>
                </a:lnTo>
                <a:cubicBezTo>
                  <a:pt x="6345" y="677"/>
                  <a:pt x="6345" y="677"/>
                  <a:pt x="6346" y="677"/>
                </a:cubicBezTo>
                <a:lnTo>
                  <a:pt x="6349" y="677"/>
                </a:lnTo>
                <a:cubicBezTo>
                  <a:pt x="6350" y="677"/>
                  <a:pt x="6350" y="676"/>
                  <a:pt x="6352" y="674"/>
                </a:cubicBezTo>
                <a:lnTo>
                  <a:pt x="6355" y="672"/>
                </a:lnTo>
                <a:cubicBezTo>
                  <a:pt x="6355" y="672"/>
                  <a:pt x="6354" y="674"/>
                  <a:pt x="6352" y="676"/>
                </a:cubicBezTo>
                <a:cubicBezTo>
                  <a:pt x="6350" y="679"/>
                  <a:pt x="6349" y="681"/>
                  <a:pt x="6349" y="683"/>
                </a:cubicBezTo>
                <a:cubicBezTo>
                  <a:pt x="6350" y="683"/>
                  <a:pt x="6352" y="680"/>
                  <a:pt x="6355" y="675"/>
                </a:cubicBezTo>
                <a:cubicBezTo>
                  <a:pt x="6357" y="673"/>
                  <a:pt x="6358" y="671"/>
                  <a:pt x="6359" y="670"/>
                </a:cubicBezTo>
                <a:lnTo>
                  <a:pt x="6363" y="668"/>
                </a:lnTo>
                <a:cubicBezTo>
                  <a:pt x="6363" y="668"/>
                  <a:pt x="6364" y="668"/>
                  <a:pt x="6364" y="667"/>
                </a:cubicBezTo>
                <a:cubicBezTo>
                  <a:pt x="6364" y="666"/>
                  <a:pt x="6363" y="665"/>
                  <a:pt x="6362" y="665"/>
                </a:cubicBezTo>
                <a:lnTo>
                  <a:pt x="6355" y="666"/>
                </a:lnTo>
                <a:cubicBezTo>
                  <a:pt x="6355" y="666"/>
                  <a:pt x="6356" y="665"/>
                  <a:pt x="6357" y="664"/>
                </a:cubicBezTo>
                <a:cubicBezTo>
                  <a:pt x="6359" y="663"/>
                  <a:pt x="6360" y="662"/>
                  <a:pt x="6361" y="661"/>
                </a:cubicBezTo>
                <a:cubicBezTo>
                  <a:pt x="6362" y="659"/>
                  <a:pt x="6363" y="658"/>
                  <a:pt x="6363" y="657"/>
                </a:cubicBezTo>
                <a:cubicBezTo>
                  <a:pt x="6364" y="656"/>
                  <a:pt x="6364" y="656"/>
                  <a:pt x="6365" y="655"/>
                </a:cubicBezTo>
                <a:cubicBezTo>
                  <a:pt x="6359" y="660"/>
                  <a:pt x="6351" y="668"/>
                  <a:pt x="6340" y="679"/>
                </a:cubicBezTo>
                <a:cubicBezTo>
                  <a:pt x="6324" y="696"/>
                  <a:pt x="6315" y="705"/>
                  <a:pt x="6312" y="705"/>
                </a:cubicBezTo>
                <a:cubicBezTo>
                  <a:pt x="6311" y="705"/>
                  <a:pt x="6310" y="706"/>
                  <a:pt x="6309" y="708"/>
                </a:cubicBezTo>
                <a:cubicBezTo>
                  <a:pt x="6308" y="709"/>
                  <a:pt x="6307" y="711"/>
                  <a:pt x="6306" y="713"/>
                </a:cubicBezTo>
                <a:cubicBezTo>
                  <a:pt x="6304" y="719"/>
                  <a:pt x="6302" y="722"/>
                  <a:pt x="6300" y="722"/>
                </a:cubicBezTo>
                <a:cubicBezTo>
                  <a:pt x="6298" y="723"/>
                  <a:pt x="6296" y="724"/>
                  <a:pt x="6296" y="725"/>
                </a:cubicBezTo>
                <a:cubicBezTo>
                  <a:pt x="6296" y="725"/>
                  <a:pt x="6294" y="727"/>
                  <a:pt x="6290" y="728"/>
                </a:cubicBezTo>
                <a:cubicBezTo>
                  <a:pt x="6288" y="729"/>
                  <a:pt x="6286" y="729"/>
                  <a:pt x="6285" y="730"/>
                </a:cubicBezTo>
                <a:cubicBezTo>
                  <a:pt x="6284" y="731"/>
                  <a:pt x="6283" y="731"/>
                  <a:pt x="6283" y="731"/>
                </a:cubicBezTo>
                <a:cubicBezTo>
                  <a:pt x="6283" y="732"/>
                  <a:pt x="6282" y="732"/>
                  <a:pt x="6280" y="734"/>
                </a:cubicBezTo>
                <a:cubicBezTo>
                  <a:pt x="6278" y="735"/>
                  <a:pt x="6275" y="736"/>
                  <a:pt x="6272" y="737"/>
                </a:cubicBezTo>
                <a:cubicBezTo>
                  <a:pt x="6266" y="740"/>
                  <a:pt x="6263" y="741"/>
                  <a:pt x="6263" y="742"/>
                </a:cubicBezTo>
                <a:cubicBezTo>
                  <a:pt x="6263" y="744"/>
                  <a:pt x="6266" y="745"/>
                  <a:pt x="6271" y="745"/>
                </a:cubicBezTo>
                <a:close/>
                <a:moveTo>
                  <a:pt x="6201" y="482"/>
                </a:moveTo>
                <a:cubicBezTo>
                  <a:pt x="6201" y="482"/>
                  <a:pt x="6202" y="482"/>
                  <a:pt x="6202" y="481"/>
                </a:cubicBezTo>
                <a:cubicBezTo>
                  <a:pt x="6203" y="480"/>
                  <a:pt x="6204" y="480"/>
                  <a:pt x="6204" y="479"/>
                </a:cubicBezTo>
                <a:cubicBezTo>
                  <a:pt x="6204" y="478"/>
                  <a:pt x="6203" y="478"/>
                  <a:pt x="6202" y="478"/>
                </a:cubicBezTo>
                <a:cubicBezTo>
                  <a:pt x="6201" y="478"/>
                  <a:pt x="6200" y="478"/>
                  <a:pt x="6200" y="480"/>
                </a:cubicBezTo>
                <a:cubicBezTo>
                  <a:pt x="6200" y="482"/>
                  <a:pt x="6200" y="482"/>
                  <a:pt x="6201" y="482"/>
                </a:cubicBezTo>
                <a:close/>
                <a:moveTo>
                  <a:pt x="6232" y="484"/>
                </a:moveTo>
                <a:cubicBezTo>
                  <a:pt x="6235" y="484"/>
                  <a:pt x="6238" y="483"/>
                  <a:pt x="6241" y="482"/>
                </a:cubicBezTo>
                <a:cubicBezTo>
                  <a:pt x="6242" y="482"/>
                  <a:pt x="6242" y="481"/>
                  <a:pt x="6242" y="481"/>
                </a:cubicBezTo>
                <a:cubicBezTo>
                  <a:pt x="6242" y="480"/>
                  <a:pt x="6242" y="480"/>
                  <a:pt x="6241" y="480"/>
                </a:cubicBezTo>
                <a:lnTo>
                  <a:pt x="6237" y="481"/>
                </a:lnTo>
                <a:cubicBezTo>
                  <a:pt x="6231" y="481"/>
                  <a:pt x="6228" y="480"/>
                  <a:pt x="6228" y="479"/>
                </a:cubicBezTo>
                <a:cubicBezTo>
                  <a:pt x="6228" y="478"/>
                  <a:pt x="6227" y="478"/>
                  <a:pt x="6225" y="478"/>
                </a:cubicBezTo>
                <a:cubicBezTo>
                  <a:pt x="6223" y="478"/>
                  <a:pt x="6222" y="478"/>
                  <a:pt x="6222" y="480"/>
                </a:cubicBezTo>
                <a:cubicBezTo>
                  <a:pt x="6222" y="481"/>
                  <a:pt x="6223" y="482"/>
                  <a:pt x="6225" y="483"/>
                </a:cubicBezTo>
                <a:cubicBezTo>
                  <a:pt x="6227" y="484"/>
                  <a:pt x="6229" y="484"/>
                  <a:pt x="6231" y="484"/>
                </a:cubicBezTo>
                <a:lnTo>
                  <a:pt x="6232" y="484"/>
                </a:lnTo>
                <a:close/>
                <a:moveTo>
                  <a:pt x="6231" y="479"/>
                </a:moveTo>
                <a:cubicBezTo>
                  <a:pt x="6232" y="479"/>
                  <a:pt x="6233" y="478"/>
                  <a:pt x="6234" y="478"/>
                </a:cubicBezTo>
                <a:cubicBezTo>
                  <a:pt x="6235" y="478"/>
                  <a:pt x="6236" y="478"/>
                  <a:pt x="6236" y="477"/>
                </a:cubicBezTo>
                <a:cubicBezTo>
                  <a:pt x="6237" y="477"/>
                  <a:pt x="6237" y="477"/>
                  <a:pt x="6237" y="476"/>
                </a:cubicBezTo>
                <a:cubicBezTo>
                  <a:pt x="6237" y="475"/>
                  <a:pt x="6236" y="475"/>
                  <a:pt x="6234" y="475"/>
                </a:cubicBezTo>
                <a:cubicBezTo>
                  <a:pt x="6232" y="475"/>
                  <a:pt x="6231" y="476"/>
                  <a:pt x="6231" y="478"/>
                </a:cubicBezTo>
                <a:cubicBezTo>
                  <a:pt x="6231" y="478"/>
                  <a:pt x="6231" y="478"/>
                  <a:pt x="6231" y="479"/>
                </a:cubicBezTo>
                <a:close/>
                <a:moveTo>
                  <a:pt x="6291" y="492"/>
                </a:moveTo>
                <a:lnTo>
                  <a:pt x="6293" y="486"/>
                </a:lnTo>
                <a:lnTo>
                  <a:pt x="6293" y="485"/>
                </a:lnTo>
                <a:cubicBezTo>
                  <a:pt x="6293" y="485"/>
                  <a:pt x="6292" y="485"/>
                  <a:pt x="6292" y="486"/>
                </a:cubicBezTo>
                <a:cubicBezTo>
                  <a:pt x="6291" y="486"/>
                  <a:pt x="6291" y="487"/>
                  <a:pt x="6290" y="487"/>
                </a:cubicBezTo>
                <a:cubicBezTo>
                  <a:pt x="6290" y="488"/>
                  <a:pt x="6289" y="489"/>
                  <a:pt x="6289" y="490"/>
                </a:cubicBezTo>
                <a:cubicBezTo>
                  <a:pt x="6289" y="491"/>
                  <a:pt x="6289" y="492"/>
                  <a:pt x="6290" y="492"/>
                </a:cubicBezTo>
                <a:lnTo>
                  <a:pt x="6291" y="492"/>
                </a:lnTo>
                <a:close/>
                <a:moveTo>
                  <a:pt x="6268" y="572"/>
                </a:moveTo>
                <a:cubicBezTo>
                  <a:pt x="6269" y="572"/>
                  <a:pt x="6270" y="571"/>
                  <a:pt x="6270" y="569"/>
                </a:cubicBezTo>
                <a:lnTo>
                  <a:pt x="6269" y="565"/>
                </a:lnTo>
                <a:cubicBezTo>
                  <a:pt x="6269" y="565"/>
                  <a:pt x="6269" y="566"/>
                  <a:pt x="6268" y="567"/>
                </a:cubicBezTo>
                <a:cubicBezTo>
                  <a:pt x="6267" y="568"/>
                  <a:pt x="6267" y="569"/>
                  <a:pt x="6267" y="570"/>
                </a:cubicBezTo>
                <a:cubicBezTo>
                  <a:pt x="6267" y="572"/>
                  <a:pt x="6267" y="572"/>
                  <a:pt x="6268" y="572"/>
                </a:cubicBezTo>
                <a:close/>
                <a:moveTo>
                  <a:pt x="6264" y="583"/>
                </a:moveTo>
                <a:cubicBezTo>
                  <a:pt x="6264" y="583"/>
                  <a:pt x="6264" y="583"/>
                  <a:pt x="6265" y="582"/>
                </a:cubicBezTo>
                <a:cubicBezTo>
                  <a:pt x="6266" y="580"/>
                  <a:pt x="6267" y="579"/>
                  <a:pt x="6267" y="578"/>
                </a:cubicBezTo>
                <a:cubicBezTo>
                  <a:pt x="6267" y="578"/>
                  <a:pt x="6268" y="577"/>
                  <a:pt x="6268" y="576"/>
                </a:cubicBezTo>
                <a:cubicBezTo>
                  <a:pt x="6268" y="575"/>
                  <a:pt x="6267" y="575"/>
                  <a:pt x="6267" y="575"/>
                </a:cubicBezTo>
                <a:cubicBezTo>
                  <a:pt x="6267" y="575"/>
                  <a:pt x="6266" y="576"/>
                  <a:pt x="6265" y="577"/>
                </a:cubicBezTo>
                <a:cubicBezTo>
                  <a:pt x="6264" y="579"/>
                  <a:pt x="6264" y="581"/>
                  <a:pt x="6264" y="583"/>
                </a:cubicBezTo>
                <a:close/>
                <a:moveTo>
                  <a:pt x="6262" y="604"/>
                </a:moveTo>
                <a:cubicBezTo>
                  <a:pt x="6262" y="604"/>
                  <a:pt x="6263" y="603"/>
                  <a:pt x="6265" y="602"/>
                </a:cubicBezTo>
                <a:cubicBezTo>
                  <a:pt x="6266" y="601"/>
                  <a:pt x="6267" y="600"/>
                  <a:pt x="6267" y="599"/>
                </a:cubicBezTo>
                <a:lnTo>
                  <a:pt x="6267" y="599"/>
                </a:lnTo>
                <a:cubicBezTo>
                  <a:pt x="6267" y="598"/>
                  <a:pt x="6266" y="598"/>
                  <a:pt x="6266" y="598"/>
                </a:cubicBezTo>
                <a:cubicBezTo>
                  <a:pt x="6264" y="598"/>
                  <a:pt x="6263" y="599"/>
                  <a:pt x="6262" y="600"/>
                </a:cubicBezTo>
                <a:cubicBezTo>
                  <a:pt x="6262" y="601"/>
                  <a:pt x="6261" y="602"/>
                  <a:pt x="6261" y="603"/>
                </a:cubicBezTo>
                <a:cubicBezTo>
                  <a:pt x="6261" y="603"/>
                  <a:pt x="6261" y="604"/>
                  <a:pt x="6262" y="604"/>
                </a:cubicBezTo>
                <a:close/>
                <a:moveTo>
                  <a:pt x="6258" y="600"/>
                </a:moveTo>
                <a:cubicBezTo>
                  <a:pt x="6258" y="600"/>
                  <a:pt x="6259" y="600"/>
                  <a:pt x="6259" y="598"/>
                </a:cubicBezTo>
                <a:cubicBezTo>
                  <a:pt x="6260" y="597"/>
                  <a:pt x="6261" y="596"/>
                  <a:pt x="6261" y="595"/>
                </a:cubicBezTo>
                <a:cubicBezTo>
                  <a:pt x="6261" y="594"/>
                  <a:pt x="6261" y="594"/>
                  <a:pt x="6260" y="594"/>
                </a:cubicBezTo>
                <a:cubicBezTo>
                  <a:pt x="6260" y="594"/>
                  <a:pt x="6259" y="594"/>
                  <a:pt x="6259" y="595"/>
                </a:cubicBezTo>
                <a:cubicBezTo>
                  <a:pt x="6259" y="595"/>
                  <a:pt x="6258" y="596"/>
                  <a:pt x="6258" y="597"/>
                </a:cubicBezTo>
                <a:cubicBezTo>
                  <a:pt x="6257" y="598"/>
                  <a:pt x="6257" y="599"/>
                  <a:pt x="6257" y="600"/>
                </a:cubicBezTo>
                <a:cubicBezTo>
                  <a:pt x="6257" y="600"/>
                  <a:pt x="6257" y="600"/>
                  <a:pt x="6258" y="600"/>
                </a:cubicBezTo>
                <a:close/>
                <a:moveTo>
                  <a:pt x="6266" y="655"/>
                </a:moveTo>
                <a:cubicBezTo>
                  <a:pt x="6266" y="655"/>
                  <a:pt x="6267" y="653"/>
                  <a:pt x="6269" y="649"/>
                </a:cubicBezTo>
                <a:cubicBezTo>
                  <a:pt x="6271" y="645"/>
                  <a:pt x="6272" y="642"/>
                  <a:pt x="6272" y="639"/>
                </a:cubicBezTo>
                <a:lnTo>
                  <a:pt x="6272" y="639"/>
                </a:lnTo>
                <a:cubicBezTo>
                  <a:pt x="6271" y="639"/>
                  <a:pt x="6270" y="640"/>
                  <a:pt x="6269" y="644"/>
                </a:cubicBezTo>
                <a:cubicBezTo>
                  <a:pt x="6267" y="649"/>
                  <a:pt x="6266" y="653"/>
                  <a:pt x="6266" y="654"/>
                </a:cubicBezTo>
                <a:lnTo>
                  <a:pt x="6266" y="655"/>
                </a:lnTo>
                <a:close/>
                <a:moveTo>
                  <a:pt x="6274" y="635"/>
                </a:moveTo>
                <a:cubicBezTo>
                  <a:pt x="6275" y="635"/>
                  <a:pt x="6275" y="635"/>
                  <a:pt x="6276" y="634"/>
                </a:cubicBezTo>
                <a:cubicBezTo>
                  <a:pt x="6276" y="633"/>
                  <a:pt x="6275" y="632"/>
                  <a:pt x="6275" y="632"/>
                </a:cubicBezTo>
                <a:cubicBezTo>
                  <a:pt x="6275" y="631"/>
                  <a:pt x="6274" y="630"/>
                  <a:pt x="6274" y="629"/>
                </a:cubicBezTo>
                <a:lnTo>
                  <a:pt x="6273" y="628"/>
                </a:lnTo>
                <a:cubicBezTo>
                  <a:pt x="6273" y="628"/>
                  <a:pt x="6272" y="629"/>
                  <a:pt x="6272" y="632"/>
                </a:cubicBezTo>
                <a:cubicBezTo>
                  <a:pt x="6272" y="634"/>
                  <a:pt x="6273" y="635"/>
                  <a:pt x="6274" y="635"/>
                </a:cubicBezTo>
                <a:close/>
                <a:moveTo>
                  <a:pt x="6277" y="618"/>
                </a:moveTo>
                <a:cubicBezTo>
                  <a:pt x="6277" y="618"/>
                  <a:pt x="6278" y="616"/>
                  <a:pt x="6280" y="612"/>
                </a:cubicBezTo>
                <a:cubicBezTo>
                  <a:pt x="6282" y="608"/>
                  <a:pt x="6283" y="605"/>
                  <a:pt x="6283" y="603"/>
                </a:cubicBezTo>
                <a:cubicBezTo>
                  <a:pt x="6283" y="602"/>
                  <a:pt x="6283" y="602"/>
                  <a:pt x="6282" y="602"/>
                </a:cubicBezTo>
                <a:cubicBezTo>
                  <a:pt x="6281" y="602"/>
                  <a:pt x="6281" y="603"/>
                  <a:pt x="6280" y="607"/>
                </a:cubicBezTo>
                <a:cubicBezTo>
                  <a:pt x="6278" y="613"/>
                  <a:pt x="6277" y="616"/>
                  <a:pt x="6277" y="617"/>
                </a:cubicBezTo>
                <a:lnTo>
                  <a:pt x="6277" y="618"/>
                </a:lnTo>
                <a:close/>
                <a:moveTo>
                  <a:pt x="6293" y="575"/>
                </a:moveTo>
                <a:cubicBezTo>
                  <a:pt x="6293" y="575"/>
                  <a:pt x="6294" y="574"/>
                  <a:pt x="6294" y="573"/>
                </a:cubicBezTo>
                <a:cubicBezTo>
                  <a:pt x="6295" y="573"/>
                  <a:pt x="6296" y="572"/>
                  <a:pt x="6296" y="571"/>
                </a:cubicBezTo>
                <a:cubicBezTo>
                  <a:pt x="6296" y="571"/>
                  <a:pt x="6295" y="570"/>
                  <a:pt x="6294" y="570"/>
                </a:cubicBezTo>
                <a:cubicBezTo>
                  <a:pt x="6293" y="570"/>
                  <a:pt x="6292" y="571"/>
                  <a:pt x="6292" y="572"/>
                </a:cubicBezTo>
                <a:cubicBezTo>
                  <a:pt x="6292" y="574"/>
                  <a:pt x="6292" y="575"/>
                  <a:pt x="6293" y="575"/>
                </a:cubicBezTo>
                <a:close/>
                <a:moveTo>
                  <a:pt x="6298" y="562"/>
                </a:moveTo>
                <a:lnTo>
                  <a:pt x="6299" y="561"/>
                </a:lnTo>
                <a:cubicBezTo>
                  <a:pt x="6300" y="561"/>
                  <a:pt x="6300" y="559"/>
                  <a:pt x="6300" y="557"/>
                </a:cubicBezTo>
                <a:cubicBezTo>
                  <a:pt x="6300" y="556"/>
                  <a:pt x="6300" y="555"/>
                  <a:pt x="6299" y="555"/>
                </a:cubicBezTo>
                <a:cubicBezTo>
                  <a:pt x="6299" y="555"/>
                  <a:pt x="6298" y="556"/>
                  <a:pt x="6298" y="558"/>
                </a:cubicBezTo>
                <a:cubicBezTo>
                  <a:pt x="6297" y="560"/>
                  <a:pt x="6297" y="561"/>
                  <a:pt x="6297" y="562"/>
                </a:cubicBezTo>
                <a:cubicBezTo>
                  <a:pt x="6297" y="562"/>
                  <a:pt x="6297" y="562"/>
                  <a:pt x="6298" y="562"/>
                </a:cubicBezTo>
                <a:close/>
                <a:moveTo>
                  <a:pt x="6303" y="546"/>
                </a:moveTo>
                <a:cubicBezTo>
                  <a:pt x="6303" y="546"/>
                  <a:pt x="6304" y="545"/>
                  <a:pt x="6305" y="544"/>
                </a:cubicBezTo>
                <a:cubicBezTo>
                  <a:pt x="6306" y="542"/>
                  <a:pt x="6308" y="539"/>
                  <a:pt x="6309" y="535"/>
                </a:cubicBezTo>
                <a:cubicBezTo>
                  <a:pt x="6311" y="531"/>
                  <a:pt x="6313" y="528"/>
                  <a:pt x="6314" y="525"/>
                </a:cubicBezTo>
                <a:cubicBezTo>
                  <a:pt x="6315" y="523"/>
                  <a:pt x="6316" y="521"/>
                  <a:pt x="6316" y="520"/>
                </a:cubicBezTo>
                <a:lnTo>
                  <a:pt x="6316" y="520"/>
                </a:lnTo>
                <a:cubicBezTo>
                  <a:pt x="6315" y="520"/>
                  <a:pt x="6313" y="524"/>
                  <a:pt x="6309" y="531"/>
                </a:cubicBezTo>
                <a:cubicBezTo>
                  <a:pt x="6305" y="540"/>
                  <a:pt x="6303" y="545"/>
                  <a:pt x="6303" y="546"/>
                </a:cubicBezTo>
                <a:close/>
                <a:moveTo>
                  <a:pt x="6317" y="517"/>
                </a:moveTo>
                <a:cubicBezTo>
                  <a:pt x="6317" y="517"/>
                  <a:pt x="6318" y="516"/>
                  <a:pt x="6319" y="514"/>
                </a:cubicBezTo>
                <a:cubicBezTo>
                  <a:pt x="6320" y="512"/>
                  <a:pt x="6321" y="511"/>
                  <a:pt x="6321" y="510"/>
                </a:cubicBezTo>
                <a:cubicBezTo>
                  <a:pt x="6322" y="509"/>
                  <a:pt x="6322" y="508"/>
                  <a:pt x="6322" y="507"/>
                </a:cubicBezTo>
                <a:cubicBezTo>
                  <a:pt x="6322" y="506"/>
                  <a:pt x="6322" y="506"/>
                  <a:pt x="6322" y="506"/>
                </a:cubicBezTo>
                <a:cubicBezTo>
                  <a:pt x="6321" y="506"/>
                  <a:pt x="6320" y="507"/>
                  <a:pt x="6319" y="508"/>
                </a:cubicBezTo>
                <a:cubicBezTo>
                  <a:pt x="6318" y="511"/>
                  <a:pt x="6317" y="514"/>
                  <a:pt x="6317" y="516"/>
                </a:cubicBezTo>
                <a:lnTo>
                  <a:pt x="6317" y="517"/>
                </a:lnTo>
                <a:close/>
                <a:moveTo>
                  <a:pt x="6246" y="723"/>
                </a:moveTo>
                <a:cubicBezTo>
                  <a:pt x="6247" y="723"/>
                  <a:pt x="6247" y="721"/>
                  <a:pt x="6247" y="718"/>
                </a:cubicBezTo>
                <a:cubicBezTo>
                  <a:pt x="6247" y="711"/>
                  <a:pt x="6249" y="700"/>
                  <a:pt x="6253" y="683"/>
                </a:cubicBezTo>
                <a:cubicBezTo>
                  <a:pt x="6264" y="640"/>
                  <a:pt x="6275" y="602"/>
                  <a:pt x="6288" y="568"/>
                </a:cubicBezTo>
                <a:cubicBezTo>
                  <a:pt x="6289" y="563"/>
                  <a:pt x="6290" y="560"/>
                  <a:pt x="6290" y="558"/>
                </a:cubicBezTo>
                <a:cubicBezTo>
                  <a:pt x="6290" y="555"/>
                  <a:pt x="6290" y="554"/>
                  <a:pt x="6289" y="553"/>
                </a:cubicBezTo>
                <a:cubicBezTo>
                  <a:pt x="6288" y="553"/>
                  <a:pt x="6288" y="552"/>
                  <a:pt x="6288" y="552"/>
                </a:cubicBezTo>
                <a:cubicBezTo>
                  <a:pt x="6288" y="552"/>
                  <a:pt x="6289" y="551"/>
                  <a:pt x="6291" y="551"/>
                </a:cubicBezTo>
                <a:cubicBezTo>
                  <a:pt x="6292" y="551"/>
                  <a:pt x="6298" y="542"/>
                  <a:pt x="6307" y="524"/>
                </a:cubicBezTo>
                <a:cubicBezTo>
                  <a:pt x="6316" y="506"/>
                  <a:pt x="6320" y="494"/>
                  <a:pt x="6320" y="490"/>
                </a:cubicBezTo>
                <a:cubicBezTo>
                  <a:pt x="6320" y="487"/>
                  <a:pt x="6320" y="485"/>
                  <a:pt x="6319" y="485"/>
                </a:cubicBezTo>
                <a:cubicBezTo>
                  <a:pt x="6319" y="485"/>
                  <a:pt x="6318" y="487"/>
                  <a:pt x="6317" y="492"/>
                </a:cubicBezTo>
                <a:cubicBezTo>
                  <a:pt x="6317" y="494"/>
                  <a:pt x="6316" y="497"/>
                  <a:pt x="6314" y="500"/>
                </a:cubicBezTo>
                <a:cubicBezTo>
                  <a:pt x="6313" y="504"/>
                  <a:pt x="6312" y="507"/>
                  <a:pt x="6310" y="509"/>
                </a:cubicBezTo>
                <a:cubicBezTo>
                  <a:pt x="6309" y="512"/>
                  <a:pt x="6308" y="514"/>
                  <a:pt x="6307" y="514"/>
                </a:cubicBezTo>
                <a:cubicBezTo>
                  <a:pt x="6306" y="514"/>
                  <a:pt x="6306" y="515"/>
                  <a:pt x="6306" y="515"/>
                </a:cubicBezTo>
                <a:cubicBezTo>
                  <a:pt x="6306" y="516"/>
                  <a:pt x="6306" y="517"/>
                  <a:pt x="6306" y="517"/>
                </a:cubicBezTo>
                <a:cubicBezTo>
                  <a:pt x="6306" y="517"/>
                  <a:pt x="6307" y="518"/>
                  <a:pt x="6307" y="518"/>
                </a:cubicBezTo>
                <a:lnTo>
                  <a:pt x="6307" y="519"/>
                </a:lnTo>
                <a:cubicBezTo>
                  <a:pt x="6306" y="519"/>
                  <a:pt x="6306" y="519"/>
                  <a:pt x="6305" y="519"/>
                </a:cubicBezTo>
                <a:cubicBezTo>
                  <a:pt x="6304" y="519"/>
                  <a:pt x="6304" y="519"/>
                  <a:pt x="6304" y="520"/>
                </a:cubicBezTo>
                <a:cubicBezTo>
                  <a:pt x="6303" y="521"/>
                  <a:pt x="6303" y="522"/>
                  <a:pt x="6303" y="524"/>
                </a:cubicBezTo>
                <a:cubicBezTo>
                  <a:pt x="6303" y="525"/>
                  <a:pt x="6303" y="526"/>
                  <a:pt x="6302" y="527"/>
                </a:cubicBezTo>
                <a:cubicBezTo>
                  <a:pt x="6302" y="528"/>
                  <a:pt x="6301" y="528"/>
                  <a:pt x="6301" y="528"/>
                </a:cubicBezTo>
                <a:cubicBezTo>
                  <a:pt x="6300" y="528"/>
                  <a:pt x="6299" y="529"/>
                  <a:pt x="6299" y="529"/>
                </a:cubicBezTo>
                <a:cubicBezTo>
                  <a:pt x="6299" y="529"/>
                  <a:pt x="6299" y="529"/>
                  <a:pt x="6299" y="530"/>
                </a:cubicBezTo>
                <a:lnTo>
                  <a:pt x="6300" y="532"/>
                </a:lnTo>
                <a:cubicBezTo>
                  <a:pt x="6300" y="533"/>
                  <a:pt x="6299" y="533"/>
                  <a:pt x="6299" y="533"/>
                </a:cubicBezTo>
                <a:cubicBezTo>
                  <a:pt x="6298" y="533"/>
                  <a:pt x="6297" y="533"/>
                  <a:pt x="6297" y="534"/>
                </a:cubicBezTo>
                <a:lnTo>
                  <a:pt x="6298" y="537"/>
                </a:lnTo>
                <a:cubicBezTo>
                  <a:pt x="6297" y="538"/>
                  <a:pt x="6296" y="538"/>
                  <a:pt x="6296" y="538"/>
                </a:cubicBezTo>
                <a:cubicBezTo>
                  <a:pt x="6295" y="538"/>
                  <a:pt x="6294" y="539"/>
                  <a:pt x="6294" y="539"/>
                </a:cubicBezTo>
                <a:cubicBezTo>
                  <a:pt x="6294" y="543"/>
                  <a:pt x="6294" y="544"/>
                  <a:pt x="6294" y="544"/>
                </a:cubicBezTo>
                <a:cubicBezTo>
                  <a:pt x="6293" y="544"/>
                  <a:pt x="6293" y="544"/>
                  <a:pt x="6292" y="542"/>
                </a:cubicBezTo>
                <a:cubicBezTo>
                  <a:pt x="6291" y="541"/>
                  <a:pt x="6290" y="541"/>
                  <a:pt x="6290" y="541"/>
                </a:cubicBezTo>
                <a:lnTo>
                  <a:pt x="6290" y="544"/>
                </a:lnTo>
                <a:cubicBezTo>
                  <a:pt x="6290" y="546"/>
                  <a:pt x="6289" y="549"/>
                  <a:pt x="6288" y="550"/>
                </a:cubicBezTo>
                <a:cubicBezTo>
                  <a:pt x="6286" y="552"/>
                  <a:pt x="6286" y="553"/>
                  <a:pt x="6286" y="554"/>
                </a:cubicBezTo>
                <a:lnTo>
                  <a:pt x="6286" y="554"/>
                </a:lnTo>
                <a:cubicBezTo>
                  <a:pt x="6286" y="554"/>
                  <a:pt x="6286" y="555"/>
                  <a:pt x="6287" y="556"/>
                </a:cubicBezTo>
                <a:cubicBezTo>
                  <a:pt x="6288" y="556"/>
                  <a:pt x="6288" y="557"/>
                  <a:pt x="6288" y="558"/>
                </a:cubicBezTo>
                <a:lnTo>
                  <a:pt x="6288" y="558"/>
                </a:lnTo>
                <a:cubicBezTo>
                  <a:pt x="6288" y="558"/>
                  <a:pt x="6288" y="559"/>
                  <a:pt x="6286" y="559"/>
                </a:cubicBezTo>
                <a:cubicBezTo>
                  <a:pt x="6285" y="560"/>
                  <a:pt x="6284" y="560"/>
                  <a:pt x="6284" y="561"/>
                </a:cubicBezTo>
                <a:cubicBezTo>
                  <a:pt x="6284" y="561"/>
                  <a:pt x="6284" y="561"/>
                  <a:pt x="6284" y="562"/>
                </a:cubicBezTo>
                <a:lnTo>
                  <a:pt x="6284" y="563"/>
                </a:lnTo>
                <a:cubicBezTo>
                  <a:pt x="6284" y="564"/>
                  <a:pt x="6283" y="566"/>
                  <a:pt x="6281" y="570"/>
                </a:cubicBezTo>
                <a:cubicBezTo>
                  <a:pt x="6279" y="572"/>
                  <a:pt x="6279" y="574"/>
                  <a:pt x="6278" y="576"/>
                </a:cubicBezTo>
                <a:cubicBezTo>
                  <a:pt x="6277" y="578"/>
                  <a:pt x="6276" y="579"/>
                  <a:pt x="6276" y="580"/>
                </a:cubicBezTo>
                <a:cubicBezTo>
                  <a:pt x="6276" y="581"/>
                  <a:pt x="6276" y="583"/>
                  <a:pt x="6275" y="585"/>
                </a:cubicBezTo>
                <a:cubicBezTo>
                  <a:pt x="6274" y="586"/>
                  <a:pt x="6273" y="587"/>
                  <a:pt x="6273" y="588"/>
                </a:cubicBezTo>
                <a:cubicBezTo>
                  <a:pt x="6273" y="590"/>
                  <a:pt x="6271" y="595"/>
                  <a:pt x="6268" y="605"/>
                </a:cubicBezTo>
                <a:lnTo>
                  <a:pt x="6264" y="615"/>
                </a:lnTo>
                <a:cubicBezTo>
                  <a:pt x="6262" y="628"/>
                  <a:pt x="6259" y="634"/>
                  <a:pt x="6257" y="634"/>
                </a:cubicBezTo>
                <a:cubicBezTo>
                  <a:pt x="6256" y="634"/>
                  <a:pt x="6256" y="632"/>
                  <a:pt x="6255" y="628"/>
                </a:cubicBezTo>
                <a:cubicBezTo>
                  <a:pt x="6256" y="623"/>
                  <a:pt x="6257" y="621"/>
                  <a:pt x="6258" y="621"/>
                </a:cubicBezTo>
                <a:cubicBezTo>
                  <a:pt x="6260" y="621"/>
                  <a:pt x="6260" y="620"/>
                  <a:pt x="6260" y="617"/>
                </a:cubicBezTo>
                <a:lnTo>
                  <a:pt x="6260" y="613"/>
                </a:lnTo>
                <a:cubicBezTo>
                  <a:pt x="6261" y="612"/>
                  <a:pt x="6261" y="612"/>
                  <a:pt x="6261" y="611"/>
                </a:cubicBezTo>
                <a:cubicBezTo>
                  <a:pt x="6261" y="610"/>
                  <a:pt x="6262" y="609"/>
                  <a:pt x="6262" y="607"/>
                </a:cubicBezTo>
                <a:cubicBezTo>
                  <a:pt x="6261" y="607"/>
                  <a:pt x="6261" y="606"/>
                  <a:pt x="6259" y="605"/>
                </a:cubicBezTo>
                <a:cubicBezTo>
                  <a:pt x="6258" y="604"/>
                  <a:pt x="6257" y="603"/>
                  <a:pt x="6257" y="603"/>
                </a:cubicBezTo>
                <a:cubicBezTo>
                  <a:pt x="6257" y="603"/>
                  <a:pt x="6257" y="603"/>
                  <a:pt x="6257" y="604"/>
                </a:cubicBezTo>
                <a:lnTo>
                  <a:pt x="6258" y="610"/>
                </a:lnTo>
                <a:cubicBezTo>
                  <a:pt x="6258" y="611"/>
                  <a:pt x="6258" y="611"/>
                  <a:pt x="6258" y="611"/>
                </a:cubicBezTo>
                <a:cubicBezTo>
                  <a:pt x="6257" y="611"/>
                  <a:pt x="6257" y="611"/>
                  <a:pt x="6256" y="610"/>
                </a:cubicBezTo>
                <a:cubicBezTo>
                  <a:pt x="6256" y="610"/>
                  <a:pt x="6255" y="609"/>
                  <a:pt x="6255" y="609"/>
                </a:cubicBezTo>
                <a:cubicBezTo>
                  <a:pt x="6255" y="610"/>
                  <a:pt x="6256" y="610"/>
                  <a:pt x="6256" y="612"/>
                </a:cubicBezTo>
                <a:cubicBezTo>
                  <a:pt x="6257" y="613"/>
                  <a:pt x="6258" y="615"/>
                  <a:pt x="6258" y="616"/>
                </a:cubicBezTo>
                <a:cubicBezTo>
                  <a:pt x="6258" y="617"/>
                  <a:pt x="6257" y="618"/>
                  <a:pt x="6255" y="618"/>
                </a:cubicBezTo>
                <a:cubicBezTo>
                  <a:pt x="6255" y="618"/>
                  <a:pt x="6254" y="617"/>
                  <a:pt x="6254" y="617"/>
                </a:cubicBezTo>
                <a:cubicBezTo>
                  <a:pt x="6254" y="617"/>
                  <a:pt x="6254" y="616"/>
                  <a:pt x="6253" y="616"/>
                </a:cubicBezTo>
                <a:lnTo>
                  <a:pt x="6253" y="618"/>
                </a:lnTo>
                <a:lnTo>
                  <a:pt x="6254" y="619"/>
                </a:lnTo>
                <a:cubicBezTo>
                  <a:pt x="6254" y="619"/>
                  <a:pt x="6254" y="620"/>
                  <a:pt x="6254" y="620"/>
                </a:cubicBezTo>
                <a:cubicBezTo>
                  <a:pt x="6253" y="621"/>
                  <a:pt x="6252" y="622"/>
                  <a:pt x="6250" y="625"/>
                </a:cubicBezTo>
                <a:lnTo>
                  <a:pt x="6250" y="625"/>
                </a:lnTo>
                <a:lnTo>
                  <a:pt x="6254" y="624"/>
                </a:lnTo>
                <a:cubicBezTo>
                  <a:pt x="6254" y="624"/>
                  <a:pt x="6254" y="624"/>
                  <a:pt x="6254" y="625"/>
                </a:cubicBezTo>
                <a:lnTo>
                  <a:pt x="6254" y="625"/>
                </a:lnTo>
                <a:cubicBezTo>
                  <a:pt x="6254" y="626"/>
                  <a:pt x="6253" y="627"/>
                  <a:pt x="6251" y="629"/>
                </a:cubicBezTo>
                <a:cubicBezTo>
                  <a:pt x="6249" y="631"/>
                  <a:pt x="6248" y="632"/>
                  <a:pt x="6248" y="632"/>
                </a:cubicBezTo>
                <a:lnTo>
                  <a:pt x="6254" y="630"/>
                </a:lnTo>
                <a:cubicBezTo>
                  <a:pt x="6254" y="631"/>
                  <a:pt x="6253" y="633"/>
                  <a:pt x="6250" y="635"/>
                </a:cubicBezTo>
                <a:cubicBezTo>
                  <a:pt x="6248" y="638"/>
                  <a:pt x="6247" y="640"/>
                  <a:pt x="6247" y="642"/>
                </a:cubicBezTo>
                <a:cubicBezTo>
                  <a:pt x="6247" y="642"/>
                  <a:pt x="6247" y="642"/>
                  <a:pt x="6247" y="642"/>
                </a:cubicBezTo>
                <a:lnTo>
                  <a:pt x="6247" y="643"/>
                </a:lnTo>
                <a:cubicBezTo>
                  <a:pt x="6247" y="643"/>
                  <a:pt x="6247" y="644"/>
                  <a:pt x="6246" y="645"/>
                </a:cubicBezTo>
                <a:cubicBezTo>
                  <a:pt x="6245" y="646"/>
                  <a:pt x="6245" y="647"/>
                  <a:pt x="6245" y="649"/>
                </a:cubicBezTo>
                <a:lnTo>
                  <a:pt x="6245" y="651"/>
                </a:lnTo>
                <a:lnTo>
                  <a:pt x="6245" y="652"/>
                </a:lnTo>
                <a:cubicBezTo>
                  <a:pt x="6245" y="652"/>
                  <a:pt x="6244" y="653"/>
                  <a:pt x="6244" y="654"/>
                </a:cubicBezTo>
                <a:cubicBezTo>
                  <a:pt x="6243" y="655"/>
                  <a:pt x="6243" y="656"/>
                  <a:pt x="6243" y="657"/>
                </a:cubicBezTo>
                <a:lnTo>
                  <a:pt x="6243" y="660"/>
                </a:lnTo>
                <a:cubicBezTo>
                  <a:pt x="6243" y="661"/>
                  <a:pt x="6243" y="661"/>
                  <a:pt x="6242" y="662"/>
                </a:cubicBezTo>
                <a:cubicBezTo>
                  <a:pt x="6242" y="663"/>
                  <a:pt x="6241" y="667"/>
                  <a:pt x="6240" y="672"/>
                </a:cubicBezTo>
                <a:cubicBezTo>
                  <a:pt x="6239" y="678"/>
                  <a:pt x="6239" y="682"/>
                  <a:pt x="6238" y="683"/>
                </a:cubicBezTo>
                <a:cubicBezTo>
                  <a:pt x="6237" y="686"/>
                  <a:pt x="6236" y="688"/>
                  <a:pt x="6236" y="692"/>
                </a:cubicBezTo>
                <a:cubicBezTo>
                  <a:pt x="6236" y="702"/>
                  <a:pt x="6237" y="710"/>
                  <a:pt x="6240" y="715"/>
                </a:cubicBezTo>
                <a:cubicBezTo>
                  <a:pt x="6242" y="719"/>
                  <a:pt x="6244" y="722"/>
                  <a:pt x="6245" y="723"/>
                </a:cubicBezTo>
                <a:lnTo>
                  <a:pt x="6246" y="723"/>
                </a:lnTo>
                <a:close/>
                <a:moveTo>
                  <a:pt x="6284" y="463"/>
                </a:moveTo>
                <a:lnTo>
                  <a:pt x="6284" y="463"/>
                </a:lnTo>
                <a:cubicBezTo>
                  <a:pt x="6284" y="462"/>
                  <a:pt x="6283" y="462"/>
                  <a:pt x="6281" y="462"/>
                </a:cubicBezTo>
                <a:cubicBezTo>
                  <a:pt x="6278" y="462"/>
                  <a:pt x="6276" y="462"/>
                  <a:pt x="6276" y="463"/>
                </a:cubicBezTo>
                <a:cubicBezTo>
                  <a:pt x="6276" y="463"/>
                  <a:pt x="6278" y="463"/>
                  <a:pt x="6282" y="463"/>
                </a:cubicBezTo>
                <a:lnTo>
                  <a:pt x="6284" y="463"/>
                </a:lnTo>
                <a:close/>
                <a:moveTo>
                  <a:pt x="6270" y="457"/>
                </a:moveTo>
                <a:cubicBezTo>
                  <a:pt x="6271" y="457"/>
                  <a:pt x="6271" y="457"/>
                  <a:pt x="6271" y="456"/>
                </a:cubicBezTo>
                <a:cubicBezTo>
                  <a:pt x="6272" y="456"/>
                  <a:pt x="6272" y="455"/>
                  <a:pt x="6272" y="455"/>
                </a:cubicBezTo>
                <a:cubicBezTo>
                  <a:pt x="6272" y="454"/>
                  <a:pt x="6272" y="453"/>
                  <a:pt x="6272" y="453"/>
                </a:cubicBezTo>
                <a:lnTo>
                  <a:pt x="6269" y="453"/>
                </a:lnTo>
                <a:cubicBezTo>
                  <a:pt x="6268" y="453"/>
                  <a:pt x="6268" y="453"/>
                  <a:pt x="6268" y="452"/>
                </a:cubicBezTo>
                <a:cubicBezTo>
                  <a:pt x="6268" y="451"/>
                  <a:pt x="6267" y="450"/>
                  <a:pt x="6267" y="450"/>
                </a:cubicBezTo>
                <a:cubicBezTo>
                  <a:pt x="6266" y="450"/>
                  <a:pt x="6266" y="451"/>
                  <a:pt x="6266" y="452"/>
                </a:cubicBezTo>
                <a:cubicBezTo>
                  <a:pt x="6266" y="452"/>
                  <a:pt x="6266" y="453"/>
                  <a:pt x="6266" y="453"/>
                </a:cubicBezTo>
                <a:cubicBezTo>
                  <a:pt x="6266" y="454"/>
                  <a:pt x="6267" y="455"/>
                  <a:pt x="6268" y="456"/>
                </a:cubicBezTo>
                <a:cubicBezTo>
                  <a:pt x="6269" y="457"/>
                  <a:pt x="6269" y="457"/>
                  <a:pt x="6270" y="457"/>
                </a:cubicBezTo>
                <a:close/>
                <a:moveTo>
                  <a:pt x="6262" y="466"/>
                </a:moveTo>
                <a:cubicBezTo>
                  <a:pt x="6264" y="466"/>
                  <a:pt x="6265" y="466"/>
                  <a:pt x="6265" y="465"/>
                </a:cubicBezTo>
                <a:lnTo>
                  <a:pt x="6265" y="465"/>
                </a:lnTo>
                <a:cubicBezTo>
                  <a:pt x="6265" y="464"/>
                  <a:pt x="6264" y="464"/>
                  <a:pt x="6263" y="464"/>
                </a:cubicBezTo>
                <a:cubicBezTo>
                  <a:pt x="6261" y="464"/>
                  <a:pt x="6260" y="465"/>
                  <a:pt x="6260" y="465"/>
                </a:cubicBezTo>
                <a:cubicBezTo>
                  <a:pt x="6260" y="465"/>
                  <a:pt x="6261" y="466"/>
                  <a:pt x="6262" y="466"/>
                </a:cubicBezTo>
                <a:close/>
                <a:moveTo>
                  <a:pt x="6258" y="458"/>
                </a:moveTo>
                <a:cubicBezTo>
                  <a:pt x="6259" y="458"/>
                  <a:pt x="6260" y="458"/>
                  <a:pt x="6261" y="457"/>
                </a:cubicBezTo>
                <a:cubicBezTo>
                  <a:pt x="6262" y="456"/>
                  <a:pt x="6263" y="454"/>
                  <a:pt x="6263" y="451"/>
                </a:cubicBezTo>
                <a:lnTo>
                  <a:pt x="6263" y="450"/>
                </a:lnTo>
                <a:cubicBezTo>
                  <a:pt x="6263" y="450"/>
                  <a:pt x="6262" y="451"/>
                  <a:pt x="6261" y="453"/>
                </a:cubicBezTo>
                <a:cubicBezTo>
                  <a:pt x="6261" y="456"/>
                  <a:pt x="6260" y="457"/>
                  <a:pt x="6260" y="457"/>
                </a:cubicBezTo>
                <a:cubicBezTo>
                  <a:pt x="6259" y="457"/>
                  <a:pt x="6259" y="456"/>
                  <a:pt x="6259" y="453"/>
                </a:cubicBezTo>
                <a:cubicBezTo>
                  <a:pt x="6259" y="451"/>
                  <a:pt x="6258" y="450"/>
                  <a:pt x="6257" y="450"/>
                </a:cubicBezTo>
                <a:cubicBezTo>
                  <a:pt x="6256" y="450"/>
                  <a:pt x="6255" y="452"/>
                  <a:pt x="6255" y="456"/>
                </a:cubicBezTo>
                <a:cubicBezTo>
                  <a:pt x="6255" y="457"/>
                  <a:pt x="6256" y="458"/>
                  <a:pt x="6258" y="458"/>
                </a:cubicBezTo>
                <a:close/>
                <a:moveTo>
                  <a:pt x="6248" y="481"/>
                </a:moveTo>
                <a:lnTo>
                  <a:pt x="6256" y="479"/>
                </a:lnTo>
                <a:lnTo>
                  <a:pt x="6278" y="475"/>
                </a:lnTo>
                <a:cubicBezTo>
                  <a:pt x="6281" y="475"/>
                  <a:pt x="6284" y="474"/>
                  <a:pt x="6288" y="473"/>
                </a:cubicBezTo>
                <a:cubicBezTo>
                  <a:pt x="6292" y="473"/>
                  <a:pt x="6294" y="473"/>
                  <a:pt x="6294" y="471"/>
                </a:cubicBezTo>
                <a:cubicBezTo>
                  <a:pt x="6294" y="470"/>
                  <a:pt x="6294" y="469"/>
                  <a:pt x="6293" y="469"/>
                </a:cubicBezTo>
                <a:cubicBezTo>
                  <a:pt x="6293" y="469"/>
                  <a:pt x="6291" y="470"/>
                  <a:pt x="6290" y="470"/>
                </a:cubicBezTo>
                <a:cubicBezTo>
                  <a:pt x="6288" y="471"/>
                  <a:pt x="6286" y="472"/>
                  <a:pt x="6283" y="472"/>
                </a:cubicBezTo>
                <a:cubicBezTo>
                  <a:pt x="6278" y="472"/>
                  <a:pt x="6275" y="471"/>
                  <a:pt x="6273" y="470"/>
                </a:cubicBezTo>
                <a:cubicBezTo>
                  <a:pt x="6272" y="470"/>
                  <a:pt x="6272" y="470"/>
                  <a:pt x="6271" y="470"/>
                </a:cubicBezTo>
                <a:cubicBezTo>
                  <a:pt x="6270" y="470"/>
                  <a:pt x="6269" y="470"/>
                  <a:pt x="6268" y="472"/>
                </a:cubicBezTo>
                <a:cubicBezTo>
                  <a:pt x="6267" y="474"/>
                  <a:pt x="6266" y="475"/>
                  <a:pt x="6264" y="475"/>
                </a:cubicBezTo>
                <a:cubicBezTo>
                  <a:pt x="6264" y="475"/>
                  <a:pt x="6263" y="475"/>
                  <a:pt x="6261" y="474"/>
                </a:cubicBezTo>
                <a:cubicBezTo>
                  <a:pt x="6258" y="472"/>
                  <a:pt x="6256" y="471"/>
                  <a:pt x="6254" y="471"/>
                </a:cubicBezTo>
                <a:cubicBezTo>
                  <a:pt x="6254" y="471"/>
                  <a:pt x="6253" y="471"/>
                  <a:pt x="6253" y="472"/>
                </a:cubicBezTo>
                <a:lnTo>
                  <a:pt x="6254" y="474"/>
                </a:lnTo>
                <a:cubicBezTo>
                  <a:pt x="6254" y="475"/>
                  <a:pt x="6253" y="475"/>
                  <a:pt x="6252" y="475"/>
                </a:cubicBezTo>
                <a:cubicBezTo>
                  <a:pt x="6252" y="475"/>
                  <a:pt x="6251" y="475"/>
                  <a:pt x="6249" y="474"/>
                </a:cubicBezTo>
                <a:cubicBezTo>
                  <a:pt x="6248" y="474"/>
                  <a:pt x="6247" y="474"/>
                  <a:pt x="6245" y="474"/>
                </a:cubicBezTo>
                <a:cubicBezTo>
                  <a:pt x="6244" y="474"/>
                  <a:pt x="6243" y="474"/>
                  <a:pt x="6243" y="475"/>
                </a:cubicBezTo>
                <a:lnTo>
                  <a:pt x="6243" y="475"/>
                </a:lnTo>
                <a:cubicBezTo>
                  <a:pt x="6243" y="477"/>
                  <a:pt x="6244" y="478"/>
                  <a:pt x="6246" y="480"/>
                </a:cubicBezTo>
                <a:cubicBezTo>
                  <a:pt x="6246" y="481"/>
                  <a:pt x="6247" y="481"/>
                  <a:pt x="6248" y="481"/>
                </a:cubicBezTo>
                <a:close/>
                <a:moveTo>
                  <a:pt x="6252" y="468"/>
                </a:moveTo>
                <a:lnTo>
                  <a:pt x="6252" y="467"/>
                </a:lnTo>
                <a:lnTo>
                  <a:pt x="6250" y="466"/>
                </a:lnTo>
                <a:cubicBezTo>
                  <a:pt x="6249" y="466"/>
                  <a:pt x="6248" y="466"/>
                  <a:pt x="6248" y="467"/>
                </a:cubicBezTo>
                <a:cubicBezTo>
                  <a:pt x="6247" y="467"/>
                  <a:pt x="6247" y="468"/>
                  <a:pt x="6247" y="468"/>
                </a:cubicBezTo>
                <a:cubicBezTo>
                  <a:pt x="6247" y="468"/>
                  <a:pt x="6248" y="468"/>
                  <a:pt x="6252" y="468"/>
                </a:cubicBezTo>
                <a:close/>
                <a:moveTo>
                  <a:pt x="6222" y="465"/>
                </a:moveTo>
                <a:cubicBezTo>
                  <a:pt x="6226" y="465"/>
                  <a:pt x="6229" y="464"/>
                  <a:pt x="6231" y="462"/>
                </a:cubicBezTo>
                <a:cubicBezTo>
                  <a:pt x="6234" y="461"/>
                  <a:pt x="6235" y="460"/>
                  <a:pt x="6235" y="459"/>
                </a:cubicBezTo>
                <a:cubicBezTo>
                  <a:pt x="6235" y="458"/>
                  <a:pt x="6235" y="458"/>
                  <a:pt x="6235" y="458"/>
                </a:cubicBezTo>
                <a:cubicBezTo>
                  <a:pt x="6236" y="458"/>
                  <a:pt x="6236" y="458"/>
                  <a:pt x="6237" y="460"/>
                </a:cubicBezTo>
                <a:cubicBezTo>
                  <a:pt x="6238" y="461"/>
                  <a:pt x="6238" y="462"/>
                  <a:pt x="6239" y="462"/>
                </a:cubicBezTo>
                <a:cubicBezTo>
                  <a:pt x="6240" y="462"/>
                  <a:pt x="6241" y="461"/>
                  <a:pt x="6241" y="460"/>
                </a:cubicBezTo>
                <a:cubicBezTo>
                  <a:pt x="6242" y="458"/>
                  <a:pt x="6243" y="458"/>
                  <a:pt x="6243" y="458"/>
                </a:cubicBezTo>
                <a:cubicBezTo>
                  <a:pt x="6243" y="458"/>
                  <a:pt x="6243" y="458"/>
                  <a:pt x="6243" y="458"/>
                </a:cubicBezTo>
                <a:cubicBezTo>
                  <a:pt x="6243" y="459"/>
                  <a:pt x="6244" y="460"/>
                  <a:pt x="6245" y="460"/>
                </a:cubicBezTo>
                <a:lnTo>
                  <a:pt x="6248" y="460"/>
                </a:lnTo>
                <a:cubicBezTo>
                  <a:pt x="6250" y="459"/>
                  <a:pt x="6251" y="458"/>
                  <a:pt x="6251" y="456"/>
                </a:cubicBezTo>
                <a:cubicBezTo>
                  <a:pt x="6250" y="454"/>
                  <a:pt x="6249" y="453"/>
                  <a:pt x="6249" y="453"/>
                </a:cubicBezTo>
                <a:cubicBezTo>
                  <a:pt x="6248" y="453"/>
                  <a:pt x="6248" y="454"/>
                  <a:pt x="6247" y="454"/>
                </a:cubicBezTo>
                <a:cubicBezTo>
                  <a:pt x="6247" y="455"/>
                  <a:pt x="6246" y="455"/>
                  <a:pt x="6244" y="456"/>
                </a:cubicBezTo>
                <a:lnTo>
                  <a:pt x="6239" y="456"/>
                </a:lnTo>
                <a:cubicBezTo>
                  <a:pt x="6236" y="456"/>
                  <a:pt x="6233" y="457"/>
                  <a:pt x="6231" y="459"/>
                </a:cubicBezTo>
                <a:lnTo>
                  <a:pt x="6229" y="460"/>
                </a:lnTo>
                <a:lnTo>
                  <a:pt x="6229" y="460"/>
                </a:lnTo>
                <a:cubicBezTo>
                  <a:pt x="6229" y="458"/>
                  <a:pt x="6228" y="457"/>
                  <a:pt x="6226" y="457"/>
                </a:cubicBezTo>
                <a:cubicBezTo>
                  <a:pt x="6223" y="457"/>
                  <a:pt x="6222" y="458"/>
                  <a:pt x="6222" y="459"/>
                </a:cubicBezTo>
                <a:cubicBezTo>
                  <a:pt x="6222" y="460"/>
                  <a:pt x="6222" y="460"/>
                  <a:pt x="6221" y="460"/>
                </a:cubicBezTo>
                <a:cubicBezTo>
                  <a:pt x="6221" y="460"/>
                  <a:pt x="6220" y="460"/>
                  <a:pt x="6219" y="459"/>
                </a:cubicBezTo>
                <a:cubicBezTo>
                  <a:pt x="6218" y="458"/>
                  <a:pt x="6217" y="458"/>
                  <a:pt x="6216" y="458"/>
                </a:cubicBezTo>
                <a:cubicBezTo>
                  <a:pt x="6215" y="458"/>
                  <a:pt x="6214" y="458"/>
                  <a:pt x="6214" y="459"/>
                </a:cubicBezTo>
                <a:cubicBezTo>
                  <a:pt x="6214" y="460"/>
                  <a:pt x="6213" y="460"/>
                  <a:pt x="6211" y="460"/>
                </a:cubicBezTo>
                <a:cubicBezTo>
                  <a:pt x="6211" y="460"/>
                  <a:pt x="6211" y="460"/>
                  <a:pt x="6211" y="460"/>
                </a:cubicBezTo>
                <a:cubicBezTo>
                  <a:pt x="6210" y="460"/>
                  <a:pt x="6210" y="460"/>
                  <a:pt x="6209" y="460"/>
                </a:cubicBezTo>
                <a:cubicBezTo>
                  <a:pt x="6209" y="460"/>
                  <a:pt x="6209" y="461"/>
                  <a:pt x="6211" y="463"/>
                </a:cubicBezTo>
                <a:cubicBezTo>
                  <a:pt x="6212" y="464"/>
                  <a:pt x="6212" y="465"/>
                  <a:pt x="6213" y="465"/>
                </a:cubicBezTo>
                <a:cubicBezTo>
                  <a:pt x="6214" y="465"/>
                  <a:pt x="6215" y="464"/>
                  <a:pt x="6216" y="462"/>
                </a:cubicBezTo>
                <a:lnTo>
                  <a:pt x="6217" y="460"/>
                </a:lnTo>
                <a:cubicBezTo>
                  <a:pt x="6217" y="460"/>
                  <a:pt x="6218" y="460"/>
                  <a:pt x="6218" y="462"/>
                </a:cubicBezTo>
                <a:cubicBezTo>
                  <a:pt x="6219" y="463"/>
                  <a:pt x="6219" y="464"/>
                  <a:pt x="6220" y="464"/>
                </a:cubicBezTo>
                <a:cubicBezTo>
                  <a:pt x="6221" y="465"/>
                  <a:pt x="6222" y="465"/>
                  <a:pt x="6222" y="465"/>
                </a:cubicBezTo>
                <a:close/>
                <a:moveTo>
                  <a:pt x="6199" y="459"/>
                </a:moveTo>
                <a:cubicBezTo>
                  <a:pt x="6200" y="459"/>
                  <a:pt x="6200" y="458"/>
                  <a:pt x="6200" y="457"/>
                </a:cubicBezTo>
                <a:cubicBezTo>
                  <a:pt x="6200" y="456"/>
                  <a:pt x="6199" y="455"/>
                  <a:pt x="6197" y="455"/>
                </a:cubicBezTo>
                <a:cubicBezTo>
                  <a:pt x="6197" y="455"/>
                  <a:pt x="6196" y="455"/>
                  <a:pt x="6196" y="455"/>
                </a:cubicBezTo>
                <a:cubicBezTo>
                  <a:pt x="6196" y="455"/>
                  <a:pt x="6196" y="456"/>
                  <a:pt x="6196" y="456"/>
                </a:cubicBezTo>
                <a:cubicBezTo>
                  <a:pt x="6196" y="456"/>
                  <a:pt x="6197" y="457"/>
                  <a:pt x="6197" y="458"/>
                </a:cubicBezTo>
                <a:cubicBezTo>
                  <a:pt x="6197" y="459"/>
                  <a:pt x="6198" y="459"/>
                  <a:pt x="6199" y="459"/>
                </a:cubicBezTo>
                <a:close/>
                <a:moveTo>
                  <a:pt x="6194" y="462"/>
                </a:moveTo>
                <a:cubicBezTo>
                  <a:pt x="6194" y="462"/>
                  <a:pt x="6195" y="461"/>
                  <a:pt x="6195" y="460"/>
                </a:cubicBezTo>
                <a:lnTo>
                  <a:pt x="6195" y="460"/>
                </a:lnTo>
                <a:cubicBezTo>
                  <a:pt x="6195" y="460"/>
                  <a:pt x="6195" y="459"/>
                  <a:pt x="6194" y="459"/>
                </a:cubicBezTo>
                <a:cubicBezTo>
                  <a:pt x="6194" y="458"/>
                  <a:pt x="6193" y="458"/>
                  <a:pt x="6193" y="458"/>
                </a:cubicBezTo>
                <a:cubicBezTo>
                  <a:pt x="6192" y="457"/>
                  <a:pt x="6191" y="457"/>
                  <a:pt x="6191" y="457"/>
                </a:cubicBezTo>
                <a:cubicBezTo>
                  <a:pt x="6190" y="457"/>
                  <a:pt x="6190" y="457"/>
                  <a:pt x="6190" y="457"/>
                </a:cubicBezTo>
                <a:cubicBezTo>
                  <a:pt x="6190" y="458"/>
                  <a:pt x="6190" y="458"/>
                  <a:pt x="6190" y="458"/>
                </a:cubicBezTo>
                <a:cubicBezTo>
                  <a:pt x="6190" y="458"/>
                  <a:pt x="6190" y="459"/>
                  <a:pt x="6191" y="460"/>
                </a:cubicBezTo>
                <a:cubicBezTo>
                  <a:pt x="6191" y="461"/>
                  <a:pt x="6192" y="462"/>
                  <a:pt x="6194" y="462"/>
                </a:cubicBezTo>
                <a:close/>
                <a:moveTo>
                  <a:pt x="6184" y="463"/>
                </a:moveTo>
                <a:cubicBezTo>
                  <a:pt x="6184" y="463"/>
                  <a:pt x="6185" y="462"/>
                  <a:pt x="6186" y="461"/>
                </a:cubicBezTo>
                <a:cubicBezTo>
                  <a:pt x="6187" y="461"/>
                  <a:pt x="6187" y="460"/>
                  <a:pt x="6187" y="459"/>
                </a:cubicBezTo>
                <a:cubicBezTo>
                  <a:pt x="6187" y="458"/>
                  <a:pt x="6187" y="458"/>
                  <a:pt x="6186" y="458"/>
                </a:cubicBezTo>
                <a:lnTo>
                  <a:pt x="6185" y="458"/>
                </a:lnTo>
                <a:cubicBezTo>
                  <a:pt x="6185" y="458"/>
                  <a:pt x="6184" y="458"/>
                  <a:pt x="6183" y="458"/>
                </a:cubicBezTo>
                <a:cubicBezTo>
                  <a:pt x="6182" y="459"/>
                  <a:pt x="6182" y="460"/>
                  <a:pt x="6182" y="461"/>
                </a:cubicBezTo>
                <a:cubicBezTo>
                  <a:pt x="6182" y="462"/>
                  <a:pt x="6182" y="463"/>
                  <a:pt x="6183" y="463"/>
                </a:cubicBezTo>
                <a:lnTo>
                  <a:pt x="6184" y="463"/>
                </a:lnTo>
                <a:close/>
                <a:moveTo>
                  <a:pt x="6177" y="465"/>
                </a:moveTo>
                <a:lnTo>
                  <a:pt x="6178" y="464"/>
                </a:lnTo>
                <a:cubicBezTo>
                  <a:pt x="6178" y="463"/>
                  <a:pt x="6177" y="462"/>
                  <a:pt x="6176" y="461"/>
                </a:cubicBezTo>
                <a:lnTo>
                  <a:pt x="6174" y="460"/>
                </a:lnTo>
                <a:lnTo>
                  <a:pt x="6174" y="460"/>
                </a:lnTo>
                <a:cubicBezTo>
                  <a:pt x="6174" y="460"/>
                  <a:pt x="6174" y="461"/>
                  <a:pt x="6175" y="462"/>
                </a:cubicBezTo>
                <a:cubicBezTo>
                  <a:pt x="6175" y="464"/>
                  <a:pt x="6176" y="464"/>
                  <a:pt x="6176" y="465"/>
                </a:cubicBezTo>
                <a:lnTo>
                  <a:pt x="6177" y="465"/>
                </a:lnTo>
                <a:close/>
                <a:moveTo>
                  <a:pt x="6159" y="481"/>
                </a:moveTo>
                <a:cubicBezTo>
                  <a:pt x="6159" y="481"/>
                  <a:pt x="6160" y="480"/>
                  <a:pt x="6161" y="479"/>
                </a:cubicBezTo>
                <a:cubicBezTo>
                  <a:pt x="6162" y="478"/>
                  <a:pt x="6163" y="477"/>
                  <a:pt x="6164" y="477"/>
                </a:cubicBezTo>
                <a:cubicBezTo>
                  <a:pt x="6165" y="477"/>
                  <a:pt x="6165" y="477"/>
                  <a:pt x="6165" y="478"/>
                </a:cubicBezTo>
                <a:cubicBezTo>
                  <a:pt x="6166" y="479"/>
                  <a:pt x="6166" y="479"/>
                  <a:pt x="6167" y="479"/>
                </a:cubicBezTo>
                <a:cubicBezTo>
                  <a:pt x="6168" y="479"/>
                  <a:pt x="6169" y="478"/>
                  <a:pt x="6170" y="476"/>
                </a:cubicBezTo>
                <a:cubicBezTo>
                  <a:pt x="6172" y="475"/>
                  <a:pt x="6173" y="474"/>
                  <a:pt x="6173" y="474"/>
                </a:cubicBezTo>
                <a:cubicBezTo>
                  <a:pt x="6173" y="474"/>
                  <a:pt x="6174" y="474"/>
                  <a:pt x="6174" y="475"/>
                </a:cubicBezTo>
                <a:lnTo>
                  <a:pt x="6174" y="475"/>
                </a:lnTo>
                <a:cubicBezTo>
                  <a:pt x="6174" y="477"/>
                  <a:pt x="6174" y="477"/>
                  <a:pt x="6174" y="477"/>
                </a:cubicBezTo>
                <a:cubicBezTo>
                  <a:pt x="6175" y="477"/>
                  <a:pt x="6175" y="476"/>
                  <a:pt x="6177" y="474"/>
                </a:cubicBezTo>
                <a:cubicBezTo>
                  <a:pt x="6178" y="473"/>
                  <a:pt x="6179" y="472"/>
                  <a:pt x="6180" y="472"/>
                </a:cubicBezTo>
                <a:cubicBezTo>
                  <a:pt x="6180" y="472"/>
                  <a:pt x="6180" y="472"/>
                  <a:pt x="6180" y="473"/>
                </a:cubicBezTo>
                <a:cubicBezTo>
                  <a:pt x="6180" y="474"/>
                  <a:pt x="6181" y="474"/>
                  <a:pt x="6182" y="474"/>
                </a:cubicBezTo>
                <a:cubicBezTo>
                  <a:pt x="6186" y="474"/>
                  <a:pt x="6190" y="473"/>
                  <a:pt x="6193" y="469"/>
                </a:cubicBezTo>
                <a:cubicBezTo>
                  <a:pt x="6194" y="467"/>
                  <a:pt x="6194" y="466"/>
                  <a:pt x="6195" y="466"/>
                </a:cubicBezTo>
                <a:lnTo>
                  <a:pt x="6195" y="467"/>
                </a:lnTo>
                <a:cubicBezTo>
                  <a:pt x="6195" y="468"/>
                  <a:pt x="6194" y="468"/>
                  <a:pt x="6194" y="470"/>
                </a:cubicBezTo>
                <a:cubicBezTo>
                  <a:pt x="6193" y="471"/>
                  <a:pt x="6193" y="472"/>
                  <a:pt x="6193" y="472"/>
                </a:cubicBezTo>
                <a:cubicBezTo>
                  <a:pt x="6193" y="473"/>
                  <a:pt x="6193" y="473"/>
                  <a:pt x="6194" y="473"/>
                </a:cubicBezTo>
                <a:cubicBezTo>
                  <a:pt x="6194" y="473"/>
                  <a:pt x="6195" y="472"/>
                  <a:pt x="6197" y="471"/>
                </a:cubicBezTo>
                <a:cubicBezTo>
                  <a:pt x="6199" y="469"/>
                  <a:pt x="6200" y="469"/>
                  <a:pt x="6201" y="469"/>
                </a:cubicBezTo>
                <a:cubicBezTo>
                  <a:pt x="6202" y="469"/>
                  <a:pt x="6203" y="469"/>
                  <a:pt x="6204" y="469"/>
                </a:cubicBezTo>
                <a:cubicBezTo>
                  <a:pt x="6204" y="469"/>
                  <a:pt x="6205" y="470"/>
                  <a:pt x="6206" y="470"/>
                </a:cubicBezTo>
                <a:cubicBezTo>
                  <a:pt x="6207" y="470"/>
                  <a:pt x="6208" y="469"/>
                  <a:pt x="6209" y="469"/>
                </a:cubicBezTo>
                <a:cubicBezTo>
                  <a:pt x="6209" y="468"/>
                  <a:pt x="6209" y="468"/>
                  <a:pt x="6209" y="467"/>
                </a:cubicBezTo>
                <a:cubicBezTo>
                  <a:pt x="6209" y="466"/>
                  <a:pt x="6209" y="465"/>
                  <a:pt x="6207" y="464"/>
                </a:cubicBezTo>
                <a:cubicBezTo>
                  <a:pt x="6206" y="462"/>
                  <a:pt x="6205" y="462"/>
                  <a:pt x="6204" y="462"/>
                </a:cubicBezTo>
                <a:cubicBezTo>
                  <a:pt x="6204" y="462"/>
                  <a:pt x="6203" y="462"/>
                  <a:pt x="6202" y="463"/>
                </a:cubicBezTo>
                <a:cubicBezTo>
                  <a:pt x="6202" y="465"/>
                  <a:pt x="6201" y="465"/>
                  <a:pt x="6200" y="465"/>
                </a:cubicBezTo>
                <a:cubicBezTo>
                  <a:pt x="6200" y="465"/>
                  <a:pt x="6199" y="465"/>
                  <a:pt x="6199" y="464"/>
                </a:cubicBezTo>
                <a:cubicBezTo>
                  <a:pt x="6198" y="463"/>
                  <a:pt x="6197" y="463"/>
                  <a:pt x="6196" y="463"/>
                </a:cubicBezTo>
                <a:cubicBezTo>
                  <a:pt x="6194" y="463"/>
                  <a:pt x="6190" y="464"/>
                  <a:pt x="6187" y="468"/>
                </a:cubicBezTo>
                <a:cubicBezTo>
                  <a:pt x="6186" y="470"/>
                  <a:pt x="6185" y="470"/>
                  <a:pt x="6185" y="470"/>
                </a:cubicBezTo>
                <a:lnTo>
                  <a:pt x="6186" y="468"/>
                </a:lnTo>
                <a:cubicBezTo>
                  <a:pt x="6186" y="467"/>
                  <a:pt x="6186" y="467"/>
                  <a:pt x="6185" y="466"/>
                </a:cubicBezTo>
                <a:cubicBezTo>
                  <a:pt x="6185" y="466"/>
                  <a:pt x="6185" y="466"/>
                  <a:pt x="6184" y="466"/>
                </a:cubicBezTo>
                <a:cubicBezTo>
                  <a:pt x="6182" y="466"/>
                  <a:pt x="6177" y="468"/>
                  <a:pt x="6169" y="470"/>
                </a:cubicBezTo>
                <a:cubicBezTo>
                  <a:pt x="6160" y="473"/>
                  <a:pt x="6155" y="475"/>
                  <a:pt x="6155" y="477"/>
                </a:cubicBezTo>
                <a:cubicBezTo>
                  <a:pt x="6155" y="478"/>
                  <a:pt x="6156" y="478"/>
                  <a:pt x="6159" y="478"/>
                </a:cubicBezTo>
                <a:lnTo>
                  <a:pt x="6160" y="479"/>
                </a:lnTo>
                <a:cubicBezTo>
                  <a:pt x="6160" y="480"/>
                  <a:pt x="6159" y="480"/>
                  <a:pt x="6159" y="480"/>
                </a:cubicBezTo>
                <a:lnTo>
                  <a:pt x="6159" y="481"/>
                </a:lnTo>
                <a:close/>
                <a:moveTo>
                  <a:pt x="6123" y="493"/>
                </a:moveTo>
                <a:cubicBezTo>
                  <a:pt x="6126" y="492"/>
                  <a:pt x="6127" y="492"/>
                  <a:pt x="6128" y="492"/>
                </a:cubicBezTo>
                <a:cubicBezTo>
                  <a:pt x="6129" y="492"/>
                  <a:pt x="6129" y="491"/>
                  <a:pt x="6129" y="491"/>
                </a:cubicBezTo>
                <a:lnTo>
                  <a:pt x="6129" y="490"/>
                </a:lnTo>
                <a:cubicBezTo>
                  <a:pt x="6129" y="490"/>
                  <a:pt x="6129" y="489"/>
                  <a:pt x="6128" y="489"/>
                </a:cubicBezTo>
                <a:cubicBezTo>
                  <a:pt x="6128" y="489"/>
                  <a:pt x="6128" y="488"/>
                  <a:pt x="6128" y="488"/>
                </a:cubicBezTo>
                <a:cubicBezTo>
                  <a:pt x="6128" y="487"/>
                  <a:pt x="6128" y="487"/>
                  <a:pt x="6129" y="487"/>
                </a:cubicBezTo>
                <a:lnTo>
                  <a:pt x="6135" y="489"/>
                </a:lnTo>
                <a:cubicBezTo>
                  <a:pt x="6135" y="489"/>
                  <a:pt x="6136" y="489"/>
                  <a:pt x="6136" y="488"/>
                </a:cubicBezTo>
                <a:lnTo>
                  <a:pt x="6135" y="485"/>
                </a:lnTo>
                <a:cubicBezTo>
                  <a:pt x="6135" y="485"/>
                  <a:pt x="6135" y="485"/>
                  <a:pt x="6135" y="485"/>
                </a:cubicBezTo>
                <a:cubicBezTo>
                  <a:pt x="6135" y="485"/>
                  <a:pt x="6136" y="485"/>
                  <a:pt x="6137" y="485"/>
                </a:cubicBezTo>
                <a:cubicBezTo>
                  <a:pt x="6138" y="486"/>
                  <a:pt x="6140" y="486"/>
                  <a:pt x="6141" y="486"/>
                </a:cubicBezTo>
                <a:cubicBezTo>
                  <a:pt x="6145" y="486"/>
                  <a:pt x="6147" y="485"/>
                  <a:pt x="6148" y="485"/>
                </a:cubicBezTo>
                <a:cubicBezTo>
                  <a:pt x="6150" y="484"/>
                  <a:pt x="6150" y="483"/>
                  <a:pt x="6150" y="482"/>
                </a:cubicBezTo>
                <a:lnTo>
                  <a:pt x="6150" y="481"/>
                </a:lnTo>
                <a:cubicBezTo>
                  <a:pt x="6150" y="481"/>
                  <a:pt x="6151" y="481"/>
                  <a:pt x="6151" y="481"/>
                </a:cubicBezTo>
                <a:lnTo>
                  <a:pt x="6155" y="482"/>
                </a:lnTo>
                <a:cubicBezTo>
                  <a:pt x="6155" y="482"/>
                  <a:pt x="6156" y="482"/>
                  <a:pt x="6156" y="481"/>
                </a:cubicBezTo>
                <a:cubicBezTo>
                  <a:pt x="6156" y="478"/>
                  <a:pt x="6154" y="477"/>
                  <a:pt x="6151" y="477"/>
                </a:cubicBezTo>
                <a:cubicBezTo>
                  <a:pt x="6147" y="477"/>
                  <a:pt x="6140" y="479"/>
                  <a:pt x="6129" y="482"/>
                </a:cubicBezTo>
                <a:cubicBezTo>
                  <a:pt x="6123" y="485"/>
                  <a:pt x="6120" y="486"/>
                  <a:pt x="6118" y="487"/>
                </a:cubicBezTo>
                <a:cubicBezTo>
                  <a:pt x="6117" y="487"/>
                  <a:pt x="6116" y="488"/>
                  <a:pt x="6116" y="489"/>
                </a:cubicBezTo>
                <a:cubicBezTo>
                  <a:pt x="6116" y="490"/>
                  <a:pt x="6117" y="490"/>
                  <a:pt x="6118" y="491"/>
                </a:cubicBezTo>
                <a:cubicBezTo>
                  <a:pt x="6119" y="492"/>
                  <a:pt x="6120" y="493"/>
                  <a:pt x="6121" y="493"/>
                </a:cubicBezTo>
                <a:lnTo>
                  <a:pt x="6123" y="493"/>
                </a:lnTo>
                <a:close/>
                <a:moveTo>
                  <a:pt x="6085" y="504"/>
                </a:moveTo>
                <a:cubicBezTo>
                  <a:pt x="6086" y="504"/>
                  <a:pt x="6086" y="504"/>
                  <a:pt x="6087" y="504"/>
                </a:cubicBezTo>
                <a:cubicBezTo>
                  <a:pt x="6089" y="503"/>
                  <a:pt x="6091" y="502"/>
                  <a:pt x="6093" y="502"/>
                </a:cubicBezTo>
                <a:cubicBezTo>
                  <a:pt x="6096" y="502"/>
                  <a:pt x="6098" y="501"/>
                  <a:pt x="6101" y="500"/>
                </a:cubicBezTo>
                <a:cubicBezTo>
                  <a:pt x="6108" y="497"/>
                  <a:pt x="6111" y="495"/>
                  <a:pt x="6111" y="493"/>
                </a:cubicBezTo>
                <a:cubicBezTo>
                  <a:pt x="6111" y="492"/>
                  <a:pt x="6110" y="492"/>
                  <a:pt x="6109" y="492"/>
                </a:cubicBezTo>
                <a:cubicBezTo>
                  <a:pt x="6109" y="492"/>
                  <a:pt x="6108" y="492"/>
                  <a:pt x="6108" y="494"/>
                </a:cubicBezTo>
                <a:cubicBezTo>
                  <a:pt x="6108" y="495"/>
                  <a:pt x="6107" y="495"/>
                  <a:pt x="6107" y="495"/>
                </a:cubicBezTo>
                <a:lnTo>
                  <a:pt x="6105" y="495"/>
                </a:lnTo>
                <a:cubicBezTo>
                  <a:pt x="6103" y="495"/>
                  <a:pt x="6101" y="495"/>
                  <a:pt x="6099" y="497"/>
                </a:cubicBezTo>
                <a:cubicBezTo>
                  <a:pt x="6096" y="500"/>
                  <a:pt x="6093" y="501"/>
                  <a:pt x="6092" y="501"/>
                </a:cubicBezTo>
                <a:cubicBezTo>
                  <a:pt x="6091" y="501"/>
                  <a:pt x="6091" y="500"/>
                  <a:pt x="6091" y="500"/>
                </a:cubicBezTo>
                <a:cubicBezTo>
                  <a:pt x="6091" y="499"/>
                  <a:pt x="6092" y="498"/>
                  <a:pt x="6093" y="497"/>
                </a:cubicBezTo>
                <a:cubicBezTo>
                  <a:pt x="6094" y="496"/>
                  <a:pt x="6095" y="495"/>
                  <a:pt x="6095" y="495"/>
                </a:cubicBezTo>
                <a:lnTo>
                  <a:pt x="6092" y="495"/>
                </a:lnTo>
                <a:cubicBezTo>
                  <a:pt x="6089" y="497"/>
                  <a:pt x="6087" y="499"/>
                  <a:pt x="6087" y="500"/>
                </a:cubicBezTo>
                <a:cubicBezTo>
                  <a:pt x="6086" y="502"/>
                  <a:pt x="6086" y="502"/>
                  <a:pt x="6085" y="502"/>
                </a:cubicBezTo>
                <a:cubicBezTo>
                  <a:pt x="6084" y="502"/>
                  <a:pt x="6084" y="502"/>
                  <a:pt x="6083" y="502"/>
                </a:cubicBezTo>
                <a:cubicBezTo>
                  <a:pt x="6083" y="501"/>
                  <a:pt x="6082" y="501"/>
                  <a:pt x="6082" y="501"/>
                </a:cubicBezTo>
                <a:cubicBezTo>
                  <a:pt x="6082" y="501"/>
                  <a:pt x="6082" y="502"/>
                  <a:pt x="6083" y="503"/>
                </a:cubicBezTo>
                <a:cubicBezTo>
                  <a:pt x="6083" y="504"/>
                  <a:pt x="6084" y="504"/>
                  <a:pt x="6085" y="504"/>
                </a:cubicBezTo>
                <a:close/>
                <a:moveTo>
                  <a:pt x="6045" y="512"/>
                </a:moveTo>
                <a:cubicBezTo>
                  <a:pt x="6047" y="512"/>
                  <a:pt x="6049" y="511"/>
                  <a:pt x="6052" y="509"/>
                </a:cubicBezTo>
                <a:lnTo>
                  <a:pt x="6056" y="506"/>
                </a:lnTo>
                <a:lnTo>
                  <a:pt x="6055" y="506"/>
                </a:lnTo>
                <a:cubicBezTo>
                  <a:pt x="6055" y="506"/>
                  <a:pt x="6054" y="506"/>
                  <a:pt x="6052" y="507"/>
                </a:cubicBezTo>
                <a:cubicBezTo>
                  <a:pt x="6050" y="508"/>
                  <a:pt x="6048" y="509"/>
                  <a:pt x="6046" y="509"/>
                </a:cubicBezTo>
                <a:lnTo>
                  <a:pt x="6044" y="509"/>
                </a:lnTo>
                <a:cubicBezTo>
                  <a:pt x="6043" y="509"/>
                  <a:pt x="6042" y="509"/>
                  <a:pt x="6042" y="509"/>
                </a:cubicBezTo>
                <a:cubicBezTo>
                  <a:pt x="6041" y="509"/>
                  <a:pt x="6041" y="509"/>
                  <a:pt x="6041" y="510"/>
                </a:cubicBezTo>
                <a:lnTo>
                  <a:pt x="6041" y="510"/>
                </a:lnTo>
                <a:cubicBezTo>
                  <a:pt x="6042" y="512"/>
                  <a:pt x="6044" y="512"/>
                  <a:pt x="6045" y="512"/>
                </a:cubicBezTo>
                <a:close/>
                <a:moveTo>
                  <a:pt x="6065" y="503"/>
                </a:moveTo>
                <a:cubicBezTo>
                  <a:pt x="6066" y="503"/>
                  <a:pt x="6068" y="503"/>
                  <a:pt x="6070" y="502"/>
                </a:cubicBezTo>
                <a:cubicBezTo>
                  <a:pt x="6071" y="501"/>
                  <a:pt x="6072" y="500"/>
                  <a:pt x="6072" y="497"/>
                </a:cubicBezTo>
                <a:cubicBezTo>
                  <a:pt x="6072" y="497"/>
                  <a:pt x="6072" y="497"/>
                  <a:pt x="6072" y="497"/>
                </a:cubicBezTo>
                <a:cubicBezTo>
                  <a:pt x="6072" y="497"/>
                  <a:pt x="6071" y="497"/>
                  <a:pt x="6071" y="498"/>
                </a:cubicBezTo>
                <a:cubicBezTo>
                  <a:pt x="6070" y="499"/>
                  <a:pt x="6068" y="499"/>
                  <a:pt x="6066" y="499"/>
                </a:cubicBezTo>
                <a:lnTo>
                  <a:pt x="6064" y="499"/>
                </a:lnTo>
                <a:cubicBezTo>
                  <a:pt x="6062" y="499"/>
                  <a:pt x="6062" y="499"/>
                  <a:pt x="6062" y="501"/>
                </a:cubicBezTo>
                <a:cubicBezTo>
                  <a:pt x="6062" y="502"/>
                  <a:pt x="6063" y="503"/>
                  <a:pt x="6065" y="503"/>
                </a:cubicBezTo>
                <a:close/>
                <a:moveTo>
                  <a:pt x="6025" y="768"/>
                </a:moveTo>
                <a:cubicBezTo>
                  <a:pt x="6025" y="768"/>
                  <a:pt x="6026" y="768"/>
                  <a:pt x="6026" y="768"/>
                </a:cubicBezTo>
                <a:lnTo>
                  <a:pt x="6025" y="765"/>
                </a:lnTo>
                <a:cubicBezTo>
                  <a:pt x="6025" y="764"/>
                  <a:pt x="6025" y="764"/>
                  <a:pt x="6026" y="764"/>
                </a:cubicBezTo>
                <a:cubicBezTo>
                  <a:pt x="6026" y="764"/>
                  <a:pt x="6026" y="764"/>
                  <a:pt x="6027" y="765"/>
                </a:cubicBezTo>
                <a:cubicBezTo>
                  <a:pt x="6028" y="765"/>
                  <a:pt x="6028" y="765"/>
                  <a:pt x="6030" y="765"/>
                </a:cubicBezTo>
                <a:cubicBezTo>
                  <a:pt x="6033" y="765"/>
                  <a:pt x="6036" y="764"/>
                  <a:pt x="6039" y="762"/>
                </a:cubicBezTo>
                <a:cubicBezTo>
                  <a:pt x="6041" y="762"/>
                  <a:pt x="6042" y="760"/>
                  <a:pt x="6042" y="759"/>
                </a:cubicBezTo>
                <a:cubicBezTo>
                  <a:pt x="6042" y="758"/>
                  <a:pt x="6043" y="757"/>
                  <a:pt x="6045" y="757"/>
                </a:cubicBezTo>
                <a:cubicBezTo>
                  <a:pt x="6047" y="757"/>
                  <a:pt x="6050" y="755"/>
                  <a:pt x="6054" y="751"/>
                </a:cubicBezTo>
                <a:cubicBezTo>
                  <a:pt x="6056" y="750"/>
                  <a:pt x="6057" y="748"/>
                  <a:pt x="6059" y="747"/>
                </a:cubicBezTo>
                <a:cubicBezTo>
                  <a:pt x="6060" y="746"/>
                  <a:pt x="6061" y="746"/>
                  <a:pt x="6061" y="746"/>
                </a:cubicBezTo>
                <a:cubicBezTo>
                  <a:pt x="6063" y="746"/>
                  <a:pt x="6069" y="741"/>
                  <a:pt x="6078" y="732"/>
                </a:cubicBezTo>
                <a:cubicBezTo>
                  <a:pt x="6086" y="723"/>
                  <a:pt x="6095" y="713"/>
                  <a:pt x="6104" y="703"/>
                </a:cubicBezTo>
                <a:cubicBezTo>
                  <a:pt x="6112" y="692"/>
                  <a:pt x="6118" y="684"/>
                  <a:pt x="6121" y="679"/>
                </a:cubicBezTo>
                <a:cubicBezTo>
                  <a:pt x="6122" y="676"/>
                  <a:pt x="6123" y="674"/>
                  <a:pt x="6125" y="672"/>
                </a:cubicBezTo>
                <a:cubicBezTo>
                  <a:pt x="6132" y="666"/>
                  <a:pt x="6139" y="651"/>
                  <a:pt x="6144" y="627"/>
                </a:cubicBezTo>
                <a:cubicBezTo>
                  <a:pt x="6146" y="618"/>
                  <a:pt x="6147" y="610"/>
                  <a:pt x="6147" y="602"/>
                </a:cubicBezTo>
                <a:cubicBezTo>
                  <a:pt x="6145" y="590"/>
                  <a:pt x="6142" y="579"/>
                  <a:pt x="6138" y="570"/>
                </a:cubicBezTo>
                <a:cubicBezTo>
                  <a:pt x="6137" y="566"/>
                  <a:pt x="6135" y="565"/>
                  <a:pt x="6134" y="565"/>
                </a:cubicBezTo>
                <a:lnTo>
                  <a:pt x="6133" y="565"/>
                </a:lnTo>
                <a:cubicBezTo>
                  <a:pt x="6132" y="565"/>
                  <a:pt x="6132" y="565"/>
                  <a:pt x="6132" y="565"/>
                </a:cubicBezTo>
                <a:lnTo>
                  <a:pt x="6133" y="563"/>
                </a:lnTo>
                <a:cubicBezTo>
                  <a:pt x="6133" y="560"/>
                  <a:pt x="6131" y="557"/>
                  <a:pt x="6127" y="553"/>
                </a:cubicBezTo>
                <a:cubicBezTo>
                  <a:pt x="6124" y="549"/>
                  <a:pt x="6122" y="548"/>
                  <a:pt x="6121" y="548"/>
                </a:cubicBezTo>
                <a:cubicBezTo>
                  <a:pt x="6121" y="548"/>
                  <a:pt x="6121" y="548"/>
                  <a:pt x="6121" y="548"/>
                </a:cubicBezTo>
                <a:cubicBezTo>
                  <a:pt x="6121" y="549"/>
                  <a:pt x="6121" y="551"/>
                  <a:pt x="6122" y="552"/>
                </a:cubicBezTo>
                <a:cubicBezTo>
                  <a:pt x="6122" y="556"/>
                  <a:pt x="6121" y="558"/>
                  <a:pt x="6120" y="558"/>
                </a:cubicBezTo>
                <a:cubicBezTo>
                  <a:pt x="6119" y="558"/>
                  <a:pt x="6118" y="558"/>
                  <a:pt x="6118" y="560"/>
                </a:cubicBezTo>
                <a:lnTo>
                  <a:pt x="6118" y="562"/>
                </a:lnTo>
                <a:cubicBezTo>
                  <a:pt x="6118" y="563"/>
                  <a:pt x="6118" y="563"/>
                  <a:pt x="6117" y="563"/>
                </a:cubicBezTo>
                <a:cubicBezTo>
                  <a:pt x="6116" y="563"/>
                  <a:pt x="6115" y="565"/>
                  <a:pt x="6113" y="567"/>
                </a:cubicBezTo>
                <a:cubicBezTo>
                  <a:pt x="6112" y="570"/>
                  <a:pt x="6111" y="574"/>
                  <a:pt x="6110" y="578"/>
                </a:cubicBezTo>
                <a:cubicBezTo>
                  <a:pt x="6108" y="581"/>
                  <a:pt x="6108" y="585"/>
                  <a:pt x="6107" y="588"/>
                </a:cubicBezTo>
                <a:cubicBezTo>
                  <a:pt x="6107" y="589"/>
                  <a:pt x="6107" y="589"/>
                  <a:pt x="6106" y="590"/>
                </a:cubicBezTo>
                <a:cubicBezTo>
                  <a:pt x="6105" y="591"/>
                  <a:pt x="6104" y="591"/>
                  <a:pt x="6102" y="591"/>
                </a:cubicBezTo>
                <a:cubicBezTo>
                  <a:pt x="6100" y="591"/>
                  <a:pt x="6099" y="591"/>
                  <a:pt x="6099" y="592"/>
                </a:cubicBezTo>
                <a:lnTo>
                  <a:pt x="6103" y="593"/>
                </a:lnTo>
                <a:cubicBezTo>
                  <a:pt x="6105" y="593"/>
                  <a:pt x="6105" y="594"/>
                  <a:pt x="6105" y="595"/>
                </a:cubicBezTo>
                <a:cubicBezTo>
                  <a:pt x="6105" y="595"/>
                  <a:pt x="6104" y="595"/>
                  <a:pt x="6102" y="595"/>
                </a:cubicBezTo>
                <a:cubicBezTo>
                  <a:pt x="6099" y="595"/>
                  <a:pt x="6098" y="596"/>
                  <a:pt x="6098" y="596"/>
                </a:cubicBezTo>
                <a:cubicBezTo>
                  <a:pt x="6098" y="597"/>
                  <a:pt x="6097" y="599"/>
                  <a:pt x="6097" y="602"/>
                </a:cubicBezTo>
                <a:lnTo>
                  <a:pt x="6098" y="605"/>
                </a:lnTo>
                <a:cubicBezTo>
                  <a:pt x="6098" y="606"/>
                  <a:pt x="6097" y="607"/>
                  <a:pt x="6096" y="607"/>
                </a:cubicBezTo>
                <a:cubicBezTo>
                  <a:pt x="6096" y="607"/>
                  <a:pt x="6096" y="606"/>
                  <a:pt x="6095" y="606"/>
                </a:cubicBezTo>
                <a:cubicBezTo>
                  <a:pt x="6095" y="606"/>
                  <a:pt x="6094" y="606"/>
                  <a:pt x="6093" y="606"/>
                </a:cubicBezTo>
                <a:cubicBezTo>
                  <a:pt x="6093" y="606"/>
                  <a:pt x="6093" y="607"/>
                  <a:pt x="6092" y="607"/>
                </a:cubicBezTo>
                <a:cubicBezTo>
                  <a:pt x="6092" y="608"/>
                  <a:pt x="6092" y="608"/>
                  <a:pt x="6092" y="609"/>
                </a:cubicBezTo>
                <a:cubicBezTo>
                  <a:pt x="6092" y="615"/>
                  <a:pt x="6089" y="618"/>
                  <a:pt x="6082" y="618"/>
                </a:cubicBezTo>
                <a:cubicBezTo>
                  <a:pt x="6081" y="618"/>
                  <a:pt x="6079" y="617"/>
                  <a:pt x="6078" y="617"/>
                </a:cubicBezTo>
                <a:cubicBezTo>
                  <a:pt x="6077" y="617"/>
                  <a:pt x="6077" y="616"/>
                  <a:pt x="6077" y="615"/>
                </a:cubicBezTo>
                <a:cubicBezTo>
                  <a:pt x="6077" y="612"/>
                  <a:pt x="6079" y="607"/>
                  <a:pt x="6082" y="599"/>
                </a:cubicBezTo>
                <a:cubicBezTo>
                  <a:pt x="6087" y="588"/>
                  <a:pt x="6091" y="581"/>
                  <a:pt x="6093" y="579"/>
                </a:cubicBezTo>
                <a:lnTo>
                  <a:pt x="6095" y="577"/>
                </a:lnTo>
                <a:cubicBezTo>
                  <a:pt x="6095" y="577"/>
                  <a:pt x="6095" y="577"/>
                  <a:pt x="6095" y="577"/>
                </a:cubicBezTo>
                <a:cubicBezTo>
                  <a:pt x="6095" y="577"/>
                  <a:pt x="6095" y="575"/>
                  <a:pt x="6096" y="573"/>
                </a:cubicBezTo>
                <a:cubicBezTo>
                  <a:pt x="6097" y="571"/>
                  <a:pt x="6097" y="568"/>
                  <a:pt x="6099" y="565"/>
                </a:cubicBezTo>
                <a:cubicBezTo>
                  <a:pt x="6102" y="556"/>
                  <a:pt x="6103" y="551"/>
                  <a:pt x="6103" y="550"/>
                </a:cubicBezTo>
                <a:cubicBezTo>
                  <a:pt x="6103" y="549"/>
                  <a:pt x="6104" y="548"/>
                  <a:pt x="6105" y="546"/>
                </a:cubicBezTo>
                <a:cubicBezTo>
                  <a:pt x="6106" y="545"/>
                  <a:pt x="6107" y="543"/>
                  <a:pt x="6107" y="541"/>
                </a:cubicBezTo>
                <a:cubicBezTo>
                  <a:pt x="6107" y="539"/>
                  <a:pt x="6107" y="538"/>
                  <a:pt x="6107" y="538"/>
                </a:cubicBezTo>
                <a:cubicBezTo>
                  <a:pt x="6105" y="538"/>
                  <a:pt x="6103" y="540"/>
                  <a:pt x="6099" y="545"/>
                </a:cubicBezTo>
                <a:cubicBezTo>
                  <a:pt x="6096" y="548"/>
                  <a:pt x="6094" y="550"/>
                  <a:pt x="6094" y="550"/>
                </a:cubicBezTo>
                <a:cubicBezTo>
                  <a:pt x="6094" y="550"/>
                  <a:pt x="6095" y="549"/>
                  <a:pt x="6097" y="546"/>
                </a:cubicBezTo>
                <a:cubicBezTo>
                  <a:pt x="6098" y="544"/>
                  <a:pt x="6099" y="542"/>
                  <a:pt x="6100" y="540"/>
                </a:cubicBezTo>
                <a:cubicBezTo>
                  <a:pt x="6101" y="539"/>
                  <a:pt x="6101" y="538"/>
                  <a:pt x="6101" y="537"/>
                </a:cubicBezTo>
                <a:cubicBezTo>
                  <a:pt x="6101" y="536"/>
                  <a:pt x="6100" y="535"/>
                  <a:pt x="6098" y="535"/>
                </a:cubicBezTo>
                <a:cubicBezTo>
                  <a:pt x="6096" y="536"/>
                  <a:pt x="6093" y="536"/>
                  <a:pt x="6091" y="537"/>
                </a:cubicBezTo>
                <a:cubicBezTo>
                  <a:pt x="6088" y="538"/>
                  <a:pt x="6085" y="540"/>
                  <a:pt x="6083" y="542"/>
                </a:cubicBezTo>
                <a:cubicBezTo>
                  <a:pt x="6080" y="544"/>
                  <a:pt x="6079" y="545"/>
                  <a:pt x="6079" y="546"/>
                </a:cubicBezTo>
                <a:lnTo>
                  <a:pt x="6081" y="546"/>
                </a:lnTo>
                <a:cubicBezTo>
                  <a:pt x="6081" y="546"/>
                  <a:pt x="6080" y="547"/>
                  <a:pt x="6078" y="549"/>
                </a:cubicBezTo>
                <a:cubicBezTo>
                  <a:pt x="6075" y="553"/>
                  <a:pt x="6074" y="555"/>
                  <a:pt x="6073" y="556"/>
                </a:cubicBezTo>
                <a:cubicBezTo>
                  <a:pt x="6073" y="559"/>
                  <a:pt x="6071" y="560"/>
                  <a:pt x="6070" y="561"/>
                </a:cubicBezTo>
                <a:cubicBezTo>
                  <a:pt x="6069" y="561"/>
                  <a:pt x="6069" y="562"/>
                  <a:pt x="6069" y="565"/>
                </a:cubicBezTo>
                <a:cubicBezTo>
                  <a:pt x="6069" y="566"/>
                  <a:pt x="6068" y="566"/>
                  <a:pt x="6068" y="567"/>
                </a:cubicBezTo>
                <a:lnTo>
                  <a:pt x="6066" y="567"/>
                </a:lnTo>
                <a:cubicBezTo>
                  <a:pt x="6065" y="567"/>
                  <a:pt x="6064" y="568"/>
                  <a:pt x="6064" y="572"/>
                </a:cubicBezTo>
                <a:cubicBezTo>
                  <a:pt x="6064" y="576"/>
                  <a:pt x="6063" y="578"/>
                  <a:pt x="6061" y="578"/>
                </a:cubicBezTo>
                <a:cubicBezTo>
                  <a:pt x="6060" y="579"/>
                  <a:pt x="6059" y="579"/>
                  <a:pt x="6059" y="580"/>
                </a:cubicBezTo>
                <a:lnTo>
                  <a:pt x="6059" y="583"/>
                </a:lnTo>
                <a:lnTo>
                  <a:pt x="6060" y="583"/>
                </a:lnTo>
                <a:lnTo>
                  <a:pt x="6059" y="583"/>
                </a:lnTo>
                <a:lnTo>
                  <a:pt x="6054" y="583"/>
                </a:lnTo>
                <a:cubicBezTo>
                  <a:pt x="6054" y="583"/>
                  <a:pt x="6054" y="583"/>
                  <a:pt x="6054" y="583"/>
                </a:cubicBezTo>
                <a:cubicBezTo>
                  <a:pt x="6054" y="583"/>
                  <a:pt x="6054" y="584"/>
                  <a:pt x="6056" y="585"/>
                </a:cubicBezTo>
                <a:cubicBezTo>
                  <a:pt x="6057" y="587"/>
                  <a:pt x="6058" y="588"/>
                  <a:pt x="6058" y="588"/>
                </a:cubicBezTo>
                <a:cubicBezTo>
                  <a:pt x="6057" y="589"/>
                  <a:pt x="6056" y="590"/>
                  <a:pt x="6055" y="592"/>
                </a:cubicBezTo>
                <a:cubicBezTo>
                  <a:pt x="6053" y="594"/>
                  <a:pt x="6052" y="596"/>
                  <a:pt x="6052" y="597"/>
                </a:cubicBezTo>
                <a:cubicBezTo>
                  <a:pt x="6051" y="602"/>
                  <a:pt x="6051" y="604"/>
                  <a:pt x="6050" y="604"/>
                </a:cubicBezTo>
                <a:lnTo>
                  <a:pt x="6048" y="603"/>
                </a:lnTo>
                <a:cubicBezTo>
                  <a:pt x="6048" y="603"/>
                  <a:pt x="6047" y="604"/>
                  <a:pt x="6047" y="605"/>
                </a:cubicBezTo>
                <a:cubicBezTo>
                  <a:pt x="6046" y="606"/>
                  <a:pt x="6046" y="607"/>
                  <a:pt x="6046" y="609"/>
                </a:cubicBezTo>
                <a:lnTo>
                  <a:pt x="6046" y="613"/>
                </a:lnTo>
                <a:cubicBezTo>
                  <a:pt x="6046" y="613"/>
                  <a:pt x="6046" y="614"/>
                  <a:pt x="6046" y="615"/>
                </a:cubicBezTo>
                <a:cubicBezTo>
                  <a:pt x="6045" y="616"/>
                  <a:pt x="6044" y="617"/>
                  <a:pt x="6043" y="619"/>
                </a:cubicBezTo>
                <a:cubicBezTo>
                  <a:pt x="6043" y="620"/>
                  <a:pt x="6042" y="621"/>
                  <a:pt x="6041" y="622"/>
                </a:cubicBezTo>
                <a:lnTo>
                  <a:pt x="6041" y="624"/>
                </a:lnTo>
                <a:lnTo>
                  <a:pt x="6042" y="625"/>
                </a:lnTo>
                <a:cubicBezTo>
                  <a:pt x="6042" y="625"/>
                  <a:pt x="6041" y="625"/>
                  <a:pt x="6040" y="625"/>
                </a:cubicBezTo>
                <a:cubicBezTo>
                  <a:pt x="6039" y="625"/>
                  <a:pt x="6038" y="626"/>
                  <a:pt x="6038" y="628"/>
                </a:cubicBezTo>
                <a:lnTo>
                  <a:pt x="6039" y="632"/>
                </a:lnTo>
                <a:cubicBezTo>
                  <a:pt x="6039" y="634"/>
                  <a:pt x="6038" y="636"/>
                  <a:pt x="6037" y="637"/>
                </a:cubicBezTo>
                <a:cubicBezTo>
                  <a:pt x="6036" y="637"/>
                  <a:pt x="6035" y="639"/>
                  <a:pt x="6035" y="640"/>
                </a:cubicBezTo>
                <a:lnTo>
                  <a:pt x="6035" y="644"/>
                </a:lnTo>
                <a:lnTo>
                  <a:pt x="6036" y="645"/>
                </a:lnTo>
                <a:cubicBezTo>
                  <a:pt x="6036" y="645"/>
                  <a:pt x="6035" y="646"/>
                  <a:pt x="6035" y="646"/>
                </a:cubicBezTo>
                <a:lnTo>
                  <a:pt x="6032" y="644"/>
                </a:lnTo>
                <a:cubicBezTo>
                  <a:pt x="6032" y="644"/>
                  <a:pt x="6032" y="645"/>
                  <a:pt x="6032" y="646"/>
                </a:cubicBezTo>
                <a:lnTo>
                  <a:pt x="6033" y="652"/>
                </a:lnTo>
                <a:cubicBezTo>
                  <a:pt x="6033" y="652"/>
                  <a:pt x="6033" y="653"/>
                  <a:pt x="6032" y="653"/>
                </a:cubicBezTo>
                <a:lnTo>
                  <a:pt x="6030" y="652"/>
                </a:lnTo>
                <a:cubicBezTo>
                  <a:pt x="6030" y="652"/>
                  <a:pt x="6029" y="652"/>
                  <a:pt x="6029" y="652"/>
                </a:cubicBezTo>
                <a:lnTo>
                  <a:pt x="6030" y="657"/>
                </a:lnTo>
                <a:cubicBezTo>
                  <a:pt x="6030" y="658"/>
                  <a:pt x="6030" y="659"/>
                  <a:pt x="6029" y="659"/>
                </a:cubicBezTo>
                <a:cubicBezTo>
                  <a:pt x="6028" y="659"/>
                  <a:pt x="6028" y="660"/>
                  <a:pt x="6028" y="662"/>
                </a:cubicBezTo>
                <a:lnTo>
                  <a:pt x="6028" y="664"/>
                </a:lnTo>
                <a:cubicBezTo>
                  <a:pt x="6028" y="665"/>
                  <a:pt x="6028" y="666"/>
                  <a:pt x="6027" y="666"/>
                </a:cubicBezTo>
                <a:cubicBezTo>
                  <a:pt x="6026" y="666"/>
                  <a:pt x="6026" y="667"/>
                  <a:pt x="6026" y="668"/>
                </a:cubicBezTo>
                <a:lnTo>
                  <a:pt x="6026" y="670"/>
                </a:lnTo>
                <a:lnTo>
                  <a:pt x="6026" y="671"/>
                </a:lnTo>
                <a:cubicBezTo>
                  <a:pt x="6026" y="673"/>
                  <a:pt x="6026" y="674"/>
                  <a:pt x="6025" y="675"/>
                </a:cubicBezTo>
                <a:cubicBezTo>
                  <a:pt x="6024" y="676"/>
                  <a:pt x="6024" y="677"/>
                  <a:pt x="6024" y="677"/>
                </a:cubicBezTo>
                <a:lnTo>
                  <a:pt x="6024" y="678"/>
                </a:lnTo>
                <a:lnTo>
                  <a:pt x="6024" y="679"/>
                </a:lnTo>
                <a:lnTo>
                  <a:pt x="6024" y="680"/>
                </a:lnTo>
                <a:cubicBezTo>
                  <a:pt x="6024" y="680"/>
                  <a:pt x="6024" y="681"/>
                  <a:pt x="6023" y="682"/>
                </a:cubicBezTo>
                <a:cubicBezTo>
                  <a:pt x="6022" y="683"/>
                  <a:pt x="6022" y="683"/>
                  <a:pt x="6022" y="685"/>
                </a:cubicBezTo>
                <a:lnTo>
                  <a:pt x="6022" y="686"/>
                </a:lnTo>
                <a:cubicBezTo>
                  <a:pt x="6022" y="687"/>
                  <a:pt x="6022" y="687"/>
                  <a:pt x="6022" y="688"/>
                </a:cubicBezTo>
                <a:cubicBezTo>
                  <a:pt x="6022" y="689"/>
                  <a:pt x="6021" y="690"/>
                  <a:pt x="6021" y="691"/>
                </a:cubicBezTo>
                <a:cubicBezTo>
                  <a:pt x="6020" y="692"/>
                  <a:pt x="6019" y="693"/>
                  <a:pt x="6019" y="695"/>
                </a:cubicBezTo>
                <a:lnTo>
                  <a:pt x="6019" y="699"/>
                </a:lnTo>
                <a:lnTo>
                  <a:pt x="6020" y="701"/>
                </a:lnTo>
                <a:cubicBezTo>
                  <a:pt x="6020" y="703"/>
                  <a:pt x="6019" y="704"/>
                  <a:pt x="6018" y="704"/>
                </a:cubicBezTo>
                <a:cubicBezTo>
                  <a:pt x="6018" y="704"/>
                  <a:pt x="6017" y="704"/>
                  <a:pt x="6017" y="705"/>
                </a:cubicBezTo>
                <a:lnTo>
                  <a:pt x="6017" y="705"/>
                </a:lnTo>
                <a:lnTo>
                  <a:pt x="6018" y="707"/>
                </a:lnTo>
                <a:cubicBezTo>
                  <a:pt x="6018" y="709"/>
                  <a:pt x="6017" y="710"/>
                  <a:pt x="6016" y="711"/>
                </a:cubicBezTo>
                <a:cubicBezTo>
                  <a:pt x="6015" y="713"/>
                  <a:pt x="6014" y="717"/>
                  <a:pt x="6014" y="723"/>
                </a:cubicBezTo>
                <a:lnTo>
                  <a:pt x="6014" y="732"/>
                </a:lnTo>
                <a:lnTo>
                  <a:pt x="6013" y="740"/>
                </a:lnTo>
                <a:cubicBezTo>
                  <a:pt x="6013" y="742"/>
                  <a:pt x="6013" y="744"/>
                  <a:pt x="6014" y="746"/>
                </a:cubicBezTo>
                <a:cubicBezTo>
                  <a:pt x="6015" y="747"/>
                  <a:pt x="6015" y="749"/>
                  <a:pt x="6015" y="749"/>
                </a:cubicBezTo>
                <a:cubicBezTo>
                  <a:pt x="6015" y="750"/>
                  <a:pt x="6014" y="750"/>
                  <a:pt x="6014" y="750"/>
                </a:cubicBezTo>
                <a:cubicBezTo>
                  <a:pt x="6013" y="750"/>
                  <a:pt x="6012" y="750"/>
                  <a:pt x="6012" y="751"/>
                </a:cubicBezTo>
                <a:cubicBezTo>
                  <a:pt x="6012" y="751"/>
                  <a:pt x="6013" y="752"/>
                  <a:pt x="6014" y="752"/>
                </a:cubicBezTo>
                <a:cubicBezTo>
                  <a:pt x="6015" y="753"/>
                  <a:pt x="6016" y="754"/>
                  <a:pt x="6016" y="754"/>
                </a:cubicBezTo>
                <a:cubicBezTo>
                  <a:pt x="6016" y="754"/>
                  <a:pt x="6015" y="755"/>
                  <a:pt x="6014" y="755"/>
                </a:cubicBezTo>
                <a:cubicBezTo>
                  <a:pt x="6013" y="755"/>
                  <a:pt x="6012" y="755"/>
                  <a:pt x="6012" y="755"/>
                </a:cubicBezTo>
                <a:cubicBezTo>
                  <a:pt x="6012" y="756"/>
                  <a:pt x="6012" y="756"/>
                  <a:pt x="6013" y="757"/>
                </a:cubicBezTo>
                <a:cubicBezTo>
                  <a:pt x="6014" y="757"/>
                  <a:pt x="6015" y="758"/>
                  <a:pt x="6016" y="759"/>
                </a:cubicBezTo>
                <a:cubicBezTo>
                  <a:pt x="6016" y="759"/>
                  <a:pt x="6016" y="760"/>
                  <a:pt x="6016" y="760"/>
                </a:cubicBezTo>
                <a:lnTo>
                  <a:pt x="6015" y="761"/>
                </a:lnTo>
                <a:cubicBezTo>
                  <a:pt x="6015" y="761"/>
                  <a:pt x="6015" y="762"/>
                  <a:pt x="6015" y="762"/>
                </a:cubicBezTo>
                <a:cubicBezTo>
                  <a:pt x="6015" y="763"/>
                  <a:pt x="6015" y="763"/>
                  <a:pt x="6016" y="764"/>
                </a:cubicBezTo>
                <a:cubicBezTo>
                  <a:pt x="6017" y="765"/>
                  <a:pt x="6018" y="766"/>
                  <a:pt x="6020" y="767"/>
                </a:cubicBezTo>
                <a:cubicBezTo>
                  <a:pt x="6021" y="768"/>
                  <a:pt x="6023" y="768"/>
                  <a:pt x="6025" y="768"/>
                </a:cubicBezTo>
                <a:close/>
                <a:moveTo>
                  <a:pt x="6137" y="703"/>
                </a:moveTo>
                <a:cubicBezTo>
                  <a:pt x="6137" y="703"/>
                  <a:pt x="6138" y="702"/>
                  <a:pt x="6138" y="701"/>
                </a:cubicBezTo>
                <a:cubicBezTo>
                  <a:pt x="6138" y="700"/>
                  <a:pt x="6137" y="699"/>
                  <a:pt x="6137" y="697"/>
                </a:cubicBezTo>
                <a:cubicBezTo>
                  <a:pt x="6136" y="696"/>
                  <a:pt x="6135" y="695"/>
                  <a:pt x="6135" y="695"/>
                </a:cubicBezTo>
                <a:cubicBezTo>
                  <a:pt x="6135" y="695"/>
                  <a:pt x="6135" y="696"/>
                  <a:pt x="6135" y="697"/>
                </a:cubicBezTo>
                <a:cubicBezTo>
                  <a:pt x="6135" y="698"/>
                  <a:pt x="6135" y="699"/>
                  <a:pt x="6135" y="700"/>
                </a:cubicBezTo>
                <a:cubicBezTo>
                  <a:pt x="6135" y="701"/>
                  <a:pt x="6135" y="701"/>
                  <a:pt x="6136" y="702"/>
                </a:cubicBezTo>
                <a:lnTo>
                  <a:pt x="6136" y="703"/>
                </a:lnTo>
                <a:lnTo>
                  <a:pt x="6137" y="703"/>
                </a:lnTo>
                <a:close/>
                <a:moveTo>
                  <a:pt x="6125" y="711"/>
                </a:moveTo>
                <a:cubicBezTo>
                  <a:pt x="6125" y="711"/>
                  <a:pt x="6126" y="710"/>
                  <a:pt x="6127" y="710"/>
                </a:cubicBezTo>
                <a:cubicBezTo>
                  <a:pt x="6128" y="709"/>
                  <a:pt x="6129" y="708"/>
                  <a:pt x="6130" y="708"/>
                </a:cubicBezTo>
                <a:cubicBezTo>
                  <a:pt x="6130" y="707"/>
                  <a:pt x="6131" y="706"/>
                  <a:pt x="6131" y="705"/>
                </a:cubicBezTo>
                <a:cubicBezTo>
                  <a:pt x="6131" y="705"/>
                  <a:pt x="6131" y="704"/>
                  <a:pt x="6130" y="704"/>
                </a:cubicBezTo>
                <a:cubicBezTo>
                  <a:pt x="6130" y="704"/>
                  <a:pt x="6129" y="705"/>
                  <a:pt x="6128" y="705"/>
                </a:cubicBezTo>
                <a:cubicBezTo>
                  <a:pt x="6127" y="706"/>
                  <a:pt x="6126" y="707"/>
                  <a:pt x="6125" y="708"/>
                </a:cubicBezTo>
                <a:cubicBezTo>
                  <a:pt x="6125" y="708"/>
                  <a:pt x="6124" y="709"/>
                  <a:pt x="6124" y="710"/>
                </a:cubicBezTo>
                <a:cubicBezTo>
                  <a:pt x="6124" y="710"/>
                  <a:pt x="6124" y="711"/>
                  <a:pt x="6125" y="711"/>
                </a:cubicBezTo>
                <a:close/>
                <a:moveTo>
                  <a:pt x="6107" y="725"/>
                </a:moveTo>
                <a:cubicBezTo>
                  <a:pt x="6107" y="725"/>
                  <a:pt x="6109" y="724"/>
                  <a:pt x="6110" y="722"/>
                </a:cubicBezTo>
                <a:cubicBezTo>
                  <a:pt x="6112" y="720"/>
                  <a:pt x="6112" y="718"/>
                  <a:pt x="6112" y="718"/>
                </a:cubicBezTo>
                <a:lnTo>
                  <a:pt x="6110" y="720"/>
                </a:lnTo>
                <a:cubicBezTo>
                  <a:pt x="6107" y="722"/>
                  <a:pt x="6106" y="724"/>
                  <a:pt x="6106" y="725"/>
                </a:cubicBezTo>
                <a:cubicBezTo>
                  <a:pt x="6106" y="725"/>
                  <a:pt x="6106" y="725"/>
                  <a:pt x="6107" y="725"/>
                </a:cubicBezTo>
                <a:close/>
                <a:moveTo>
                  <a:pt x="6060" y="766"/>
                </a:moveTo>
                <a:cubicBezTo>
                  <a:pt x="6060" y="766"/>
                  <a:pt x="6063" y="764"/>
                  <a:pt x="6067" y="761"/>
                </a:cubicBezTo>
                <a:cubicBezTo>
                  <a:pt x="6071" y="758"/>
                  <a:pt x="6074" y="757"/>
                  <a:pt x="6076" y="756"/>
                </a:cubicBezTo>
                <a:cubicBezTo>
                  <a:pt x="6079" y="756"/>
                  <a:pt x="6080" y="755"/>
                  <a:pt x="6080" y="755"/>
                </a:cubicBezTo>
                <a:lnTo>
                  <a:pt x="6080" y="754"/>
                </a:lnTo>
                <a:cubicBezTo>
                  <a:pt x="6080" y="752"/>
                  <a:pt x="6083" y="749"/>
                  <a:pt x="6087" y="744"/>
                </a:cubicBezTo>
                <a:lnTo>
                  <a:pt x="6093" y="739"/>
                </a:lnTo>
                <a:cubicBezTo>
                  <a:pt x="6092" y="739"/>
                  <a:pt x="6091" y="739"/>
                  <a:pt x="6090" y="740"/>
                </a:cubicBezTo>
                <a:cubicBezTo>
                  <a:pt x="6088" y="741"/>
                  <a:pt x="6084" y="745"/>
                  <a:pt x="6077" y="751"/>
                </a:cubicBezTo>
                <a:cubicBezTo>
                  <a:pt x="6075" y="753"/>
                  <a:pt x="6072" y="755"/>
                  <a:pt x="6070" y="757"/>
                </a:cubicBezTo>
                <a:cubicBezTo>
                  <a:pt x="6068" y="758"/>
                  <a:pt x="6066" y="758"/>
                  <a:pt x="6065" y="758"/>
                </a:cubicBezTo>
                <a:lnTo>
                  <a:pt x="6064" y="758"/>
                </a:lnTo>
                <a:cubicBezTo>
                  <a:pt x="6063" y="758"/>
                  <a:pt x="6061" y="759"/>
                  <a:pt x="6060" y="761"/>
                </a:cubicBezTo>
                <a:cubicBezTo>
                  <a:pt x="6059" y="763"/>
                  <a:pt x="6058" y="765"/>
                  <a:pt x="6058" y="765"/>
                </a:cubicBezTo>
                <a:cubicBezTo>
                  <a:pt x="6058" y="766"/>
                  <a:pt x="6059" y="766"/>
                  <a:pt x="6060" y="766"/>
                </a:cubicBezTo>
                <a:close/>
                <a:moveTo>
                  <a:pt x="6066" y="769"/>
                </a:moveTo>
                <a:cubicBezTo>
                  <a:pt x="6068" y="769"/>
                  <a:pt x="6068" y="768"/>
                  <a:pt x="6069" y="768"/>
                </a:cubicBezTo>
                <a:cubicBezTo>
                  <a:pt x="6069" y="767"/>
                  <a:pt x="6068" y="767"/>
                  <a:pt x="6067" y="766"/>
                </a:cubicBezTo>
                <a:cubicBezTo>
                  <a:pt x="6066" y="765"/>
                  <a:pt x="6065" y="765"/>
                  <a:pt x="6065" y="765"/>
                </a:cubicBezTo>
                <a:cubicBezTo>
                  <a:pt x="6065" y="765"/>
                  <a:pt x="6064" y="766"/>
                  <a:pt x="6064" y="767"/>
                </a:cubicBezTo>
                <a:cubicBezTo>
                  <a:pt x="6064" y="768"/>
                  <a:pt x="6065" y="769"/>
                  <a:pt x="6066" y="769"/>
                </a:cubicBezTo>
                <a:close/>
                <a:moveTo>
                  <a:pt x="6031" y="780"/>
                </a:moveTo>
                <a:cubicBezTo>
                  <a:pt x="6032" y="780"/>
                  <a:pt x="6033" y="780"/>
                  <a:pt x="6033" y="779"/>
                </a:cubicBezTo>
                <a:lnTo>
                  <a:pt x="6033" y="778"/>
                </a:lnTo>
                <a:lnTo>
                  <a:pt x="6033" y="777"/>
                </a:lnTo>
                <a:lnTo>
                  <a:pt x="6038" y="778"/>
                </a:lnTo>
                <a:cubicBezTo>
                  <a:pt x="6039" y="778"/>
                  <a:pt x="6040" y="778"/>
                  <a:pt x="6040" y="777"/>
                </a:cubicBezTo>
                <a:lnTo>
                  <a:pt x="6039" y="774"/>
                </a:lnTo>
                <a:cubicBezTo>
                  <a:pt x="6039" y="774"/>
                  <a:pt x="6040" y="775"/>
                  <a:pt x="6042" y="777"/>
                </a:cubicBezTo>
                <a:cubicBezTo>
                  <a:pt x="6044" y="778"/>
                  <a:pt x="6045" y="779"/>
                  <a:pt x="6046" y="779"/>
                </a:cubicBezTo>
                <a:lnTo>
                  <a:pt x="6045" y="778"/>
                </a:lnTo>
                <a:cubicBezTo>
                  <a:pt x="6045" y="776"/>
                  <a:pt x="6047" y="774"/>
                  <a:pt x="6051" y="773"/>
                </a:cubicBezTo>
                <a:cubicBezTo>
                  <a:pt x="6056" y="771"/>
                  <a:pt x="6058" y="770"/>
                  <a:pt x="6058" y="768"/>
                </a:cubicBezTo>
                <a:cubicBezTo>
                  <a:pt x="6058" y="767"/>
                  <a:pt x="6057" y="766"/>
                  <a:pt x="6056" y="764"/>
                </a:cubicBezTo>
                <a:cubicBezTo>
                  <a:pt x="6055" y="763"/>
                  <a:pt x="6054" y="762"/>
                  <a:pt x="6054" y="762"/>
                </a:cubicBezTo>
                <a:cubicBezTo>
                  <a:pt x="6053" y="762"/>
                  <a:pt x="6053" y="762"/>
                  <a:pt x="6053" y="763"/>
                </a:cubicBezTo>
                <a:lnTo>
                  <a:pt x="6053" y="764"/>
                </a:lnTo>
                <a:cubicBezTo>
                  <a:pt x="6053" y="766"/>
                  <a:pt x="6053" y="767"/>
                  <a:pt x="6052" y="768"/>
                </a:cubicBezTo>
                <a:cubicBezTo>
                  <a:pt x="6052" y="770"/>
                  <a:pt x="6051" y="770"/>
                  <a:pt x="6050" y="770"/>
                </a:cubicBezTo>
                <a:lnTo>
                  <a:pt x="6050" y="767"/>
                </a:lnTo>
                <a:cubicBezTo>
                  <a:pt x="6050" y="767"/>
                  <a:pt x="6050" y="767"/>
                  <a:pt x="6050" y="767"/>
                </a:cubicBezTo>
                <a:lnTo>
                  <a:pt x="6035" y="770"/>
                </a:lnTo>
                <a:cubicBezTo>
                  <a:pt x="6026" y="774"/>
                  <a:pt x="6021" y="776"/>
                  <a:pt x="6020" y="777"/>
                </a:cubicBezTo>
                <a:lnTo>
                  <a:pt x="6028" y="776"/>
                </a:lnTo>
                <a:cubicBezTo>
                  <a:pt x="6029" y="776"/>
                  <a:pt x="6029" y="777"/>
                  <a:pt x="6029" y="778"/>
                </a:cubicBezTo>
                <a:cubicBezTo>
                  <a:pt x="6029" y="779"/>
                  <a:pt x="6030" y="780"/>
                  <a:pt x="6031" y="780"/>
                </a:cubicBezTo>
                <a:close/>
                <a:moveTo>
                  <a:pt x="6054" y="795"/>
                </a:moveTo>
                <a:cubicBezTo>
                  <a:pt x="6057" y="795"/>
                  <a:pt x="6060" y="794"/>
                  <a:pt x="6062" y="793"/>
                </a:cubicBezTo>
                <a:cubicBezTo>
                  <a:pt x="6063" y="792"/>
                  <a:pt x="6064" y="792"/>
                  <a:pt x="6065" y="791"/>
                </a:cubicBezTo>
                <a:cubicBezTo>
                  <a:pt x="6066" y="791"/>
                  <a:pt x="6067" y="791"/>
                  <a:pt x="6068" y="791"/>
                </a:cubicBezTo>
                <a:cubicBezTo>
                  <a:pt x="6069" y="790"/>
                  <a:pt x="6071" y="790"/>
                  <a:pt x="6073" y="789"/>
                </a:cubicBezTo>
                <a:cubicBezTo>
                  <a:pt x="6075" y="788"/>
                  <a:pt x="6077" y="787"/>
                  <a:pt x="6079" y="786"/>
                </a:cubicBezTo>
                <a:cubicBezTo>
                  <a:pt x="6081" y="785"/>
                  <a:pt x="6081" y="784"/>
                  <a:pt x="6081" y="784"/>
                </a:cubicBezTo>
                <a:cubicBezTo>
                  <a:pt x="6081" y="784"/>
                  <a:pt x="6081" y="784"/>
                  <a:pt x="6081" y="784"/>
                </a:cubicBezTo>
                <a:lnTo>
                  <a:pt x="6077" y="785"/>
                </a:lnTo>
                <a:cubicBezTo>
                  <a:pt x="6076" y="785"/>
                  <a:pt x="6076" y="784"/>
                  <a:pt x="6076" y="784"/>
                </a:cubicBezTo>
                <a:lnTo>
                  <a:pt x="6076" y="782"/>
                </a:lnTo>
                <a:cubicBezTo>
                  <a:pt x="6077" y="780"/>
                  <a:pt x="6080" y="779"/>
                  <a:pt x="6083" y="779"/>
                </a:cubicBezTo>
                <a:cubicBezTo>
                  <a:pt x="6087" y="779"/>
                  <a:pt x="6089" y="779"/>
                  <a:pt x="6090" y="778"/>
                </a:cubicBezTo>
                <a:lnTo>
                  <a:pt x="6090" y="777"/>
                </a:lnTo>
                <a:lnTo>
                  <a:pt x="6090" y="776"/>
                </a:lnTo>
                <a:lnTo>
                  <a:pt x="6087" y="778"/>
                </a:lnTo>
                <a:cubicBezTo>
                  <a:pt x="6086" y="778"/>
                  <a:pt x="6086" y="777"/>
                  <a:pt x="6086" y="777"/>
                </a:cubicBezTo>
                <a:lnTo>
                  <a:pt x="6087" y="776"/>
                </a:lnTo>
                <a:cubicBezTo>
                  <a:pt x="6088" y="774"/>
                  <a:pt x="6089" y="774"/>
                  <a:pt x="6092" y="774"/>
                </a:cubicBezTo>
                <a:lnTo>
                  <a:pt x="6093" y="774"/>
                </a:lnTo>
                <a:cubicBezTo>
                  <a:pt x="6094" y="774"/>
                  <a:pt x="6094" y="774"/>
                  <a:pt x="6094" y="774"/>
                </a:cubicBezTo>
                <a:lnTo>
                  <a:pt x="6093" y="772"/>
                </a:lnTo>
                <a:cubicBezTo>
                  <a:pt x="6093" y="769"/>
                  <a:pt x="6097" y="765"/>
                  <a:pt x="6105" y="759"/>
                </a:cubicBezTo>
                <a:cubicBezTo>
                  <a:pt x="6129" y="738"/>
                  <a:pt x="6148" y="715"/>
                  <a:pt x="6162" y="689"/>
                </a:cubicBezTo>
                <a:cubicBezTo>
                  <a:pt x="6175" y="666"/>
                  <a:pt x="6182" y="645"/>
                  <a:pt x="6182" y="627"/>
                </a:cubicBezTo>
                <a:cubicBezTo>
                  <a:pt x="6182" y="621"/>
                  <a:pt x="6181" y="613"/>
                  <a:pt x="6178" y="604"/>
                </a:cubicBezTo>
                <a:cubicBezTo>
                  <a:pt x="6174" y="590"/>
                  <a:pt x="6171" y="583"/>
                  <a:pt x="6169" y="583"/>
                </a:cubicBezTo>
                <a:cubicBezTo>
                  <a:pt x="6168" y="583"/>
                  <a:pt x="6168" y="583"/>
                  <a:pt x="6168" y="583"/>
                </a:cubicBezTo>
                <a:lnTo>
                  <a:pt x="6168" y="582"/>
                </a:lnTo>
                <a:cubicBezTo>
                  <a:pt x="6168" y="579"/>
                  <a:pt x="6167" y="577"/>
                  <a:pt x="6166" y="575"/>
                </a:cubicBezTo>
                <a:cubicBezTo>
                  <a:pt x="6164" y="573"/>
                  <a:pt x="6163" y="572"/>
                  <a:pt x="6162" y="572"/>
                </a:cubicBezTo>
                <a:lnTo>
                  <a:pt x="6162" y="573"/>
                </a:lnTo>
                <a:lnTo>
                  <a:pt x="6164" y="576"/>
                </a:lnTo>
                <a:cubicBezTo>
                  <a:pt x="6167" y="585"/>
                  <a:pt x="6168" y="597"/>
                  <a:pt x="6168" y="609"/>
                </a:cubicBezTo>
                <a:cubicBezTo>
                  <a:pt x="6168" y="615"/>
                  <a:pt x="6168" y="623"/>
                  <a:pt x="6167" y="634"/>
                </a:cubicBezTo>
                <a:lnTo>
                  <a:pt x="6167" y="640"/>
                </a:lnTo>
                <a:cubicBezTo>
                  <a:pt x="6167" y="641"/>
                  <a:pt x="6166" y="642"/>
                  <a:pt x="6165" y="642"/>
                </a:cubicBezTo>
                <a:cubicBezTo>
                  <a:pt x="6164" y="642"/>
                  <a:pt x="6164" y="642"/>
                  <a:pt x="6164" y="643"/>
                </a:cubicBezTo>
                <a:lnTo>
                  <a:pt x="6164" y="645"/>
                </a:lnTo>
                <a:lnTo>
                  <a:pt x="6164" y="646"/>
                </a:lnTo>
                <a:cubicBezTo>
                  <a:pt x="6164" y="648"/>
                  <a:pt x="6164" y="649"/>
                  <a:pt x="6163" y="649"/>
                </a:cubicBezTo>
                <a:cubicBezTo>
                  <a:pt x="6162" y="650"/>
                  <a:pt x="6162" y="651"/>
                  <a:pt x="6162" y="653"/>
                </a:cubicBezTo>
                <a:lnTo>
                  <a:pt x="6162" y="656"/>
                </a:lnTo>
                <a:cubicBezTo>
                  <a:pt x="6162" y="656"/>
                  <a:pt x="6162" y="656"/>
                  <a:pt x="6162" y="657"/>
                </a:cubicBezTo>
                <a:cubicBezTo>
                  <a:pt x="6162" y="657"/>
                  <a:pt x="6161" y="658"/>
                  <a:pt x="6161" y="658"/>
                </a:cubicBezTo>
                <a:cubicBezTo>
                  <a:pt x="6160" y="658"/>
                  <a:pt x="6160" y="658"/>
                  <a:pt x="6160" y="659"/>
                </a:cubicBezTo>
                <a:lnTo>
                  <a:pt x="6160" y="662"/>
                </a:lnTo>
                <a:lnTo>
                  <a:pt x="6160" y="664"/>
                </a:lnTo>
                <a:cubicBezTo>
                  <a:pt x="6160" y="664"/>
                  <a:pt x="6160" y="664"/>
                  <a:pt x="6160" y="664"/>
                </a:cubicBezTo>
                <a:lnTo>
                  <a:pt x="6157" y="663"/>
                </a:lnTo>
                <a:cubicBezTo>
                  <a:pt x="6156" y="663"/>
                  <a:pt x="6156" y="663"/>
                  <a:pt x="6156" y="663"/>
                </a:cubicBezTo>
                <a:lnTo>
                  <a:pt x="6157" y="668"/>
                </a:lnTo>
                <a:cubicBezTo>
                  <a:pt x="6157" y="669"/>
                  <a:pt x="6156" y="669"/>
                  <a:pt x="6156" y="669"/>
                </a:cubicBezTo>
                <a:cubicBezTo>
                  <a:pt x="6155" y="669"/>
                  <a:pt x="6155" y="670"/>
                  <a:pt x="6155" y="670"/>
                </a:cubicBezTo>
                <a:lnTo>
                  <a:pt x="6155" y="672"/>
                </a:lnTo>
                <a:lnTo>
                  <a:pt x="6155" y="674"/>
                </a:lnTo>
                <a:cubicBezTo>
                  <a:pt x="6155" y="674"/>
                  <a:pt x="6155" y="674"/>
                  <a:pt x="6154" y="674"/>
                </a:cubicBezTo>
                <a:cubicBezTo>
                  <a:pt x="6153" y="674"/>
                  <a:pt x="6153" y="674"/>
                  <a:pt x="6152" y="674"/>
                </a:cubicBezTo>
                <a:lnTo>
                  <a:pt x="6153" y="678"/>
                </a:lnTo>
                <a:cubicBezTo>
                  <a:pt x="6153" y="679"/>
                  <a:pt x="6153" y="680"/>
                  <a:pt x="6152" y="681"/>
                </a:cubicBezTo>
                <a:cubicBezTo>
                  <a:pt x="6151" y="682"/>
                  <a:pt x="6150" y="683"/>
                  <a:pt x="6149" y="684"/>
                </a:cubicBezTo>
                <a:cubicBezTo>
                  <a:pt x="6148" y="684"/>
                  <a:pt x="6147" y="685"/>
                  <a:pt x="6147" y="685"/>
                </a:cubicBezTo>
                <a:cubicBezTo>
                  <a:pt x="6147" y="685"/>
                  <a:pt x="6146" y="684"/>
                  <a:pt x="6145" y="683"/>
                </a:cubicBezTo>
                <a:cubicBezTo>
                  <a:pt x="6145" y="682"/>
                  <a:pt x="6144" y="682"/>
                  <a:pt x="6143" y="682"/>
                </a:cubicBezTo>
                <a:cubicBezTo>
                  <a:pt x="6143" y="682"/>
                  <a:pt x="6143" y="682"/>
                  <a:pt x="6142" y="683"/>
                </a:cubicBezTo>
                <a:cubicBezTo>
                  <a:pt x="6142" y="683"/>
                  <a:pt x="6142" y="684"/>
                  <a:pt x="6142" y="684"/>
                </a:cubicBezTo>
                <a:cubicBezTo>
                  <a:pt x="6142" y="685"/>
                  <a:pt x="6143" y="686"/>
                  <a:pt x="6144" y="686"/>
                </a:cubicBezTo>
                <a:cubicBezTo>
                  <a:pt x="6146" y="687"/>
                  <a:pt x="6147" y="688"/>
                  <a:pt x="6147" y="688"/>
                </a:cubicBezTo>
                <a:cubicBezTo>
                  <a:pt x="6147" y="689"/>
                  <a:pt x="6146" y="690"/>
                  <a:pt x="6144" y="691"/>
                </a:cubicBezTo>
                <a:cubicBezTo>
                  <a:pt x="6143" y="693"/>
                  <a:pt x="6142" y="693"/>
                  <a:pt x="6142" y="694"/>
                </a:cubicBezTo>
                <a:lnTo>
                  <a:pt x="6144" y="693"/>
                </a:lnTo>
                <a:lnTo>
                  <a:pt x="6144" y="694"/>
                </a:lnTo>
                <a:cubicBezTo>
                  <a:pt x="6144" y="695"/>
                  <a:pt x="6141" y="699"/>
                  <a:pt x="6133" y="708"/>
                </a:cubicBezTo>
                <a:cubicBezTo>
                  <a:pt x="6128" y="713"/>
                  <a:pt x="6124" y="718"/>
                  <a:pt x="6123" y="721"/>
                </a:cubicBezTo>
                <a:cubicBezTo>
                  <a:pt x="6120" y="725"/>
                  <a:pt x="6118" y="727"/>
                  <a:pt x="6115" y="727"/>
                </a:cubicBezTo>
                <a:lnTo>
                  <a:pt x="6115" y="727"/>
                </a:lnTo>
                <a:cubicBezTo>
                  <a:pt x="6113" y="727"/>
                  <a:pt x="6107" y="731"/>
                  <a:pt x="6098" y="739"/>
                </a:cubicBezTo>
                <a:cubicBezTo>
                  <a:pt x="6089" y="748"/>
                  <a:pt x="6085" y="753"/>
                  <a:pt x="6085" y="755"/>
                </a:cubicBezTo>
                <a:lnTo>
                  <a:pt x="6085" y="756"/>
                </a:lnTo>
                <a:cubicBezTo>
                  <a:pt x="6085" y="758"/>
                  <a:pt x="6083" y="761"/>
                  <a:pt x="6079" y="764"/>
                </a:cubicBezTo>
                <a:cubicBezTo>
                  <a:pt x="6075" y="769"/>
                  <a:pt x="6071" y="771"/>
                  <a:pt x="6069" y="771"/>
                </a:cubicBezTo>
                <a:cubicBezTo>
                  <a:pt x="6067" y="771"/>
                  <a:pt x="6066" y="772"/>
                  <a:pt x="6066" y="773"/>
                </a:cubicBezTo>
                <a:cubicBezTo>
                  <a:pt x="6066" y="775"/>
                  <a:pt x="6064" y="777"/>
                  <a:pt x="6059" y="778"/>
                </a:cubicBezTo>
                <a:cubicBezTo>
                  <a:pt x="6058" y="778"/>
                  <a:pt x="6057" y="779"/>
                  <a:pt x="6055" y="779"/>
                </a:cubicBezTo>
                <a:lnTo>
                  <a:pt x="6054" y="779"/>
                </a:lnTo>
                <a:lnTo>
                  <a:pt x="6054" y="781"/>
                </a:lnTo>
                <a:cubicBezTo>
                  <a:pt x="6054" y="782"/>
                  <a:pt x="6053" y="783"/>
                  <a:pt x="6050" y="783"/>
                </a:cubicBezTo>
                <a:lnTo>
                  <a:pt x="6049" y="783"/>
                </a:lnTo>
                <a:cubicBezTo>
                  <a:pt x="6048" y="783"/>
                  <a:pt x="6048" y="783"/>
                  <a:pt x="6048" y="784"/>
                </a:cubicBezTo>
                <a:lnTo>
                  <a:pt x="6048" y="785"/>
                </a:lnTo>
                <a:cubicBezTo>
                  <a:pt x="6048" y="787"/>
                  <a:pt x="6047" y="789"/>
                  <a:pt x="6045" y="791"/>
                </a:cubicBezTo>
                <a:cubicBezTo>
                  <a:pt x="6043" y="792"/>
                  <a:pt x="6041" y="793"/>
                  <a:pt x="6041" y="793"/>
                </a:cubicBezTo>
                <a:cubicBezTo>
                  <a:pt x="6040" y="793"/>
                  <a:pt x="6040" y="793"/>
                  <a:pt x="6040" y="791"/>
                </a:cubicBezTo>
                <a:cubicBezTo>
                  <a:pt x="6039" y="790"/>
                  <a:pt x="6039" y="789"/>
                  <a:pt x="6039" y="789"/>
                </a:cubicBezTo>
                <a:cubicBezTo>
                  <a:pt x="6039" y="788"/>
                  <a:pt x="6039" y="788"/>
                  <a:pt x="6039" y="788"/>
                </a:cubicBezTo>
                <a:lnTo>
                  <a:pt x="6041" y="788"/>
                </a:lnTo>
                <a:cubicBezTo>
                  <a:pt x="6043" y="788"/>
                  <a:pt x="6044" y="788"/>
                  <a:pt x="6044" y="786"/>
                </a:cubicBezTo>
                <a:cubicBezTo>
                  <a:pt x="6044" y="785"/>
                  <a:pt x="6043" y="784"/>
                  <a:pt x="6042" y="783"/>
                </a:cubicBezTo>
                <a:cubicBezTo>
                  <a:pt x="6041" y="782"/>
                  <a:pt x="6040" y="781"/>
                  <a:pt x="6039" y="781"/>
                </a:cubicBezTo>
                <a:cubicBezTo>
                  <a:pt x="6039" y="781"/>
                  <a:pt x="6039" y="782"/>
                  <a:pt x="6039" y="783"/>
                </a:cubicBezTo>
                <a:lnTo>
                  <a:pt x="6039" y="784"/>
                </a:lnTo>
                <a:cubicBezTo>
                  <a:pt x="6039" y="785"/>
                  <a:pt x="6039" y="785"/>
                  <a:pt x="6038" y="785"/>
                </a:cubicBezTo>
                <a:cubicBezTo>
                  <a:pt x="6036" y="785"/>
                  <a:pt x="6033" y="785"/>
                  <a:pt x="6029" y="786"/>
                </a:cubicBezTo>
                <a:lnTo>
                  <a:pt x="6024" y="787"/>
                </a:lnTo>
                <a:cubicBezTo>
                  <a:pt x="6024" y="786"/>
                  <a:pt x="6025" y="786"/>
                  <a:pt x="6027" y="785"/>
                </a:cubicBezTo>
                <a:cubicBezTo>
                  <a:pt x="6028" y="784"/>
                  <a:pt x="6029" y="783"/>
                  <a:pt x="6029" y="783"/>
                </a:cubicBezTo>
                <a:cubicBezTo>
                  <a:pt x="6025" y="783"/>
                  <a:pt x="6021" y="782"/>
                  <a:pt x="6018" y="779"/>
                </a:cubicBezTo>
                <a:cubicBezTo>
                  <a:pt x="6014" y="777"/>
                  <a:pt x="6013" y="776"/>
                  <a:pt x="6011" y="776"/>
                </a:cubicBezTo>
                <a:cubicBezTo>
                  <a:pt x="6010" y="776"/>
                  <a:pt x="6009" y="777"/>
                  <a:pt x="6009" y="779"/>
                </a:cubicBezTo>
                <a:cubicBezTo>
                  <a:pt x="6009" y="780"/>
                  <a:pt x="6011" y="781"/>
                  <a:pt x="6014" y="783"/>
                </a:cubicBezTo>
                <a:cubicBezTo>
                  <a:pt x="6019" y="787"/>
                  <a:pt x="6025" y="789"/>
                  <a:pt x="6031" y="789"/>
                </a:cubicBezTo>
                <a:lnTo>
                  <a:pt x="6033" y="788"/>
                </a:lnTo>
                <a:cubicBezTo>
                  <a:pt x="6035" y="788"/>
                  <a:pt x="6036" y="789"/>
                  <a:pt x="6038" y="792"/>
                </a:cubicBezTo>
                <a:cubicBezTo>
                  <a:pt x="6039" y="794"/>
                  <a:pt x="6043" y="795"/>
                  <a:pt x="6050" y="795"/>
                </a:cubicBezTo>
                <a:lnTo>
                  <a:pt x="6054" y="795"/>
                </a:lnTo>
                <a:close/>
                <a:moveTo>
                  <a:pt x="6009" y="741"/>
                </a:moveTo>
                <a:lnTo>
                  <a:pt x="6009" y="739"/>
                </a:lnTo>
                <a:cubicBezTo>
                  <a:pt x="6009" y="738"/>
                  <a:pt x="6009" y="737"/>
                  <a:pt x="6009" y="736"/>
                </a:cubicBezTo>
                <a:lnTo>
                  <a:pt x="6008" y="735"/>
                </a:lnTo>
                <a:cubicBezTo>
                  <a:pt x="6008" y="735"/>
                  <a:pt x="6008" y="736"/>
                  <a:pt x="6007" y="737"/>
                </a:cubicBezTo>
                <a:cubicBezTo>
                  <a:pt x="6007" y="740"/>
                  <a:pt x="6008" y="741"/>
                  <a:pt x="6008" y="741"/>
                </a:cubicBezTo>
                <a:lnTo>
                  <a:pt x="6009" y="741"/>
                </a:lnTo>
                <a:close/>
                <a:moveTo>
                  <a:pt x="6207" y="453"/>
                </a:moveTo>
                <a:lnTo>
                  <a:pt x="6205" y="453"/>
                </a:lnTo>
                <a:cubicBezTo>
                  <a:pt x="6203" y="453"/>
                  <a:pt x="6202" y="453"/>
                  <a:pt x="6202" y="453"/>
                </a:cubicBezTo>
                <a:cubicBezTo>
                  <a:pt x="6202" y="452"/>
                  <a:pt x="6203" y="451"/>
                  <a:pt x="6204" y="451"/>
                </a:cubicBezTo>
                <a:cubicBezTo>
                  <a:pt x="6204" y="450"/>
                  <a:pt x="6205" y="449"/>
                  <a:pt x="6207" y="448"/>
                </a:cubicBezTo>
                <a:cubicBezTo>
                  <a:pt x="6208" y="448"/>
                  <a:pt x="6209" y="448"/>
                  <a:pt x="6210" y="448"/>
                </a:cubicBezTo>
                <a:cubicBezTo>
                  <a:pt x="6211" y="448"/>
                  <a:pt x="6211" y="448"/>
                  <a:pt x="6211" y="448"/>
                </a:cubicBezTo>
                <a:cubicBezTo>
                  <a:pt x="6211" y="451"/>
                  <a:pt x="6209" y="452"/>
                  <a:pt x="6207" y="453"/>
                </a:cubicBezTo>
                <a:close/>
                <a:moveTo>
                  <a:pt x="6088" y="754"/>
                </a:moveTo>
                <a:cubicBezTo>
                  <a:pt x="6087" y="754"/>
                  <a:pt x="6087" y="754"/>
                  <a:pt x="6087" y="754"/>
                </a:cubicBezTo>
                <a:cubicBezTo>
                  <a:pt x="6087" y="752"/>
                  <a:pt x="6091" y="748"/>
                  <a:pt x="6099" y="741"/>
                </a:cubicBezTo>
                <a:cubicBezTo>
                  <a:pt x="6108" y="732"/>
                  <a:pt x="6113" y="728"/>
                  <a:pt x="6113" y="728"/>
                </a:cubicBezTo>
                <a:cubicBezTo>
                  <a:pt x="6113" y="728"/>
                  <a:pt x="6113" y="730"/>
                  <a:pt x="6111" y="733"/>
                </a:cubicBezTo>
                <a:cubicBezTo>
                  <a:pt x="6108" y="738"/>
                  <a:pt x="6104" y="742"/>
                  <a:pt x="6100" y="746"/>
                </a:cubicBezTo>
                <a:cubicBezTo>
                  <a:pt x="6094" y="751"/>
                  <a:pt x="6090" y="754"/>
                  <a:pt x="6088" y="754"/>
                </a:cubicBezTo>
                <a:close/>
                <a:moveTo>
                  <a:pt x="6175" y="620"/>
                </a:moveTo>
                <a:lnTo>
                  <a:pt x="6175" y="620"/>
                </a:lnTo>
                <a:cubicBezTo>
                  <a:pt x="6175" y="620"/>
                  <a:pt x="6174" y="620"/>
                  <a:pt x="6174" y="619"/>
                </a:cubicBezTo>
                <a:cubicBezTo>
                  <a:pt x="6174" y="617"/>
                  <a:pt x="6175" y="616"/>
                  <a:pt x="6175" y="614"/>
                </a:cubicBezTo>
                <a:cubicBezTo>
                  <a:pt x="6176" y="613"/>
                  <a:pt x="6177" y="612"/>
                  <a:pt x="6177" y="612"/>
                </a:cubicBezTo>
                <a:cubicBezTo>
                  <a:pt x="6177" y="612"/>
                  <a:pt x="6177" y="613"/>
                  <a:pt x="6177" y="615"/>
                </a:cubicBezTo>
                <a:cubicBezTo>
                  <a:pt x="6176" y="618"/>
                  <a:pt x="6176" y="620"/>
                  <a:pt x="6175" y="620"/>
                </a:cubicBezTo>
                <a:close/>
                <a:moveTo>
                  <a:pt x="6216" y="450"/>
                </a:moveTo>
                <a:cubicBezTo>
                  <a:pt x="6214" y="450"/>
                  <a:pt x="6214" y="449"/>
                  <a:pt x="6214" y="449"/>
                </a:cubicBezTo>
                <a:cubicBezTo>
                  <a:pt x="6214" y="448"/>
                  <a:pt x="6215" y="448"/>
                  <a:pt x="6217" y="448"/>
                </a:cubicBezTo>
                <a:cubicBezTo>
                  <a:pt x="6218" y="448"/>
                  <a:pt x="6219" y="448"/>
                  <a:pt x="6219" y="449"/>
                </a:cubicBezTo>
                <a:cubicBezTo>
                  <a:pt x="6219" y="450"/>
                  <a:pt x="6218" y="450"/>
                  <a:pt x="6216" y="450"/>
                </a:cubicBezTo>
                <a:close/>
                <a:moveTo>
                  <a:pt x="6051" y="644"/>
                </a:moveTo>
                <a:cubicBezTo>
                  <a:pt x="6051" y="644"/>
                  <a:pt x="6051" y="643"/>
                  <a:pt x="6051" y="643"/>
                </a:cubicBezTo>
                <a:cubicBezTo>
                  <a:pt x="6051" y="642"/>
                  <a:pt x="6051" y="642"/>
                  <a:pt x="6052" y="640"/>
                </a:cubicBezTo>
                <a:cubicBezTo>
                  <a:pt x="6052" y="639"/>
                  <a:pt x="6053" y="638"/>
                  <a:pt x="6053" y="637"/>
                </a:cubicBezTo>
                <a:cubicBezTo>
                  <a:pt x="6054" y="636"/>
                  <a:pt x="6055" y="635"/>
                  <a:pt x="6055" y="635"/>
                </a:cubicBezTo>
                <a:cubicBezTo>
                  <a:pt x="6055" y="635"/>
                  <a:pt x="6055" y="635"/>
                  <a:pt x="6055" y="636"/>
                </a:cubicBezTo>
                <a:cubicBezTo>
                  <a:pt x="6055" y="638"/>
                  <a:pt x="6055" y="639"/>
                  <a:pt x="6053" y="641"/>
                </a:cubicBezTo>
                <a:cubicBezTo>
                  <a:pt x="6052" y="643"/>
                  <a:pt x="6052" y="644"/>
                  <a:pt x="6051" y="644"/>
                </a:cubicBezTo>
                <a:close/>
                <a:moveTo>
                  <a:pt x="6264" y="442"/>
                </a:moveTo>
                <a:cubicBezTo>
                  <a:pt x="6262" y="442"/>
                  <a:pt x="6261" y="442"/>
                  <a:pt x="6261" y="442"/>
                </a:cubicBezTo>
                <a:cubicBezTo>
                  <a:pt x="6261" y="441"/>
                  <a:pt x="6262" y="441"/>
                  <a:pt x="6266" y="441"/>
                </a:cubicBezTo>
                <a:cubicBezTo>
                  <a:pt x="6268" y="441"/>
                  <a:pt x="6269" y="441"/>
                  <a:pt x="6269" y="442"/>
                </a:cubicBezTo>
                <a:cubicBezTo>
                  <a:pt x="6269" y="442"/>
                  <a:pt x="6267" y="442"/>
                  <a:pt x="6264" y="442"/>
                </a:cubicBezTo>
                <a:close/>
                <a:moveTo>
                  <a:pt x="6319" y="461"/>
                </a:moveTo>
                <a:lnTo>
                  <a:pt x="6319" y="461"/>
                </a:lnTo>
                <a:cubicBezTo>
                  <a:pt x="6316" y="461"/>
                  <a:pt x="6314" y="461"/>
                  <a:pt x="6314" y="460"/>
                </a:cubicBezTo>
                <a:cubicBezTo>
                  <a:pt x="6314" y="460"/>
                  <a:pt x="6315" y="460"/>
                  <a:pt x="6318" y="460"/>
                </a:cubicBezTo>
                <a:cubicBezTo>
                  <a:pt x="6319" y="460"/>
                  <a:pt x="6320" y="460"/>
                  <a:pt x="6320" y="460"/>
                </a:cubicBezTo>
                <a:lnTo>
                  <a:pt x="6319" y="461"/>
                </a:lnTo>
                <a:close/>
                <a:moveTo>
                  <a:pt x="6329" y="496"/>
                </a:moveTo>
                <a:cubicBezTo>
                  <a:pt x="6328" y="496"/>
                  <a:pt x="6327" y="495"/>
                  <a:pt x="6327" y="494"/>
                </a:cubicBezTo>
                <a:cubicBezTo>
                  <a:pt x="6327" y="493"/>
                  <a:pt x="6327" y="492"/>
                  <a:pt x="6328" y="492"/>
                </a:cubicBezTo>
                <a:cubicBezTo>
                  <a:pt x="6328" y="491"/>
                  <a:pt x="6329" y="490"/>
                  <a:pt x="6330" y="490"/>
                </a:cubicBezTo>
                <a:cubicBezTo>
                  <a:pt x="6331" y="490"/>
                  <a:pt x="6331" y="491"/>
                  <a:pt x="6331" y="492"/>
                </a:cubicBezTo>
                <a:cubicBezTo>
                  <a:pt x="6331" y="495"/>
                  <a:pt x="6330" y="496"/>
                  <a:pt x="6329" y="496"/>
                </a:cubicBezTo>
                <a:close/>
                <a:moveTo>
                  <a:pt x="6286" y="442"/>
                </a:moveTo>
                <a:cubicBezTo>
                  <a:pt x="6282" y="442"/>
                  <a:pt x="6280" y="441"/>
                  <a:pt x="6280" y="440"/>
                </a:cubicBezTo>
                <a:cubicBezTo>
                  <a:pt x="6280" y="440"/>
                  <a:pt x="6281" y="439"/>
                  <a:pt x="6283" y="439"/>
                </a:cubicBezTo>
                <a:cubicBezTo>
                  <a:pt x="6288" y="439"/>
                  <a:pt x="6290" y="440"/>
                  <a:pt x="6290" y="441"/>
                </a:cubicBezTo>
                <a:lnTo>
                  <a:pt x="6290" y="441"/>
                </a:lnTo>
                <a:cubicBezTo>
                  <a:pt x="6289" y="442"/>
                  <a:pt x="6288" y="442"/>
                  <a:pt x="6286" y="442"/>
                </a:cubicBezTo>
                <a:close/>
                <a:moveTo>
                  <a:pt x="6076" y="584"/>
                </a:moveTo>
                <a:lnTo>
                  <a:pt x="6076" y="584"/>
                </a:lnTo>
                <a:cubicBezTo>
                  <a:pt x="6075" y="584"/>
                  <a:pt x="6075" y="583"/>
                  <a:pt x="6075" y="582"/>
                </a:cubicBezTo>
                <a:cubicBezTo>
                  <a:pt x="6075" y="581"/>
                  <a:pt x="6076" y="580"/>
                  <a:pt x="6076" y="579"/>
                </a:cubicBezTo>
                <a:cubicBezTo>
                  <a:pt x="6076" y="578"/>
                  <a:pt x="6077" y="578"/>
                  <a:pt x="6078" y="578"/>
                </a:cubicBezTo>
                <a:lnTo>
                  <a:pt x="6079" y="578"/>
                </a:lnTo>
                <a:cubicBezTo>
                  <a:pt x="6079" y="579"/>
                  <a:pt x="6078" y="580"/>
                  <a:pt x="6078" y="581"/>
                </a:cubicBezTo>
                <a:cubicBezTo>
                  <a:pt x="6078" y="583"/>
                  <a:pt x="6077" y="584"/>
                  <a:pt x="6076" y="584"/>
                </a:cubicBezTo>
                <a:close/>
                <a:moveTo>
                  <a:pt x="6254" y="644"/>
                </a:moveTo>
                <a:cubicBezTo>
                  <a:pt x="6254" y="644"/>
                  <a:pt x="6253" y="644"/>
                  <a:pt x="6253" y="643"/>
                </a:cubicBezTo>
                <a:cubicBezTo>
                  <a:pt x="6253" y="642"/>
                  <a:pt x="6254" y="642"/>
                  <a:pt x="6254" y="641"/>
                </a:cubicBezTo>
                <a:cubicBezTo>
                  <a:pt x="6254" y="640"/>
                  <a:pt x="6255" y="639"/>
                  <a:pt x="6256" y="638"/>
                </a:cubicBezTo>
                <a:cubicBezTo>
                  <a:pt x="6256" y="637"/>
                  <a:pt x="6256" y="637"/>
                  <a:pt x="6257" y="637"/>
                </a:cubicBezTo>
                <a:cubicBezTo>
                  <a:pt x="6257" y="637"/>
                  <a:pt x="6258" y="637"/>
                  <a:pt x="6258" y="638"/>
                </a:cubicBezTo>
                <a:cubicBezTo>
                  <a:pt x="6258" y="638"/>
                  <a:pt x="6258" y="639"/>
                  <a:pt x="6258" y="639"/>
                </a:cubicBezTo>
                <a:cubicBezTo>
                  <a:pt x="6258" y="639"/>
                  <a:pt x="6258" y="640"/>
                  <a:pt x="6257" y="641"/>
                </a:cubicBezTo>
                <a:cubicBezTo>
                  <a:pt x="6257" y="642"/>
                  <a:pt x="6256" y="642"/>
                  <a:pt x="6256" y="643"/>
                </a:cubicBezTo>
                <a:cubicBezTo>
                  <a:pt x="6256" y="644"/>
                  <a:pt x="6255" y="644"/>
                  <a:pt x="6254" y="644"/>
                </a:cubicBezTo>
                <a:close/>
                <a:moveTo>
                  <a:pt x="6244" y="674"/>
                </a:moveTo>
                <a:cubicBezTo>
                  <a:pt x="6244" y="674"/>
                  <a:pt x="6244" y="674"/>
                  <a:pt x="6244" y="674"/>
                </a:cubicBezTo>
                <a:lnTo>
                  <a:pt x="6245" y="672"/>
                </a:lnTo>
                <a:cubicBezTo>
                  <a:pt x="6246" y="671"/>
                  <a:pt x="6247" y="669"/>
                  <a:pt x="6247" y="668"/>
                </a:cubicBezTo>
                <a:lnTo>
                  <a:pt x="6247" y="663"/>
                </a:lnTo>
                <a:lnTo>
                  <a:pt x="6249" y="664"/>
                </a:lnTo>
                <a:cubicBezTo>
                  <a:pt x="6249" y="664"/>
                  <a:pt x="6250" y="662"/>
                  <a:pt x="6250" y="660"/>
                </a:cubicBezTo>
                <a:lnTo>
                  <a:pt x="6250" y="658"/>
                </a:lnTo>
                <a:cubicBezTo>
                  <a:pt x="6250" y="655"/>
                  <a:pt x="6250" y="653"/>
                  <a:pt x="6251" y="650"/>
                </a:cubicBezTo>
                <a:cubicBezTo>
                  <a:pt x="6252" y="647"/>
                  <a:pt x="6254" y="646"/>
                  <a:pt x="6255" y="646"/>
                </a:cubicBezTo>
                <a:cubicBezTo>
                  <a:pt x="6256" y="646"/>
                  <a:pt x="6256" y="647"/>
                  <a:pt x="6256" y="647"/>
                </a:cubicBezTo>
                <a:cubicBezTo>
                  <a:pt x="6256" y="648"/>
                  <a:pt x="6256" y="649"/>
                  <a:pt x="6255" y="650"/>
                </a:cubicBezTo>
                <a:cubicBezTo>
                  <a:pt x="6255" y="651"/>
                  <a:pt x="6254" y="654"/>
                  <a:pt x="6252" y="661"/>
                </a:cubicBezTo>
                <a:lnTo>
                  <a:pt x="6251" y="665"/>
                </a:lnTo>
                <a:cubicBezTo>
                  <a:pt x="6250" y="667"/>
                  <a:pt x="6249" y="669"/>
                  <a:pt x="6249" y="670"/>
                </a:cubicBezTo>
                <a:cubicBezTo>
                  <a:pt x="6249" y="671"/>
                  <a:pt x="6249" y="672"/>
                  <a:pt x="6248" y="673"/>
                </a:cubicBezTo>
                <a:cubicBezTo>
                  <a:pt x="6247" y="674"/>
                  <a:pt x="6246" y="674"/>
                  <a:pt x="6244" y="674"/>
                </a:cubicBezTo>
                <a:close/>
                <a:moveTo>
                  <a:pt x="6347" y="697"/>
                </a:moveTo>
                <a:cubicBezTo>
                  <a:pt x="6346" y="697"/>
                  <a:pt x="6346" y="697"/>
                  <a:pt x="6346" y="696"/>
                </a:cubicBezTo>
                <a:cubicBezTo>
                  <a:pt x="6346" y="696"/>
                  <a:pt x="6347" y="695"/>
                  <a:pt x="6348" y="695"/>
                </a:cubicBezTo>
                <a:cubicBezTo>
                  <a:pt x="6348" y="694"/>
                  <a:pt x="6349" y="693"/>
                  <a:pt x="6351" y="692"/>
                </a:cubicBezTo>
                <a:cubicBezTo>
                  <a:pt x="6352" y="691"/>
                  <a:pt x="6353" y="690"/>
                  <a:pt x="6353" y="690"/>
                </a:cubicBezTo>
                <a:cubicBezTo>
                  <a:pt x="6353" y="691"/>
                  <a:pt x="6353" y="691"/>
                  <a:pt x="6351" y="693"/>
                </a:cubicBezTo>
                <a:cubicBezTo>
                  <a:pt x="6349" y="696"/>
                  <a:pt x="6348" y="697"/>
                  <a:pt x="6347" y="697"/>
                </a:cubicBezTo>
                <a:close/>
                <a:moveTo>
                  <a:pt x="6082" y="569"/>
                </a:moveTo>
                <a:close/>
                <a:moveTo>
                  <a:pt x="6365" y="676"/>
                </a:moveTo>
                <a:lnTo>
                  <a:pt x="6364" y="676"/>
                </a:lnTo>
                <a:cubicBezTo>
                  <a:pt x="6364" y="674"/>
                  <a:pt x="6365" y="673"/>
                  <a:pt x="6368" y="672"/>
                </a:cubicBezTo>
                <a:cubicBezTo>
                  <a:pt x="6370" y="671"/>
                  <a:pt x="6372" y="670"/>
                  <a:pt x="6372" y="670"/>
                </a:cubicBezTo>
                <a:lnTo>
                  <a:pt x="6373" y="670"/>
                </a:lnTo>
                <a:cubicBezTo>
                  <a:pt x="6373" y="671"/>
                  <a:pt x="6372" y="671"/>
                  <a:pt x="6371" y="672"/>
                </a:cubicBezTo>
                <a:cubicBezTo>
                  <a:pt x="6370" y="673"/>
                  <a:pt x="6368" y="674"/>
                  <a:pt x="6365" y="676"/>
                </a:cubicBezTo>
                <a:close/>
                <a:moveTo>
                  <a:pt x="6058" y="625"/>
                </a:moveTo>
                <a:cubicBezTo>
                  <a:pt x="6058" y="625"/>
                  <a:pt x="6058" y="625"/>
                  <a:pt x="6058" y="625"/>
                </a:cubicBezTo>
                <a:cubicBezTo>
                  <a:pt x="6058" y="622"/>
                  <a:pt x="6058" y="620"/>
                  <a:pt x="6060" y="619"/>
                </a:cubicBezTo>
                <a:lnTo>
                  <a:pt x="6061" y="617"/>
                </a:lnTo>
                <a:cubicBezTo>
                  <a:pt x="6062" y="617"/>
                  <a:pt x="6062" y="617"/>
                  <a:pt x="6062" y="617"/>
                </a:cubicBezTo>
                <a:cubicBezTo>
                  <a:pt x="6062" y="618"/>
                  <a:pt x="6061" y="619"/>
                  <a:pt x="6061" y="620"/>
                </a:cubicBezTo>
                <a:cubicBezTo>
                  <a:pt x="6061" y="621"/>
                  <a:pt x="6060" y="622"/>
                  <a:pt x="6060" y="624"/>
                </a:cubicBezTo>
                <a:cubicBezTo>
                  <a:pt x="6059" y="625"/>
                  <a:pt x="6058" y="625"/>
                  <a:pt x="6058" y="625"/>
                </a:cubicBezTo>
                <a:close/>
                <a:moveTo>
                  <a:pt x="6062" y="613"/>
                </a:moveTo>
                <a:cubicBezTo>
                  <a:pt x="6062" y="613"/>
                  <a:pt x="6062" y="613"/>
                  <a:pt x="6062" y="613"/>
                </a:cubicBezTo>
                <a:cubicBezTo>
                  <a:pt x="6062" y="611"/>
                  <a:pt x="6063" y="609"/>
                  <a:pt x="6065" y="605"/>
                </a:cubicBezTo>
                <a:cubicBezTo>
                  <a:pt x="6067" y="602"/>
                  <a:pt x="6068" y="601"/>
                  <a:pt x="6069" y="601"/>
                </a:cubicBezTo>
                <a:lnTo>
                  <a:pt x="6069" y="601"/>
                </a:lnTo>
                <a:cubicBezTo>
                  <a:pt x="6069" y="603"/>
                  <a:pt x="6068" y="605"/>
                  <a:pt x="6065" y="609"/>
                </a:cubicBezTo>
                <a:cubicBezTo>
                  <a:pt x="6064" y="612"/>
                  <a:pt x="6063" y="613"/>
                  <a:pt x="6062" y="613"/>
                </a:cubicBezTo>
                <a:close/>
                <a:moveTo>
                  <a:pt x="6081" y="574"/>
                </a:moveTo>
                <a:cubicBezTo>
                  <a:pt x="6081" y="572"/>
                  <a:pt x="6082" y="568"/>
                  <a:pt x="6086" y="562"/>
                </a:cubicBezTo>
                <a:cubicBezTo>
                  <a:pt x="6088" y="558"/>
                  <a:pt x="6090" y="556"/>
                  <a:pt x="6090" y="556"/>
                </a:cubicBezTo>
                <a:lnTo>
                  <a:pt x="6091" y="557"/>
                </a:lnTo>
                <a:lnTo>
                  <a:pt x="6088" y="562"/>
                </a:lnTo>
                <a:cubicBezTo>
                  <a:pt x="6084" y="570"/>
                  <a:pt x="6081" y="574"/>
                  <a:pt x="6081" y="574"/>
                </a:cubicBezTo>
                <a:close/>
                <a:moveTo>
                  <a:pt x="6070" y="598"/>
                </a:moveTo>
                <a:lnTo>
                  <a:pt x="6069" y="598"/>
                </a:lnTo>
                <a:cubicBezTo>
                  <a:pt x="6069" y="598"/>
                  <a:pt x="6069" y="597"/>
                  <a:pt x="6069" y="595"/>
                </a:cubicBezTo>
                <a:cubicBezTo>
                  <a:pt x="6069" y="595"/>
                  <a:pt x="6069" y="594"/>
                  <a:pt x="6070" y="593"/>
                </a:cubicBezTo>
                <a:cubicBezTo>
                  <a:pt x="6070" y="592"/>
                  <a:pt x="6071" y="592"/>
                  <a:pt x="6071" y="592"/>
                </a:cubicBezTo>
                <a:lnTo>
                  <a:pt x="6072" y="593"/>
                </a:lnTo>
                <a:lnTo>
                  <a:pt x="6071" y="594"/>
                </a:lnTo>
                <a:cubicBezTo>
                  <a:pt x="6071" y="596"/>
                  <a:pt x="6070" y="597"/>
                  <a:pt x="6070" y="598"/>
                </a:cubicBezTo>
                <a:close/>
                <a:moveTo>
                  <a:pt x="6314" y="683"/>
                </a:moveTo>
                <a:cubicBezTo>
                  <a:pt x="6314" y="683"/>
                  <a:pt x="6314" y="683"/>
                  <a:pt x="6314" y="683"/>
                </a:cubicBezTo>
                <a:lnTo>
                  <a:pt x="6323" y="674"/>
                </a:lnTo>
                <a:lnTo>
                  <a:pt x="6329" y="669"/>
                </a:lnTo>
                <a:lnTo>
                  <a:pt x="6329" y="669"/>
                </a:lnTo>
                <a:cubicBezTo>
                  <a:pt x="6329" y="670"/>
                  <a:pt x="6326" y="673"/>
                  <a:pt x="6321" y="679"/>
                </a:cubicBezTo>
                <a:cubicBezTo>
                  <a:pt x="6317" y="681"/>
                  <a:pt x="6315" y="683"/>
                  <a:pt x="6314" y="683"/>
                </a:cubicBezTo>
                <a:close/>
                <a:moveTo>
                  <a:pt x="6416" y="627"/>
                </a:moveTo>
                <a:lnTo>
                  <a:pt x="6415" y="627"/>
                </a:lnTo>
                <a:cubicBezTo>
                  <a:pt x="6415" y="627"/>
                  <a:pt x="6414" y="627"/>
                  <a:pt x="6414" y="625"/>
                </a:cubicBezTo>
                <a:cubicBezTo>
                  <a:pt x="6415" y="623"/>
                  <a:pt x="6415" y="622"/>
                  <a:pt x="6415" y="622"/>
                </a:cubicBezTo>
                <a:lnTo>
                  <a:pt x="6416" y="623"/>
                </a:lnTo>
                <a:cubicBezTo>
                  <a:pt x="6416" y="624"/>
                  <a:pt x="6416" y="625"/>
                  <a:pt x="6416" y="625"/>
                </a:cubicBezTo>
                <a:lnTo>
                  <a:pt x="6416" y="627"/>
                </a:lnTo>
                <a:close/>
                <a:moveTo>
                  <a:pt x="6142" y="531"/>
                </a:moveTo>
                <a:cubicBezTo>
                  <a:pt x="6142" y="531"/>
                  <a:pt x="6141" y="530"/>
                  <a:pt x="6140" y="529"/>
                </a:cubicBezTo>
                <a:cubicBezTo>
                  <a:pt x="6139" y="527"/>
                  <a:pt x="6139" y="526"/>
                  <a:pt x="6139" y="525"/>
                </a:cubicBezTo>
                <a:cubicBezTo>
                  <a:pt x="6139" y="525"/>
                  <a:pt x="6139" y="525"/>
                  <a:pt x="6139" y="525"/>
                </a:cubicBezTo>
                <a:cubicBezTo>
                  <a:pt x="6140" y="525"/>
                  <a:pt x="6140" y="525"/>
                  <a:pt x="6141" y="526"/>
                </a:cubicBezTo>
                <a:cubicBezTo>
                  <a:pt x="6142" y="527"/>
                  <a:pt x="6142" y="528"/>
                  <a:pt x="6142" y="530"/>
                </a:cubicBezTo>
                <a:lnTo>
                  <a:pt x="6142" y="531"/>
                </a:lnTo>
                <a:close/>
                <a:moveTo>
                  <a:pt x="6405" y="639"/>
                </a:moveTo>
                <a:cubicBezTo>
                  <a:pt x="6405" y="639"/>
                  <a:pt x="6404" y="639"/>
                  <a:pt x="6404" y="638"/>
                </a:cubicBezTo>
                <a:cubicBezTo>
                  <a:pt x="6403" y="637"/>
                  <a:pt x="6403" y="636"/>
                  <a:pt x="6402" y="635"/>
                </a:cubicBezTo>
                <a:cubicBezTo>
                  <a:pt x="6402" y="634"/>
                  <a:pt x="6402" y="632"/>
                  <a:pt x="6402" y="631"/>
                </a:cubicBezTo>
                <a:cubicBezTo>
                  <a:pt x="6402" y="629"/>
                  <a:pt x="6402" y="628"/>
                  <a:pt x="6403" y="627"/>
                </a:cubicBezTo>
                <a:cubicBezTo>
                  <a:pt x="6403" y="625"/>
                  <a:pt x="6404" y="622"/>
                  <a:pt x="6404" y="617"/>
                </a:cubicBezTo>
                <a:lnTo>
                  <a:pt x="6402" y="599"/>
                </a:lnTo>
                <a:lnTo>
                  <a:pt x="6403" y="599"/>
                </a:lnTo>
                <a:cubicBezTo>
                  <a:pt x="6403" y="599"/>
                  <a:pt x="6403" y="599"/>
                  <a:pt x="6403" y="599"/>
                </a:cubicBezTo>
                <a:lnTo>
                  <a:pt x="6404" y="599"/>
                </a:lnTo>
                <a:cubicBezTo>
                  <a:pt x="6405" y="599"/>
                  <a:pt x="6406" y="598"/>
                  <a:pt x="6406" y="595"/>
                </a:cubicBezTo>
                <a:cubicBezTo>
                  <a:pt x="6406" y="593"/>
                  <a:pt x="6405" y="592"/>
                  <a:pt x="6405" y="592"/>
                </a:cubicBezTo>
                <a:lnTo>
                  <a:pt x="6403" y="593"/>
                </a:lnTo>
                <a:cubicBezTo>
                  <a:pt x="6403" y="593"/>
                  <a:pt x="6402" y="593"/>
                  <a:pt x="6402" y="592"/>
                </a:cubicBezTo>
                <a:cubicBezTo>
                  <a:pt x="6401" y="590"/>
                  <a:pt x="6400" y="586"/>
                  <a:pt x="6400" y="579"/>
                </a:cubicBezTo>
                <a:cubicBezTo>
                  <a:pt x="6400" y="576"/>
                  <a:pt x="6400" y="574"/>
                  <a:pt x="6401" y="573"/>
                </a:cubicBezTo>
                <a:cubicBezTo>
                  <a:pt x="6401" y="572"/>
                  <a:pt x="6401" y="572"/>
                  <a:pt x="6401" y="571"/>
                </a:cubicBezTo>
                <a:cubicBezTo>
                  <a:pt x="6401" y="571"/>
                  <a:pt x="6401" y="570"/>
                  <a:pt x="6400" y="570"/>
                </a:cubicBezTo>
                <a:lnTo>
                  <a:pt x="6399" y="571"/>
                </a:lnTo>
                <a:cubicBezTo>
                  <a:pt x="6399" y="571"/>
                  <a:pt x="6398" y="570"/>
                  <a:pt x="6398" y="569"/>
                </a:cubicBezTo>
                <a:cubicBezTo>
                  <a:pt x="6397" y="568"/>
                  <a:pt x="6396" y="566"/>
                  <a:pt x="6396" y="564"/>
                </a:cubicBezTo>
                <a:cubicBezTo>
                  <a:pt x="6395" y="562"/>
                  <a:pt x="6395" y="560"/>
                  <a:pt x="6395" y="558"/>
                </a:cubicBezTo>
                <a:cubicBezTo>
                  <a:pt x="6395" y="556"/>
                  <a:pt x="6395" y="555"/>
                  <a:pt x="6396" y="554"/>
                </a:cubicBezTo>
                <a:lnTo>
                  <a:pt x="6397" y="553"/>
                </a:lnTo>
                <a:cubicBezTo>
                  <a:pt x="6397" y="552"/>
                  <a:pt x="6397" y="552"/>
                  <a:pt x="6396" y="552"/>
                </a:cubicBezTo>
                <a:lnTo>
                  <a:pt x="6393" y="554"/>
                </a:lnTo>
                <a:cubicBezTo>
                  <a:pt x="6393" y="554"/>
                  <a:pt x="6393" y="553"/>
                  <a:pt x="6393" y="552"/>
                </a:cubicBezTo>
                <a:lnTo>
                  <a:pt x="6394" y="543"/>
                </a:lnTo>
                <a:cubicBezTo>
                  <a:pt x="6394" y="541"/>
                  <a:pt x="6393" y="541"/>
                  <a:pt x="6393" y="541"/>
                </a:cubicBezTo>
                <a:lnTo>
                  <a:pt x="6392" y="541"/>
                </a:lnTo>
                <a:cubicBezTo>
                  <a:pt x="6392" y="541"/>
                  <a:pt x="6391" y="541"/>
                  <a:pt x="6391" y="540"/>
                </a:cubicBezTo>
                <a:cubicBezTo>
                  <a:pt x="6390" y="540"/>
                  <a:pt x="6390" y="537"/>
                  <a:pt x="6390" y="532"/>
                </a:cubicBezTo>
                <a:lnTo>
                  <a:pt x="6390" y="528"/>
                </a:lnTo>
                <a:cubicBezTo>
                  <a:pt x="6390" y="527"/>
                  <a:pt x="6390" y="526"/>
                  <a:pt x="6391" y="525"/>
                </a:cubicBezTo>
                <a:cubicBezTo>
                  <a:pt x="6391" y="524"/>
                  <a:pt x="6392" y="524"/>
                  <a:pt x="6394" y="524"/>
                </a:cubicBezTo>
                <a:cubicBezTo>
                  <a:pt x="6395" y="524"/>
                  <a:pt x="6395" y="524"/>
                  <a:pt x="6395" y="524"/>
                </a:cubicBezTo>
                <a:cubicBezTo>
                  <a:pt x="6395" y="525"/>
                  <a:pt x="6394" y="525"/>
                  <a:pt x="6393" y="527"/>
                </a:cubicBezTo>
                <a:cubicBezTo>
                  <a:pt x="6392" y="528"/>
                  <a:pt x="6392" y="529"/>
                  <a:pt x="6392" y="530"/>
                </a:cubicBezTo>
                <a:cubicBezTo>
                  <a:pt x="6392" y="531"/>
                  <a:pt x="6392" y="532"/>
                  <a:pt x="6393" y="534"/>
                </a:cubicBezTo>
                <a:cubicBezTo>
                  <a:pt x="6395" y="535"/>
                  <a:pt x="6395" y="536"/>
                  <a:pt x="6396" y="536"/>
                </a:cubicBezTo>
                <a:lnTo>
                  <a:pt x="6397" y="536"/>
                </a:lnTo>
                <a:lnTo>
                  <a:pt x="6397" y="536"/>
                </a:lnTo>
                <a:cubicBezTo>
                  <a:pt x="6397" y="535"/>
                  <a:pt x="6397" y="535"/>
                  <a:pt x="6396" y="534"/>
                </a:cubicBezTo>
                <a:cubicBezTo>
                  <a:pt x="6396" y="533"/>
                  <a:pt x="6395" y="533"/>
                  <a:pt x="6395" y="532"/>
                </a:cubicBezTo>
                <a:cubicBezTo>
                  <a:pt x="6395" y="532"/>
                  <a:pt x="6394" y="531"/>
                  <a:pt x="6394" y="530"/>
                </a:cubicBezTo>
                <a:cubicBezTo>
                  <a:pt x="6394" y="527"/>
                  <a:pt x="6396" y="524"/>
                  <a:pt x="6398" y="519"/>
                </a:cubicBezTo>
                <a:cubicBezTo>
                  <a:pt x="6400" y="516"/>
                  <a:pt x="6402" y="514"/>
                  <a:pt x="6403" y="512"/>
                </a:cubicBezTo>
                <a:cubicBezTo>
                  <a:pt x="6405" y="511"/>
                  <a:pt x="6405" y="509"/>
                  <a:pt x="6406" y="509"/>
                </a:cubicBezTo>
                <a:cubicBezTo>
                  <a:pt x="6406" y="508"/>
                  <a:pt x="6407" y="507"/>
                  <a:pt x="6407" y="506"/>
                </a:cubicBezTo>
                <a:lnTo>
                  <a:pt x="6407" y="505"/>
                </a:lnTo>
                <a:cubicBezTo>
                  <a:pt x="6407" y="504"/>
                  <a:pt x="6407" y="504"/>
                  <a:pt x="6407" y="503"/>
                </a:cubicBezTo>
                <a:cubicBezTo>
                  <a:pt x="6407" y="503"/>
                  <a:pt x="6407" y="502"/>
                  <a:pt x="6408" y="502"/>
                </a:cubicBezTo>
                <a:lnTo>
                  <a:pt x="6408" y="502"/>
                </a:lnTo>
                <a:cubicBezTo>
                  <a:pt x="6408" y="502"/>
                  <a:pt x="6409" y="502"/>
                  <a:pt x="6410" y="502"/>
                </a:cubicBezTo>
                <a:cubicBezTo>
                  <a:pt x="6410" y="503"/>
                  <a:pt x="6410" y="503"/>
                  <a:pt x="6411" y="504"/>
                </a:cubicBezTo>
                <a:cubicBezTo>
                  <a:pt x="6411" y="505"/>
                  <a:pt x="6412" y="505"/>
                  <a:pt x="6412" y="506"/>
                </a:cubicBezTo>
                <a:cubicBezTo>
                  <a:pt x="6412" y="508"/>
                  <a:pt x="6411" y="509"/>
                  <a:pt x="6410" y="509"/>
                </a:cubicBezTo>
                <a:cubicBezTo>
                  <a:pt x="6409" y="510"/>
                  <a:pt x="6408" y="511"/>
                  <a:pt x="6408" y="512"/>
                </a:cubicBezTo>
                <a:cubicBezTo>
                  <a:pt x="6407" y="512"/>
                  <a:pt x="6407" y="513"/>
                  <a:pt x="6407" y="514"/>
                </a:cubicBezTo>
                <a:cubicBezTo>
                  <a:pt x="6407" y="514"/>
                  <a:pt x="6407" y="515"/>
                  <a:pt x="6407" y="515"/>
                </a:cubicBezTo>
                <a:cubicBezTo>
                  <a:pt x="6407" y="515"/>
                  <a:pt x="6406" y="515"/>
                  <a:pt x="6405" y="515"/>
                </a:cubicBezTo>
                <a:cubicBezTo>
                  <a:pt x="6404" y="515"/>
                  <a:pt x="6404" y="515"/>
                  <a:pt x="6404" y="516"/>
                </a:cubicBezTo>
                <a:cubicBezTo>
                  <a:pt x="6404" y="516"/>
                  <a:pt x="6404" y="517"/>
                  <a:pt x="6404" y="517"/>
                </a:cubicBezTo>
                <a:cubicBezTo>
                  <a:pt x="6405" y="517"/>
                  <a:pt x="6405" y="518"/>
                  <a:pt x="6405" y="519"/>
                </a:cubicBezTo>
                <a:cubicBezTo>
                  <a:pt x="6405" y="521"/>
                  <a:pt x="6404" y="522"/>
                  <a:pt x="6403" y="523"/>
                </a:cubicBezTo>
                <a:cubicBezTo>
                  <a:pt x="6403" y="524"/>
                  <a:pt x="6402" y="526"/>
                  <a:pt x="6402" y="528"/>
                </a:cubicBezTo>
                <a:cubicBezTo>
                  <a:pt x="6402" y="532"/>
                  <a:pt x="6403" y="538"/>
                  <a:pt x="6406" y="546"/>
                </a:cubicBezTo>
                <a:cubicBezTo>
                  <a:pt x="6408" y="555"/>
                  <a:pt x="6409" y="561"/>
                  <a:pt x="6409" y="565"/>
                </a:cubicBezTo>
                <a:lnTo>
                  <a:pt x="6409" y="568"/>
                </a:lnTo>
                <a:cubicBezTo>
                  <a:pt x="6409" y="570"/>
                  <a:pt x="6409" y="570"/>
                  <a:pt x="6410" y="570"/>
                </a:cubicBezTo>
                <a:cubicBezTo>
                  <a:pt x="6411" y="570"/>
                  <a:pt x="6411" y="571"/>
                  <a:pt x="6412" y="571"/>
                </a:cubicBezTo>
                <a:cubicBezTo>
                  <a:pt x="6412" y="571"/>
                  <a:pt x="6412" y="571"/>
                  <a:pt x="6412" y="572"/>
                </a:cubicBezTo>
                <a:cubicBezTo>
                  <a:pt x="6412" y="572"/>
                  <a:pt x="6412" y="573"/>
                  <a:pt x="6412" y="573"/>
                </a:cubicBezTo>
                <a:cubicBezTo>
                  <a:pt x="6411" y="574"/>
                  <a:pt x="6411" y="576"/>
                  <a:pt x="6411" y="576"/>
                </a:cubicBezTo>
                <a:cubicBezTo>
                  <a:pt x="6411" y="577"/>
                  <a:pt x="6411" y="578"/>
                  <a:pt x="6412" y="578"/>
                </a:cubicBezTo>
                <a:cubicBezTo>
                  <a:pt x="6413" y="578"/>
                  <a:pt x="6413" y="579"/>
                  <a:pt x="6413" y="580"/>
                </a:cubicBezTo>
                <a:cubicBezTo>
                  <a:pt x="6413" y="581"/>
                  <a:pt x="6413" y="582"/>
                  <a:pt x="6413" y="583"/>
                </a:cubicBezTo>
                <a:lnTo>
                  <a:pt x="6413" y="585"/>
                </a:lnTo>
                <a:cubicBezTo>
                  <a:pt x="6413" y="590"/>
                  <a:pt x="6413" y="595"/>
                  <a:pt x="6414" y="598"/>
                </a:cubicBezTo>
                <a:cubicBezTo>
                  <a:pt x="6415" y="600"/>
                  <a:pt x="6415" y="602"/>
                  <a:pt x="6415" y="603"/>
                </a:cubicBezTo>
                <a:cubicBezTo>
                  <a:pt x="6415" y="604"/>
                  <a:pt x="6414" y="605"/>
                  <a:pt x="6413" y="605"/>
                </a:cubicBezTo>
                <a:cubicBezTo>
                  <a:pt x="6412" y="605"/>
                  <a:pt x="6411" y="604"/>
                  <a:pt x="6411" y="603"/>
                </a:cubicBezTo>
                <a:lnTo>
                  <a:pt x="6412" y="600"/>
                </a:lnTo>
                <a:cubicBezTo>
                  <a:pt x="6412" y="599"/>
                  <a:pt x="6412" y="599"/>
                  <a:pt x="6412" y="598"/>
                </a:cubicBezTo>
                <a:cubicBezTo>
                  <a:pt x="6412" y="598"/>
                  <a:pt x="6411" y="598"/>
                  <a:pt x="6410" y="598"/>
                </a:cubicBezTo>
                <a:cubicBezTo>
                  <a:pt x="6409" y="598"/>
                  <a:pt x="6409" y="598"/>
                  <a:pt x="6409" y="600"/>
                </a:cubicBezTo>
                <a:cubicBezTo>
                  <a:pt x="6409" y="601"/>
                  <a:pt x="6409" y="602"/>
                  <a:pt x="6410" y="604"/>
                </a:cubicBezTo>
                <a:cubicBezTo>
                  <a:pt x="6410" y="605"/>
                  <a:pt x="6411" y="606"/>
                  <a:pt x="6412" y="607"/>
                </a:cubicBezTo>
                <a:cubicBezTo>
                  <a:pt x="6413" y="608"/>
                  <a:pt x="6414" y="608"/>
                  <a:pt x="6414" y="609"/>
                </a:cubicBezTo>
                <a:cubicBezTo>
                  <a:pt x="6414" y="609"/>
                  <a:pt x="6413" y="609"/>
                  <a:pt x="6412" y="610"/>
                </a:cubicBezTo>
                <a:cubicBezTo>
                  <a:pt x="6412" y="610"/>
                  <a:pt x="6411" y="610"/>
                  <a:pt x="6410" y="612"/>
                </a:cubicBezTo>
                <a:cubicBezTo>
                  <a:pt x="6409" y="613"/>
                  <a:pt x="6409" y="615"/>
                  <a:pt x="6409" y="616"/>
                </a:cubicBezTo>
                <a:cubicBezTo>
                  <a:pt x="6409" y="618"/>
                  <a:pt x="6410" y="620"/>
                  <a:pt x="6411" y="621"/>
                </a:cubicBezTo>
                <a:cubicBezTo>
                  <a:pt x="6412" y="622"/>
                  <a:pt x="6412" y="622"/>
                  <a:pt x="6412" y="623"/>
                </a:cubicBezTo>
                <a:cubicBezTo>
                  <a:pt x="6412" y="623"/>
                  <a:pt x="6411" y="622"/>
                  <a:pt x="6411" y="622"/>
                </a:cubicBezTo>
                <a:cubicBezTo>
                  <a:pt x="6410" y="622"/>
                  <a:pt x="6410" y="622"/>
                  <a:pt x="6409" y="622"/>
                </a:cubicBezTo>
                <a:cubicBezTo>
                  <a:pt x="6408" y="622"/>
                  <a:pt x="6408" y="623"/>
                  <a:pt x="6408" y="625"/>
                </a:cubicBezTo>
                <a:cubicBezTo>
                  <a:pt x="6408" y="628"/>
                  <a:pt x="6408" y="629"/>
                  <a:pt x="6410" y="629"/>
                </a:cubicBezTo>
                <a:lnTo>
                  <a:pt x="6412" y="628"/>
                </a:lnTo>
                <a:cubicBezTo>
                  <a:pt x="6412" y="628"/>
                  <a:pt x="6412" y="629"/>
                  <a:pt x="6412" y="629"/>
                </a:cubicBezTo>
                <a:lnTo>
                  <a:pt x="6412" y="630"/>
                </a:lnTo>
                <a:cubicBezTo>
                  <a:pt x="6411" y="631"/>
                  <a:pt x="6410" y="631"/>
                  <a:pt x="6409" y="632"/>
                </a:cubicBezTo>
                <a:cubicBezTo>
                  <a:pt x="6408" y="632"/>
                  <a:pt x="6407" y="632"/>
                  <a:pt x="6406" y="632"/>
                </a:cubicBezTo>
                <a:cubicBezTo>
                  <a:pt x="6405" y="632"/>
                  <a:pt x="6405" y="634"/>
                  <a:pt x="6405" y="636"/>
                </a:cubicBezTo>
                <a:lnTo>
                  <a:pt x="6405" y="639"/>
                </a:lnTo>
                <a:cubicBezTo>
                  <a:pt x="6405" y="639"/>
                  <a:pt x="6405" y="639"/>
                  <a:pt x="6405" y="639"/>
                </a:cubicBezTo>
                <a:close/>
                <a:moveTo>
                  <a:pt x="6409" y="595"/>
                </a:moveTo>
                <a:cubicBezTo>
                  <a:pt x="6409" y="595"/>
                  <a:pt x="6410" y="595"/>
                  <a:pt x="6410" y="593"/>
                </a:cubicBezTo>
                <a:cubicBezTo>
                  <a:pt x="6410" y="590"/>
                  <a:pt x="6409" y="589"/>
                  <a:pt x="6408" y="587"/>
                </a:cubicBezTo>
                <a:cubicBezTo>
                  <a:pt x="6407" y="585"/>
                  <a:pt x="6406" y="584"/>
                  <a:pt x="6406" y="584"/>
                </a:cubicBezTo>
                <a:cubicBezTo>
                  <a:pt x="6406" y="584"/>
                  <a:pt x="6406" y="585"/>
                  <a:pt x="6407" y="587"/>
                </a:cubicBezTo>
                <a:cubicBezTo>
                  <a:pt x="6407" y="588"/>
                  <a:pt x="6407" y="590"/>
                  <a:pt x="6407" y="591"/>
                </a:cubicBezTo>
                <a:cubicBezTo>
                  <a:pt x="6408" y="592"/>
                  <a:pt x="6408" y="593"/>
                  <a:pt x="6408" y="594"/>
                </a:cubicBezTo>
                <a:cubicBezTo>
                  <a:pt x="6408" y="595"/>
                  <a:pt x="6408" y="595"/>
                  <a:pt x="6409" y="595"/>
                </a:cubicBezTo>
                <a:close/>
                <a:moveTo>
                  <a:pt x="6405" y="572"/>
                </a:moveTo>
                <a:cubicBezTo>
                  <a:pt x="6405" y="571"/>
                  <a:pt x="6405" y="571"/>
                  <a:pt x="6405" y="570"/>
                </a:cubicBezTo>
                <a:lnTo>
                  <a:pt x="6405" y="567"/>
                </a:lnTo>
                <a:lnTo>
                  <a:pt x="6404" y="566"/>
                </a:lnTo>
                <a:cubicBezTo>
                  <a:pt x="6404" y="566"/>
                  <a:pt x="6404" y="567"/>
                  <a:pt x="6403" y="569"/>
                </a:cubicBezTo>
                <a:cubicBezTo>
                  <a:pt x="6403" y="571"/>
                  <a:pt x="6404" y="572"/>
                  <a:pt x="6404" y="572"/>
                </a:cubicBezTo>
                <a:lnTo>
                  <a:pt x="6405" y="572"/>
                </a:lnTo>
                <a:close/>
                <a:moveTo>
                  <a:pt x="6402" y="562"/>
                </a:moveTo>
                <a:cubicBezTo>
                  <a:pt x="6403" y="562"/>
                  <a:pt x="6403" y="562"/>
                  <a:pt x="6403" y="561"/>
                </a:cubicBezTo>
                <a:cubicBezTo>
                  <a:pt x="6403" y="560"/>
                  <a:pt x="6403" y="558"/>
                  <a:pt x="6402" y="556"/>
                </a:cubicBezTo>
                <a:cubicBezTo>
                  <a:pt x="6402" y="554"/>
                  <a:pt x="6401" y="551"/>
                  <a:pt x="6401" y="549"/>
                </a:cubicBezTo>
                <a:cubicBezTo>
                  <a:pt x="6401" y="547"/>
                  <a:pt x="6400" y="546"/>
                  <a:pt x="6400" y="544"/>
                </a:cubicBezTo>
                <a:cubicBezTo>
                  <a:pt x="6400" y="543"/>
                  <a:pt x="6400" y="542"/>
                  <a:pt x="6400" y="541"/>
                </a:cubicBezTo>
                <a:cubicBezTo>
                  <a:pt x="6400" y="540"/>
                  <a:pt x="6399" y="540"/>
                  <a:pt x="6398" y="540"/>
                </a:cubicBezTo>
                <a:cubicBezTo>
                  <a:pt x="6398" y="540"/>
                  <a:pt x="6398" y="541"/>
                  <a:pt x="6398" y="543"/>
                </a:cubicBezTo>
                <a:cubicBezTo>
                  <a:pt x="6398" y="545"/>
                  <a:pt x="6398" y="548"/>
                  <a:pt x="6398" y="552"/>
                </a:cubicBezTo>
                <a:cubicBezTo>
                  <a:pt x="6398" y="558"/>
                  <a:pt x="6398" y="561"/>
                  <a:pt x="6398" y="561"/>
                </a:cubicBezTo>
                <a:cubicBezTo>
                  <a:pt x="6399" y="560"/>
                  <a:pt x="6399" y="560"/>
                  <a:pt x="6400" y="560"/>
                </a:cubicBezTo>
                <a:cubicBezTo>
                  <a:pt x="6400" y="560"/>
                  <a:pt x="6401" y="560"/>
                  <a:pt x="6402" y="561"/>
                </a:cubicBezTo>
                <a:cubicBezTo>
                  <a:pt x="6402" y="562"/>
                  <a:pt x="6402" y="562"/>
                  <a:pt x="6402" y="562"/>
                </a:cubicBezTo>
                <a:close/>
                <a:moveTo>
                  <a:pt x="6333" y="487"/>
                </a:moveTo>
                <a:cubicBezTo>
                  <a:pt x="6333" y="487"/>
                  <a:pt x="6332" y="486"/>
                  <a:pt x="6331" y="485"/>
                </a:cubicBezTo>
                <a:cubicBezTo>
                  <a:pt x="6330" y="485"/>
                  <a:pt x="6329" y="484"/>
                  <a:pt x="6327" y="482"/>
                </a:cubicBezTo>
                <a:lnTo>
                  <a:pt x="6325" y="480"/>
                </a:lnTo>
                <a:lnTo>
                  <a:pt x="6326" y="481"/>
                </a:lnTo>
                <a:cubicBezTo>
                  <a:pt x="6326" y="481"/>
                  <a:pt x="6327" y="481"/>
                  <a:pt x="6328" y="481"/>
                </a:cubicBezTo>
                <a:cubicBezTo>
                  <a:pt x="6329" y="481"/>
                  <a:pt x="6329" y="481"/>
                  <a:pt x="6329" y="481"/>
                </a:cubicBezTo>
                <a:lnTo>
                  <a:pt x="6330" y="480"/>
                </a:lnTo>
                <a:cubicBezTo>
                  <a:pt x="6331" y="480"/>
                  <a:pt x="6331" y="481"/>
                  <a:pt x="6331" y="482"/>
                </a:cubicBezTo>
                <a:cubicBezTo>
                  <a:pt x="6331" y="484"/>
                  <a:pt x="6331" y="484"/>
                  <a:pt x="6331" y="484"/>
                </a:cubicBezTo>
                <a:cubicBezTo>
                  <a:pt x="6332" y="484"/>
                  <a:pt x="6333" y="484"/>
                  <a:pt x="6334" y="482"/>
                </a:cubicBezTo>
                <a:cubicBezTo>
                  <a:pt x="6334" y="481"/>
                  <a:pt x="6334" y="480"/>
                  <a:pt x="6335" y="480"/>
                </a:cubicBezTo>
                <a:cubicBezTo>
                  <a:pt x="6335" y="480"/>
                  <a:pt x="6335" y="481"/>
                  <a:pt x="6335" y="481"/>
                </a:cubicBezTo>
                <a:cubicBezTo>
                  <a:pt x="6335" y="485"/>
                  <a:pt x="6335" y="487"/>
                  <a:pt x="6333" y="487"/>
                </a:cubicBezTo>
                <a:close/>
                <a:moveTo>
                  <a:pt x="6302" y="692"/>
                </a:moveTo>
                <a:lnTo>
                  <a:pt x="6300" y="692"/>
                </a:lnTo>
                <a:cubicBezTo>
                  <a:pt x="6300" y="691"/>
                  <a:pt x="6302" y="690"/>
                  <a:pt x="6304" y="688"/>
                </a:cubicBezTo>
                <a:cubicBezTo>
                  <a:pt x="6307" y="687"/>
                  <a:pt x="6308" y="686"/>
                  <a:pt x="6309" y="686"/>
                </a:cubicBezTo>
                <a:lnTo>
                  <a:pt x="6309" y="686"/>
                </a:lnTo>
                <a:cubicBezTo>
                  <a:pt x="6309" y="687"/>
                  <a:pt x="6309" y="687"/>
                  <a:pt x="6308" y="688"/>
                </a:cubicBezTo>
                <a:cubicBezTo>
                  <a:pt x="6307" y="689"/>
                  <a:pt x="6306" y="689"/>
                  <a:pt x="6305" y="690"/>
                </a:cubicBezTo>
                <a:cubicBezTo>
                  <a:pt x="6304" y="691"/>
                  <a:pt x="6303" y="691"/>
                  <a:pt x="6302" y="692"/>
                </a:cubicBezTo>
                <a:close/>
                <a:moveTo>
                  <a:pt x="6397" y="648"/>
                </a:moveTo>
                <a:lnTo>
                  <a:pt x="6397" y="648"/>
                </a:lnTo>
                <a:cubicBezTo>
                  <a:pt x="6397" y="647"/>
                  <a:pt x="6397" y="647"/>
                  <a:pt x="6398" y="646"/>
                </a:cubicBezTo>
                <a:cubicBezTo>
                  <a:pt x="6399" y="645"/>
                  <a:pt x="6400" y="644"/>
                  <a:pt x="6400" y="643"/>
                </a:cubicBezTo>
                <a:cubicBezTo>
                  <a:pt x="6400" y="642"/>
                  <a:pt x="6400" y="640"/>
                  <a:pt x="6400" y="639"/>
                </a:cubicBezTo>
                <a:cubicBezTo>
                  <a:pt x="6399" y="639"/>
                  <a:pt x="6399" y="638"/>
                  <a:pt x="6399" y="637"/>
                </a:cubicBezTo>
                <a:lnTo>
                  <a:pt x="6399" y="637"/>
                </a:lnTo>
                <a:cubicBezTo>
                  <a:pt x="6399" y="637"/>
                  <a:pt x="6400" y="638"/>
                  <a:pt x="6402" y="640"/>
                </a:cubicBezTo>
                <a:cubicBezTo>
                  <a:pt x="6403" y="642"/>
                  <a:pt x="6403" y="644"/>
                  <a:pt x="6403" y="644"/>
                </a:cubicBezTo>
                <a:cubicBezTo>
                  <a:pt x="6403" y="646"/>
                  <a:pt x="6402" y="647"/>
                  <a:pt x="6400" y="647"/>
                </a:cubicBezTo>
                <a:cubicBezTo>
                  <a:pt x="6398" y="648"/>
                  <a:pt x="6397" y="648"/>
                  <a:pt x="6397" y="648"/>
                </a:cubicBezTo>
                <a:close/>
                <a:moveTo>
                  <a:pt x="6150" y="510"/>
                </a:moveTo>
                <a:cubicBezTo>
                  <a:pt x="6148" y="510"/>
                  <a:pt x="6148" y="509"/>
                  <a:pt x="6148" y="509"/>
                </a:cubicBezTo>
                <a:cubicBezTo>
                  <a:pt x="6148" y="509"/>
                  <a:pt x="6149" y="508"/>
                  <a:pt x="6150" y="508"/>
                </a:cubicBezTo>
                <a:cubicBezTo>
                  <a:pt x="6152" y="507"/>
                  <a:pt x="6153" y="507"/>
                  <a:pt x="6155" y="506"/>
                </a:cubicBezTo>
                <a:cubicBezTo>
                  <a:pt x="6156" y="506"/>
                  <a:pt x="6157" y="506"/>
                  <a:pt x="6158" y="506"/>
                </a:cubicBezTo>
                <a:cubicBezTo>
                  <a:pt x="6159" y="506"/>
                  <a:pt x="6160" y="506"/>
                  <a:pt x="6160" y="506"/>
                </a:cubicBezTo>
                <a:cubicBezTo>
                  <a:pt x="6160" y="506"/>
                  <a:pt x="6159" y="507"/>
                  <a:pt x="6157" y="508"/>
                </a:cubicBezTo>
                <a:cubicBezTo>
                  <a:pt x="6154" y="509"/>
                  <a:pt x="6152" y="510"/>
                  <a:pt x="6150" y="510"/>
                </a:cubicBezTo>
                <a:close/>
                <a:moveTo>
                  <a:pt x="7030" y="585"/>
                </a:moveTo>
                <a:cubicBezTo>
                  <a:pt x="7029" y="585"/>
                  <a:pt x="7028" y="585"/>
                  <a:pt x="7028" y="584"/>
                </a:cubicBezTo>
                <a:lnTo>
                  <a:pt x="7028" y="583"/>
                </a:lnTo>
                <a:cubicBezTo>
                  <a:pt x="7028" y="583"/>
                  <a:pt x="7028" y="582"/>
                  <a:pt x="7029" y="581"/>
                </a:cubicBezTo>
                <a:cubicBezTo>
                  <a:pt x="7030" y="581"/>
                  <a:pt x="7031" y="580"/>
                  <a:pt x="7031" y="580"/>
                </a:cubicBezTo>
                <a:cubicBezTo>
                  <a:pt x="7032" y="580"/>
                  <a:pt x="7032" y="580"/>
                  <a:pt x="7032" y="581"/>
                </a:cubicBezTo>
                <a:lnTo>
                  <a:pt x="7032" y="583"/>
                </a:lnTo>
                <a:cubicBezTo>
                  <a:pt x="7031" y="585"/>
                  <a:pt x="7030" y="585"/>
                  <a:pt x="7030" y="585"/>
                </a:cubicBezTo>
                <a:close/>
                <a:moveTo>
                  <a:pt x="6810" y="813"/>
                </a:moveTo>
                <a:cubicBezTo>
                  <a:pt x="6809" y="813"/>
                  <a:pt x="6808" y="812"/>
                  <a:pt x="6806" y="810"/>
                </a:cubicBezTo>
                <a:cubicBezTo>
                  <a:pt x="6805" y="809"/>
                  <a:pt x="6804" y="808"/>
                  <a:pt x="6804" y="807"/>
                </a:cubicBezTo>
                <a:cubicBezTo>
                  <a:pt x="6804" y="804"/>
                  <a:pt x="6805" y="803"/>
                  <a:pt x="6807" y="803"/>
                </a:cubicBezTo>
                <a:lnTo>
                  <a:pt x="6811" y="804"/>
                </a:lnTo>
                <a:cubicBezTo>
                  <a:pt x="6811" y="804"/>
                  <a:pt x="6811" y="804"/>
                  <a:pt x="6811" y="803"/>
                </a:cubicBezTo>
                <a:lnTo>
                  <a:pt x="6810" y="799"/>
                </a:lnTo>
                <a:cubicBezTo>
                  <a:pt x="6810" y="799"/>
                  <a:pt x="6811" y="800"/>
                  <a:pt x="6811" y="800"/>
                </a:cubicBezTo>
                <a:cubicBezTo>
                  <a:pt x="6812" y="800"/>
                  <a:pt x="6812" y="800"/>
                  <a:pt x="6813" y="800"/>
                </a:cubicBezTo>
                <a:cubicBezTo>
                  <a:pt x="6815" y="800"/>
                  <a:pt x="6818" y="800"/>
                  <a:pt x="6821" y="798"/>
                </a:cubicBezTo>
                <a:cubicBezTo>
                  <a:pt x="6824" y="797"/>
                  <a:pt x="6827" y="796"/>
                  <a:pt x="6828" y="796"/>
                </a:cubicBezTo>
                <a:cubicBezTo>
                  <a:pt x="6829" y="796"/>
                  <a:pt x="6830" y="796"/>
                  <a:pt x="6831" y="797"/>
                </a:cubicBezTo>
                <a:cubicBezTo>
                  <a:pt x="6832" y="798"/>
                  <a:pt x="6832" y="798"/>
                  <a:pt x="6833" y="798"/>
                </a:cubicBezTo>
                <a:cubicBezTo>
                  <a:pt x="6834" y="798"/>
                  <a:pt x="6836" y="798"/>
                  <a:pt x="6837" y="797"/>
                </a:cubicBezTo>
                <a:cubicBezTo>
                  <a:pt x="6839" y="796"/>
                  <a:pt x="6840" y="795"/>
                  <a:pt x="6840" y="795"/>
                </a:cubicBezTo>
                <a:lnTo>
                  <a:pt x="6835" y="796"/>
                </a:lnTo>
                <a:cubicBezTo>
                  <a:pt x="6833" y="796"/>
                  <a:pt x="6832" y="795"/>
                  <a:pt x="6832" y="794"/>
                </a:cubicBezTo>
                <a:cubicBezTo>
                  <a:pt x="6832" y="793"/>
                  <a:pt x="6833" y="792"/>
                  <a:pt x="6834" y="792"/>
                </a:cubicBezTo>
                <a:cubicBezTo>
                  <a:pt x="6835" y="791"/>
                  <a:pt x="6835" y="791"/>
                  <a:pt x="6836" y="791"/>
                </a:cubicBezTo>
                <a:cubicBezTo>
                  <a:pt x="6836" y="791"/>
                  <a:pt x="6837" y="791"/>
                  <a:pt x="6838" y="792"/>
                </a:cubicBezTo>
                <a:cubicBezTo>
                  <a:pt x="6838" y="792"/>
                  <a:pt x="6839" y="792"/>
                  <a:pt x="6839" y="793"/>
                </a:cubicBezTo>
                <a:cubicBezTo>
                  <a:pt x="6840" y="794"/>
                  <a:pt x="6841" y="794"/>
                  <a:pt x="6841" y="794"/>
                </a:cubicBezTo>
                <a:cubicBezTo>
                  <a:pt x="6842" y="794"/>
                  <a:pt x="6843" y="792"/>
                  <a:pt x="6844" y="789"/>
                </a:cubicBezTo>
                <a:cubicBezTo>
                  <a:pt x="6845" y="786"/>
                  <a:pt x="6846" y="784"/>
                  <a:pt x="6847" y="784"/>
                </a:cubicBezTo>
                <a:cubicBezTo>
                  <a:pt x="6848" y="784"/>
                  <a:pt x="6849" y="784"/>
                  <a:pt x="6849" y="785"/>
                </a:cubicBezTo>
                <a:cubicBezTo>
                  <a:pt x="6851" y="787"/>
                  <a:pt x="6852" y="788"/>
                  <a:pt x="6853" y="788"/>
                </a:cubicBezTo>
                <a:cubicBezTo>
                  <a:pt x="6854" y="788"/>
                  <a:pt x="6855" y="786"/>
                  <a:pt x="6855" y="784"/>
                </a:cubicBezTo>
                <a:cubicBezTo>
                  <a:pt x="6855" y="782"/>
                  <a:pt x="6855" y="781"/>
                  <a:pt x="6856" y="781"/>
                </a:cubicBezTo>
                <a:cubicBezTo>
                  <a:pt x="6856" y="781"/>
                  <a:pt x="6856" y="782"/>
                  <a:pt x="6857" y="783"/>
                </a:cubicBezTo>
                <a:cubicBezTo>
                  <a:pt x="6857" y="784"/>
                  <a:pt x="6858" y="785"/>
                  <a:pt x="6859" y="785"/>
                </a:cubicBezTo>
                <a:cubicBezTo>
                  <a:pt x="6859" y="785"/>
                  <a:pt x="6860" y="784"/>
                  <a:pt x="6861" y="782"/>
                </a:cubicBezTo>
                <a:cubicBezTo>
                  <a:pt x="6861" y="780"/>
                  <a:pt x="6862" y="778"/>
                  <a:pt x="6862" y="778"/>
                </a:cubicBezTo>
                <a:cubicBezTo>
                  <a:pt x="6862" y="777"/>
                  <a:pt x="6861" y="777"/>
                  <a:pt x="6861" y="777"/>
                </a:cubicBezTo>
                <a:cubicBezTo>
                  <a:pt x="6861" y="777"/>
                  <a:pt x="6860" y="777"/>
                  <a:pt x="6859" y="778"/>
                </a:cubicBezTo>
                <a:cubicBezTo>
                  <a:pt x="6858" y="778"/>
                  <a:pt x="6858" y="779"/>
                  <a:pt x="6857" y="779"/>
                </a:cubicBezTo>
                <a:lnTo>
                  <a:pt x="6857" y="778"/>
                </a:lnTo>
                <a:cubicBezTo>
                  <a:pt x="6857" y="778"/>
                  <a:pt x="6858" y="777"/>
                  <a:pt x="6859" y="776"/>
                </a:cubicBezTo>
                <a:cubicBezTo>
                  <a:pt x="6860" y="774"/>
                  <a:pt x="6861" y="773"/>
                  <a:pt x="6861" y="772"/>
                </a:cubicBezTo>
                <a:cubicBezTo>
                  <a:pt x="6861" y="772"/>
                  <a:pt x="6860" y="771"/>
                  <a:pt x="6859" y="771"/>
                </a:cubicBezTo>
                <a:cubicBezTo>
                  <a:pt x="6858" y="771"/>
                  <a:pt x="6857" y="770"/>
                  <a:pt x="6857" y="770"/>
                </a:cubicBezTo>
                <a:cubicBezTo>
                  <a:pt x="6857" y="770"/>
                  <a:pt x="6858" y="769"/>
                  <a:pt x="6859" y="769"/>
                </a:cubicBezTo>
                <a:cubicBezTo>
                  <a:pt x="6859" y="768"/>
                  <a:pt x="6860" y="768"/>
                  <a:pt x="6860" y="768"/>
                </a:cubicBezTo>
                <a:cubicBezTo>
                  <a:pt x="6861" y="768"/>
                  <a:pt x="6862" y="768"/>
                  <a:pt x="6862" y="769"/>
                </a:cubicBezTo>
                <a:cubicBezTo>
                  <a:pt x="6862" y="770"/>
                  <a:pt x="6862" y="770"/>
                  <a:pt x="6862" y="771"/>
                </a:cubicBezTo>
                <a:cubicBezTo>
                  <a:pt x="6863" y="771"/>
                  <a:pt x="6863" y="772"/>
                  <a:pt x="6864" y="772"/>
                </a:cubicBezTo>
                <a:cubicBezTo>
                  <a:pt x="6864" y="772"/>
                  <a:pt x="6865" y="771"/>
                  <a:pt x="6865" y="770"/>
                </a:cubicBezTo>
                <a:lnTo>
                  <a:pt x="6864" y="768"/>
                </a:lnTo>
                <a:cubicBezTo>
                  <a:pt x="6864" y="766"/>
                  <a:pt x="6865" y="764"/>
                  <a:pt x="6866" y="764"/>
                </a:cubicBezTo>
                <a:cubicBezTo>
                  <a:pt x="6866" y="764"/>
                  <a:pt x="6867" y="763"/>
                  <a:pt x="6867" y="763"/>
                </a:cubicBezTo>
                <a:cubicBezTo>
                  <a:pt x="6867" y="763"/>
                  <a:pt x="6867" y="764"/>
                  <a:pt x="6867" y="765"/>
                </a:cubicBezTo>
                <a:lnTo>
                  <a:pt x="6867" y="772"/>
                </a:lnTo>
                <a:cubicBezTo>
                  <a:pt x="6867" y="773"/>
                  <a:pt x="6866" y="774"/>
                  <a:pt x="6866" y="775"/>
                </a:cubicBezTo>
                <a:cubicBezTo>
                  <a:pt x="6866" y="775"/>
                  <a:pt x="6866" y="776"/>
                  <a:pt x="6865" y="776"/>
                </a:cubicBezTo>
                <a:lnTo>
                  <a:pt x="6862" y="774"/>
                </a:lnTo>
                <a:cubicBezTo>
                  <a:pt x="6862" y="776"/>
                  <a:pt x="6863" y="777"/>
                  <a:pt x="6864" y="777"/>
                </a:cubicBezTo>
                <a:cubicBezTo>
                  <a:pt x="6867" y="777"/>
                  <a:pt x="6872" y="774"/>
                  <a:pt x="6879" y="769"/>
                </a:cubicBezTo>
                <a:cubicBezTo>
                  <a:pt x="6885" y="763"/>
                  <a:pt x="6897" y="752"/>
                  <a:pt x="6914" y="737"/>
                </a:cubicBezTo>
                <a:lnTo>
                  <a:pt x="6936" y="715"/>
                </a:lnTo>
                <a:cubicBezTo>
                  <a:pt x="6943" y="709"/>
                  <a:pt x="6946" y="705"/>
                  <a:pt x="6946" y="703"/>
                </a:cubicBezTo>
                <a:cubicBezTo>
                  <a:pt x="6946" y="702"/>
                  <a:pt x="6947" y="700"/>
                  <a:pt x="6949" y="699"/>
                </a:cubicBezTo>
                <a:cubicBezTo>
                  <a:pt x="6951" y="697"/>
                  <a:pt x="6952" y="696"/>
                  <a:pt x="6952" y="695"/>
                </a:cubicBezTo>
                <a:cubicBezTo>
                  <a:pt x="6952" y="694"/>
                  <a:pt x="6951" y="694"/>
                  <a:pt x="6951" y="693"/>
                </a:cubicBezTo>
                <a:cubicBezTo>
                  <a:pt x="6951" y="692"/>
                  <a:pt x="6950" y="691"/>
                  <a:pt x="6950" y="691"/>
                </a:cubicBezTo>
                <a:cubicBezTo>
                  <a:pt x="6950" y="689"/>
                  <a:pt x="6951" y="688"/>
                  <a:pt x="6952" y="687"/>
                </a:cubicBezTo>
                <a:cubicBezTo>
                  <a:pt x="6953" y="686"/>
                  <a:pt x="6954" y="685"/>
                  <a:pt x="6955" y="685"/>
                </a:cubicBezTo>
                <a:cubicBezTo>
                  <a:pt x="6956" y="685"/>
                  <a:pt x="6956" y="685"/>
                  <a:pt x="6957" y="686"/>
                </a:cubicBezTo>
                <a:cubicBezTo>
                  <a:pt x="6957" y="686"/>
                  <a:pt x="6958" y="686"/>
                  <a:pt x="6958" y="686"/>
                </a:cubicBezTo>
                <a:cubicBezTo>
                  <a:pt x="6960" y="686"/>
                  <a:pt x="6960" y="686"/>
                  <a:pt x="6961" y="685"/>
                </a:cubicBezTo>
                <a:cubicBezTo>
                  <a:pt x="6961" y="684"/>
                  <a:pt x="6961" y="684"/>
                  <a:pt x="6961" y="683"/>
                </a:cubicBezTo>
                <a:cubicBezTo>
                  <a:pt x="6961" y="682"/>
                  <a:pt x="6960" y="681"/>
                  <a:pt x="6958" y="681"/>
                </a:cubicBezTo>
                <a:cubicBezTo>
                  <a:pt x="6956" y="681"/>
                  <a:pt x="6953" y="683"/>
                  <a:pt x="6951" y="685"/>
                </a:cubicBezTo>
                <a:cubicBezTo>
                  <a:pt x="6949" y="687"/>
                  <a:pt x="6948" y="689"/>
                  <a:pt x="6948" y="691"/>
                </a:cubicBezTo>
                <a:cubicBezTo>
                  <a:pt x="6948" y="691"/>
                  <a:pt x="6948" y="692"/>
                  <a:pt x="6949" y="693"/>
                </a:cubicBezTo>
                <a:cubicBezTo>
                  <a:pt x="6950" y="694"/>
                  <a:pt x="6950" y="694"/>
                  <a:pt x="6950" y="695"/>
                </a:cubicBezTo>
                <a:cubicBezTo>
                  <a:pt x="6950" y="696"/>
                  <a:pt x="6949" y="697"/>
                  <a:pt x="6947" y="698"/>
                </a:cubicBezTo>
                <a:cubicBezTo>
                  <a:pt x="6945" y="698"/>
                  <a:pt x="6943" y="700"/>
                  <a:pt x="6941" y="701"/>
                </a:cubicBezTo>
                <a:cubicBezTo>
                  <a:pt x="6939" y="703"/>
                  <a:pt x="6937" y="705"/>
                  <a:pt x="6935" y="706"/>
                </a:cubicBezTo>
                <a:cubicBezTo>
                  <a:pt x="6933" y="708"/>
                  <a:pt x="6933" y="709"/>
                  <a:pt x="6933" y="710"/>
                </a:cubicBezTo>
                <a:lnTo>
                  <a:pt x="6933" y="711"/>
                </a:lnTo>
                <a:cubicBezTo>
                  <a:pt x="6933" y="712"/>
                  <a:pt x="6931" y="713"/>
                  <a:pt x="6929" y="714"/>
                </a:cubicBezTo>
                <a:cubicBezTo>
                  <a:pt x="6928" y="715"/>
                  <a:pt x="6926" y="716"/>
                  <a:pt x="6924" y="718"/>
                </a:cubicBezTo>
                <a:cubicBezTo>
                  <a:pt x="6922" y="720"/>
                  <a:pt x="6920" y="722"/>
                  <a:pt x="6918" y="724"/>
                </a:cubicBezTo>
                <a:cubicBezTo>
                  <a:pt x="6916" y="726"/>
                  <a:pt x="6915" y="727"/>
                  <a:pt x="6914" y="727"/>
                </a:cubicBezTo>
                <a:cubicBezTo>
                  <a:pt x="6914" y="727"/>
                  <a:pt x="6914" y="727"/>
                  <a:pt x="6914" y="727"/>
                </a:cubicBezTo>
                <a:cubicBezTo>
                  <a:pt x="6914" y="725"/>
                  <a:pt x="6918" y="720"/>
                  <a:pt x="6925" y="712"/>
                </a:cubicBezTo>
                <a:lnTo>
                  <a:pt x="6944" y="691"/>
                </a:lnTo>
                <a:cubicBezTo>
                  <a:pt x="6959" y="673"/>
                  <a:pt x="6967" y="663"/>
                  <a:pt x="6967" y="661"/>
                </a:cubicBezTo>
                <a:cubicBezTo>
                  <a:pt x="6967" y="660"/>
                  <a:pt x="6970" y="657"/>
                  <a:pt x="6975" y="653"/>
                </a:cubicBezTo>
                <a:cubicBezTo>
                  <a:pt x="6977" y="651"/>
                  <a:pt x="6979" y="650"/>
                  <a:pt x="6980" y="650"/>
                </a:cubicBezTo>
                <a:cubicBezTo>
                  <a:pt x="6980" y="650"/>
                  <a:pt x="6981" y="649"/>
                  <a:pt x="6981" y="649"/>
                </a:cubicBezTo>
                <a:lnTo>
                  <a:pt x="6980" y="646"/>
                </a:lnTo>
                <a:cubicBezTo>
                  <a:pt x="6980" y="643"/>
                  <a:pt x="6982" y="641"/>
                  <a:pt x="6986" y="640"/>
                </a:cubicBezTo>
                <a:cubicBezTo>
                  <a:pt x="6988" y="640"/>
                  <a:pt x="6989" y="639"/>
                  <a:pt x="6989" y="637"/>
                </a:cubicBezTo>
                <a:lnTo>
                  <a:pt x="6988" y="634"/>
                </a:lnTo>
                <a:cubicBezTo>
                  <a:pt x="6988" y="632"/>
                  <a:pt x="6989" y="632"/>
                  <a:pt x="6991" y="632"/>
                </a:cubicBezTo>
                <a:cubicBezTo>
                  <a:pt x="6993" y="632"/>
                  <a:pt x="6994" y="632"/>
                  <a:pt x="6994" y="632"/>
                </a:cubicBezTo>
                <a:cubicBezTo>
                  <a:pt x="6994" y="631"/>
                  <a:pt x="6993" y="630"/>
                  <a:pt x="6992" y="630"/>
                </a:cubicBezTo>
                <a:cubicBezTo>
                  <a:pt x="6991" y="629"/>
                  <a:pt x="6990" y="628"/>
                  <a:pt x="6990" y="628"/>
                </a:cubicBezTo>
                <a:cubicBezTo>
                  <a:pt x="6990" y="627"/>
                  <a:pt x="6991" y="626"/>
                  <a:pt x="6993" y="625"/>
                </a:cubicBezTo>
                <a:cubicBezTo>
                  <a:pt x="6995" y="625"/>
                  <a:pt x="6996" y="623"/>
                  <a:pt x="6996" y="621"/>
                </a:cubicBezTo>
                <a:cubicBezTo>
                  <a:pt x="6996" y="619"/>
                  <a:pt x="6998" y="617"/>
                  <a:pt x="7000" y="616"/>
                </a:cubicBezTo>
                <a:cubicBezTo>
                  <a:pt x="7002" y="615"/>
                  <a:pt x="7002" y="615"/>
                  <a:pt x="7002" y="614"/>
                </a:cubicBezTo>
                <a:cubicBezTo>
                  <a:pt x="7002" y="613"/>
                  <a:pt x="7002" y="613"/>
                  <a:pt x="7002" y="613"/>
                </a:cubicBezTo>
                <a:cubicBezTo>
                  <a:pt x="7002" y="613"/>
                  <a:pt x="7002" y="613"/>
                  <a:pt x="7002" y="613"/>
                </a:cubicBezTo>
                <a:cubicBezTo>
                  <a:pt x="7002" y="612"/>
                  <a:pt x="7003" y="611"/>
                  <a:pt x="7005" y="607"/>
                </a:cubicBezTo>
                <a:cubicBezTo>
                  <a:pt x="7008" y="605"/>
                  <a:pt x="7009" y="602"/>
                  <a:pt x="7009" y="599"/>
                </a:cubicBezTo>
                <a:lnTo>
                  <a:pt x="7008" y="595"/>
                </a:lnTo>
                <a:cubicBezTo>
                  <a:pt x="7008" y="595"/>
                  <a:pt x="7009" y="596"/>
                  <a:pt x="7010" y="598"/>
                </a:cubicBezTo>
                <a:cubicBezTo>
                  <a:pt x="7012" y="600"/>
                  <a:pt x="7013" y="602"/>
                  <a:pt x="7013" y="602"/>
                </a:cubicBezTo>
                <a:lnTo>
                  <a:pt x="7014" y="601"/>
                </a:lnTo>
                <a:cubicBezTo>
                  <a:pt x="7014" y="600"/>
                  <a:pt x="7013" y="599"/>
                  <a:pt x="7013" y="597"/>
                </a:cubicBezTo>
                <a:cubicBezTo>
                  <a:pt x="7013" y="595"/>
                  <a:pt x="7013" y="593"/>
                  <a:pt x="7013" y="592"/>
                </a:cubicBezTo>
                <a:cubicBezTo>
                  <a:pt x="7013" y="590"/>
                  <a:pt x="7013" y="590"/>
                  <a:pt x="7015" y="590"/>
                </a:cubicBezTo>
                <a:lnTo>
                  <a:pt x="7016" y="590"/>
                </a:lnTo>
                <a:cubicBezTo>
                  <a:pt x="7018" y="590"/>
                  <a:pt x="7018" y="589"/>
                  <a:pt x="7018" y="588"/>
                </a:cubicBezTo>
                <a:cubicBezTo>
                  <a:pt x="7018" y="583"/>
                  <a:pt x="7021" y="580"/>
                  <a:pt x="7027" y="578"/>
                </a:cubicBezTo>
                <a:lnTo>
                  <a:pt x="7031" y="577"/>
                </a:lnTo>
                <a:cubicBezTo>
                  <a:pt x="7031" y="577"/>
                  <a:pt x="7030" y="578"/>
                  <a:pt x="7028" y="579"/>
                </a:cubicBezTo>
                <a:cubicBezTo>
                  <a:pt x="7026" y="581"/>
                  <a:pt x="7025" y="582"/>
                  <a:pt x="7025" y="583"/>
                </a:cubicBezTo>
                <a:cubicBezTo>
                  <a:pt x="7025" y="584"/>
                  <a:pt x="7026" y="585"/>
                  <a:pt x="7027" y="585"/>
                </a:cubicBezTo>
                <a:cubicBezTo>
                  <a:pt x="7029" y="586"/>
                  <a:pt x="7030" y="587"/>
                  <a:pt x="7030" y="587"/>
                </a:cubicBezTo>
                <a:cubicBezTo>
                  <a:pt x="7031" y="587"/>
                  <a:pt x="7032" y="586"/>
                  <a:pt x="7033" y="584"/>
                </a:cubicBezTo>
                <a:cubicBezTo>
                  <a:pt x="7034" y="583"/>
                  <a:pt x="7034" y="581"/>
                  <a:pt x="7034" y="580"/>
                </a:cubicBezTo>
                <a:cubicBezTo>
                  <a:pt x="7034" y="578"/>
                  <a:pt x="7032" y="576"/>
                  <a:pt x="7027" y="574"/>
                </a:cubicBezTo>
                <a:cubicBezTo>
                  <a:pt x="7027" y="574"/>
                  <a:pt x="7027" y="573"/>
                  <a:pt x="7027" y="573"/>
                </a:cubicBezTo>
                <a:cubicBezTo>
                  <a:pt x="7027" y="572"/>
                  <a:pt x="7027" y="571"/>
                  <a:pt x="7028" y="570"/>
                </a:cubicBezTo>
                <a:cubicBezTo>
                  <a:pt x="7029" y="569"/>
                  <a:pt x="7030" y="568"/>
                  <a:pt x="7031" y="568"/>
                </a:cubicBezTo>
                <a:cubicBezTo>
                  <a:pt x="7031" y="568"/>
                  <a:pt x="7031" y="569"/>
                  <a:pt x="7031" y="571"/>
                </a:cubicBezTo>
                <a:cubicBezTo>
                  <a:pt x="7031" y="573"/>
                  <a:pt x="7033" y="575"/>
                  <a:pt x="7035" y="575"/>
                </a:cubicBezTo>
                <a:lnTo>
                  <a:pt x="7037" y="576"/>
                </a:lnTo>
                <a:lnTo>
                  <a:pt x="7037" y="575"/>
                </a:lnTo>
                <a:cubicBezTo>
                  <a:pt x="7037" y="575"/>
                  <a:pt x="7037" y="575"/>
                  <a:pt x="7037" y="574"/>
                </a:cubicBezTo>
                <a:cubicBezTo>
                  <a:pt x="7037" y="573"/>
                  <a:pt x="7037" y="571"/>
                  <a:pt x="7039" y="569"/>
                </a:cubicBezTo>
                <a:cubicBezTo>
                  <a:pt x="7040" y="568"/>
                  <a:pt x="7041" y="566"/>
                  <a:pt x="7041" y="566"/>
                </a:cubicBezTo>
                <a:cubicBezTo>
                  <a:pt x="7041" y="566"/>
                  <a:pt x="7041" y="565"/>
                  <a:pt x="7041" y="565"/>
                </a:cubicBezTo>
                <a:cubicBezTo>
                  <a:pt x="7041" y="565"/>
                  <a:pt x="7040" y="565"/>
                  <a:pt x="7040" y="565"/>
                </a:cubicBezTo>
                <a:cubicBezTo>
                  <a:pt x="7040" y="564"/>
                  <a:pt x="7041" y="563"/>
                  <a:pt x="7042" y="562"/>
                </a:cubicBezTo>
                <a:cubicBezTo>
                  <a:pt x="7043" y="560"/>
                  <a:pt x="7044" y="559"/>
                  <a:pt x="7044" y="558"/>
                </a:cubicBezTo>
                <a:cubicBezTo>
                  <a:pt x="7044" y="557"/>
                  <a:pt x="7043" y="557"/>
                  <a:pt x="7042" y="556"/>
                </a:cubicBezTo>
                <a:cubicBezTo>
                  <a:pt x="7041" y="556"/>
                  <a:pt x="7041" y="555"/>
                  <a:pt x="7041" y="555"/>
                </a:cubicBezTo>
                <a:cubicBezTo>
                  <a:pt x="7041" y="554"/>
                  <a:pt x="7042" y="553"/>
                  <a:pt x="7043" y="553"/>
                </a:cubicBezTo>
                <a:cubicBezTo>
                  <a:pt x="7045" y="553"/>
                  <a:pt x="7046" y="552"/>
                  <a:pt x="7046" y="552"/>
                </a:cubicBezTo>
                <a:lnTo>
                  <a:pt x="7043" y="552"/>
                </a:lnTo>
                <a:cubicBezTo>
                  <a:pt x="7041" y="552"/>
                  <a:pt x="7040" y="551"/>
                  <a:pt x="7040" y="549"/>
                </a:cubicBezTo>
                <a:cubicBezTo>
                  <a:pt x="7040" y="548"/>
                  <a:pt x="7040" y="548"/>
                  <a:pt x="7041" y="548"/>
                </a:cubicBezTo>
                <a:lnTo>
                  <a:pt x="7043" y="549"/>
                </a:lnTo>
                <a:cubicBezTo>
                  <a:pt x="7045" y="549"/>
                  <a:pt x="7047" y="548"/>
                  <a:pt x="7048" y="546"/>
                </a:cubicBezTo>
                <a:lnTo>
                  <a:pt x="7051" y="545"/>
                </a:lnTo>
                <a:cubicBezTo>
                  <a:pt x="7051" y="546"/>
                  <a:pt x="7050" y="547"/>
                  <a:pt x="7050" y="548"/>
                </a:cubicBezTo>
                <a:cubicBezTo>
                  <a:pt x="7049" y="549"/>
                  <a:pt x="7048" y="551"/>
                  <a:pt x="7048" y="555"/>
                </a:cubicBezTo>
                <a:cubicBezTo>
                  <a:pt x="7047" y="558"/>
                  <a:pt x="7046" y="561"/>
                  <a:pt x="7045" y="565"/>
                </a:cubicBezTo>
                <a:cubicBezTo>
                  <a:pt x="7041" y="580"/>
                  <a:pt x="7032" y="600"/>
                  <a:pt x="7019" y="622"/>
                </a:cubicBezTo>
                <a:cubicBezTo>
                  <a:pt x="7005" y="645"/>
                  <a:pt x="6991" y="666"/>
                  <a:pt x="6975" y="685"/>
                </a:cubicBezTo>
                <a:cubicBezTo>
                  <a:pt x="6962" y="699"/>
                  <a:pt x="6948" y="714"/>
                  <a:pt x="6933" y="729"/>
                </a:cubicBezTo>
                <a:cubicBezTo>
                  <a:pt x="6918" y="744"/>
                  <a:pt x="6904" y="756"/>
                  <a:pt x="6893" y="766"/>
                </a:cubicBezTo>
                <a:cubicBezTo>
                  <a:pt x="6880" y="777"/>
                  <a:pt x="6872" y="781"/>
                  <a:pt x="6869" y="781"/>
                </a:cubicBezTo>
                <a:lnTo>
                  <a:pt x="6868" y="781"/>
                </a:lnTo>
                <a:cubicBezTo>
                  <a:pt x="6867" y="781"/>
                  <a:pt x="6867" y="781"/>
                  <a:pt x="6866" y="782"/>
                </a:cubicBezTo>
                <a:cubicBezTo>
                  <a:pt x="6865" y="783"/>
                  <a:pt x="6857" y="788"/>
                  <a:pt x="6844" y="796"/>
                </a:cubicBezTo>
                <a:cubicBezTo>
                  <a:pt x="6829" y="804"/>
                  <a:pt x="6821" y="808"/>
                  <a:pt x="6819" y="808"/>
                </a:cubicBezTo>
                <a:cubicBezTo>
                  <a:pt x="6819" y="808"/>
                  <a:pt x="6819" y="808"/>
                  <a:pt x="6819" y="807"/>
                </a:cubicBezTo>
                <a:lnTo>
                  <a:pt x="6819" y="804"/>
                </a:lnTo>
                <a:cubicBezTo>
                  <a:pt x="6819" y="804"/>
                  <a:pt x="6819" y="805"/>
                  <a:pt x="6817" y="807"/>
                </a:cubicBezTo>
                <a:cubicBezTo>
                  <a:pt x="6816" y="808"/>
                  <a:pt x="6815" y="809"/>
                  <a:pt x="6814" y="809"/>
                </a:cubicBezTo>
                <a:cubicBezTo>
                  <a:pt x="6814" y="809"/>
                  <a:pt x="6814" y="808"/>
                  <a:pt x="6813" y="808"/>
                </a:cubicBezTo>
                <a:cubicBezTo>
                  <a:pt x="6813" y="807"/>
                  <a:pt x="6812" y="806"/>
                  <a:pt x="6811" y="806"/>
                </a:cubicBezTo>
                <a:cubicBezTo>
                  <a:pt x="6811" y="806"/>
                  <a:pt x="6810" y="807"/>
                  <a:pt x="6809" y="807"/>
                </a:cubicBezTo>
                <a:cubicBezTo>
                  <a:pt x="6809" y="808"/>
                  <a:pt x="6808" y="808"/>
                  <a:pt x="6808" y="809"/>
                </a:cubicBezTo>
                <a:cubicBezTo>
                  <a:pt x="6808" y="810"/>
                  <a:pt x="6809" y="810"/>
                  <a:pt x="6810" y="811"/>
                </a:cubicBezTo>
                <a:cubicBezTo>
                  <a:pt x="6811" y="812"/>
                  <a:pt x="6811" y="812"/>
                  <a:pt x="6811" y="812"/>
                </a:cubicBezTo>
                <a:cubicBezTo>
                  <a:pt x="6811" y="813"/>
                  <a:pt x="6811" y="813"/>
                  <a:pt x="6810" y="813"/>
                </a:cubicBezTo>
                <a:close/>
                <a:moveTo>
                  <a:pt x="6824" y="804"/>
                </a:moveTo>
                <a:cubicBezTo>
                  <a:pt x="6825" y="804"/>
                  <a:pt x="6827" y="803"/>
                  <a:pt x="6829" y="801"/>
                </a:cubicBezTo>
                <a:cubicBezTo>
                  <a:pt x="6830" y="801"/>
                  <a:pt x="6831" y="800"/>
                  <a:pt x="6831" y="800"/>
                </a:cubicBezTo>
                <a:lnTo>
                  <a:pt x="6830" y="800"/>
                </a:lnTo>
                <a:cubicBezTo>
                  <a:pt x="6825" y="800"/>
                  <a:pt x="6822" y="800"/>
                  <a:pt x="6822" y="802"/>
                </a:cubicBezTo>
                <a:cubicBezTo>
                  <a:pt x="6822" y="803"/>
                  <a:pt x="6823" y="804"/>
                  <a:pt x="6824" y="804"/>
                </a:cubicBezTo>
                <a:close/>
                <a:moveTo>
                  <a:pt x="6849" y="790"/>
                </a:moveTo>
                <a:cubicBezTo>
                  <a:pt x="6850" y="790"/>
                  <a:pt x="6851" y="790"/>
                  <a:pt x="6851" y="789"/>
                </a:cubicBezTo>
                <a:cubicBezTo>
                  <a:pt x="6851" y="789"/>
                  <a:pt x="6850" y="788"/>
                  <a:pt x="6850" y="787"/>
                </a:cubicBezTo>
                <a:cubicBezTo>
                  <a:pt x="6849" y="786"/>
                  <a:pt x="6848" y="786"/>
                  <a:pt x="6847" y="786"/>
                </a:cubicBezTo>
                <a:cubicBezTo>
                  <a:pt x="6847" y="786"/>
                  <a:pt x="6846" y="787"/>
                  <a:pt x="6846" y="788"/>
                </a:cubicBezTo>
                <a:cubicBezTo>
                  <a:pt x="6846" y="789"/>
                  <a:pt x="6847" y="790"/>
                  <a:pt x="6849" y="790"/>
                </a:cubicBezTo>
                <a:close/>
                <a:moveTo>
                  <a:pt x="6960" y="676"/>
                </a:moveTo>
                <a:cubicBezTo>
                  <a:pt x="6961" y="676"/>
                  <a:pt x="6962" y="674"/>
                  <a:pt x="6964" y="671"/>
                </a:cubicBezTo>
                <a:lnTo>
                  <a:pt x="6966" y="669"/>
                </a:lnTo>
                <a:lnTo>
                  <a:pt x="6966" y="668"/>
                </a:lnTo>
                <a:lnTo>
                  <a:pt x="6964" y="670"/>
                </a:lnTo>
                <a:cubicBezTo>
                  <a:pt x="6963" y="671"/>
                  <a:pt x="6962" y="672"/>
                  <a:pt x="6961" y="673"/>
                </a:cubicBezTo>
                <a:cubicBezTo>
                  <a:pt x="6960" y="674"/>
                  <a:pt x="6959" y="674"/>
                  <a:pt x="6959" y="674"/>
                </a:cubicBezTo>
                <a:cubicBezTo>
                  <a:pt x="6959" y="675"/>
                  <a:pt x="6960" y="676"/>
                  <a:pt x="6960" y="676"/>
                </a:cubicBezTo>
                <a:close/>
                <a:moveTo>
                  <a:pt x="6965" y="684"/>
                </a:moveTo>
                <a:cubicBezTo>
                  <a:pt x="6966" y="684"/>
                  <a:pt x="6967" y="683"/>
                  <a:pt x="6968" y="681"/>
                </a:cubicBezTo>
                <a:lnTo>
                  <a:pt x="6970" y="679"/>
                </a:lnTo>
                <a:cubicBezTo>
                  <a:pt x="6972" y="677"/>
                  <a:pt x="6973" y="676"/>
                  <a:pt x="6973" y="675"/>
                </a:cubicBezTo>
                <a:cubicBezTo>
                  <a:pt x="6973" y="674"/>
                  <a:pt x="6972" y="674"/>
                  <a:pt x="6971" y="674"/>
                </a:cubicBezTo>
                <a:cubicBezTo>
                  <a:pt x="6970" y="674"/>
                  <a:pt x="6968" y="674"/>
                  <a:pt x="6968" y="675"/>
                </a:cubicBezTo>
                <a:lnTo>
                  <a:pt x="6968" y="676"/>
                </a:lnTo>
                <a:cubicBezTo>
                  <a:pt x="6968" y="678"/>
                  <a:pt x="6968" y="679"/>
                  <a:pt x="6968" y="679"/>
                </a:cubicBezTo>
                <a:cubicBezTo>
                  <a:pt x="6967" y="679"/>
                  <a:pt x="6967" y="679"/>
                  <a:pt x="6966" y="677"/>
                </a:cubicBezTo>
                <a:cubicBezTo>
                  <a:pt x="6965" y="676"/>
                  <a:pt x="6965" y="676"/>
                  <a:pt x="6965" y="676"/>
                </a:cubicBezTo>
                <a:cubicBezTo>
                  <a:pt x="6964" y="676"/>
                  <a:pt x="6964" y="677"/>
                  <a:pt x="6964" y="679"/>
                </a:cubicBezTo>
                <a:lnTo>
                  <a:pt x="6964" y="681"/>
                </a:lnTo>
                <a:cubicBezTo>
                  <a:pt x="6964" y="683"/>
                  <a:pt x="6965" y="684"/>
                  <a:pt x="6965" y="684"/>
                </a:cubicBezTo>
                <a:close/>
                <a:moveTo>
                  <a:pt x="6971" y="671"/>
                </a:moveTo>
                <a:lnTo>
                  <a:pt x="6975" y="667"/>
                </a:lnTo>
                <a:cubicBezTo>
                  <a:pt x="6976" y="666"/>
                  <a:pt x="6976" y="665"/>
                  <a:pt x="6976" y="664"/>
                </a:cubicBezTo>
                <a:cubicBezTo>
                  <a:pt x="6976" y="664"/>
                  <a:pt x="6976" y="664"/>
                  <a:pt x="6975" y="664"/>
                </a:cubicBezTo>
                <a:cubicBezTo>
                  <a:pt x="6974" y="664"/>
                  <a:pt x="6973" y="665"/>
                  <a:pt x="6972" y="666"/>
                </a:cubicBezTo>
                <a:cubicBezTo>
                  <a:pt x="6971" y="669"/>
                  <a:pt x="6971" y="670"/>
                  <a:pt x="6971" y="670"/>
                </a:cubicBezTo>
                <a:lnTo>
                  <a:pt x="6971" y="671"/>
                </a:lnTo>
                <a:close/>
                <a:moveTo>
                  <a:pt x="6990" y="647"/>
                </a:moveTo>
                <a:cubicBezTo>
                  <a:pt x="6992" y="647"/>
                  <a:pt x="6995" y="646"/>
                  <a:pt x="6997" y="643"/>
                </a:cubicBezTo>
                <a:lnTo>
                  <a:pt x="6999" y="641"/>
                </a:lnTo>
                <a:cubicBezTo>
                  <a:pt x="6998" y="641"/>
                  <a:pt x="6997" y="642"/>
                  <a:pt x="6996" y="643"/>
                </a:cubicBezTo>
                <a:cubicBezTo>
                  <a:pt x="6995" y="644"/>
                  <a:pt x="6993" y="644"/>
                  <a:pt x="6992" y="644"/>
                </a:cubicBezTo>
                <a:lnTo>
                  <a:pt x="6991" y="644"/>
                </a:lnTo>
                <a:cubicBezTo>
                  <a:pt x="6991" y="644"/>
                  <a:pt x="6990" y="644"/>
                  <a:pt x="6990" y="644"/>
                </a:cubicBezTo>
                <a:cubicBezTo>
                  <a:pt x="6989" y="645"/>
                  <a:pt x="6989" y="645"/>
                  <a:pt x="6989" y="646"/>
                </a:cubicBezTo>
                <a:cubicBezTo>
                  <a:pt x="6989" y="647"/>
                  <a:pt x="6989" y="647"/>
                  <a:pt x="6990" y="647"/>
                </a:cubicBezTo>
                <a:close/>
                <a:moveTo>
                  <a:pt x="7004" y="632"/>
                </a:moveTo>
                <a:cubicBezTo>
                  <a:pt x="7005" y="632"/>
                  <a:pt x="7005" y="631"/>
                  <a:pt x="7006" y="630"/>
                </a:cubicBezTo>
                <a:lnTo>
                  <a:pt x="7006" y="630"/>
                </a:lnTo>
                <a:cubicBezTo>
                  <a:pt x="7006" y="629"/>
                  <a:pt x="7005" y="628"/>
                  <a:pt x="7004" y="628"/>
                </a:cubicBezTo>
                <a:cubicBezTo>
                  <a:pt x="7003" y="628"/>
                  <a:pt x="7002" y="629"/>
                  <a:pt x="7002" y="630"/>
                </a:cubicBezTo>
                <a:lnTo>
                  <a:pt x="7002" y="630"/>
                </a:lnTo>
                <a:cubicBezTo>
                  <a:pt x="7003" y="631"/>
                  <a:pt x="7003" y="632"/>
                  <a:pt x="7004" y="632"/>
                </a:cubicBezTo>
                <a:close/>
                <a:moveTo>
                  <a:pt x="7010" y="622"/>
                </a:moveTo>
                <a:cubicBezTo>
                  <a:pt x="7011" y="622"/>
                  <a:pt x="7013" y="620"/>
                  <a:pt x="7015" y="617"/>
                </a:cubicBezTo>
                <a:cubicBezTo>
                  <a:pt x="7017" y="614"/>
                  <a:pt x="7018" y="612"/>
                  <a:pt x="7018" y="611"/>
                </a:cubicBezTo>
                <a:lnTo>
                  <a:pt x="7018" y="608"/>
                </a:lnTo>
                <a:cubicBezTo>
                  <a:pt x="7018" y="607"/>
                  <a:pt x="7018" y="607"/>
                  <a:pt x="7017" y="607"/>
                </a:cubicBezTo>
                <a:cubicBezTo>
                  <a:pt x="7017" y="607"/>
                  <a:pt x="7017" y="607"/>
                  <a:pt x="7016" y="607"/>
                </a:cubicBezTo>
                <a:cubicBezTo>
                  <a:pt x="7016" y="607"/>
                  <a:pt x="7015" y="608"/>
                  <a:pt x="7015" y="609"/>
                </a:cubicBezTo>
                <a:lnTo>
                  <a:pt x="7015" y="610"/>
                </a:lnTo>
                <a:cubicBezTo>
                  <a:pt x="7015" y="611"/>
                  <a:pt x="7015" y="611"/>
                  <a:pt x="7014" y="611"/>
                </a:cubicBezTo>
                <a:cubicBezTo>
                  <a:pt x="7013" y="611"/>
                  <a:pt x="7012" y="612"/>
                  <a:pt x="7012" y="612"/>
                </a:cubicBezTo>
                <a:lnTo>
                  <a:pt x="7013" y="616"/>
                </a:lnTo>
                <a:cubicBezTo>
                  <a:pt x="7013" y="618"/>
                  <a:pt x="7012" y="619"/>
                  <a:pt x="7011" y="619"/>
                </a:cubicBezTo>
                <a:cubicBezTo>
                  <a:pt x="7010" y="619"/>
                  <a:pt x="7009" y="619"/>
                  <a:pt x="7007" y="617"/>
                </a:cubicBezTo>
                <a:lnTo>
                  <a:pt x="7005" y="616"/>
                </a:lnTo>
                <a:lnTo>
                  <a:pt x="7007" y="619"/>
                </a:lnTo>
                <a:cubicBezTo>
                  <a:pt x="7009" y="621"/>
                  <a:pt x="7010" y="622"/>
                  <a:pt x="7010" y="622"/>
                </a:cubicBezTo>
                <a:close/>
                <a:moveTo>
                  <a:pt x="7022" y="604"/>
                </a:moveTo>
                <a:cubicBezTo>
                  <a:pt x="7022" y="604"/>
                  <a:pt x="7023" y="603"/>
                  <a:pt x="7023" y="602"/>
                </a:cubicBezTo>
                <a:lnTo>
                  <a:pt x="7025" y="600"/>
                </a:lnTo>
                <a:lnTo>
                  <a:pt x="7024" y="600"/>
                </a:lnTo>
                <a:lnTo>
                  <a:pt x="7023" y="600"/>
                </a:lnTo>
                <a:cubicBezTo>
                  <a:pt x="7023" y="600"/>
                  <a:pt x="7023" y="601"/>
                  <a:pt x="7022" y="601"/>
                </a:cubicBezTo>
                <a:cubicBezTo>
                  <a:pt x="7021" y="601"/>
                  <a:pt x="7020" y="600"/>
                  <a:pt x="7018" y="599"/>
                </a:cubicBezTo>
                <a:cubicBezTo>
                  <a:pt x="7017" y="598"/>
                  <a:pt x="7016" y="597"/>
                  <a:pt x="7016" y="597"/>
                </a:cubicBezTo>
                <a:lnTo>
                  <a:pt x="7016" y="598"/>
                </a:lnTo>
                <a:lnTo>
                  <a:pt x="7018" y="601"/>
                </a:lnTo>
                <a:cubicBezTo>
                  <a:pt x="7019" y="603"/>
                  <a:pt x="7021" y="604"/>
                  <a:pt x="7022" y="604"/>
                </a:cubicBezTo>
                <a:close/>
                <a:moveTo>
                  <a:pt x="7025" y="597"/>
                </a:moveTo>
                <a:cubicBezTo>
                  <a:pt x="7026" y="597"/>
                  <a:pt x="7027" y="596"/>
                  <a:pt x="7027" y="595"/>
                </a:cubicBezTo>
                <a:cubicBezTo>
                  <a:pt x="7028" y="594"/>
                  <a:pt x="7028" y="594"/>
                  <a:pt x="7028" y="593"/>
                </a:cubicBezTo>
                <a:cubicBezTo>
                  <a:pt x="7028" y="592"/>
                  <a:pt x="7027" y="591"/>
                  <a:pt x="7026" y="590"/>
                </a:cubicBezTo>
                <a:lnTo>
                  <a:pt x="7023" y="587"/>
                </a:lnTo>
                <a:lnTo>
                  <a:pt x="7023" y="588"/>
                </a:lnTo>
                <a:cubicBezTo>
                  <a:pt x="7023" y="589"/>
                  <a:pt x="7022" y="590"/>
                  <a:pt x="7020" y="592"/>
                </a:cubicBezTo>
                <a:cubicBezTo>
                  <a:pt x="7018" y="593"/>
                  <a:pt x="7017" y="594"/>
                  <a:pt x="7017" y="595"/>
                </a:cubicBezTo>
                <a:lnTo>
                  <a:pt x="7020" y="594"/>
                </a:lnTo>
                <a:cubicBezTo>
                  <a:pt x="7022" y="594"/>
                  <a:pt x="7023" y="594"/>
                  <a:pt x="7023" y="595"/>
                </a:cubicBezTo>
                <a:cubicBezTo>
                  <a:pt x="7024" y="596"/>
                  <a:pt x="7024" y="597"/>
                  <a:pt x="7025" y="597"/>
                </a:cubicBezTo>
                <a:close/>
                <a:moveTo>
                  <a:pt x="6450" y="744"/>
                </a:moveTo>
                <a:lnTo>
                  <a:pt x="6450" y="744"/>
                </a:lnTo>
                <a:cubicBezTo>
                  <a:pt x="6449" y="744"/>
                  <a:pt x="6449" y="743"/>
                  <a:pt x="6449" y="741"/>
                </a:cubicBezTo>
                <a:cubicBezTo>
                  <a:pt x="6449" y="739"/>
                  <a:pt x="6450" y="738"/>
                  <a:pt x="6450" y="738"/>
                </a:cubicBezTo>
                <a:cubicBezTo>
                  <a:pt x="6450" y="738"/>
                  <a:pt x="6451" y="739"/>
                  <a:pt x="6451" y="742"/>
                </a:cubicBezTo>
                <a:lnTo>
                  <a:pt x="6450" y="744"/>
                </a:lnTo>
                <a:close/>
                <a:moveTo>
                  <a:pt x="6533" y="558"/>
                </a:moveTo>
                <a:cubicBezTo>
                  <a:pt x="6533" y="557"/>
                  <a:pt x="6535" y="555"/>
                  <a:pt x="6540" y="550"/>
                </a:cubicBezTo>
                <a:cubicBezTo>
                  <a:pt x="6551" y="538"/>
                  <a:pt x="6558" y="532"/>
                  <a:pt x="6559" y="532"/>
                </a:cubicBezTo>
                <a:cubicBezTo>
                  <a:pt x="6559" y="533"/>
                  <a:pt x="6558" y="535"/>
                  <a:pt x="6554" y="538"/>
                </a:cubicBezTo>
                <a:cubicBezTo>
                  <a:pt x="6541" y="551"/>
                  <a:pt x="6533" y="558"/>
                  <a:pt x="6533" y="558"/>
                </a:cubicBezTo>
                <a:close/>
                <a:moveTo>
                  <a:pt x="6637" y="541"/>
                </a:moveTo>
                <a:cubicBezTo>
                  <a:pt x="6635" y="541"/>
                  <a:pt x="6634" y="540"/>
                  <a:pt x="6634" y="537"/>
                </a:cubicBezTo>
                <a:lnTo>
                  <a:pt x="6634" y="536"/>
                </a:lnTo>
                <a:cubicBezTo>
                  <a:pt x="6634" y="535"/>
                  <a:pt x="6635" y="534"/>
                  <a:pt x="6636" y="534"/>
                </a:cubicBezTo>
                <a:cubicBezTo>
                  <a:pt x="6637" y="534"/>
                  <a:pt x="6637" y="534"/>
                  <a:pt x="6638" y="535"/>
                </a:cubicBezTo>
                <a:cubicBezTo>
                  <a:pt x="6639" y="535"/>
                  <a:pt x="6640" y="535"/>
                  <a:pt x="6640" y="535"/>
                </a:cubicBezTo>
                <a:cubicBezTo>
                  <a:pt x="6641" y="535"/>
                  <a:pt x="6642" y="535"/>
                  <a:pt x="6643" y="535"/>
                </a:cubicBezTo>
                <a:cubicBezTo>
                  <a:pt x="6644" y="535"/>
                  <a:pt x="6644" y="536"/>
                  <a:pt x="6644" y="538"/>
                </a:cubicBezTo>
                <a:cubicBezTo>
                  <a:pt x="6644" y="539"/>
                  <a:pt x="6644" y="539"/>
                  <a:pt x="6644" y="539"/>
                </a:cubicBezTo>
                <a:cubicBezTo>
                  <a:pt x="6643" y="539"/>
                  <a:pt x="6642" y="538"/>
                  <a:pt x="6641" y="537"/>
                </a:cubicBezTo>
                <a:lnTo>
                  <a:pt x="6638" y="535"/>
                </a:lnTo>
                <a:lnTo>
                  <a:pt x="6638" y="536"/>
                </a:lnTo>
                <a:lnTo>
                  <a:pt x="6638" y="539"/>
                </a:lnTo>
                <a:cubicBezTo>
                  <a:pt x="6638" y="541"/>
                  <a:pt x="6638" y="541"/>
                  <a:pt x="6637" y="541"/>
                </a:cubicBezTo>
                <a:close/>
                <a:moveTo>
                  <a:pt x="6638" y="521"/>
                </a:moveTo>
                <a:cubicBezTo>
                  <a:pt x="6637" y="521"/>
                  <a:pt x="6635" y="520"/>
                  <a:pt x="6633" y="518"/>
                </a:cubicBezTo>
                <a:cubicBezTo>
                  <a:pt x="6631" y="517"/>
                  <a:pt x="6630" y="516"/>
                  <a:pt x="6630" y="515"/>
                </a:cubicBezTo>
                <a:cubicBezTo>
                  <a:pt x="6630" y="515"/>
                  <a:pt x="6631" y="515"/>
                  <a:pt x="6631" y="515"/>
                </a:cubicBezTo>
                <a:cubicBezTo>
                  <a:pt x="6632" y="515"/>
                  <a:pt x="6634" y="516"/>
                  <a:pt x="6636" y="518"/>
                </a:cubicBezTo>
                <a:cubicBezTo>
                  <a:pt x="6637" y="520"/>
                  <a:pt x="6638" y="521"/>
                  <a:pt x="6638" y="521"/>
                </a:cubicBezTo>
                <a:close/>
                <a:moveTo>
                  <a:pt x="6629" y="524"/>
                </a:moveTo>
                <a:close/>
                <a:moveTo>
                  <a:pt x="6631" y="526"/>
                </a:moveTo>
                <a:cubicBezTo>
                  <a:pt x="6630" y="526"/>
                  <a:pt x="6629" y="525"/>
                  <a:pt x="6629" y="524"/>
                </a:cubicBezTo>
                <a:cubicBezTo>
                  <a:pt x="6629" y="523"/>
                  <a:pt x="6630" y="522"/>
                  <a:pt x="6630" y="522"/>
                </a:cubicBezTo>
                <a:lnTo>
                  <a:pt x="6631" y="523"/>
                </a:lnTo>
                <a:cubicBezTo>
                  <a:pt x="6633" y="524"/>
                  <a:pt x="6634" y="525"/>
                  <a:pt x="6634" y="525"/>
                </a:cubicBezTo>
                <a:cubicBezTo>
                  <a:pt x="6634" y="526"/>
                  <a:pt x="6633" y="526"/>
                  <a:pt x="6631" y="526"/>
                </a:cubicBezTo>
                <a:close/>
                <a:moveTo>
                  <a:pt x="6648" y="535"/>
                </a:moveTo>
                <a:cubicBezTo>
                  <a:pt x="6647" y="535"/>
                  <a:pt x="6646" y="534"/>
                  <a:pt x="6645" y="533"/>
                </a:cubicBezTo>
                <a:cubicBezTo>
                  <a:pt x="6645" y="532"/>
                  <a:pt x="6645" y="531"/>
                  <a:pt x="6645" y="530"/>
                </a:cubicBezTo>
                <a:lnTo>
                  <a:pt x="6645" y="529"/>
                </a:lnTo>
                <a:lnTo>
                  <a:pt x="6646" y="529"/>
                </a:lnTo>
                <a:cubicBezTo>
                  <a:pt x="6646" y="529"/>
                  <a:pt x="6646" y="530"/>
                  <a:pt x="6647" y="531"/>
                </a:cubicBezTo>
                <a:cubicBezTo>
                  <a:pt x="6648" y="533"/>
                  <a:pt x="6648" y="534"/>
                  <a:pt x="6648" y="535"/>
                </a:cubicBezTo>
                <a:close/>
                <a:moveTo>
                  <a:pt x="6569" y="528"/>
                </a:moveTo>
                <a:lnTo>
                  <a:pt x="6569" y="528"/>
                </a:lnTo>
                <a:lnTo>
                  <a:pt x="6571" y="526"/>
                </a:lnTo>
                <a:cubicBezTo>
                  <a:pt x="6573" y="524"/>
                  <a:pt x="6574" y="523"/>
                  <a:pt x="6574" y="522"/>
                </a:cubicBezTo>
                <a:lnTo>
                  <a:pt x="6573" y="520"/>
                </a:lnTo>
                <a:lnTo>
                  <a:pt x="6573" y="520"/>
                </a:lnTo>
                <a:lnTo>
                  <a:pt x="6576" y="521"/>
                </a:lnTo>
                <a:cubicBezTo>
                  <a:pt x="6578" y="522"/>
                  <a:pt x="6579" y="522"/>
                  <a:pt x="6579" y="522"/>
                </a:cubicBezTo>
                <a:cubicBezTo>
                  <a:pt x="6579" y="523"/>
                  <a:pt x="6577" y="524"/>
                  <a:pt x="6573" y="526"/>
                </a:cubicBezTo>
                <a:lnTo>
                  <a:pt x="6569" y="528"/>
                </a:lnTo>
                <a:close/>
                <a:moveTo>
                  <a:pt x="6478" y="785"/>
                </a:moveTo>
                <a:cubicBezTo>
                  <a:pt x="6477" y="785"/>
                  <a:pt x="6477" y="785"/>
                  <a:pt x="6477" y="785"/>
                </a:cubicBezTo>
                <a:cubicBezTo>
                  <a:pt x="6477" y="784"/>
                  <a:pt x="6478" y="784"/>
                  <a:pt x="6479" y="783"/>
                </a:cubicBezTo>
                <a:cubicBezTo>
                  <a:pt x="6480" y="782"/>
                  <a:pt x="6481" y="781"/>
                  <a:pt x="6482" y="781"/>
                </a:cubicBezTo>
                <a:lnTo>
                  <a:pt x="6483" y="782"/>
                </a:lnTo>
                <a:lnTo>
                  <a:pt x="6482" y="783"/>
                </a:lnTo>
                <a:cubicBezTo>
                  <a:pt x="6482" y="784"/>
                  <a:pt x="6480" y="785"/>
                  <a:pt x="6478" y="785"/>
                </a:cubicBezTo>
                <a:close/>
                <a:moveTo>
                  <a:pt x="6474" y="788"/>
                </a:moveTo>
                <a:lnTo>
                  <a:pt x="6473" y="788"/>
                </a:lnTo>
                <a:cubicBezTo>
                  <a:pt x="6471" y="788"/>
                  <a:pt x="6471" y="787"/>
                  <a:pt x="6470" y="785"/>
                </a:cubicBezTo>
                <a:cubicBezTo>
                  <a:pt x="6470" y="784"/>
                  <a:pt x="6471" y="784"/>
                  <a:pt x="6472" y="784"/>
                </a:cubicBezTo>
                <a:cubicBezTo>
                  <a:pt x="6472" y="784"/>
                  <a:pt x="6473" y="784"/>
                  <a:pt x="6473" y="784"/>
                </a:cubicBezTo>
                <a:cubicBezTo>
                  <a:pt x="6473" y="785"/>
                  <a:pt x="6474" y="785"/>
                  <a:pt x="6474" y="786"/>
                </a:cubicBezTo>
                <a:cubicBezTo>
                  <a:pt x="6475" y="786"/>
                  <a:pt x="6475" y="786"/>
                  <a:pt x="6475" y="787"/>
                </a:cubicBezTo>
                <a:cubicBezTo>
                  <a:pt x="6475" y="787"/>
                  <a:pt x="6475" y="787"/>
                  <a:pt x="6474" y="788"/>
                </a:cubicBezTo>
                <a:close/>
                <a:moveTo>
                  <a:pt x="6470" y="785"/>
                </a:moveTo>
                <a:close/>
                <a:moveTo>
                  <a:pt x="6460" y="792"/>
                </a:moveTo>
                <a:cubicBezTo>
                  <a:pt x="6459" y="792"/>
                  <a:pt x="6457" y="791"/>
                  <a:pt x="6455" y="791"/>
                </a:cubicBezTo>
                <a:cubicBezTo>
                  <a:pt x="6453" y="790"/>
                  <a:pt x="6451" y="788"/>
                  <a:pt x="6448" y="786"/>
                </a:cubicBezTo>
                <a:cubicBezTo>
                  <a:pt x="6446" y="783"/>
                  <a:pt x="6445" y="781"/>
                  <a:pt x="6445" y="780"/>
                </a:cubicBezTo>
                <a:cubicBezTo>
                  <a:pt x="6445" y="779"/>
                  <a:pt x="6445" y="779"/>
                  <a:pt x="6445" y="779"/>
                </a:cubicBezTo>
                <a:lnTo>
                  <a:pt x="6448" y="781"/>
                </a:lnTo>
                <a:cubicBezTo>
                  <a:pt x="6448" y="781"/>
                  <a:pt x="6449" y="780"/>
                  <a:pt x="6449" y="780"/>
                </a:cubicBezTo>
                <a:cubicBezTo>
                  <a:pt x="6449" y="779"/>
                  <a:pt x="6448" y="779"/>
                  <a:pt x="6447" y="778"/>
                </a:cubicBezTo>
                <a:cubicBezTo>
                  <a:pt x="6445" y="777"/>
                  <a:pt x="6443" y="776"/>
                  <a:pt x="6441" y="775"/>
                </a:cubicBezTo>
                <a:cubicBezTo>
                  <a:pt x="6439" y="774"/>
                  <a:pt x="6437" y="773"/>
                  <a:pt x="6434" y="771"/>
                </a:cubicBezTo>
                <a:cubicBezTo>
                  <a:pt x="6432" y="769"/>
                  <a:pt x="6430" y="767"/>
                  <a:pt x="6428" y="766"/>
                </a:cubicBezTo>
                <a:cubicBezTo>
                  <a:pt x="6426" y="764"/>
                  <a:pt x="6425" y="764"/>
                  <a:pt x="6425" y="763"/>
                </a:cubicBezTo>
                <a:lnTo>
                  <a:pt x="6426" y="762"/>
                </a:lnTo>
                <a:cubicBezTo>
                  <a:pt x="6426" y="762"/>
                  <a:pt x="6425" y="757"/>
                  <a:pt x="6422" y="751"/>
                </a:cubicBezTo>
                <a:cubicBezTo>
                  <a:pt x="6420" y="747"/>
                  <a:pt x="6419" y="743"/>
                  <a:pt x="6418" y="740"/>
                </a:cubicBezTo>
                <a:cubicBezTo>
                  <a:pt x="6418" y="737"/>
                  <a:pt x="6417" y="729"/>
                  <a:pt x="6417" y="718"/>
                </a:cubicBezTo>
                <a:cubicBezTo>
                  <a:pt x="6418" y="698"/>
                  <a:pt x="6420" y="687"/>
                  <a:pt x="6421" y="685"/>
                </a:cubicBezTo>
                <a:cubicBezTo>
                  <a:pt x="6421" y="684"/>
                  <a:pt x="6422" y="683"/>
                  <a:pt x="6422" y="681"/>
                </a:cubicBezTo>
                <a:cubicBezTo>
                  <a:pt x="6422" y="679"/>
                  <a:pt x="6422" y="676"/>
                  <a:pt x="6423" y="675"/>
                </a:cubicBezTo>
                <a:cubicBezTo>
                  <a:pt x="6424" y="673"/>
                  <a:pt x="6425" y="669"/>
                  <a:pt x="6426" y="664"/>
                </a:cubicBezTo>
                <a:cubicBezTo>
                  <a:pt x="6431" y="640"/>
                  <a:pt x="6442" y="612"/>
                  <a:pt x="6460" y="581"/>
                </a:cubicBezTo>
                <a:cubicBezTo>
                  <a:pt x="6478" y="550"/>
                  <a:pt x="6495" y="527"/>
                  <a:pt x="6511" y="514"/>
                </a:cubicBezTo>
                <a:cubicBezTo>
                  <a:pt x="6515" y="510"/>
                  <a:pt x="6517" y="509"/>
                  <a:pt x="6517" y="509"/>
                </a:cubicBezTo>
                <a:lnTo>
                  <a:pt x="6517" y="509"/>
                </a:lnTo>
                <a:cubicBezTo>
                  <a:pt x="6517" y="509"/>
                  <a:pt x="6516" y="512"/>
                  <a:pt x="6513" y="515"/>
                </a:cubicBezTo>
                <a:cubicBezTo>
                  <a:pt x="6510" y="519"/>
                  <a:pt x="6508" y="520"/>
                  <a:pt x="6508" y="521"/>
                </a:cubicBezTo>
                <a:cubicBezTo>
                  <a:pt x="6509" y="521"/>
                  <a:pt x="6512" y="518"/>
                  <a:pt x="6517" y="514"/>
                </a:cubicBezTo>
                <a:cubicBezTo>
                  <a:pt x="6524" y="508"/>
                  <a:pt x="6527" y="505"/>
                  <a:pt x="6527" y="504"/>
                </a:cubicBezTo>
                <a:lnTo>
                  <a:pt x="6521" y="508"/>
                </a:lnTo>
                <a:lnTo>
                  <a:pt x="6523" y="505"/>
                </a:lnTo>
                <a:cubicBezTo>
                  <a:pt x="6524" y="503"/>
                  <a:pt x="6526" y="501"/>
                  <a:pt x="6528" y="500"/>
                </a:cubicBezTo>
                <a:cubicBezTo>
                  <a:pt x="6530" y="498"/>
                  <a:pt x="6532" y="496"/>
                  <a:pt x="6535" y="495"/>
                </a:cubicBezTo>
                <a:cubicBezTo>
                  <a:pt x="6537" y="494"/>
                  <a:pt x="6538" y="493"/>
                  <a:pt x="6539" y="493"/>
                </a:cubicBezTo>
                <a:cubicBezTo>
                  <a:pt x="6539" y="493"/>
                  <a:pt x="6540" y="493"/>
                  <a:pt x="6540" y="494"/>
                </a:cubicBezTo>
                <a:lnTo>
                  <a:pt x="6539" y="495"/>
                </a:lnTo>
                <a:cubicBezTo>
                  <a:pt x="6539" y="496"/>
                  <a:pt x="6540" y="497"/>
                  <a:pt x="6541" y="497"/>
                </a:cubicBezTo>
                <a:cubicBezTo>
                  <a:pt x="6544" y="497"/>
                  <a:pt x="6549" y="496"/>
                  <a:pt x="6556" y="494"/>
                </a:cubicBezTo>
                <a:cubicBezTo>
                  <a:pt x="6562" y="492"/>
                  <a:pt x="6569" y="491"/>
                  <a:pt x="6574" y="491"/>
                </a:cubicBezTo>
                <a:cubicBezTo>
                  <a:pt x="6590" y="491"/>
                  <a:pt x="6604" y="499"/>
                  <a:pt x="6615" y="514"/>
                </a:cubicBezTo>
                <a:cubicBezTo>
                  <a:pt x="6617" y="516"/>
                  <a:pt x="6619" y="518"/>
                  <a:pt x="6621" y="520"/>
                </a:cubicBezTo>
                <a:lnTo>
                  <a:pt x="6625" y="522"/>
                </a:lnTo>
                <a:cubicBezTo>
                  <a:pt x="6626" y="522"/>
                  <a:pt x="6627" y="524"/>
                  <a:pt x="6627" y="526"/>
                </a:cubicBezTo>
                <a:cubicBezTo>
                  <a:pt x="6627" y="529"/>
                  <a:pt x="6628" y="530"/>
                  <a:pt x="6628" y="530"/>
                </a:cubicBezTo>
                <a:lnTo>
                  <a:pt x="6631" y="529"/>
                </a:lnTo>
                <a:cubicBezTo>
                  <a:pt x="6631" y="529"/>
                  <a:pt x="6631" y="530"/>
                  <a:pt x="6630" y="531"/>
                </a:cubicBezTo>
                <a:cubicBezTo>
                  <a:pt x="6629" y="532"/>
                  <a:pt x="6628" y="533"/>
                  <a:pt x="6628" y="534"/>
                </a:cubicBezTo>
                <a:cubicBezTo>
                  <a:pt x="6628" y="536"/>
                  <a:pt x="6629" y="539"/>
                  <a:pt x="6631" y="542"/>
                </a:cubicBezTo>
                <a:cubicBezTo>
                  <a:pt x="6632" y="545"/>
                  <a:pt x="6634" y="552"/>
                  <a:pt x="6636" y="561"/>
                </a:cubicBezTo>
                <a:cubicBezTo>
                  <a:pt x="6636" y="567"/>
                  <a:pt x="6637" y="570"/>
                  <a:pt x="6638" y="570"/>
                </a:cubicBezTo>
                <a:cubicBezTo>
                  <a:pt x="6638" y="570"/>
                  <a:pt x="6639" y="570"/>
                  <a:pt x="6639" y="568"/>
                </a:cubicBezTo>
                <a:cubicBezTo>
                  <a:pt x="6640" y="566"/>
                  <a:pt x="6641" y="564"/>
                  <a:pt x="6642" y="564"/>
                </a:cubicBezTo>
                <a:lnTo>
                  <a:pt x="6642" y="564"/>
                </a:lnTo>
                <a:cubicBezTo>
                  <a:pt x="6644" y="564"/>
                  <a:pt x="6644" y="563"/>
                  <a:pt x="6644" y="562"/>
                </a:cubicBezTo>
                <a:cubicBezTo>
                  <a:pt x="6644" y="560"/>
                  <a:pt x="6645" y="558"/>
                  <a:pt x="6647" y="558"/>
                </a:cubicBezTo>
                <a:cubicBezTo>
                  <a:pt x="6648" y="558"/>
                  <a:pt x="6649" y="557"/>
                  <a:pt x="6649" y="556"/>
                </a:cubicBezTo>
                <a:cubicBezTo>
                  <a:pt x="6649" y="555"/>
                  <a:pt x="6648" y="553"/>
                  <a:pt x="6647" y="551"/>
                </a:cubicBezTo>
                <a:cubicBezTo>
                  <a:pt x="6646" y="549"/>
                  <a:pt x="6646" y="547"/>
                  <a:pt x="6646" y="546"/>
                </a:cubicBezTo>
                <a:cubicBezTo>
                  <a:pt x="6646" y="545"/>
                  <a:pt x="6646" y="544"/>
                  <a:pt x="6647" y="544"/>
                </a:cubicBezTo>
                <a:cubicBezTo>
                  <a:pt x="6648" y="544"/>
                  <a:pt x="6649" y="546"/>
                  <a:pt x="6649" y="548"/>
                </a:cubicBezTo>
                <a:cubicBezTo>
                  <a:pt x="6649" y="551"/>
                  <a:pt x="6649" y="552"/>
                  <a:pt x="6650" y="552"/>
                </a:cubicBezTo>
                <a:cubicBezTo>
                  <a:pt x="6652" y="552"/>
                  <a:pt x="6656" y="548"/>
                  <a:pt x="6661" y="539"/>
                </a:cubicBezTo>
                <a:cubicBezTo>
                  <a:pt x="6665" y="533"/>
                  <a:pt x="6671" y="526"/>
                  <a:pt x="6677" y="517"/>
                </a:cubicBezTo>
                <a:cubicBezTo>
                  <a:pt x="6683" y="511"/>
                  <a:pt x="6686" y="507"/>
                  <a:pt x="6686" y="505"/>
                </a:cubicBezTo>
                <a:lnTo>
                  <a:pt x="6686" y="505"/>
                </a:lnTo>
                <a:cubicBezTo>
                  <a:pt x="6686" y="504"/>
                  <a:pt x="6687" y="502"/>
                  <a:pt x="6689" y="501"/>
                </a:cubicBezTo>
                <a:cubicBezTo>
                  <a:pt x="6695" y="496"/>
                  <a:pt x="6699" y="493"/>
                  <a:pt x="6701" y="493"/>
                </a:cubicBezTo>
                <a:lnTo>
                  <a:pt x="6703" y="494"/>
                </a:lnTo>
                <a:cubicBezTo>
                  <a:pt x="6703" y="494"/>
                  <a:pt x="6703" y="493"/>
                  <a:pt x="6703" y="492"/>
                </a:cubicBezTo>
                <a:cubicBezTo>
                  <a:pt x="6702" y="492"/>
                  <a:pt x="6702" y="492"/>
                  <a:pt x="6702" y="491"/>
                </a:cubicBezTo>
                <a:cubicBezTo>
                  <a:pt x="6701" y="490"/>
                  <a:pt x="6701" y="490"/>
                  <a:pt x="6701" y="489"/>
                </a:cubicBezTo>
                <a:cubicBezTo>
                  <a:pt x="6701" y="486"/>
                  <a:pt x="6704" y="483"/>
                  <a:pt x="6710" y="479"/>
                </a:cubicBezTo>
                <a:lnTo>
                  <a:pt x="6712" y="478"/>
                </a:lnTo>
                <a:cubicBezTo>
                  <a:pt x="6712" y="479"/>
                  <a:pt x="6711" y="480"/>
                  <a:pt x="6710" y="482"/>
                </a:cubicBezTo>
                <a:cubicBezTo>
                  <a:pt x="6708" y="484"/>
                  <a:pt x="6707" y="486"/>
                  <a:pt x="6707" y="488"/>
                </a:cubicBezTo>
                <a:cubicBezTo>
                  <a:pt x="6706" y="490"/>
                  <a:pt x="6704" y="494"/>
                  <a:pt x="6701" y="501"/>
                </a:cubicBezTo>
                <a:cubicBezTo>
                  <a:pt x="6699" y="507"/>
                  <a:pt x="6698" y="511"/>
                  <a:pt x="6698" y="514"/>
                </a:cubicBezTo>
                <a:lnTo>
                  <a:pt x="6698" y="517"/>
                </a:lnTo>
                <a:lnTo>
                  <a:pt x="6697" y="516"/>
                </a:lnTo>
                <a:cubicBezTo>
                  <a:pt x="6695" y="514"/>
                  <a:pt x="6693" y="513"/>
                  <a:pt x="6691" y="513"/>
                </a:cubicBezTo>
                <a:cubicBezTo>
                  <a:pt x="6689" y="513"/>
                  <a:pt x="6688" y="513"/>
                  <a:pt x="6688" y="514"/>
                </a:cubicBezTo>
                <a:lnTo>
                  <a:pt x="6689" y="514"/>
                </a:lnTo>
                <a:cubicBezTo>
                  <a:pt x="6690" y="515"/>
                  <a:pt x="6690" y="516"/>
                  <a:pt x="6691" y="517"/>
                </a:cubicBezTo>
                <a:cubicBezTo>
                  <a:pt x="6692" y="518"/>
                  <a:pt x="6692" y="519"/>
                  <a:pt x="6692" y="519"/>
                </a:cubicBezTo>
                <a:cubicBezTo>
                  <a:pt x="6692" y="521"/>
                  <a:pt x="6691" y="521"/>
                  <a:pt x="6690" y="522"/>
                </a:cubicBezTo>
                <a:cubicBezTo>
                  <a:pt x="6689" y="522"/>
                  <a:pt x="6688" y="522"/>
                  <a:pt x="6688" y="522"/>
                </a:cubicBezTo>
                <a:cubicBezTo>
                  <a:pt x="6688" y="523"/>
                  <a:pt x="6689" y="523"/>
                  <a:pt x="6690" y="524"/>
                </a:cubicBezTo>
                <a:cubicBezTo>
                  <a:pt x="6692" y="525"/>
                  <a:pt x="6692" y="526"/>
                  <a:pt x="6692" y="526"/>
                </a:cubicBezTo>
                <a:cubicBezTo>
                  <a:pt x="6692" y="526"/>
                  <a:pt x="6691" y="526"/>
                  <a:pt x="6689" y="526"/>
                </a:cubicBezTo>
                <a:cubicBezTo>
                  <a:pt x="6687" y="526"/>
                  <a:pt x="6686" y="528"/>
                  <a:pt x="6684" y="532"/>
                </a:cubicBezTo>
                <a:cubicBezTo>
                  <a:pt x="6683" y="537"/>
                  <a:pt x="6677" y="547"/>
                  <a:pt x="6668" y="563"/>
                </a:cubicBezTo>
                <a:cubicBezTo>
                  <a:pt x="6659" y="577"/>
                  <a:pt x="6653" y="585"/>
                  <a:pt x="6650" y="588"/>
                </a:cubicBezTo>
                <a:lnTo>
                  <a:pt x="6650" y="590"/>
                </a:lnTo>
                <a:cubicBezTo>
                  <a:pt x="6650" y="591"/>
                  <a:pt x="6650" y="592"/>
                  <a:pt x="6650" y="593"/>
                </a:cubicBezTo>
                <a:cubicBezTo>
                  <a:pt x="6650" y="594"/>
                  <a:pt x="6650" y="594"/>
                  <a:pt x="6650" y="595"/>
                </a:cubicBezTo>
                <a:lnTo>
                  <a:pt x="6647" y="593"/>
                </a:lnTo>
                <a:cubicBezTo>
                  <a:pt x="6647" y="593"/>
                  <a:pt x="6647" y="593"/>
                  <a:pt x="6647" y="593"/>
                </a:cubicBezTo>
                <a:cubicBezTo>
                  <a:pt x="6647" y="594"/>
                  <a:pt x="6647" y="595"/>
                  <a:pt x="6648" y="597"/>
                </a:cubicBezTo>
                <a:lnTo>
                  <a:pt x="6648" y="600"/>
                </a:lnTo>
                <a:cubicBezTo>
                  <a:pt x="6648" y="600"/>
                  <a:pt x="6648" y="599"/>
                  <a:pt x="6648" y="599"/>
                </a:cubicBezTo>
                <a:lnTo>
                  <a:pt x="6647" y="599"/>
                </a:lnTo>
                <a:cubicBezTo>
                  <a:pt x="6645" y="599"/>
                  <a:pt x="6641" y="603"/>
                  <a:pt x="6633" y="613"/>
                </a:cubicBezTo>
                <a:cubicBezTo>
                  <a:pt x="6633" y="614"/>
                  <a:pt x="6632" y="615"/>
                  <a:pt x="6632" y="616"/>
                </a:cubicBezTo>
                <a:cubicBezTo>
                  <a:pt x="6632" y="617"/>
                  <a:pt x="6633" y="617"/>
                  <a:pt x="6633" y="618"/>
                </a:cubicBezTo>
                <a:cubicBezTo>
                  <a:pt x="6633" y="619"/>
                  <a:pt x="6633" y="620"/>
                  <a:pt x="6633" y="620"/>
                </a:cubicBezTo>
                <a:lnTo>
                  <a:pt x="6631" y="619"/>
                </a:lnTo>
                <a:cubicBezTo>
                  <a:pt x="6630" y="619"/>
                  <a:pt x="6628" y="620"/>
                  <a:pt x="6626" y="623"/>
                </a:cubicBezTo>
                <a:lnTo>
                  <a:pt x="6624" y="627"/>
                </a:lnTo>
                <a:lnTo>
                  <a:pt x="6624" y="627"/>
                </a:lnTo>
                <a:cubicBezTo>
                  <a:pt x="6624" y="628"/>
                  <a:pt x="6623" y="630"/>
                  <a:pt x="6622" y="632"/>
                </a:cubicBezTo>
                <a:cubicBezTo>
                  <a:pt x="6621" y="634"/>
                  <a:pt x="6620" y="636"/>
                  <a:pt x="6620" y="637"/>
                </a:cubicBezTo>
                <a:cubicBezTo>
                  <a:pt x="6620" y="638"/>
                  <a:pt x="6621" y="639"/>
                  <a:pt x="6622" y="640"/>
                </a:cubicBezTo>
                <a:cubicBezTo>
                  <a:pt x="6624" y="641"/>
                  <a:pt x="6624" y="642"/>
                  <a:pt x="6624" y="642"/>
                </a:cubicBezTo>
                <a:cubicBezTo>
                  <a:pt x="6624" y="642"/>
                  <a:pt x="6624" y="643"/>
                  <a:pt x="6624" y="643"/>
                </a:cubicBezTo>
                <a:lnTo>
                  <a:pt x="6618" y="642"/>
                </a:lnTo>
                <a:lnTo>
                  <a:pt x="6618" y="644"/>
                </a:lnTo>
                <a:cubicBezTo>
                  <a:pt x="6618" y="645"/>
                  <a:pt x="6616" y="647"/>
                  <a:pt x="6614" y="651"/>
                </a:cubicBezTo>
                <a:cubicBezTo>
                  <a:pt x="6612" y="655"/>
                  <a:pt x="6611" y="657"/>
                  <a:pt x="6611" y="658"/>
                </a:cubicBezTo>
                <a:cubicBezTo>
                  <a:pt x="6611" y="660"/>
                  <a:pt x="6611" y="661"/>
                  <a:pt x="6613" y="661"/>
                </a:cubicBezTo>
                <a:cubicBezTo>
                  <a:pt x="6615" y="662"/>
                  <a:pt x="6616" y="663"/>
                  <a:pt x="6616" y="663"/>
                </a:cubicBezTo>
                <a:cubicBezTo>
                  <a:pt x="6616" y="664"/>
                  <a:pt x="6615" y="665"/>
                  <a:pt x="6613" y="665"/>
                </a:cubicBezTo>
                <a:cubicBezTo>
                  <a:pt x="6608" y="668"/>
                  <a:pt x="6604" y="671"/>
                  <a:pt x="6604" y="674"/>
                </a:cubicBezTo>
                <a:cubicBezTo>
                  <a:pt x="6603" y="675"/>
                  <a:pt x="6603" y="677"/>
                  <a:pt x="6601" y="680"/>
                </a:cubicBezTo>
                <a:cubicBezTo>
                  <a:pt x="6600" y="683"/>
                  <a:pt x="6599" y="686"/>
                  <a:pt x="6598" y="689"/>
                </a:cubicBezTo>
                <a:cubicBezTo>
                  <a:pt x="6596" y="692"/>
                  <a:pt x="6595" y="694"/>
                  <a:pt x="6594" y="694"/>
                </a:cubicBezTo>
                <a:cubicBezTo>
                  <a:pt x="6594" y="694"/>
                  <a:pt x="6593" y="693"/>
                  <a:pt x="6591" y="692"/>
                </a:cubicBezTo>
                <a:cubicBezTo>
                  <a:pt x="6590" y="691"/>
                  <a:pt x="6589" y="691"/>
                  <a:pt x="6589" y="690"/>
                </a:cubicBezTo>
                <a:cubicBezTo>
                  <a:pt x="6588" y="689"/>
                  <a:pt x="6587" y="688"/>
                  <a:pt x="6587" y="686"/>
                </a:cubicBezTo>
                <a:lnTo>
                  <a:pt x="6588" y="686"/>
                </a:lnTo>
                <a:lnTo>
                  <a:pt x="6587" y="686"/>
                </a:lnTo>
                <a:cubicBezTo>
                  <a:pt x="6587" y="686"/>
                  <a:pt x="6586" y="686"/>
                  <a:pt x="6584" y="688"/>
                </a:cubicBezTo>
                <a:cubicBezTo>
                  <a:pt x="6582" y="689"/>
                  <a:pt x="6581" y="690"/>
                  <a:pt x="6581" y="690"/>
                </a:cubicBezTo>
                <a:lnTo>
                  <a:pt x="6581" y="688"/>
                </a:lnTo>
                <a:cubicBezTo>
                  <a:pt x="6582" y="688"/>
                  <a:pt x="6583" y="687"/>
                  <a:pt x="6583" y="685"/>
                </a:cubicBezTo>
                <a:cubicBezTo>
                  <a:pt x="6583" y="684"/>
                  <a:pt x="6583" y="682"/>
                  <a:pt x="6583" y="681"/>
                </a:cubicBezTo>
                <a:cubicBezTo>
                  <a:pt x="6583" y="680"/>
                  <a:pt x="6583" y="679"/>
                  <a:pt x="6583" y="679"/>
                </a:cubicBezTo>
                <a:cubicBezTo>
                  <a:pt x="6582" y="679"/>
                  <a:pt x="6582" y="679"/>
                  <a:pt x="6581" y="679"/>
                </a:cubicBezTo>
                <a:cubicBezTo>
                  <a:pt x="6580" y="679"/>
                  <a:pt x="6580" y="680"/>
                  <a:pt x="6580" y="681"/>
                </a:cubicBezTo>
                <a:lnTo>
                  <a:pt x="6581" y="683"/>
                </a:lnTo>
                <a:cubicBezTo>
                  <a:pt x="6581" y="684"/>
                  <a:pt x="6579" y="686"/>
                  <a:pt x="6576" y="688"/>
                </a:cubicBezTo>
                <a:cubicBezTo>
                  <a:pt x="6573" y="692"/>
                  <a:pt x="6571" y="694"/>
                  <a:pt x="6571" y="695"/>
                </a:cubicBezTo>
                <a:cubicBezTo>
                  <a:pt x="6571" y="696"/>
                  <a:pt x="6570" y="697"/>
                  <a:pt x="6570" y="697"/>
                </a:cubicBezTo>
                <a:cubicBezTo>
                  <a:pt x="6569" y="698"/>
                  <a:pt x="6568" y="698"/>
                  <a:pt x="6568" y="698"/>
                </a:cubicBezTo>
                <a:cubicBezTo>
                  <a:pt x="6567" y="698"/>
                  <a:pt x="6566" y="698"/>
                  <a:pt x="6565" y="699"/>
                </a:cubicBezTo>
                <a:cubicBezTo>
                  <a:pt x="6561" y="702"/>
                  <a:pt x="6559" y="703"/>
                  <a:pt x="6559" y="705"/>
                </a:cubicBezTo>
                <a:cubicBezTo>
                  <a:pt x="6559" y="705"/>
                  <a:pt x="6560" y="705"/>
                  <a:pt x="6560" y="705"/>
                </a:cubicBezTo>
                <a:lnTo>
                  <a:pt x="6564" y="703"/>
                </a:lnTo>
                <a:cubicBezTo>
                  <a:pt x="6564" y="704"/>
                  <a:pt x="6563" y="706"/>
                  <a:pt x="6560" y="708"/>
                </a:cubicBezTo>
                <a:lnTo>
                  <a:pt x="6557" y="709"/>
                </a:lnTo>
                <a:lnTo>
                  <a:pt x="6557" y="708"/>
                </a:lnTo>
                <a:cubicBezTo>
                  <a:pt x="6556" y="708"/>
                  <a:pt x="6554" y="710"/>
                  <a:pt x="6552" y="712"/>
                </a:cubicBezTo>
                <a:cubicBezTo>
                  <a:pt x="6550" y="715"/>
                  <a:pt x="6549" y="716"/>
                  <a:pt x="6549" y="716"/>
                </a:cubicBezTo>
                <a:cubicBezTo>
                  <a:pt x="6549" y="716"/>
                  <a:pt x="6551" y="715"/>
                  <a:pt x="6552" y="714"/>
                </a:cubicBezTo>
                <a:cubicBezTo>
                  <a:pt x="6554" y="713"/>
                  <a:pt x="6555" y="712"/>
                  <a:pt x="6556" y="712"/>
                </a:cubicBezTo>
                <a:cubicBezTo>
                  <a:pt x="6556" y="712"/>
                  <a:pt x="6554" y="713"/>
                  <a:pt x="6552" y="716"/>
                </a:cubicBezTo>
                <a:cubicBezTo>
                  <a:pt x="6551" y="719"/>
                  <a:pt x="6549" y="720"/>
                  <a:pt x="6547" y="720"/>
                </a:cubicBezTo>
                <a:lnTo>
                  <a:pt x="6546" y="719"/>
                </a:lnTo>
                <a:lnTo>
                  <a:pt x="6545" y="719"/>
                </a:lnTo>
                <a:lnTo>
                  <a:pt x="6545" y="721"/>
                </a:lnTo>
                <a:cubicBezTo>
                  <a:pt x="6545" y="722"/>
                  <a:pt x="6544" y="723"/>
                  <a:pt x="6543" y="725"/>
                </a:cubicBezTo>
                <a:cubicBezTo>
                  <a:pt x="6542" y="727"/>
                  <a:pt x="6541" y="728"/>
                  <a:pt x="6540" y="730"/>
                </a:cubicBezTo>
                <a:cubicBezTo>
                  <a:pt x="6538" y="731"/>
                  <a:pt x="6537" y="732"/>
                  <a:pt x="6536" y="732"/>
                </a:cubicBezTo>
                <a:lnTo>
                  <a:pt x="6534" y="731"/>
                </a:lnTo>
                <a:lnTo>
                  <a:pt x="6535" y="732"/>
                </a:lnTo>
                <a:cubicBezTo>
                  <a:pt x="6535" y="732"/>
                  <a:pt x="6535" y="732"/>
                  <a:pt x="6535" y="732"/>
                </a:cubicBezTo>
                <a:cubicBezTo>
                  <a:pt x="6535" y="734"/>
                  <a:pt x="6531" y="738"/>
                  <a:pt x="6522" y="746"/>
                </a:cubicBezTo>
                <a:lnTo>
                  <a:pt x="6518" y="750"/>
                </a:lnTo>
                <a:cubicBezTo>
                  <a:pt x="6495" y="770"/>
                  <a:pt x="6475" y="781"/>
                  <a:pt x="6460" y="783"/>
                </a:cubicBezTo>
                <a:cubicBezTo>
                  <a:pt x="6459" y="783"/>
                  <a:pt x="6459" y="783"/>
                  <a:pt x="6459" y="784"/>
                </a:cubicBezTo>
                <a:cubicBezTo>
                  <a:pt x="6459" y="784"/>
                  <a:pt x="6459" y="784"/>
                  <a:pt x="6459" y="785"/>
                </a:cubicBezTo>
                <a:cubicBezTo>
                  <a:pt x="6459" y="785"/>
                  <a:pt x="6459" y="786"/>
                  <a:pt x="6460" y="786"/>
                </a:cubicBezTo>
                <a:cubicBezTo>
                  <a:pt x="6462" y="787"/>
                  <a:pt x="6463" y="788"/>
                  <a:pt x="6465" y="788"/>
                </a:cubicBezTo>
                <a:cubicBezTo>
                  <a:pt x="6467" y="788"/>
                  <a:pt x="6469" y="788"/>
                  <a:pt x="6469" y="788"/>
                </a:cubicBezTo>
                <a:cubicBezTo>
                  <a:pt x="6469" y="789"/>
                  <a:pt x="6467" y="789"/>
                  <a:pt x="6465" y="790"/>
                </a:cubicBezTo>
                <a:cubicBezTo>
                  <a:pt x="6463" y="791"/>
                  <a:pt x="6461" y="792"/>
                  <a:pt x="6460" y="792"/>
                </a:cubicBezTo>
                <a:close/>
                <a:moveTo>
                  <a:pt x="6457" y="764"/>
                </a:moveTo>
                <a:cubicBezTo>
                  <a:pt x="6459" y="764"/>
                  <a:pt x="6463" y="763"/>
                  <a:pt x="6469" y="760"/>
                </a:cubicBezTo>
                <a:cubicBezTo>
                  <a:pt x="6471" y="759"/>
                  <a:pt x="6473" y="757"/>
                  <a:pt x="6475" y="756"/>
                </a:cubicBezTo>
                <a:cubicBezTo>
                  <a:pt x="6477" y="754"/>
                  <a:pt x="6479" y="753"/>
                  <a:pt x="6479" y="752"/>
                </a:cubicBezTo>
                <a:cubicBezTo>
                  <a:pt x="6478" y="752"/>
                  <a:pt x="6475" y="753"/>
                  <a:pt x="6472" y="755"/>
                </a:cubicBezTo>
                <a:cubicBezTo>
                  <a:pt x="6470" y="757"/>
                  <a:pt x="6467" y="758"/>
                  <a:pt x="6465" y="759"/>
                </a:cubicBezTo>
                <a:cubicBezTo>
                  <a:pt x="6462" y="761"/>
                  <a:pt x="6460" y="762"/>
                  <a:pt x="6458" y="762"/>
                </a:cubicBezTo>
                <a:cubicBezTo>
                  <a:pt x="6456" y="763"/>
                  <a:pt x="6455" y="764"/>
                  <a:pt x="6455" y="764"/>
                </a:cubicBezTo>
                <a:lnTo>
                  <a:pt x="6457" y="764"/>
                </a:lnTo>
                <a:close/>
                <a:moveTo>
                  <a:pt x="6472" y="772"/>
                </a:moveTo>
                <a:cubicBezTo>
                  <a:pt x="6474" y="772"/>
                  <a:pt x="6476" y="770"/>
                  <a:pt x="6479" y="768"/>
                </a:cubicBezTo>
                <a:lnTo>
                  <a:pt x="6481" y="765"/>
                </a:lnTo>
                <a:lnTo>
                  <a:pt x="6477" y="767"/>
                </a:lnTo>
                <a:cubicBezTo>
                  <a:pt x="6473" y="769"/>
                  <a:pt x="6471" y="771"/>
                  <a:pt x="6471" y="771"/>
                </a:cubicBezTo>
                <a:cubicBezTo>
                  <a:pt x="6471" y="771"/>
                  <a:pt x="6471" y="772"/>
                  <a:pt x="6472" y="772"/>
                </a:cubicBezTo>
                <a:close/>
                <a:moveTo>
                  <a:pt x="6486" y="762"/>
                </a:moveTo>
                <a:cubicBezTo>
                  <a:pt x="6487" y="762"/>
                  <a:pt x="6487" y="762"/>
                  <a:pt x="6489" y="761"/>
                </a:cubicBezTo>
                <a:cubicBezTo>
                  <a:pt x="6490" y="760"/>
                  <a:pt x="6492" y="759"/>
                  <a:pt x="6493" y="757"/>
                </a:cubicBezTo>
                <a:cubicBezTo>
                  <a:pt x="6495" y="756"/>
                  <a:pt x="6496" y="755"/>
                  <a:pt x="6497" y="754"/>
                </a:cubicBezTo>
                <a:lnTo>
                  <a:pt x="6498" y="753"/>
                </a:lnTo>
                <a:lnTo>
                  <a:pt x="6497" y="753"/>
                </a:lnTo>
                <a:cubicBezTo>
                  <a:pt x="6497" y="753"/>
                  <a:pt x="6495" y="754"/>
                  <a:pt x="6493" y="755"/>
                </a:cubicBezTo>
                <a:cubicBezTo>
                  <a:pt x="6491" y="757"/>
                  <a:pt x="6489" y="758"/>
                  <a:pt x="6488" y="759"/>
                </a:cubicBezTo>
                <a:cubicBezTo>
                  <a:pt x="6487" y="761"/>
                  <a:pt x="6486" y="762"/>
                  <a:pt x="6486" y="762"/>
                </a:cubicBezTo>
                <a:close/>
                <a:moveTo>
                  <a:pt x="6502" y="750"/>
                </a:moveTo>
                <a:cubicBezTo>
                  <a:pt x="6503" y="750"/>
                  <a:pt x="6503" y="750"/>
                  <a:pt x="6504" y="750"/>
                </a:cubicBezTo>
                <a:cubicBezTo>
                  <a:pt x="6504" y="749"/>
                  <a:pt x="6505" y="749"/>
                  <a:pt x="6506" y="748"/>
                </a:cubicBezTo>
                <a:cubicBezTo>
                  <a:pt x="6508" y="747"/>
                  <a:pt x="6509" y="746"/>
                  <a:pt x="6509" y="744"/>
                </a:cubicBezTo>
                <a:lnTo>
                  <a:pt x="6511" y="740"/>
                </a:lnTo>
                <a:cubicBezTo>
                  <a:pt x="6511" y="740"/>
                  <a:pt x="6509" y="742"/>
                  <a:pt x="6505" y="745"/>
                </a:cubicBezTo>
                <a:cubicBezTo>
                  <a:pt x="6503" y="747"/>
                  <a:pt x="6502" y="749"/>
                  <a:pt x="6502" y="750"/>
                </a:cubicBezTo>
                <a:close/>
                <a:moveTo>
                  <a:pt x="6484" y="748"/>
                </a:moveTo>
                <a:cubicBezTo>
                  <a:pt x="6484" y="748"/>
                  <a:pt x="6485" y="748"/>
                  <a:pt x="6488" y="747"/>
                </a:cubicBezTo>
                <a:cubicBezTo>
                  <a:pt x="6490" y="745"/>
                  <a:pt x="6495" y="740"/>
                  <a:pt x="6504" y="732"/>
                </a:cubicBezTo>
                <a:lnTo>
                  <a:pt x="6514" y="722"/>
                </a:lnTo>
                <a:lnTo>
                  <a:pt x="6501" y="733"/>
                </a:lnTo>
                <a:cubicBezTo>
                  <a:pt x="6490" y="743"/>
                  <a:pt x="6484" y="748"/>
                  <a:pt x="6484" y="748"/>
                </a:cubicBezTo>
                <a:close/>
                <a:moveTo>
                  <a:pt x="6530" y="723"/>
                </a:moveTo>
                <a:cubicBezTo>
                  <a:pt x="6531" y="723"/>
                  <a:pt x="6532" y="722"/>
                  <a:pt x="6534" y="719"/>
                </a:cubicBezTo>
                <a:lnTo>
                  <a:pt x="6536" y="717"/>
                </a:lnTo>
                <a:lnTo>
                  <a:pt x="6536" y="716"/>
                </a:lnTo>
                <a:lnTo>
                  <a:pt x="6533" y="718"/>
                </a:lnTo>
                <a:cubicBezTo>
                  <a:pt x="6531" y="720"/>
                  <a:pt x="6529" y="722"/>
                  <a:pt x="6529" y="723"/>
                </a:cubicBezTo>
                <a:cubicBezTo>
                  <a:pt x="6529" y="723"/>
                  <a:pt x="6529" y="723"/>
                  <a:pt x="6530" y="723"/>
                </a:cubicBezTo>
                <a:close/>
                <a:moveTo>
                  <a:pt x="6538" y="714"/>
                </a:moveTo>
                <a:cubicBezTo>
                  <a:pt x="6539" y="714"/>
                  <a:pt x="6541" y="713"/>
                  <a:pt x="6543" y="710"/>
                </a:cubicBezTo>
                <a:cubicBezTo>
                  <a:pt x="6546" y="708"/>
                  <a:pt x="6547" y="706"/>
                  <a:pt x="6547" y="706"/>
                </a:cubicBezTo>
                <a:lnTo>
                  <a:pt x="6546" y="705"/>
                </a:lnTo>
                <a:cubicBezTo>
                  <a:pt x="6545" y="705"/>
                  <a:pt x="6544" y="707"/>
                  <a:pt x="6542" y="709"/>
                </a:cubicBezTo>
                <a:cubicBezTo>
                  <a:pt x="6539" y="712"/>
                  <a:pt x="6538" y="714"/>
                  <a:pt x="6538" y="714"/>
                </a:cubicBezTo>
                <a:close/>
                <a:moveTo>
                  <a:pt x="6549" y="703"/>
                </a:moveTo>
                <a:cubicBezTo>
                  <a:pt x="6550" y="703"/>
                  <a:pt x="6552" y="701"/>
                  <a:pt x="6554" y="698"/>
                </a:cubicBezTo>
                <a:cubicBezTo>
                  <a:pt x="6556" y="696"/>
                  <a:pt x="6557" y="694"/>
                  <a:pt x="6557" y="694"/>
                </a:cubicBezTo>
                <a:cubicBezTo>
                  <a:pt x="6556" y="694"/>
                  <a:pt x="6554" y="695"/>
                  <a:pt x="6552" y="698"/>
                </a:cubicBezTo>
                <a:cubicBezTo>
                  <a:pt x="6550" y="700"/>
                  <a:pt x="6549" y="702"/>
                  <a:pt x="6549" y="702"/>
                </a:cubicBezTo>
                <a:lnTo>
                  <a:pt x="6549" y="703"/>
                </a:lnTo>
                <a:close/>
                <a:moveTo>
                  <a:pt x="6576" y="652"/>
                </a:moveTo>
                <a:cubicBezTo>
                  <a:pt x="6576" y="652"/>
                  <a:pt x="6577" y="652"/>
                  <a:pt x="6578" y="650"/>
                </a:cubicBezTo>
                <a:lnTo>
                  <a:pt x="6579" y="649"/>
                </a:lnTo>
                <a:cubicBezTo>
                  <a:pt x="6579" y="648"/>
                  <a:pt x="6578" y="648"/>
                  <a:pt x="6577" y="648"/>
                </a:cubicBezTo>
                <a:cubicBezTo>
                  <a:pt x="6576" y="648"/>
                  <a:pt x="6575" y="649"/>
                  <a:pt x="6575" y="650"/>
                </a:cubicBezTo>
                <a:cubicBezTo>
                  <a:pt x="6575" y="652"/>
                  <a:pt x="6575" y="652"/>
                  <a:pt x="6576" y="652"/>
                </a:cubicBezTo>
                <a:close/>
                <a:moveTo>
                  <a:pt x="6591" y="682"/>
                </a:moveTo>
                <a:cubicBezTo>
                  <a:pt x="6591" y="682"/>
                  <a:pt x="6592" y="681"/>
                  <a:pt x="6593" y="679"/>
                </a:cubicBezTo>
                <a:lnTo>
                  <a:pt x="6593" y="677"/>
                </a:lnTo>
                <a:cubicBezTo>
                  <a:pt x="6593" y="677"/>
                  <a:pt x="6593" y="676"/>
                  <a:pt x="6593" y="676"/>
                </a:cubicBezTo>
                <a:cubicBezTo>
                  <a:pt x="6593" y="676"/>
                  <a:pt x="6592" y="676"/>
                  <a:pt x="6592" y="677"/>
                </a:cubicBezTo>
                <a:cubicBezTo>
                  <a:pt x="6591" y="677"/>
                  <a:pt x="6591" y="678"/>
                  <a:pt x="6591" y="678"/>
                </a:cubicBezTo>
                <a:cubicBezTo>
                  <a:pt x="6590" y="679"/>
                  <a:pt x="6590" y="679"/>
                  <a:pt x="6590" y="680"/>
                </a:cubicBezTo>
                <a:cubicBezTo>
                  <a:pt x="6590" y="681"/>
                  <a:pt x="6590" y="682"/>
                  <a:pt x="6591" y="682"/>
                </a:cubicBezTo>
                <a:close/>
                <a:moveTo>
                  <a:pt x="6530" y="505"/>
                </a:moveTo>
                <a:cubicBezTo>
                  <a:pt x="6531" y="505"/>
                  <a:pt x="6531" y="504"/>
                  <a:pt x="6532" y="502"/>
                </a:cubicBezTo>
                <a:cubicBezTo>
                  <a:pt x="6533" y="501"/>
                  <a:pt x="6534" y="500"/>
                  <a:pt x="6536" y="500"/>
                </a:cubicBezTo>
                <a:lnTo>
                  <a:pt x="6537" y="501"/>
                </a:lnTo>
                <a:cubicBezTo>
                  <a:pt x="6537" y="499"/>
                  <a:pt x="6537" y="498"/>
                  <a:pt x="6535" y="498"/>
                </a:cubicBezTo>
                <a:cubicBezTo>
                  <a:pt x="6534" y="498"/>
                  <a:pt x="6533" y="499"/>
                  <a:pt x="6532" y="500"/>
                </a:cubicBezTo>
                <a:cubicBezTo>
                  <a:pt x="6529" y="500"/>
                  <a:pt x="6528" y="502"/>
                  <a:pt x="6528" y="503"/>
                </a:cubicBezTo>
                <a:cubicBezTo>
                  <a:pt x="6529" y="504"/>
                  <a:pt x="6529" y="505"/>
                  <a:pt x="6530" y="505"/>
                </a:cubicBezTo>
                <a:close/>
                <a:moveTo>
                  <a:pt x="6449" y="758"/>
                </a:moveTo>
                <a:cubicBezTo>
                  <a:pt x="6452" y="758"/>
                  <a:pt x="6457" y="756"/>
                  <a:pt x="6464" y="752"/>
                </a:cubicBezTo>
                <a:cubicBezTo>
                  <a:pt x="6478" y="745"/>
                  <a:pt x="6497" y="730"/>
                  <a:pt x="6519" y="708"/>
                </a:cubicBezTo>
                <a:cubicBezTo>
                  <a:pt x="6524" y="703"/>
                  <a:pt x="6529" y="698"/>
                  <a:pt x="6533" y="695"/>
                </a:cubicBezTo>
                <a:lnTo>
                  <a:pt x="6541" y="691"/>
                </a:lnTo>
                <a:lnTo>
                  <a:pt x="6542" y="691"/>
                </a:lnTo>
                <a:lnTo>
                  <a:pt x="6541" y="689"/>
                </a:lnTo>
                <a:cubicBezTo>
                  <a:pt x="6541" y="688"/>
                  <a:pt x="6542" y="687"/>
                  <a:pt x="6544" y="683"/>
                </a:cubicBezTo>
                <a:cubicBezTo>
                  <a:pt x="6546" y="681"/>
                  <a:pt x="6549" y="677"/>
                  <a:pt x="6552" y="674"/>
                </a:cubicBezTo>
                <a:lnTo>
                  <a:pt x="6572" y="651"/>
                </a:lnTo>
                <a:cubicBezTo>
                  <a:pt x="6576" y="645"/>
                  <a:pt x="6579" y="643"/>
                  <a:pt x="6581" y="643"/>
                </a:cubicBezTo>
                <a:lnTo>
                  <a:pt x="6583" y="643"/>
                </a:lnTo>
                <a:cubicBezTo>
                  <a:pt x="6583" y="643"/>
                  <a:pt x="6583" y="643"/>
                  <a:pt x="6583" y="643"/>
                </a:cubicBezTo>
                <a:lnTo>
                  <a:pt x="6583" y="641"/>
                </a:lnTo>
                <a:cubicBezTo>
                  <a:pt x="6583" y="639"/>
                  <a:pt x="6585" y="636"/>
                  <a:pt x="6590" y="630"/>
                </a:cubicBezTo>
                <a:cubicBezTo>
                  <a:pt x="6593" y="627"/>
                  <a:pt x="6595" y="625"/>
                  <a:pt x="6595" y="625"/>
                </a:cubicBezTo>
                <a:lnTo>
                  <a:pt x="6593" y="630"/>
                </a:lnTo>
                <a:lnTo>
                  <a:pt x="6596" y="626"/>
                </a:lnTo>
                <a:cubicBezTo>
                  <a:pt x="6599" y="624"/>
                  <a:pt x="6600" y="622"/>
                  <a:pt x="6600" y="619"/>
                </a:cubicBezTo>
                <a:cubicBezTo>
                  <a:pt x="6600" y="617"/>
                  <a:pt x="6601" y="615"/>
                  <a:pt x="6603" y="615"/>
                </a:cubicBezTo>
                <a:cubicBezTo>
                  <a:pt x="6604" y="615"/>
                  <a:pt x="6605" y="615"/>
                  <a:pt x="6605" y="613"/>
                </a:cubicBezTo>
                <a:cubicBezTo>
                  <a:pt x="6605" y="612"/>
                  <a:pt x="6606" y="610"/>
                  <a:pt x="6607" y="606"/>
                </a:cubicBezTo>
                <a:cubicBezTo>
                  <a:pt x="6613" y="591"/>
                  <a:pt x="6616" y="573"/>
                  <a:pt x="6616" y="553"/>
                </a:cubicBezTo>
                <a:cubicBezTo>
                  <a:pt x="6616" y="544"/>
                  <a:pt x="6615" y="538"/>
                  <a:pt x="6613" y="533"/>
                </a:cubicBezTo>
                <a:cubicBezTo>
                  <a:pt x="6611" y="529"/>
                  <a:pt x="6609" y="525"/>
                  <a:pt x="6606" y="522"/>
                </a:cubicBezTo>
                <a:cubicBezTo>
                  <a:pt x="6603" y="520"/>
                  <a:pt x="6600" y="519"/>
                  <a:pt x="6598" y="519"/>
                </a:cubicBezTo>
                <a:cubicBezTo>
                  <a:pt x="6596" y="519"/>
                  <a:pt x="6596" y="519"/>
                  <a:pt x="6595" y="520"/>
                </a:cubicBezTo>
                <a:cubicBezTo>
                  <a:pt x="6594" y="520"/>
                  <a:pt x="6594" y="521"/>
                  <a:pt x="6593" y="521"/>
                </a:cubicBezTo>
                <a:cubicBezTo>
                  <a:pt x="6592" y="521"/>
                  <a:pt x="6592" y="520"/>
                  <a:pt x="6591" y="518"/>
                </a:cubicBezTo>
                <a:cubicBezTo>
                  <a:pt x="6590" y="516"/>
                  <a:pt x="6588" y="515"/>
                  <a:pt x="6585" y="515"/>
                </a:cubicBezTo>
                <a:cubicBezTo>
                  <a:pt x="6583" y="515"/>
                  <a:pt x="6582" y="516"/>
                  <a:pt x="6581" y="517"/>
                </a:cubicBezTo>
                <a:cubicBezTo>
                  <a:pt x="6580" y="518"/>
                  <a:pt x="6579" y="518"/>
                  <a:pt x="6577" y="518"/>
                </a:cubicBezTo>
                <a:lnTo>
                  <a:pt x="6576" y="518"/>
                </a:lnTo>
                <a:cubicBezTo>
                  <a:pt x="6575" y="518"/>
                  <a:pt x="6574" y="518"/>
                  <a:pt x="6573" y="519"/>
                </a:cubicBezTo>
                <a:cubicBezTo>
                  <a:pt x="6569" y="522"/>
                  <a:pt x="6567" y="523"/>
                  <a:pt x="6566" y="523"/>
                </a:cubicBezTo>
                <a:cubicBezTo>
                  <a:pt x="6566" y="523"/>
                  <a:pt x="6566" y="523"/>
                  <a:pt x="6566" y="523"/>
                </a:cubicBezTo>
                <a:cubicBezTo>
                  <a:pt x="6566" y="523"/>
                  <a:pt x="6564" y="524"/>
                  <a:pt x="6561" y="527"/>
                </a:cubicBezTo>
                <a:cubicBezTo>
                  <a:pt x="6559" y="529"/>
                  <a:pt x="6557" y="531"/>
                  <a:pt x="6555" y="531"/>
                </a:cubicBezTo>
                <a:cubicBezTo>
                  <a:pt x="6554" y="531"/>
                  <a:pt x="6549" y="534"/>
                  <a:pt x="6543" y="541"/>
                </a:cubicBezTo>
                <a:cubicBezTo>
                  <a:pt x="6527" y="556"/>
                  <a:pt x="6514" y="572"/>
                  <a:pt x="6504" y="586"/>
                </a:cubicBezTo>
                <a:cubicBezTo>
                  <a:pt x="6500" y="591"/>
                  <a:pt x="6496" y="598"/>
                  <a:pt x="6490" y="608"/>
                </a:cubicBezTo>
                <a:cubicBezTo>
                  <a:pt x="6475" y="635"/>
                  <a:pt x="6468" y="650"/>
                  <a:pt x="6468" y="653"/>
                </a:cubicBezTo>
                <a:cubicBezTo>
                  <a:pt x="6468" y="654"/>
                  <a:pt x="6467" y="655"/>
                  <a:pt x="6466" y="655"/>
                </a:cubicBezTo>
                <a:cubicBezTo>
                  <a:pt x="6465" y="655"/>
                  <a:pt x="6465" y="655"/>
                  <a:pt x="6465" y="656"/>
                </a:cubicBezTo>
                <a:lnTo>
                  <a:pt x="6465" y="657"/>
                </a:lnTo>
                <a:cubicBezTo>
                  <a:pt x="6465" y="658"/>
                  <a:pt x="6465" y="659"/>
                  <a:pt x="6464" y="660"/>
                </a:cubicBezTo>
                <a:cubicBezTo>
                  <a:pt x="6463" y="661"/>
                  <a:pt x="6462" y="663"/>
                  <a:pt x="6462" y="666"/>
                </a:cubicBezTo>
                <a:cubicBezTo>
                  <a:pt x="6462" y="669"/>
                  <a:pt x="6461" y="671"/>
                  <a:pt x="6460" y="671"/>
                </a:cubicBezTo>
                <a:cubicBezTo>
                  <a:pt x="6459" y="671"/>
                  <a:pt x="6459" y="671"/>
                  <a:pt x="6459" y="673"/>
                </a:cubicBezTo>
                <a:cubicBezTo>
                  <a:pt x="6457" y="677"/>
                  <a:pt x="6456" y="681"/>
                  <a:pt x="6455" y="683"/>
                </a:cubicBezTo>
                <a:cubicBezTo>
                  <a:pt x="6454" y="686"/>
                  <a:pt x="6454" y="688"/>
                  <a:pt x="6453" y="689"/>
                </a:cubicBezTo>
                <a:cubicBezTo>
                  <a:pt x="6452" y="691"/>
                  <a:pt x="6450" y="696"/>
                  <a:pt x="6449" y="703"/>
                </a:cubicBezTo>
                <a:cubicBezTo>
                  <a:pt x="6444" y="723"/>
                  <a:pt x="6442" y="736"/>
                  <a:pt x="6442" y="741"/>
                </a:cubicBezTo>
                <a:cubicBezTo>
                  <a:pt x="6442" y="752"/>
                  <a:pt x="6444" y="758"/>
                  <a:pt x="6448" y="758"/>
                </a:cubicBezTo>
                <a:lnTo>
                  <a:pt x="6449" y="758"/>
                </a:lnTo>
                <a:close/>
                <a:moveTo>
                  <a:pt x="6517" y="577"/>
                </a:moveTo>
                <a:lnTo>
                  <a:pt x="6516" y="576"/>
                </a:lnTo>
                <a:cubicBezTo>
                  <a:pt x="6516" y="576"/>
                  <a:pt x="6517" y="574"/>
                  <a:pt x="6520" y="572"/>
                </a:cubicBezTo>
                <a:cubicBezTo>
                  <a:pt x="6522" y="569"/>
                  <a:pt x="6524" y="568"/>
                  <a:pt x="6524" y="568"/>
                </a:cubicBezTo>
                <a:cubicBezTo>
                  <a:pt x="6524" y="568"/>
                  <a:pt x="6524" y="570"/>
                  <a:pt x="6522" y="572"/>
                </a:cubicBezTo>
                <a:cubicBezTo>
                  <a:pt x="6519" y="576"/>
                  <a:pt x="6518" y="577"/>
                  <a:pt x="6517" y="577"/>
                </a:cubicBezTo>
                <a:close/>
                <a:moveTo>
                  <a:pt x="6536" y="750"/>
                </a:moveTo>
                <a:lnTo>
                  <a:pt x="6536" y="750"/>
                </a:lnTo>
                <a:cubicBezTo>
                  <a:pt x="6536" y="748"/>
                  <a:pt x="6543" y="739"/>
                  <a:pt x="6559" y="723"/>
                </a:cubicBezTo>
                <a:cubicBezTo>
                  <a:pt x="6575" y="705"/>
                  <a:pt x="6584" y="696"/>
                  <a:pt x="6585" y="696"/>
                </a:cubicBezTo>
                <a:lnTo>
                  <a:pt x="6585" y="696"/>
                </a:lnTo>
                <a:cubicBezTo>
                  <a:pt x="6585" y="697"/>
                  <a:pt x="6583" y="700"/>
                  <a:pt x="6578" y="706"/>
                </a:cubicBezTo>
                <a:cubicBezTo>
                  <a:pt x="6573" y="712"/>
                  <a:pt x="6571" y="715"/>
                  <a:pt x="6571" y="717"/>
                </a:cubicBezTo>
                <a:cubicBezTo>
                  <a:pt x="6571" y="718"/>
                  <a:pt x="6570" y="718"/>
                  <a:pt x="6569" y="718"/>
                </a:cubicBezTo>
                <a:lnTo>
                  <a:pt x="6569" y="718"/>
                </a:lnTo>
                <a:cubicBezTo>
                  <a:pt x="6567" y="718"/>
                  <a:pt x="6565" y="720"/>
                  <a:pt x="6563" y="723"/>
                </a:cubicBezTo>
                <a:cubicBezTo>
                  <a:pt x="6560" y="725"/>
                  <a:pt x="6559" y="727"/>
                  <a:pt x="6559" y="728"/>
                </a:cubicBezTo>
                <a:lnTo>
                  <a:pt x="6559" y="728"/>
                </a:lnTo>
                <a:cubicBezTo>
                  <a:pt x="6559" y="729"/>
                  <a:pt x="6558" y="730"/>
                  <a:pt x="6556" y="732"/>
                </a:cubicBezTo>
                <a:cubicBezTo>
                  <a:pt x="6553" y="734"/>
                  <a:pt x="6552" y="736"/>
                  <a:pt x="6552" y="737"/>
                </a:cubicBezTo>
                <a:lnTo>
                  <a:pt x="6552" y="738"/>
                </a:lnTo>
                <a:cubicBezTo>
                  <a:pt x="6552" y="739"/>
                  <a:pt x="6551" y="740"/>
                  <a:pt x="6549" y="742"/>
                </a:cubicBezTo>
                <a:cubicBezTo>
                  <a:pt x="6547" y="745"/>
                  <a:pt x="6546" y="746"/>
                  <a:pt x="6545" y="746"/>
                </a:cubicBezTo>
                <a:cubicBezTo>
                  <a:pt x="6545" y="746"/>
                  <a:pt x="6545" y="745"/>
                  <a:pt x="6545" y="745"/>
                </a:cubicBezTo>
                <a:cubicBezTo>
                  <a:pt x="6545" y="745"/>
                  <a:pt x="6544" y="745"/>
                  <a:pt x="6544" y="745"/>
                </a:cubicBezTo>
                <a:cubicBezTo>
                  <a:pt x="6544" y="745"/>
                  <a:pt x="6542" y="746"/>
                  <a:pt x="6541" y="747"/>
                </a:cubicBezTo>
                <a:cubicBezTo>
                  <a:pt x="6539" y="749"/>
                  <a:pt x="6537" y="750"/>
                  <a:pt x="6536" y="750"/>
                </a:cubicBezTo>
                <a:close/>
                <a:moveTo>
                  <a:pt x="6545" y="743"/>
                </a:moveTo>
                <a:cubicBezTo>
                  <a:pt x="6546" y="743"/>
                  <a:pt x="6547" y="742"/>
                  <a:pt x="6548" y="742"/>
                </a:cubicBezTo>
                <a:cubicBezTo>
                  <a:pt x="6549" y="740"/>
                  <a:pt x="6550" y="739"/>
                  <a:pt x="6550" y="738"/>
                </a:cubicBezTo>
                <a:lnTo>
                  <a:pt x="6549" y="737"/>
                </a:lnTo>
                <a:cubicBezTo>
                  <a:pt x="6548" y="737"/>
                  <a:pt x="6547" y="738"/>
                  <a:pt x="6546" y="739"/>
                </a:cubicBezTo>
                <a:cubicBezTo>
                  <a:pt x="6545" y="740"/>
                  <a:pt x="6545" y="741"/>
                  <a:pt x="6545" y="742"/>
                </a:cubicBezTo>
                <a:cubicBezTo>
                  <a:pt x="6545" y="743"/>
                  <a:pt x="6545" y="743"/>
                  <a:pt x="6545" y="743"/>
                </a:cubicBezTo>
                <a:close/>
                <a:moveTo>
                  <a:pt x="6470" y="797"/>
                </a:moveTo>
                <a:cubicBezTo>
                  <a:pt x="6468" y="797"/>
                  <a:pt x="6466" y="796"/>
                  <a:pt x="6466" y="795"/>
                </a:cubicBezTo>
                <a:lnTo>
                  <a:pt x="6465" y="794"/>
                </a:lnTo>
                <a:cubicBezTo>
                  <a:pt x="6465" y="794"/>
                  <a:pt x="6466" y="794"/>
                  <a:pt x="6467" y="793"/>
                </a:cubicBezTo>
                <a:cubicBezTo>
                  <a:pt x="6468" y="792"/>
                  <a:pt x="6470" y="792"/>
                  <a:pt x="6472" y="792"/>
                </a:cubicBezTo>
                <a:cubicBezTo>
                  <a:pt x="6474" y="792"/>
                  <a:pt x="6475" y="792"/>
                  <a:pt x="6475" y="793"/>
                </a:cubicBezTo>
                <a:cubicBezTo>
                  <a:pt x="6475" y="794"/>
                  <a:pt x="6475" y="794"/>
                  <a:pt x="6476" y="794"/>
                </a:cubicBezTo>
                <a:lnTo>
                  <a:pt x="6477" y="792"/>
                </a:lnTo>
                <a:cubicBezTo>
                  <a:pt x="6478" y="791"/>
                  <a:pt x="6479" y="791"/>
                  <a:pt x="6480" y="791"/>
                </a:cubicBezTo>
                <a:lnTo>
                  <a:pt x="6482" y="791"/>
                </a:lnTo>
                <a:cubicBezTo>
                  <a:pt x="6483" y="791"/>
                  <a:pt x="6484" y="791"/>
                  <a:pt x="6484" y="789"/>
                </a:cubicBezTo>
                <a:cubicBezTo>
                  <a:pt x="6484" y="788"/>
                  <a:pt x="6485" y="787"/>
                  <a:pt x="6489" y="786"/>
                </a:cubicBezTo>
                <a:cubicBezTo>
                  <a:pt x="6492" y="784"/>
                  <a:pt x="6494" y="783"/>
                  <a:pt x="6494" y="781"/>
                </a:cubicBezTo>
                <a:lnTo>
                  <a:pt x="6493" y="779"/>
                </a:lnTo>
                <a:cubicBezTo>
                  <a:pt x="6493" y="779"/>
                  <a:pt x="6493" y="779"/>
                  <a:pt x="6493" y="779"/>
                </a:cubicBezTo>
                <a:cubicBezTo>
                  <a:pt x="6494" y="779"/>
                  <a:pt x="6495" y="780"/>
                  <a:pt x="6497" y="783"/>
                </a:cubicBezTo>
                <a:cubicBezTo>
                  <a:pt x="6497" y="784"/>
                  <a:pt x="6498" y="785"/>
                  <a:pt x="6498" y="786"/>
                </a:cubicBezTo>
                <a:cubicBezTo>
                  <a:pt x="6498" y="788"/>
                  <a:pt x="6496" y="789"/>
                  <a:pt x="6493" y="791"/>
                </a:cubicBezTo>
                <a:cubicBezTo>
                  <a:pt x="6489" y="793"/>
                  <a:pt x="6485" y="794"/>
                  <a:pt x="6481" y="795"/>
                </a:cubicBezTo>
                <a:cubicBezTo>
                  <a:pt x="6477" y="796"/>
                  <a:pt x="6473" y="797"/>
                  <a:pt x="6470" y="797"/>
                </a:cubicBezTo>
                <a:close/>
                <a:moveTo>
                  <a:pt x="6486" y="792"/>
                </a:moveTo>
                <a:lnTo>
                  <a:pt x="6490" y="790"/>
                </a:lnTo>
                <a:cubicBezTo>
                  <a:pt x="6495" y="787"/>
                  <a:pt x="6497" y="786"/>
                  <a:pt x="6497" y="785"/>
                </a:cubicBezTo>
                <a:lnTo>
                  <a:pt x="6497" y="785"/>
                </a:lnTo>
                <a:cubicBezTo>
                  <a:pt x="6495" y="785"/>
                  <a:pt x="6492" y="786"/>
                  <a:pt x="6489" y="789"/>
                </a:cubicBezTo>
                <a:cubicBezTo>
                  <a:pt x="6487" y="791"/>
                  <a:pt x="6486" y="791"/>
                  <a:pt x="6486" y="792"/>
                </a:cubicBezTo>
                <a:close/>
                <a:moveTo>
                  <a:pt x="6558" y="716"/>
                </a:moveTo>
                <a:lnTo>
                  <a:pt x="6557" y="716"/>
                </a:lnTo>
                <a:cubicBezTo>
                  <a:pt x="6557" y="715"/>
                  <a:pt x="6559" y="714"/>
                  <a:pt x="6561" y="711"/>
                </a:cubicBezTo>
                <a:cubicBezTo>
                  <a:pt x="6563" y="709"/>
                  <a:pt x="6565" y="707"/>
                  <a:pt x="6566" y="707"/>
                </a:cubicBezTo>
                <a:cubicBezTo>
                  <a:pt x="6566" y="708"/>
                  <a:pt x="6565" y="710"/>
                  <a:pt x="6563" y="712"/>
                </a:cubicBezTo>
                <a:cubicBezTo>
                  <a:pt x="6561" y="715"/>
                  <a:pt x="6559" y="716"/>
                  <a:pt x="6558" y="716"/>
                </a:cubicBezTo>
                <a:close/>
                <a:moveTo>
                  <a:pt x="6502" y="784"/>
                </a:moveTo>
                <a:lnTo>
                  <a:pt x="6503" y="782"/>
                </a:lnTo>
                <a:cubicBezTo>
                  <a:pt x="6504" y="780"/>
                  <a:pt x="6505" y="779"/>
                  <a:pt x="6505" y="779"/>
                </a:cubicBezTo>
                <a:lnTo>
                  <a:pt x="6505" y="779"/>
                </a:lnTo>
                <a:lnTo>
                  <a:pt x="6500" y="780"/>
                </a:lnTo>
                <a:lnTo>
                  <a:pt x="6500" y="780"/>
                </a:lnTo>
                <a:lnTo>
                  <a:pt x="6500" y="779"/>
                </a:lnTo>
                <a:cubicBezTo>
                  <a:pt x="6519" y="761"/>
                  <a:pt x="6529" y="752"/>
                  <a:pt x="6531" y="752"/>
                </a:cubicBezTo>
                <a:lnTo>
                  <a:pt x="6531" y="753"/>
                </a:lnTo>
                <a:cubicBezTo>
                  <a:pt x="6531" y="754"/>
                  <a:pt x="6531" y="756"/>
                  <a:pt x="6529" y="757"/>
                </a:cubicBezTo>
                <a:cubicBezTo>
                  <a:pt x="6528" y="757"/>
                  <a:pt x="6528" y="758"/>
                  <a:pt x="6528" y="759"/>
                </a:cubicBezTo>
                <a:lnTo>
                  <a:pt x="6528" y="760"/>
                </a:lnTo>
                <a:cubicBezTo>
                  <a:pt x="6528" y="762"/>
                  <a:pt x="6527" y="764"/>
                  <a:pt x="6524" y="767"/>
                </a:cubicBezTo>
                <a:cubicBezTo>
                  <a:pt x="6522" y="769"/>
                  <a:pt x="6520" y="770"/>
                  <a:pt x="6519" y="770"/>
                </a:cubicBezTo>
                <a:cubicBezTo>
                  <a:pt x="6519" y="770"/>
                  <a:pt x="6518" y="770"/>
                  <a:pt x="6518" y="769"/>
                </a:cubicBezTo>
                <a:cubicBezTo>
                  <a:pt x="6518" y="768"/>
                  <a:pt x="6518" y="767"/>
                  <a:pt x="6518" y="767"/>
                </a:cubicBezTo>
                <a:lnTo>
                  <a:pt x="6517" y="768"/>
                </a:lnTo>
                <a:cubicBezTo>
                  <a:pt x="6516" y="769"/>
                  <a:pt x="6515" y="771"/>
                  <a:pt x="6515" y="772"/>
                </a:cubicBezTo>
                <a:cubicBezTo>
                  <a:pt x="6515" y="773"/>
                  <a:pt x="6512" y="776"/>
                  <a:pt x="6508" y="781"/>
                </a:cubicBezTo>
                <a:cubicBezTo>
                  <a:pt x="6505" y="783"/>
                  <a:pt x="6503" y="784"/>
                  <a:pt x="6502" y="784"/>
                </a:cubicBezTo>
                <a:close/>
                <a:moveTo>
                  <a:pt x="6507" y="779"/>
                </a:moveTo>
                <a:cubicBezTo>
                  <a:pt x="6509" y="779"/>
                  <a:pt x="6511" y="777"/>
                  <a:pt x="6512" y="774"/>
                </a:cubicBezTo>
                <a:cubicBezTo>
                  <a:pt x="6513" y="773"/>
                  <a:pt x="6514" y="772"/>
                  <a:pt x="6514" y="772"/>
                </a:cubicBezTo>
                <a:lnTo>
                  <a:pt x="6514" y="772"/>
                </a:lnTo>
                <a:lnTo>
                  <a:pt x="6510" y="774"/>
                </a:lnTo>
                <a:cubicBezTo>
                  <a:pt x="6507" y="776"/>
                  <a:pt x="6505" y="777"/>
                  <a:pt x="6505" y="778"/>
                </a:cubicBezTo>
                <a:cubicBezTo>
                  <a:pt x="6505" y="778"/>
                  <a:pt x="6506" y="779"/>
                  <a:pt x="6507" y="779"/>
                </a:cubicBezTo>
                <a:close/>
                <a:moveTo>
                  <a:pt x="6520" y="767"/>
                </a:moveTo>
                <a:cubicBezTo>
                  <a:pt x="6522" y="767"/>
                  <a:pt x="6523" y="766"/>
                  <a:pt x="6525" y="763"/>
                </a:cubicBezTo>
                <a:lnTo>
                  <a:pt x="6527" y="761"/>
                </a:lnTo>
                <a:lnTo>
                  <a:pt x="6527" y="760"/>
                </a:lnTo>
                <a:cubicBezTo>
                  <a:pt x="6527" y="760"/>
                  <a:pt x="6525" y="761"/>
                  <a:pt x="6522" y="762"/>
                </a:cubicBezTo>
                <a:cubicBezTo>
                  <a:pt x="6520" y="764"/>
                  <a:pt x="6518" y="765"/>
                  <a:pt x="6518" y="767"/>
                </a:cubicBezTo>
                <a:cubicBezTo>
                  <a:pt x="6518" y="767"/>
                  <a:pt x="6519" y="767"/>
                  <a:pt x="6520" y="767"/>
                </a:cubicBezTo>
                <a:close/>
                <a:moveTo>
                  <a:pt x="6728" y="469"/>
                </a:moveTo>
                <a:lnTo>
                  <a:pt x="6728" y="468"/>
                </a:lnTo>
                <a:cubicBezTo>
                  <a:pt x="6728" y="467"/>
                  <a:pt x="6730" y="464"/>
                  <a:pt x="6733" y="460"/>
                </a:cubicBezTo>
                <a:cubicBezTo>
                  <a:pt x="6737" y="454"/>
                  <a:pt x="6739" y="451"/>
                  <a:pt x="6739" y="451"/>
                </a:cubicBezTo>
                <a:cubicBezTo>
                  <a:pt x="6739" y="452"/>
                  <a:pt x="6738" y="455"/>
                  <a:pt x="6735" y="460"/>
                </a:cubicBezTo>
                <a:cubicBezTo>
                  <a:pt x="6732" y="466"/>
                  <a:pt x="6729" y="469"/>
                  <a:pt x="6728" y="469"/>
                </a:cubicBezTo>
                <a:close/>
                <a:moveTo>
                  <a:pt x="6730" y="551"/>
                </a:moveTo>
                <a:lnTo>
                  <a:pt x="6730" y="551"/>
                </a:lnTo>
                <a:cubicBezTo>
                  <a:pt x="6730" y="551"/>
                  <a:pt x="6730" y="551"/>
                  <a:pt x="6730" y="550"/>
                </a:cubicBezTo>
                <a:lnTo>
                  <a:pt x="6730" y="548"/>
                </a:lnTo>
                <a:cubicBezTo>
                  <a:pt x="6730" y="546"/>
                  <a:pt x="6730" y="546"/>
                  <a:pt x="6730" y="546"/>
                </a:cubicBezTo>
                <a:lnTo>
                  <a:pt x="6730" y="546"/>
                </a:lnTo>
                <a:cubicBezTo>
                  <a:pt x="6731" y="547"/>
                  <a:pt x="6731" y="548"/>
                  <a:pt x="6731" y="549"/>
                </a:cubicBezTo>
                <a:cubicBezTo>
                  <a:pt x="6731" y="549"/>
                  <a:pt x="6731" y="550"/>
                  <a:pt x="6730" y="551"/>
                </a:cubicBezTo>
                <a:close/>
                <a:moveTo>
                  <a:pt x="6613" y="679"/>
                </a:moveTo>
                <a:cubicBezTo>
                  <a:pt x="6612" y="679"/>
                  <a:pt x="6611" y="679"/>
                  <a:pt x="6611" y="678"/>
                </a:cubicBezTo>
                <a:cubicBezTo>
                  <a:pt x="6611" y="677"/>
                  <a:pt x="6611" y="676"/>
                  <a:pt x="6612" y="674"/>
                </a:cubicBezTo>
                <a:cubicBezTo>
                  <a:pt x="6614" y="671"/>
                  <a:pt x="6615" y="669"/>
                  <a:pt x="6616" y="669"/>
                </a:cubicBezTo>
                <a:cubicBezTo>
                  <a:pt x="6616" y="669"/>
                  <a:pt x="6616" y="670"/>
                  <a:pt x="6617" y="671"/>
                </a:cubicBezTo>
                <a:cubicBezTo>
                  <a:pt x="6617" y="673"/>
                  <a:pt x="6618" y="674"/>
                  <a:pt x="6618" y="674"/>
                </a:cubicBezTo>
                <a:cubicBezTo>
                  <a:pt x="6618" y="674"/>
                  <a:pt x="6617" y="674"/>
                  <a:pt x="6617" y="674"/>
                </a:cubicBezTo>
                <a:lnTo>
                  <a:pt x="6614" y="674"/>
                </a:lnTo>
                <a:cubicBezTo>
                  <a:pt x="6614" y="674"/>
                  <a:pt x="6614" y="674"/>
                  <a:pt x="6614" y="674"/>
                </a:cubicBezTo>
                <a:lnTo>
                  <a:pt x="6614" y="677"/>
                </a:lnTo>
                <a:cubicBezTo>
                  <a:pt x="6614" y="679"/>
                  <a:pt x="6614" y="679"/>
                  <a:pt x="6613" y="679"/>
                </a:cubicBezTo>
                <a:close/>
                <a:moveTo>
                  <a:pt x="6726" y="562"/>
                </a:moveTo>
                <a:lnTo>
                  <a:pt x="6726" y="561"/>
                </a:lnTo>
                <a:lnTo>
                  <a:pt x="6726" y="558"/>
                </a:lnTo>
                <a:cubicBezTo>
                  <a:pt x="6727" y="556"/>
                  <a:pt x="6727" y="555"/>
                  <a:pt x="6728" y="555"/>
                </a:cubicBezTo>
                <a:cubicBezTo>
                  <a:pt x="6728" y="555"/>
                  <a:pt x="6728" y="556"/>
                  <a:pt x="6728" y="557"/>
                </a:cubicBezTo>
                <a:cubicBezTo>
                  <a:pt x="6728" y="558"/>
                  <a:pt x="6728" y="560"/>
                  <a:pt x="6728" y="561"/>
                </a:cubicBezTo>
                <a:cubicBezTo>
                  <a:pt x="6727" y="562"/>
                  <a:pt x="6727" y="562"/>
                  <a:pt x="6726" y="562"/>
                </a:cubicBezTo>
                <a:close/>
                <a:moveTo>
                  <a:pt x="6732" y="542"/>
                </a:moveTo>
                <a:cubicBezTo>
                  <a:pt x="6732" y="542"/>
                  <a:pt x="6732" y="541"/>
                  <a:pt x="6732" y="539"/>
                </a:cubicBezTo>
                <a:cubicBezTo>
                  <a:pt x="6732" y="537"/>
                  <a:pt x="6732" y="536"/>
                  <a:pt x="6732" y="536"/>
                </a:cubicBezTo>
                <a:cubicBezTo>
                  <a:pt x="6733" y="536"/>
                  <a:pt x="6733" y="538"/>
                  <a:pt x="6733" y="540"/>
                </a:cubicBezTo>
                <a:cubicBezTo>
                  <a:pt x="6733" y="541"/>
                  <a:pt x="6733" y="542"/>
                  <a:pt x="6732" y="542"/>
                </a:cubicBezTo>
                <a:close/>
                <a:moveTo>
                  <a:pt x="6710" y="525"/>
                </a:moveTo>
                <a:lnTo>
                  <a:pt x="6710" y="525"/>
                </a:lnTo>
                <a:cubicBezTo>
                  <a:pt x="6710" y="523"/>
                  <a:pt x="6712" y="520"/>
                  <a:pt x="6715" y="514"/>
                </a:cubicBezTo>
                <a:cubicBezTo>
                  <a:pt x="6723" y="503"/>
                  <a:pt x="6727" y="497"/>
                  <a:pt x="6728" y="497"/>
                </a:cubicBezTo>
                <a:lnTo>
                  <a:pt x="6725" y="502"/>
                </a:lnTo>
                <a:cubicBezTo>
                  <a:pt x="6722" y="507"/>
                  <a:pt x="6720" y="511"/>
                  <a:pt x="6720" y="512"/>
                </a:cubicBezTo>
                <a:cubicBezTo>
                  <a:pt x="6720" y="514"/>
                  <a:pt x="6720" y="515"/>
                  <a:pt x="6719" y="515"/>
                </a:cubicBezTo>
                <a:cubicBezTo>
                  <a:pt x="6718" y="515"/>
                  <a:pt x="6718" y="515"/>
                  <a:pt x="6717" y="516"/>
                </a:cubicBezTo>
                <a:cubicBezTo>
                  <a:pt x="6716" y="517"/>
                  <a:pt x="6715" y="518"/>
                  <a:pt x="6715" y="519"/>
                </a:cubicBezTo>
                <a:cubicBezTo>
                  <a:pt x="6714" y="522"/>
                  <a:pt x="6712" y="524"/>
                  <a:pt x="6710" y="525"/>
                </a:cubicBezTo>
                <a:close/>
                <a:moveTo>
                  <a:pt x="6735" y="650"/>
                </a:moveTo>
                <a:cubicBezTo>
                  <a:pt x="6734" y="650"/>
                  <a:pt x="6734" y="650"/>
                  <a:pt x="6734" y="650"/>
                </a:cubicBezTo>
                <a:cubicBezTo>
                  <a:pt x="6734" y="649"/>
                  <a:pt x="6734" y="648"/>
                  <a:pt x="6735" y="648"/>
                </a:cubicBezTo>
                <a:cubicBezTo>
                  <a:pt x="6736" y="646"/>
                  <a:pt x="6737" y="644"/>
                  <a:pt x="6737" y="642"/>
                </a:cubicBezTo>
                <a:lnTo>
                  <a:pt x="6736" y="634"/>
                </a:lnTo>
                <a:cubicBezTo>
                  <a:pt x="6736" y="632"/>
                  <a:pt x="6736" y="632"/>
                  <a:pt x="6737" y="632"/>
                </a:cubicBezTo>
                <a:lnTo>
                  <a:pt x="6738" y="632"/>
                </a:lnTo>
                <a:cubicBezTo>
                  <a:pt x="6739" y="634"/>
                  <a:pt x="6740" y="637"/>
                  <a:pt x="6740" y="639"/>
                </a:cubicBezTo>
                <a:cubicBezTo>
                  <a:pt x="6740" y="642"/>
                  <a:pt x="6740" y="644"/>
                  <a:pt x="6739" y="647"/>
                </a:cubicBezTo>
                <a:cubicBezTo>
                  <a:pt x="6738" y="649"/>
                  <a:pt x="6736" y="650"/>
                  <a:pt x="6735" y="650"/>
                </a:cubicBezTo>
                <a:close/>
                <a:moveTo>
                  <a:pt x="6704" y="506"/>
                </a:moveTo>
                <a:cubicBezTo>
                  <a:pt x="6704" y="505"/>
                  <a:pt x="6707" y="499"/>
                  <a:pt x="6714" y="488"/>
                </a:cubicBezTo>
                <a:lnTo>
                  <a:pt x="6722" y="476"/>
                </a:lnTo>
                <a:lnTo>
                  <a:pt x="6726" y="471"/>
                </a:lnTo>
                <a:cubicBezTo>
                  <a:pt x="6726" y="472"/>
                  <a:pt x="6723" y="478"/>
                  <a:pt x="6716" y="489"/>
                </a:cubicBezTo>
                <a:cubicBezTo>
                  <a:pt x="6709" y="500"/>
                  <a:pt x="6705" y="506"/>
                  <a:pt x="6704" y="506"/>
                </a:cubicBezTo>
                <a:close/>
                <a:moveTo>
                  <a:pt x="6657" y="602"/>
                </a:moveTo>
                <a:cubicBezTo>
                  <a:pt x="6656" y="602"/>
                  <a:pt x="6656" y="602"/>
                  <a:pt x="6656" y="602"/>
                </a:cubicBezTo>
                <a:cubicBezTo>
                  <a:pt x="6656" y="601"/>
                  <a:pt x="6657" y="600"/>
                  <a:pt x="6658" y="599"/>
                </a:cubicBezTo>
                <a:cubicBezTo>
                  <a:pt x="6658" y="598"/>
                  <a:pt x="6659" y="597"/>
                  <a:pt x="6659" y="596"/>
                </a:cubicBezTo>
                <a:cubicBezTo>
                  <a:pt x="6659" y="595"/>
                  <a:pt x="6658" y="595"/>
                  <a:pt x="6658" y="595"/>
                </a:cubicBezTo>
                <a:lnTo>
                  <a:pt x="6658" y="595"/>
                </a:lnTo>
                <a:cubicBezTo>
                  <a:pt x="6658" y="594"/>
                  <a:pt x="6658" y="593"/>
                  <a:pt x="6660" y="593"/>
                </a:cubicBezTo>
                <a:cubicBezTo>
                  <a:pt x="6662" y="592"/>
                  <a:pt x="6663" y="590"/>
                  <a:pt x="6663" y="589"/>
                </a:cubicBezTo>
                <a:lnTo>
                  <a:pt x="6662" y="588"/>
                </a:lnTo>
                <a:cubicBezTo>
                  <a:pt x="6662" y="587"/>
                  <a:pt x="6663" y="587"/>
                  <a:pt x="6663" y="587"/>
                </a:cubicBezTo>
                <a:lnTo>
                  <a:pt x="6667" y="588"/>
                </a:lnTo>
                <a:cubicBezTo>
                  <a:pt x="6668" y="588"/>
                  <a:pt x="6668" y="588"/>
                  <a:pt x="6668" y="588"/>
                </a:cubicBezTo>
                <a:lnTo>
                  <a:pt x="6667" y="585"/>
                </a:lnTo>
                <a:cubicBezTo>
                  <a:pt x="6667" y="584"/>
                  <a:pt x="6668" y="583"/>
                  <a:pt x="6668" y="582"/>
                </a:cubicBezTo>
                <a:cubicBezTo>
                  <a:pt x="6669" y="582"/>
                  <a:pt x="6670" y="581"/>
                  <a:pt x="6670" y="580"/>
                </a:cubicBezTo>
                <a:lnTo>
                  <a:pt x="6670" y="579"/>
                </a:lnTo>
                <a:cubicBezTo>
                  <a:pt x="6670" y="578"/>
                  <a:pt x="6672" y="577"/>
                  <a:pt x="6676" y="577"/>
                </a:cubicBezTo>
                <a:lnTo>
                  <a:pt x="6677" y="577"/>
                </a:lnTo>
                <a:cubicBezTo>
                  <a:pt x="6677" y="578"/>
                  <a:pt x="6676" y="579"/>
                  <a:pt x="6674" y="580"/>
                </a:cubicBezTo>
                <a:cubicBezTo>
                  <a:pt x="6671" y="583"/>
                  <a:pt x="6669" y="585"/>
                  <a:pt x="6669" y="586"/>
                </a:cubicBezTo>
                <a:cubicBezTo>
                  <a:pt x="6669" y="588"/>
                  <a:pt x="6668" y="589"/>
                  <a:pt x="6666" y="591"/>
                </a:cubicBezTo>
                <a:cubicBezTo>
                  <a:pt x="6663" y="593"/>
                  <a:pt x="6662" y="594"/>
                  <a:pt x="6662" y="595"/>
                </a:cubicBezTo>
                <a:cubicBezTo>
                  <a:pt x="6662" y="595"/>
                  <a:pt x="6663" y="595"/>
                  <a:pt x="6663" y="595"/>
                </a:cubicBezTo>
                <a:cubicBezTo>
                  <a:pt x="6663" y="595"/>
                  <a:pt x="6663" y="595"/>
                  <a:pt x="6663" y="595"/>
                </a:cubicBezTo>
                <a:cubicBezTo>
                  <a:pt x="6663" y="596"/>
                  <a:pt x="6663" y="598"/>
                  <a:pt x="6661" y="599"/>
                </a:cubicBezTo>
                <a:cubicBezTo>
                  <a:pt x="6660" y="601"/>
                  <a:pt x="6659" y="602"/>
                  <a:pt x="6657" y="602"/>
                </a:cubicBezTo>
                <a:close/>
                <a:moveTo>
                  <a:pt x="6646" y="617"/>
                </a:moveTo>
                <a:lnTo>
                  <a:pt x="6644" y="617"/>
                </a:lnTo>
                <a:cubicBezTo>
                  <a:pt x="6643" y="617"/>
                  <a:pt x="6642" y="617"/>
                  <a:pt x="6642" y="616"/>
                </a:cubicBezTo>
                <a:cubicBezTo>
                  <a:pt x="6642" y="614"/>
                  <a:pt x="6643" y="613"/>
                  <a:pt x="6644" y="613"/>
                </a:cubicBezTo>
                <a:lnTo>
                  <a:pt x="6648" y="613"/>
                </a:lnTo>
                <a:cubicBezTo>
                  <a:pt x="6649" y="613"/>
                  <a:pt x="6650" y="614"/>
                  <a:pt x="6650" y="614"/>
                </a:cubicBezTo>
                <a:cubicBezTo>
                  <a:pt x="6650" y="616"/>
                  <a:pt x="6648" y="617"/>
                  <a:pt x="6646" y="617"/>
                </a:cubicBezTo>
                <a:close/>
                <a:moveTo>
                  <a:pt x="6744" y="458"/>
                </a:moveTo>
                <a:cubicBezTo>
                  <a:pt x="6743" y="458"/>
                  <a:pt x="6742" y="457"/>
                  <a:pt x="6742" y="455"/>
                </a:cubicBezTo>
                <a:cubicBezTo>
                  <a:pt x="6742" y="454"/>
                  <a:pt x="6743" y="453"/>
                  <a:pt x="6744" y="453"/>
                </a:cubicBezTo>
                <a:cubicBezTo>
                  <a:pt x="6746" y="453"/>
                  <a:pt x="6747" y="454"/>
                  <a:pt x="6747" y="455"/>
                </a:cubicBezTo>
                <a:cubicBezTo>
                  <a:pt x="6747" y="457"/>
                  <a:pt x="6746" y="458"/>
                  <a:pt x="6744" y="458"/>
                </a:cubicBezTo>
                <a:close/>
                <a:moveTo>
                  <a:pt x="6632" y="645"/>
                </a:moveTo>
                <a:cubicBezTo>
                  <a:pt x="6631" y="645"/>
                  <a:pt x="6629" y="644"/>
                  <a:pt x="6626" y="641"/>
                </a:cubicBezTo>
                <a:cubicBezTo>
                  <a:pt x="6625" y="639"/>
                  <a:pt x="6624" y="638"/>
                  <a:pt x="6624" y="637"/>
                </a:cubicBezTo>
                <a:cubicBezTo>
                  <a:pt x="6624" y="636"/>
                  <a:pt x="6625" y="633"/>
                  <a:pt x="6627" y="630"/>
                </a:cubicBezTo>
                <a:cubicBezTo>
                  <a:pt x="6629" y="627"/>
                  <a:pt x="6630" y="625"/>
                  <a:pt x="6631" y="625"/>
                </a:cubicBezTo>
                <a:lnTo>
                  <a:pt x="6631" y="626"/>
                </a:lnTo>
                <a:cubicBezTo>
                  <a:pt x="6631" y="627"/>
                  <a:pt x="6631" y="629"/>
                  <a:pt x="6629" y="632"/>
                </a:cubicBezTo>
                <a:cubicBezTo>
                  <a:pt x="6629" y="633"/>
                  <a:pt x="6628" y="634"/>
                  <a:pt x="6628" y="635"/>
                </a:cubicBezTo>
                <a:cubicBezTo>
                  <a:pt x="6628" y="637"/>
                  <a:pt x="6629" y="637"/>
                  <a:pt x="6630" y="638"/>
                </a:cubicBezTo>
                <a:cubicBezTo>
                  <a:pt x="6631" y="639"/>
                  <a:pt x="6632" y="639"/>
                  <a:pt x="6632" y="639"/>
                </a:cubicBezTo>
                <a:cubicBezTo>
                  <a:pt x="6633" y="639"/>
                  <a:pt x="6633" y="639"/>
                  <a:pt x="6633" y="637"/>
                </a:cubicBezTo>
                <a:cubicBezTo>
                  <a:pt x="6633" y="636"/>
                  <a:pt x="6632" y="635"/>
                  <a:pt x="6631" y="635"/>
                </a:cubicBezTo>
                <a:lnTo>
                  <a:pt x="6630" y="636"/>
                </a:lnTo>
                <a:lnTo>
                  <a:pt x="6629" y="635"/>
                </a:lnTo>
                <a:lnTo>
                  <a:pt x="6630" y="634"/>
                </a:lnTo>
                <a:cubicBezTo>
                  <a:pt x="6631" y="633"/>
                  <a:pt x="6632" y="632"/>
                  <a:pt x="6632" y="632"/>
                </a:cubicBezTo>
                <a:cubicBezTo>
                  <a:pt x="6634" y="632"/>
                  <a:pt x="6635" y="634"/>
                  <a:pt x="6635" y="637"/>
                </a:cubicBezTo>
                <a:cubicBezTo>
                  <a:pt x="6635" y="637"/>
                  <a:pt x="6635" y="638"/>
                  <a:pt x="6634" y="639"/>
                </a:cubicBezTo>
                <a:cubicBezTo>
                  <a:pt x="6634" y="639"/>
                  <a:pt x="6634" y="641"/>
                  <a:pt x="6634" y="642"/>
                </a:cubicBezTo>
                <a:cubicBezTo>
                  <a:pt x="6634" y="642"/>
                  <a:pt x="6634" y="643"/>
                  <a:pt x="6633" y="644"/>
                </a:cubicBezTo>
                <a:cubicBezTo>
                  <a:pt x="6633" y="645"/>
                  <a:pt x="6633" y="645"/>
                  <a:pt x="6632" y="645"/>
                </a:cubicBezTo>
                <a:close/>
                <a:moveTo>
                  <a:pt x="6653" y="609"/>
                </a:moveTo>
                <a:cubicBezTo>
                  <a:pt x="6652" y="609"/>
                  <a:pt x="6651" y="608"/>
                  <a:pt x="6650" y="607"/>
                </a:cubicBezTo>
                <a:lnTo>
                  <a:pt x="6650" y="606"/>
                </a:lnTo>
                <a:cubicBezTo>
                  <a:pt x="6650" y="605"/>
                  <a:pt x="6650" y="605"/>
                  <a:pt x="6650" y="604"/>
                </a:cubicBezTo>
                <a:cubicBezTo>
                  <a:pt x="6650" y="604"/>
                  <a:pt x="6651" y="604"/>
                  <a:pt x="6651" y="603"/>
                </a:cubicBezTo>
                <a:lnTo>
                  <a:pt x="6652" y="602"/>
                </a:lnTo>
                <a:lnTo>
                  <a:pt x="6653" y="603"/>
                </a:lnTo>
                <a:lnTo>
                  <a:pt x="6652" y="604"/>
                </a:lnTo>
                <a:cubicBezTo>
                  <a:pt x="6652" y="605"/>
                  <a:pt x="6651" y="605"/>
                  <a:pt x="6651" y="606"/>
                </a:cubicBezTo>
                <a:cubicBezTo>
                  <a:pt x="6651" y="607"/>
                  <a:pt x="6652" y="607"/>
                  <a:pt x="6652" y="607"/>
                </a:cubicBezTo>
                <a:lnTo>
                  <a:pt x="6656" y="605"/>
                </a:lnTo>
                <a:lnTo>
                  <a:pt x="6657" y="606"/>
                </a:lnTo>
                <a:cubicBezTo>
                  <a:pt x="6657" y="606"/>
                  <a:pt x="6656" y="607"/>
                  <a:pt x="6656" y="607"/>
                </a:cubicBezTo>
                <a:cubicBezTo>
                  <a:pt x="6655" y="608"/>
                  <a:pt x="6654" y="609"/>
                  <a:pt x="6653" y="609"/>
                </a:cubicBezTo>
                <a:close/>
                <a:moveTo>
                  <a:pt x="6640" y="634"/>
                </a:moveTo>
                <a:cubicBezTo>
                  <a:pt x="6639" y="634"/>
                  <a:pt x="6639" y="634"/>
                  <a:pt x="6638" y="633"/>
                </a:cubicBezTo>
                <a:cubicBezTo>
                  <a:pt x="6637" y="632"/>
                  <a:pt x="6636" y="631"/>
                  <a:pt x="6635" y="630"/>
                </a:cubicBezTo>
                <a:cubicBezTo>
                  <a:pt x="6634" y="630"/>
                  <a:pt x="6634" y="628"/>
                  <a:pt x="6634" y="627"/>
                </a:cubicBezTo>
                <a:cubicBezTo>
                  <a:pt x="6634" y="626"/>
                  <a:pt x="6634" y="625"/>
                  <a:pt x="6635" y="624"/>
                </a:cubicBezTo>
                <a:cubicBezTo>
                  <a:pt x="6636" y="623"/>
                  <a:pt x="6637" y="623"/>
                  <a:pt x="6638" y="623"/>
                </a:cubicBezTo>
                <a:cubicBezTo>
                  <a:pt x="6641" y="623"/>
                  <a:pt x="6642" y="624"/>
                  <a:pt x="6642" y="626"/>
                </a:cubicBezTo>
                <a:cubicBezTo>
                  <a:pt x="6642" y="628"/>
                  <a:pt x="6642" y="629"/>
                  <a:pt x="6640" y="629"/>
                </a:cubicBezTo>
                <a:lnTo>
                  <a:pt x="6636" y="628"/>
                </a:lnTo>
                <a:cubicBezTo>
                  <a:pt x="6636" y="628"/>
                  <a:pt x="6637" y="629"/>
                  <a:pt x="6638" y="631"/>
                </a:cubicBezTo>
                <a:cubicBezTo>
                  <a:pt x="6639" y="632"/>
                  <a:pt x="6640" y="633"/>
                  <a:pt x="6640" y="634"/>
                </a:cubicBezTo>
                <a:close/>
                <a:moveTo>
                  <a:pt x="6740" y="630"/>
                </a:moveTo>
                <a:cubicBezTo>
                  <a:pt x="6740" y="630"/>
                  <a:pt x="6740" y="630"/>
                  <a:pt x="6740" y="629"/>
                </a:cubicBezTo>
                <a:cubicBezTo>
                  <a:pt x="6739" y="626"/>
                  <a:pt x="6738" y="623"/>
                  <a:pt x="6738" y="621"/>
                </a:cubicBezTo>
                <a:cubicBezTo>
                  <a:pt x="6738" y="620"/>
                  <a:pt x="6738" y="619"/>
                  <a:pt x="6739" y="619"/>
                </a:cubicBezTo>
                <a:lnTo>
                  <a:pt x="6741" y="620"/>
                </a:lnTo>
                <a:cubicBezTo>
                  <a:pt x="6741" y="620"/>
                  <a:pt x="6742" y="619"/>
                  <a:pt x="6742" y="618"/>
                </a:cubicBezTo>
                <a:lnTo>
                  <a:pt x="6740" y="610"/>
                </a:lnTo>
                <a:cubicBezTo>
                  <a:pt x="6740" y="607"/>
                  <a:pt x="6741" y="606"/>
                  <a:pt x="6742" y="605"/>
                </a:cubicBezTo>
                <a:cubicBezTo>
                  <a:pt x="6743" y="605"/>
                  <a:pt x="6743" y="604"/>
                  <a:pt x="6743" y="603"/>
                </a:cubicBezTo>
                <a:lnTo>
                  <a:pt x="6743" y="600"/>
                </a:lnTo>
                <a:cubicBezTo>
                  <a:pt x="6743" y="598"/>
                  <a:pt x="6743" y="597"/>
                  <a:pt x="6744" y="596"/>
                </a:cubicBezTo>
                <a:cubicBezTo>
                  <a:pt x="6745" y="595"/>
                  <a:pt x="6745" y="594"/>
                  <a:pt x="6745" y="592"/>
                </a:cubicBezTo>
                <a:lnTo>
                  <a:pt x="6745" y="584"/>
                </a:lnTo>
                <a:cubicBezTo>
                  <a:pt x="6745" y="584"/>
                  <a:pt x="6746" y="585"/>
                  <a:pt x="6747" y="588"/>
                </a:cubicBezTo>
                <a:cubicBezTo>
                  <a:pt x="6747" y="590"/>
                  <a:pt x="6748" y="593"/>
                  <a:pt x="6748" y="595"/>
                </a:cubicBezTo>
                <a:cubicBezTo>
                  <a:pt x="6748" y="599"/>
                  <a:pt x="6747" y="601"/>
                  <a:pt x="6747" y="604"/>
                </a:cubicBezTo>
                <a:cubicBezTo>
                  <a:pt x="6747" y="607"/>
                  <a:pt x="6746" y="608"/>
                  <a:pt x="6745" y="608"/>
                </a:cubicBezTo>
                <a:lnTo>
                  <a:pt x="6743" y="607"/>
                </a:lnTo>
                <a:cubicBezTo>
                  <a:pt x="6743" y="607"/>
                  <a:pt x="6742" y="607"/>
                  <a:pt x="6742" y="608"/>
                </a:cubicBezTo>
                <a:cubicBezTo>
                  <a:pt x="6742" y="609"/>
                  <a:pt x="6743" y="610"/>
                  <a:pt x="6743" y="611"/>
                </a:cubicBezTo>
                <a:cubicBezTo>
                  <a:pt x="6743" y="613"/>
                  <a:pt x="6743" y="614"/>
                  <a:pt x="6743" y="616"/>
                </a:cubicBezTo>
                <a:cubicBezTo>
                  <a:pt x="6743" y="618"/>
                  <a:pt x="6743" y="620"/>
                  <a:pt x="6743" y="622"/>
                </a:cubicBezTo>
                <a:cubicBezTo>
                  <a:pt x="6743" y="625"/>
                  <a:pt x="6742" y="627"/>
                  <a:pt x="6742" y="628"/>
                </a:cubicBezTo>
                <a:cubicBezTo>
                  <a:pt x="6741" y="630"/>
                  <a:pt x="6741" y="630"/>
                  <a:pt x="6740" y="630"/>
                </a:cubicBezTo>
                <a:close/>
                <a:moveTo>
                  <a:pt x="6746" y="451"/>
                </a:moveTo>
                <a:cubicBezTo>
                  <a:pt x="6745" y="451"/>
                  <a:pt x="6745" y="450"/>
                  <a:pt x="6745" y="450"/>
                </a:cubicBezTo>
                <a:cubicBezTo>
                  <a:pt x="6745" y="449"/>
                  <a:pt x="6745" y="448"/>
                  <a:pt x="6747" y="447"/>
                </a:cubicBezTo>
                <a:cubicBezTo>
                  <a:pt x="6747" y="446"/>
                  <a:pt x="6748" y="445"/>
                  <a:pt x="6748" y="444"/>
                </a:cubicBezTo>
                <a:cubicBezTo>
                  <a:pt x="6748" y="444"/>
                  <a:pt x="6747" y="443"/>
                  <a:pt x="6747" y="443"/>
                </a:cubicBezTo>
                <a:cubicBezTo>
                  <a:pt x="6746" y="443"/>
                  <a:pt x="6744" y="444"/>
                  <a:pt x="6742" y="446"/>
                </a:cubicBezTo>
                <a:lnTo>
                  <a:pt x="6742" y="447"/>
                </a:lnTo>
                <a:cubicBezTo>
                  <a:pt x="6742" y="446"/>
                  <a:pt x="6742" y="445"/>
                  <a:pt x="6743" y="443"/>
                </a:cubicBezTo>
                <a:cubicBezTo>
                  <a:pt x="6744" y="442"/>
                  <a:pt x="6745" y="440"/>
                  <a:pt x="6746" y="439"/>
                </a:cubicBezTo>
                <a:cubicBezTo>
                  <a:pt x="6747" y="438"/>
                  <a:pt x="6748" y="438"/>
                  <a:pt x="6748" y="438"/>
                </a:cubicBezTo>
                <a:lnTo>
                  <a:pt x="6749" y="438"/>
                </a:lnTo>
                <a:cubicBezTo>
                  <a:pt x="6750" y="438"/>
                  <a:pt x="6750" y="437"/>
                  <a:pt x="6750" y="436"/>
                </a:cubicBezTo>
                <a:cubicBezTo>
                  <a:pt x="6750" y="429"/>
                  <a:pt x="6751" y="426"/>
                  <a:pt x="6754" y="425"/>
                </a:cubicBezTo>
                <a:cubicBezTo>
                  <a:pt x="6754" y="425"/>
                  <a:pt x="6754" y="426"/>
                  <a:pt x="6754" y="427"/>
                </a:cubicBezTo>
                <a:lnTo>
                  <a:pt x="6754" y="431"/>
                </a:lnTo>
                <a:cubicBezTo>
                  <a:pt x="6754" y="432"/>
                  <a:pt x="6754" y="432"/>
                  <a:pt x="6755" y="432"/>
                </a:cubicBezTo>
                <a:cubicBezTo>
                  <a:pt x="6757" y="432"/>
                  <a:pt x="6758" y="431"/>
                  <a:pt x="6758" y="428"/>
                </a:cubicBezTo>
                <a:cubicBezTo>
                  <a:pt x="6758" y="427"/>
                  <a:pt x="6757" y="425"/>
                  <a:pt x="6756" y="424"/>
                </a:cubicBezTo>
                <a:cubicBezTo>
                  <a:pt x="6754" y="424"/>
                  <a:pt x="6753" y="423"/>
                  <a:pt x="6753" y="423"/>
                </a:cubicBezTo>
                <a:cubicBezTo>
                  <a:pt x="6753" y="422"/>
                  <a:pt x="6754" y="421"/>
                  <a:pt x="6756" y="419"/>
                </a:cubicBezTo>
                <a:cubicBezTo>
                  <a:pt x="6759" y="418"/>
                  <a:pt x="6760" y="416"/>
                  <a:pt x="6760" y="414"/>
                </a:cubicBezTo>
                <a:cubicBezTo>
                  <a:pt x="6760" y="412"/>
                  <a:pt x="6759" y="411"/>
                  <a:pt x="6757" y="410"/>
                </a:cubicBezTo>
                <a:cubicBezTo>
                  <a:pt x="6755" y="409"/>
                  <a:pt x="6754" y="408"/>
                  <a:pt x="6754" y="408"/>
                </a:cubicBezTo>
                <a:cubicBezTo>
                  <a:pt x="6754" y="407"/>
                  <a:pt x="6755" y="407"/>
                  <a:pt x="6757" y="407"/>
                </a:cubicBezTo>
                <a:cubicBezTo>
                  <a:pt x="6760" y="407"/>
                  <a:pt x="6761" y="408"/>
                  <a:pt x="6761" y="409"/>
                </a:cubicBezTo>
                <a:lnTo>
                  <a:pt x="6761" y="410"/>
                </a:lnTo>
                <a:cubicBezTo>
                  <a:pt x="6761" y="411"/>
                  <a:pt x="6761" y="412"/>
                  <a:pt x="6762" y="413"/>
                </a:cubicBezTo>
                <a:cubicBezTo>
                  <a:pt x="6763" y="413"/>
                  <a:pt x="6763" y="414"/>
                  <a:pt x="6763" y="415"/>
                </a:cubicBezTo>
                <a:cubicBezTo>
                  <a:pt x="6763" y="415"/>
                  <a:pt x="6762" y="416"/>
                  <a:pt x="6762" y="418"/>
                </a:cubicBezTo>
                <a:cubicBezTo>
                  <a:pt x="6761" y="419"/>
                  <a:pt x="6760" y="421"/>
                  <a:pt x="6760" y="422"/>
                </a:cubicBezTo>
                <a:lnTo>
                  <a:pt x="6760" y="424"/>
                </a:lnTo>
                <a:cubicBezTo>
                  <a:pt x="6760" y="426"/>
                  <a:pt x="6758" y="431"/>
                  <a:pt x="6755" y="437"/>
                </a:cubicBezTo>
                <a:cubicBezTo>
                  <a:pt x="6751" y="444"/>
                  <a:pt x="6749" y="448"/>
                  <a:pt x="6749" y="449"/>
                </a:cubicBezTo>
                <a:cubicBezTo>
                  <a:pt x="6749" y="450"/>
                  <a:pt x="6748" y="451"/>
                  <a:pt x="6746" y="451"/>
                </a:cubicBezTo>
                <a:close/>
                <a:moveTo>
                  <a:pt x="6678" y="574"/>
                </a:moveTo>
                <a:cubicBezTo>
                  <a:pt x="6678" y="574"/>
                  <a:pt x="6677" y="573"/>
                  <a:pt x="6677" y="573"/>
                </a:cubicBezTo>
                <a:lnTo>
                  <a:pt x="6677" y="572"/>
                </a:lnTo>
                <a:cubicBezTo>
                  <a:pt x="6679" y="568"/>
                  <a:pt x="6685" y="560"/>
                  <a:pt x="6693" y="547"/>
                </a:cubicBezTo>
                <a:cubicBezTo>
                  <a:pt x="6702" y="535"/>
                  <a:pt x="6707" y="529"/>
                  <a:pt x="6708" y="529"/>
                </a:cubicBezTo>
                <a:cubicBezTo>
                  <a:pt x="6709" y="529"/>
                  <a:pt x="6709" y="529"/>
                  <a:pt x="6709" y="529"/>
                </a:cubicBezTo>
                <a:cubicBezTo>
                  <a:pt x="6709" y="530"/>
                  <a:pt x="6708" y="530"/>
                  <a:pt x="6707" y="531"/>
                </a:cubicBezTo>
                <a:cubicBezTo>
                  <a:pt x="6705" y="533"/>
                  <a:pt x="6703" y="535"/>
                  <a:pt x="6703" y="537"/>
                </a:cubicBezTo>
                <a:cubicBezTo>
                  <a:pt x="6703" y="539"/>
                  <a:pt x="6702" y="540"/>
                  <a:pt x="6701" y="540"/>
                </a:cubicBezTo>
                <a:cubicBezTo>
                  <a:pt x="6700" y="540"/>
                  <a:pt x="6699" y="541"/>
                  <a:pt x="6699" y="544"/>
                </a:cubicBezTo>
                <a:cubicBezTo>
                  <a:pt x="6699" y="546"/>
                  <a:pt x="6698" y="547"/>
                  <a:pt x="6697" y="547"/>
                </a:cubicBezTo>
                <a:cubicBezTo>
                  <a:pt x="6695" y="547"/>
                  <a:pt x="6695" y="548"/>
                  <a:pt x="6695" y="551"/>
                </a:cubicBezTo>
                <a:cubicBezTo>
                  <a:pt x="6695" y="553"/>
                  <a:pt x="6693" y="555"/>
                  <a:pt x="6691" y="556"/>
                </a:cubicBezTo>
                <a:cubicBezTo>
                  <a:pt x="6689" y="556"/>
                  <a:pt x="6688" y="558"/>
                  <a:pt x="6688" y="560"/>
                </a:cubicBezTo>
                <a:cubicBezTo>
                  <a:pt x="6688" y="562"/>
                  <a:pt x="6687" y="563"/>
                  <a:pt x="6685" y="564"/>
                </a:cubicBezTo>
                <a:cubicBezTo>
                  <a:pt x="6682" y="566"/>
                  <a:pt x="6681" y="568"/>
                  <a:pt x="6681" y="569"/>
                </a:cubicBezTo>
                <a:cubicBezTo>
                  <a:pt x="6681" y="571"/>
                  <a:pt x="6680" y="573"/>
                  <a:pt x="6679" y="573"/>
                </a:cubicBezTo>
                <a:lnTo>
                  <a:pt x="6678" y="574"/>
                </a:lnTo>
                <a:close/>
                <a:moveTo>
                  <a:pt x="6730" y="493"/>
                </a:moveTo>
                <a:cubicBezTo>
                  <a:pt x="6730" y="493"/>
                  <a:pt x="6731" y="490"/>
                  <a:pt x="6734" y="485"/>
                </a:cubicBezTo>
                <a:lnTo>
                  <a:pt x="6738" y="479"/>
                </a:lnTo>
                <a:lnTo>
                  <a:pt x="6741" y="476"/>
                </a:lnTo>
                <a:cubicBezTo>
                  <a:pt x="6741" y="476"/>
                  <a:pt x="6742" y="476"/>
                  <a:pt x="6742" y="476"/>
                </a:cubicBezTo>
                <a:cubicBezTo>
                  <a:pt x="6742" y="477"/>
                  <a:pt x="6741" y="478"/>
                  <a:pt x="6740" y="479"/>
                </a:cubicBezTo>
                <a:cubicBezTo>
                  <a:pt x="6739" y="481"/>
                  <a:pt x="6738" y="482"/>
                  <a:pt x="6738" y="482"/>
                </a:cubicBezTo>
                <a:lnTo>
                  <a:pt x="6738" y="483"/>
                </a:lnTo>
                <a:cubicBezTo>
                  <a:pt x="6738" y="484"/>
                  <a:pt x="6738" y="485"/>
                  <a:pt x="6737" y="485"/>
                </a:cubicBezTo>
                <a:cubicBezTo>
                  <a:pt x="6733" y="491"/>
                  <a:pt x="6731" y="493"/>
                  <a:pt x="6730" y="493"/>
                </a:cubicBezTo>
                <a:close/>
                <a:moveTo>
                  <a:pt x="6735" y="659"/>
                </a:moveTo>
                <a:cubicBezTo>
                  <a:pt x="6734" y="659"/>
                  <a:pt x="6733" y="659"/>
                  <a:pt x="6733" y="657"/>
                </a:cubicBezTo>
                <a:cubicBezTo>
                  <a:pt x="6733" y="656"/>
                  <a:pt x="6733" y="656"/>
                  <a:pt x="6734" y="655"/>
                </a:cubicBezTo>
                <a:cubicBezTo>
                  <a:pt x="6735" y="654"/>
                  <a:pt x="6735" y="654"/>
                  <a:pt x="6736" y="654"/>
                </a:cubicBezTo>
                <a:cubicBezTo>
                  <a:pt x="6737" y="654"/>
                  <a:pt x="6737" y="654"/>
                  <a:pt x="6737" y="656"/>
                </a:cubicBezTo>
                <a:cubicBezTo>
                  <a:pt x="6737" y="658"/>
                  <a:pt x="6737" y="659"/>
                  <a:pt x="6735" y="659"/>
                </a:cubicBezTo>
                <a:close/>
                <a:moveTo>
                  <a:pt x="6790" y="311"/>
                </a:moveTo>
                <a:cubicBezTo>
                  <a:pt x="6790" y="311"/>
                  <a:pt x="6790" y="310"/>
                  <a:pt x="6790" y="308"/>
                </a:cubicBezTo>
                <a:cubicBezTo>
                  <a:pt x="6790" y="308"/>
                  <a:pt x="6791" y="306"/>
                  <a:pt x="6792" y="305"/>
                </a:cubicBezTo>
                <a:lnTo>
                  <a:pt x="6793" y="305"/>
                </a:lnTo>
                <a:cubicBezTo>
                  <a:pt x="6793" y="305"/>
                  <a:pt x="6793" y="305"/>
                  <a:pt x="6793" y="306"/>
                </a:cubicBezTo>
                <a:lnTo>
                  <a:pt x="6793" y="307"/>
                </a:lnTo>
                <a:cubicBezTo>
                  <a:pt x="6792" y="309"/>
                  <a:pt x="6791" y="311"/>
                  <a:pt x="6790" y="311"/>
                </a:cubicBezTo>
                <a:close/>
                <a:moveTo>
                  <a:pt x="6734" y="685"/>
                </a:moveTo>
                <a:cubicBezTo>
                  <a:pt x="6732" y="685"/>
                  <a:pt x="6732" y="683"/>
                  <a:pt x="6732" y="681"/>
                </a:cubicBezTo>
                <a:cubicBezTo>
                  <a:pt x="6732" y="679"/>
                  <a:pt x="6732" y="677"/>
                  <a:pt x="6734" y="677"/>
                </a:cubicBezTo>
                <a:cubicBezTo>
                  <a:pt x="6735" y="677"/>
                  <a:pt x="6736" y="679"/>
                  <a:pt x="6736" y="681"/>
                </a:cubicBezTo>
                <a:cubicBezTo>
                  <a:pt x="6736" y="683"/>
                  <a:pt x="6735" y="685"/>
                  <a:pt x="6734" y="685"/>
                </a:cubicBezTo>
                <a:close/>
                <a:moveTo>
                  <a:pt x="6733" y="668"/>
                </a:moveTo>
                <a:cubicBezTo>
                  <a:pt x="6732" y="668"/>
                  <a:pt x="6732" y="668"/>
                  <a:pt x="6732" y="666"/>
                </a:cubicBezTo>
                <a:cubicBezTo>
                  <a:pt x="6732" y="666"/>
                  <a:pt x="6732" y="665"/>
                  <a:pt x="6732" y="664"/>
                </a:cubicBezTo>
                <a:cubicBezTo>
                  <a:pt x="6733" y="663"/>
                  <a:pt x="6733" y="662"/>
                  <a:pt x="6734" y="662"/>
                </a:cubicBezTo>
                <a:cubicBezTo>
                  <a:pt x="6735" y="662"/>
                  <a:pt x="6736" y="663"/>
                  <a:pt x="6736" y="665"/>
                </a:cubicBezTo>
                <a:cubicBezTo>
                  <a:pt x="6736" y="667"/>
                  <a:pt x="6735" y="668"/>
                  <a:pt x="6733" y="668"/>
                </a:cubicBezTo>
                <a:close/>
                <a:moveTo>
                  <a:pt x="6730" y="657"/>
                </a:moveTo>
                <a:cubicBezTo>
                  <a:pt x="6730" y="657"/>
                  <a:pt x="6729" y="656"/>
                  <a:pt x="6728" y="654"/>
                </a:cubicBezTo>
                <a:lnTo>
                  <a:pt x="6728" y="652"/>
                </a:lnTo>
                <a:cubicBezTo>
                  <a:pt x="6728" y="650"/>
                  <a:pt x="6728" y="649"/>
                  <a:pt x="6730" y="648"/>
                </a:cubicBezTo>
                <a:lnTo>
                  <a:pt x="6730" y="646"/>
                </a:lnTo>
                <a:cubicBezTo>
                  <a:pt x="6731" y="646"/>
                  <a:pt x="6732" y="648"/>
                  <a:pt x="6732" y="651"/>
                </a:cubicBezTo>
                <a:cubicBezTo>
                  <a:pt x="6732" y="655"/>
                  <a:pt x="6731" y="657"/>
                  <a:pt x="6730" y="657"/>
                </a:cubicBezTo>
                <a:close/>
                <a:moveTo>
                  <a:pt x="6795" y="301"/>
                </a:moveTo>
                <a:lnTo>
                  <a:pt x="6795" y="301"/>
                </a:lnTo>
                <a:cubicBezTo>
                  <a:pt x="6795" y="300"/>
                  <a:pt x="6796" y="297"/>
                  <a:pt x="6798" y="293"/>
                </a:cubicBezTo>
                <a:cubicBezTo>
                  <a:pt x="6800" y="289"/>
                  <a:pt x="6802" y="286"/>
                  <a:pt x="6802" y="286"/>
                </a:cubicBezTo>
                <a:lnTo>
                  <a:pt x="6802" y="287"/>
                </a:lnTo>
                <a:cubicBezTo>
                  <a:pt x="6802" y="288"/>
                  <a:pt x="6801" y="291"/>
                  <a:pt x="6799" y="295"/>
                </a:cubicBezTo>
                <a:cubicBezTo>
                  <a:pt x="6797" y="299"/>
                  <a:pt x="6796" y="301"/>
                  <a:pt x="6795" y="301"/>
                </a:cubicBezTo>
                <a:close/>
                <a:moveTo>
                  <a:pt x="6793" y="322"/>
                </a:moveTo>
                <a:cubicBezTo>
                  <a:pt x="6792" y="322"/>
                  <a:pt x="6791" y="322"/>
                  <a:pt x="6791" y="321"/>
                </a:cubicBezTo>
                <a:lnTo>
                  <a:pt x="6794" y="320"/>
                </a:lnTo>
                <a:cubicBezTo>
                  <a:pt x="6795" y="320"/>
                  <a:pt x="6795" y="320"/>
                  <a:pt x="6796" y="320"/>
                </a:cubicBezTo>
                <a:cubicBezTo>
                  <a:pt x="6796" y="321"/>
                  <a:pt x="6796" y="321"/>
                  <a:pt x="6796" y="321"/>
                </a:cubicBezTo>
                <a:cubicBezTo>
                  <a:pt x="6796" y="322"/>
                  <a:pt x="6795" y="322"/>
                  <a:pt x="6793" y="322"/>
                </a:cubicBezTo>
                <a:close/>
                <a:moveTo>
                  <a:pt x="6784" y="327"/>
                </a:moveTo>
                <a:cubicBezTo>
                  <a:pt x="6784" y="327"/>
                  <a:pt x="6784" y="326"/>
                  <a:pt x="6784" y="325"/>
                </a:cubicBezTo>
                <a:cubicBezTo>
                  <a:pt x="6784" y="324"/>
                  <a:pt x="6784" y="323"/>
                  <a:pt x="6784" y="322"/>
                </a:cubicBezTo>
                <a:cubicBezTo>
                  <a:pt x="6785" y="321"/>
                  <a:pt x="6785" y="321"/>
                  <a:pt x="6787" y="321"/>
                </a:cubicBezTo>
                <a:lnTo>
                  <a:pt x="6787" y="322"/>
                </a:lnTo>
                <a:lnTo>
                  <a:pt x="6787" y="323"/>
                </a:lnTo>
                <a:cubicBezTo>
                  <a:pt x="6785" y="326"/>
                  <a:pt x="6785" y="327"/>
                  <a:pt x="6784" y="327"/>
                </a:cubicBezTo>
                <a:close/>
                <a:moveTo>
                  <a:pt x="7038" y="561"/>
                </a:moveTo>
                <a:cubicBezTo>
                  <a:pt x="7037" y="561"/>
                  <a:pt x="7037" y="561"/>
                  <a:pt x="7036" y="560"/>
                </a:cubicBezTo>
                <a:cubicBezTo>
                  <a:pt x="7035" y="559"/>
                  <a:pt x="7035" y="559"/>
                  <a:pt x="7035" y="558"/>
                </a:cubicBezTo>
                <a:lnTo>
                  <a:pt x="7034" y="558"/>
                </a:lnTo>
                <a:cubicBezTo>
                  <a:pt x="7034" y="557"/>
                  <a:pt x="7034" y="557"/>
                  <a:pt x="7035" y="557"/>
                </a:cubicBezTo>
                <a:lnTo>
                  <a:pt x="7037" y="558"/>
                </a:lnTo>
                <a:cubicBezTo>
                  <a:pt x="7039" y="558"/>
                  <a:pt x="7040" y="559"/>
                  <a:pt x="7040" y="560"/>
                </a:cubicBezTo>
                <a:cubicBezTo>
                  <a:pt x="7040" y="561"/>
                  <a:pt x="7039" y="561"/>
                  <a:pt x="7038" y="561"/>
                </a:cubicBezTo>
                <a:close/>
                <a:moveTo>
                  <a:pt x="7033" y="570"/>
                </a:moveTo>
                <a:cubicBezTo>
                  <a:pt x="7033" y="570"/>
                  <a:pt x="7033" y="569"/>
                  <a:pt x="7033" y="567"/>
                </a:cubicBezTo>
                <a:cubicBezTo>
                  <a:pt x="7033" y="564"/>
                  <a:pt x="7033" y="563"/>
                  <a:pt x="7031" y="563"/>
                </a:cubicBezTo>
                <a:cubicBezTo>
                  <a:pt x="7030" y="563"/>
                  <a:pt x="7029" y="563"/>
                  <a:pt x="7029" y="562"/>
                </a:cubicBezTo>
                <a:lnTo>
                  <a:pt x="7029" y="562"/>
                </a:lnTo>
                <a:cubicBezTo>
                  <a:pt x="7030" y="561"/>
                  <a:pt x="7030" y="561"/>
                  <a:pt x="7031" y="561"/>
                </a:cubicBezTo>
                <a:cubicBezTo>
                  <a:pt x="7033" y="561"/>
                  <a:pt x="7034" y="561"/>
                  <a:pt x="7035" y="563"/>
                </a:cubicBezTo>
                <a:cubicBezTo>
                  <a:pt x="7035" y="564"/>
                  <a:pt x="7036" y="565"/>
                  <a:pt x="7036" y="566"/>
                </a:cubicBezTo>
                <a:cubicBezTo>
                  <a:pt x="7036" y="566"/>
                  <a:pt x="7036" y="567"/>
                  <a:pt x="7035" y="568"/>
                </a:cubicBezTo>
                <a:cubicBezTo>
                  <a:pt x="7034" y="569"/>
                  <a:pt x="7034" y="570"/>
                  <a:pt x="7033" y="570"/>
                </a:cubicBezTo>
                <a:close/>
                <a:moveTo>
                  <a:pt x="6871" y="763"/>
                </a:moveTo>
                <a:cubicBezTo>
                  <a:pt x="6871" y="763"/>
                  <a:pt x="6870" y="763"/>
                  <a:pt x="6870" y="762"/>
                </a:cubicBezTo>
                <a:cubicBezTo>
                  <a:pt x="6870" y="761"/>
                  <a:pt x="6872" y="759"/>
                  <a:pt x="6877" y="756"/>
                </a:cubicBezTo>
                <a:lnTo>
                  <a:pt x="6882" y="752"/>
                </a:lnTo>
                <a:lnTo>
                  <a:pt x="6882" y="754"/>
                </a:lnTo>
                <a:cubicBezTo>
                  <a:pt x="6882" y="755"/>
                  <a:pt x="6882" y="756"/>
                  <a:pt x="6883" y="756"/>
                </a:cubicBezTo>
                <a:cubicBezTo>
                  <a:pt x="6884" y="756"/>
                  <a:pt x="6885" y="756"/>
                  <a:pt x="6885" y="757"/>
                </a:cubicBezTo>
                <a:cubicBezTo>
                  <a:pt x="6885" y="757"/>
                  <a:pt x="6884" y="758"/>
                  <a:pt x="6884" y="758"/>
                </a:cubicBezTo>
                <a:cubicBezTo>
                  <a:pt x="6884" y="759"/>
                  <a:pt x="6883" y="759"/>
                  <a:pt x="6883" y="759"/>
                </a:cubicBezTo>
                <a:cubicBezTo>
                  <a:pt x="6883" y="759"/>
                  <a:pt x="6882" y="759"/>
                  <a:pt x="6882" y="758"/>
                </a:cubicBezTo>
                <a:cubicBezTo>
                  <a:pt x="6881" y="757"/>
                  <a:pt x="6881" y="757"/>
                  <a:pt x="6880" y="757"/>
                </a:cubicBezTo>
                <a:cubicBezTo>
                  <a:pt x="6879" y="757"/>
                  <a:pt x="6878" y="757"/>
                  <a:pt x="6877" y="759"/>
                </a:cubicBezTo>
                <a:cubicBezTo>
                  <a:pt x="6876" y="760"/>
                  <a:pt x="6875" y="761"/>
                  <a:pt x="6874" y="762"/>
                </a:cubicBezTo>
                <a:cubicBezTo>
                  <a:pt x="6873" y="762"/>
                  <a:pt x="6872" y="763"/>
                  <a:pt x="6871" y="763"/>
                </a:cubicBezTo>
                <a:close/>
                <a:moveTo>
                  <a:pt x="6729" y="643"/>
                </a:moveTo>
                <a:lnTo>
                  <a:pt x="6727" y="643"/>
                </a:lnTo>
                <a:cubicBezTo>
                  <a:pt x="6727" y="642"/>
                  <a:pt x="6727" y="642"/>
                  <a:pt x="6728" y="642"/>
                </a:cubicBezTo>
                <a:cubicBezTo>
                  <a:pt x="6729" y="641"/>
                  <a:pt x="6729" y="640"/>
                  <a:pt x="6730" y="638"/>
                </a:cubicBezTo>
                <a:cubicBezTo>
                  <a:pt x="6730" y="636"/>
                  <a:pt x="6730" y="634"/>
                  <a:pt x="6731" y="632"/>
                </a:cubicBezTo>
                <a:cubicBezTo>
                  <a:pt x="6731" y="630"/>
                  <a:pt x="6732" y="626"/>
                  <a:pt x="6732" y="620"/>
                </a:cubicBezTo>
                <a:cubicBezTo>
                  <a:pt x="6733" y="614"/>
                  <a:pt x="6734" y="607"/>
                  <a:pt x="6736" y="600"/>
                </a:cubicBezTo>
                <a:cubicBezTo>
                  <a:pt x="6737" y="593"/>
                  <a:pt x="6738" y="587"/>
                  <a:pt x="6740" y="582"/>
                </a:cubicBezTo>
                <a:cubicBezTo>
                  <a:pt x="6741" y="577"/>
                  <a:pt x="6742" y="575"/>
                  <a:pt x="6742" y="574"/>
                </a:cubicBezTo>
                <a:cubicBezTo>
                  <a:pt x="6743" y="573"/>
                  <a:pt x="6743" y="572"/>
                  <a:pt x="6743" y="571"/>
                </a:cubicBezTo>
                <a:cubicBezTo>
                  <a:pt x="6743" y="570"/>
                  <a:pt x="6743" y="568"/>
                  <a:pt x="6742" y="567"/>
                </a:cubicBezTo>
                <a:cubicBezTo>
                  <a:pt x="6741" y="566"/>
                  <a:pt x="6740" y="564"/>
                  <a:pt x="6740" y="564"/>
                </a:cubicBezTo>
                <a:lnTo>
                  <a:pt x="6743" y="565"/>
                </a:lnTo>
                <a:cubicBezTo>
                  <a:pt x="6744" y="565"/>
                  <a:pt x="6744" y="564"/>
                  <a:pt x="6744" y="563"/>
                </a:cubicBezTo>
                <a:lnTo>
                  <a:pt x="6744" y="560"/>
                </a:lnTo>
                <a:cubicBezTo>
                  <a:pt x="6744" y="556"/>
                  <a:pt x="6744" y="554"/>
                  <a:pt x="6745" y="554"/>
                </a:cubicBezTo>
                <a:cubicBezTo>
                  <a:pt x="6746" y="554"/>
                  <a:pt x="6746" y="553"/>
                  <a:pt x="6746" y="552"/>
                </a:cubicBezTo>
                <a:lnTo>
                  <a:pt x="6746" y="547"/>
                </a:lnTo>
                <a:cubicBezTo>
                  <a:pt x="6746" y="545"/>
                  <a:pt x="6746" y="544"/>
                  <a:pt x="6748" y="543"/>
                </a:cubicBezTo>
                <a:cubicBezTo>
                  <a:pt x="6748" y="541"/>
                  <a:pt x="6747" y="540"/>
                  <a:pt x="6747" y="539"/>
                </a:cubicBezTo>
                <a:cubicBezTo>
                  <a:pt x="6747" y="536"/>
                  <a:pt x="6748" y="535"/>
                  <a:pt x="6749" y="535"/>
                </a:cubicBezTo>
                <a:cubicBezTo>
                  <a:pt x="6750" y="535"/>
                  <a:pt x="6750" y="535"/>
                  <a:pt x="6750" y="534"/>
                </a:cubicBezTo>
                <a:lnTo>
                  <a:pt x="6750" y="531"/>
                </a:lnTo>
                <a:cubicBezTo>
                  <a:pt x="6750" y="528"/>
                  <a:pt x="6750" y="527"/>
                  <a:pt x="6751" y="527"/>
                </a:cubicBezTo>
                <a:cubicBezTo>
                  <a:pt x="6752" y="526"/>
                  <a:pt x="6752" y="525"/>
                  <a:pt x="6752" y="523"/>
                </a:cubicBezTo>
                <a:lnTo>
                  <a:pt x="6752" y="521"/>
                </a:lnTo>
                <a:cubicBezTo>
                  <a:pt x="6752" y="520"/>
                  <a:pt x="6752" y="519"/>
                  <a:pt x="6753" y="518"/>
                </a:cubicBezTo>
                <a:cubicBezTo>
                  <a:pt x="6754" y="517"/>
                  <a:pt x="6754" y="516"/>
                  <a:pt x="6754" y="514"/>
                </a:cubicBezTo>
                <a:lnTo>
                  <a:pt x="6754" y="512"/>
                </a:lnTo>
                <a:cubicBezTo>
                  <a:pt x="6754" y="511"/>
                  <a:pt x="6754" y="510"/>
                  <a:pt x="6755" y="509"/>
                </a:cubicBezTo>
                <a:cubicBezTo>
                  <a:pt x="6756" y="508"/>
                  <a:pt x="6757" y="507"/>
                  <a:pt x="6757" y="506"/>
                </a:cubicBezTo>
                <a:cubicBezTo>
                  <a:pt x="6757" y="504"/>
                  <a:pt x="6759" y="499"/>
                  <a:pt x="6762" y="490"/>
                </a:cubicBezTo>
                <a:cubicBezTo>
                  <a:pt x="6763" y="487"/>
                  <a:pt x="6763" y="485"/>
                  <a:pt x="6763" y="483"/>
                </a:cubicBezTo>
                <a:lnTo>
                  <a:pt x="6762" y="482"/>
                </a:lnTo>
                <a:cubicBezTo>
                  <a:pt x="6762" y="481"/>
                  <a:pt x="6763" y="480"/>
                  <a:pt x="6764" y="479"/>
                </a:cubicBezTo>
                <a:cubicBezTo>
                  <a:pt x="6765" y="478"/>
                  <a:pt x="6765" y="477"/>
                  <a:pt x="6765" y="476"/>
                </a:cubicBezTo>
                <a:cubicBezTo>
                  <a:pt x="6765" y="474"/>
                  <a:pt x="6765" y="473"/>
                  <a:pt x="6766" y="472"/>
                </a:cubicBezTo>
                <a:cubicBezTo>
                  <a:pt x="6767" y="471"/>
                  <a:pt x="6768" y="469"/>
                  <a:pt x="6768" y="466"/>
                </a:cubicBezTo>
                <a:cubicBezTo>
                  <a:pt x="6768" y="464"/>
                  <a:pt x="6769" y="462"/>
                  <a:pt x="6770" y="462"/>
                </a:cubicBezTo>
                <a:lnTo>
                  <a:pt x="6772" y="461"/>
                </a:lnTo>
                <a:lnTo>
                  <a:pt x="6772" y="460"/>
                </a:lnTo>
                <a:cubicBezTo>
                  <a:pt x="6772" y="459"/>
                  <a:pt x="6772" y="458"/>
                  <a:pt x="6773" y="458"/>
                </a:cubicBezTo>
                <a:cubicBezTo>
                  <a:pt x="6773" y="456"/>
                  <a:pt x="6774" y="452"/>
                  <a:pt x="6775" y="446"/>
                </a:cubicBezTo>
                <a:cubicBezTo>
                  <a:pt x="6779" y="436"/>
                  <a:pt x="6781" y="430"/>
                  <a:pt x="6781" y="429"/>
                </a:cubicBezTo>
                <a:cubicBezTo>
                  <a:pt x="6781" y="428"/>
                  <a:pt x="6782" y="425"/>
                  <a:pt x="6785" y="421"/>
                </a:cubicBezTo>
                <a:cubicBezTo>
                  <a:pt x="6786" y="418"/>
                  <a:pt x="6787" y="416"/>
                  <a:pt x="6787" y="415"/>
                </a:cubicBezTo>
                <a:cubicBezTo>
                  <a:pt x="6787" y="414"/>
                  <a:pt x="6787" y="414"/>
                  <a:pt x="6786" y="414"/>
                </a:cubicBezTo>
                <a:cubicBezTo>
                  <a:pt x="6785" y="414"/>
                  <a:pt x="6784" y="415"/>
                  <a:pt x="6782" y="417"/>
                </a:cubicBezTo>
                <a:cubicBezTo>
                  <a:pt x="6781" y="419"/>
                  <a:pt x="6780" y="422"/>
                  <a:pt x="6779" y="425"/>
                </a:cubicBezTo>
                <a:cubicBezTo>
                  <a:pt x="6777" y="431"/>
                  <a:pt x="6775" y="435"/>
                  <a:pt x="6773" y="438"/>
                </a:cubicBezTo>
                <a:cubicBezTo>
                  <a:pt x="6770" y="440"/>
                  <a:pt x="6769" y="443"/>
                  <a:pt x="6769" y="446"/>
                </a:cubicBezTo>
                <a:lnTo>
                  <a:pt x="6770" y="449"/>
                </a:lnTo>
                <a:cubicBezTo>
                  <a:pt x="6770" y="450"/>
                  <a:pt x="6770" y="450"/>
                  <a:pt x="6769" y="450"/>
                </a:cubicBezTo>
                <a:lnTo>
                  <a:pt x="6769" y="450"/>
                </a:lnTo>
                <a:cubicBezTo>
                  <a:pt x="6768" y="450"/>
                  <a:pt x="6766" y="454"/>
                  <a:pt x="6764" y="462"/>
                </a:cubicBezTo>
                <a:cubicBezTo>
                  <a:pt x="6755" y="488"/>
                  <a:pt x="6749" y="507"/>
                  <a:pt x="6746" y="519"/>
                </a:cubicBezTo>
                <a:cubicBezTo>
                  <a:pt x="6746" y="522"/>
                  <a:pt x="6745" y="524"/>
                  <a:pt x="6745" y="526"/>
                </a:cubicBezTo>
                <a:cubicBezTo>
                  <a:pt x="6744" y="527"/>
                  <a:pt x="6743" y="528"/>
                  <a:pt x="6743" y="528"/>
                </a:cubicBezTo>
                <a:lnTo>
                  <a:pt x="6743" y="527"/>
                </a:lnTo>
                <a:cubicBezTo>
                  <a:pt x="6743" y="526"/>
                  <a:pt x="6744" y="520"/>
                  <a:pt x="6747" y="509"/>
                </a:cubicBezTo>
                <a:cubicBezTo>
                  <a:pt x="6752" y="486"/>
                  <a:pt x="6755" y="473"/>
                  <a:pt x="6755" y="471"/>
                </a:cubicBezTo>
                <a:cubicBezTo>
                  <a:pt x="6755" y="470"/>
                  <a:pt x="6755" y="470"/>
                  <a:pt x="6754" y="470"/>
                </a:cubicBezTo>
                <a:cubicBezTo>
                  <a:pt x="6753" y="470"/>
                  <a:pt x="6748" y="483"/>
                  <a:pt x="6741" y="511"/>
                </a:cubicBezTo>
                <a:cubicBezTo>
                  <a:pt x="6737" y="525"/>
                  <a:pt x="6735" y="532"/>
                  <a:pt x="6734" y="532"/>
                </a:cubicBezTo>
                <a:lnTo>
                  <a:pt x="6734" y="531"/>
                </a:lnTo>
                <a:cubicBezTo>
                  <a:pt x="6734" y="527"/>
                  <a:pt x="6738" y="511"/>
                  <a:pt x="6745" y="483"/>
                </a:cubicBezTo>
                <a:lnTo>
                  <a:pt x="6750" y="466"/>
                </a:lnTo>
                <a:cubicBezTo>
                  <a:pt x="6750" y="465"/>
                  <a:pt x="6750" y="465"/>
                  <a:pt x="6750" y="465"/>
                </a:cubicBezTo>
                <a:lnTo>
                  <a:pt x="6745" y="471"/>
                </a:lnTo>
                <a:lnTo>
                  <a:pt x="6745" y="471"/>
                </a:lnTo>
                <a:lnTo>
                  <a:pt x="6749" y="464"/>
                </a:lnTo>
                <a:cubicBezTo>
                  <a:pt x="6752" y="457"/>
                  <a:pt x="6755" y="450"/>
                  <a:pt x="6758" y="442"/>
                </a:cubicBezTo>
                <a:cubicBezTo>
                  <a:pt x="6761" y="435"/>
                  <a:pt x="6762" y="429"/>
                  <a:pt x="6762" y="425"/>
                </a:cubicBezTo>
                <a:lnTo>
                  <a:pt x="6762" y="425"/>
                </a:lnTo>
                <a:cubicBezTo>
                  <a:pt x="6762" y="423"/>
                  <a:pt x="6763" y="422"/>
                  <a:pt x="6764" y="422"/>
                </a:cubicBezTo>
                <a:lnTo>
                  <a:pt x="6766" y="423"/>
                </a:lnTo>
                <a:lnTo>
                  <a:pt x="6765" y="422"/>
                </a:lnTo>
                <a:cubicBezTo>
                  <a:pt x="6765" y="422"/>
                  <a:pt x="6765" y="421"/>
                  <a:pt x="6765" y="420"/>
                </a:cubicBezTo>
                <a:cubicBezTo>
                  <a:pt x="6765" y="419"/>
                  <a:pt x="6765" y="418"/>
                  <a:pt x="6766" y="416"/>
                </a:cubicBezTo>
                <a:cubicBezTo>
                  <a:pt x="6767" y="415"/>
                  <a:pt x="6767" y="414"/>
                  <a:pt x="6767" y="413"/>
                </a:cubicBezTo>
                <a:cubicBezTo>
                  <a:pt x="6767" y="412"/>
                  <a:pt x="6767" y="411"/>
                  <a:pt x="6767" y="411"/>
                </a:cubicBezTo>
                <a:cubicBezTo>
                  <a:pt x="6766" y="411"/>
                  <a:pt x="6765" y="410"/>
                  <a:pt x="6765" y="407"/>
                </a:cubicBezTo>
                <a:lnTo>
                  <a:pt x="6766" y="404"/>
                </a:lnTo>
                <a:cubicBezTo>
                  <a:pt x="6766" y="404"/>
                  <a:pt x="6765" y="403"/>
                  <a:pt x="6764" y="403"/>
                </a:cubicBezTo>
                <a:lnTo>
                  <a:pt x="6755" y="404"/>
                </a:lnTo>
                <a:cubicBezTo>
                  <a:pt x="6755" y="404"/>
                  <a:pt x="6757" y="403"/>
                  <a:pt x="6759" y="400"/>
                </a:cubicBezTo>
                <a:lnTo>
                  <a:pt x="6762" y="397"/>
                </a:lnTo>
                <a:cubicBezTo>
                  <a:pt x="6762" y="397"/>
                  <a:pt x="6762" y="397"/>
                  <a:pt x="6762" y="397"/>
                </a:cubicBezTo>
                <a:lnTo>
                  <a:pt x="6762" y="397"/>
                </a:lnTo>
                <a:cubicBezTo>
                  <a:pt x="6762" y="396"/>
                  <a:pt x="6762" y="395"/>
                  <a:pt x="6762" y="394"/>
                </a:cubicBezTo>
                <a:cubicBezTo>
                  <a:pt x="6763" y="394"/>
                  <a:pt x="6764" y="392"/>
                  <a:pt x="6764" y="391"/>
                </a:cubicBezTo>
                <a:cubicBezTo>
                  <a:pt x="6766" y="389"/>
                  <a:pt x="6767" y="388"/>
                  <a:pt x="6767" y="387"/>
                </a:cubicBezTo>
                <a:cubicBezTo>
                  <a:pt x="6767" y="387"/>
                  <a:pt x="6767" y="386"/>
                  <a:pt x="6767" y="386"/>
                </a:cubicBezTo>
                <a:cubicBezTo>
                  <a:pt x="6767" y="386"/>
                  <a:pt x="6766" y="386"/>
                  <a:pt x="6766" y="386"/>
                </a:cubicBezTo>
                <a:lnTo>
                  <a:pt x="6767" y="385"/>
                </a:lnTo>
                <a:cubicBezTo>
                  <a:pt x="6767" y="384"/>
                  <a:pt x="6768" y="384"/>
                  <a:pt x="6769" y="383"/>
                </a:cubicBezTo>
                <a:cubicBezTo>
                  <a:pt x="6769" y="382"/>
                  <a:pt x="6769" y="381"/>
                  <a:pt x="6769" y="380"/>
                </a:cubicBezTo>
                <a:cubicBezTo>
                  <a:pt x="6769" y="380"/>
                  <a:pt x="6769" y="379"/>
                  <a:pt x="6769" y="379"/>
                </a:cubicBezTo>
                <a:lnTo>
                  <a:pt x="6769" y="378"/>
                </a:lnTo>
                <a:cubicBezTo>
                  <a:pt x="6769" y="377"/>
                  <a:pt x="6770" y="377"/>
                  <a:pt x="6771" y="377"/>
                </a:cubicBezTo>
                <a:cubicBezTo>
                  <a:pt x="6772" y="377"/>
                  <a:pt x="6772" y="377"/>
                  <a:pt x="6772" y="376"/>
                </a:cubicBezTo>
                <a:lnTo>
                  <a:pt x="6772" y="376"/>
                </a:lnTo>
                <a:cubicBezTo>
                  <a:pt x="6772" y="374"/>
                  <a:pt x="6772" y="372"/>
                  <a:pt x="6773" y="371"/>
                </a:cubicBezTo>
                <a:cubicBezTo>
                  <a:pt x="6773" y="370"/>
                  <a:pt x="6774" y="369"/>
                  <a:pt x="6774" y="369"/>
                </a:cubicBezTo>
                <a:cubicBezTo>
                  <a:pt x="6775" y="364"/>
                  <a:pt x="6776" y="360"/>
                  <a:pt x="6777" y="358"/>
                </a:cubicBezTo>
                <a:cubicBezTo>
                  <a:pt x="6778" y="356"/>
                  <a:pt x="6779" y="355"/>
                  <a:pt x="6779" y="355"/>
                </a:cubicBezTo>
                <a:lnTo>
                  <a:pt x="6780" y="356"/>
                </a:lnTo>
                <a:cubicBezTo>
                  <a:pt x="6780" y="356"/>
                  <a:pt x="6780" y="355"/>
                  <a:pt x="6780" y="353"/>
                </a:cubicBezTo>
                <a:cubicBezTo>
                  <a:pt x="6780" y="353"/>
                  <a:pt x="6780" y="353"/>
                  <a:pt x="6780" y="352"/>
                </a:cubicBezTo>
                <a:cubicBezTo>
                  <a:pt x="6780" y="350"/>
                  <a:pt x="6780" y="349"/>
                  <a:pt x="6782" y="347"/>
                </a:cubicBezTo>
                <a:cubicBezTo>
                  <a:pt x="6783" y="345"/>
                  <a:pt x="6784" y="343"/>
                  <a:pt x="6784" y="342"/>
                </a:cubicBezTo>
                <a:cubicBezTo>
                  <a:pt x="6784" y="342"/>
                  <a:pt x="6784" y="342"/>
                  <a:pt x="6784" y="341"/>
                </a:cubicBezTo>
                <a:cubicBezTo>
                  <a:pt x="6784" y="341"/>
                  <a:pt x="6784" y="341"/>
                  <a:pt x="6786" y="341"/>
                </a:cubicBezTo>
                <a:cubicBezTo>
                  <a:pt x="6788" y="341"/>
                  <a:pt x="6789" y="343"/>
                  <a:pt x="6789" y="346"/>
                </a:cubicBezTo>
                <a:cubicBezTo>
                  <a:pt x="6789" y="348"/>
                  <a:pt x="6789" y="351"/>
                  <a:pt x="6788" y="355"/>
                </a:cubicBezTo>
                <a:cubicBezTo>
                  <a:pt x="6788" y="356"/>
                  <a:pt x="6788" y="356"/>
                  <a:pt x="6787" y="356"/>
                </a:cubicBezTo>
                <a:cubicBezTo>
                  <a:pt x="6786" y="356"/>
                  <a:pt x="6786" y="356"/>
                  <a:pt x="6785" y="355"/>
                </a:cubicBezTo>
                <a:cubicBezTo>
                  <a:pt x="6784" y="355"/>
                  <a:pt x="6784" y="355"/>
                  <a:pt x="6784" y="355"/>
                </a:cubicBezTo>
                <a:lnTo>
                  <a:pt x="6785" y="357"/>
                </a:lnTo>
                <a:cubicBezTo>
                  <a:pt x="6785" y="358"/>
                  <a:pt x="6784" y="359"/>
                  <a:pt x="6782" y="360"/>
                </a:cubicBezTo>
                <a:cubicBezTo>
                  <a:pt x="6780" y="360"/>
                  <a:pt x="6780" y="361"/>
                  <a:pt x="6780" y="362"/>
                </a:cubicBezTo>
                <a:cubicBezTo>
                  <a:pt x="6780" y="363"/>
                  <a:pt x="6780" y="364"/>
                  <a:pt x="6781" y="365"/>
                </a:cubicBezTo>
                <a:cubicBezTo>
                  <a:pt x="6782" y="366"/>
                  <a:pt x="6783" y="367"/>
                  <a:pt x="6783" y="368"/>
                </a:cubicBezTo>
                <a:cubicBezTo>
                  <a:pt x="6783" y="368"/>
                  <a:pt x="6782" y="369"/>
                  <a:pt x="6780" y="369"/>
                </a:cubicBezTo>
                <a:cubicBezTo>
                  <a:pt x="6779" y="370"/>
                  <a:pt x="6778" y="371"/>
                  <a:pt x="6778" y="372"/>
                </a:cubicBezTo>
                <a:lnTo>
                  <a:pt x="6778" y="374"/>
                </a:lnTo>
                <a:cubicBezTo>
                  <a:pt x="6778" y="375"/>
                  <a:pt x="6778" y="375"/>
                  <a:pt x="6777" y="375"/>
                </a:cubicBezTo>
                <a:cubicBezTo>
                  <a:pt x="6776" y="375"/>
                  <a:pt x="6775" y="376"/>
                  <a:pt x="6775" y="378"/>
                </a:cubicBezTo>
                <a:lnTo>
                  <a:pt x="6776" y="380"/>
                </a:lnTo>
                <a:cubicBezTo>
                  <a:pt x="6776" y="381"/>
                  <a:pt x="6776" y="382"/>
                  <a:pt x="6775" y="382"/>
                </a:cubicBezTo>
                <a:cubicBezTo>
                  <a:pt x="6774" y="382"/>
                  <a:pt x="6773" y="382"/>
                  <a:pt x="6772" y="384"/>
                </a:cubicBezTo>
                <a:cubicBezTo>
                  <a:pt x="6772" y="385"/>
                  <a:pt x="6771" y="387"/>
                  <a:pt x="6771" y="389"/>
                </a:cubicBezTo>
                <a:cubicBezTo>
                  <a:pt x="6771" y="391"/>
                  <a:pt x="6772" y="392"/>
                  <a:pt x="6773" y="392"/>
                </a:cubicBezTo>
                <a:cubicBezTo>
                  <a:pt x="6774" y="392"/>
                  <a:pt x="6776" y="390"/>
                  <a:pt x="6778" y="386"/>
                </a:cubicBezTo>
                <a:cubicBezTo>
                  <a:pt x="6782" y="377"/>
                  <a:pt x="6784" y="371"/>
                  <a:pt x="6784" y="368"/>
                </a:cubicBezTo>
                <a:cubicBezTo>
                  <a:pt x="6784" y="366"/>
                  <a:pt x="6784" y="365"/>
                  <a:pt x="6784" y="365"/>
                </a:cubicBezTo>
                <a:cubicBezTo>
                  <a:pt x="6783" y="364"/>
                  <a:pt x="6783" y="364"/>
                  <a:pt x="6783" y="364"/>
                </a:cubicBezTo>
                <a:cubicBezTo>
                  <a:pt x="6783" y="363"/>
                  <a:pt x="6783" y="362"/>
                  <a:pt x="6784" y="361"/>
                </a:cubicBezTo>
                <a:cubicBezTo>
                  <a:pt x="6785" y="360"/>
                  <a:pt x="6786" y="359"/>
                  <a:pt x="6787" y="358"/>
                </a:cubicBezTo>
                <a:cubicBezTo>
                  <a:pt x="6789" y="358"/>
                  <a:pt x="6790" y="357"/>
                  <a:pt x="6791" y="357"/>
                </a:cubicBezTo>
                <a:cubicBezTo>
                  <a:pt x="6792" y="357"/>
                  <a:pt x="6792" y="357"/>
                  <a:pt x="6792" y="358"/>
                </a:cubicBezTo>
                <a:cubicBezTo>
                  <a:pt x="6793" y="358"/>
                  <a:pt x="6793" y="358"/>
                  <a:pt x="6794" y="359"/>
                </a:cubicBezTo>
                <a:lnTo>
                  <a:pt x="6793" y="357"/>
                </a:lnTo>
                <a:cubicBezTo>
                  <a:pt x="6792" y="355"/>
                  <a:pt x="6791" y="354"/>
                  <a:pt x="6791" y="353"/>
                </a:cubicBezTo>
                <a:cubicBezTo>
                  <a:pt x="6791" y="352"/>
                  <a:pt x="6792" y="350"/>
                  <a:pt x="6794" y="348"/>
                </a:cubicBezTo>
                <a:cubicBezTo>
                  <a:pt x="6795" y="346"/>
                  <a:pt x="6795" y="345"/>
                  <a:pt x="6795" y="344"/>
                </a:cubicBezTo>
                <a:cubicBezTo>
                  <a:pt x="6795" y="343"/>
                  <a:pt x="6795" y="343"/>
                  <a:pt x="6795" y="343"/>
                </a:cubicBezTo>
                <a:cubicBezTo>
                  <a:pt x="6795" y="343"/>
                  <a:pt x="6794" y="343"/>
                  <a:pt x="6793" y="342"/>
                </a:cubicBezTo>
                <a:cubicBezTo>
                  <a:pt x="6791" y="341"/>
                  <a:pt x="6790" y="340"/>
                  <a:pt x="6789" y="339"/>
                </a:cubicBezTo>
                <a:cubicBezTo>
                  <a:pt x="6787" y="338"/>
                  <a:pt x="6787" y="336"/>
                  <a:pt x="6787" y="334"/>
                </a:cubicBezTo>
                <a:cubicBezTo>
                  <a:pt x="6787" y="332"/>
                  <a:pt x="6788" y="330"/>
                  <a:pt x="6790" y="327"/>
                </a:cubicBezTo>
                <a:cubicBezTo>
                  <a:pt x="6792" y="325"/>
                  <a:pt x="6794" y="324"/>
                  <a:pt x="6797" y="324"/>
                </a:cubicBezTo>
                <a:cubicBezTo>
                  <a:pt x="6799" y="324"/>
                  <a:pt x="6800" y="324"/>
                  <a:pt x="6800" y="323"/>
                </a:cubicBezTo>
                <a:cubicBezTo>
                  <a:pt x="6800" y="322"/>
                  <a:pt x="6800" y="322"/>
                  <a:pt x="6799" y="321"/>
                </a:cubicBezTo>
                <a:cubicBezTo>
                  <a:pt x="6799" y="321"/>
                  <a:pt x="6799" y="321"/>
                  <a:pt x="6799" y="320"/>
                </a:cubicBezTo>
                <a:cubicBezTo>
                  <a:pt x="6799" y="319"/>
                  <a:pt x="6800" y="319"/>
                  <a:pt x="6803" y="319"/>
                </a:cubicBezTo>
                <a:lnTo>
                  <a:pt x="6807" y="320"/>
                </a:lnTo>
                <a:cubicBezTo>
                  <a:pt x="6807" y="320"/>
                  <a:pt x="6806" y="319"/>
                  <a:pt x="6804" y="317"/>
                </a:cubicBezTo>
                <a:cubicBezTo>
                  <a:pt x="6802" y="316"/>
                  <a:pt x="6801" y="315"/>
                  <a:pt x="6800" y="315"/>
                </a:cubicBezTo>
                <a:cubicBezTo>
                  <a:pt x="6800" y="315"/>
                  <a:pt x="6799" y="315"/>
                  <a:pt x="6799" y="316"/>
                </a:cubicBezTo>
                <a:cubicBezTo>
                  <a:pt x="6798" y="317"/>
                  <a:pt x="6797" y="318"/>
                  <a:pt x="6796" y="318"/>
                </a:cubicBezTo>
                <a:cubicBezTo>
                  <a:pt x="6796" y="318"/>
                  <a:pt x="6795" y="317"/>
                  <a:pt x="6795" y="317"/>
                </a:cubicBezTo>
                <a:cubicBezTo>
                  <a:pt x="6795" y="316"/>
                  <a:pt x="6797" y="312"/>
                  <a:pt x="6800" y="306"/>
                </a:cubicBezTo>
                <a:cubicBezTo>
                  <a:pt x="6804" y="299"/>
                  <a:pt x="6806" y="295"/>
                  <a:pt x="6807" y="295"/>
                </a:cubicBezTo>
                <a:cubicBezTo>
                  <a:pt x="6807" y="295"/>
                  <a:pt x="6807" y="295"/>
                  <a:pt x="6807" y="295"/>
                </a:cubicBezTo>
                <a:cubicBezTo>
                  <a:pt x="6807" y="296"/>
                  <a:pt x="6807" y="296"/>
                  <a:pt x="6806" y="297"/>
                </a:cubicBezTo>
                <a:cubicBezTo>
                  <a:pt x="6806" y="299"/>
                  <a:pt x="6807" y="301"/>
                  <a:pt x="6808" y="303"/>
                </a:cubicBezTo>
                <a:cubicBezTo>
                  <a:pt x="6809" y="305"/>
                  <a:pt x="6809" y="306"/>
                  <a:pt x="6809" y="308"/>
                </a:cubicBezTo>
                <a:cubicBezTo>
                  <a:pt x="6809" y="309"/>
                  <a:pt x="6809" y="311"/>
                  <a:pt x="6807" y="312"/>
                </a:cubicBezTo>
                <a:lnTo>
                  <a:pt x="6806" y="315"/>
                </a:lnTo>
                <a:cubicBezTo>
                  <a:pt x="6808" y="315"/>
                  <a:pt x="6812" y="308"/>
                  <a:pt x="6817" y="295"/>
                </a:cubicBezTo>
                <a:cubicBezTo>
                  <a:pt x="6819" y="293"/>
                  <a:pt x="6819" y="292"/>
                  <a:pt x="6819" y="290"/>
                </a:cubicBezTo>
                <a:cubicBezTo>
                  <a:pt x="6819" y="289"/>
                  <a:pt x="6819" y="289"/>
                  <a:pt x="6818" y="289"/>
                </a:cubicBezTo>
                <a:cubicBezTo>
                  <a:pt x="6816" y="289"/>
                  <a:pt x="6814" y="289"/>
                  <a:pt x="6812" y="290"/>
                </a:cubicBezTo>
                <a:lnTo>
                  <a:pt x="6812" y="290"/>
                </a:lnTo>
                <a:cubicBezTo>
                  <a:pt x="6812" y="291"/>
                  <a:pt x="6812" y="291"/>
                  <a:pt x="6812" y="291"/>
                </a:cubicBezTo>
                <a:cubicBezTo>
                  <a:pt x="6813" y="292"/>
                  <a:pt x="6813" y="293"/>
                  <a:pt x="6814" y="293"/>
                </a:cubicBezTo>
                <a:cubicBezTo>
                  <a:pt x="6814" y="294"/>
                  <a:pt x="6815" y="295"/>
                  <a:pt x="6815" y="296"/>
                </a:cubicBezTo>
                <a:cubicBezTo>
                  <a:pt x="6815" y="297"/>
                  <a:pt x="6814" y="299"/>
                  <a:pt x="6813" y="300"/>
                </a:cubicBezTo>
                <a:cubicBezTo>
                  <a:pt x="6812" y="301"/>
                  <a:pt x="6811" y="302"/>
                  <a:pt x="6810" y="302"/>
                </a:cubicBezTo>
                <a:cubicBezTo>
                  <a:pt x="6810" y="302"/>
                  <a:pt x="6809" y="302"/>
                  <a:pt x="6809" y="300"/>
                </a:cubicBezTo>
                <a:cubicBezTo>
                  <a:pt x="6809" y="298"/>
                  <a:pt x="6809" y="297"/>
                  <a:pt x="6810" y="297"/>
                </a:cubicBezTo>
                <a:cubicBezTo>
                  <a:pt x="6811" y="297"/>
                  <a:pt x="6811" y="297"/>
                  <a:pt x="6811" y="296"/>
                </a:cubicBezTo>
                <a:cubicBezTo>
                  <a:pt x="6811" y="296"/>
                  <a:pt x="6811" y="296"/>
                  <a:pt x="6810" y="295"/>
                </a:cubicBezTo>
                <a:cubicBezTo>
                  <a:pt x="6809" y="294"/>
                  <a:pt x="6808" y="293"/>
                  <a:pt x="6807" y="291"/>
                </a:cubicBezTo>
                <a:cubicBezTo>
                  <a:pt x="6806" y="290"/>
                  <a:pt x="6806" y="289"/>
                  <a:pt x="6806" y="287"/>
                </a:cubicBezTo>
                <a:cubicBezTo>
                  <a:pt x="6806" y="286"/>
                  <a:pt x="6806" y="286"/>
                  <a:pt x="6807" y="286"/>
                </a:cubicBezTo>
                <a:lnTo>
                  <a:pt x="6809" y="286"/>
                </a:lnTo>
                <a:cubicBezTo>
                  <a:pt x="6812" y="286"/>
                  <a:pt x="6813" y="285"/>
                  <a:pt x="6813" y="282"/>
                </a:cubicBezTo>
                <a:cubicBezTo>
                  <a:pt x="6813" y="280"/>
                  <a:pt x="6812" y="279"/>
                  <a:pt x="6809" y="278"/>
                </a:cubicBezTo>
                <a:lnTo>
                  <a:pt x="6807" y="279"/>
                </a:lnTo>
                <a:cubicBezTo>
                  <a:pt x="6806" y="279"/>
                  <a:pt x="6806" y="278"/>
                  <a:pt x="6806" y="277"/>
                </a:cubicBezTo>
                <a:cubicBezTo>
                  <a:pt x="6806" y="277"/>
                  <a:pt x="6806" y="276"/>
                  <a:pt x="6807" y="274"/>
                </a:cubicBezTo>
                <a:cubicBezTo>
                  <a:pt x="6807" y="273"/>
                  <a:pt x="6808" y="273"/>
                  <a:pt x="6808" y="273"/>
                </a:cubicBezTo>
                <a:cubicBezTo>
                  <a:pt x="6808" y="273"/>
                  <a:pt x="6809" y="273"/>
                  <a:pt x="6809" y="274"/>
                </a:cubicBezTo>
                <a:cubicBezTo>
                  <a:pt x="6809" y="275"/>
                  <a:pt x="6810" y="275"/>
                  <a:pt x="6810" y="276"/>
                </a:cubicBezTo>
                <a:cubicBezTo>
                  <a:pt x="6811" y="276"/>
                  <a:pt x="6812" y="277"/>
                  <a:pt x="6812" y="277"/>
                </a:cubicBezTo>
                <a:cubicBezTo>
                  <a:pt x="6813" y="277"/>
                  <a:pt x="6814" y="276"/>
                  <a:pt x="6814" y="275"/>
                </a:cubicBezTo>
                <a:lnTo>
                  <a:pt x="6813" y="272"/>
                </a:lnTo>
                <a:cubicBezTo>
                  <a:pt x="6813" y="269"/>
                  <a:pt x="6814" y="269"/>
                  <a:pt x="6814" y="269"/>
                </a:cubicBezTo>
                <a:cubicBezTo>
                  <a:pt x="6815" y="269"/>
                  <a:pt x="6816" y="269"/>
                  <a:pt x="6817" y="271"/>
                </a:cubicBezTo>
                <a:lnTo>
                  <a:pt x="6818" y="274"/>
                </a:lnTo>
                <a:cubicBezTo>
                  <a:pt x="6818" y="274"/>
                  <a:pt x="6818" y="273"/>
                  <a:pt x="6818" y="273"/>
                </a:cubicBezTo>
                <a:lnTo>
                  <a:pt x="6818" y="269"/>
                </a:lnTo>
                <a:cubicBezTo>
                  <a:pt x="6817" y="266"/>
                  <a:pt x="6816" y="264"/>
                  <a:pt x="6815" y="264"/>
                </a:cubicBezTo>
                <a:cubicBezTo>
                  <a:pt x="6813" y="264"/>
                  <a:pt x="6813" y="264"/>
                  <a:pt x="6812" y="264"/>
                </a:cubicBezTo>
                <a:lnTo>
                  <a:pt x="6814" y="260"/>
                </a:lnTo>
                <a:cubicBezTo>
                  <a:pt x="6815" y="257"/>
                  <a:pt x="6816" y="256"/>
                  <a:pt x="6817" y="256"/>
                </a:cubicBezTo>
                <a:cubicBezTo>
                  <a:pt x="6817" y="256"/>
                  <a:pt x="6818" y="256"/>
                  <a:pt x="6818" y="257"/>
                </a:cubicBezTo>
                <a:cubicBezTo>
                  <a:pt x="6818" y="257"/>
                  <a:pt x="6817" y="258"/>
                  <a:pt x="6817" y="259"/>
                </a:cubicBezTo>
                <a:lnTo>
                  <a:pt x="6816" y="262"/>
                </a:lnTo>
                <a:cubicBezTo>
                  <a:pt x="6817" y="262"/>
                  <a:pt x="6818" y="262"/>
                  <a:pt x="6819" y="260"/>
                </a:cubicBezTo>
                <a:cubicBezTo>
                  <a:pt x="6821" y="258"/>
                  <a:pt x="6822" y="256"/>
                  <a:pt x="6823" y="252"/>
                </a:cubicBezTo>
                <a:cubicBezTo>
                  <a:pt x="6824" y="249"/>
                  <a:pt x="6825" y="248"/>
                  <a:pt x="6826" y="248"/>
                </a:cubicBezTo>
                <a:cubicBezTo>
                  <a:pt x="6826" y="248"/>
                  <a:pt x="6827" y="248"/>
                  <a:pt x="6828" y="249"/>
                </a:cubicBezTo>
                <a:lnTo>
                  <a:pt x="6829" y="251"/>
                </a:lnTo>
                <a:lnTo>
                  <a:pt x="6828" y="248"/>
                </a:lnTo>
                <a:cubicBezTo>
                  <a:pt x="6828" y="245"/>
                  <a:pt x="6831" y="237"/>
                  <a:pt x="6837" y="227"/>
                </a:cubicBezTo>
                <a:cubicBezTo>
                  <a:pt x="6852" y="202"/>
                  <a:pt x="6866" y="182"/>
                  <a:pt x="6879" y="167"/>
                </a:cubicBezTo>
                <a:cubicBezTo>
                  <a:pt x="6881" y="166"/>
                  <a:pt x="6882" y="164"/>
                  <a:pt x="6883" y="164"/>
                </a:cubicBezTo>
                <a:cubicBezTo>
                  <a:pt x="6884" y="163"/>
                  <a:pt x="6886" y="162"/>
                  <a:pt x="6887" y="162"/>
                </a:cubicBezTo>
                <a:cubicBezTo>
                  <a:pt x="6888" y="162"/>
                  <a:pt x="6889" y="163"/>
                  <a:pt x="6891" y="164"/>
                </a:cubicBezTo>
                <a:cubicBezTo>
                  <a:pt x="6893" y="165"/>
                  <a:pt x="6894" y="166"/>
                  <a:pt x="6895" y="167"/>
                </a:cubicBezTo>
                <a:cubicBezTo>
                  <a:pt x="6896" y="169"/>
                  <a:pt x="6897" y="170"/>
                  <a:pt x="6897" y="171"/>
                </a:cubicBezTo>
                <a:cubicBezTo>
                  <a:pt x="6897" y="171"/>
                  <a:pt x="6897" y="172"/>
                  <a:pt x="6898" y="173"/>
                </a:cubicBezTo>
                <a:cubicBezTo>
                  <a:pt x="6898" y="173"/>
                  <a:pt x="6899" y="172"/>
                  <a:pt x="6901" y="171"/>
                </a:cubicBezTo>
                <a:cubicBezTo>
                  <a:pt x="6902" y="170"/>
                  <a:pt x="6903" y="169"/>
                  <a:pt x="6904" y="169"/>
                </a:cubicBezTo>
                <a:cubicBezTo>
                  <a:pt x="6905" y="169"/>
                  <a:pt x="6906" y="170"/>
                  <a:pt x="6907" y="172"/>
                </a:cubicBezTo>
                <a:cubicBezTo>
                  <a:pt x="6907" y="174"/>
                  <a:pt x="6909" y="175"/>
                  <a:pt x="6913" y="175"/>
                </a:cubicBezTo>
                <a:cubicBezTo>
                  <a:pt x="6916" y="175"/>
                  <a:pt x="6918" y="175"/>
                  <a:pt x="6919" y="176"/>
                </a:cubicBezTo>
                <a:cubicBezTo>
                  <a:pt x="6919" y="177"/>
                  <a:pt x="6920" y="178"/>
                  <a:pt x="6920" y="180"/>
                </a:cubicBezTo>
                <a:cubicBezTo>
                  <a:pt x="6920" y="185"/>
                  <a:pt x="6918" y="191"/>
                  <a:pt x="6915" y="196"/>
                </a:cubicBezTo>
                <a:cubicBezTo>
                  <a:pt x="6913" y="198"/>
                  <a:pt x="6913" y="199"/>
                  <a:pt x="6912" y="199"/>
                </a:cubicBezTo>
                <a:lnTo>
                  <a:pt x="6911" y="199"/>
                </a:lnTo>
                <a:cubicBezTo>
                  <a:pt x="6911" y="199"/>
                  <a:pt x="6911" y="200"/>
                  <a:pt x="6911" y="201"/>
                </a:cubicBezTo>
                <a:cubicBezTo>
                  <a:pt x="6911" y="204"/>
                  <a:pt x="6910" y="208"/>
                  <a:pt x="6908" y="212"/>
                </a:cubicBezTo>
                <a:cubicBezTo>
                  <a:pt x="6906" y="215"/>
                  <a:pt x="6904" y="219"/>
                  <a:pt x="6901" y="222"/>
                </a:cubicBezTo>
                <a:cubicBezTo>
                  <a:pt x="6899" y="225"/>
                  <a:pt x="6897" y="227"/>
                  <a:pt x="6895" y="227"/>
                </a:cubicBezTo>
                <a:lnTo>
                  <a:pt x="6892" y="226"/>
                </a:lnTo>
                <a:cubicBezTo>
                  <a:pt x="6892" y="226"/>
                  <a:pt x="6893" y="227"/>
                  <a:pt x="6894" y="228"/>
                </a:cubicBezTo>
                <a:cubicBezTo>
                  <a:pt x="6896" y="228"/>
                  <a:pt x="6896" y="229"/>
                  <a:pt x="6896" y="231"/>
                </a:cubicBezTo>
                <a:cubicBezTo>
                  <a:pt x="6896" y="232"/>
                  <a:pt x="6895" y="234"/>
                  <a:pt x="6894" y="236"/>
                </a:cubicBezTo>
                <a:cubicBezTo>
                  <a:pt x="6892" y="239"/>
                  <a:pt x="6891" y="241"/>
                  <a:pt x="6891" y="244"/>
                </a:cubicBezTo>
                <a:lnTo>
                  <a:pt x="6891" y="245"/>
                </a:lnTo>
                <a:cubicBezTo>
                  <a:pt x="6891" y="245"/>
                  <a:pt x="6889" y="245"/>
                  <a:pt x="6887" y="245"/>
                </a:cubicBezTo>
                <a:lnTo>
                  <a:pt x="6884" y="245"/>
                </a:lnTo>
                <a:cubicBezTo>
                  <a:pt x="6882" y="245"/>
                  <a:pt x="6881" y="246"/>
                  <a:pt x="6881" y="247"/>
                </a:cubicBezTo>
                <a:cubicBezTo>
                  <a:pt x="6881" y="249"/>
                  <a:pt x="6881" y="250"/>
                  <a:pt x="6880" y="250"/>
                </a:cubicBezTo>
                <a:lnTo>
                  <a:pt x="6879" y="250"/>
                </a:lnTo>
                <a:cubicBezTo>
                  <a:pt x="6878" y="250"/>
                  <a:pt x="6878" y="250"/>
                  <a:pt x="6878" y="250"/>
                </a:cubicBezTo>
                <a:cubicBezTo>
                  <a:pt x="6878" y="251"/>
                  <a:pt x="6878" y="252"/>
                  <a:pt x="6879" y="253"/>
                </a:cubicBezTo>
                <a:cubicBezTo>
                  <a:pt x="6879" y="254"/>
                  <a:pt x="6879" y="255"/>
                  <a:pt x="6880" y="255"/>
                </a:cubicBezTo>
                <a:cubicBezTo>
                  <a:pt x="6881" y="255"/>
                  <a:pt x="6881" y="254"/>
                  <a:pt x="6883" y="252"/>
                </a:cubicBezTo>
                <a:lnTo>
                  <a:pt x="6884" y="250"/>
                </a:lnTo>
                <a:lnTo>
                  <a:pt x="6882" y="254"/>
                </a:lnTo>
                <a:cubicBezTo>
                  <a:pt x="6881" y="256"/>
                  <a:pt x="6880" y="259"/>
                  <a:pt x="6880" y="262"/>
                </a:cubicBezTo>
                <a:cubicBezTo>
                  <a:pt x="6880" y="263"/>
                  <a:pt x="6879" y="264"/>
                  <a:pt x="6876" y="264"/>
                </a:cubicBezTo>
                <a:cubicBezTo>
                  <a:pt x="6874" y="264"/>
                  <a:pt x="6873" y="264"/>
                  <a:pt x="6873" y="264"/>
                </a:cubicBezTo>
                <a:cubicBezTo>
                  <a:pt x="6873" y="264"/>
                  <a:pt x="6874" y="263"/>
                  <a:pt x="6875" y="262"/>
                </a:cubicBezTo>
                <a:cubicBezTo>
                  <a:pt x="6876" y="262"/>
                  <a:pt x="6876" y="261"/>
                  <a:pt x="6876" y="261"/>
                </a:cubicBezTo>
                <a:cubicBezTo>
                  <a:pt x="6876" y="261"/>
                  <a:pt x="6876" y="260"/>
                  <a:pt x="6874" y="260"/>
                </a:cubicBezTo>
                <a:cubicBezTo>
                  <a:pt x="6873" y="260"/>
                  <a:pt x="6872" y="261"/>
                  <a:pt x="6872" y="261"/>
                </a:cubicBezTo>
                <a:cubicBezTo>
                  <a:pt x="6871" y="262"/>
                  <a:pt x="6870" y="263"/>
                  <a:pt x="6870" y="264"/>
                </a:cubicBezTo>
                <a:cubicBezTo>
                  <a:pt x="6870" y="264"/>
                  <a:pt x="6870" y="265"/>
                  <a:pt x="6870" y="266"/>
                </a:cubicBezTo>
                <a:cubicBezTo>
                  <a:pt x="6869" y="267"/>
                  <a:pt x="6869" y="268"/>
                  <a:pt x="6868" y="268"/>
                </a:cubicBezTo>
                <a:lnTo>
                  <a:pt x="6867" y="269"/>
                </a:lnTo>
                <a:cubicBezTo>
                  <a:pt x="6867" y="269"/>
                  <a:pt x="6867" y="269"/>
                  <a:pt x="6867" y="269"/>
                </a:cubicBezTo>
                <a:lnTo>
                  <a:pt x="6870" y="269"/>
                </a:lnTo>
                <a:cubicBezTo>
                  <a:pt x="6872" y="269"/>
                  <a:pt x="6874" y="269"/>
                  <a:pt x="6874" y="269"/>
                </a:cubicBezTo>
                <a:cubicBezTo>
                  <a:pt x="6874" y="270"/>
                  <a:pt x="6873" y="271"/>
                  <a:pt x="6872" y="273"/>
                </a:cubicBezTo>
                <a:cubicBezTo>
                  <a:pt x="6872" y="274"/>
                  <a:pt x="6870" y="275"/>
                  <a:pt x="6868" y="275"/>
                </a:cubicBezTo>
                <a:lnTo>
                  <a:pt x="6863" y="274"/>
                </a:lnTo>
                <a:cubicBezTo>
                  <a:pt x="6862" y="274"/>
                  <a:pt x="6862" y="274"/>
                  <a:pt x="6862" y="275"/>
                </a:cubicBezTo>
                <a:lnTo>
                  <a:pt x="6862" y="277"/>
                </a:lnTo>
                <a:lnTo>
                  <a:pt x="6862" y="279"/>
                </a:lnTo>
                <a:lnTo>
                  <a:pt x="6857" y="281"/>
                </a:lnTo>
                <a:cubicBezTo>
                  <a:pt x="6857" y="282"/>
                  <a:pt x="6858" y="283"/>
                  <a:pt x="6860" y="284"/>
                </a:cubicBezTo>
                <a:cubicBezTo>
                  <a:pt x="6862" y="285"/>
                  <a:pt x="6862" y="286"/>
                  <a:pt x="6862" y="287"/>
                </a:cubicBezTo>
                <a:cubicBezTo>
                  <a:pt x="6862" y="289"/>
                  <a:pt x="6862" y="290"/>
                  <a:pt x="6861" y="291"/>
                </a:cubicBezTo>
                <a:cubicBezTo>
                  <a:pt x="6860" y="292"/>
                  <a:pt x="6859" y="293"/>
                  <a:pt x="6857" y="293"/>
                </a:cubicBezTo>
                <a:cubicBezTo>
                  <a:pt x="6856" y="293"/>
                  <a:pt x="6856" y="293"/>
                  <a:pt x="6855" y="292"/>
                </a:cubicBezTo>
                <a:cubicBezTo>
                  <a:pt x="6854" y="291"/>
                  <a:pt x="6853" y="291"/>
                  <a:pt x="6852" y="291"/>
                </a:cubicBezTo>
                <a:cubicBezTo>
                  <a:pt x="6852" y="291"/>
                  <a:pt x="6851" y="292"/>
                  <a:pt x="6850" y="293"/>
                </a:cubicBezTo>
                <a:lnTo>
                  <a:pt x="6850" y="294"/>
                </a:lnTo>
                <a:cubicBezTo>
                  <a:pt x="6850" y="296"/>
                  <a:pt x="6851" y="296"/>
                  <a:pt x="6853" y="296"/>
                </a:cubicBezTo>
                <a:cubicBezTo>
                  <a:pt x="6854" y="296"/>
                  <a:pt x="6855" y="297"/>
                  <a:pt x="6855" y="299"/>
                </a:cubicBezTo>
                <a:cubicBezTo>
                  <a:pt x="6855" y="299"/>
                  <a:pt x="6853" y="300"/>
                  <a:pt x="6850" y="300"/>
                </a:cubicBezTo>
                <a:lnTo>
                  <a:pt x="6846" y="299"/>
                </a:lnTo>
                <a:cubicBezTo>
                  <a:pt x="6846" y="300"/>
                  <a:pt x="6847" y="301"/>
                  <a:pt x="6850" y="302"/>
                </a:cubicBezTo>
                <a:cubicBezTo>
                  <a:pt x="6852" y="304"/>
                  <a:pt x="6853" y="305"/>
                  <a:pt x="6853" y="306"/>
                </a:cubicBezTo>
                <a:cubicBezTo>
                  <a:pt x="6853" y="306"/>
                  <a:pt x="6852" y="307"/>
                  <a:pt x="6851" y="308"/>
                </a:cubicBezTo>
                <a:cubicBezTo>
                  <a:pt x="6849" y="308"/>
                  <a:pt x="6848" y="310"/>
                  <a:pt x="6848" y="311"/>
                </a:cubicBezTo>
                <a:lnTo>
                  <a:pt x="6848" y="313"/>
                </a:lnTo>
                <a:lnTo>
                  <a:pt x="6846" y="311"/>
                </a:lnTo>
                <a:cubicBezTo>
                  <a:pt x="6844" y="311"/>
                  <a:pt x="6844" y="313"/>
                  <a:pt x="6844" y="316"/>
                </a:cubicBezTo>
                <a:lnTo>
                  <a:pt x="6844" y="319"/>
                </a:lnTo>
                <a:lnTo>
                  <a:pt x="6841" y="318"/>
                </a:lnTo>
                <a:cubicBezTo>
                  <a:pt x="6840" y="318"/>
                  <a:pt x="6840" y="318"/>
                  <a:pt x="6840" y="318"/>
                </a:cubicBezTo>
                <a:lnTo>
                  <a:pt x="6841" y="323"/>
                </a:lnTo>
                <a:cubicBezTo>
                  <a:pt x="6841" y="325"/>
                  <a:pt x="6840" y="327"/>
                  <a:pt x="6838" y="327"/>
                </a:cubicBezTo>
                <a:lnTo>
                  <a:pt x="6840" y="323"/>
                </a:lnTo>
                <a:cubicBezTo>
                  <a:pt x="6840" y="323"/>
                  <a:pt x="6839" y="323"/>
                  <a:pt x="6839" y="323"/>
                </a:cubicBezTo>
                <a:lnTo>
                  <a:pt x="6838" y="324"/>
                </a:lnTo>
                <a:cubicBezTo>
                  <a:pt x="6837" y="324"/>
                  <a:pt x="6836" y="326"/>
                  <a:pt x="6836" y="328"/>
                </a:cubicBezTo>
                <a:cubicBezTo>
                  <a:pt x="6836" y="331"/>
                  <a:pt x="6835" y="333"/>
                  <a:pt x="6832" y="335"/>
                </a:cubicBezTo>
                <a:cubicBezTo>
                  <a:pt x="6831" y="336"/>
                  <a:pt x="6831" y="337"/>
                  <a:pt x="6831" y="337"/>
                </a:cubicBezTo>
                <a:lnTo>
                  <a:pt x="6832" y="337"/>
                </a:lnTo>
                <a:lnTo>
                  <a:pt x="6832" y="337"/>
                </a:lnTo>
                <a:lnTo>
                  <a:pt x="6832" y="337"/>
                </a:lnTo>
                <a:lnTo>
                  <a:pt x="6829" y="340"/>
                </a:lnTo>
                <a:cubicBezTo>
                  <a:pt x="6827" y="343"/>
                  <a:pt x="6826" y="344"/>
                  <a:pt x="6826" y="344"/>
                </a:cubicBezTo>
                <a:lnTo>
                  <a:pt x="6828" y="343"/>
                </a:lnTo>
                <a:lnTo>
                  <a:pt x="6828" y="344"/>
                </a:lnTo>
                <a:cubicBezTo>
                  <a:pt x="6828" y="344"/>
                  <a:pt x="6827" y="345"/>
                  <a:pt x="6826" y="346"/>
                </a:cubicBezTo>
                <a:cubicBezTo>
                  <a:pt x="6825" y="347"/>
                  <a:pt x="6824" y="348"/>
                  <a:pt x="6824" y="349"/>
                </a:cubicBezTo>
                <a:cubicBezTo>
                  <a:pt x="6823" y="350"/>
                  <a:pt x="6822" y="350"/>
                  <a:pt x="6822" y="351"/>
                </a:cubicBezTo>
                <a:cubicBezTo>
                  <a:pt x="6822" y="352"/>
                  <a:pt x="6821" y="354"/>
                  <a:pt x="6819" y="356"/>
                </a:cubicBezTo>
                <a:lnTo>
                  <a:pt x="6817" y="358"/>
                </a:lnTo>
                <a:lnTo>
                  <a:pt x="6819" y="357"/>
                </a:lnTo>
                <a:cubicBezTo>
                  <a:pt x="6819" y="357"/>
                  <a:pt x="6819" y="358"/>
                  <a:pt x="6819" y="359"/>
                </a:cubicBezTo>
                <a:cubicBezTo>
                  <a:pt x="6819" y="360"/>
                  <a:pt x="6819" y="361"/>
                  <a:pt x="6818" y="363"/>
                </a:cubicBezTo>
                <a:cubicBezTo>
                  <a:pt x="6817" y="365"/>
                  <a:pt x="6815" y="366"/>
                  <a:pt x="6814" y="368"/>
                </a:cubicBezTo>
                <a:lnTo>
                  <a:pt x="6812" y="370"/>
                </a:lnTo>
                <a:lnTo>
                  <a:pt x="6814" y="369"/>
                </a:lnTo>
                <a:cubicBezTo>
                  <a:pt x="6814" y="369"/>
                  <a:pt x="6814" y="370"/>
                  <a:pt x="6814" y="370"/>
                </a:cubicBezTo>
                <a:cubicBezTo>
                  <a:pt x="6814" y="372"/>
                  <a:pt x="6813" y="378"/>
                  <a:pt x="6809" y="387"/>
                </a:cubicBezTo>
                <a:lnTo>
                  <a:pt x="6800" y="411"/>
                </a:lnTo>
                <a:cubicBezTo>
                  <a:pt x="6796" y="422"/>
                  <a:pt x="6792" y="429"/>
                  <a:pt x="6790" y="432"/>
                </a:cubicBezTo>
                <a:lnTo>
                  <a:pt x="6789" y="434"/>
                </a:lnTo>
                <a:lnTo>
                  <a:pt x="6791" y="433"/>
                </a:lnTo>
                <a:cubicBezTo>
                  <a:pt x="6792" y="433"/>
                  <a:pt x="6792" y="433"/>
                  <a:pt x="6792" y="433"/>
                </a:cubicBezTo>
                <a:cubicBezTo>
                  <a:pt x="6792" y="435"/>
                  <a:pt x="6791" y="438"/>
                  <a:pt x="6789" y="445"/>
                </a:cubicBezTo>
                <a:cubicBezTo>
                  <a:pt x="6787" y="451"/>
                  <a:pt x="6785" y="455"/>
                  <a:pt x="6784" y="455"/>
                </a:cubicBezTo>
                <a:cubicBezTo>
                  <a:pt x="6783" y="455"/>
                  <a:pt x="6782" y="457"/>
                  <a:pt x="6782" y="462"/>
                </a:cubicBezTo>
                <a:cubicBezTo>
                  <a:pt x="6782" y="467"/>
                  <a:pt x="6782" y="470"/>
                  <a:pt x="6780" y="471"/>
                </a:cubicBezTo>
                <a:cubicBezTo>
                  <a:pt x="6779" y="472"/>
                  <a:pt x="6778" y="474"/>
                  <a:pt x="6777" y="477"/>
                </a:cubicBezTo>
                <a:cubicBezTo>
                  <a:pt x="6775" y="491"/>
                  <a:pt x="6773" y="498"/>
                  <a:pt x="6771" y="498"/>
                </a:cubicBezTo>
                <a:lnTo>
                  <a:pt x="6770" y="498"/>
                </a:lnTo>
                <a:cubicBezTo>
                  <a:pt x="6770" y="498"/>
                  <a:pt x="6770" y="499"/>
                  <a:pt x="6770" y="500"/>
                </a:cubicBezTo>
                <a:lnTo>
                  <a:pt x="6770" y="502"/>
                </a:lnTo>
                <a:cubicBezTo>
                  <a:pt x="6770" y="506"/>
                  <a:pt x="6770" y="508"/>
                  <a:pt x="6769" y="508"/>
                </a:cubicBezTo>
                <a:lnTo>
                  <a:pt x="6767" y="507"/>
                </a:lnTo>
                <a:cubicBezTo>
                  <a:pt x="6767" y="507"/>
                  <a:pt x="6767" y="507"/>
                  <a:pt x="6767" y="508"/>
                </a:cubicBezTo>
                <a:lnTo>
                  <a:pt x="6768" y="515"/>
                </a:lnTo>
                <a:lnTo>
                  <a:pt x="6767" y="517"/>
                </a:lnTo>
                <a:lnTo>
                  <a:pt x="6766" y="517"/>
                </a:lnTo>
                <a:cubicBezTo>
                  <a:pt x="6765" y="517"/>
                  <a:pt x="6765" y="519"/>
                  <a:pt x="6765" y="523"/>
                </a:cubicBezTo>
                <a:cubicBezTo>
                  <a:pt x="6765" y="526"/>
                  <a:pt x="6765" y="528"/>
                  <a:pt x="6764" y="529"/>
                </a:cubicBezTo>
                <a:cubicBezTo>
                  <a:pt x="6763" y="531"/>
                  <a:pt x="6763" y="533"/>
                  <a:pt x="6762" y="533"/>
                </a:cubicBezTo>
                <a:cubicBezTo>
                  <a:pt x="6761" y="533"/>
                  <a:pt x="6761" y="534"/>
                  <a:pt x="6761" y="535"/>
                </a:cubicBezTo>
                <a:lnTo>
                  <a:pt x="6761" y="535"/>
                </a:lnTo>
                <a:cubicBezTo>
                  <a:pt x="6761" y="536"/>
                  <a:pt x="6761" y="536"/>
                  <a:pt x="6761" y="538"/>
                </a:cubicBezTo>
                <a:cubicBezTo>
                  <a:pt x="6761" y="540"/>
                  <a:pt x="6761" y="543"/>
                  <a:pt x="6760" y="546"/>
                </a:cubicBezTo>
                <a:cubicBezTo>
                  <a:pt x="6759" y="549"/>
                  <a:pt x="6758" y="552"/>
                  <a:pt x="6757" y="555"/>
                </a:cubicBezTo>
                <a:cubicBezTo>
                  <a:pt x="6756" y="558"/>
                  <a:pt x="6755" y="559"/>
                  <a:pt x="6755" y="559"/>
                </a:cubicBezTo>
                <a:lnTo>
                  <a:pt x="6754" y="559"/>
                </a:lnTo>
                <a:cubicBezTo>
                  <a:pt x="6754" y="559"/>
                  <a:pt x="6754" y="559"/>
                  <a:pt x="6754" y="560"/>
                </a:cubicBezTo>
                <a:lnTo>
                  <a:pt x="6755" y="564"/>
                </a:lnTo>
                <a:cubicBezTo>
                  <a:pt x="6755" y="566"/>
                  <a:pt x="6754" y="567"/>
                  <a:pt x="6753" y="568"/>
                </a:cubicBezTo>
                <a:cubicBezTo>
                  <a:pt x="6752" y="568"/>
                  <a:pt x="6751" y="569"/>
                  <a:pt x="6751" y="569"/>
                </a:cubicBezTo>
                <a:cubicBezTo>
                  <a:pt x="6751" y="570"/>
                  <a:pt x="6752" y="570"/>
                  <a:pt x="6752" y="570"/>
                </a:cubicBezTo>
                <a:cubicBezTo>
                  <a:pt x="6753" y="570"/>
                  <a:pt x="6754" y="571"/>
                  <a:pt x="6754" y="574"/>
                </a:cubicBezTo>
                <a:cubicBezTo>
                  <a:pt x="6753" y="577"/>
                  <a:pt x="6752" y="578"/>
                  <a:pt x="6752" y="578"/>
                </a:cubicBezTo>
                <a:lnTo>
                  <a:pt x="6751" y="578"/>
                </a:lnTo>
                <a:cubicBezTo>
                  <a:pt x="6750" y="578"/>
                  <a:pt x="6750" y="580"/>
                  <a:pt x="6750" y="583"/>
                </a:cubicBezTo>
                <a:lnTo>
                  <a:pt x="6750" y="588"/>
                </a:lnTo>
                <a:cubicBezTo>
                  <a:pt x="6750" y="588"/>
                  <a:pt x="6750" y="587"/>
                  <a:pt x="6749" y="586"/>
                </a:cubicBezTo>
                <a:cubicBezTo>
                  <a:pt x="6748" y="585"/>
                  <a:pt x="6748" y="583"/>
                  <a:pt x="6748" y="580"/>
                </a:cubicBezTo>
                <a:cubicBezTo>
                  <a:pt x="6748" y="576"/>
                  <a:pt x="6748" y="571"/>
                  <a:pt x="6750" y="564"/>
                </a:cubicBezTo>
                <a:lnTo>
                  <a:pt x="6755" y="541"/>
                </a:lnTo>
                <a:cubicBezTo>
                  <a:pt x="6753" y="541"/>
                  <a:pt x="6749" y="555"/>
                  <a:pt x="6743" y="583"/>
                </a:cubicBezTo>
                <a:cubicBezTo>
                  <a:pt x="6742" y="592"/>
                  <a:pt x="6741" y="598"/>
                  <a:pt x="6741" y="601"/>
                </a:cubicBezTo>
                <a:cubicBezTo>
                  <a:pt x="6741" y="603"/>
                  <a:pt x="6741" y="604"/>
                  <a:pt x="6740" y="605"/>
                </a:cubicBezTo>
                <a:cubicBezTo>
                  <a:pt x="6739" y="605"/>
                  <a:pt x="6737" y="611"/>
                  <a:pt x="6735" y="623"/>
                </a:cubicBezTo>
                <a:cubicBezTo>
                  <a:pt x="6733" y="635"/>
                  <a:pt x="6731" y="642"/>
                  <a:pt x="6729" y="643"/>
                </a:cubicBezTo>
                <a:close/>
                <a:moveTo>
                  <a:pt x="6801" y="311"/>
                </a:moveTo>
                <a:cubicBezTo>
                  <a:pt x="6802" y="311"/>
                  <a:pt x="6802" y="310"/>
                  <a:pt x="6803" y="309"/>
                </a:cubicBezTo>
                <a:cubicBezTo>
                  <a:pt x="6805" y="308"/>
                  <a:pt x="6805" y="307"/>
                  <a:pt x="6805" y="306"/>
                </a:cubicBezTo>
                <a:cubicBezTo>
                  <a:pt x="6805" y="305"/>
                  <a:pt x="6805" y="305"/>
                  <a:pt x="6804" y="305"/>
                </a:cubicBezTo>
                <a:cubicBezTo>
                  <a:pt x="6804" y="305"/>
                  <a:pt x="6803" y="306"/>
                  <a:pt x="6802" y="308"/>
                </a:cubicBezTo>
                <a:lnTo>
                  <a:pt x="6801" y="311"/>
                </a:lnTo>
                <a:close/>
                <a:moveTo>
                  <a:pt x="6756" y="467"/>
                </a:moveTo>
                <a:lnTo>
                  <a:pt x="6757" y="465"/>
                </a:lnTo>
                <a:cubicBezTo>
                  <a:pt x="6759" y="462"/>
                  <a:pt x="6760" y="460"/>
                  <a:pt x="6760" y="458"/>
                </a:cubicBezTo>
                <a:cubicBezTo>
                  <a:pt x="6760" y="456"/>
                  <a:pt x="6759" y="455"/>
                  <a:pt x="6759" y="455"/>
                </a:cubicBezTo>
                <a:cubicBezTo>
                  <a:pt x="6759" y="455"/>
                  <a:pt x="6758" y="456"/>
                  <a:pt x="6757" y="458"/>
                </a:cubicBezTo>
                <a:cubicBezTo>
                  <a:pt x="6756" y="460"/>
                  <a:pt x="6755" y="463"/>
                  <a:pt x="6755" y="465"/>
                </a:cubicBezTo>
                <a:cubicBezTo>
                  <a:pt x="6755" y="466"/>
                  <a:pt x="6755" y="467"/>
                  <a:pt x="6756" y="467"/>
                </a:cubicBezTo>
                <a:close/>
                <a:moveTo>
                  <a:pt x="6769" y="409"/>
                </a:moveTo>
                <a:cubicBezTo>
                  <a:pt x="6770" y="409"/>
                  <a:pt x="6771" y="409"/>
                  <a:pt x="6772" y="407"/>
                </a:cubicBezTo>
                <a:lnTo>
                  <a:pt x="6772" y="406"/>
                </a:lnTo>
                <a:cubicBezTo>
                  <a:pt x="6772" y="405"/>
                  <a:pt x="6771" y="405"/>
                  <a:pt x="6771" y="405"/>
                </a:cubicBezTo>
                <a:cubicBezTo>
                  <a:pt x="6769" y="405"/>
                  <a:pt x="6768" y="406"/>
                  <a:pt x="6768" y="407"/>
                </a:cubicBezTo>
                <a:cubicBezTo>
                  <a:pt x="6768" y="409"/>
                  <a:pt x="6769" y="409"/>
                  <a:pt x="6769" y="409"/>
                </a:cubicBezTo>
                <a:close/>
                <a:moveTo>
                  <a:pt x="6768" y="402"/>
                </a:moveTo>
                <a:cubicBezTo>
                  <a:pt x="6770" y="402"/>
                  <a:pt x="6770" y="401"/>
                  <a:pt x="6771" y="399"/>
                </a:cubicBezTo>
                <a:lnTo>
                  <a:pt x="6772" y="395"/>
                </a:lnTo>
                <a:cubicBezTo>
                  <a:pt x="6772" y="393"/>
                  <a:pt x="6771" y="392"/>
                  <a:pt x="6770" y="392"/>
                </a:cubicBezTo>
                <a:cubicBezTo>
                  <a:pt x="6769" y="392"/>
                  <a:pt x="6768" y="393"/>
                  <a:pt x="6767" y="395"/>
                </a:cubicBezTo>
                <a:cubicBezTo>
                  <a:pt x="6765" y="397"/>
                  <a:pt x="6765" y="398"/>
                  <a:pt x="6765" y="399"/>
                </a:cubicBezTo>
                <a:cubicBezTo>
                  <a:pt x="6765" y="402"/>
                  <a:pt x="6766" y="402"/>
                  <a:pt x="6768" y="402"/>
                </a:cubicBezTo>
                <a:close/>
                <a:moveTo>
                  <a:pt x="6773" y="433"/>
                </a:moveTo>
                <a:cubicBezTo>
                  <a:pt x="6773" y="433"/>
                  <a:pt x="6774" y="433"/>
                  <a:pt x="6775" y="432"/>
                </a:cubicBezTo>
                <a:cubicBezTo>
                  <a:pt x="6775" y="431"/>
                  <a:pt x="6776" y="430"/>
                  <a:pt x="6776" y="428"/>
                </a:cubicBezTo>
                <a:cubicBezTo>
                  <a:pt x="6777" y="427"/>
                  <a:pt x="6777" y="426"/>
                  <a:pt x="6777" y="424"/>
                </a:cubicBezTo>
                <a:cubicBezTo>
                  <a:pt x="6777" y="424"/>
                  <a:pt x="6777" y="424"/>
                  <a:pt x="6776" y="424"/>
                </a:cubicBezTo>
                <a:cubicBezTo>
                  <a:pt x="6776" y="424"/>
                  <a:pt x="6776" y="424"/>
                  <a:pt x="6775" y="425"/>
                </a:cubicBezTo>
                <a:cubicBezTo>
                  <a:pt x="6774" y="426"/>
                  <a:pt x="6774" y="427"/>
                  <a:pt x="6773" y="429"/>
                </a:cubicBezTo>
                <a:cubicBezTo>
                  <a:pt x="6773" y="430"/>
                  <a:pt x="6773" y="431"/>
                  <a:pt x="6773" y="432"/>
                </a:cubicBezTo>
                <a:cubicBezTo>
                  <a:pt x="6773" y="433"/>
                  <a:pt x="6773" y="433"/>
                  <a:pt x="6773" y="433"/>
                </a:cubicBezTo>
                <a:close/>
                <a:moveTo>
                  <a:pt x="6759" y="541"/>
                </a:moveTo>
                <a:lnTo>
                  <a:pt x="6760" y="541"/>
                </a:lnTo>
                <a:lnTo>
                  <a:pt x="6759" y="538"/>
                </a:lnTo>
                <a:cubicBezTo>
                  <a:pt x="6758" y="536"/>
                  <a:pt x="6757" y="535"/>
                  <a:pt x="6755" y="535"/>
                </a:cubicBezTo>
                <a:cubicBezTo>
                  <a:pt x="6755" y="535"/>
                  <a:pt x="6754" y="536"/>
                  <a:pt x="6754" y="536"/>
                </a:cubicBezTo>
                <a:cubicBezTo>
                  <a:pt x="6754" y="537"/>
                  <a:pt x="6755" y="538"/>
                  <a:pt x="6756" y="539"/>
                </a:cubicBezTo>
                <a:cubicBezTo>
                  <a:pt x="6757" y="541"/>
                  <a:pt x="6759" y="541"/>
                  <a:pt x="6759" y="541"/>
                </a:cubicBezTo>
                <a:close/>
                <a:moveTo>
                  <a:pt x="6761" y="531"/>
                </a:moveTo>
                <a:lnTo>
                  <a:pt x="6762" y="530"/>
                </a:lnTo>
                <a:lnTo>
                  <a:pt x="6761" y="529"/>
                </a:lnTo>
                <a:cubicBezTo>
                  <a:pt x="6760" y="527"/>
                  <a:pt x="6758" y="526"/>
                  <a:pt x="6757" y="526"/>
                </a:cubicBezTo>
                <a:cubicBezTo>
                  <a:pt x="6756" y="526"/>
                  <a:pt x="6756" y="527"/>
                  <a:pt x="6756" y="527"/>
                </a:cubicBezTo>
                <a:cubicBezTo>
                  <a:pt x="6756" y="528"/>
                  <a:pt x="6756" y="528"/>
                  <a:pt x="6757" y="529"/>
                </a:cubicBezTo>
                <a:lnTo>
                  <a:pt x="6761" y="531"/>
                </a:lnTo>
                <a:close/>
                <a:moveTo>
                  <a:pt x="6761" y="517"/>
                </a:moveTo>
                <a:cubicBezTo>
                  <a:pt x="6761" y="516"/>
                  <a:pt x="6762" y="515"/>
                  <a:pt x="6762" y="514"/>
                </a:cubicBezTo>
                <a:lnTo>
                  <a:pt x="6761" y="512"/>
                </a:lnTo>
                <a:cubicBezTo>
                  <a:pt x="6761" y="512"/>
                  <a:pt x="6760" y="511"/>
                  <a:pt x="6760" y="511"/>
                </a:cubicBezTo>
                <a:cubicBezTo>
                  <a:pt x="6760" y="511"/>
                  <a:pt x="6760" y="512"/>
                  <a:pt x="6760" y="514"/>
                </a:cubicBezTo>
                <a:cubicBezTo>
                  <a:pt x="6760" y="516"/>
                  <a:pt x="6760" y="517"/>
                  <a:pt x="6761" y="517"/>
                </a:cubicBezTo>
                <a:close/>
                <a:moveTo>
                  <a:pt x="6762" y="508"/>
                </a:moveTo>
                <a:lnTo>
                  <a:pt x="6763" y="507"/>
                </a:lnTo>
                <a:cubicBezTo>
                  <a:pt x="6764" y="507"/>
                  <a:pt x="6764" y="506"/>
                  <a:pt x="6764" y="506"/>
                </a:cubicBezTo>
                <a:lnTo>
                  <a:pt x="6763" y="503"/>
                </a:lnTo>
                <a:lnTo>
                  <a:pt x="6762" y="502"/>
                </a:lnTo>
                <a:cubicBezTo>
                  <a:pt x="6762" y="502"/>
                  <a:pt x="6762" y="503"/>
                  <a:pt x="6762" y="506"/>
                </a:cubicBezTo>
                <a:cubicBezTo>
                  <a:pt x="6762" y="507"/>
                  <a:pt x="6762" y="507"/>
                  <a:pt x="6762" y="508"/>
                </a:cubicBezTo>
                <a:close/>
                <a:moveTo>
                  <a:pt x="6767" y="490"/>
                </a:moveTo>
                <a:cubicBezTo>
                  <a:pt x="6767" y="490"/>
                  <a:pt x="6768" y="488"/>
                  <a:pt x="6769" y="486"/>
                </a:cubicBezTo>
                <a:lnTo>
                  <a:pt x="6769" y="484"/>
                </a:lnTo>
                <a:cubicBezTo>
                  <a:pt x="6769" y="484"/>
                  <a:pt x="6769" y="484"/>
                  <a:pt x="6769" y="484"/>
                </a:cubicBezTo>
                <a:lnTo>
                  <a:pt x="6768" y="484"/>
                </a:lnTo>
                <a:cubicBezTo>
                  <a:pt x="6767" y="485"/>
                  <a:pt x="6767" y="485"/>
                  <a:pt x="6767" y="485"/>
                </a:cubicBezTo>
                <a:cubicBezTo>
                  <a:pt x="6766" y="486"/>
                  <a:pt x="6766" y="487"/>
                  <a:pt x="6766" y="487"/>
                </a:cubicBezTo>
                <a:cubicBezTo>
                  <a:pt x="6766" y="489"/>
                  <a:pt x="6766" y="490"/>
                  <a:pt x="6767" y="490"/>
                </a:cubicBezTo>
                <a:close/>
                <a:moveTo>
                  <a:pt x="6769" y="480"/>
                </a:moveTo>
                <a:lnTo>
                  <a:pt x="6771" y="479"/>
                </a:lnTo>
                <a:cubicBezTo>
                  <a:pt x="6772" y="478"/>
                  <a:pt x="6772" y="476"/>
                  <a:pt x="6772" y="475"/>
                </a:cubicBezTo>
                <a:cubicBezTo>
                  <a:pt x="6772" y="475"/>
                  <a:pt x="6772" y="474"/>
                  <a:pt x="6772" y="474"/>
                </a:cubicBezTo>
                <a:cubicBezTo>
                  <a:pt x="6771" y="474"/>
                  <a:pt x="6771" y="475"/>
                  <a:pt x="6770" y="476"/>
                </a:cubicBezTo>
                <a:cubicBezTo>
                  <a:pt x="6769" y="477"/>
                  <a:pt x="6769" y="478"/>
                  <a:pt x="6769" y="480"/>
                </a:cubicBezTo>
                <a:cubicBezTo>
                  <a:pt x="6769" y="480"/>
                  <a:pt x="6769" y="480"/>
                  <a:pt x="6769" y="480"/>
                </a:cubicBezTo>
                <a:close/>
                <a:moveTo>
                  <a:pt x="6774" y="469"/>
                </a:moveTo>
                <a:cubicBezTo>
                  <a:pt x="6774" y="469"/>
                  <a:pt x="6775" y="468"/>
                  <a:pt x="6775" y="466"/>
                </a:cubicBezTo>
                <a:lnTo>
                  <a:pt x="6776" y="464"/>
                </a:lnTo>
                <a:cubicBezTo>
                  <a:pt x="6776" y="463"/>
                  <a:pt x="6776" y="463"/>
                  <a:pt x="6775" y="463"/>
                </a:cubicBezTo>
                <a:lnTo>
                  <a:pt x="6775" y="463"/>
                </a:lnTo>
                <a:cubicBezTo>
                  <a:pt x="6773" y="465"/>
                  <a:pt x="6773" y="466"/>
                  <a:pt x="6773" y="467"/>
                </a:cubicBezTo>
                <a:cubicBezTo>
                  <a:pt x="6773" y="468"/>
                  <a:pt x="6773" y="469"/>
                  <a:pt x="6773" y="469"/>
                </a:cubicBezTo>
                <a:lnTo>
                  <a:pt x="6774" y="469"/>
                </a:lnTo>
                <a:close/>
                <a:moveTo>
                  <a:pt x="6794" y="341"/>
                </a:moveTo>
                <a:cubicBezTo>
                  <a:pt x="6795" y="341"/>
                  <a:pt x="6797" y="339"/>
                  <a:pt x="6799" y="334"/>
                </a:cubicBezTo>
                <a:cubicBezTo>
                  <a:pt x="6801" y="332"/>
                  <a:pt x="6801" y="330"/>
                  <a:pt x="6801" y="329"/>
                </a:cubicBezTo>
                <a:cubicBezTo>
                  <a:pt x="6801" y="328"/>
                  <a:pt x="6800" y="328"/>
                  <a:pt x="6799" y="328"/>
                </a:cubicBezTo>
                <a:cubicBezTo>
                  <a:pt x="6795" y="328"/>
                  <a:pt x="6793" y="328"/>
                  <a:pt x="6793" y="329"/>
                </a:cubicBezTo>
                <a:lnTo>
                  <a:pt x="6794" y="330"/>
                </a:lnTo>
                <a:cubicBezTo>
                  <a:pt x="6794" y="331"/>
                  <a:pt x="6794" y="331"/>
                  <a:pt x="6795" y="331"/>
                </a:cubicBezTo>
                <a:cubicBezTo>
                  <a:pt x="6796" y="331"/>
                  <a:pt x="6796" y="331"/>
                  <a:pt x="6797" y="330"/>
                </a:cubicBezTo>
                <a:cubicBezTo>
                  <a:pt x="6797" y="330"/>
                  <a:pt x="6798" y="330"/>
                  <a:pt x="6798" y="330"/>
                </a:cubicBezTo>
                <a:cubicBezTo>
                  <a:pt x="6798" y="330"/>
                  <a:pt x="6799" y="330"/>
                  <a:pt x="6799" y="330"/>
                </a:cubicBezTo>
                <a:cubicBezTo>
                  <a:pt x="6799" y="331"/>
                  <a:pt x="6798" y="333"/>
                  <a:pt x="6797" y="334"/>
                </a:cubicBezTo>
                <a:cubicBezTo>
                  <a:pt x="6797" y="336"/>
                  <a:pt x="6796" y="337"/>
                  <a:pt x="6795" y="337"/>
                </a:cubicBezTo>
                <a:lnTo>
                  <a:pt x="6794" y="337"/>
                </a:lnTo>
                <a:cubicBezTo>
                  <a:pt x="6793" y="337"/>
                  <a:pt x="6792" y="337"/>
                  <a:pt x="6792" y="338"/>
                </a:cubicBezTo>
                <a:cubicBezTo>
                  <a:pt x="6792" y="340"/>
                  <a:pt x="6793" y="341"/>
                  <a:pt x="6794" y="341"/>
                </a:cubicBezTo>
                <a:close/>
                <a:moveTo>
                  <a:pt x="6794" y="389"/>
                </a:moveTo>
                <a:cubicBezTo>
                  <a:pt x="6796" y="389"/>
                  <a:pt x="6797" y="388"/>
                  <a:pt x="6797" y="386"/>
                </a:cubicBezTo>
                <a:cubicBezTo>
                  <a:pt x="6797" y="385"/>
                  <a:pt x="6796" y="384"/>
                  <a:pt x="6795" y="384"/>
                </a:cubicBezTo>
                <a:cubicBezTo>
                  <a:pt x="6795" y="384"/>
                  <a:pt x="6794" y="385"/>
                  <a:pt x="6794" y="386"/>
                </a:cubicBezTo>
                <a:cubicBezTo>
                  <a:pt x="6793" y="387"/>
                  <a:pt x="6793" y="387"/>
                  <a:pt x="6793" y="388"/>
                </a:cubicBezTo>
                <a:cubicBezTo>
                  <a:pt x="6793" y="389"/>
                  <a:pt x="6793" y="389"/>
                  <a:pt x="6794" y="389"/>
                </a:cubicBezTo>
                <a:close/>
                <a:moveTo>
                  <a:pt x="6797" y="382"/>
                </a:moveTo>
                <a:cubicBezTo>
                  <a:pt x="6798" y="382"/>
                  <a:pt x="6799" y="381"/>
                  <a:pt x="6800" y="378"/>
                </a:cubicBezTo>
                <a:cubicBezTo>
                  <a:pt x="6802" y="376"/>
                  <a:pt x="6803" y="374"/>
                  <a:pt x="6803" y="372"/>
                </a:cubicBezTo>
                <a:cubicBezTo>
                  <a:pt x="6803" y="371"/>
                  <a:pt x="6802" y="371"/>
                  <a:pt x="6802" y="371"/>
                </a:cubicBezTo>
                <a:cubicBezTo>
                  <a:pt x="6802" y="371"/>
                  <a:pt x="6802" y="371"/>
                  <a:pt x="6801" y="372"/>
                </a:cubicBezTo>
                <a:cubicBezTo>
                  <a:pt x="6800" y="373"/>
                  <a:pt x="6799" y="374"/>
                  <a:pt x="6799" y="375"/>
                </a:cubicBezTo>
                <a:cubicBezTo>
                  <a:pt x="6798" y="377"/>
                  <a:pt x="6797" y="378"/>
                  <a:pt x="6797" y="379"/>
                </a:cubicBezTo>
                <a:lnTo>
                  <a:pt x="6797" y="382"/>
                </a:lnTo>
                <a:close/>
                <a:moveTo>
                  <a:pt x="6799" y="393"/>
                </a:moveTo>
                <a:lnTo>
                  <a:pt x="6801" y="392"/>
                </a:lnTo>
                <a:cubicBezTo>
                  <a:pt x="6803" y="392"/>
                  <a:pt x="6804" y="391"/>
                  <a:pt x="6804" y="390"/>
                </a:cubicBezTo>
                <a:cubicBezTo>
                  <a:pt x="6804" y="389"/>
                  <a:pt x="6804" y="389"/>
                  <a:pt x="6803" y="389"/>
                </a:cubicBezTo>
                <a:cubicBezTo>
                  <a:pt x="6802" y="389"/>
                  <a:pt x="6801" y="389"/>
                  <a:pt x="6800" y="391"/>
                </a:cubicBezTo>
                <a:lnTo>
                  <a:pt x="6799" y="392"/>
                </a:lnTo>
                <a:lnTo>
                  <a:pt x="6799" y="393"/>
                </a:lnTo>
                <a:close/>
                <a:moveTo>
                  <a:pt x="6809" y="379"/>
                </a:moveTo>
                <a:cubicBezTo>
                  <a:pt x="6809" y="379"/>
                  <a:pt x="6809" y="379"/>
                  <a:pt x="6809" y="378"/>
                </a:cubicBezTo>
                <a:cubicBezTo>
                  <a:pt x="6809" y="377"/>
                  <a:pt x="6808" y="376"/>
                  <a:pt x="6806" y="376"/>
                </a:cubicBezTo>
                <a:cubicBezTo>
                  <a:pt x="6805" y="376"/>
                  <a:pt x="6804" y="377"/>
                  <a:pt x="6804" y="377"/>
                </a:cubicBezTo>
                <a:lnTo>
                  <a:pt x="6804" y="377"/>
                </a:lnTo>
                <a:cubicBezTo>
                  <a:pt x="6804" y="378"/>
                  <a:pt x="6805" y="379"/>
                  <a:pt x="6806" y="379"/>
                </a:cubicBezTo>
                <a:lnTo>
                  <a:pt x="6809" y="379"/>
                </a:lnTo>
                <a:close/>
                <a:moveTo>
                  <a:pt x="6821" y="286"/>
                </a:moveTo>
                <a:cubicBezTo>
                  <a:pt x="6822" y="286"/>
                  <a:pt x="6825" y="281"/>
                  <a:pt x="6829" y="272"/>
                </a:cubicBezTo>
                <a:cubicBezTo>
                  <a:pt x="6833" y="264"/>
                  <a:pt x="6836" y="259"/>
                  <a:pt x="6837" y="259"/>
                </a:cubicBezTo>
                <a:lnTo>
                  <a:pt x="6838" y="259"/>
                </a:lnTo>
                <a:cubicBezTo>
                  <a:pt x="6839" y="259"/>
                  <a:pt x="6839" y="259"/>
                  <a:pt x="6839" y="259"/>
                </a:cubicBezTo>
                <a:lnTo>
                  <a:pt x="6838" y="255"/>
                </a:lnTo>
                <a:cubicBezTo>
                  <a:pt x="6838" y="254"/>
                  <a:pt x="6838" y="254"/>
                  <a:pt x="6838" y="254"/>
                </a:cubicBezTo>
                <a:lnTo>
                  <a:pt x="6841" y="255"/>
                </a:lnTo>
                <a:cubicBezTo>
                  <a:pt x="6841" y="255"/>
                  <a:pt x="6841" y="255"/>
                  <a:pt x="6841" y="255"/>
                </a:cubicBezTo>
                <a:lnTo>
                  <a:pt x="6840" y="250"/>
                </a:lnTo>
                <a:cubicBezTo>
                  <a:pt x="6840" y="250"/>
                  <a:pt x="6840" y="249"/>
                  <a:pt x="6841" y="249"/>
                </a:cubicBezTo>
                <a:lnTo>
                  <a:pt x="6842" y="250"/>
                </a:lnTo>
                <a:cubicBezTo>
                  <a:pt x="6845" y="250"/>
                  <a:pt x="6846" y="249"/>
                  <a:pt x="6846" y="247"/>
                </a:cubicBezTo>
                <a:lnTo>
                  <a:pt x="6846" y="247"/>
                </a:lnTo>
                <a:lnTo>
                  <a:pt x="6843" y="248"/>
                </a:lnTo>
                <a:cubicBezTo>
                  <a:pt x="6843" y="248"/>
                  <a:pt x="6842" y="248"/>
                  <a:pt x="6842" y="247"/>
                </a:cubicBezTo>
                <a:cubicBezTo>
                  <a:pt x="6842" y="247"/>
                  <a:pt x="6842" y="247"/>
                  <a:pt x="6843" y="246"/>
                </a:cubicBezTo>
                <a:cubicBezTo>
                  <a:pt x="6843" y="246"/>
                  <a:pt x="6843" y="245"/>
                  <a:pt x="6844" y="245"/>
                </a:cubicBezTo>
                <a:cubicBezTo>
                  <a:pt x="6845" y="244"/>
                  <a:pt x="6845" y="244"/>
                  <a:pt x="6845" y="244"/>
                </a:cubicBezTo>
                <a:lnTo>
                  <a:pt x="6846" y="244"/>
                </a:lnTo>
                <a:cubicBezTo>
                  <a:pt x="6847" y="244"/>
                  <a:pt x="6847" y="243"/>
                  <a:pt x="6847" y="242"/>
                </a:cubicBezTo>
                <a:lnTo>
                  <a:pt x="6847" y="239"/>
                </a:lnTo>
                <a:cubicBezTo>
                  <a:pt x="6847" y="238"/>
                  <a:pt x="6847" y="238"/>
                  <a:pt x="6849" y="238"/>
                </a:cubicBezTo>
                <a:lnTo>
                  <a:pt x="6850" y="238"/>
                </a:lnTo>
                <a:cubicBezTo>
                  <a:pt x="6851" y="238"/>
                  <a:pt x="6851" y="237"/>
                  <a:pt x="6851" y="236"/>
                </a:cubicBezTo>
                <a:lnTo>
                  <a:pt x="6851" y="234"/>
                </a:lnTo>
                <a:cubicBezTo>
                  <a:pt x="6851" y="232"/>
                  <a:pt x="6852" y="231"/>
                  <a:pt x="6853" y="231"/>
                </a:cubicBezTo>
                <a:lnTo>
                  <a:pt x="6854" y="231"/>
                </a:lnTo>
                <a:cubicBezTo>
                  <a:pt x="6855" y="231"/>
                  <a:pt x="6856" y="230"/>
                  <a:pt x="6856" y="229"/>
                </a:cubicBezTo>
                <a:lnTo>
                  <a:pt x="6856" y="227"/>
                </a:lnTo>
                <a:cubicBezTo>
                  <a:pt x="6856" y="225"/>
                  <a:pt x="6856" y="225"/>
                  <a:pt x="6856" y="225"/>
                </a:cubicBezTo>
                <a:lnTo>
                  <a:pt x="6857" y="225"/>
                </a:lnTo>
                <a:cubicBezTo>
                  <a:pt x="6858" y="225"/>
                  <a:pt x="6859" y="224"/>
                  <a:pt x="6859" y="222"/>
                </a:cubicBezTo>
                <a:lnTo>
                  <a:pt x="6859" y="221"/>
                </a:lnTo>
                <a:cubicBezTo>
                  <a:pt x="6859" y="219"/>
                  <a:pt x="6859" y="218"/>
                  <a:pt x="6860" y="218"/>
                </a:cubicBezTo>
                <a:lnTo>
                  <a:pt x="6861" y="218"/>
                </a:lnTo>
                <a:cubicBezTo>
                  <a:pt x="6862" y="218"/>
                  <a:pt x="6863" y="217"/>
                  <a:pt x="6863" y="215"/>
                </a:cubicBezTo>
                <a:lnTo>
                  <a:pt x="6863" y="214"/>
                </a:lnTo>
                <a:cubicBezTo>
                  <a:pt x="6863" y="212"/>
                  <a:pt x="6864" y="211"/>
                  <a:pt x="6866" y="211"/>
                </a:cubicBezTo>
                <a:cubicBezTo>
                  <a:pt x="6867" y="211"/>
                  <a:pt x="6869" y="209"/>
                  <a:pt x="6872" y="206"/>
                </a:cubicBezTo>
                <a:lnTo>
                  <a:pt x="6874" y="201"/>
                </a:lnTo>
                <a:lnTo>
                  <a:pt x="6874" y="201"/>
                </a:lnTo>
                <a:lnTo>
                  <a:pt x="6871" y="202"/>
                </a:lnTo>
                <a:lnTo>
                  <a:pt x="6873" y="200"/>
                </a:lnTo>
                <a:cubicBezTo>
                  <a:pt x="6874" y="199"/>
                  <a:pt x="6876" y="197"/>
                  <a:pt x="6878" y="193"/>
                </a:cubicBezTo>
                <a:cubicBezTo>
                  <a:pt x="6880" y="191"/>
                  <a:pt x="6882" y="188"/>
                  <a:pt x="6883" y="184"/>
                </a:cubicBezTo>
                <a:cubicBezTo>
                  <a:pt x="6885" y="181"/>
                  <a:pt x="6886" y="179"/>
                  <a:pt x="6886" y="179"/>
                </a:cubicBezTo>
                <a:cubicBezTo>
                  <a:pt x="6886" y="178"/>
                  <a:pt x="6885" y="178"/>
                  <a:pt x="6885" y="178"/>
                </a:cubicBezTo>
                <a:cubicBezTo>
                  <a:pt x="6884" y="178"/>
                  <a:pt x="6880" y="183"/>
                  <a:pt x="6872" y="194"/>
                </a:cubicBezTo>
                <a:cubicBezTo>
                  <a:pt x="6865" y="205"/>
                  <a:pt x="6857" y="217"/>
                  <a:pt x="6849" y="230"/>
                </a:cubicBezTo>
                <a:cubicBezTo>
                  <a:pt x="6841" y="244"/>
                  <a:pt x="6834" y="255"/>
                  <a:pt x="6829" y="266"/>
                </a:cubicBezTo>
                <a:cubicBezTo>
                  <a:pt x="6827" y="269"/>
                  <a:pt x="6826" y="271"/>
                  <a:pt x="6825" y="271"/>
                </a:cubicBezTo>
                <a:lnTo>
                  <a:pt x="6823" y="270"/>
                </a:lnTo>
                <a:cubicBezTo>
                  <a:pt x="6823" y="270"/>
                  <a:pt x="6823" y="271"/>
                  <a:pt x="6824" y="271"/>
                </a:cubicBezTo>
                <a:cubicBezTo>
                  <a:pt x="6824" y="272"/>
                  <a:pt x="6824" y="273"/>
                  <a:pt x="6824" y="274"/>
                </a:cubicBezTo>
                <a:cubicBezTo>
                  <a:pt x="6824" y="275"/>
                  <a:pt x="6823" y="277"/>
                  <a:pt x="6822" y="280"/>
                </a:cubicBezTo>
                <a:cubicBezTo>
                  <a:pt x="6822" y="283"/>
                  <a:pt x="6821" y="284"/>
                  <a:pt x="6821" y="285"/>
                </a:cubicBezTo>
                <a:lnTo>
                  <a:pt x="6821" y="286"/>
                </a:lnTo>
                <a:close/>
                <a:moveTo>
                  <a:pt x="6887" y="244"/>
                </a:moveTo>
                <a:cubicBezTo>
                  <a:pt x="6887" y="244"/>
                  <a:pt x="6888" y="243"/>
                  <a:pt x="6889" y="241"/>
                </a:cubicBezTo>
                <a:lnTo>
                  <a:pt x="6889" y="239"/>
                </a:lnTo>
                <a:cubicBezTo>
                  <a:pt x="6889" y="238"/>
                  <a:pt x="6888" y="237"/>
                  <a:pt x="6888" y="237"/>
                </a:cubicBezTo>
                <a:cubicBezTo>
                  <a:pt x="6887" y="237"/>
                  <a:pt x="6887" y="237"/>
                  <a:pt x="6886" y="238"/>
                </a:cubicBezTo>
                <a:cubicBezTo>
                  <a:pt x="6886" y="239"/>
                  <a:pt x="6886" y="240"/>
                  <a:pt x="6886" y="241"/>
                </a:cubicBezTo>
                <a:cubicBezTo>
                  <a:pt x="6886" y="243"/>
                  <a:pt x="6886" y="244"/>
                  <a:pt x="6887" y="244"/>
                </a:cubicBezTo>
                <a:close/>
                <a:moveTo>
                  <a:pt x="6887" y="751"/>
                </a:moveTo>
                <a:cubicBezTo>
                  <a:pt x="6886" y="751"/>
                  <a:pt x="6886" y="750"/>
                  <a:pt x="6886" y="750"/>
                </a:cubicBezTo>
                <a:cubicBezTo>
                  <a:pt x="6886" y="750"/>
                  <a:pt x="6887" y="749"/>
                  <a:pt x="6889" y="746"/>
                </a:cubicBezTo>
                <a:cubicBezTo>
                  <a:pt x="6901" y="735"/>
                  <a:pt x="6908" y="729"/>
                  <a:pt x="6909" y="729"/>
                </a:cubicBezTo>
                <a:lnTo>
                  <a:pt x="6909" y="729"/>
                </a:lnTo>
                <a:lnTo>
                  <a:pt x="6908" y="732"/>
                </a:lnTo>
                <a:cubicBezTo>
                  <a:pt x="6906" y="736"/>
                  <a:pt x="6904" y="739"/>
                  <a:pt x="6903" y="739"/>
                </a:cubicBezTo>
                <a:cubicBezTo>
                  <a:pt x="6901" y="739"/>
                  <a:pt x="6901" y="739"/>
                  <a:pt x="6900" y="741"/>
                </a:cubicBezTo>
                <a:cubicBezTo>
                  <a:pt x="6900" y="742"/>
                  <a:pt x="6899" y="743"/>
                  <a:pt x="6897" y="745"/>
                </a:cubicBezTo>
                <a:cubicBezTo>
                  <a:pt x="6893" y="749"/>
                  <a:pt x="6889" y="751"/>
                  <a:pt x="6887" y="751"/>
                </a:cubicBezTo>
                <a:close/>
                <a:moveTo>
                  <a:pt x="6890" y="749"/>
                </a:moveTo>
                <a:cubicBezTo>
                  <a:pt x="6891" y="749"/>
                  <a:pt x="6893" y="747"/>
                  <a:pt x="6895" y="745"/>
                </a:cubicBezTo>
                <a:lnTo>
                  <a:pt x="6897" y="742"/>
                </a:lnTo>
                <a:lnTo>
                  <a:pt x="6896" y="742"/>
                </a:lnTo>
                <a:lnTo>
                  <a:pt x="6894" y="744"/>
                </a:lnTo>
                <a:cubicBezTo>
                  <a:pt x="6891" y="746"/>
                  <a:pt x="6890" y="747"/>
                  <a:pt x="6890" y="748"/>
                </a:cubicBezTo>
                <a:cubicBezTo>
                  <a:pt x="6890" y="748"/>
                  <a:pt x="6890" y="749"/>
                  <a:pt x="6890" y="749"/>
                </a:cubicBezTo>
                <a:close/>
                <a:moveTo>
                  <a:pt x="6621" y="667"/>
                </a:moveTo>
                <a:cubicBezTo>
                  <a:pt x="6621" y="667"/>
                  <a:pt x="6620" y="667"/>
                  <a:pt x="6620" y="665"/>
                </a:cubicBezTo>
                <a:lnTo>
                  <a:pt x="6619" y="663"/>
                </a:lnTo>
                <a:cubicBezTo>
                  <a:pt x="6619" y="662"/>
                  <a:pt x="6619" y="661"/>
                  <a:pt x="6620" y="660"/>
                </a:cubicBezTo>
                <a:cubicBezTo>
                  <a:pt x="6621" y="660"/>
                  <a:pt x="6621" y="660"/>
                  <a:pt x="6622" y="660"/>
                </a:cubicBezTo>
                <a:cubicBezTo>
                  <a:pt x="6623" y="660"/>
                  <a:pt x="6624" y="661"/>
                  <a:pt x="6624" y="663"/>
                </a:cubicBezTo>
                <a:cubicBezTo>
                  <a:pt x="6624" y="664"/>
                  <a:pt x="6623" y="665"/>
                  <a:pt x="6623" y="666"/>
                </a:cubicBezTo>
                <a:cubicBezTo>
                  <a:pt x="6622" y="667"/>
                  <a:pt x="6621" y="667"/>
                  <a:pt x="6621" y="667"/>
                </a:cubicBezTo>
                <a:close/>
                <a:moveTo>
                  <a:pt x="6622" y="657"/>
                </a:moveTo>
                <a:lnTo>
                  <a:pt x="6619" y="655"/>
                </a:lnTo>
                <a:cubicBezTo>
                  <a:pt x="6618" y="654"/>
                  <a:pt x="6617" y="654"/>
                  <a:pt x="6617" y="653"/>
                </a:cubicBezTo>
                <a:cubicBezTo>
                  <a:pt x="6617" y="652"/>
                  <a:pt x="6618" y="652"/>
                  <a:pt x="6619" y="651"/>
                </a:cubicBezTo>
                <a:cubicBezTo>
                  <a:pt x="6622" y="648"/>
                  <a:pt x="6624" y="647"/>
                  <a:pt x="6625" y="647"/>
                </a:cubicBezTo>
                <a:cubicBezTo>
                  <a:pt x="6626" y="647"/>
                  <a:pt x="6626" y="647"/>
                  <a:pt x="6626" y="649"/>
                </a:cubicBezTo>
                <a:cubicBezTo>
                  <a:pt x="6626" y="651"/>
                  <a:pt x="6626" y="652"/>
                  <a:pt x="6624" y="652"/>
                </a:cubicBezTo>
                <a:lnTo>
                  <a:pt x="6624" y="652"/>
                </a:lnTo>
                <a:cubicBezTo>
                  <a:pt x="6623" y="652"/>
                  <a:pt x="6622" y="652"/>
                  <a:pt x="6622" y="654"/>
                </a:cubicBezTo>
                <a:lnTo>
                  <a:pt x="6622" y="656"/>
                </a:lnTo>
                <a:cubicBezTo>
                  <a:pt x="6622" y="656"/>
                  <a:pt x="6622" y="657"/>
                  <a:pt x="6622" y="657"/>
                </a:cubicBezTo>
                <a:close/>
                <a:moveTo>
                  <a:pt x="6847" y="781"/>
                </a:moveTo>
                <a:cubicBezTo>
                  <a:pt x="6847" y="781"/>
                  <a:pt x="6846" y="780"/>
                  <a:pt x="6846" y="779"/>
                </a:cubicBezTo>
                <a:cubicBezTo>
                  <a:pt x="6846" y="778"/>
                  <a:pt x="6847" y="778"/>
                  <a:pt x="6848" y="777"/>
                </a:cubicBezTo>
                <a:cubicBezTo>
                  <a:pt x="6849" y="776"/>
                  <a:pt x="6850" y="775"/>
                  <a:pt x="6852" y="774"/>
                </a:cubicBezTo>
                <a:cubicBezTo>
                  <a:pt x="6854" y="773"/>
                  <a:pt x="6855" y="772"/>
                  <a:pt x="6855" y="772"/>
                </a:cubicBezTo>
                <a:lnTo>
                  <a:pt x="6856" y="772"/>
                </a:lnTo>
                <a:cubicBezTo>
                  <a:pt x="6856" y="772"/>
                  <a:pt x="6854" y="774"/>
                  <a:pt x="6852" y="777"/>
                </a:cubicBezTo>
                <a:cubicBezTo>
                  <a:pt x="6849" y="779"/>
                  <a:pt x="6848" y="781"/>
                  <a:pt x="6847" y="781"/>
                </a:cubicBezTo>
                <a:close/>
                <a:moveTo>
                  <a:pt x="6780" y="819"/>
                </a:moveTo>
                <a:cubicBezTo>
                  <a:pt x="6769" y="819"/>
                  <a:pt x="6757" y="818"/>
                  <a:pt x="6745" y="814"/>
                </a:cubicBezTo>
                <a:cubicBezTo>
                  <a:pt x="6734" y="811"/>
                  <a:pt x="6726" y="808"/>
                  <a:pt x="6722" y="805"/>
                </a:cubicBezTo>
                <a:cubicBezTo>
                  <a:pt x="6720" y="804"/>
                  <a:pt x="6717" y="801"/>
                  <a:pt x="6714" y="797"/>
                </a:cubicBezTo>
                <a:cubicBezTo>
                  <a:pt x="6707" y="787"/>
                  <a:pt x="6703" y="780"/>
                  <a:pt x="6703" y="776"/>
                </a:cubicBezTo>
                <a:cubicBezTo>
                  <a:pt x="6703" y="773"/>
                  <a:pt x="6703" y="772"/>
                  <a:pt x="6701" y="772"/>
                </a:cubicBezTo>
                <a:cubicBezTo>
                  <a:pt x="6700" y="771"/>
                  <a:pt x="6699" y="769"/>
                  <a:pt x="6698" y="767"/>
                </a:cubicBezTo>
                <a:cubicBezTo>
                  <a:pt x="6698" y="764"/>
                  <a:pt x="6697" y="763"/>
                  <a:pt x="6696" y="761"/>
                </a:cubicBezTo>
                <a:cubicBezTo>
                  <a:pt x="6694" y="758"/>
                  <a:pt x="6693" y="750"/>
                  <a:pt x="6692" y="739"/>
                </a:cubicBezTo>
                <a:cubicBezTo>
                  <a:pt x="6690" y="727"/>
                  <a:pt x="6690" y="715"/>
                  <a:pt x="6690" y="704"/>
                </a:cubicBezTo>
                <a:cubicBezTo>
                  <a:pt x="6690" y="683"/>
                  <a:pt x="6691" y="662"/>
                  <a:pt x="6693" y="644"/>
                </a:cubicBezTo>
                <a:cubicBezTo>
                  <a:pt x="6695" y="625"/>
                  <a:pt x="6699" y="603"/>
                  <a:pt x="6704" y="575"/>
                </a:cubicBezTo>
                <a:cubicBezTo>
                  <a:pt x="6708" y="556"/>
                  <a:pt x="6712" y="546"/>
                  <a:pt x="6715" y="546"/>
                </a:cubicBezTo>
                <a:lnTo>
                  <a:pt x="6717" y="546"/>
                </a:lnTo>
                <a:cubicBezTo>
                  <a:pt x="6717" y="546"/>
                  <a:pt x="6718" y="546"/>
                  <a:pt x="6718" y="546"/>
                </a:cubicBezTo>
                <a:lnTo>
                  <a:pt x="6717" y="544"/>
                </a:lnTo>
                <a:cubicBezTo>
                  <a:pt x="6717" y="541"/>
                  <a:pt x="6718" y="539"/>
                  <a:pt x="6719" y="537"/>
                </a:cubicBezTo>
                <a:lnTo>
                  <a:pt x="6722" y="535"/>
                </a:lnTo>
                <a:cubicBezTo>
                  <a:pt x="6722" y="536"/>
                  <a:pt x="6722" y="537"/>
                  <a:pt x="6721" y="539"/>
                </a:cubicBezTo>
                <a:cubicBezTo>
                  <a:pt x="6720" y="541"/>
                  <a:pt x="6720" y="543"/>
                  <a:pt x="6720" y="546"/>
                </a:cubicBezTo>
                <a:cubicBezTo>
                  <a:pt x="6720" y="549"/>
                  <a:pt x="6719" y="551"/>
                  <a:pt x="6718" y="551"/>
                </a:cubicBezTo>
                <a:cubicBezTo>
                  <a:pt x="6717" y="552"/>
                  <a:pt x="6717" y="552"/>
                  <a:pt x="6717" y="552"/>
                </a:cubicBezTo>
                <a:cubicBezTo>
                  <a:pt x="6717" y="553"/>
                  <a:pt x="6717" y="554"/>
                  <a:pt x="6718" y="555"/>
                </a:cubicBezTo>
                <a:cubicBezTo>
                  <a:pt x="6719" y="556"/>
                  <a:pt x="6720" y="557"/>
                  <a:pt x="6720" y="558"/>
                </a:cubicBezTo>
                <a:cubicBezTo>
                  <a:pt x="6720" y="558"/>
                  <a:pt x="6719" y="559"/>
                  <a:pt x="6718" y="560"/>
                </a:cubicBezTo>
                <a:cubicBezTo>
                  <a:pt x="6716" y="561"/>
                  <a:pt x="6715" y="561"/>
                  <a:pt x="6715" y="562"/>
                </a:cubicBezTo>
                <a:cubicBezTo>
                  <a:pt x="6715" y="563"/>
                  <a:pt x="6715" y="563"/>
                  <a:pt x="6716" y="564"/>
                </a:cubicBezTo>
                <a:cubicBezTo>
                  <a:pt x="6717" y="565"/>
                  <a:pt x="6717" y="568"/>
                  <a:pt x="6717" y="571"/>
                </a:cubicBezTo>
                <a:lnTo>
                  <a:pt x="6716" y="577"/>
                </a:lnTo>
                <a:cubicBezTo>
                  <a:pt x="6715" y="584"/>
                  <a:pt x="6714" y="591"/>
                  <a:pt x="6713" y="600"/>
                </a:cubicBezTo>
                <a:cubicBezTo>
                  <a:pt x="6712" y="603"/>
                  <a:pt x="6711" y="613"/>
                  <a:pt x="6709" y="630"/>
                </a:cubicBezTo>
                <a:cubicBezTo>
                  <a:pt x="6709" y="636"/>
                  <a:pt x="6709" y="642"/>
                  <a:pt x="6708" y="648"/>
                </a:cubicBezTo>
                <a:cubicBezTo>
                  <a:pt x="6707" y="653"/>
                  <a:pt x="6707" y="658"/>
                  <a:pt x="6707" y="661"/>
                </a:cubicBezTo>
                <a:cubicBezTo>
                  <a:pt x="6705" y="666"/>
                  <a:pt x="6704" y="679"/>
                  <a:pt x="6704" y="701"/>
                </a:cubicBezTo>
                <a:cubicBezTo>
                  <a:pt x="6704" y="718"/>
                  <a:pt x="6705" y="733"/>
                  <a:pt x="6707" y="747"/>
                </a:cubicBezTo>
                <a:cubicBezTo>
                  <a:pt x="6710" y="776"/>
                  <a:pt x="6716" y="790"/>
                  <a:pt x="6724" y="790"/>
                </a:cubicBezTo>
                <a:cubicBezTo>
                  <a:pt x="6725" y="790"/>
                  <a:pt x="6726" y="791"/>
                  <a:pt x="6726" y="791"/>
                </a:cubicBezTo>
                <a:lnTo>
                  <a:pt x="6726" y="794"/>
                </a:lnTo>
                <a:cubicBezTo>
                  <a:pt x="6726" y="795"/>
                  <a:pt x="6727" y="797"/>
                  <a:pt x="6730" y="800"/>
                </a:cubicBezTo>
                <a:cubicBezTo>
                  <a:pt x="6732" y="802"/>
                  <a:pt x="6734" y="803"/>
                  <a:pt x="6735" y="803"/>
                </a:cubicBezTo>
                <a:cubicBezTo>
                  <a:pt x="6735" y="803"/>
                  <a:pt x="6735" y="803"/>
                  <a:pt x="6735" y="802"/>
                </a:cubicBezTo>
                <a:cubicBezTo>
                  <a:pt x="6735" y="800"/>
                  <a:pt x="6734" y="797"/>
                  <a:pt x="6731" y="792"/>
                </a:cubicBezTo>
                <a:cubicBezTo>
                  <a:pt x="6728" y="784"/>
                  <a:pt x="6725" y="773"/>
                  <a:pt x="6723" y="759"/>
                </a:cubicBezTo>
                <a:cubicBezTo>
                  <a:pt x="6721" y="745"/>
                  <a:pt x="6720" y="731"/>
                  <a:pt x="6720" y="719"/>
                </a:cubicBezTo>
                <a:cubicBezTo>
                  <a:pt x="6720" y="708"/>
                  <a:pt x="6721" y="700"/>
                  <a:pt x="6723" y="696"/>
                </a:cubicBezTo>
                <a:lnTo>
                  <a:pt x="6724" y="694"/>
                </a:lnTo>
                <a:lnTo>
                  <a:pt x="6723" y="695"/>
                </a:lnTo>
                <a:cubicBezTo>
                  <a:pt x="6722" y="695"/>
                  <a:pt x="6721" y="694"/>
                  <a:pt x="6721" y="692"/>
                </a:cubicBezTo>
                <a:cubicBezTo>
                  <a:pt x="6721" y="688"/>
                  <a:pt x="6722" y="686"/>
                  <a:pt x="6724" y="684"/>
                </a:cubicBezTo>
                <a:cubicBezTo>
                  <a:pt x="6726" y="683"/>
                  <a:pt x="6727" y="681"/>
                  <a:pt x="6727" y="678"/>
                </a:cubicBezTo>
                <a:cubicBezTo>
                  <a:pt x="6727" y="676"/>
                  <a:pt x="6727" y="676"/>
                  <a:pt x="6727" y="676"/>
                </a:cubicBezTo>
                <a:cubicBezTo>
                  <a:pt x="6726" y="676"/>
                  <a:pt x="6726" y="676"/>
                  <a:pt x="6725" y="677"/>
                </a:cubicBezTo>
                <a:cubicBezTo>
                  <a:pt x="6724" y="679"/>
                  <a:pt x="6723" y="679"/>
                  <a:pt x="6723" y="679"/>
                </a:cubicBezTo>
                <a:cubicBezTo>
                  <a:pt x="6723" y="679"/>
                  <a:pt x="6723" y="679"/>
                  <a:pt x="6723" y="676"/>
                </a:cubicBezTo>
                <a:cubicBezTo>
                  <a:pt x="6723" y="675"/>
                  <a:pt x="6723" y="674"/>
                  <a:pt x="6724" y="672"/>
                </a:cubicBezTo>
                <a:cubicBezTo>
                  <a:pt x="6724" y="670"/>
                  <a:pt x="6725" y="669"/>
                  <a:pt x="6726" y="667"/>
                </a:cubicBezTo>
                <a:cubicBezTo>
                  <a:pt x="6727" y="666"/>
                  <a:pt x="6728" y="665"/>
                  <a:pt x="6728" y="665"/>
                </a:cubicBezTo>
                <a:cubicBezTo>
                  <a:pt x="6729" y="665"/>
                  <a:pt x="6729" y="666"/>
                  <a:pt x="6729" y="668"/>
                </a:cubicBezTo>
                <a:cubicBezTo>
                  <a:pt x="6729" y="677"/>
                  <a:pt x="6729" y="682"/>
                  <a:pt x="6728" y="683"/>
                </a:cubicBezTo>
                <a:cubicBezTo>
                  <a:pt x="6727" y="683"/>
                  <a:pt x="6727" y="688"/>
                  <a:pt x="6727" y="695"/>
                </a:cubicBezTo>
                <a:lnTo>
                  <a:pt x="6727" y="710"/>
                </a:lnTo>
                <a:cubicBezTo>
                  <a:pt x="6727" y="718"/>
                  <a:pt x="6726" y="721"/>
                  <a:pt x="6726" y="721"/>
                </a:cubicBezTo>
                <a:cubicBezTo>
                  <a:pt x="6725" y="721"/>
                  <a:pt x="6724" y="722"/>
                  <a:pt x="6724" y="723"/>
                </a:cubicBezTo>
                <a:cubicBezTo>
                  <a:pt x="6723" y="724"/>
                  <a:pt x="6723" y="725"/>
                  <a:pt x="6723" y="727"/>
                </a:cubicBezTo>
                <a:cubicBezTo>
                  <a:pt x="6723" y="728"/>
                  <a:pt x="6723" y="729"/>
                  <a:pt x="6724" y="730"/>
                </a:cubicBezTo>
                <a:cubicBezTo>
                  <a:pt x="6724" y="730"/>
                  <a:pt x="6725" y="731"/>
                  <a:pt x="6726" y="732"/>
                </a:cubicBezTo>
                <a:lnTo>
                  <a:pt x="6726" y="732"/>
                </a:lnTo>
                <a:cubicBezTo>
                  <a:pt x="6727" y="732"/>
                  <a:pt x="6728" y="734"/>
                  <a:pt x="6728" y="737"/>
                </a:cubicBezTo>
                <a:cubicBezTo>
                  <a:pt x="6728" y="739"/>
                  <a:pt x="6728" y="741"/>
                  <a:pt x="6727" y="742"/>
                </a:cubicBezTo>
                <a:cubicBezTo>
                  <a:pt x="6727" y="744"/>
                  <a:pt x="6726" y="744"/>
                  <a:pt x="6725" y="744"/>
                </a:cubicBezTo>
                <a:cubicBezTo>
                  <a:pt x="6724" y="744"/>
                  <a:pt x="6724" y="745"/>
                  <a:pt x="6724" y="747"/>
                </a:cubicBezTo>
                <a:cubicBezTo>
                  <a:pt x="6724" y="748"/>
                  <a:pt x="6724" y="750"/>
                  <a:pt x="6725" y="752"/>
                </a:cubicBezTo>
                <a:cubicBezTo>
                  <a:pt x="6725" y="754"/>
                  <a:pt x="6726" y="755"/>
                  <a:pt x="6726" y="757"/>
                </a:cubicBezTo>
                <a:lnTo>
                  <a:pt x="6725" y="758"/>
                </a:lnTo>
                <a:cubicBezTo>
                  <a:pt x="6725" y="759"/>
                  <a:pt x="6725" y="759"/>
                  <a:pt x="6727" y="760"/>
                </a:cubicBezTo>
                <a:cubicBezTo>
                  <a:pt x="6728" y="761"/>
                  <a:pt x="6729" y="762"/>
                  <a:pt x="6729" y="762"/>
                </a:cubicBezTo>
                <a:cubicBezTo>
                  <a:pt x="6729" y="762"/>
                  <a:pt x="6728" y="762"/>
                  <a:pt x="6727" y="762"/>
                </a:cubicBezTo>
                <a:cubicBezTo>
                  <a:pt x="6726" y="762"/>
                  <a:pt x="6726" y="763"/>
                  <a:pt x="6726" y="763"/>
                </a:cubicBezTo>
                <a:cubicBezTo>
                  <a:pt x="6726" y="764"/>
                  <a:pt x="6726" y="766"/>
                  <a:pt x="6727" y="767"/>
                </a:cubicBezTo>
                <a:cubicBezTo>
                  <a:pt x="6729" y="771"/>
                  <a:pt x="6730" y="774"/>
                  <a:pt x="6730" y="777"/>
                </a:cubicBezTo>
                <a:cubicBezTo>
                  <a:pt x="6730" y="779"/>
                  <a:pt x="6730" y="780"/>
                  <a:pt x="6730" y="780"/>
                </a:cubicBezTo>
                <a:lnTo>
                  <a:pt x="6732" y="779"/>
                </a:lnTo>
                <a:cubicBezTo>
                  <a:pt x="6733" y="779"/>
                  <a:pt x="6733" y="779"/>
                  <a:pt x="6733" y="780"/>
                </a:cubicBezTo>
                <a:lnTo>
                  <a:pt x="6732" y="785"/>
                </a:lnTo>
                <a:cubicBezTo>
                  <a:pt x="6732" y="786"/>
                  <a:pt x="6732" y="787"/>
                  <a:pt x="6733" y="787"/>
                </a:cubicBezTo>
                <a:cubicBezTo>
                  <a:pt x="6733" y="787"/>
                  <a:pt x="6734" y="786"/>
                  <a:pt x="6735" y="786"/>
                </a:cubicBezTo>
                <a:cubicBezTo>
                  <a:pt x="6736" y="785"/>
                  <a:pt x="6737" y="785"/>
                  <a:pt x="6738" y="785"/>
                </a:cubicBezTo>
                <a:lnTo>
                  <a:pt x="6738" y="786"/>
                </a:lnTo>
                <a:cubicBezTo>
                  <a:pt x="6738" y="786"/>
                  <a:pt x="6737" y="787"/>
                  <a:pt x="6736" y="788"/>
                </a:cubicBezTo>
                <a:cubicBezTo>
                  <a:pt x="6735" y="790"/>
                  <a:pt x="6735" y="791"/>
                  <a:pt x="6735" y="791"/>
                </a:cubicBezTo>
                <a:cubicBezTo>
                  <a:pt x="6735" y="792"/>
                  <a:pt x="6736" y="793"/>
                  <a:pt x="6738" y="794"/>
                </a:cubicBezTo>
                <a:cubicBezTo>
                  <a:pt x="6740" y="794"/>
                  <a:pt x="6742" y="795"/>
                  <a:pt x="6742" y="796"/>
                </a:cubicBezTo>
                <a:lnTo>
                  <a:pt x="6741" y="797"/>
                </a:lnTo>
                <a:cubicBezTo>
                  <a:pt x="6741" y="797"/>
                  <a:pt x="6740" y="798"/>
                  <a:pt x="6740" y="799"/>
                </a:cubicBezTo>
                <a:cubicBezTo>
                  <a:pt x="6740" y="800"/>
                  <a:pt x="6742" y="802"/>
                  <a:pt x="6745" y="803"/>
                </a:cubicBezTo>
                <a:cubicBezTo>
                  <a:pt x="6748" y="804"/>
                  <a:pt x="6751" y="804"/>
                  <a:pt x="6755" y="804"/>
                </a:cubicBezTo>
                <a:cubicBezTo>
                  <a:pt x="6760" y="804"/>
                  <a:pt x="6765" y="804"/>
                  <a:pt x="6769" y="803"/>
                </a:cubicBezTo>
                <a:cubicBezTo>
                  <a:pt x="6781" y="800"/>
                  <a:pt x="6791" y="796"/>
                  <a:pt x="6799" y="792"/>
                </a:cubicBezTo>
                <a:cubicBezTo>
                  <a:pt x="6808" y="788"/>
                  <a:pt x="6813" y="786"/>
                  <a:pt x="6815" y="786"/>
                </a:cubicBezTo>
                <a:cubicBezTo>
                  <a:pt x="6816" y="786"/>
                  <a:pt x="6816" y="785"/>
                  <a:pt x="6817" y="785"/>
                </a:cubicBezTo>
                <a:cubicBezTo>
                  <a:pt x="6818" y="784"/>
                  <a:pt x="6818" y="784"/>
                  <a:pt x="6818" y="784"/>
                </a:cubicBezTo>
                <a:cubicBezTo>
                  <a:pt x="6818" y="783"/>
                  <a:pt x="6819" y="782"/>
                  <a:pt x="6820" y="781"/>
                </a:cubicBezTo>
                <a:cubicBezTo>
                  <a:pt x="6822" y="780"/>
                  <a:pt x="6825" y="779"/>
                  <a:pt x="6827" y="779"/>
                </a:cubicBezTo>
                <a:cubicBezTo>
                  <a:pt x="6827" y="779"/>
                  <a:pt x="6828" y="780"/>
                  <a:pt x="6828" y="780"/>
                </a:cubicBezTo>
                <a:cubicBezTo>
                  <a:pt x="6828" y="780"/>
                  <a:pt x="6827" y="782"/>
                  <a:pt x="6824" y="785"/>
                </a:cubicBezTo>
                <a:cubicBezTo>
                  <a:pt x="6823" y="786"/>
                  <a:pt x="6822" y="788"/>
                  <a:pt x="6820" y="789"/>
                </a:cubicBezTo>
                <a:cubicBezTo>
                  <a:pt x="6818" y="790"/>
                  <a:pt x="6817" y="790"/>
                  <a:pt x="6816" y="790"/>
                </a:cubicBezTo>
                <a:cubicBezTo>
                  <a:pt x="6814" y="790"/>
                  <a:pt x="6812" y="791"/>
                  <a:pt x="6812" y="793"/>
                </a:cubicBezTo>
                <a:cubicBezTo>
                  <a:pt x="6812" y="794"/>
                  <a:pt x="6802" y="799"/>
                  <a:pt x="6781" y="807"/>
                </a:cubicBezTo>
                <a:lnTo>
                  <a:pt x="6778" y="808"/>
                </a:lnTo>
                <a:cubicBezTo>
                  <a:pt x="6778" y="809"/>
                  <a:pt x="6777" y="809"/>
                  <a:pt x="6776" y="809"/>
                </a:cubicBezTo>
                <a:cubicBezTo>
                  <a:pt x="6775" y="810"/>
                  <a:pt x="6774" y="810"/>
                  <a:pt x="6773" y="811"/>
                </a:cubicBezTo>
                <a:cubicBezTo>
                  <a:pt x="6772" y="811"/>
                  <a:pt x="6771" y="811"/>
                  <a:pt x="6771" y="811"/>
                </a:cubicBezTo>
                <a:cubicBezTo>
                  <a:pt x="6770" y="811"/>
                  <a:pt x="6770" y="812"/>
                  <a:pt x="6770" y="812"/>
                </a:cubicBezTo>
                <a:cubicBezTo>
                  <a:pt x="6770" y="812"/>
                  <a:pt x="6771" y="813"/>
                  <a:pt x="6773" y="813"/>
                </a:cubicBezTo>
                <a:cubicBezTo>
                  <a:pt x="6777" y="813"/>
                  <a:pt x="6779" y="814"/>
                  <a:pt x="6780" y="815"/>
                </a:cubicBezTo>
                <a:cubicBezTo>
                  <a:pt x="6781" y="817"/>
                  <a:pt x="6782" y="818"/>
                  <a:pt x="6784" y="818"/>
                </a:cubicBezTo>
                <a:cubicBezTo>
                  <a:pt x="6785" y="818"/>
                  <a:pt x="6785" y="817"/>
                  <a:pt x="6785" y="817"/>
                </a:cubicBezTo>
                <a:cubicBezTo>
                  <a:pt x="6785" y="817"/>
                  <a:pt x="6784" y="816"/>
                  <a:pt x="6783" y="815"/>
                </a:cubicBezTo>
                <a:cubicBezTo>
                  <a:pt x="6781" y="813"/>
                  <a:pt x="6779" y="812"/>
                  <a:pt x="6779" y="811"/>
                </a:cubicBezTo>
                <a:cubicBezTo>
                  <a:pt x="6779" y="809"/>
                  <a:pt x="6784" y="808"/>
                  <a:pt x="6795" y="807"/>
                </a:cubicBezTo>
                <a:cubicBezTo>
                  <a:pt x="6797" y="807"/>
                  <a:pt x="6799" y="807"/>
                  <a:pt x="6799" y="806"/>
                </a:cubicBezTo>
                <a:cubicBezTo>
                  <a:pt x="6799" y="804"/>
                  <a:pt x="6799" y="804"/>
                  <a:pt x="6801" y="804"/>
                </a:cubicBezTo>
                <a:cubicBezTo>
                  <a:pt x="6802" y="804"/>
                  <a:pt x="6802" y="804"/>
                  <a:pt x="6802" y="805"/>
                </a:cubicBezTo>
                <a:lnTo>
                  <a:pt x="6801" y="807"/>
                </a:lnTo>
                <a:cubicBezTo>
                  <a:pt x="6801" y="810"/>
                  <a:pt x="6802" y="812"/>
                  <a:pt x="6803" y="813"/>
                </a:cubicBezTo>
                <a:cubicBezTo>
                  <a:pt x="6804" y="813"/>
                  <a:pt x="6804" y="814"/>
                  <a:pt x="6804" y="814"/>
                </a:cubicBezTo>
                <a:cubicBezTo>
                  <a:pt x="6804" y="815"/>
                  <a:pt x="6802" y="816"/>
                  <a:pt x="6797" y="816"/>
                </a:cubicBezTo>
                <a:lnTo>
                  <a:pt x="6792" y="816"/>
                </a:lnTo>
                <a:cubicBezTo>
                  <a:pt x="6789" y="816"/>
                  <a:pt x="6788" y="816"/>
                  <a:pt x="6788" y="818"/>
                </a:cubicBezTo>
                <a:cubicBezTo>
                  <a:pt x="6788" y="819"/>
                  <a:pt x="6785" y="819"/>
                  <a:pt x="6780" y="819"/>
                </a:cubicBezTo>
                <a:close/>
                <a:moveTo>
                  <a:pt x="6695" y="723"/>
                </a:moveTo>
                <a:lnTo>
                  <a:pt x="6696" y="722"/>
                </a:lnTo>
                <a:lnTo>
                  <a:pt x="6697" y="719"/>
                </a:lnTo>
                <a:lnTo>
                  <a:pt x="6696" y="716"/>
                </a:lnTo>
                <a:lnTo>
                  <a:pt x="6695" y="715"/>
                </a:lnTo>
                <a:cubicBezTo>
                  <a:pt x="6695" y="715"/>
                  <a:pt x="6695" y="717"/>
                  <a:pt x="6695" y="719"/>
                </a:cubicBezTo>
                <a:cubicBezTo>
                  <a:pt x="6695" y="721"/>
                  <a:pt x="6695" y="723"/>
                  <a:pt x="6695" y="723"/>
                </a:cubicBezTo>
                <a:close/>
                <a:moveTo>
                  <a:pt x="6832" y="781"/>
                </a:moveTo>
                <a:cubicBezTo>
                  <a:pt x="6831" y="781"/>
                  <a:pt x="6831" y="780"/>
                  <a:pt x="6831" y="779"/>
                </a:cubicBezTo>
                <a:cubicBezTo>
                  <a:pt x="6831" y="777"/>
                  <a:pt x="6832" y="776"/>
                  <a:pt x="6833" y="776"/>
                </a:cubicBezTo>
                <a:cubicBezTo>
                  <a:pt x="6834" y="776"/>
                  <a:pt x="6835" y="776"/>
                  <a:pt x="6835" y="777"/>
                </a:cubicBezTo>
                <a:cubicBezTo>
                  <a:pt x="6835" y="777"/>
                  <a:pt x="6835" y="778"/>
                  <a:pt x="6834" y="779"/>
                </a:cubicBezTo>
                <a:cubicBezTo>
                  <a:pt x="6834" y="780"/>
                  <a:pt x="6833" y="781"/>
                  <a:pt x="6832" y="781"/>
                </a:cubicBezTo>
                <a:close/>
                <a:moveTo>
                  <a:pt x="6836" y="788"/>
                </a:moveTo>
                <a:lnTo>
                  <a:pt x="6837" y="785"/>
                </a:lnTo>
                <a:cubicBezTo>
                  <a:pt x="6837" y="783"/>
                  <a:pt x="6838" y="782"/>
                  <a:pt x="6839" y="781"/>
                </a:cubicBezTo>
                <a:cubicBezTo>
                  <a:pt x="6839" y="781"/>
                  <a:pt x="6840" y="782"/>
                  <a:pt x="6840" y="783"/>
                </a:cubicBezTo>
                <a:cubicBezTo>
                  <a:pt x="6840" y="784"/>
                  <a:pt x="6839" y="785"/>
                  <a:pt x="6838" y="786"/>
                </a:cubicBezTo>
                <a:cubicBezTo>
                  <a:pt x="6837" y="787"/>
                  <a:pt x="6837" y="788"/>
                  <a:pt x="6836" y="788"/>
                </a:cubicBezTo>
                <a:close/>
                <a:moveTo>
                  <a:pt x="6732" y="732"/>
                </a:moveTo>
                <a:cubicBezTo>
                  <a:pt x="6732" y="732"/>
                  <a:pt x="6732" y="731"/>
                  <a:pt x="6732" y="728"/>
                </a:cubicBezTo>
                <a:cubicBezTo>
                  <a:pt x="6732" y="726"/>
                  <a:pt x="6732" y="723"/>
                  <a:pt x="6731" y="718"/>
                </a:cubicBezTo>
                <a:cubicBezTo>
                  <a:pt x="6731" y="714"/>
                  <a:pt x="6731" y="710"/>
                  <a:pt x="6731" y="705"/>
                </a:cubicBezTo>
                <a:cubicBezTo>
                  <a:pt x="6730" y="701"/>
                  <a:pt x="6730" y="698"/>
                  <a:pt x="6730" y="695"/>
                </a:cubicBezTo>
                <a:lnTo>
                  <a:pt x="6730" y="693"/>
                </a:lnTo>
                <a:cubicBezTo>
                  <a:pt x="6730" y="688"/>
                  <a:pt x="6731" y="686"/>
                  <a:pt x="6732" y="686"/>
                </a:cubicBezTo>
                <a:cubicBezTo>
                  <a:pt x="6733" y="686"/>
                  <a:pt x="6733" y="694"/>
                  <a:pt x="6733" y="710"/>
                </a:cubicBezTo>
                <a:cubicBezTo>
                  <a:pt x="6733" y="725"/>
                  <a:pt x="6733" y="732"/>
                  <a:pt x="6732" y="732"/>
                </a:cubicBezTo>
                <a:close/>
                <a:moveTo>
                  <a:pt x="7145" y="692"/>
                </a:moveTo>
                <a:cubicBezTo>
                  <a:pt x="7145" y="692"/>
                  <a:pt x="7145" y="691"/>
                  <a:pt x="7145" y="691"/>
                </a:cubicBezTo>
                <a:cubicBezTo>
                  <a:pt x="7145" y="690"/>
                  <a:pt x="7146" y="688"/>
                  <a:pt x="7148" y="687"/>
                </a:cubicBezTo>
                <a:lnTo>
                  <a:pt x="7151" y="685"/>
                </a:lnTo>
                <a:cubicBezTo>
                  <a:pt x="7151" y="685"/>
                  <a:pt x="7150" y="686"/>
                  <a:pt x="7149" y="688"/>
                </a:cubicBezTo>
                <a:cubicBezTo>
                  <a:pt x="7147" y="691"/>
                  <a:pt x="7146" y="692"/>
                  <a:pt x="7145" y="692"/>
                </a:cubicBezTo>
                <a:close/>
                <a:moveTo>
                  <a:pt x="7145" y="691"/>
                </a:moveTo>
                <a:close/>
                <a:moveTo>
                  <a:pt x="7153" y="694"/>
                </a:moveTo>
                <a:cubicBezTo>
                  <a:pt x="7152" y="694"/>
                  <a:pt x="7152" y="693"/>
                  <a:pt x="7152" y="693"/>
                </a:cubicBezTo>
                <a:lnTo>
                  <a:pt x="7152" y="692"/>
                </a:lnTo>
                <a:cubicBezTo>
                  <a:pt x="7153" y="690"/>
                  <a:pt x="7154" y="689"/>
                  <a:pt x="7154" y="689"/>
                </a:cubicBezTo>
                <a:cubicBezTo>
                  <a:pt x="7155" y="689"/>
                  <a:pt x="7155" y="690"/>
                  <a:pt x="7155" y="692"/>
                </a:cubicBezTo>
                <a:cubicBezTo>
                  <a:pt x="7155" y="693"/>
                  <a:pt x="7155" y="694"/>
                  <a:pt x="7153" y="694"/>
                </a:cubicBezTo>
                <a:close/>
                <a:moveTo>
                  <a:pt x="7164" y="801"/>
                </a:moveTo>
                <a:cubicBezTo>
                  <a:pt x="7164" y="801"/>
                  <a:pt x="7165" y="800"/>
                  <a:pt x="7166" y="799"/>
                </a:cubicBezTo>
                <a:cubicBezTo>
                  <a:pt x="7167" y="798"/>
                  <a:pt x="7168" y="797"/>
                  <a:pt x="7169" y="797"/>
                </a:cubicBezTo>
                <a:cubicBezTo>
                  <a:pt x="7169" y="797"/>
                  <a:pt x="7170" y="797"/>
                  <a:pt x="7170" y="798"/>
                </a:cubicBezTo>
                <a:cubicBezTo>
                  <a:pt x="7170" y="799"/>
                  <a:pt x="7169" y="799"/>
                  <a:pt x="7167" y="800"/>
                </a:cubicBezTo>
                <a:lnTo>
                  <a:pt x="7164" y="801"/>
                </a:lnTo>
                <a:close/>
                <a:moveTo>
                  <a:pt x="7161" y="797"/>
                </a:moveTo>
                <a:cubicBezTo>
                  <a:pt x="7160" y="797"/>
                  <a:pt x="7160" y="796"/>
                  <a:pt x="7160" y="796"/>
                </a:cubicBezTo>
                <a:cubicBezTo>
                  <a:pt x="7160" y="796"/>
                  <a:pt x="7160" y="795"/>
                  <a:pt x="7160" y="795"/>
                </a:cubicBezTo>
                <a:cubicBezTo>
                  <a:pt x="7161" y="795"/>
                  <a:pt x="7162" y="794"/>
                  <a:pt x="7164" y="794"/>
                </a:cubicBezTo>
                <a:lnTo>
                  <a:pt x="7165" y="793"/>
                </a:lnTo>
                <a:cubicBezTo>
                  <a:pt x="7165" y="793"/>
                  <a:pt x="7166" y="794"/>
                  <a:pt x="7166" y="794"/>
                </a:cubicBezTo>
                <a:cubicBezTo>
                  <a:pt x="7166" y="794"/>
                  <a:pt x="7165" y="794"/>
                  <a:pt x="7165" y="795"/>
                </a:cubicBezTo>
                <a:cubicBezTo>
                  <a:pt x="7165" y="796"/>
                  <a:pt x="7164" y="796"/>
                  <a:pt x="7163" y="796"/>
                </a:cubicBezTo>
                <a:cubicBezTo>
                  <a:pt x="7162" y="797"/>
                  <a:pt x="7162" y="797"/>
                  <a:pt x="7161" y="797"/>
                </a:cubicBezTo>
                <a:close/>
                <a:moveTo>
                  <a:pt x="7174" y="797"/>
                </a:moveTo>
                <a:lnTo>
                  <a:pt x="7174" y="797"/>
                </a:lnTo>
                <a:cubicBezTo>
                  <a:pt x="7174" y="796"/>
                  <a:pt x="7174" y="796"/>
                  <a:pt x="7176" y="795"/>
                </a:cubicBezTo>
                <a:cubicBezTo>
                  <a:pt x="7179" y="792"/>
                  <a:pt x="7182" y="791"/>
                  <a:pt x="7186" y="789"/>
                </a:cubicBezTo>
                <a:lnTo>
                  <a:pt x="7189" y="788"/>
                </a:lnTo>
                <a:cubicBezTo>
                  <a:pt x="7189" y="788"/>
                  <a:pt x="7187" y="790"/>
                  <a:pt x="7183" y="793"/>
                </a:cubicBezTo>
                <a:cubicBezTo>
                  <a:pt x="7179" y="795"/>
                  <a:pt x="7176" y="797"/>
                  <a:pt x="7174" y="797"/>
                </a:cubicBezTo>
                <a:close/>
                <a:moveTo>
                  <a:pt x="7028" y="886"/>
                </a:moveTo>
                <a:cubicBezTo>
                  <a:pt x="7028" y="886"/>
                  <a:pt x="7027" y="885"/>
                  <a:pt x="7027" y="884"/>
                </a:cubicBezTo>
                <a:cubicBezTo>
                  <a:pt x="7027" y="882"/>
                  <a:pt x="7027" y="882"/>
                  <a:pt x="7027" y="882"/>
                </a:cubicBezTo>
                <a:cubicBezTo>
                  <a:pt x="7027" y="882"/>
                  <a:pt x="7026" y="882"/>
                  <a:pt x="7025" y="884"/>
                </a:cubicBezTo>
                <a:cubicBezTo>
                  <a:pt x="7025" y="885"/>
                  <a:pt x="7024" y="886"/>
                  <a:pt x="7024" y="886"/>
                </a:cubicBezTo>
                <a:cubicBezTo>
                  <a:pt x="7023" y="886"/>
                  <a:pt x="7023" y="885"/>
                  <a:pt x="7023" y="884"/>
                </a:cubicBezTo>
                <a:cubicBezTo>
                  <a:pt x="7023" y="883"/>
                  <a:pt x="7023" y="883"/>
                  <a:pt x="7022" y="883"/>
                </a:cubicBezTo>
                <a:lnTo>
                  <a:pt x="7020" y="883"/>
                </a:lnTo>
                <a:cubicBezTo>
                  <a:pt x="7019" y="883"/>
                  <a:pt x="7019" y="883"/>
                  <a:pt x="7019" y="881"/>
                </a:cubicBezTo>
                <a:cubicBezTo>
                  <a:pt x="7019" y="880"/>
                  <a:pt x="7019" y="879"/>
                  <a:pt x="7018" y="879"/>
                </a:cubicBezTo>
                <a:cubicBezTo>
                  <a:pt x="7018" y="879"/>
                  <a:pt x="7017" y="880"/>
                  <a:pt x="7017" y="881"/>
                </a:cubicBezTo>
                <a:cubicBezTo>
                  <a:pt x="7016" y="883"/>
                  <a:pt x="7015" y="883"/>
                  <a:pt x="7013" y="883"/>
                </a:cubicBezTo>
                <a:cubicBezTo>
                  <a:pt x="7011" y="883"/>
                  <a:pt x="7009" y="883"/>
                  <a:pt x="7008" y="882"/>
                </a:cubicBezTo>
                <a:cubicBezTo>
                  <a:pt x="7006" y="881"/>
                  <a:pt x="7005" y="879"/>
                  <a:pt x="7005" y="878"/>
                </a:cubicBezTo>
                <a:cubicBezTo>
                  <a:pt x="7005" y="877"/>
                  <a:pt x="7005" y="876"/>
                  <a:pt x="7005" y="876"/>
                </a:cubicBezTo>
                <a:lnTo>
                  <a:pt x="7002" y="877"/>
                </a:lnTo>
                <a:cubicBezTo>
                  <a:pt x="7002" y="877"/>
                  <a:pt x="7001" y="876"/>
                  <a:pt x="7001" y="875"/>
                </a:cubicBezTo>
                <a:cubicBezTo>
                  <a:pt x="7001" y="874"/>
                  <a:pt x="6998" y="872"/>
                  <a:pt x="6991" y="870"/>
                </a:cubicBezTo>
                <a:cubicBezTo>
                  <a:pt x="6981" y="867"/>
                  <a:pt x="6976" y="862"/>
                  <a:pt x="6976" y="854"/>
                </a:cubicBezTo>
                <a:lnTo>
                  <a:pt x="6977" y="847"/>
                </a:lnTo>
                <a:cubicBezTo>
                  <a:pt x="6977" y="845"/>
                  <a:pt x="6976" y="845"/>
                  <a:pt x="6976" y="845"/>
                </a:cubicBezTo>
                <a:cubicBezTo>
                  <a:pt x="6975" y="845"/>
                  <a:pt x="6974" y="844"/>
                  <a:pt x="6973" y="843"/>
                </a:cubicBezTo>
                <a:cubicBezTo>
                  <a:pt x="6973" y="842"/>
                  <a:pt x="6972" y="840"/>
                  <a:pt x="6972" y="838"/>
                </a:cubicBezTo>
                <a:cubicBezTo>
                  <a:pt x="6972" y="835"/>
                  <a:pt x="6973" y="833"/>
                  <a:pt x="6975" y="832"/>
                </a:cubicBezTo>
                <a:cubicBezTo>
                  <a:pt x="6977" y="830"/>
                  <a:pt x="6979" y="829"/>
                  <a:pt x="6982" y="829"/>
                </a:cubicBezTo>
                <a:lnTo>
                  <a:pt x="6986" y="829"/>
                </a:lnTo>
                <a:cubicBezTo>
                  <a:pt x="6986" y="829"/>
                  <a:pt x="6985" y="830"/>
                  <a:pt x="6983" y="831"/>
                </a:cubicBezTo>
                <a:cubicBezTo>
                  <a:pt x="6979" y="833"/>
                  <a:pt x="6977" y="835"/>
                  <a:pt x="6977" y="836"/>
                </a:cubicBezTo>
                <a:cubicBezTo>
                  <a:pt x="6977" y="837"/>
                  <a:pt x="6978" y="838"/>
                  <a:pt x="6979" y="839"/>
                </a:cubicBezTo>
                <a:cubicBezTo>
                  <a:pt x="6981" y="840"/>
                  <a:pt x="6983" y="841"/>
                  <a:pt x="6985" y="841"/>
                </a:cubicBezTo>
                <a:cubicBezTo>
                  <a:pt x="6988" y="842"/>
                  <a:pt x="6990" y="842"/>
                  <a:pt x="6993" y="842"/>
                </a:cubicBezTo>
                <a:cubicBezTo>
                  <a:pt x="6996" y="842"/>
                  <a:pt x="6998" y="841"/>
                  <a:pt x="7000" y="840"/>
                </a:cubicBezTo>
                <a:cubicBezTo>
                  <a:pt x="7001" y="840"/>
                  <a:pt x="7002" y="839"/>
                  <a:pt x="7003" y="839"/>
                </a:cubicBezTo>
                <a:cubicBezTo>
                  <a:pt x="7004" y="839"/>
                  <a:pt x="7004" y="840"/>
                  <a:pt x="7004" y="840"/>
                </a:cubicBezTo>
                <a:cubicBezTo>
                  <a:pt x="7005" y="840"/>
                  <a:pt x="7006" y="841"/>
                  <a:pt x="7008" y="841"/>
                </a:cubicBezTo>
                <a:cubicBezTo>
                  <a:pt x="7017" y="841"/>
                  <a:pt x="7034" y="837"/>
                  <a:pt x="7062" y="829"/>
                </a:cubicBezTo>
                <a:cubicBezTo>
                  <a:pt x="7089" y="822"/>
                  <a:pt x="7114" y="813"/>
                  <a:pt x="7137" y="805"/>
                </a:cubicBezTo>
                <a:cubicBezTo>
                  <a:pt x="7146" y="801"/>
                  <a:pt x="7151" y="800"/>
                  <a:pt x="7152" y="800"/>
                </a:cubicBezTo>
                <a:cubicBezTo>
                  <a:pt x="7152" y="800"/>
                  <a:pt x="7152" y="800"/>
                  <a:pt x="7152" y="800"/>
                </a:cubicBezTo>
                <a:cubicBezTo>
                  <a:pt x="7152" y="803"/>
                  <a:pt x="7136" y="809"/>
                  <a:pt x="7102" y="821"/>
                </a:cubicBezTo>
                <a:cubicBezTo>
                  <a:pt x="7069" y="832"/>
                  <a:pt x="7043" y="839"/>
                  <a:pt x="7027" y="842"/>
                </a:cubicBezTo>
                <a:lnTo>
                  <a:pt x="7025" y="842"/>
                </a:lnTo>
                <a:cubicBezTo>
                  <a:pt x="7021" y="843"/>
                  <a:pt x="7018" y="844"/>
                  <a:pt x="7016" y="845"/>
                </a:cubicBezTo>
                <a:cubicBezTo>
                  <a:pt x="7014" y="845"/>
                  <a:pt x="7012" y="846"/>
                  <a:pt x="7010" y="846"/>
                </a:cubicBezTo>
                <a:lnTo>
                  <a:pt x="7008" y="846"/>
                </a:lnTo>
                <a:cubicBezTo>
                  <a:pt x="7005" y="846"/>
                  <a:pt x="7004" y="846"/>
                  <a:pt x="7004" y="846"/>
                </a:cubicBezTo>
                <a:cubicBezTo>
                  <a:pt x="7004" y="847"/>
                  <a:pt x="7005" y="847"/>
                  <a:pt x="7006" y="848"/>
                </a:cubicBezTo>
                <a:cubicBezTo>
                  <a:pt x="7007" y="849"/>
                  <a:pt x="7008" y="850"/>
                  <a:pt x="7009" y="851"/>
                </a:cubicBezTo>
                <a:cubicBezTo>
                  <a:pt x="7010" y="853"/>
                  <a:pt x="7010" y="854"/>
                  <a:pt x="7010" y="855"/>
                </a:cubicBezTo>
                <a:cubicBezTo>
                  <a:pt x="7010" y="856"/>
                  <a:pt x="7010" y="857"/>
                  <a:pt x="7010" y="857"/>
                </a:cubicBezTo>
                <a:cubicBezTo>
                  <a:pt x="7010" y="857"/>
                  <a:pt x="7011" y="858"/>
                  <a:pt x="7013" y="858"/>
                </a:cubicBezTo>
                <a:cubicBezTo>
                  <a:pt x="7015" y="858"/>
                  <a:pt x="7021" y="857"/>
                  <a:pt x="7031" y="855"/>
                </a:cubicBezTo>
                <a:cubicBezTo>
                  <a:pt x="7044" y="853"/>
                  <a:pt x="7072" y="846"/>
                  <a:pt x="7114" y="833"/>
                </a:cubicBezTo>
                <a:cubicBezTo>
                  <a:pt x="7183" y="811"/>
                  <a:pt x="7220" y="786"/>
                  <a:pt x="7226" y="760"/>
                </a:cubicBezTo>
                <a:lnTo>
                  <a:pt x="7227" y="756"/>
                </a:lnTo>
                <a:lnTo>
                  <a:pt x="7226" y="755"/>
                </a:lnTo>
                <a:lnTo>
                  <a:pt x="7225" y="757"/>
                </a:lnTo>
                <a:cubicBezTo>
                  <a:pt x="7225" y="758"/>
                  <a:pt x="7224" y="759"/>
                  <a:pt x="7222" y="761"/>
                </a:cubicBezTo>
                <a:cubicBezTo>
                  <a:pt x="7220" y="763"/>
                  <a:pt x="7218" y="765"/>
                  <a:pt x="7215" y="767"/>
                </a:cubicBezTo>
                <a:cubicBezTo>
                  <a:pt x="7213" y="769"/>
                  <a:pt x="7211" y="769"/>
                  <a:pt x="7210" y="769"/>
                </a:cubicBezTo>
                <a:lnTo>
                  <a:pt x="7210" y="769"/>
                </a:lnTo>
                <a:cubicBezTo>
                  <a:pt x="7210" y="768"/>
                  <a:pt x="7211" y="767"/>
                  <a:pt x="7213" y="765"/>
                </a:cubicBezTo>
                <a:cubicBezTo>
                  <a:pt x="7220" y="759"/>
                  <a:pt x="7224" y="754"/>
                  <a:pt x="7224" y="750"/>
                </a:cubicBezTo>
                <a:cubicBezTo>
                  <a:pt x="7224" y="748"/>
                  <a:pt x="7223" y="747"/>
                  <a:pt x="7222" y="747"/>
                </a:cubicBezTo>
                <a:cubicBezTo>
                  <a:pt x="7220" y="747"/>
                  <a:pt x="7219" y="746"/>
                  <a:pt x="7219" y="745"/>
                </a:cubicBezTo>
                <a:lnTo>
                  <a:pt x="7220" y="743"/>
                </a:lnTo>
                <a:cubicBezTo>
                  <a:pt x="7220" y="742"/>
                  <a:pt x="7219" y="742"/>
                  <a:pt x="7219" y="742"/>
                </a:cubicBezTo>
                <a:cubicBezTo>
                  <a:pt x="7216" y="741"/>
                  <a:pt x="7211" y="740"/>
                  <a:pt x="7206" y="737"/>
                </a:cubicBezTo>
                <a:cubicBezTo>
                  <a:pt x="7195" y="732"/>
                  <a:pt x="7179" y="725"/>
                  <a:pt x="7160" y="718"/>
                </a:cubicBezTo>
                <a:cubicBezTo>
                  <a:pt x="7142" y="712"/>
                  <a:pt x="7128" y="706"/>
                  <a:pt x="7119" y="701"/>
                </a:cubicBezTo>
                <a:lnTo>
                  <a:pt x="7101" y="694"/>
                </a:lnTo>
                <a:cubicBezTo>
                  <a:pt x="7101" y="694"/>
                  <a:pt x="7100" y="693"/>
                  <a:pt x="7099" y="692"/>
                </a:cubicBezTo>
                <a:cubicBezTo>
                  <a:pt x="7097" y="690"/>
                  <a:pt x="7094" y="688"/>
                  <a:pt x="7088" y="685"/>
                </a:cubicBezTo>
                <a:cubicBezTo>
                  <a:pt x="7076" y="678"/>
                  <a:pt x="7064" y="667"/>
                  <a:pt x="7051" y="654"/>
                </a:cubicBezTo>
                <a:cubicBezTo>
                  <a:pt x="7038" y="640"/>
                  <a:pt x="7029" y="627"/>
                  <a:pt x="7024" y="616"/>
                </a:cubicBezTo>
                <a:cubicBezTo>
                  <a:pt x="7020" y="607"/>
                  <a:pt x="7019" y="597"/>
                  <a:pt x="7019" y="586"/>
                </a:cubicBezTo>
                <a:cubicBezTo>
                  <a:pt x="7019" y="574"/>
                  <a:pt x="7021" y="562"/>
                  <a:pt x="7026" y="551"/>
                </a:cubicBezTo>
                <a:cubicBezTo>
                  <a:pt x="7030" y="543"/>
                  <a:pt x="7032" y="539"/>
                  <a:pt x="7034" y="539"/>
                </a:cubicBezTo>
                <a:lnTo>
                  <a:pt x="7035" y="539"/>
                </a:lnTo>
                <a:cubicBezTo>
                  <a:pt x="7035" y="539"/>
                  <a:pt x="7036" y="539"/>
                  <a:pt x="7036" y="539"/>
                </a:cubicBezTo>
                <a:lnTo>
                  <a:pt x="7035" y="536"/>
                </a:lnTo>
                <a:cubicBezTo>
                  <a:pt x="7035" y="534"/>
                  <a:pt x="7035" y="532"/>
                  <a:pt x="7037" y="529"/>
                </a:cubicBezTo>
                <a:cubicBezTo>
                  <a:pt x="7039" y="525"/>
                  <a:pt x="7041" y="523"/>
                  <a:pt x="7043" y="520"/>
                </a:cubicBezTo>
                <a:cubicBezTo>
                  <a:pt x="7045" y="517"/>
                  <a:pt x="7047" y="516"/>
                  <a:pt x="7048" y="516"/>
                </a:cubicBezTo>
                <a:lnTo>
                  <a:pt x="7050" y="516"/>
                </a:lnTo>
                <a:cubicBezTo>
                  <a:pt x="7050" y="516"/>
                  <a:pt x="7051" y="516"/>
                  <a:pt x="7052" y="515"/>
                </a:cubicBezTo>
                <a:cubicBezTo>
                  <a:pt x="7052" y="515"/>
                  <a:pt x="7053" y="514"/>
                  <a:pt x="7054" y="513"/>
                </a:cubicBezTo>
                <a:cubicBezTo>
                  <a:pt x="7055" y="512"/>
                  <a:pt x="7055" y="511"/>
                  <a:pt x="7055" y="511"/>
                </a:cubicBezTo>
                <a:lnTo>
                  <a:pt x="7053" y="512"/>
                </a:lnTo>
                <a:cubicBezTo>
                  <a:pt x="7052" y="512"/>
                  <a:pt x="7052" y="510"/>
                  <a:pt x="7052" y="508"/>
                </a:cubicBezTo>
                <a:cubicBezTo>
                  <a:pt x="7052" y="505"/>
                  <a:pt x="7052" y="504"/>
                  <a:pt x="7052" y="504"/>
                </a:cubicBezTo>
                <a:lnTo>
                  <a:pt x="7053" y="504"/>
                </a:lnTo>
                <a:cubicBezTo>
                  <a:pt x="7055" y="504"/>
                  <a:pt x="7059" y="501"/>
                  <a:pt x="7065" y="495"/>
                </a:cubicBezTo>
                <a:cubicBezTo>
                  <a:pt x="7071" y="488"/>
                  <a:pt x="7075" y="485"/>
                  <a:pt x="7076" y="485"/>
                </a:cubicBezTo>
                <a:cubicBezTo>
                  <a:pt x="7077" y="485"/>
                  <a:pt x="7077" y="485"/>
                  <a:pt x="7077" y="485"/>
                </a:cubicBezTo>
                <a:cubicBezTo>
                  <a:pt x="7077" y="486"/>
                  <a:pt x="7076" y="487"/>
                  <a:pt x="7074" y="490"/>
                </a:cubicBezTo>
                <a:lnTo>
                  <a:pt x="7070" y="494"/>
                </a:lnTo>
                <a:cubicBezTo>
                  <a:pt x="7071" y="494"/>
                  <a:pt x="7072" y="493"/>
                  <a:pt x="7075" y="490"/>
                </a:cubicBezTo>
                <a:cubicBezTo>
                  <a:pt x="7077" y="488"/>
                  <a:pt x="7078" y="486"/>
                  <a:pt x="7078" y="485"/>
                </a:cubicBezTo>
                <a:lnTo>
                  <a:pt x="7078" y="484"/>
                </a:lnTo>
                <a:cubicBezTo>
                  <a:pt x="7078" y="483"/>
                  <a:pt x="7080" y="481"/>
                  <a:pt x="7084" y="477"/>
                </a:cubicBezTo>
                <a:lnTo>
                  <a:pt x="7090" y="473"/>
                </a:lnTo>
                <a:cubicBezTo>
                  <a:pt x="7095" y="468"/>
                  <a:pt x="7104" y="461"/>
                  <a:pt x="7115" y="454"/>
                </a:cubicBezTo>
                <a:cubicBezTo>
                  <a:pt x="7124" y="448"/>
                  <a:pt x="7129" y="445"/>
                  <a:pt x="7129" y="444"/>
                </a:cubicBezTo>
                <a:cubicBezTo>
                  <a:pt x="7128" y="444"/>
                  <a:pt x="7125" y="446"/>
                  <a:pt x="7119" y="448"/>
                </a:cubicBezTo>
                <a:cubicBezTo>
                  <a:pt x="7114" y="451"/>
                  <a:pt x="7110" y="453"/>
                  <a:pt x="7109" y="453"/>
                </a:cubicBezTo>
                <a:cubicBezTo>
                  <a:pt x="7109" y="453"/>
                  <a:pt x="7109" y="453"/>
                  <a:pt x="7109" y="453"/>
                </a:cubicBezTo>
                <a:lnTo>
                  <a:pt x="7109" y="452"/>
                </a:lnTo>
                <a:cubicBezTo>
                  <a:pt x="7109" y="451"/>
                  <a:pt x="7112" y="448"/>
                  <a:pt x="7120" y="444"/>
                </a:cubicBezTo>
                <a:cubicBezTo>
                  <a:pt x="7127" y="441"/>
                  <a:pt x="7136" y="437"/>
                  <a:pt x="7146" y="434"/>
                </a:cubicBezTo>
                <a:cubicBezTo>
                  <a:pt x="7155" y="431"/>
                  <a:pt x="7162" y="430"/>
                  <a:pt x="7167" y="430"/>
                </a:cubicBezTo>
                <a:cubicBezTo>
                  <a:pt x="7171" y="430"/>
                  <a:pt x="7177" y="431"/>
                  <a:pt x="7183" y="433"/>
                </a:cubicBezTo>
                <a:cubicBezTo>
                  <a:pt x="7189" y="436"/>
                  <a:pt x="7194" y="438"/>
                  <a:pt x="7199" y="441"/>
                </a:cubicBezTo>
                <a:cubicBezTo>
                  <a:pt x="7204" y="445"/>
                  <a:pt x="7206" y="447"/>
                  <a:pt x="7206" y="449"/>
                </a:cubicBezTo>
                <a:cubicBezTo>
                  <a:pt x="7206" y="451"/>
                  <a:pt x="7209" y="453"/>
                  <a:pt x="7215" y="455"/>
                </a:cubicBezTo>
                <a:cubicBezTo>
                  <a:pt x="7231" y="460"/>
                  <a:pt x="7239" y="471"/>
                  <a:pt x="7239" y="487"/>
                </a:cubicBezTo>
                <a:cubicBezTo>
                  <a:pt x="7239" y="504"/>
                  <a:pt x="7231" y="523"/>
                  <a:pt x="7216" y="546"/>
                </a:cubicBezTo>
                <a:cubicBezTo>
                  <a:pt x="7211" y="552"/>
                  <a:pt x="7208" y="555"/>
                  <a:pt x="7206" y="557"/>
                </a:cubicBezTo>
                <a:cubicBezTo>
                  <a:pt x="7204" y="558"/>
                  <a:pt x="7203" y="560"/>
                  <a:pt x="7203" y="561"/>
                </a:cubicBezTo>
                <a:cubicBezTo>
                  <a:pt x="7203" y="563"/>
                  <a:pt x="7201" y="566"/>
                  <a:pt x="7196" y="570"/>
                </a:cubicBezTo>
                <a:cubicBezTo>
                  <a:pt x="7193" y="573"/>
                  <a:pt x="7192" y="575"/>
                  <a:pt x="7192" y="575"/>
                </a:cubicBezTo>
                <a:lnTo>
                  <a:pt x="7193" y="575"/>
                </a:lnTo>
                <a:cubicBezTo>
                  <a:pt x="7193" y="576"/>
                  <a:pt x="7191" y="578"/>
                  <a:pt x="7188" y="582"/>
                </a:cubicBezTo>
                <a:cubicBezTo>
                  <a:pt x="7184" y="586"/>
                  <a:pt x="7182" y="588"/>
                  <a:pt x="7182" y="588"/>
                </a:cubicBezTo>
                <a:lnTo>
                  <a:pt x="7186" y="586"/>
                </a:lnTo>
                <a:cubicBezTo>
                  <a:pt x="7186" y="586"/>
                  <a:pt x="7185" y="588"/>
                  <a:pt x="7183" y="590"/>
                </a:cubicBezTo>
                <a:cubicBezTo>
                  <a:pt x="7180" y="593"/>
                  <a:pt x="7179" y="594"/>
                  <a:pt x="7178" y="594"/>
                </a:cubicBezTo>
                <a:lnTo>
                  <a:pt x="7177" y="594"/>
                </a:lnTo>
                <a:cubicBezTo>
                  <a:pt x="7176" y="594"/>
                  <a:pt x="7174" y="596"/>
                  <a:pt x="7169" y="599"/>
                </a:cubicBezTo>
                <a:cubicBezTo>
                  <a:pt x="7165" y="603"/>
                  <a:pt x="7161" y="607"/>
                  <a:pt x="7156" y="611"/>
                </a:cubicBezTo>
                <a:cubicBezTo>
                  <a:pt x="7154" y="614"/>
                  <a:pt x="7152" y="615"/>
                  <a:pt x="7152" y="615"/>
                </a:cubicBezTo>
                <a:lnTo>
                  <a:pt x="7151" y="614"/>
                </a:lnTo>
                <a:cubicBezTo>
                  <a:pt x="7150" y="614"/>
                  <a:pt x="7148" y="616"/>
                  <a:pt x="7144" y="620"/>
                </a:cubicBezTo>
                <a:cubicBezTo>
                  <a:pt x="7138" y="625"/>
                  <a:pt x="7133" y="628"/>
                  <a:pt x="7129" y="628"/>
                </a:cubicBezTo>
                <a:cubicBezTo>
                  <a:pt x="7127" y="628"/>
                  <a:pt x="7125" y="627"/>
                  <a:pt x="7125" y="624"/>
                </a:cubicBezTo>
                <a:lnTo>
                  <a:pt x="7125" y="621"/>
                </a:lnTo>
                <a:cubicBezTo>
                  <a:pt x="7125" y="619"/>
                  <a:pt x="7124" y="618"/>
                  <a:pt x="7123" y="618"/>
                </a:cubicBezTo>
                <a:lnTo>
                  <a:pt x="7115" y="619"/>
                </a:lnTo>
                <a:cubicBezTo>
                  <a:pt x="7112" y="619"/>
                  <a:pt x="7111" y="618"/>
                  <a:pt x="7111" y="617"/>
                </a:cubicBezTo>
                <a:cubicBezTo>
                  <a:pt x="7111" y="616"/>
                  <a:pt x="7111" y="616"/>
                  <a:pt x="7112" y="616"/>
                </a:cubicBezTo>
                <a:cubicBezTo>
                  <a:pt x="7112" y="616"/>
                  <a:pt x="7113" y="615"/>
                  <a:pt x="7114" y="615"/>
                </a:cubicBezTo>
                <a:cubicBezTo>
                  <a:pt x="7115" y="614"/>
                  <a:pt x="7116" y="612"/>
                  <a:pt x="7117" y="611"/>
                </a:cubicBezTo>
                <a:cubicBezTo>
                  <a:pt x="7117" y="610"/>
                  <a:pt x="7117" y="608"/>
                  <a:pt x="7117" y="608"/>
                </a:cubicBezTo>
                <a:cubicBezTo>
                  <a:pt x="7117" y="607"/>
                  <a:pt x="7117" y="607"/>
                  <a:pt x="7117" y="607"/>
                </a:cubicBezTo>
                <a:lnTo>
                  <a:pt x="7114" y="607"/>
                </a:lnTo>
                <a:cubicBezTo>
                  <a:pt x="7112" y="607"/>
                  <a:pt x="7111" y="607"/>
                  <a:pt x="7111" y="605"/>
                </a:cubicBezTo>
                <a:lnTo>
                  <a:pt x="7112" y="602"/>
                </a:lnTo>
                <a:lnTo>
                  <a:pt x="7109" y="604"/>
                </a:lnTo>
                <a:cubicBezTo>
                  <a:pt x="7108" y="606"/>
                  <a:pt x="7106" y="606"/>
                  <a:pt x="7104" y="606"/>
                </a:cubicBezTo>
                <a:cubicBezTo>
                  <a:pt x="7101" y="606"/>
                  <a:pt x="7100" y="606"/>
                  <a:pt x="7099" y="606"/>
                </a:cubicBezTo>
                <a:cubicBezTo>
                  <a:pt x="7099" y="605"/>
                  <a:pt x="7101" y="603"/>
                  <a:pt x="7104" y="601"/>
                </a:cubicBezTo>
                <a:cubicBezTo>
                  <a:pt x="7107" y="598"/>
                  <a:pt x="7109" y="596"/>
                  <a:pt x="7109" y="595"/>
                </a:cubicBezTo>
                <a:lnTo>
                  <a:pt x="7109" y="594"/>
                </a:lnTo>
                <a:cubicBezTo>
                  <a:pt x="7109" y="592"/>
                  <a:pt x="7112" y="588"/>
                  <a:pt x="7120" y="582"/>
                </a:cubicBezTo>
                <a:cubicBezTo>
                  <a:pt x="7127" y="576"/>
                  <a:pt x="7131" y="572"/>
                  <a:pt x="7131" y="570"/>
                </a:cubicBezTo>
                <a:lnTo>
                  <a:pt x="7131" y="569"/>
                </a:lnTo>
                <a:cubicBezTo>
                  <a:pt x="7131" y="568"/>
                  <a:pt x="7132" y="566"/>
                  <a:pt x="7136" y="563"/>
                </a:cubicBezTo>
                <a:cubicBezTo>
                  <a:pt x="7140" y="560"/>
                  <a:pt x="7141" y="558"/>
                  <a:pt x="7141" y="557"/>
                </a:cubicBezTo>
                <a:lnTo>
                  <a:pt x="7141" y="556"/>
                </a:lnTo>
                <a:cubicBezTo>
                  <a:pt x="7141" y="555"/>
                  <a:pt x="7142" y="553"/>
                  <a:pt x="7144" y="551"/>
                </a:cubicBezTo>
                <a:cubicBezTo>
                  <a:pt x="7146" y="550"/>
                  <a:pt x="7147" y="549"/>
                  <a:pt x="7147" y="549"/>
                </a:cubicBezTo>
                <a:lnTo>
                  <a:pt x="7145" y="554"/>
                </a:lnTo>
                <a:cubicBezTo>
                  <a:pt x="7146" y="553"/>
                  <a:pt x="7148" y="550"/>
                  <a:pt x="7153" y="544"/>
                </a:cubicBezTo>
                <a:cubicBezTo>
                  <a:pt x="7179" y="510"/>
                  <a:pt x="7192" y="489"/>
                  <a:pt x="7192" y="480"/>
                </a:cubicBezTo>
                <a:cubicBezTo>
                  <a:pt x="7192" y="477"/>
                  <a:pt x="7191" y="475"/>
                  <a:pt x="7187" y="475"/>
                </a:cubicBezTo>
                <a:lnTo>
                  <a:pt x="7185" y="475"/>
                </a:lnTo>
                <a:cubicBezTo>
                  <a:pt x="7174" y="477"/>
                  <a:pt x="7159" y="482"/>
                  <a:pt x="7142" y="491"/>
                </a:cubicBezTo>
                <a:cubicBezTo>
                  <a:pt x="7135" y="495"/>
                  <a:pt x="7131" y="498"/>
                  <a:pt x="7130" y="500"/>
                </a:cubicBezTo>
                <a:cubicBezTo>
                  <a:pt x="7128" y="502"/>
                  <a:pt x="7126" y="504"/>
                  <a:pt x="7124" y="504"/>
                </a:cubicBezTo>
                <a:cubicBezTo>
                  <a:pt x="7122" y="504"/>
                  <a:pt x="7120" y="505"/>
                  <a:pt x="7118" y="509"/>
                </a:cubicBezTo>
                <a:cubicBezTo>
                  <a:pt x="7116" y="512"/>
                  <a:pt x="7114" y="514"/>
                  <a:pt x="7113" y="514"/>
                </a:cubicBezTo>
                <a:lnTo>
                  <a:pt x="7112" y="514"/>
                </a:lnTo>
                <a:cubicBezTo>
                  <a:pt x="7110" y="514"/>
                  <a:pt x="7107" y="517"/>
                  <a:pt x="7102" y="522"/>
                </a:cubicBezTo>
                <a:cubicBezTo>
                  <a:pt x="7097" y="529"/>
                  <a:pt x="7091" y="535"/>
                  <a:pt x="7086" y="543"/>
                </a:cubicBezTo>
                <a:cubicBezTo>
                  <a:pt x="7080" y="551"/>
                  <a:pt x="7076" y="558"/>
                  <a:pt x="7073" y="565"/>
                </a:cubicBezTo>
                <a:cubicBezTo>
                  <a:pt x="7069" y="572"/>
                  <a:pt x="7067" y="580"/>
                  <a:pt x="7065" y="588"/>
                </a:cubicBezTo>
                <a:cubicBezTo>
                  <a:pt x="7063" y="597"/>
                  <a:pt x="7062" y="605"/>
                  <a:pt x="7062" y="611"/>
                </a:cubicBezTo>
                <a:cubicBezTo>
                  <a:pt x="7062" y="616"/>
                  <a:pt x="7062" y="620"/>
                  <a:pt x="7064" y="621"/>
                </a:cubicBezTo>
                <a:cubicBezTo>
                  <a:pt x="7065" y="622"/>
                  <a:pt x="7066" y="624"/>
                  <a:pt x="7066" y="626"/>
                </a:cubicBezTo>
                <a:cubicBezTo>
                  <a:pt x="7066" y="628"/>
                  <a:pt x="7067" y="630"/>
                  <a:pt x="7067" y="630"/>
                </a:cubicBezTo>
                <a:cubicBezTo>
                  <a:pt x="7068" y="631"/>
                  <a:pt x="7069" y="632"/>
                  <a:pt x="7069" y="632"/>
                </a:cubicBezTo>
                <a:cubicBezTo>
                  <a:pt x="7071" y="633"/>
                  <a:pt x="7072" y="634"/>
                  <a:pt x="7072" y="637"/>
                </a:cubicBezTo>
                <a:cubicBezTo>
                  <a:pt x="7072" y="641"/>
                  <a:pt x="7074" y="643"/>
                  <a:pt x="7076" y="645"/>
                </a:cubicBezTo>
                <a:cubicBezTo>
                  <a:pt x="7079" y="647"/>
                  <a:pt x="7081" y="649"/>
                  <a:pt x="7083" y="653"/>
                </a:cubicBezTo>
                <a:cubicBezTo>
                  <a:pt x="7085" y="656"/>
                  <a:pt x="7090" y="660"/>
                  <a:pt x="7099" y="665"/>
                </a:cubicBezTo>
                <a:cubicBezTo>
                  <a:pt x="7106" y="669"/>
                  <a:pt x="7110" y="671"/>
                  <a:pt x="7110" y="673"/>
                </a:cubicBezTo>
                <a:lnTo>
                  <a:pt x="7110" y="674"/>
                </a:lnTo>
                <a:cubicBezTo>
                  <a:pt x="7110" y="674"/>
                  <a:pt x="7112" y="674"/>
                  <a:pt x="7117" y="674"/>
                </a:cubicBezTo>
                <a:cubicBezTo>
                  <a:pt x="7124" y="674"/>
                  <a:pt x="7127" y="675"/>
                  <a:pt x="7127" y="677"/>
                </a:cubicBezTo>
                <a:cubicBezTo>
                  <a:pt x="7127" y="679"/>
                  <a:pt x="7127" y="680"/>
                  <a:pt x="7126" y="681"/>
                </a:cubicBezTo>
                <a:cubicBezTo>
                  <a:pt x="7125" y="681"/>
                  <a:pt x="7124" y="682"/>
                  <a:pt x="7124" y="683"/>
                </a:cubicBezTo>
                <a:cubicBezTo>
                  <a:pt x="7124" y="684"/>
                  <a:pt x="7125" y="685"/>
                  <a:pt x="7126" y="686"/>
                </a:cubicBezTo>
                <a:cubicBezTo>
                  <a:pt x="7126" y="686"/>
                  <a:pt x="7127" y="686"/>
                  <a:pt x="7129" y="686"/>
                </a:cubicBezTo>
                <a:cubicBezTo>
                  <a:pt x="7130" y="686"/>
                  <a:pt x="7131" y="686"/>
                  <a:pt x="7132" y="685"/>
                </a:cubicBezTo>
                <a:cubicBezTo>
                  <a:pt x="7132" y="684"/>
                  <a:pt x="7133" y="684"/>
                  <a:pt x="7133" y="683"/>
                </a:cubicBezTo>
                <a:cubicBezTo>
                  <a:pt x="7133" y="683"/>
                  <a:pt x="7132" y="683"/>
                  <a:pt x="7132" y="683"/>
                </a:cubicBezTo>
                <a:lnTo>
                  <a:pt x="7128" y="683"/>
                </a:lnTo>
                <a:lnTo>
                  <a:pt x="7129" y="683"/>
                </a:lnTo>
                <a:cubicBezTo>
                  <a:pt x="7130" y="683"/>
                  <a:pt x="7130" y="682"/>
                  <a:pt x="7131" y="681"/>
                </a:cubicBezTo>
                <a:cubicBezTo>
                  <a:pt x="7132" y="680"/>
                  <a:pt x="7132" y="680"/>
                  <a:pt x="7132" y="679"/>
                </a:cubicBezTo>
                <a:cubicBezTo>
                  <a:pt x="7132" y="679"/>
                  <a:pt x="7132" y="679"/>
                  <a:pt x="7132" y="679"/>
                </a:cubicBezTo>
                <a:cubicBezTo>
                  <a:pt x="7133" y="679"/>
                  <a:pt x="7134" y="679"/>
                  <a:pt x="7136" y="681"/>
                </a:cubicBezTo>
                <a:cubicBezTo>
                  <a:pt x="7138" y="683"/>
                  <a:pt x="7140" y="683"/>
                  <a:pt x="7141" y="683"/>
                </a:cubicBezTo>
                <a:lnTo>
                  <a:pt x="7144" y="683"/>
                </a:lnTo>
                <a:cubicBezTo>
                  <a:pt x="7144" y="683"/>
                  <a:pt x="7144" y="683"/>
                  <a:pt x="7144" y="683"/>
                </a:cubicBezTo>
                <a:lnTo>
                  <a:pt x="7144" y="685"/>
                </a:lnTo>
                <a:cubicBezTo>
                  <a:pt x="7143" y="687"/>
                  <a:pt x="7142" y="688"/>
                  <a:pt x="7140" y="688"/>
                </a:cubicBezTo>
                <a:lnTo>
                  <a:pt x="7138" y="688"/>
                </a:lnTo>
                <a:cubicBezTo>
                  <a:pt x="7136" y="688"/>
                  <a:pt x="7136" y="688"/>
                  <a:pt x="7136" y="688"/>
                </a:cubicBezTo>
                <a:cubicBezTo>
                  <a:pt x="7136" y="690"/>
                  <a:pt x="7147" y="695"/>
                  <a:pt x="7169" y="703"/>
                </a:cubicBezTo>
                <a:cubicBezTo>
                  <a:pt x="7179" y="707"/>
                  <a:pt x="7185" y="709"/>
                  <a:pt x="7186" y="709"/>
                </a:cubicBezTo>
                <a:cubicBezTo>
                  <a:pt x="7188" y="709"/>
                  <a:pt x="7189" y="708"/>
                  <a:pt x="7189" y="706"/>
                </a:cubicBezTo>
                <a:cubicBezTo>
                  <a:pt x="7189" y="705"/>
                  <a:pt x="7189" y="704"/>
                  <a:pt x="7190" y="704"/>
                </a:cubicBezTo>
                <a:lnTo>
                  <a:pt x="7190" y="707"/>
                </a:lnTo>
                <a:cubicBezTo>
                  <a:pt x="7190" y="709"/>
                  <a:pt x="7191" y="710"/>
                  <a:pt x="7193" y="712"/>
                </a:cubicBezTo>
                <a:cubicBezTo>
                  <a:pt x="7194" y="713"/>
                  <a:pt x="7196" y="713"/>
                  <a:pt x="7198" y="713"/>
                </a:cubicBezTo>
                <a:cubicBezTo>
                  <a:pt x="7200" y="713"/>
                  <a:pt x="7201" y="713"/>
                  <a:pt x="7203" y="712"/>
                </a:cubicBezTo>
                <a:cubicBezTo>
                  <a:pt x="7204" y="710"/>
                  <a:pt x="7205" y="710"/>
                  <a:pt x="7205" y="710"/>
                </a:cubicBezTo>
                <a:cubicBezTo>
                  <a:pt x="7206" y="710"/>
                  <a:pt x="7206" y="710"/>
                  <a:pt x="7206" y="710"/>
                </a:cubicBezTo>
                <a:lnTo>
                  <a:pt x="7204" y="715"/>
                </a:lnTo>
                <a:cubicBezTo>
                  <a:pt x="7204" y="716"/>
                  <a:pt x="7204" y="716"/>
                  <a:pt x="7204" y="716"/>
                </a:cubicBezTo>
                <a:cubicBezTo>
                  <a:pt x="7204" y="716"/>
                  <a:pt x="7205" y="715"/>
                  <a:pt x="7207" y="714"/>
                </a:cubicBezTo>
                <a:cubicBezTo>
                  <a:pt x="7208" y="713"/>
                  <a:pt x="7209" y="713"/>
                  <a:pt x="7209" y="713"/>
                </a:cubicBezTo>
                <a:cubicBezTo>
                  <a:pt x="7210" y="713"/>
                  <a:pt x="7210" y="713"/>
                  <a:pt x="7210" y="714"/>
                </a:cubicBezTo>
                <a:cubicBezTo>
                  <a:pt x="7210" y="715"/>
                  <a:pt x="7215" y="719"/>
                  <a:pt x="7224" y="726"/>
                </a:cubicBezTo>
                <a:cubicBezTo>
                  <a:pt x="7242" y="738"/>
                  <a:pt x="7251" y="745"/>
                  <a:pt x="7251" y="749"/>
                </a:cubicBezTo>
                <a:cubicBezTo>
                  <a:pt x="7251" y="750"/>
                  <a:pt x="7253" y="754"/>
                  <a:pt x="7256" y="760"/>
                </a:cubicBezTo>
                <a:cubicBezTo>
                  <a:pt x="7260" y="765"/>
                  <a:pt x="7261" y="770"/>
                  <a:pt x="7261" y="777"/>
                </a:cubicBezTo>
                <a:cubicBezTo>
                  <a:pt x="7261" y="793"/>
                  <a:pt x="7249" y="810"/>
                  <a:pt x="7224" y="828"/>
                </a:cubicBezTo>
                <a:cubicBezTo>
                  <a:pt x="7221" y="830"/>
                  <a:pt x="7218" y="832"/>
                  <a:pt x="7216" y="835"/>
                </a:cubicBezTo>
                <a:cubicBezTo>
                  <a:pt x="7214" y="837"/>
                  <a:pt x="7206" y="841"/>
                  <a:pt x="7193" y="846"/>
                </a:cubicBezTo>
                <a:cubicBezTo>
                  <a:pt x="7161" y="860"/>
                  <a:pt x="7132" y="869"/>
                  <a:pt x="7106" y="874"/>
                </a:cubicBezTo>
                <a:cubicBezTo>
                  <a:pt x="7080" y="879"/>
                  <a:pt x="7060" y="882"/>
                  <a:pt x="7045" y="883"/>
                </a:cubicBezTo>
                <a:cubicBezTo>
                  <a:pt x="7038" y="883"/>
                  <a:pt x="7035" y="884"/>
                  <a:pt x="7033" y="885"/>
                </a:cubicBezTo>
                <a:lnTo>
                  <a:pt x="7032" y="886"/>
                </a:lnTo>
                <a:cubicBezTo>
                  <a:pt x="7032" y="886"/>
                  <a:pt x="7032" y="885"/>
                  <a:pt x="7032" y="884"/>
                </a:cubicBezTo>
                <a:cubicBezTo>
                  <a:pt x="7032" y="882"/>
                  <a:pt x="7032" y="882"/>
                  <a:pt x="7031" y="882"/>
                </a:cubicBezTo>
                <a:cubicBezTo>
                  <a:pt x="7031" y="882"/>
                  <a:pt x="7030" y="882"/>
                  <a:pt x="7029" y="884"/>
                </a:cubicBezTo>
                <a:lnTo>
                  <a:pt x="7028" y="886"/>
                </a:lnTo>
                <a:close/>
                <a:moveTo>
                  <a:pt x="7119" y="600"/>
                </a:moveTo>
                <a:cubicBezTo>
                  <a:pt x="7119" y="599"/>
                  <a:pt x="7121" y="597"/>
                  <a:pt x="7123" y="594"/>
                </a:cubicBezTo>
                <a:lnTo>
                  <a:pt x="7125" y="590"/>
                </a:lnTo>
                <a:cubicBezTo>
                  <a:pt x="7125" y="590"/>
                  <a:pt x="7124" y="591"/>
                  <a:pt x="7122" y="593"/>
                </a:cubicBezTo>
                <a:cubicBezTo>
                  <a:pt x="7120" y="595"/>
                  <a:pt x="7119" y="596"/>
                  <a:pt x="7119" y="598"/>
                </a:cubicBezTo>
                <a:cubicBezTo>
                  <a:pt x="7119" y="599"/>
                  <a:pt x="7119" y="600"/>
                  <a:pt x="7119" y="600"/>
                </a:cubicBezTo>
                <a:close/>
                <a:moveTo>
                  <a:pt x="7129" y="586"/>
                </a:moveTo>
                <a:cubicBezTo>
                  <a:pt x="7131" y="586"/>
                  <a:pt x="7136" y="580"/>
                  <a:pt x="7145" y="569"/>
                </a:cubicBezTo>
                <a:lnTo>
                  <a:pt x="7153" y="559"/>
                </a:lnTo>
                <a:cubicBezTo>
                  <a:pt x="7153" y="559"/>
                  <a:pt x="7149" y="562"/>
                  <a:pt x="7143" y="569"/>
                </a:cubicBezTo>
                <a:cubicBezTo>
                  <a:pt x="7134" y="579"/>
                  <a:pt x="7129" y="585"/>
                  <a:pt x="7129" y="585"/>
                </a:cubicBezTo>
                <a:lnTo>
                  <a:pt x="7129" y="586"/>
                </a:lnTo>
                <a:close/>
                <a:moveTo>
                  <a:pt x="7127" y="579"/>
                </a:moveTo>
                <a:cubicBezTo>
                  <a:pt x="7128" y="579"/>
                  <a:pt x="7131" y="577"/>
                  <a:pt x="7135" y="572"/>
                </a:cubicBezTo>
                <a:cubicBezTo>
                  <a:pt x="7137" y="569"/>
                  <a:pt x="7139" y="568"/>
                  <a:pt x="7139" y="567"/>
                </a:cubicBezTo>
                <a:cubicBezTo>
                  <a:pt x="7139" y="566"/>
                  <a:pt x="7138" y="566"/>
                  <a:pt x="7138" y="566"/>
                </a:cubicBezTo>
                <a:cubicBezTo>
                  <a:pt x="7136" y="566"/>
                  <a:pt x="7134" y="567"/>
                  <a:pt x="7134" y="568"/>
                </a:cubicBezTo>
                <a:lnTo>
                  <a:pt x="7134" y="568"/>
                </a:lnTo>
                <a:cubicBezTo>
                  <a:pt x="7134" y="569"/>
                  <a:pt x="7134" y="571"/>
                  <a:pt x="7132" y="573"/>
                </a:cubicBezTo>
                <a:lnTo>
                  <a:pt x="7131" y="574"/>
                </a:lnTo>
                <a:cubicBezTo>
                  <a:pt x="7129" y="577"/>
                  <a:pt x="7127" y="579"/>
                  <a:pt x="7127" y="579"/>
                </a:cubicBezTo>
                <a:close/>
                <a:moveTo>
                  <a:pt x="7129" y="603"/>
                </a:moveTo>
                <a:cubicBezTo>
                  <a:pt x="7129" y="603"/>
                  <a:pt x="7131" y="601"/>
                  <a:pt x="7133" y="599"/>
                </a:cubicBezTo>
                <a:cubicBezTo>
                  <a:pt x="7137" y="595"/>
                  <a:pt x="7139" y="593"/>
                  <a:pt x="7139" y="592"/>
                </a:cubicBezTo>
                <a:lnTo>
                  <a:pt x="7139" y="590"/>
                </a:lnTo>
                <a:cubicBezTo>
                  <a:pt x="7139" y="590"/>
                  <a:pt x="7139" y="589"/>
                  <a:pt x="7140" y="588"/>
                </a:cubicBezTo>
                <a:cubicBezTo>
                  <a:pt x="7140" y="587"/>
                  <a:pt x="7141" y="586"/>
                  <a:pt x="7141" y="585"/>
                </a:cubicBezTo>
                <a:lnTo>
                  <a:pt x="7143" y="584"/>
                </a:lnTo>
                <a:lnTo>
                  <a:pt x="7142" y="583"/>
                </a:lnTo>
                <a:cubicBezTo>
                  <a:pt x="7142" y="583"/>
                  <a:pt x="7141" y="585"/>
                  <a:pt x="7138" y="587"/>
                </a:cubicBezTo>
                <a:cubicBezTo>
                  <a:pt x="7136" y="590"/>
                  <a:pt x="7134" y="592"/>
                  <a:pt x="7133" y="593"/>
                </a:cubicBezTo>
                <a:cubicBezTo>
                  <a:pt x="7131" y="595"/>
                  <a:pt x="7131" y="596"/>
                  <a:pt x="7131" y="597"/>
                </a:cubicBezTo>
                <a:lnTo>
                  <a:pt x="7131" y="598"/>
                </a:lnTo>
                <a:cubicBezTo>
                  <a:pt x="7131" y="598"/>
                  <a:pt x="7130" y="600"/>
                  <a:pt x="7129" y="602"/>
                </a:cubicBezTo>
                <a:lnTo>
                  <a:pt x="7129" y="603"/>
                </a:lnTo>
                <a:close/>
                <a:moveTo>
                  <a:pt x="7143" y="595"/>
                </a:moveTo>
                <a:cubicBezTo>
                  <a:pt x="7144" y="595"/>
                  <a:pt x="7144" y="595"/>
                  <a:pt x="7145" y="593"/>
                </a:cubicBezTo>
                <a:cubicBezTo>
                  <a:pt x="7146" y="593"/>
                  <a:pt x="7147" y="592"/>
                  <a:pt x="7147" y="591"/>
                </a:cubicBezTo>
                <a:lnTo>
                  <a:pt x="7149" y="588"/>
                </a:lnTo>
                <a:lnTo>
                  <a:pt x="7149" y="588"/>
                </a:lnTo>
                <a:lnTo>
                  <a:pt x="7146" y="590"/>
                </a:lnTo>
                <a:cubicBezTo>
                  <a:pt x="7144" y="592"/>
                  <a:pt x="7142" y="594"/>
                  <a:pt x="7142" y="595"/>
                </a:cubicBezTo>
                <a:cubicBezTo>
                  <a:pt x="7142" y="595"/>
                  <a:pt x="7143" y="595"/>
                  <a:pt x="7143" y="595"/>
                </a:cubicBezTo>
                <a:close/>
                <a:moveTo>
                  <a:pt x="7150" y="585"/>
                </a:moveTo>
                <a:cubicBezTo>
                  <a:pt x="7151" y="585"/>
                  <a:pt x="7153" y="583"/>
                  <a:pt x="7157" y="578"/>
                </a:cubicBezTo>
                <a:lnTo>
                  <a:pt x="7162" y="573"/>
                </a:lnTo>
                <a:cubicBezTo>
                  <a:pt x="7161" y="573"/>
                  <a:pt x="7159" y="574"/>
                  <a:pt x="7156" y="577"/>
                </a:cubicBezTo>
                <a:cubicBezTo>
                  <a:pt x="7152" y="581"/>
                  <a:pt x="7149" y="583"/>
                  <a:pt x="7149" y="584"/>
                </a:cubicBezTo>
                <a:cubicBezTo>
                  <a:pt x="7149" y="585"/>
                  <a:pt x="7149" y="585"/>
                  <a:pt x="7150" y="585"/>
                </a:cubicBezTo>
                <a:close/>
                <a:moveTo>
                  <a:pt x="7196" y="451"/>
                </a:moveTo>
                <a:cubicBezTo>
                  <a:pt x="7197" y="451"/>
                  <a:pt x="7197" y="450"/>
                  <a:pt x="7197" y="448"/>
                </a:cubicBezTo>
                <a:cubicBezTo>
                  <a:pt x="7197" y="447"/>
                  <a:pt x="7196" y="446"/>
                  <a:pt x="7195" y="446"/>
                </a:cubicBezTo>
                <a:cubicBezTo>
                  <a:pt x="7194" y="446"/>
                  <a:pt x="7193" y="446"/>
                  <a:pt x="7193" y="447"/>
                </a:cubicBezTo>
                <a:cubicBezTo>
                  <a:pt x="7193" y="447"/>
                  <a:pt x="7193" y="448"/>
                  <a:pt x="7194" y="449"/>
                </a:cubicBezTo>
                <a:cubicBezTo>
                  <a:pt x="7194" y="450"/>
                  <a:pt x="7195" y="451"/>
                  <a:pt x="7196" y="451"/>
                </a:cubicBezTo>
                <a:close/>
                <a:moveTo>
                  <a:pt x="7183" y="444"/>
                </a:moveTo>
                <a:cubicBezTo>
                  <a:pt x="7183" y="444"/>
                  <a:pt x="7184" y="443"/>
                  <a:pt x="7185" y="441"/>
                </a:cubicBezTo>
                <a:lnTo>
                  <a:pt x="7185" y="441"/>
                </a:lnTo>
                <a:cubicBezTo>
                  <a:pt x="7185" y="440"/>
                  <a:pt x="7185" y="439"/>
                  <a:pt x="7184" y="439"/>
                </a:cubicBezTo>
                <a:cubicBezTo>
                  <a:pt x="7182" y="439"/>
                  <a:pt x="7182" y="440"/>
                  <a:pt x="7182" y="441"/>
                </a:cubicBezTo>
                <a:cubicBezTo>
                  <a:pt x="7182" y="443"/>
                  <a:pt x="7182" y="444"/>
                  <a:pt x="7183" y="444"/>
                </a:cubicBezTo>
                <a:close/>
                <a:moveTo>
                  <a:pt x="7163" y="439"/>
                </a:moveTo>
                <a:cubicBezTo>
                  <a:pt x="7165" y="439"/>
                  <a:pt x="7166" y="438"/>
                  <a:pt x="7166" y="438"/>
                </a:cubicBezTo>
                <a:cubicBezTo>
                  <a:pt x="7165" y="437"/>
                  <a:pt x="7164" y="437"/>
                  <a:pt x="7164" y="437"/>
                </a:cubicBezTo>
                <a:lnTo>
                  <a:pt x="7162" y="437"/>
                </a:lnTo>
                <a:lnTo>
                  <a:pt x="7161" y="438"/>
                </a:lnTo>
                <a:cubicBezTo>
                  <a:pt x="7161" y="439"/>
                  <a:pt x="7161" y="439"/>
                  <a:pt x="7163" y="439"/>
                </a:cubicBezTo>
                <a:close/>
                <a:moveTo>
                  <a:pt x="7153" y="464"/>
                </a:moveTo>
                <a:cubicBezTo>
                  <a:pt x="7154" y="464"/>
                  <a:pt x="7156" y="464"/>
                  <a:pt x="7157" y="462"/>
                </a:cubicBezTo>
                <a:lnTo>
                  <a:pt x="7157" y="462"/>
                </a:lnTo>
                <a:cubicBezTo>
                  <a:pt x="7157" y="461"/>
                  <a:pt x="7157" y="460"/>
                  <a:pt x="7156" y="460"/>
                </a:cubicBezTo>
                <a:lnTo>
                  <a:pt x="7154" y="461"/>
                </a:lnTo>
                <a:cubicBezTo>
                  <a:pt x="7152" y="462"/>
                  <a:pt x="7152" y="463"/>
                  <a:pt x="7152" y="464"/>
                </a:cubicBezTo>
                <a:cubicBezTo>
                  <a:pt x="7152" y="464"/>
                  <a:pt x="7152" y="464"/>
                  <a:pt x="7153" y="464"/>
                </a:cubicBezTo>
                <a:close/>
                <a:moveTo>
                  <a:pt x="7144" y="467"/>
                </a:moveTo>
                <a:cubicBezTo>
                  <a:pt x="7146" y="467"/>
                  <a:pt x="7147" y="466"/>
                  <a:pt x="7148" y="464"/>
                </a:cubicBezTo>
                <a:lnTo>
                  <a:pt x="7148" y="464"/>
                </a:lnTo>
                <a:cubicBezTo>
                  <a:pt x="7148" y="463"/>
                  <a:pt x="7148" y="463"/>
                  <a:pt x="7148" y="463"/>
                </a:cubicBezTo>
                <a:lnTo>
                  <a:pt x="7146" y="464"/>
                </a:lnTo>
                <a:cubicBezTo>
                  <a:pt x="7144" y="465"/>
                  <a:pt x="7142" y="465"/>
                  <a:pt x="7142" y="466"/>
                </a:cubicBezTo>
                <a:cubicBezTo>
                  <a:pt x="7142" y="466"/>
                  <a:pt x="7143" y="467"/>
                  <a:pt x="7144" y="467"/>
                </a:cubicBezTo>
                <a:close/>
                <a:moveTo>
                  <a:pt x="7133" y="443"/>
                </a:moveTo>
                <a:cubicBezTo>
                  <a:pt x="7134" y="443"/>
                  <a:pt x="7134" y="443"/>
                  <a:pt x="7135" y="443"/>
                </a:cubicBezTo>
                <a:cubicBezTo>
                  <a:pt x="7136" y="443"/>
                  <a:pt x="7137" y="442"/>
                  <a:pt x="7138" y="441"/>
                </a:cubicBezTo>
                <a:cubicBezTo>
                  <a:pt x="7139" y="441"/>
                  <a:pt x="7140" y="440"/>
                  <a:pt x="7140" y="440"/>
                </a:cubicBezTo>
                <a:cubicBezTo>
                  <a:pt x="7140" y="440"/>
                  <a:pt x="7140" y="439"/>
                  <a:pt x="7139" y="439"/>
                </a:cubicBezTo>
                <a:cubicBezTo>
                  <a:pt x="7138" y="439"/>
                  <a:pt x="7136" y="440"/>
                  <a:pt x="7134" y="441"/>
                </a:cubicBezTo>
                <a:cubicBezTo>
                  <a:pt x="7132" y="442"/>
                  <a:pt x="7132" y="443"/>
                  <a:pt x="7132" y="443"/>
                </a:cubicBezTo>
                <a:cubicBezTo>
                  <a:pt x="7132" y="443"/>
                  <a:pt x="7132" y="443"/>
                  <a:pt x="7133" y="443"/>
                </a:cubicBezTo>
                <a:close/>
                <a:moveTo>
                  <a:pt x="7127" y="478"/>
                </a:moveTo>
                <a:cubicBezTo>
                  <a:pt x="7128" y="478"/>
                  <a:pt x="7129" y="477"/>
                  <a:pt x="7130" y="476"/>
                </a:cubicBezTo>
                <a:cubicBezTo>
                  <a:pt x="7131" y="475"/>
                  <a:pt x="7132" y="474"/>
                  <a:pt x="7133" y="472"/>
                </a:cubicBezTo>
                <a:cubicBezTo>
                  <a:pt x="7134" y="471"/>
                  <a:pt x="7135" y="470"/>
                  <a:pt x="7136" y="469"/>
                </a:cubicBezTo>
                <a:cubicBezTo>
                  <a:pt x="7137" y="468"/>
                  <a:pt x="7138" y="468"/>
                  <a:pt x="7138" y="467"/>
                </a:cubicBezTo>
                <a:cubicBezTo>
                  <a:pt x="7137" y="467"/>
                  <a:pt x="7136" y="468"/>
                  <a:pt x="7134" y="469"/>
                </a:cubicBezTo>
                <a:cubicBezTo>
                  <a:pt x="7132" y="470"/>
                  <a:pt x="7131" y="471"/>
                  <a:pt x="7130" y="473"/>
                </a:cubicBezTo>
                <a:cubicBezTo>
                  <a:pt x="7129" y="474"/>
                  <a:pt x="7128" y="475"/>
                  <a:pt x="7127" y="476"/>
                </a:cubicBezTo>
                <a:lnTo>
                  <a:pt x="7127" y="478"/>
                </a:lnTo>
                <a:close/>
                <a:moveTo>
                  <a:pt x="7115" y="487"/>
                </a:moveTo>
                <a:lnTo>
                  <a:pt x="7115" y="487"/>
                </a:lnTo>
                <a:cubicBezTo>
                  <a:pt x="7116" y="487"/>
                  <a:pt x="7117" y="486"/>
                  <a:pt x="7117" y="485"/>
                </a:cubicBezTo>
                <a:lnTo>
                  <a:pt x="7118" y="483"/>
                </a:lnTo>
                <a:cubicBezTo>
                  <a:pt x="7118" y="483"/>
                  <a:pt x="7118" y="482"/>
                  <a:pt x="7117" y="482"/>
                </a:cubicBezTo>
                <a:cubicBezTo>
                  <a:pt x="7116" y="482"/>
                  <a:pt x="7115" y="482"/>
                  <a:pt x="7115" y="484"/>
                </a:cubicBezTo>
                <a:cubicBezTo>
                  <a:pt x="7115" y="486"/>
                  <a:pt x="7115" y="487"/>
                  <a:pt x="7115" y="487"/>
                </a:cubicBezTo>
                <a:close/>
                <a:moveTo>
                  <a:pt x="7109" y="492"/>
                </a:moveTo>
                <a:cubicBezTo>
                  <a:pt x="7110" y="492"/>
                  <a:pt x="7110" y="491"/>
                  <a:pt x="7111" y="490"/>
                </a:cubicBezTo>
                <a:lnTo>
                  <a:pt x="7111" y="490"/>
                </a:lnTo>
                <a:cubicBezTo>
                  <a:pt x="7111" y="488"/>
                  <a:pt x="7110" y="488"/>
                  <a:pt x="7109" y="488"/>
                </a:cubicBezTo>
                <a:cubicBezTo>
                  <a:pt x="7107" y="488"/>
                  <a:pt x="7107" y="488"/>
                  <a:pt x="7107" y="489"/>
                </a:cubicBezTo>
                <a:lnTo>
                  <a:pt x="7107" y="490"/>
                </a:lnTo>
                <a:cubicBezTo>
                  <a:pt x="7108" y="491"/>
                  <a:pt x="7108" y="492"/>
                  <a:pt x="7109" y="492"/>
                </a:cubicBezTo>
                <a:close/>
                <a:moveTo>
                  <a:pt x="7100" y="499"/>
                </a:moveTo>
                <a:cubicBezTo>
                  <a:pt x="7101" y="499"/>
                  <a:pt x="7102" y="497"/>
                  <a:pt x="7104" y="495"/>
                </a:cubicBezTo>
                <a:cubicBezTo>
                  <a:pt x="7105" y="493"/>
                  <a:pt x="7105" y="492"/>
                  <a:pt x="7105" y="492"/>
                </a:cubicBezTo>
                <a:cubicBezTo>
                  <a:pt x="7105" y="492"/>
                  <a:pt x="7104" y="492"/>
                  <a:pt x="7103" y="494"/>
                </a:cubicBezTo>
                <a:cubicBezTo>
                  <a:pt x="7100" y="496"/>
                  <a:pt x="7099" y="497"/>
                  <a:pt x="7099" y="498"/>
                </a:cubicBezTo>
                <a:cubicBezTo>
                  <a:pt x="7099" y="498"/>
                  <a:pt x="7099" y="499"/>
                  <a:pt x="7100" y="499"/>
                </a:cubicBezTo>
                <a:close/>
                <a:moveTo>
                  <a:pt x="7084" y="512"/>
                </a:moveTo>
                <a:cubicBezTo>
                  <a:pt x="7085" y="512"/>
                  <a:pt x="7087" y="509"/>
                  <a:pt x="7091" y="505"/>
                </a:cubicBezTo>
                <a:cubicBezTo>
                  <a:pt x="7095" y="502"/>
                  <a:pt x="7097" y="499"/>
                  <a:pt x="7097" y="498"/>
                </a:cubicBezTo>
                <a:cubicBezTo>
                  <a:pt x="7096" y="498"/>
                  <a:pt x="7094" y="501"/>
                  <a:pt x="7089" y="506"/>
                </a:cubicBezTo>
                <a:lnTo>
                  <a:pt x="7084" y="512"/>
                </a:lnTo>
                <a:close/>
                <a:moveTo>
                  <a:pt x="7070" y="538"/>
                </a:moveTo>
                <a:cubicBezTo>
                  <a:pt x="7071" y="538"/>
                  <a:pt x="7072" y="537"/>
                  <a:pt x="7074" y="536"/>
                </a:cubicBezTo>
                <a:cubicBezTo>
                  <a:pt x="7075" y="534"/>
                  <a:pt x="7076" y="534"/>
                  <a:pt x="7077" y="534"/>
                </a:cubicBezTo>
                <a:cubicBezTo>
                  <a:pt x="7077" y="534"/>
                  <a:pt x="7077" y="534"/>
                  <a:pt x="7077" y="534"/>
                </a:cubicBezTo>
                <a:cubicBezTo>
                  <a:pt x="7077" y="535"/>
                  <a:pt x="7077" y="535"/>
                  <a:pt x="7078" y="535"/>
                </a:cubicBezTo>
                <a:cubicBezTo>
                  <a:pt x="7079" y="535"/>
                  <a:pt x="7080" y="534"/>
                  <a:pt x="7082" y="532"/>
                </a:cubicBezTo>
                <a:cubicBezTo>
                  <a:pt x="7084" y="530"/>
                  <a:pt x="7085" y="528"/>
                  <a:pt x="7085" y="527"/>
                </a:cubicBezTo>
                <a:lnTo>
                  <a:pt x="7085" y="526"/>
                </a:lnTo>
                <a:cubicBezTo>
                  <a:pt x="7085" y="525"/>
                  <a:pt x="7085" y="524"/>
                  <a:pt x="7086" y="522"/>
                </a:cubicBezTo>
                <a:cubicBezTo>
                  <a:pt x="7087" y="520"/>
                  <a:pt x="7089" y="518"/>
                  <a:pt x="7090" y="516"/>
                </a:cubicBezTo>
                <a:cubicBezTo>
                  <a:pt x="7092" y="514"/>
                  <a:pt x="7093" y="514"/>
                  <a:pt x="7093" y="513"/>
                </a:cubicBezTo>
                <a:lnTo>
                  <a:pt x="7092" y="513"/>
                </a:lnTo>
                <a:cubicBezTo>
                  <a:pt x="7092" y="513"/>
                  <a:pt x="7089" y="516"/>
                  <a:pt x="7084" y="521"/>
                </a:cubicBezTo>
                <a:cubicBezTo>
                  <a:pt x="7075" y="531"/>
                  <a:pt x="7070" y="537"/>
                  <a:pt x="7070" y="538"/>
                </a:cubicBezTo>
                <a:close/>
                <a:moveTo>
                  <a:pt x="7067" y="508"/>
                </a:moveTo>
                <a:lnTo>
                  <a:pt x="7068" y="507"/>
                </a:lnTo>
                <a:cubicBezTo>
                  <a:pt x="7069" y="506"/>
                  <a:pt x="7070" y="505"/>
                  <a:pt x="7071" y="504"/>
                </a:cubicBezTo>
                <a:cubicBezTo>
                  <a:pt x="7072" y="503"/>
                  <a:pt x="7074" y="502"/>
                  <a:pt x="7076" y="500"/>
                </a:cubicBezTo>
                <a:cubicBezTo>
                  <a:pt x="7077" y="498"/>
                  <a:pt x="7079" y="496"/>
                  <a:pt x="7080" y="495"/>
                </a:cubicBezTo>
                <a:cubicBezTo>
                  <a:pt x="7081" y="493"/>
                  <a:pt x="7082" y="492"/>
                  <a:pt x="7082" y="492"/>
                </a:cubicBezTo>
                <a:cubicBezTo>
                  <a:pt x="7081" y="492"/>
                  <a:pt x="7078" y="495"/>
                  <a:pt x="7073" y="500"/>
                </a:cubicBezTo>
                <a:cubicBezTo>
                  <a:pt x="7069" y="505"/>
                  <a:pt x="7067" y="507"/>
                  <a:pt x="7067" y="508"/>
                </a:cubicBezTo>
                <a:close/>
                <a:moveTo>
                  <a:pt x="7062" y="535"/>
                </a:moveTo>
                <a:cubicBezTo>
                  <a:pt x="7063" y="535"/>
                  <a:pt x="7065" y="534"/>
                  <a:pt x="7067" y="531"/>
                </a:cubicBezTo>
                <a:cubicBezTo>
                  <a:pt x="7069" y="528"/>
                  <a:pt x="7070" y="527"/>
                  <a:pt x="7070" y="526"/>
                </a:cubicBezTo>
                <a:cubicBezTo>
                  <a:pt x="7070" y="526"/>
                  <a:pt x="7068" y="528"/>
                  <a:pt x="7065" y="531"/>
                </a:cubicBezTo>
                <a:cubicBezTo>
                  <a:pt x="7063" y="534"/>
                  <a:pt x="7062" y="535"/>
                  <a:pt x="7062" y="535"/>
                </a:cubicBezTo>
                <a:close/>
                <a:moveTo>
                  <a:pt x="7119" y="682"/>
                </a:moveTo>
                <a:cubicBezTo>
                  <a:pt x="7120" y="682"/>
                  <a:pt x="7121" y="681"/>
                  <a:pt x="7122" y="680"/>
                </a:cubicBezTo>
                <a:lnTo>
                  <a:pt x="7122" y="679"/>
                </a:lnTo>
                <a:cubicBezTo>
                  <a:pt x="7122" y="678"/>
                  <a:pt x="7122" y="677"/>
                  <a:pt x="7120" y="677"/>
                </a:cubicBezTo>
                <a:cubicBezTo>
                  <a:pt x="7118" y="677"/>
                  <a:pt x="7117" y="678"/>
                  <a:pt x="7117" y="680"/>
                </a:cubicBezTo>
                <a:cubicBezTo>
                  <a:pt x="7117" y="681"/>
                  <a:pt x="7117" y="682"/>
                  <a:pt x="7119" y="682"/>
                </a:cubicBezTo>
                <a:close/>
                <a:moveTo>
                  <a:pt x="6990" y="856"/>
                </a:moveTo>
                <a:cubicBezTo>
                  <a:pt x="6991" y="856"/>
                  <a:pt x="6993" y="855"/>
                  <a:pt x="6993" y="853"/>
                </a:cubicBezTo>
                <a:lnTo>
                  <a:pt x="6995" y="849"/>
                </a:lnTo>
                <a:cubicBezTo>
                  <a:pt x="6995" y="848"/>
                  <a:pt x="6994" y="847"/>
                  <a:pt x="6991" y="847"/>
                </a:cubicBezTo>
                <a:cubicBezTo>
                  <a:pt x="6990" y="847"/>
                  <a:pt x="6989" y="848"/>
                  <a:pt x="6988" y="849"/>
                </a:cubicBezTo>
                <a:cubicBezTo>
                  <a:pt x="6987" y="850"/>
                  <a:pt x="6987" y="850"/>
                  <a:pt x="6987" y="852"/>
                </a:cubicBezTo>
                <a:cubicBezTo>
                  <a:pt x="6987" y="853"/>
                  <a:pt x="6987" y="853"/>
                  <a:pt x="6988" y="855"/>
                </a:cubicBezTo>
                <a:cubicBezTo>
                  <a:pt x="6988" y="856"/>
                  <a:pt x="6989" y="856"/>
                  <a:pt x="6990" y="856"/>
                </a:cubicBezTo>
                <a:close/>
                <a:moveTo>
                  <a:pt x="7070" y="865"/>
                </a:moveTo>
                <a:cubicBezTo>
                  <a:pt x="7072" y="865"/>
                  <a:pt x="7072" y="865"/>
                  <a:pt x="7072" y="865"/>
                </a:cubicBezTo>
                <a:lnTo>
                  <a:pt x="7072" y="864"/>
                </a:lnTo>
                <a:lnTo>
                  <a:pt x="7070" y="863"/>
                </a:lnTo>
                <a:cubicBezTo>
                  <a:pt x="7068" y="863"/>
                  <a:pt x="7067" y="864"/>
                  <a:pt x="7067" y="865"/>
                </a:cubicBezTo>
                <a:cubicBezTo>
                  <a:pt x="7067" y="865"/>
                  <a:pt x="7068" y="865"/>
                  <a:pt x="7070" y="865"/>
                </a:cubicBezTo>
                <a:close/>
                <a:moveTo>
                  <a:pt x="7083" y="863"/>
                </a:moveTo>
                <a:lnTo>
                  <a:pt x="7084" y="862"/>
                </a:lnTo>
                <a:lnTo>
                  <a:pt x="7083" y="862"/>
                </a:lnTo>
                <a:cubicBezTo>
                  <a:pt x="7083" y="861"/>
                  <a:pt x="7082" y="861"/>
                  <a:pt x="7082" y="861"/>
                </a:cubicBezTo>
                <a:cubicBezTo>
                  <a:pt x="7081" y="861"/>
                  <a:pt x="7080" y="861"/>
                  <a:pt x="7079" y="862"/>
                </a:cubicBezTo>
                <a:lnTo>
                  <a:pt x="7078" y="862"/>
                </a:lnTo>
                <a:lnTo>
                  <a:pt x="7083" y="863"/>
                </a:lnTo>
                <a:close/>
                <a:moveTo>
                  <a:pt x="7090" y="860"/>
                </a:moveTo>
                <a:cubicBezTo>
                  <a:pt x="7092" y="860"/>
                  <a:pt x="7094" y="860"/>
                  <a:pt x="7094" y="860"/>
                </a:cubicBezTo>
                <a:cubicBezTo>
                  <a:pt x="7094" y="860"/>
                  <a:pt x="7093" y="860"/>
                  <a:pt x="7093" y="860"/>
                </a:cubicBezTo>
                <a:lnTo>
                  <a:pt x="7091" y="859"/>
                </a:lnTo>
                <a:cubicBezTo>
                  <a:pt x="7089" y="859"/>
                  <a:pt x="7087" y="859"/>
                  <a:pt x="7087" y="860"/>
                </a:cubicBezTo>
                <a:lnTo>
                  <a:pt x="7090" y="860"/>
                </a:lnTo>
                <a:close/>
                <a:moveTo>
                  <a:pt x="7100" y="858"/>
                </a:moveTo>
                <a:lnTo>
                  <a:pt x="7103" y="858"/>
                </a:lnTo>
                <a:lnTo>
                  <a:pt x="7103" y="857"/>
                </a:lnTo>
                <a:cubicBezTo>
                  <a:pt x="7102" y="857"/>
                  <a:pt x="7102" y="856"/>
                  <a:pt x="7101" y="856"/>
                </a:cubicBezTo>
                <a:cubicBezTo>
                  <a:pt x="7100" y="856"/>
                  <a:pt x="7100" y="857"/>
                  <a:pt x="7099" y="857"/>
                </a:cubicBezTo>
                <a:lnTo>
                  <a:pt x="7098" y="858"/>
                </a:lnTo>
                <a:lnTo>
                  <a:pt x="7100" y="858"/>
                </a:lnTo>
                <a:close/>
                <a:moveTo>
                  <a:pt x="7111" y="856"/>
                </a:moveTo>
                <a:cubicBezTo>
                  <a:pt x="7112" y="856"/>
                  <a:pt x="7112" y="856"/>
                  <a:pt x="7112" y="855"/>
                </a:cubicBezTo>
                <a:lnTo>
                  <a:pt x="7111" y="855"/>
                </a:lnTo>
                <a:lnTo>
                  <a:pt x="7110" y="854"/>
                </a:lnTo>
                <a:cubicBezTo>
                  <a:pt x="7108" y="854"/>
                  <a:pt x="7107" y="855"/>
                  <a:pt x="7107" y="855"/>
                </a:cubicBezTo>
                <a:cubicBezTo>
                  <a:pt x="7107" y="856"/>
                  <a:pt x="7107" y="856"/>
                  <a:pt x="7109" y="856"/>
                </a:cubicBezTo>
                <a:lnTo>
                  <a:pt x="7111" y="856"/>
                </a:lnTo>
                <a:close/>
                <a:moveTo>
                  <a:pt x="7230" y="763"/>
                </a:moveTo>
                <a:cubicBezTo>
                  <a:pt x="7231" y="763"/>
                  <a:pt x="7231" y="762"/>
                  <a:pt x="7231" y="760"/>
                </a:cubicBezTo>
                <a:lnTo>
                  <a:pt x="7231" y="757"/>
                </a:lnTo>
                <a:lnTo>
                  <a:pt x="7230" y="757"/>
                </a:lnTo>
                <a:cubicBezTo>
                  <a:pt x="7230" y="757"/>
                  <a:pt x="7229" y="758"/>
                  <a:pt x="7229" y="760"/>
                </a:cubicBezTo>
                <a:cubicBezTo>
                  <a:pt x="7229" y="762"/>
                  <a:pt x="7230" y="763"/>
                  <a:pt x="7230" y="763"/>
                </a:cubicBezTo>
                <a:close/>
                <a:moveTo>
                  <a:pt x="7195" y="808"/>
                </a:moveTo>
                <a:lnTo>
                  <a:pt x="7203" y="804"/>
                </a:lnTo>
                <a:cubicBezTo>
                  <a:pt x="7211" y="800"/>
                  <a:pt x="7218" y="795"/>
                  <a:pt x="7225" y="787"/>
                </a:cubicBezTo>
                <a:cubicBezTo>
                  <a:pt x="7232" y="780"/>
                  <a:pt x="7236" y="775"/>
                  <a:pt x="7236" y="772"/>
                </a:cubicBezTo>
                <a:cubicBezTo>
                  <a:pt x="7236" y="770"/>
                  <a:pt x="7236" y="769"/>
                  <a:pt x="7235" y="769"/>
                </a:cubicBezTo>
                <a:cubicBezTo>
                  <a:pt x="7234" y="769"/>
                  <a:pt x="7230" y="773"/>
                  <a:pt x="7224" y="781"/>
                </a:cubicBezTo>
                <a:cubicBezTo>
                  <a:pt x="7216" y="789"/>
                  <a:pt x="7212" y="793"/>
                  <a:pt x="7210" y="793"/>
                </a:cubicBezTo>
                <a:lnTo>
                  <a:pt x="7209" y="793"/>
                </a:lnTo>
                <a:cubicBezTo>
                  <a:pt x="7208" y="793"/>
                  <a:pt x="7206" y="794"/>
                  <a:pt x="7205" y="797"/>
                </a:cubicBezTo>
                <a:cubicBezTo>
                  <a:pt x="7204" y="799"/>
                  <a:pt x="7203" y="800"/>
                  <a:pt x="7201" y="800"/>
                </a:cubicBezTo>
                <a:lnTo>
                  <a:pt x="7200" y="800"/>
                </a:lnTo>
                <a:cubicBezTo>
                  <a:pt x="7200" y="800"/>
                  <a:pt x="7199" y="800"/>
                  <a:pt x="7199" y="801"/>
                </a:cubicBezTo>
                <a:lnTo>
                  <a:pt x="7199" y="802"/>
                </a:lnTo>
                <a:cubicBezTo>
                  <a:pt x="7199" y="803"/>
                  <a:pt x="7198" y="805"/>
                  <a:pt x="7196" y="807"/>
                </a:cubicBezTo>
                <a:lnTo>
                  <a:pt x="7195" y="808"/>
                </a:lnTo>
                <a:close/>
                <a:moveTo>
                  <a:pt x="7117" y="854"/>
                </a:moveTo>
                <a:lnTo>
                  <a:pt x="7124" y="852"/>
                </a:lnTo>
                <a:lnTo>
                  <a:pt x="7127" y="850"/>
                </a:lnTo>
                <a:cubicBezTo>
                  <a:pt x="7127" y="850"/>
                  <a:pt x="7126" y="850"/>
                  <a:pt x="7125" y="850"/>
                </a:cubicBezTo>
                <a:cubicBezTo>
                  <a:pt x="7124" y="850"/>
                  <a:pt x="7123" y="850"/>
                  <a:pt x="7122" y="850"/>
                </a:cubicBezTo>
                <a:cubicBezTo>
                  <a:pt x="7120" y="851"/>
                  <a:pt x="7119" y="851"/>
                  <a:pt x="7119" y="852"/>
                </a:cubicBezTo>
                <a:cubicBezTo>
                  <a:pt x="7118" y="853"/>
                  <a:pt x="7117" y="853"/>
                  <a:pt x="7117" y="853"/>
                </a:cubicBezTo>
                <a:cubicBezTo>
                  <a:pt x="7117" y="854"/>
                  <a:pt x="7117" y="854"/>
                  <a:pt x="7117" y="854"/>
                </a:cubicBezTo>
                <a:close/>
                <a:moveTo>
                  <a:pt x="7130" y="849"/>
                </a:moveTo>
                <a:lnTo>
                  <a:pt x="7134" y="848"/>
                </a:lnTo>
                <a:cubicBezTo>
                  <a:pt x="7148" y="844"/>
                  <a:pt x="7163" y="838"/>
                  <a:pt x="7179" y="831"/>
                </a:cubicBezTo>
                <a:cubicBezTo>
                  <a:pt x="7192" y="826"/>
                  <a:pt x="7201" y="821"/>
                  <a:pt x="7206" y="817"/>
                </a:cubicBezTo>
                <a:cubicBezTo>
                  <a:pt x="7208" y="815"/>
                  <a:pt x="7211" y="813"/>
                  <a:pt x="7215" y="812"/>
                </a:cubicBezTo>
                <a:cubicBezTo>
                  <a:pt x="7219" y="810"/>
                  <a:pt x="7222" y="808"/>
                  <a:pt x="7225" y="806"/>
                </a:cubicBezTo>
                <a:cubicBezTo>
                  <a:pt x="7234" y="799"/>
                  <a:pt x="7240" y="791"/>
                  <a:pt x="7244" y="784"/>
                </a:cubicBezTo>
                <a:lnTo>
                  <a:pt x="7245" y="781"/>
                </a:lnTo>
                <a:cubicBezTo>
                  <a:pt x="7244" y="781"/>
                  <a:pt x="7239" y="785"/>
                  <a:pt x="7232" y="793"/>
                </a:cubicBezTo>
                <a:cubicBezTo>
                  <a:pt x="7211" y="813"/>
                  <a:pt x="7181" y="830"/>
                  <a:pt x="7142" y="844"/>
                </a:cubicBezTo>
                <a:cubicBezTo>
                  <a:pt x="7134" y="846"/>
                  <a:pt x="7129" y="848"/>
                  <a:pt x="7129" y="849"/>
                </a:cubicBezTo>
                <a:cubicBezTo>
                  <a:pt x="7129" y="849"/>
                  <a:pt x="7130" y="849"/>
                  <a:pt x="7130" y="849"/>
                </a:cubicBezTo>
                <a:close/>
                <a:moveTo>
                  <a:pt x="7221" y="807"/>
                </a:moveTo>
                <a:close/>
                <a:moveTo>
                  <a:pt x="7221" y="808"/>
                </a:moveTo>
                <a:cubicBezTo>
                  <a:pt x="7221" y="808"/>
                  <a:pt x="7221" y="808"/>
                  <a:pt x="7221" y="807"/>
                </a:cubicBezTo>
                <a:lnTo>
                  <a:pt x="7221" y="806"/>
                </a:lnTo>
                <a:cubicBezTo>
                  <a:pt x="7224" y="803"/>
                  <a:pt x="7226" y="801"/>
                  <a:pt x="7227" y="801"/>
                </a:cubicBezTo>
                <a:lnTo>
                  <a:pt x="7227" y="802"/>
                </a:lnTo>
                <a:lnTo>
                  <a:pt x="7225" y="805"/>
                </a:lnTo>
                <a:cubicBezTo>
                  <a:pt x="7223" y="807"/>
                  <a:pt x="7222" y="808"/>
                  <a:pt x="7221" y="808"/>
                </a:cubicBezTo>
                <a:close/>
                <a:moveTo>
                  <a:pt x="7194" y="788"/>
                </a:moveTo>
                <a:cubicBezTo>
                  <a:pt x="7193" y="788"/>
                  <a:pt x="7193" y="787"/>
                  <a:pt x="7192" y="786"/>
                </a:cubicBezTo>
                <a:cubicBezTo>
                  <a:pt x="7192" y="786"/>
                  <a:pt x="7191" y="785"/>
                  <a:pt x="7191" y="785"/>
                </a:cubicBezTo>
                <a:cubicBezTo>
                  <a:pt x="7191" y="784"/>
                  <a:pt x="7192" y="783"/>
                  <a:pt x="7192" y="783"/>
                </a:cubicBezTo>
                <a:cubicBezTo>
                  <a:pt x="7194" y="783"/>
                  <a:pt x="7195" y="784"/>
                  <a:pt x="7195" y="786"/>
                </a:cubicBezTo>
                <a:cubicBezTo>
                  <a:pt x="7195" y="787"/>
                  <a:pt x="7194" y="788"/>
                  <a:pt x="7194" y="788"/>
                </a:cubicBezTo>
                <a:close/>
                <a:moveTo>
                  <a:pt x="7184" y="705"/>
                </a:moveTo>
                <a:cubicBezTo>
                  <a:pt x="7182" y="705"/>
                  <a:pt x="7182" y="704"/>
                  <a:pt x="7182" y="703"/>
                </a:cubicBezTo>
                <a:cubicBezTo>
                  <a:pt x="7182" y="702"/>
                  <a:pt x="7182" y="701"/>
                  <a:pt x="7183" y="701"/>
                </a:cubicBezTo>
                <a:lnTo>
                  <a:pt x="7184" y="702"/>
                </a:lnTo>
                <a:cubicBezTo>
                  <a:pt x="7185" y="703"/>
                  <a:pt x="7186" y="703"/>
                  <a:pt x="7186" y="704"/>
                </a:cubicBezTo>
                <a:cubicBezTo>
                  <a:pt x="7186" y="705"/>
                  <a:pt x="7185" y="705"/>
                  <a:pt x="7184" y="705"/>
                </a:cubicBezTo>
                <a:close/>
                <a:moveTo>
                  <a:pt x="7200" y="712"/>
                </a:moveTo>
                <a:cubicBezTo>
                  <a:pt x="7199" y="712"/>
                  <a:pt x="7197" y="711"/>
                  <a:pt x="7195" y="710"/>
                </a:cubicBezTo>
                <a:cubicBezTo>
                  <a:pt x="7194" y="710"/>
                  <a:pt x="7193" y="708"/>
                  <a:pt x="7193" y="707"/>
                </a:cubicBezTo>
                <a:cubicBezTo>
                  <a:pt x="7193" y="706"/>
                  <a:pt x="7193" y="706"/>
                  <a:pt x="7193" y="706"/>
                </a:cubicBezTo>
                <a:cubicBezTo>
                  <a:pt x="7194" y="706"/>
                  <a:pt x="7195" y="706"/>
                  <a:pt x="7196" y="707"/>
                </a:cubicBezTo>
                <a:cubicBezTo>
                  <a:pt x="7196" y="708"/>
                  <a:pt x="7198" y="709"/>
                  <a:pt x="7198" y="709"/>
                </a:cubicBezTo>
                <a:cubicBezTo>
                  <a:pt x="7199" y="709"/>
                  <a:pt x="7200" y="709"/>
                  <a:pt x="7200" y="708"/>
                </a:cubicBezTo>
                <a:lnTo>
                  <a:pt x="7200" y="708"/>
                </a:lnTo>
                <a:cubicBezTo>
                  <a:pt x="7201" y="708"/>
                  <a:pt x="7201" y="708"/>
                  <a:pt x="7201" y="709"/>
                </a:cubicBezTo>
                <a:cubicBezTo>
                  <a:pt x="7201" y="711"/>
                  <a:pt x="7201" y="712"/>
                  <a:pt x="7200" y="712"/>
                </a:cubicBezTo>
                <a:close/>
                <a:moveTo>
                  <a:pt x="7172" y="703"/>
                </a:moveTo>
                <a:cubicBezTo>
                  <a:pt x="7171" y="703"/>
                  <a:pt x="7171" y="702"/>
                  <a:pt x="7171" y="699"/>
                </a:cubicBezTo>
                <a:cubicBezTo>
                  <a:pt x="7171" y="698"/>
                  <a:pt x="7171" y="697"/>
                  <a:pt x="7172" y="697"/>
                </a:cubicBezTo>
                <a:cubicBezTo>
                  <a:pt x="7172" y="697"/>
                  <a:pt x="7173" y="697"/>
                  <a:pt x="7173" y="698"/>
                </a:cubicBezTo>
                <a:cubicBezTo>
                  <a:pt x="7174" y="698"/>
                  <a:pt x="7174" y="699"/>
                  <a:pt x="7174" y="700"/>
                </a:cubicBezTo>
                <a:cubicBezTo>
                  <a:pt x="7174" y="700"/>
                  <a:pt x="7174" y="701"/>
                  <a:pt x="7173" y="701"/>
                </a:cubicBezTo>
                <a:cubicBezTo>
                  <a:pt x="7173" y="702"/>
                  <a:pt x="7172" y="703"/>
                  <a:pt x="7172" y="703"/>
                </a:cubicBezTo>
                <a:close/>
                <a:moveTo>
                  <a:pt x="7058" y="499"/>
                </a:moveTo>
                <a:cubicBezTo>
                  <a:pt x="7058" y="498"/>
                  <a:pt x="7060" y="495"/>
                  <a:pt x="7063" y="491"/>
                </a:cubicBezTo>
                <a:cubicBezTo>
                  <a:pt x="7065" y="489"/>
                  <a:pt x="7067" y="486"/>
                  <a:pt x="7070" y="484"/>
                </a:cubicBezTo>
                <a:cubicBezTo>
                  <a:pt x="7072" y="481"/>
                  <a:pt x="7075" y="479"/>
                  <a:pt x="7077" y="477"/>
                </a:cubicBezTo>
                <a:cubicBezTo>
                  <a:pt x="7079" y="475"/>
                  <a:pt x="7080" y="474"/>
                  <a:pt x="7081" y="474"/>
                </a:cubicBezTo>
                <a:lnTo>
                  <a:pt x="7081" y="475"/>
                </a:lnTo>
                <a:cubicBezTo>
                  <a:pt x="7081" y="475"/>
                  <a:pt x="7078" y="479"/>
                  <a:pt x="7072" y="485"/>
                </a:cubicBezTo>
                <a:cubicBezTo>
                  <a:pt x="7064" y="494"/>
                  <a:pt x="7059" y="499"/>
                  <a:pt x="7058" y="499"/>
                </a:cubicBezTo>
                <a:close/>
                <a:moveTo>
                  <a:pt x="7097" y="462"/>
                </a:moveTo>
                <a:cubicBezTo>
                  <a:pt x="7096" y="462"/>
                  <a:pt x="7095" y="462"/>
                  <a:pt x="7095" y="461"/>
                </a:cubicBezTo>
                <a:cubicBezTo>
                  <a:pt x="7095" y="461"/>
                  <a:pt x="7096" y="460"/>
                  <a:pt x="7096" y="459"/>
                </a:cubicBezTo>
                <a:cubicBezTo>
                  <a:pt x="7097" y="458"/>
                  <a:pt x="7097" y="458"/>
                  <a:pt x="7098" y="458"/>
                </a:cubicBezTo>
                <a:cubicBezTo>
                  <a:pt x="7099" y="458"/>
                  <a:pt x="7099" y="458"/>
                  <a:pt x="7099" y="460"/>
                </a:cubicBezTo>
                <a:cubicBezTo>
                  <a:pt x="7099" y="462"/>
                  <a:pt x="7098" y="462"/>
                  <a:pt x="7097" y="462"/>
                </a:cubicBezTo>
                <a:close/>
                <a:moveTo>
                  <a:pt x="7103" y="458"/>
                </a:moveTo>
                <a:cubicBezTo>
                  <a:pt x="7102" y="458"/>
                  <a:pt x="7102" y="457"/>
                  <a:pt x="7102" y="457"/>
                </a:cubicBezTo>
                <a:lnTo>
                  <a:pt x="7102" y="456"/>
                </a:lnTo>
                <a:cubicBezTo>
                  <a:pt x="7104" y="454"/>
                  <a:pt x="7104" y="453"/>
                  <a:pt x="7105" y="453"/>
                </a:cubicBezTo>
                <a:cubicBezTo>
                  <a:pt x="7105" y="453"/>
                  <a:pt x="7105" y="454"/>
                  <a:pt x="7105" y="456"/>
                </a:cubicBezTo>
                <a:cubicBezTo>
                  <a:pt x="7105" y="457"/>
                  <a:pt x="7105" y="458"/>
                  <a:pt x="7103" y="458"/>
                </a:cubicBezTo>
                <a:close/>
                <a:moveTo>
                  <a:pt x="7198" y="783"/>
                </a:moveTo>
                <a:cubicBezTo>
                  <a:pt x="7197" y="783"/>
                  <a:pt x="7196" y="782"/>
                  <a:pt x="7196" y="780"/>
                </a:cubicBezTo>
                <a:lnTo>
                  <a:pt x="7195" y="779"/>
                </a:lnTo>
                <a:lnTo>
                  <a:pt x="7197" y="779"/>
                </a:lnTo>
                <a:cubicBezTo>
                  <a:pt x="7198" y="779"/>
                  <a:pt x="7199" y="779"/>
                  <a:pt x="7200" y="777"/>
                </a:cubicBezTo>
                <a:cubicBezTo>
                  <a:pt x="7202" y="775"/>
                  <a:pt x="7203" y="774"/>
                  <a:pt x="7203" y="774"/>
                </a:cubicBezTo>
                <a:lnTo>
                  <a:pt x="7201" y="778"/>
                </a:lnTo>
                <a:cubicBezTo>
                  <a:pt x="7200" y="781"/>
                  <a:pt x="7199" y="783"/>
                  <a:pt x="7198" y="783"/>
                </a:cubicBezTo>
                <a:close/>
                <a:moveTo>
                  <a:pt x="7077" y="532"/>
                </a:moveTo>
                <a:close/>
                <a:moveTo>
                  <a:pt x="7078" y="534"/>
                </a:moveTo>
                <a:cubicBezTo>
                  <a:pt x="7077" y="534"/>
                  <a:pt x="7077" y="533"/>
                  <a:pt x="7077" y="532"/>
                </a:cubicBezTo>
                <a:cubicBezTo>
                  <a:pt x="7077" y="532"/>
                  <a:pt x="7078" y="531"/>
                  <a:pt x="7079" y="531"/>
                </a:cubicBezTo>
                <a:cubicBezTo>
                  <a:pt x="7079" y="530"/>
                  <a:pt x="7080" y="529"/>
                  <a:pt x="7082" y="528"/>
                </a:cubicBezTo>
                <a:lnTo>
                  <a:pt x="7084" y="526"/>
                </a:lnTo>
                <a:lnTo>
                  <a:pt x="7084" y="526"/>
                </a:lnTo>
                <a:lnTo>
                  <a:pt x="7082" y="529"/>
                </a:lnTo>
                <a:cubicBezTo>
                  <a:pt x="7080" y="532"/>
                  <a:pt x="7079" y="534"/>
                  <a:pt x="7078" y="534"/>
                </a:cubicBezTo>
                <a:close/>
                <a:moveTo>
                  <a:pt x="7139" y="633"/>
                </a:moveTo>
                <a:cubicBezTo>
                  <a:pt x="7138" y="633"/>
                  <a:pt x="7138" y="633"/>
                  <a:pt x="7138" y="632"/>
                </a:cubicBezTo>
                <a:cubicBezTo>
                  <a:pt x="7138" y="632"/>
                  <a:pt x="7140" y="630"/>
                  <a:pt x="7144" y="627"/>
                </a:cubicBezTo>
                <a:cubicBezTo>
                  <a:pt x="7147" y="625"/>
                  <a:pt x="7153" y="620"/>
                  <a:pt x="7161" y="613"/>
                </a:cubicBezTo>
                <a:lnTo>
                  <a:pt x="7169" y="606"/>
                </a:lnTo>
                <a:cubicBezTo>
                  <a:pt x="7169" y="607"/>
                  <a:pt x="7167" y="608"/>
                  <a:pt x="7165" y="611"/>
                </a:cubicBezTo>
                <a:cubicBezTo>
                  <a:pt x="7162" y="615"/>
                  <a:pt x="7159" y="618"/>
                  <a:pt x="7155" y="621"/>
                </a:cubicBezTo>
                <a:cubicBezTo>
                  <a:pt x="7152" y="624"/>
                  <a:pt x="7148" y="627"/>
                  <a:pt x="7145" y="630"/>
                </a:cubicBezTo>
                <a:cubicBezTo>
                  <a:pt x="7142" y="632"/>
                  <a:pt x="7139" y="633"/>
                  <a:pt x="7139" y="633"/>
                </a:cubicBezTo>
                <a:close/>
                <a:moveTo>
                  <a:pt x="7165" y="701"/>
                </a:moveTo>
                <a:cubicBezTo>
                  <a:pt x="7165" y="701"/>
                  <a:pt x="7164" y="700"/>
                  <a:pt x="7164" y="697"/>
                </a:cubicBezTo>
                <a:cubicBezTo>
                  <a:pt x="7164" y="695"/>
                  <a:pt x="7165" y="694"/>
                  <a:pt x="7166" y="694"/>
                </a:cubicBezTo>
                <a:cubicBezTo>
                  <a:pt x="7167" y="694"/>
                  <a:pt x="7167" y="694"/>
                  <a:pt x="7167" y="696"/>
                </a:cubicBezTo>
                <a:cubicBezTo>
                  <a:pt x="7167" y="696"/>
                  <a:pt x="7167" y="696"/>
                  <a:pt x="7167" y="697"/>
                </a:cubicBezTo>
                <a:cubicBezTo>
                  <a:pt x="7167" y="698"/>
                  <a:pt x="7166" y="699"/>
                  <a:pt x="7166" y="700"/>
                </a:cubicBezTo>
                <a:cubicBezTo>
                  <a:pt x="7166" y="701"/>
                  <a:pt x="7165" y="701"/>
                  <a:pt x="7165" y="701"/>
                </a:cubicBezTo>
                <a:close/>
                <a:moveTo>
                  <a:pt x="7160" y="696"/>
                </a:moveTo>
                <a:cubicBezTo>
                  <a:pt x="7159" y="696"/>
                  <a:pt x="7159" y="696"/>
                  <a:pt x="7159" y="695"/>
                </a:cubicBezTo>
                <a:lnTo>
                  <a:pt x="7159" y="694"/>
                </a:lnTo>
                <a:cubicBezTo>
                  <a:pt x="7160" y="692"/>
                  <a:pt x="7161" y="692"/>
                  <a:pt x="7161" y="692"/>
                </a:cubicBezTo>
                <a:cubicBezTo>
                  <a:pt x="7162" y="692"/>
                  <a:pt x="7162" y="692"/>
                  <a:pt x="7162" y="694"/>
                </a:cubicBezTo>
                <a:cubicBezTo>
                  <a:pt x="7162" y="695"/>
                  <a:pt x="7161" y="696"/>
                  <a:pt x="7160" y="696"/>
                </a:cubicBezTo>
                <a:close/>
                <a:moveTo>
                  <a:pt x="7132" y="597"/>
                </a:moveTo>
                <a:close/>
                <a:moveTo>
                  <a:pt x="7132" y="598"/>
                </a:moveTo>
                <a:cubicBezTo>
                  <a:pt x="7132" y="598"/>
                  <a:pt x="7132" y="597"/>
                  <a:pt x="7132" y="597"/>
                </a:cubicBezTo>
                <a:cubicBezTo>
                  <a:pt x="7132" y="596"/>
                  <a:pt x="7133" y="594"/>
                  <a:pt x="7135" y="593"/>
                </a:cubicBezTo>
                <a:cubicBezTo>
                  <a:pt x="7137" y="591"/>
                  <a:pt x="7138" y="590"/>
                  <a:pt x="7138" y="590"/>
                </a:cubicBezTo>
                <a:cubicBezTo>
                  <a:pt x="7138" y="591"/>
                  <a:pt x="7137" y="592"/>
                  <a:pt x="7136" y="594"/>
                </a:cubicBezTo>
                <a:cubicBezTo>
                  <a:pt x="7134" y="596"/>
                  <a:pt x="7133" y="598"/>
                  <a:pt x="7132" y="598"/>
                </a:cubicBezTo>
                <a:close/>
              </a:path>
            </a:pathLst>
          </a:custGeom>
          <a:solidFill>
            <a:srgbClr val="FEFEFE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97028665-00BF-9716-4D26-C3C07E6D0B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77139" y="1465281"/>
            <a:ext cx="1355725" cy="2058987"/>
          </a:xfrm>
          <a:custGeom>
            <a:avLst/>
            <a:gdLst>
              <a:gd name="connsiteX0" fmla="*/ 692504 w 1355725"/>
              <a:gd name="connsiteY0" fmla="*/ 0 h 2058987"/>
              <a:gd name="connsiteX1" fmla="*/ 1355725 w 1355725"/>
              <a:gd name="connsiteY1" fmla="*/ 561326 h 2058987"/>
              <a:gd name="connsiteX2" fmla="*/ 1099696 w 1355725"/>
              <a:gd name="connsiteY2" fmla="*/ 1172100 h 2058987"/>
              <a:gd name="connsiteX3" fmla="*/ 779562 w 1355725"/>
              <a:gd name="connsiteY3" fmla="*/ 1483025 h 2058987"/>
              <a:gd name="connsiteX4" fmla="*/ 645810 w 1355725"/>
              <a:gd name="connsiteY4" fmla="*/ 1651937 h 2058987"/>
              <a:gd name="connsiteX5" fmla="*/ 1355725 w 1355725"/>
              <a:gd name="connsiteY5" fmla="*/ 1651937 h 2058987"/>
              <a:gd name="connsiteX6" fmla="*/ 1355725 w 1355725"/>
              <a:gd name="connsiteY6" fmla="*/ 2058987 h 2058987"/>
              <a:gd name="connsiteX7" fmla="*/ 0 w 1355725"/>
              <a:gd name="connsiteY7" fmla="*/ 2058987 h 2058987"/>
              <a:gd name="connsiteX8" fmla="*/ 308263 w 1355725"/>
              <a:gd name="connsiteY8" fmla="*/ 1270994 h 2058987"/>
              <a:gd name="connsiteX9" fmla="*/ 669157 w 1355725"/>
              <a:gd name="connsiteY9" fmla="*/ 904293 h 2058987"/>
              <a:gd name="connsiteX10" fmla="*/ 814780 w 1355725"/>
              <a:gd name="connsiteY10" fmla="*/ 567260 h 2058987"/>
              <a:gd name="connsiteX11" fmla="*/ 675093 w 1355725"/>
              <a:gd name="connsiteY11" fmla="*/ 337429 h 2058987"/>
              <a:gd name="connsiteX12" fmla="*/ 523533 w 1355725"/>
              <a:gd name="connsiteY12" fmla="*/ 610774 h 2058987"/>
              <a:gd name="connsiteX13" fmla="*/ 523533 w 1355725"/>
              <a:gd name="connsiteY13" fmla="*/ 698197 h 2058987"/>
              <a:gd name="connsiteX14" fmla="*/ 17412 w 1355725"/>
              <a:gd name="connsiteY14" fmla="*/ 698197 h 2058987"/>
              <a:gd name="connsiteX15" fmla="*/ 145624 w 1355725"/>
              <a:gd name="connsiteY15" fmla="*/ 191856 h 2058987"/>
              <a:gd name="connsiteX16" fmla="*/ 692504 w 1355725"/>
              <a:gd name="connsiteY16" fmla="*/ 0 h 2058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55725" h="2058987">
                <a:moveTo>
                  <a:pt x="692504" y="0"/>
                </a:moveTo>
                <a:cubicBezTo>
                  <a:pt x="1233449" y="0"/>
                  <a:pt x="1355725" y="253170"/>
                  <a:pt x="1355725" y="561326"/>
                </a:cubicBezTo>
                <a:cubicBezTo>
                  <a:pt x="1355725" y="840605"/>
                  <a:pt x="1254026" y="1017824"/>
                  <a:pt x="1099696" y="1172100"/>
                </a:cubicBezTo>
                <a:lnTo>
                  <a:pt x="779562" y="1483025"/>
                </a:lnTo>
                <a:cubicBezTo>
                  <a:pt x="733263" y="1529703"/>
                  <a:pt x="666387" y="1591018"/>
                  <a:pt x="645810" y="1651937"/>
                </a:cubicBezTo>
                <a:lnTo>
                  <a:pt x="1355725" y="1651937"/>
                </a:lnTo>
                <a:lnTo>
                  <a:pt x="1355725" y="2058987"/>
                </a:lnTo>
                <a:lnTo>
                  <a:pt x="0" y="2058987"/>
                </a:lnTo>
                <a:cubicBezTo>
                  <a:pt x="0" y="1774171"/>
                  <a:pt x="72812" y="1512297"/>
                  <a:pt x="308263" y="1270994"/>
                </a:cubicBezTo>
                <a:lnTo>
                  <a:pt x="669157" y="904293"/>
                </a:lnTo>
                <a:cubicBezTo>
                  <a:pt x="774022" y="799860"/>
                  <a:pt x="814780" y="721140"/>
                  <a:pt x="814780" y="567260"/>
                </a:cubicBezTo>
                <a:cubicBezTo>
                  <a:pt x="814780" y="392810"/>
                  <a:pt x="759380" y="337429"/>
                  <a:pt x="675093" y="337429"/>
                </a:cubicBezTo>
                <a:cubicBezTo>
                  <a:pt x="599511" y="337429"/>
                  <a:pt x="523533" y="378173"/>
                  <a:pt x="523533" y="610774"/>
                </a:cubicBezTo>
                <a:lnTo>
                  <a:pt x="523533" y="698197"/>
                </a:lnTo>
                <a:lnTo>
                  <a:pt x="17412" y="698197"/>
                </a:lnTo>
                <a:cubicBezTo>
                  <a:pt x="20578" y="485771"/>
                  <a:pt x="46695" y="314090"/>
                  <a:pt x="145624" y="191856"/>
                </a:cubicBezTo>
                <a:cubicBezTo>
                  <a:pt x="244553" y="70017"/>
                  <a:pt x="413128" y="0"/>
                  <a:pt x="69250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10D63B88-686F-4ECB-AE3C-A1BE4D3FDC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577138" y="3622693"/>
            <a:ext cx="1355725" cy="2058987"/>
          </a:xfrm>
          <a:custGeom>
            <a:avLst/>
            <a:gdLst>
              <a:gd name="connsiteX0" fmla="*/ 692504 w 1355725"/>
              <a:gd name="connsiteY0" fmla="*/ 0 h 2058987"/>
              <a:gd name="connsiteX1" fmla="*/ 1355725 w 1355725"/>
              <a:gd name="connsiteY1" fmla="*/ 561326 h 2058987"/>
              <a:gd name="connsiteX2" fmla="*/ 1099696 w 1355725"/>
              <a:gd name="connsiteY2" fmla="*/ 1172100 h 2058987"/>
              <a:gd name="connsiteX3" fmla="*/ 779562 w 1355725"/>
              <a:gd name="connsiteY3" fmla="*/ 1483025 h 2058987"/>
              <a:gd name="connsiteX4" fmla="*/ 645810 w 1355725"/>
              <a:gd name="connsiteY4" fmla="*/ 1651937 h 2058987"/>
              <a:gd name="connsiteX5" fmla="*/ 1355725 w 1355725"/>
              <a:gd name="connsiteY5" fmla="*/ 1651937 h 2058987"/>
              <a:gd name="connsiteX6" fmla="*/ 1355725 w 1355725"/>
              <a:gd name="connsiteY6" fmla="*/ 2058987 h 2058987"/>
              <a:gd name="connsiteX7" fmla="*/ 0 w 1355725"/>
              <a:gd name="connsiteY7" fmla="*/ 2058987 h 2058987"/>
              <a:gd name="connsiteX8" fmla="*/ 308263 w 1355725"/>
              <a:gd name="connsiteY8" fmla="*/ 1270994 h 2058987"/>
              <a:gd name="connsiteX9" fmla="*/ 669157 w 1355725"/>
              <a:gd name="connsiteY9" fmla="*/ 904293 h 2058987"/>
              <a:gd name="connsiteX10" fmla="*/ 814780 w 1355725"/>
              <a:gd name="connsiteY10" fmla="*/ 567260 h 2058987"/>
              <a:gd name="connsiteX11" fmla="*/ 675093 w 1355725"/>
              <a:gd name="connsiteY11" fmla="*/ 337429 h 2058987"/>
              <a:gd name="connsiteX12" fmla="*/ 523533 w 1355725"/>
              <a:gd name="connsiteY12" fmla="*/ 610774 h 2058987"/>
              <a:gd name="connsiteX13" fmla="*/ 523533 w 1355725"/>
              <a:gd name="connsiteY13" fmla="*/ 698197 h 2058987"/>
              <a:gd name="connsiteX14" fmla="*/ 17412 w 1355725"/>
              <a:gd name="connsiteY14" fmla="*/ 698197 h 2058987"/>
              <a:gd name="connsiteX15" fmla="*/ 145624 w 1355725"/>
              <a:gd name="connsiteY15" fmla="*/ 191856 h 2058987"/>
              <a:gd name="connsiteX16" fmla="*/ 692504 w 1355725"/>
              <a:gd name="connsiteY16" fmla="*/ 0 h 2058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55725" h="2058987">
                <a:moveTo>
                  <a:pt x="692504" y="0"/>
                </a:moveTo>
                <a:cubicBezTo>
                  <a:pt x="1233449" y="0"/>
                  <a:pt x="1355725" y="253170"/>
                  <a:pt x="1355725" y="561326"/>
                </a:cubicBezTo>
                <a:cubicBezTo>
                  <a:pt x="1355725" y="840605"/>
                  <a:pt x="1254026" y="1017824"/>
                  <a:pt x="1099696" y="1172100"/>
                </a:cubicBezTo>
                <a:lnTo>
                  <a:pt x="779562" y="1483025"/>
                </a:lnTo>
                <a:cubicBezTo>
                  <a:pt x="733263" y="1529703"/>
                  <a:pt x="666387" y="1591018"/>
                  <a:pt x="645810" y="1651937"/>
                </a:cubicBezTo>
                <a:lnTo>
                  <a:pt x="1355725" y="1651937"/>
                </a:lnTo>
                <a:lnTo>
                  <a:pt x="1355725" y="2058987"/>
                </a:lnTo>
                <a:lnTo>
                  <a:pt x="0" y="2058987"/>
                </a:lnTo>
                <a:cubicBezTo>
                  <a:pt x="0" y="1774171"/>
                  <a:pt x="72812" y="1512297"/>
                  <a:pt x="308263" y="1270994"/>
                </a:cubicBezTo>
                <a:lnTo>
                  <a:pt x="669157" y="904293"/>
                </a:lnTo>
                <a:cubicBezTo>
                  <a:pt x="774022" y="799860"/>
                  <a:pt x="814780" y="721140"/>
                  <a:pt x="814780" y="567260"/>
                </a:cubicBezTo>
                <a:cubicBezTo>
                  <a:pt x="814780" y="392810"/>
                  <a:pt x="759380" y="337429"/>
                  <a:pt x="675093" y="337429"/>
                </a:cubicBezTo>
                <a:cubicBezTo>
                  <a:pt x="599511" y="337429"/>
                  <a:pt x="523533" y="378173"/>
                  <a:pt x="523533" y="610774"/>
                </a:cubicBezTo>
                <a:lnTo>
                  <a:pt x="523533" y="698197"/>
                </a:lnTo>
                <a:lnTo>
                  <a:pt x="17412" y="698197"/>
                </a:lnTo>
                <a:cubicBezTo>
                  <a:pt x="20578" y="485771"/>
                  <a:pt x="46695" y="314090"/>
                  <a:pt x="145624" y="191856"/>
                </a:cubicBezTo>
                <a:cubicBezTo>
                  <a:pt x="244553" y="70017"/>
                  <a:pt x="413128" y="0"/>
                  <a:pt x="69250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02AB1EDC-9B80-FA40-87EC-F3C44A75DC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91612" y="3621105"/>
            <a:ext cx="1355725" cy="2058987"/>
          </a:xfrm>
          <a:custGeom>
            <a:avLst/>
            <a:gdLst>
              <a:gd name="connsiteX0" fmla="*/ 692504 w 1355725"/>
              <a:gd name="connsiteY0" fmla="*/ 0 h 2058987"/>
              <a:gd name="connsiteX1" fmla="*/ 1355725 w 1355725"/>
              <a:gd name="connsiteY1" fmla="*/ 561326 h 2058987"/>
              <a:gd name="connsiteX2" fmla="*/ 1099696 w 1355725"/>
              <a:gd name="connsiteY2" fmla="*/ 1172100 h 2058987"/>
              <a:gd name="connsiteX3" fmla="*/ 779562 w 1355725"/>
              <a:gd name="connsiteY3" fmla="*/ 1483025 h 2058987"/>
              <a:gd name="connsiteX4" fmla="*/ 645810 w 1355725"/>
              <a:gd name="connsiteY4" fmla="*/ 1651937 h 2058987"/>
              <a:gd name="connsiteX5" fmla="*/ 1355725 w 1355725"/>
              <a:gd name="connsiteY5" fmla="*/ 1651937 h 2058987"/>
              <a:gd name="connsiteX6" fmla="*/ 1355725 w 1355725"/>
              <a:gd name="connsiteY6" fmla="*/ 2058987 h 2058987"/>
              <a:gd name="connsiteX7" fmla="*/ 0 w 1355725"/>
              <a:gd name="connsiteY7" fmla="*/ 2058987 h 2058987"/>
              <a:gd name="connsiteX8" fmla="*/ 308263 w 1355725"/>
              <a:gd name="connsiteY8" fmla="*/ 1270994 h 2058987"/>
              <a:gd name="connsiteX9" fmla="*/ 669157 w 1355725"/>
              <a:gd name="connsiteY9" fmla="*/ 904293 h 2058987"/>
              <a:gd name="connsiteX10" fmla="*/ 814780 w 1355725"/>
              <a:gd name="connsiteY10" fmla="*/ 567260 h 2058987"/>
              <a:gd name="connsiteX11" fmla="*/ 675093 w 1355725"/>
              <a:gd name="connsiteY11" fmla="*/ 337429 h 2058987"/>
              <a:gd name="connsiteX12" fmla="*/ 523533 w 1355725"/>
              <a:gd name="connsiteY12" fmla="*/ 610774 h 2058987"/>
              <a:gd name="connsiteX13" fmla="*/ 523533 w 1355725"/>
              <a:gd name="connsiteY13" fmla="*/ 698197 h 2058987"/>
              <a:gd name="connsiteX14" fmla="*/ 17412 w 1355725"/>
              <a:gd name="connsiteY14" fmla="*/ 698197 h 2058987"/>
              <a:gd name="connsiteX15" fmla="*/ 145624 w 1355725"/>
              <a:gd name="connsiteY15" fmla="*/ 191856 h 2058987"/>
              <a:gd name="connsiteX16" fmla="*/ 692504 w 1355725"/>
              <a:gd name="connsiteY16" fmla="*/ 0 h 2058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55725" h="2058987">
                <a:moveTo>
                  <a:pt x="692504" y="0"/>
                </a:moveTo>
                <a:cubicBezTo>
                  <a:pt x="1233449" y="0"/>
                  <a:pt x="1355725" y="253170"/>
                  <a:pt x="1355725" y="561326"/>
                </a:cubicBezTo>
                <a:cubicBezTo>
                  <a:pt x="1355725" y="840605"/>
                  <a:pt x="1254026" y="1017824"/>
                  <a:pt x="1099696" y="1172100"/>
                </a:cubicBezTo>
                <a:lnTo>
                  <a:pt x="779562" y="1483025"/>
                </a:lnTo>
                <a:cubicBezTo>
                  <a:pt x="733263" y="1529703"/>
                  <a:pt x="666387" y="1591018"/>
                  <a:pt x="645810" y="1651937"/>
                </a:cubicBezTo>
                <a:lnTo>
                  <a:pt x="1355725" y="1651937"/>
                </a:lnTo>
                <a:lnTo>
                  <a:pt x="1355725" y="2058987"/>
                </a:lnTo>
                <a:lnTo>
                  <a:pt x="0" y="2058987"/>
                </a:lnTo>
                <a:cubicBezTo>
                  <a:pt x="0" y="1774171"/>
                  <a:pt x="72812" y="1512297"/>
                  <a:pt x="308263" y="1270994"/>
                </a:cubicBezTo>
                <a:lnTo>
                  <a:pt x="669157" y="904293"/>
                </a:lnTo>
                <a:cubicBezTo>
                  <a:pt x="774022" y="799860"/>
                  <a:pt x="814780" y="721140"/>
                  <a:pt x="814780" y="567260"/>
                </a:cubicBezTo>
                <a:cubicBezTo>
                  <a:pt x="814780" y="392810"/>
                  <a:pt x="759380" y="337429"/>
                  <a:pt x="675093" y="337429"/>
                </a:cubicBezTo>
                <a:cubicBezTo>
                  <a:pt x="599511" y="337429"/>
                  <a:pt x="523533" y="378173"/>
                  <a:pt x="523533" y="610774"/>
                </a:cubicBezTo>
                <a:lnTo>
                  <a:pt x="523533" y="698197"/>
                </a:lnTo>
                <a:lnTo>
                  <a:pt x="17412" y="698197"/>
                </a:lnTo>
                <a:cubicBezTo>
                  <a:pt x="20578" y="485771"/>
                  <a:pt x="46695" y="314090"/>
                  <a:pt x="145624" y="191856"/>
                </a:cubicBezTo>
                <a:cubicBezTo>
                  <a:pt x="244553" y="70017"/>
                  <a:pt x="413128" y="0"/>
                  <a:pt x="69250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89" name="Picture Placeholder 88">
            <a:extLst>
              <a:ext uri="{FF2B5EF4-FFF2-40B4-BE49-F238E27FC236}">
                <a16:creationId xmlns:a16="http://schemas.microsoft.com/office/drawing/2014/main" id="{C5F33443-D2B9-F92E-6EA3-2AB6461946F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091612" y="1465281"/>
            <a:ext cx="1355725" cy="2058988"/>
          </a:xfrm>
          <a:custGeom>
            <a:avLst/>
            <a:gdLst>
              <a:gd name="connsiteX0" fmla="*/ 677862 w 1355725"/>
              <a:gd name="connsiteY0" fmla="*/ 330665 h 2058988"/>
              <a:gd name="connsiteX1" fmla="*/ 523689 w 1355725"/>
              <a:gd name="connsiteY1" fmla="*/ 487476 h 2058988"/>
              <a:gd name="connsiteX2" fmla="*/ 523689 w 1355725"/>
              <a:gd name="connsiteY2" fmla="*/ 1571513 h 2058988"/>
              <a:gd name="connsiteX3" fmla="*/ 677862 w 1355725"/>
              <a:gd name="connsiteY3" fmla="*/ 1728323 h 2058988"/>
              <a:gd name="connsiteX4" fmla="*/ 832036 w 1355725"/>
              <a:gd name="connsiteY4" fmla="*/ 1571513 h 2058988"/>
              <a:gd name="connsiteX5" fmla="*/ 832036 w 1355725"/>
              <a:gd name="connsiteY5" fmla="*/ 487476 h 2058988"/>
              <a:gd name="connsiteX6" fmla="*/ 677862 w 1355725"/>
              <a:gd name="connsiteY6" fmla="*/ 330665 h 2058988"/>
              <a:gd name="connsiteX7" fmla="*/ 655982 w 1355725"/>
              <a:gd name="connsiteY7" fmla="*/ 0 h 2058988"/>
              <a:gd name="connsiteX8" fmla="*/ 699744 w 1355725"/>
              <a:gd name="connsiteY8" fmla="*/ 0 h 2058988"/>
              <a:gd name="connsiteX9" fmla="*/ 1355725 w 1355725"/>
              <a:gd name="connsiteY9" fmla="*/ 667199 h 2058988"/>
              <a:gd name="connsiteX10" fmla="*/ 1355725 w 1355725"/>
              <a:gd name="connsiteY10" fmla="*/ 1391789 h 2058988"/>
              <a:gd name="connsiteX11" fmla="*/ 699744 w 1355725"/>
              <a:gd name="connsiteY11" fmla="*/ 2058988 h 2058988"/>
              <a:gd name="connsiteX12" fmla="*/ 655982 w 1355725"/>
              <a:gd name="connsiteY12" fmla="*/ 2058988 h 2058988"/>
              <a:gd name="connsiteX13" fmla="*/ 0 w 1355725"/>
              <a:gd name="connsiteY13" fmla="*/ 1391789 h 2058988"/>
              <a:gd name="connsiteX14" fmla="*/ 0 w 1355725"/>
              <a:gd name="connsiteY14" fmla="*/ 667199 h 2058988"/>
              <a:gd name="connsiteX15" fmla="*/ 655982 w 1355725"/>
              <a:gd name="connsiteY15" fmla="*/ 0 h 2058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55725" h="2058988">
                <a:moveTo>
                  <a:pt x="677862" y="330665"/>
                </a:moveTo>
                <a:cubicBezTo>
                  <a:pt x="592715" y="330665"/>
                  <a:pt x="523689" y="400872"/>
                  <a:pt x="523689" y="487476"/>
                </a:cubicBezTo>
                <a:lnTo>
                  <a:pt x="523689" y="1571513"/>
                </a:lnTo>
                <a:cubicBezTo>
                  <a:pt x="523689" y="1658116"/>
                  <a:pt x="592715" y="1728323"/>
                  <a:pt x="677862" y="1728323"/>
                </a:cubicBezTo>
                <a:cubicBezTo>
                  <a:pt x="763010" y="1728323"/>
                  <a:pt x="832036" y="1658116"/>
                  <a:pt x="832036" y="1571513"/>
                </a:cubicBezTo>
                <a:lnTo>
                  <a:pt x="832036" y="487476"/>
                </a:lnTo>
                <a:cubicBezTo>
                  <a:pt x="832036" y="400872"/>
                  <a:pt x="763010" y="330665"/>
                  <a:pt x="677862" y="330665"/>
                </a:cubicBezTo>
                <a:close/>
                <a:moveTo>
                  <a:pt x="655982" y="0"/>
                </a:moveTo>
                <a:lnTo>
                  <a:pt x="699744" y="0"/>
                </a:lnTo>
                <a:cubicBezTo>
                  <a:pt x="1062032" y="0"/>
                  <a:pt x="1355725" y="298715"/>
                  <a:pt x="1355725" y="667199"/>
                </a:cubicBezTo>
                <a:lnTo>
                  <a:pt x="1355725" y="1391789"/>
                </a:lnTo>
                <a:cubicBezTo>
                  <a:pt x="1355725" y="1760273"/>
                  <a:pt x="1062032" y="2058988"/>
                  <a:pt x="699744" y="2058988"/>
                </a:cubicBezTo>
                <a:lnTo>
                  <a:pt x="655982" y="2058988"/>
                </a:lnTo>
                <a:cubicBezTo>
                  <a:pt x="293692" y="2058988"/>
                  <a:pt x="0" y="1760273"/>
                  <a:pt x="0" y="1391789"/>
                </a:cubicBezTo>
                <a:lnTo>
                  <a:pt x="0" y="667199"/>
                </a:lnTo>
                <a:cubicBezTo>
                  <a:pt x="0" y="298715"/>
                  <a:pt x="293692" y="0"/>
                  <a:pt x="65598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txBody>
          <a:bodyPr wrap="square"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305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Picture Placeholder 65">
            <a:extLst>
              <a:ext uri="{FF2B5EF4-FFF2-40B4-BE49-F238E27FC236}">
                <a16:creationId xmlns:a16="http://schemas.microsoft.com/office/drawing/2014/main" id="{924D7397-058F-AB0D-1C2A-B034D67E6C3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371600"/>
            <a:ext cx="12086485" cy="4310080"/>
          </a:xfrm>
          <a:custGeom>
            <a:avLst/>
            <a:gdLst>
              <a:gd name="connsiteX0" fmla="*/ 0 w 12086485"/>
              <a:gd name="connsiteY0" fmla="*/ 0 h 4310080"/>
              <a:gd name="connsiteX1" fmla="*/ 12086485 w 12086485"/>
              <a:gd name="connsiteY1" fmla="*/ 0 h 4310080"/>
              <a:gd name="connsiteX2" fmla="*/ 12086485 w 12086485"/>
              <a:gd name="connsiteY2" fmla="*/ 4310080 h 4310080"/>
              <a:gd name="connsiteX3" fmla="*/ 0 w 12086485"/>
              <a:gd name="connsiteY3" fmla="*/ 4310080 h 4310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86485" h="4310080">
                <a:moveTo>
                  <a:pt x="0" y="0"/>
                </a:moveTo>
                <a:lnTo>
                  <a:pt x="12086485" y="0"/>
                </a:lnTo>
                <a:lnTo>
                  <a:pt x="12086485" y="4310080"/>
                </a:lnTo>
                <a:lnTo>
                  <a:pt x="0" y="431008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endParaRPr lang="en-GB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FABDCC9-858F-4F71-9FB6-61711B4CA2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3814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FABDCC9-858F-4F71-9FB6-61711B4CA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B8C766-AA99-43BA-B586-BC3C9D5E5F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1" y="1371600"/>
            <a:ext cx="11976100" cy="1025525"/>
          </a:xfrm>
          <a:noFill/>
          <a:ln>
            <a:noFill/>
          </a:ln>
        </p:spPr>
        <p:txBody>
          <a:bodyPr vert="horz" lIns="0" tIns="0" rIns="0" bIns="0" anchor="b"/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4" name="AutoShape 16">
            <a:extLst>
              <a:ext uri="{FF2B5EF4-FFF2-40B4-BE49-F238E27FC236}">
                <a16:creationId xmlns:a16="http://schemas.microsoft.com/office/drawing/2014/main" id="{EACAC5EF-9B13-9914-2A03-D4ADE915A68A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152400"/>
            <a:ext cx="121920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5" name="Line 18">
            <a:extLst>
              <a:ext uri="{FF2B5EF4-FFF2-40B4-BE49-F238E27FC236}">
                <a16:creationId xmlns:a16="http://schemas.microsoft.com/office/drawing/2014/main" id="{F09523B7-A1D7-9E7A-69BB-45090DD5081C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113" y="254000"/>
            <a:ext cx="12169775" cy="0"/>
          </a:xfrm>
          <a:prstGeom prst="line">
            <a:avLst/>
          </a:prstGeom>
          <a:noFill/>
          <a:ln w="4763" cap="flat">
            <a:solidFill>
              <a:srgbClr val="0B2C3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" name="Line 19">
            <a:extLst>
              <a:ext uri="{FF2B5EF4-FFF2-40B4-BE49-F238E27FC236}">
                <a16:creationId xmlns:a16="http://schemas.microsoft.com/office/drawing/2014/main" id="{2E34E75C-FEA5-410B-4ECB-101F048B4F40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113" y="254000"/>
            <a:ext cx="12169775" cy="0"/>
          </a:xfrm>
          <a:prstGeom prst="line">
            <a:avLst/>
          </a:prstGeom>
          <a:noFill/>
          <a:ln w="4763" cap="flat">
            <a:solidFill>
              <a:srgbClr val="0B2C3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4A3FDAF-2CA1-FDAB-2CEB-BD86898CB401}"/>
              </a:ext>
            </a:extLst>
          </p:cNvPr>
          <p:cNvGrpSpPr/>
          <p:nvPr userDrawn="1"/>
        </p:nvGrpSpPr>
        <p:grpSpPr>
          <a:xfrm>
            <a:off x="215900" y="166688"/>
            <a:ext cx="733425" cy="176213"/>
            <a:chOff x="727075" y="166688"/>
            <a:chExt cx="733425" cy="176213"/>
          </a:xfrm>
        </p:grpSpPr>
        <p:sp>
          <p:nvSpPr>
            <p:cNvPr id="13" name="Rectangle 20">
              <a:extLst>
                <a:ext uri="{FF2B5EF4-FFF2-40B4-BE49-F238E27FC236}">
                  <a16:creationId xmlns:a16="http://schemas.microsoft.com/office/drawing/2014/main" id="{5E75BC3E-FE2F-42DD-9BDD-584A662CC2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27075" y="166688"/>
              <a:ext cx="733425" cy="176213"/>
            </a:xfrm>
            <a:prstGeom prst="rect">
              <a:avLst/>
            </a:prstGeom>
            <a:solidFill>
              <a:srgbClr val="FEFEFE"/>
            </a:solidFill>
            <a:ln w="4763" cap="flat">
              <a:solidFill>
                <a:srgbClr val="0B2C39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Oval 21">
              <a:extLst>
                <a:ext uri="{FF2B5EF4-FFF2-40B4-BE49-F238E27FC236}">
                  <a16:creationId xmlns:a16="http://schemas.microsoft.com/office/drawing/2014/main" id="{128990D7-21BD-B6D3-CBD1-EA873BAFDB7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50925" y="282575"/>
              <a:ext cx="14288" cy="15875"/>
            </a:xfrm>
            <a:prstGeom prst="ellipse">
              <a:avLst/>
            </a:pr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Oval 22">
              <a:extLst>
                <a:ext uri="{FF2B5EF4-FFF2-40B4-BE49-F238E27FC236}">
                  <a16:creationId xmlns:a16="http://schemas.microsoft.com/office/drawing/2014/main" id="{85A9E142-1E46-E08E-7E08-ECC9B8C0BF7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50925" y="246063"/>
              <a:ext cx="14288" cy="15875"/>
            </a:xfrm>
            <a:prstGeom prst="ellipse">
              <a:avLst/>
            </a:pr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6" name="Oval 23">
              <a:extLst>
                <a:ext uri="{FF2B5EF4-FFF2-40B4-BE49-F238E27FC236}">
                  <a16:creationId xmlns:a16="http://schemas.microsoft.com/office/drawing/2014/main" id="{4566BAFC-1534-78E6-E90A-560DC46C82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50925" y="209550"/>
              <a:ext cx="14288" cy="15875"/>
            </a:xfrm>
            <a:prstGeom prst="ellipse">
              <a:avLst/>
            </a:pr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" name="Freeform 24">
              <a:extLst>
                <a:ext uri="{FF2B5EF4-FFF2-40B4-BE49-F238E27FC236}">
                  <a16:creationId xmlns:a16="http://schemas.microsoft.com/office/drawing/2014/main" id="{07BB60FF-4A00-4BEC-7055-1B1EB417CC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1563" y="287338"/>
              <a:ext cx="65088" cy="6350"/>
            </a:xfrm>
            <a:custGeom>
              <a:avLst/>
              <a:gdLst>
                <a:gd name="T0" fmla="*/ 9 w 229"/>
                <a:gd name="T1" fmla="*/ 0 h 18"/>
                <a:gd name="T2" fmla="*/ 220 w 229"/>
                <a:gd name="T3" fmla="*/ 0 h 18"/>
                <a:gd name="T4" fmla="*/ 226 w 229"/>
                <a:gd name="T5" fmla="*/ 3 h 18"/>
                <a:gd name="T6" fmla="*/ 229 w 229"/>
                <a:gd name="T7" fmla="*/ 9 h 18"/>
                <a:gd name="T8" fmla="*/ 226 w 229"/>
                <a:gd name="T9" fmla="*/ 15 h 18"/>
                <a:gd name="T10" fmla="*/ 220 w 229"/>
                <a:gd name="T11" fmla="*/ 18 h 18"/>
                <a:gd name="T12" fmla="*/ 9 w 229"/>
                <a:gd name="T13" fmla="*/ 18 h 18"/>
                <a:gd name="T14" fmla="*/ 3 w 229"/>
                <a:gd name="T15" fmla="*/ 15 h 18"/>
                <a:gd name="T16" fmla="*/ 0 w 229"/>
                <a:gd name="T17" fmla="*/ 9 h 18"/>
                <a:gd name="T18" fmla="*/ 3 w 229"/>
                <a:gd name="T19" fmla="*/ 3 h 18"/>
                <a:gd name="T20" fmla="*/ 9 w 229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9" h="18">
                  <a:moveTo>
                    <a:pt x="9" y="0"/>
                  </a:moveTo>
                  <a:lnTo>
                    <a:pt x="220" y="0"/>
                  </a:lnTo>
                  <a:cubicBezTo>
                    <a:pt x="222" y="0"/>
                    <a:pt x="224" y="1"/>
                    <a:pt x="226" y="3"/>
                  </a:cubicBezTo>
                  <a:cubicBezTo>
                    <a:pt x="228" y="4"/>
                    <a:pt x="229" y="7"/>
                    <a:pt x="229" y="9"/>
                  </a:cubicBezTo>
                  <a:cubicBezTo>
                    <a:pt x="229" y="11"/>
                    <a:pt x="228" y="14"/>
                    <a:pt x="226" y="15"/>
                  </a:cubicBezTo>
                  <a:cubicBezTo>
                    <a:pt x="224" y="17"/>
                    <a:pt x="222" y="18"/>
                    <a:pt x="220" y="18"/>
                  </a:cubicBezTo>
                  <a:lnTo>
                    <a:pt x="9" y="18"/>
                  </a:lnTo>
                  <a:cubicBezTo>
                    <a:pt x="6" y="18"/>
                    <a:pt x="4" y="17"/>
                    <a:pt x="3" y="15"/>
                  </a:cubicBezTo>
                  <a:cubicBezTo>
                    <a:pt x="1" y="14"/>
                    <a:pt x="0" y="11"/>
                    <a:pt x="0" y="9"/>
                  </a:cubicBezTo>
                  <a:cubicBezTo>
                    <a:pt x="0" y="7"/>
                    <a:pt x="1" y="4"/>
                    <a:pt x="3" y="3"/>
                  </a:cubicBezTo>
                  <a:cubicBezTo>
                    <a:pt x="4" y="1"/>
                    <a:pt x="6" y="0"/>
                    <a:pt x="9" y="0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8" name="Freeform 25">
              <a:extLst>
                <a:ext uri="{FF2B5EF4-FFF2-40B4-BE49-F238E27FC236}">
                  <a16:creationId xmlns:a16="http://schemas.microsoft.com/office/drawing/2014/main" id="{81FA2D9C-ACA4-9372-337A-FBF45515BD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1563" y="250825"/>
              <a:ext cx="65088" cy="6350"/>
            </a:xfrm>
            <a:custGeom>
              <a:avLst/>
              <a:gdLst>
                <a:gd name="T0" fmla="*/ 220 w 229"/>
                <a:gd name="T1" fmla="*/ 0 h 18"/>
                <a:gd name="T2" fmla="*/ 9 w 229"/>
                <a:gd name="T3" fmla="*/ 0 h 18"/>
                <a:gd name="T4" fmla="*/ 3 w 229"/>
                <a:gd name="T5" fmla="*/ 3 h 18"/>
                <a:gd name="T6" fmla="*/ 0 w 229"/>
                <a:gd name="T7" fmla="*/ 9 h 18"/>
                <a:gd name="T8" fmla="*/ 3 w 229"/>
                <a:gd name="T9" fmla="*/ 15 h 18"/>
                <a:gd name="T10" fmla="*/ 9 w 229"/>
                <a:gd name="T11" fmla="*/ 18 h 18"/>
                <a:gd name="T12" fmla="*/ 220 w 229"/>
                <a:gd name="T13" fmla="*/ 18 h 18"/>
                <a:gd name="T14" fmla="*/ 226 w 229"/>
                <a:gd name="T15" fmla="*/ 15 h 18"/>
                <a:gd name="T16" fmla="*/ 229 w 229"/>
                <a:gd name="T17" fmla="*/ 9 h 18"/>
                <a:gd name="T18" fmla="*/ 226 w 229"/>
                <a:gd name="T19" fmla="*/ 3 h 18"/>
                <a:gd name="T20" fmla="*/ 220 w 229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9" h="18">
                  <a:moveTo>
                    <a:pt x="220" y="0"/>
                  </a:moveTo>
                  <a:lnTo>
                    <a:pt x="9" y="0"/>
                  </a:lnTo>
                  <a:cubicBezTo>
                    <a:pt x="6" y="0"/>
                    <a:pt x="4" y="1"/>
                    <a:pt x="3" y="3"/>
                  </a:cubicBezTo>
                  <a:cubicBezTo>
                    <a:pt x="1" y="4"/>
                    <a:pt x="0" y="6"/>
                    <a:pt x="0" y="9"/>
                  </a:cubicBezTo>
                  <a:cubicBezTo>
                    <a:pt x="0" y="11"/>
                    <a:pt x="1" y="13"/>
                    <a:pt x="3" y="15"/>
                  </a:cubicBezTo>
                  <a:cubicBezTo>
                    <a:pt x="4" y="17"/>
                    <a:pt x="6" y="18"/>
                    <a:pt x="9" y="18"/>
                  </a:cubicBezTo>
                  <a:lnTo>
                    <a:pt x="220" y="18"/>
                  </a:lnTo>
                  <a:cubicBezTo>
                    <a:pt x="222" y="18"/>
                    <a:pt x="224" y="17"/>
                    <a:pt x="226" y="15"/>
                  </a:cubicBezTo>
                  <a:cubicBezTo>
                    <a:pt x="228" y="13"/>
                    <a:pt x="229" y="11"/>
                    <a:pt x="229" y="9"/>
                  </a:cubicBezTo>
                  <a:cubicBezTo>
                    <a:pt x="229" y="6"/>
                    <a:pt x="228" y="4"/>
                    <a:pt x="226" y="3"/>
                  </a:cubicBezTo>
                  <a:cubicBezTo>
                    <a:pt x="224" y="1"/>
                    <a:pt x="222" y="0"/>
                    <a:pt x="220" y="0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9" name="Freeform 26">
              <a:extLst>
                <a:ext uri="{FF2B5EF4-FFF2-40B4-BE49-F238E27FC236}">
                  <a16:creationId xmlns:a16="http://schemas.microsoft.com/office/drawing/2014/main" id="{8891AD45-68BE-D76F-0668-A7ACA4E5F9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1563" y="215900"/>
              <a:ext cx="65088" cy="4763"/>
            </a:xfrm>
            <a:custGeom>
              <a:avLst/>
              <a:gdLst>
                <a:gd name="T0" fmla="*/ 220 w 229"/>
                <a:gd name="T1" fmla="*/ 0 h 17"/>
                <a:gd name="T2" fmla="*/ 9 w 229"/>
                <a:gd name="T3" fmla="*/ 0 h 17"/>
                <a:gd name="T4" fmla="*/ 3 w 229"/>
                <a:gd name="T5" fmla="*/ 2 h 17"/>
                <a:gd name="T6" fmla="*/ 0 w 229"/>
                <a:gd name="T7" fmla="*/ 9 h 17"/>
                <a:gd name="T8" fmla="*/ 3 w 229"/>
                <a:gd name="T9" fmla="*/ 15 h 17"/>
                <a:gd name="T10" fmla="*/ 9 w 229"/>
                <a:gd name="T11" fmla="*/ 17 h 17"/>
                <a:gd name="T12" fmla="*/ 220 w 229"/>
                <a:gd name="T13" fmla="*/ 17 h 17"/>
                <a:gd name="T14" fmla="*/ 226 w 229"/>
                <a:gd name="T15" fmla="*/ 15 h 17"/>
                <a:gd name="T16" fmla="*/ 229 w 229"/>
                <a:gd name="T17" fmla="*/ 9 h 17"/>
                <a:gd name="T18" fmla="*/ 226 w 229"/>
                <a:gd name="T19" fmla="*/ 2 h 17"/>
                <a:gd name="T20" fmla="*/ 220 w 229"/>
                <a:gd name="T2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9" h="17">
                  <a:moveTo>
                    <a:pt x="220" y="0"/>
                  </a:moveTo>
                  <a:lnTo>
                    <a:pt x="9" y="0"/>
                  </a:lnTo>
                  <a:cubicBezTo>
                    <a:pt x="6" y="0"/>
                    <a:pt x="4" y="1"/>
                    <a:pt x="3" y="2"/>
                  </a:cubicBezTo>
                  <a:cubicBezTo>
                    <a:pt x="1" y="4"/>
                    <a:pt x="0" y="6"/>
                    <a:pt x="0" y="9"/>
                  </a:cubicBezTo>
                  <a:cubicBezTo>
                    <a:pt x="0" y="11"/>
                    <a:pt x="1" y="13"/>
                    <a:pt x="3" y="15"/>
                  </a:cubicBezTo>
                  <a:cubicBezTo>
                    <a:pt x="4" y="16"/>
                    <a:pt x="6" y="17"/>
                    <a:pt x="9" y="17"/>
                  </a:cubicBezTo>
                  <a:lnTo>
                    <a:pt x="220" y="17"/>
                  </a:lnTo>
                  <a:cubicBezTo>
                    <a:pt x="222" y="17"/>
                    <a:pt x="224" y="16"/>
                    <a:pt x="226" y="15"/>
                  </a:cubicBezTo>
                  <a:cubicBezTo>
                    <a:pt x="228" y="13"/>
                    <a:pt x="229" y="11"/>
                    <a:pt x="229" y="9"/>
                  </a:cubicBezTo>
                  <a:cubicBezTo>
                    <a:pt x="229" y="6"/>
                    <a:pt x="228" y="4"/>
                    <a:pt x="226" y="2"/>
                  </a:cubicBezTo>
                  <a:cubicBezTo>
                    <a:pt x="224" y="1"/>
                    <a:pt x="222" y="0"/>
                    <a:pt x="220" y="0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1182818-731B-A8E2-BCAB-1C478302819A}"/>
              </a:ext>
            </a:extLst>
          </p:cNvPr>
          <p:cNvGrpSpPr/>
          <p:nvPr userDrawn="1"/>
        </p:nvGrpSpPr>
        <p:grpSpPr>
          <a:xfrm>
            <a:off x="10430790" y="439008"/>
            <a:ext cx="1528935" cy="762248"/>
            <a:chOff x="10432156" y="303229"/>
            <a:chExt cx="1682860" cy="838987"/>
          </a:xfrm>
        </p:grpSpPr>
        <p:sp>
          <p:nvSpPr>
            <p:cNvPr id="41" name="Freeform 5">
              <a:extLst>
                <a:ext uri="{FF2B5EF4-FFF2-40B4-BE49-F238E27FC236}">
                  <a16:creationId xmlns:a16="http://schemas.microsoft.com/office/drawing/2014/main" id="{6191709C-1887-AC5A-EB73-4299DE592FC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551458" y="767162"/>
              <a:ext cx="193387" cy="191434"/>
            </a:xfrm>
            <a:custGeom>
              <a:avLst/>
              <a:gdLst>
                <a:gd name="T0" fmla="*/ 864 w 870"/>
                <a:gd name="T1" fmla="*/ 406 h 856"/>
                <a:gd name="T2" fmla="*/ 435 w 870"/>
                <a:gd name="T3" fmla="*/ 0 h 856"/>
                <a:gd name="T4" fmla="*/ 0 w 870"/>
                <a:gd name="T5" fmla="*/ 430 h 856"/>
                <a:gd name="T6" fmla="*/ 432 w 870"/>
                <a:gd name="T7" fmla="*/ 856 h 856"/>
                <a:gd name="T8" fmla="*/ 735 w 870"/>
                <a:gd name="T9" fmla="*/ 744 h 856"/>
                <a:gd name="T10" fmla="*/ 864 w 870"/>
                <a:gd name="T11" fmla="*/ 406 h 856"/>
                <a:gd name="T12" fmla="*/ 665 w 870"/>
                <a:gd name="T13" fmla="*/ 684 h 856"/>
                <a:gd name="T14" fmla="*/ 434 w 870"/>
                <a:gd name="T15" fmla="*/ 808 h 856"/>
                <a:gd name="T16" fmla="*/ 148 w 870"/>
                <a:gd name="T17" fmla="*/ 553 h 856"/>
                <a:gd name="T18" fmla="*/ 136 w 870"/>
                <a:gd name="T19" fmla="*/ 422 h 856"/>
                <a:gd name="T20" fmla="*/ 304 w 870"/>
                <a:gd name="T21" fmla="*/ 77 h 856"/>
                <a:gd name="T22" fmla="*/ 431 w 870"/>
                <a:gd name="T23" fmla="*/ 48 h 856"/>
                <a:gd name="T24" fmla="*/ 655 w 870"/>
                <a:gd name="T25" fmla="*/ 159 h 856"/>
                <a:gd name="T26" fmla="*/ 727 w 870"/>
                <a:gd name="T27" fmla="*/ 412 h 856"/>
                <a:gd name="T28" fmla="*/ 665 w 870"/>
                <a:gd name="T29" fmla="*/ 684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70" h="856">
                  <a:moveTo>
                    <a:pt x="864" y="406"/>
                  </a:moveTo>
                  <a:cubicBezTo>
                    <a:pt x="854" y="204"/>
                    <a:pt x="717" y="0"/>
                    <a:pt x="435" y="0"/>
                  </a:cubicBezTo>
                  <a:cubicBezTo>
                    <a:pt x="175" y="0"/>
                    <a:pt x="0" y="173"/>
                    <a:pt x="0" y="430"/>
                  </a:cubicBezTo>
                  <a:cubicBezTo>
                    <a:pt x="0" y="724"/>
                    <a:pt x="217" y="856"/>
                    <a:pt x="432" y="856"/>
                  </a:cubicBezTo>
                  <a:cubicBezTo>
                    <a:pt x="552" y="856"/>
                    <a:pt x="657" y="817"/>
                    <a:pt x="735" y="744"/>
                  </a:cubicBezTo>
                  <a:cubicBezTo>
                    <a:pt x="825" y="661"/>
                    <a:pt x="870" y="541"/>
                    <a:pt x="864" y="406"/>
                  </a:cubicBezTo>
                  <a:close/>
                  <a:moveTo>
                    <a:pt x="665" y="684"/>
                  </a:moveTo>
                  <a:cubicBezTo>
                    <a:pt x="590" y="796"/>
                    <a:pt x="478" y="808"/>
                    <a:pt x="434" y="808"/>
                  </a:cubicBezTo>
                  <a:cubicBezTo>
                    <a:pt x="395" y="808"/>
                    <a:pt x="199" y="796"/>
                    <a:pt x="148" y="553"/>
                  </a:cubicBezTo>
                  <a:cubicBezTo>
                    <a:pt x="140" y="514"/>
                    <a:pt x="136" y="471"/>
                    <a:pt x="136" y="422"/>
                  </a:cubicBezTo>
                  <a:cubicBezTo>
                    <a:pt x="136" y="249"/>
                    <a:pt x="193" y="133"/>
                    <a:pt x="304" y="77"/>
                  </a:cubicBezTo>
                  <a:cubicBezTo>
                    <a:pt x="341" y="58"/>
                    <a:pt x="386" y="48"/>
                    <a:pt x="431" y="48"/>
                  </a:cubicBezTo>
                  <a:cubicBezTo>
                    <a:pt x="546" y="48"/>
                    <a:pt x="617" y="109"/>
                    <a:pt x="655" y="159"/>
                  </a:cubicBezTo>
                  <a:cubicBezTo>
                    <a:pt x="717" y="243"/>
                    <a:pt x="726" y="344"/>
                    <a:pt x="727" y="412"/>
                  </a:cubicBezTo>
                  <a:cubicBezTo>
                    <a:pt x="729" y="526"/>
                    <a:pt x="708" y="617"/>
                    <a:pt x="665" y="68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B1F06B1A-2A8A-6427-F901-F73CE54A2E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77301" y="769115"/>
              <a:ext cx="137715" cy="186550"/>
            </a:xfrm>
            <a:custGeom>
              <a:avLst/>
              <a:gdLst>
                <a:gd name="T0" fmla="*/ 0 w 619"/>
                <a:gd name="T1" fmla="*/ 839 h 839"/>
                <a:gd name="T2" fmla="*/ 0 w 619"/>
                <a:gd name="T3" fmla="*/ 0 h 839"/>
                <a:gd name="T4" fmla="*/ 239 w 619"/>
                <a:gd name="T5" fmla="*/ 0 h 839"/>
                <a:gd name="T6" fmla="*/ 619 w 619"/>
                <a:gd name="T7" fmla="*/ 230 h 839"/>
                <a:gd name="T8" fmla="*/ 243 w 619"/>
                <a:gd name="T9" fmla="*/ 461 h 839"/>
                <a:gd name="T10" fmla="*/ 122 w 619"/>
                <a:gd name="T11" fmla="*/ 461 h 839"/>
                <a:gd name="T12" fmla="*/ 122 w 619"/>
                <a:gd name="T13" fmla="*/ 839 h 839"/>
                <a:gd name="T14" fmla="*/ 0 w 619"/>
                <a:gd name="T15" fmla="*/ 839 h 839"/>
                <a:gd name="T16" fmla="*/ 227 w 619"/>
                <a:gd name="T17" fmla="*/ 40 h 839"/>
                <a:gd name="T18" fmla="*/ 122 w 619"/>
                <a:gd name="T19" fmla="*/ 49 h 839"/>
                <a:gd name="T20" fmla="*/ 122 w 619"/>
                <a:gd name="T21" fmla="*/ 412 h 839"/>
                <a:gd name="T22" fmla="*/ 218 w 619"/>
                <a:gd name="T23" fmla="*/ 412 h 839"/>
                <a:gd name="T24" fmla="*/ 487 w 619"/>
                <a:gd name="T25" fmla="*/ 231 h 839"/>
                <a:gd name="T26" fmla="*/ 227 w 619"/>
                <a:gd name="T27" fmla="*/ 40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9" h="839">
                  <a:moveTo>
                    <a:pt x="0" y="839"/>
                  </a:moveTo>
                  <a:lnTo>
                    <a:pt x="0" y="0"/>
                  </a:lnTo>
                  <a:lnTo>
                    <a:pt x="239" y="0"/>
                  </a:lnTo>
                  <a:cubicBezTo>
                    <a:pt x="494" y="0"/>
                    <a:pt x="619" y="76"/>
                    <a:pt x="619" y="230"/>
                  </a:cubicBezTo>
                  <a:cubicBezTo>
                    <a:pt x="619" y="446"/>
                    <a:pt x="356" y="461"/>
                    <a:pt x="243" y="461"/>
                  </a:cubicBezTo>
                  <a:lnTo>
                    <a:pt x="122" y="461"/>
                  </a:lnTo>
                  <a:lnTo>
                    <a:pt x="122" y="839"/>
                  </a:lnTo>
                  <a:lnTo>
                    <a:pt x="0" y="839"/>
                  </a:lnTo>
                  <a:close/>
                  <a:moveTo>
                    <a:pt x="227" y="40"/>
                  </a:moveTo>
                  <a:cubicBezTo>
                    <a:pt x="165" y="40"/>
                    <a:pt x="122" y="49"/>
                    <a:pt x="122" y="49"/>
                  </a:cubicBezTo>
                  <a:lnTo>
                    <a:pt x="122" y="412"/>
                  </a:lnTo>
                  <a:lnTo>
                    <a:pt x="218" y="412"/>
                  </a:lnTo>
                  <a:cubicBezTo>
                    <a:pt x="397" y="412"/>
                    <a:pt x="487" y="368"/>
                    <a:pt x="487" y="231"/>
                  </a:cubicBezTo>
                  <a:cubicBezTo>
                    <a:pt x="487" y="140"/>
                    <a:pt x="442" y="40"/>
                    <a:pt x="227" y="4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A97C9DD9-CBB0-FB5D-B7D3-9861F5854D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87820" y="769115"/>
              <a:ext cx="140645" cy="189480"/>
            </a:xfrm>
            <a:custGeom>
              <a:avLst/>
              <a:gdLst>
                <a:gd name="T0" fmla="*/ 336 w 631"/>
                <a:gd name="T1" fmla="*/ 848 h 848"/>
                <a:gd name="T2" fmla="*/ 29 w 631"/>
                <a:gd name="T3" fmla="*/ 729 h 848"/>
                <a:gd name="T4" fmla="*/ 0 w 631"/>
                <a:gd name="T5" fmla="*/ 593 h 848"/>
                <a:gd name="T6" fmla="*/ 0 w 631"/>
                <a:gd name="T7" fmla="*/ 0 h 848"/>
                <a:gd name="T8" fmla="*/ 122 w 631"/>
                <a:gd name="T9" fmla="*/ 0 h 848"/>
                <a:gd name="T10" fmla="*/ 122 w 631"/>
                <a:gd name="T11" fmla="*/ 588 h 848"/>
                <a:gd name="T12" fmla="*/ 336 w 631"/>
                <a:gd name="T13" fmla="*/ 800 h 848"/>
                <a:gd name="T14" fmla="*/ 545 w 631"/>
                <a:gd name="T15" fmla="*/ 601 h 848"/>
                <a:gd name="T16" fmla="*/ 545 w 631"/>
                <a:gd name="T17" fmla="*/ 0 h 848"/>
                <a:gd name="T18" fmla="*/ 631 w 631"/>
                <a:gd name="T19" fmla="*/ 0 h 848"/>
                <a:gd name="T20" fmla="*/ 631 w 631"/>
                <a:gd name="T21" fmla="*/ 609 h 848"/>
                <a:gd name="T22" fmla="*/ 604 w 631"/>
                <a:gd name="T23" fmla="*/ 726 h 848"/>
                <a:gd name="T24" fmla="*/ 336 w 631"/>
                <a:gd name="T25" fmla="*/ 848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1" h="848">
                  <a:moveTo>
                    <a:pt x="336" y="848"/>
                  </a:moveTo>
                  <a:cubicBezTo>
                    <a:pt x="236" y="848"/>
                    <a:pt x="88" y="835"/>
                    <a:pt x="29" y="729"/>
                  </a:cubicBezTo>
                  <a:cubicBezTo>
                    <a:pt x="11" y="697"/>
                    <a:pt x="0" y="651"/>
                    <a:pt x="0" y="593"/>
                  </a:cubicBezTo>
                  <a:lnTo>
                    <a:pt x="0" y="0"/>
                  </a:lnTo>
                  <a:lnTo>
                    <a:pt x="122" y="0"/>
                  </a:lnTo>
                  <a:lnTo>
                    <a:pt x="122" y="588"/>
                  </a:lnTo>
                  <a:cubicBezTo>
                    <a:pt x="123" y="641"/>
                    <a:pt x="128" y="800"/>
                    <a:pt x="336" y="800"/>
                  </a:cubicBezTo>
                  <a:cubicBezTo>
                    <a:pt x="399" y="800"/>
                    <a:pt x="545" y="780"/>
                    <a:pt x="545" y="601"/>
                  </a:cubicBezTo>
                  <a:lnTo>
                    <a:pt x="545" y="0"/>
                  </a:lnTo>
                  <a:lnTo>
                    <a:pt x="631" y="0"/>
                  </a:lnTo>
                  <a:lnTo>
                    <a:pt x="631" y="609"/>
                  </a:lnTo>
                  <a:cubicBezTo>
                    <a:pt x="629" y="645"/>
                    <a:pt x="628" y="686"/>
                    <a:pt x="604" y="726"/>
                  </a:cubicBezTo>
                  <a:cubicBezTo>
                    <a:pt x="579" y="771"/>
                    <a:pt x="529" y="848"/>
                    <a:pt x="336" y="84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685F4904-E880-2536-0777-913DCCC8E0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57846" y="767162"/>
              <a:ext cx="170923" cy="191434"/>
            </a:xfrm>
            <a:custGeom>
              <a:avLst/>
              <a:gdLst>
                <a:gd name="T0" fmla="*/ 457 w 767"/>
                <a:gd name="T1" fmla="*/ 856 h 856"/>
                <a:gd name="T2" fmla="*/ 0 w 767"/>
                <a:gd name="T3" fmla="*/ 428 h 856"/>
                <a:gd name="T4" fmla="*/ 443 w 767"/>
                <a:gd name="T5" fmla="*/ 0 h 856"/>
                <a:gd name="T6" fmla="*/ 767 w 767"/>
                <a:gd name="T7" fmla="*/ 156 h 856"/>
                <a:gd name="T8" fmla="*/ 717 w 767"/>
                <a:gd name="T9" fmla="*/ 208 h 856"/>
                <a:gd name="T10" fmla="*/ 651 w 767"/>
                <a:gd name="T11" fmla="*/ 163 h 856"/>
                <a:gd name="T12" fmla="*/ 441 w 767"/>
                <a:gd name="T13" fmla="*/ 48 h 856"/>
                <a:gd name="T14" fmla="*/ 142 w 767"/>
                <a:gd name="T15" fmla="*/ 407 h 856"/>
                <a:gd name="T16" fmla="*/ 471 w 767"/>
                <a:gd name="T17" fmla="*/ 808 h 856"/>
                <a:gd name="T18" fmla="*/ 600 w 767"/>
                <a:gd name="T19" fmla="*/ 779 h 856"/>
                <a:gd name="T20" fmla="*/ 650 w 767"/>
                <a:gd name="T21" fmla="*/ 668 h 856"/>
                <a:gd name="T22" fmla="*/ 650 w 767"/>
                <a:gd name="T23" fmla="*/ 469 h 856"/>
                <a:gd name="T24" fmla="*/ 543 w 767"/>
                <a:gd name="T25" fmla="*/ 469 h 856"/>
                <a:gd name="T26" fmla="*/ 585 w 767"/>
                <a:gd name="T27" fmla="*/ 420 h 856"/>
                <a:gd name="T28" fmla="*/ 766 w 767"/>
                <a:gd name="T29" fmla="*/ 420 h 856"/>
                <a:gd name="T30" fmla="*/ 766 w 767"/>
                <a:gd name="T31" fmla="*/ 746 h 856"/>
                <a:gd name="T32" fmla="*/ 721 w 767"/>
                <a:gd name="T33" fmla="*/ 788 h 856"/>
                <a:gd name="T34" fmla="*/ 457 w 767"/>
                <a:gd name="T35" fmla="*/ 856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67" h="856">
                  <a:moveTo>
                    <a:pt x="457" y="856"/>
                  </a:moveTo>
                  <a:cubicBezTo>
                    <a:pt x="33" y="856"/>
                    <a:pt x="0" y="529"/>
                    <a:pt x="0" y="428"/>
                  </a:cubicBezTo>
                  <a:cubicBezTo>
                    <a:pt x="0" y="172"/>
                    <a:pt x="178" y="0"/>
                    <a:pt x="443" y="0"/>
                  </a:cubicBezTo>
                  <a:cubicBezTo>
                    <a:pt x="671" y="0"/>
                    <a:pt x="767" y="112"/>
                    <a:pt x="767" y="156"/>
                  </a:cubicBezTo>
                  <a:cubicBezTo>
                    <a:pt x="767" y="182"/>
                    <a:pt x="741" y="208"/>
                    <a:pt x="717" y="208"/>
                  </a:cubicBezTo>
                  <a:cubicBezTo>
                    <a:pt x="686" y="208"/>
                    <a:pt x="673" y="193"/>
                    <a:pt x="651" y="163"/>
                  </a:cubicBezTo>
                  <a:cubicBezTo>
                    <a:pt x="619" y="120"/>
                    <a:pt x="565" y="48"/>
                    <a:pt x="441" y="48"/>
                  </a:cubicBezTo>
                  <a:cubicBezTo>
                    <a:pt x="259" y="48"/>
                    <a:pt x="142" y="182"/>
                    <a:pt x="142" y="407"/>
                  </a:cubicBezTo>
                  <a:cubicBezTo>
                    <a:pt x="142" y="654"/>
                    <a:pt x="268" y="808"/>
                    <a:pt x="471" y="808"/>
                  </a:cubicBezTo>
                  <a:cubicBezTo>
                    <a:pt x="521" y="808"/>
                    <a:pt x="569" y="797"/>
                    <a:pt x="600" y="779"/>
                  </a:cubicBezTo>
                  <a:cubicBezTo>
                    <a:pt x="650" y="748"/>
                    <a:pt x="650" y="706"/>
                    <a:pt x="650" y="668"/>
                  </a:cubicBezTo>
                  <a:lnTo>
                    <a:pt x="650" y="469"/>
                  </a:lnTo>
                  <a:lnTo>
                    <a:pt x="543" y="469"/>
                  </a:lnTo>
                  <a:lnTo>
                    <a:pt x="585" y="420"/>
                  </a:lnTo>
                  <a:lnTo>
                    <a:pt x="766" y="420"/>
                  </a:lnTo>
                  <a:lnTo>
                    <a:pt x="766" y="746"/>
                  </a:lnTo>
                  <a:cubicBezTo>
                    <a:pt x="756" y="759"/>
                    <a:pt x="741" y="773"/>
                    <a:pt x="721" y="788"/>
                  </a:cubicBezTo>
                  <a:cubicBezTo>
                    <a:pt x="682" y="817"/>
                    <a:pt x="613" y="856"/>
                    <a:pt x="457" y="85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A5865E8F-53F9-3902-D6E4-07407700556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382488" y="769115"/>
              <a:ext cx="143576" cy="186550"/>
            </a:xfrm>
            <a:custGeom>
              <a:avLst/>
              <a:gdLst>
                <a:gd name="T0" fmla="*/ 646 w 646"/>
                <a:gd name="T1" fmla="*/ 839 h 839"/>
                <a:gd name="T2" fmla="*/ 358 w 646"/>
                <a:gd name="T3" fmla="*/ 451 h 839"/>
                <a:gd name="T4" fmla="*/ 410 w 646"/>
                <a:gd name="T5" fmla="*/ 440 h 839"/>
                <a:gd name="T6" fmla="*/ 601 w 646"/>
                <a:gd name="T7" fmla="*/ 230 h 839"/>
                <a:gd name="T8" fmla="*/ 514 w 646"/>
                <a:gd name="T9" fmla="*/ 58 h 839"/>
                <a:gd name="T10" fmla="*/ 231 w 646"/>
                <a:gd name="T11" fmla="*/ 0 h 839"/>
                <a:gd name="T12" fmla="*/ 0 w 646"/>
                <a:gd name="T13" fmla="*/ 0 h 839"/>
                <a:gd name="T14" fmla="*/ 0 w 646"/>
                <a:gd name="T15" fmla="*/ 839 h 839"/>
                <a:gd name="T16" fmla="*/ 121 w 646"/>
                <a:gd name="T17" fmla="*/ 839 h 839"/>
                <a:gd name="T18" fmla="*/ 121 w 646"/>
                <a:gd name="T19" fmla="*/ 527 h 839"/>
                <a:gd name="T20" fmla="*/ 196 w 646"/>
                <a:gd name="T21" fmla="*/ 461 h 839"/>
                <a:gd name="T22" fmla="*/ 279 w 646"/>
                <a:gd name="T23" fmla="*/ 508 h 839"/>
                <a:gd name="T24" fmla="*/ 513 w 646"/>
                <a:gd name="T25" fmla="*/ 839 h 839"/>
                <a:gd name="T26" fmla="*/ 646 w 646"/>
                <a:gd name="T27" fmla="*/ 839 h 839"/>
                <a:gd name="T28" fmla="*/ 258 w 646"/>
                <a:gd name="T29" fmla="*/ 410 h 839"/>
                <a:gd name="T30" fmla="*/ 210 w 646"/>
                <a:gd name="T31" fmla="*/ 412 h 839"/>
                <a:gd name="T32" fmla="*/ 121 w 646"/>
                <a:gd name="T33" fmla="*/ 412 h 839"/>
                <a:gd name="T34" fmla="*/ 121 w 646"/>
                <a:gd name="T35" fmla="*/ 49 h 839"/>
                <a:gd name="T36" fmla="*/ 224 w 646"/>
                <a:gd name="T37" fmla="*/ 40 h 839"/>
                <a:gd name="T38" fmla="*/ 469 w 646"/>
                <a:gd name="T39" fmla="*/ 234 h 839"/>
                <a:gd name="T40" fmla="*/ 258 w 646"/>
                <a:gd name="T41" fmla="*/ 410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6" h="839">
                  <a:moveTo>
                    <a:pt x="646" y="839"/>
                  </a:moveTo>
                  <a:lnTo>
                    <a:pt x="358" y="451"/>
                  </a:lnTo>
                  <a:cubicBezTo>
                    <a:pt x="358" y="451"/>
                    <a:pt x="398" y="443"/>
                    <a:pt x="410" y="440"/>
                  </a:cubicBezTo>
                  <a:cubicBezTo>
                    <a:pt x="458" y="427"/>
                    <a:pt x="601" y="390"/>
                    <a:pt x="601" y="230"/>
                  </a:cubicBezTo>
                  <a:cubicBezTo>
                    <a:pt x="601" y="153"/>
                    <a:pt x="566" y="94"/>
                    <a:pt x="514" y="58"/>
                  </a:cubicBezTo>
                  <a:cubicBezTo>
                    <a:pt x="440" y="8"/>
                    <a:pt x="330" y="0"/>
                    <a:pt x="231" y="0"/>
                  </a:cubicBezTo>
                  <a:lnTo>
                    <a:pt x="0" y="0"/>
                  </a:lnTo>
                  <a:lnTo>
                    <a:pt x="0" y="839"/>
                  </a:lnTo>
                  <a:lnTo>
                    <a:pt x="121" y="839"/>
                  </a:lnTo>
                  <a:lnTo>
                    <a:pt x="121" y="527"/>
                  </a:lnTo>
                  <a:cubicBezTo>
                    <a:pt x="121" y="474"/>
                    <a:pt x="153" y="461"/>
                    <a:pt x="196" y="461"/>
                  </a:cubicBezTo>
                  <a:cubicBezTo>
                    <a:pt x="220" y="461"/>
                    <a:pt x="254" y="469"/>
                    <a:pt x="279" y="508"/>
                  </a:cubicBezTo>
                  <a:lnTo>
                    <a:pt x="513" y="839"/>
                  </a:lnTo>
                  <a:lnTo>
                    <a:pt x="646" y="839"/>
                  </a:lnTo>
                  <a:close/>
                  <a:moveTo>
                    <a:pt x="258" y="410"/>
                  </a:moveTo>
                  <a:cubicBezTo>
                    <a:pt x="242" y="412"/>
                    <a:pt x="229" y="412"/>
                    <a:pt x="210" y="412"/>
                  </a:cubicBezTo>
                  <a:lnTo>
                    <a:pt x="121" y="412"/>
                  </a:lnTo>
                  <a:lnTo>
                    <a:pt x="121" y="49"/>
                  </a:lnTo>
                  <a:cubicBezTo>
                    <a:pt x="121" y="49"/>
                    <a:pt x="163" y="40"/>
                    <a:pt x="224" y="40"/>
                  </a:cubicBezTo>
                  <a:cubicBezTo>
                    <a:pt x="387" y="40"/>
                    <a:pt x="469" y="110"/>
                    <a:pt x="469" y="234"/>
                  </a:cubicBezTo>
                  <a:cubicBezTo>
                    <a:pt x="469" y="359"/>
                    <a:pt x="390" y="397"/>
                    <a:pt x="258" y="4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6E399045-A8F5-5B8C-2B45-24ED372A0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71224" y="303229"/>
              <a:ext cx="767689" cy="331102"/>
            </a:xfrm>
            <a:custGeom>
              <a:avLst/>
              <a:gdLst>
                <a:gd name="T0" fmla="*/ 3369 w 3451"/>
                <a:gd name="T1" fmla="*/ 1140 h 1483"/>
                <a:gd name="T2" fmla="*/ 3309 w 3451"/>
                <a:gd name="T3" fmla="*/ 1133 h 1483"/>
                <a:gd name="T4" fmla="*/ 3226 w 3451"/>
                <a:gd name="T5" fmla="*/ 1142 h 1483"/>
                <a:gd name="T6" fmla="*/ 3249 w 3451"/>
                <a:gd name="T7" fmla="*/ 1310 h 1483"/>
                <a:gd name="T8" fmla="*/ 2720 w 3451"/>
                <a:gd name="T9" fmla="*/ 1296 h 1483"/>
                <a:gd name="T10" fmla="*/ 1915 w 3451"/>
                <a:gd name="T11" fmla="*/ 339 h 1483"/>
                <a:gd name="T12" fmla="*/ 920 w 3451"/>
                <a:gd name="T13" fmla="*/ 132 h 1483"/>
                <a:gd name="T14" fmla="*/ 629 w 3451"/>
                <a:gd name="T15" fmla="*/ 1140 h 1483"/>
                <a:gd name="T16" fmla="*/ 477 w 3451"/>
                <a:gd name="T17" fmla="*/ 602 h 1483"/>
                <a:gd name="T18" fmla="*/ 432 w 3451"/>
                <a:gd name="T19" fmla="*/ 614 h 1483"/>
                <a:gd name="T20" fmla="*/ 1 w 3451"/>
                <a:gd name="T21" fmla="*/ 502 h 1483"/>
                <a:gd name="T22" fmla="*/ 1 w 3451"/>
                <a:gd name="T23" fmla="*/ 508 h 1483"/>
                <a:gd name="T24" fmla="*/ 318 w 3451"/>
                <a:gd name="T25" fmla="*/ 709 h 1483"/>
                <a:gd name="T26" fmla="*/ 783 w 3451"/>
                <a:gd name="T27" fmla="*/ 1225 h 1483"/>
                <a:gd name="T28" fmla="*/ 721 w 3451"/>
                <a:gd name="T29" fmla="*/ 716 h 1483"/>
                <a:gd name="T30" fmla="*/ 1302 w 3451"/>
                <a:gd name="T31" fmla="*/ 155 h 1483"/>
                <a:gd name="T32" fmla="*/ 2060 w 3451"/>
                <a:gd name="T33" fmla="*/ 739 h 1483"/>
                <a:gd name="T34" fmla="*/ 2831 w 3451"/>
                <a:gd name="T35" fmla="*/ 1417 h 1483"/>
                <a:gd name="T36" fmla="*/ 3332 w 3451"/>
                <a:gd name="T37" fmla="*/ 1403 h 1483"/>
                <a:gd name="T38" fmla="*/ 3369 w 3451"/>
                <a:gd name="T39" fmla="*/ 1140 h 1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51" h="1483">
                  <a:moveTo>
                    <a:pt x="3369" y="1140"/>
                  </a:moveTo>
                  <a:cubicBezTo>
                    <a:pt x="3355" y="1137"/>
                    <a:pt x="3325" y="1134"/>
                    <a:pt x="3309" y="1133"/>
                  </a:cubicBezTo>
                  <a:cubicBezTo>
                    <a:pt x="3280" y="1132"/>
                    <a:pt x="3252" y="1136"/>
                    <a:pt x="3226" y="1142"/>
                  </a:cubicBezTo>
                  <a:cubicBezTo>
                    <a:pt x="3279" y="1188"/>
                    <a:pt x="3277" y="1256"/>
                    <a:pt x="3249" y="1310"/>
                  </a:cubicBezTo>
                  <a:cubicBezTo>
                    <a:pt x="3166" y="1476"/>
                    <a:pt x="2841" y="1377"/>
                    <a:pt x="2720" y="1296"/>
                  </a:cubicBezTo>
                  <a:cubicBezTo>
                    <a:pt x="2348" y="1048"/>
                    <a:pt x="2126" y="577"/>
                    <a:pt x="1915" y="339"/>
                  </a:cubicBezTo>
                  <a:cubicBezTo>
                    <a:pt x="1619" y="7"/>
                    <a:pt x="1185" y="0"/>
                    <a:pt x="920" y="132"/>
                  </a:cubicBezTo>
                  <a:cubicBezTo>
                    <a:pt x="590" y="296"/>
                    <a:pt x="509" y="754"/>
                    <a:pt x="629" y="1140"/>
                  </a:cubicBezTo>
                  <a:cubicBezTo>
                    <a:pt x="469" y="1092"/>
                    <a:pt x="401" y="783"/>
                    <a:pt x="477" y="602"/>
                  </a:cubicBezTo>
                  <a:cubicBezTo>
                    <a:pt x="463" y="606"/>
                    <a:pt x="448" y="610"/>
                    <a:pt x="432" y="614"/>
                  </a:cubicBezTo>
                  <a:cubicBezTo>
                    <a:pt x="262" y="653"/>
                    <a:pt x="95" y="605"/>
                    <a:pt x="1" y="502"/>
                  </a:cubicBezTo>
                  <a:cubicBezTo>
                    <a:pt x="0" y="504"/>
                    <a:pt x="0" y="506"/>
                    <a:pt x="1" y="508"/>
                  </a:cubicBezTo>
                  <a:cubicBezTo>
                    <a:pt x="54" y="629"/>
                    <a:pt x="163" y="706"/>
                    <a:pt x="318" y="709"/>
                  </a:cubicBezTo>
                  <a:cubicBezTo>
                    <a:pt x="308" y="1119"/>
                    <a:pt x="539" y="1245"/>
                    <a:pt x="783" y="1225"/>
                  </a:cubicBezTo>
                  <a:cubicBezTo>
                    <a:pt x="716" y="1100"/>
                    <a:pt x="698" y="880"/>
                    <a:pt x="721" y="716"/>
                  </a:cubicBezTo>
                  <a:cubicBezTo>
                    <a:pt x="743" y="563"/>
                    <a:pt x="878" y="167"/>
                    <a:pt x="1302" y="155"/>
                  </a:cubicBezTo>
                  <a:cubicBezTo>
                    <a:pt x="1710" y="143"/>
                    <a:pt x="1863" y="492"/>
                    <a:pt x="2060" y="739"/>
                  </a:cubicBezTo>
                  <a:cubicBezTo>
                    <a:pt x="2230" y="952"/>
                    <a:pt x="2501" y="1307"/>
                    <a:pt x="2831" y="1417"/>
                  </a:cubicBezTo>
                  <a:cubicBezTo>
                    <a:pt x="2984" y="1468"/>
                    <a:pt x="3195" y="1483"/>
                    <a:pt x="3332" y="1403"/>
                  </a:cubicBezTo>
                  <a:cubicBezTo>
                    <a:pt x="3417" y="1354"/>
                    <a:pt x="3451" y="1217"/>
                    <a:pt x="3369" y="114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D846DFA3-A407-4519-234D-6862E9CD27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36511" y="561078"/>
              <a:ext cx="303755" cy="168970"/>
            </a:xfrm>
            <a:custGeom>
              <a:avLst/>
              <a:gdLst>
                <a:gd name="T0" fmla="*/ 1257 w 1369"/>
                <a:gd name="T1" fmla="*/ 706 h 756"/>
                <a:gd name="T2" fmla="*/ 1001 w 1369"/>
                <a:gd name="T3" fmla="*/ 535 h 756"/>
                <a:gd name="T4" fmla="*/ 912 w 1369"/>
                <a:gd name="T5" fmla="*/ 292 h 756"/>
                <a:gd name="T6" fmla="*/ 915 w 1369"/>
                <a:gd name="T7" fmla="*/ 255 h 756"/>
                <a:gd name="T8" fmla="*/ 848 w 1369"/>
                <a:gd name="T9" fmla="*/ 248 h 756"/>
                <a:gd name="T10" fmla="*/ 764 w 1369"/>
                <a:gd name="T11" fmla="*/ 257 h 756"/>
                <a:gd name="T12" fmla="*/ 420 w 1369"/>
                <a:gd name="T13" fmla="*/ 354 h 756"/>
                <a:gd name="T14" fmla="*/ 134 w 1369"/>
                <a:gd name="T15" fmla="*/ 21 h 756"/>
                <a:gd name="T16" fmla="*/ 115 w 1369"/>
                <a:gd name="T17" fmla="*/ 0 h 756"/>
                <a:gd name="T18" fmla="*/ 0 w 1369"/>
                <a:gd name="T19" fmla="*/ 38 h 756"/>
                <a:gd name="T20" fmla="*/ 84 w 1369"/>
                <a:gd name="T21" fmla="*/ 169 h 756"/>
                <a:gd name="T22" fmla="*/ 380 w 1369"/>
                <a:gd name="T23" fmla="*/ 391 h 756"/>
                <a:gd name="T24" fmla="*/ 768 w 1369"/>
                <a:gd name="T25" fmla="*/ 359 h 756"/>
                <a:gd name="T26" fmla="*/ 876 w 1369"/>
                <a:gd name="T27" fmla="*/ 567 h 756"/>
                <a:gd name="T28" fmla="*/ 1158 w 1369"/>
                <a:gd name="T29" fmla="*/ 732 h 756"/>
                <a:gd name="T30" fmla="*/ 1369 w 1369"/>
                <a:gd name="T31" fmla="*/ 735 h 756"/>
                <a:gd name="T32" fmla="*/ 1257 w 1369"/>
                <a:gd name="T33" fmla="*/ 706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9" h="756">
                  <a:moveTo>
                    <a:pt x="1257" y="706"/>
                  </a:moveTo>
                  <a:cubicBezTo>
                    <a:pt x="1149" y="670"/>
                    <a:pt x="1061" y="610"/>
                    <a:pt x="1001" y="535"/>
                  </a:cubicBezTo>
                  <a:cubicBezTo>
                    <a:pt x="944" y="465"/>
                    <a:pt x="911" y="375"/>
                    <a:pt x="912" y="292"/>
                  </a:cubicBezTo>
                  <a:cubicBezTo>
                    <a:pt x="912" y="279"/>
                    <a:pt x="915" y="255"/>
                    <a:pt x="915" y="255"/>
                  </a:cubicBezTo>
                  <a:cubicBezTo>
                    <a:pt x="915" y="255"/>
                    <a:pt x="883" y="248"/>
                    <a:pt x="848" y="248"/>
                  </a:cubicBezTo>
                  <a:cubicBezTo>
                    <a:pt x="791" y="248"/>
                    <a:pt x="764" y="257"/>
                    <a:pt x="764" y="257"/>
                  </a:cubicBezTo>
                  <a:cubicBezTo>
                    <a:pt x="764" y="257"/>
                    <a:pt x="631" y="406"/>
                    <a:pt x="420" y="354"/>
                  </a:cubicBezTo>
                  <a:cubicBezTo>
                    <a:pt x="219" y="304"/>
                    <a:pt x="225" y="126"/>
                    <a:pt x="134" y="21"/>
                  </a:cubicBezTo>
                  <a:cubicBezTo>
                    <a:pt x="128" y="13"/>
                    <a:pt x="122" y="7"/>
                    <a:pt x="115" y="0"/>
                  </a:cubicBezTo>
                  <a:lnTo>
                    <a:pt x="0" y="38"/>
                  </a:lnTo>
                  <a:cubicBezTo>
                    <a:pt x="28" y="69"/>
                    <a:pt x="57" y="111"/>
                    <a:pt x="84" y="169"/>
                  </a:cubicBezTo>
                  <a:cubicBezTo>
                    <a:pt x="123" y="256"/>
                    <a:pt x="214" y="355"/>
                    <a:pt x="380" y="391"/>
                  </a:cubicBezTo>
                  <a:cubicBezTo>
                    <a:pt x="503" y="418"/>
                    <a:pt x="639" y="411"/>
                    <a:pt x="768" y="359"/>
                  </a:cubicBezTo>
                  <a:cubicBezTo>
                    <a:pt x="782" y="433"/>
                    <a:pt x="820" y="506"/>
                    <a:pt x="876" y="567"/>
                  </a:cubicBezTo>
                  <a:cubicBezTo>
                    <a:pt x="942" y="639"/>
                    <a:pt x="1048" y="699"/>
                    <a:pt x="1158" y="732"/>
                  </a:cubicBezTo>
                  <a:cubicBezTo>
                    <a:pt x="1239" y="756"/>
                    <a:pt x="1330" y="754"/>
                    <a:pt x="1369" y="735"/>
                  </a:cubicBezTo>
                  <a:cubicBezTo>
                    <a:pt x="1331" y="728"/>
                    <a:pt x="1293" y="718"/>
                    <a:pt x="1257" y="70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342800D9-2EC0-68CE-DE53-C7C1126C91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62658" y="445827"/>
              <a:ext cx="215852" cy="205107"/>
            </a:xfrm>
            <a:custGeom>
              <a:avLst/>
              <a:gdLst>
                <a:gd name="T0" fmla="*/ 714 w 973"/>
                <a:gd name="T1" fmla="*/ 43 h 919"/>
                <a:gd name="T2" fmla="*/ 246 w 973"/>
                <a:gd name="T3" fmla="*/ 151 h 919"/>
                <a:gd name="T4" fmla="*/ 208 w 973"/>
                <a:gd name="T5" fmla="*/ 877 h 919"/>
                <a:gd name="T6" fmla="*/ 240 w 973"/>
                <a:gd name="T7" fmla="*/ 912 h 919"/>
                <a:gd name="T8" fmla="*/ 314 w 973"/>
                <a:gd name="T9" fmla="*/ 912 h 919"/>
                <a:gd name="T10" fmla="*/ 396 w 973"/>
                <a:gd name="T11" fmla="*/ 879 h 919"/>
                <a:gd name="T12" fmla="*/ 209 w 973"/>
                <a:gd name="T13" fmla="*/ 575 h 919"/>
                <a:gd name="T14" fmla="*/ 688 w 973"/>
                <a:gd name="T15" fmla="*/ 98 h 919"/>
                <a:gd name="T16" fmla="*/ 772 w 973"/>
                <a:gd name="T17" fmla="*/ 320 h 919"/>
                <a:gd name="T18" fmla="*/ 578 w 973"/>
                <a:gd name="T19" fmla="*/ 371 h 919"/>
                <a:gd name="T20" fmla="*/ 683 w 973"/>
                <a:gd name="T21" fmla="*/ 473 h 919"/>
                <a:gd name="T22" fmla="*/ 898 w 973"/>
                <a:gd name="T23" fmla="*/ 348 h 919"/>
                <a:gd name="T24" fmla="*/ 714 w 973"/>
                <a:gd name="T25" fmla="*/ 43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3" h="919">
                  <a:moveTo>
                    <a:pt x="714" y="43"/>
                  </a:moveTo>
                  <a:cubicBezTo>
                    <a:pt x="514" y="0"/>
                    <a:pt x="346" y="70"/>
                    <a:pt x="246" y="151"/>
                  </a:cubicBezTo>
                  <a:cubicBezTo>
                    <a:pt x="0" y="348"/>
                    <a:pt x="25" y="659"/>
                    <a:pt x="208" y="877"/>
                  </a:cubicBezTo>
                  <a:cubicBezTo>
                    <a:pt x="218" y="889"/>
                    <a:pt x="240" y="912"/>
                    <a:pt x="240" y="912"/>
                  </a:cubicBezTo>
                  <a:cubicBezTo>
                    <a:pt x="240" y="912"/>
                    <a:pt x="266" y="919"/>
                    <a:pt x="314" y="912"/>
                  </a:cubicBezTo>
                  <a:cubicBezTo>
                    <a:pt x="348" y="907"/>
                    <a:pt x="396" y="879"/>
                    <a:pt x="396" y="879"/>
                  </a:cubicBezTo>
                  <a:cubicBezTo>
                    <a:pt x="396" y="879"/>
                    <a:pt x="245" y="761"/>
                    <a:pt x="209" y="575"/>
                  </a:cubicBezTo>
                  <a:cubicBezTo>
                    <a:pt x="145" y="243"/>
                    <a:pt x="437" y="52"/>
                    <a:pt x="688" y="98"/>
                  </a:cubicBezTo>
                  <a:cubicBezTo>
                    <a:pt x="831" y="124"/>
                    <a:pt x="842" y="257"/>
                    <a:pt x="772" y="320"/>
                  </a:cubicBezTo>
                  <a:cubicBezTo>
                    <a:pt x="708" y="377"/>
                    <a:pt x="622" y="376"/>
                    <a:pt x="578" y="371"/>
                  </a:cubicBezTo>
                  <a:cubicBezTo>
                    <a:pt x="616" y="392"/>
                    <a:pt x="653" y="427"/>
                    <a:pt x="683" y="473"/>
                  </a:cubicBezTo>
                  <a:cubicBezTo>
                    <a:pt x="683" y="473"/>
                    <a:pt x="819" y="458"/>
                    <a:pt x="898" y="348"/>
                  </a:cubicBezTo>
                  <a:cubicBezTo>
                    <a:pt x="973" y="245"/>
                    <a:pt x="913" y="86"/>
                    <a:pt x="714" y="4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Rectangle 13">
              <a:extLst>
                <a:ext uri="{FF2B5EF4-FFF2-40B4-BE49-F238E27FC236}">
                  <a16:creationId xmlns:a16="http://schemas.microsoft.com/office/drawing/2014/main" id="{30DC60CA-E862-52A5-27A7-443A41D4B55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0193" y="769115"/>
              <a:ext cx="37115" cy="1865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5D8890BF-9AC4-DDB7-20C5-1BD33DFF3A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55669" y="769115"/>
              <a:ext cx="125018" cy="186550"/>
            </a:xfrm>
            <a:custGeom>
              <a:avLst/>
              <a:gdLst>
                <a:gd name="T0" fmla="*/ 0 w 562"/>
                <a:gd name="T1" fmla="*/ 839 h 839"/>
                <a:gd name="T2" fmla="*/ 0 w 562"/>
                <a:gd name="T3" fmla="*/ 0 h 839"/>
                <a:gd name="T4" fmla="*/ 164 w 562"/>
                <a:gd name="T5" fmla="*/ 0 h 839"/>
                <a:gd name="T6" fmla="*/ 164 w 562"/>
                <a:gd name="T7" fmla="*/ 756 h 839"/>
                <a:gd name="T8" fmla="*/ 485 w 562"/>
                <a:gd name="T9" fmla="*/ 756 h 839"/>
                <a:gd name="T10" fmla="*/ 562 w 562"/>
                <a:gd name="T11" fmla="*/ 839 h 839"/>
                <a:gd name="T12" fmla="*/ 0 w 562"/>
                <a:gd name="T13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2" h="839">
                  <a:moveTo>
                    <a:pt x="0" y="839"/>
                  </a:moveTo>
                  <a:lnTo>
                    <a:pt x="0" y="0"/>
                  </a:lnTo>
                  <a:lnTo>
                    <a:pt x="164" y="0"/>
                  </a:lnTo>
                  <a:lnTo>
                    <a:pt x="164" y="756"/>
                  </a:lnTo>
                  <a:lnTo>
                    <a:pt x="485" y="756"/>
                  </a:lnTo>
                  <a:lnTo>
                    <a:pt x="562" y="839"/>
                  </a:lnTo>
                  <a:lnTo>
                    <a:pt x="0" y="839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20209A89-79C4-9465-344B-AE9AFB2D3AE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432156" y="767162"/>
              <a:ext cx="155296" cy="191434"/>
            </a:xfrm>
            <a:custGeom>
              <a:avLst/>
              <a:gdLst>
                <a:gd name="T0" fmla="*/ 0 w 698"/>
                <a:gd name="T1" fmla="*/ 856 h 856"/>
                <a:gd name="T2" fmla="*/ 0 w 698"/>
                <a:gd name="T3" fmla="*/ 0 h 856"/>
                <a:gd name="T4" fmla="*/ 250 w 698"/>
                <a:gd name="T5" fmla="*/ 0 h 856"/>
                <a:gd name="T6" fmla="*/ 537 w 698"/>
                <a:gd name="T7" fmla="*/ 45 h 856"/>
                <a:gd name="T8" fmla="*/ 641 w 698"/>
                <a:gd name="T9" fmla="*/ 197 h 856"/>
                <a:gd name="T10" fmla="*/ 488 w 698"/>
                <a:gd name="T11" fmla="*/ 379 h 856"/>
                <a:gd name="T12" fmla="*/ 443 w 698"/>
                <a:gd name="T13" fmla="*/ 394 h 856"/>
                <a:gd name="T14" fmla="*/ 501 w 698"/>
                <a:gd name="T15" fmla="*/ 414 h 856"/>
                <a:gd name="T16" fmla="*/ 698 w 698"/>
                <a:gd name="T17" fmla="*/ 630 h 856"/>
                <a:gd name="T18" fmla="*/ 541 w 698"/>
                <a:gd name="T19" fmla="*/ 822 h 856"/>
                <a:gd name="T20" fmla="*/ 250 w 698"/>
                <a:gd name="T21" fmla="*/ 856 h 856"/>
                <a:gd name="T22" fmla="*/ 0 w 698"/>
                <a:gd name="T23" fmla="*/ 856 h 856"/>
                <a:gd name="T24" fmla="*/ 161 w 698"/>
                <a:gd name="T25" fmla="*/ 712 h 856"/>
                <a:gd name="T26" fmla="*/ 177 w 698"/>
                <a:gd name="T27" fmla="*/ 763 h 856"/>
                <a:gd name="T28" fmla="*/ 277 w 698"/>
                <a:gd name="T29" fmla="*/ 785 h 856"/>
                <a:gd name="T30" fmla="*/ 528 w 698"/>
                <a:gd name="T31" fmla="*/ 619 h 856"/>
                <a:gd name="T32" fmla="*/ 267 w 698"/>
                <a:gd name="T33" fmla="*/ 435 h 856"/>
                <a:gd name="T34" fmla="*/ 251 w 698"/>
                <a:gd name="T35" fmla="*/ 435 h 856"/>
                <a:gd name="T36" fmla="*/ 161 w 698"/>
                <a:gd name="T37" fmla="*/ 435 h 856"/>
                <a:gd name="T38" fmla="*/ 161 w 698"/>
                <a:gd name="T39" fmla="*/ 712 h 856"/>
                <a:gd name="T40" fmla="*/ 296 w 698"/>
                <a:gd name="T41" fmla="*/ 374 h 856"/>
                <a:gd name="T42" fmla="*/ 479 w 698"/>
                <a:gd name="T43" fmla="*/ 222 h 856"/>
                <a:gd name="T44" fmla="*/ 260 w 698"/>
                <a:gd name="T45" fmla="*/ 65 h 856"/>
                <a:gd name="T46" fmla="*/ 177 w 698"/>
                <a:gd name="T47" fmla="*/ 70 h 856"/>
                <a:gd name="T48" fmla="*/ 161 w 698"/>
                <a:gd name="T49" fmla="*/ 72 h 856"/>
                <a:gd name="T50" fmla="*/ 161 w 698"/>
                <a:gd name="T51" fmla="*/ 374 h 856"/>
                <a:gd name="T52" fmla="*/ 296 w 698"/>
                <a:gd name="T53" fmla="*/ 374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8" h="856">
                  <a:moveTo>
                    <a:pt x="0" y="856"/>
                  </a:moveTo>
                  <a:lnTo>
                    <a:pt x="0" y="0"/>
                  </a:lnTo>
                  <a:lnTo>
                    <a:pt x="250" y="0"/>
                  </a:lnTo>
                  <a:cubicBezTo>
                    <a:pt x="342" y="0"/>
                    <a:pt x="457" y="5"/>
                    <a:pt x="537" y="45"/>
                  </a:cubicBezTo>
                  <a:cubicBezTo>
                    <a:pt x="605" y="80"/>
                    <a:pt x="641" y="132"/>
                    <a:pt x="641" y="197"/>
                  </a:cubicBezTo>
                  <a:cubicBezTo>
                    <a:pt x="641" y="289"/>
                    <a:pt x="562" y="352"/>
                    <a:pt x="488" y="379"/>
                  </a:cubicBezTo>
                  <a:cubicBezTo>
                    <a:pt x="468" y="386"/>
                    <a:pt x="454" y="391"/>
                    <a:pt x="443" y="394"/>
                  </a:cubicBezTo>
                  <a:cubicBezTo>
                    <a:pt x="459" y="399"/>
                    <a:pt x="481" y="406"/>
                    <a:pt x="501" y="414"/>
                  </a:cubicBezTo>
                  <a:cubicBezTo>
                    <a:pt x="673" y="480"/>
                    <a:pt x="698" y="578"/>
                    <a:pt x="698" y="630"/>
                  </a:cubicBezTo>
                  <a:cubicBezTo>
                    <a:pt x="698" y="740"/>
                    <a:pt x="612" y="795"/>
                    <a:pt x="541" y="822"/>
                  </a:cubicBezTo>
                  <a:cubicBezTo>
                    <a:pt x="471" y="845"/>
                    <a:pt x="381" y="856"/>
                    <a:pt x="250" y="856"/>
                  </a:cubicBezTo>
                  <a:lnTo>
                    <a:pt x="0" y="856"/>
                  </a:lnTo>
                  <a:close/>
                  <a:moveTo>
                    <a:pt x="161" y="712"/>
                  </a:moveTo>
                  <a:cubicBezTo>
                    <a:pt x="161" y="728"/>
                    <a:pt x="160" y="748"/>
                    <a:pt x="177" y="763"/>
                  </a:cubicBezTo>
                  <a:cubicBezTo>
                    <a:pt x="194" y="779"/>
                    <a:pt x="225" y="785"/>
                    <a:pt x="277" y="785"/>
                  </a:cubicBezTo>
                  <a:cubicBezTo>
                    <a:pt x="439" y="785"/>
                    <a:pt x="528" y="726"/>
                    <a:pt x="528" y="619"/>
                  </a:cubicBezTo>
                  <a:cubicBezTo>
                    <a:pt x="528" y="505"/>
                    <a:pt x="440" y="443"/>
                    <a:pt x="267" y="435"/>
                  </a:cubicBezTo>
                  <a:cubicBezTo>
                    <a:pt x="266" y="435"/>
                    <a:pt x="252" y="435"/>
                    <a:pt x="251" y="435"/>
                  </a:cubicBezTo>
                  <a:lnTo>
                    <a:pt x="161" y="435"/>
                  </a:lnTo>
                  <a:lnTo>
                    <a:pt x="161" y="712"/>
                  </a:lnTo>
                  <a:close/>
                  <a:moveTo>
                    <a:pt x="296" y="374"/>
                  </a:moveTo>
                  <a:cubicBezTo>
                    <a:pt x="425" y="374"/>
                    <a:pt x="479" y="265"/>
                    <a:pt x="479" y="222"/>
                  </a:cubicBezTo>
                  <a:cubicBezTo>
                    <a:pt x="479" y="122"/>
                    <a:pt x="399" y="65"/>
                    <a:pt x="260" y="65"/>
                  </a:cubicBezTo>
                  <a:cubicBezTo>
                    <a:pt x="228" y="65"/>
                    <a:pt x="209" y="67"/>
                    <a:pt x="177" y="70"/>
                  </a:cubicBezTo>
                  <a:lnTo>
                    <a:pt x="161" y="72"/>
                  </a:lnTo>
                  <a:lnTo>
                    <a:pt x="161" y="374"/>
                  </a:lnTo>
                  <a:lnTo>
                    <a:pt x="296" y="37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16">
              <a:extLst>
                <a:ext uri="{FF2B5EF4-FFF2-40B4-BE49-F238E27FC236}">
                  <a16:creationId xmlns:a16="http://schemas.microsoft.com/office/drawing/2014/main" id="{867B9A4E-FF70-2881-3B45-4EE1DCFED9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35910" y="769115"/>
              <a:ext cx="160179" cy="186550"/>
            </a:xfrm>
            <a:custGeom>
              <a:avLst/>
              <a:gdLst>
                <a:gd name="T0" fmla="*/ 558 w 723"/>
                <a:gd name="T1" fmla="*/ 0 h 839"/>
                <a:gd name="T2" fmla="*/ 558 w 723"/>
                <a:gd name="T3" fmla="*/ 364 h 839"/>
                <a:gd name="T4" fmla="*/ 165 w 723"/>
                <a:gd name="T5" fmla="*/ 364 h 839"/>
                <a:gd name="T6" fmla="*/ 165 w 723"/>
                <a:gd name="T7" fmla="*/ 0 h 839"/>
                <a:gd name="T8" fmla="*/ 0 w 723"/>
                <a:gd name="T9" fmla="*/ 0 h 839"/>
                <a:gd name="T10" fmla="*/ 0 w 723"/>
                <a:gd name="T11" fmla="*/ 839 h 839"/>
                <a:gd name="T12" fmla="*/ 165 w 723"/>
                <a:gd name="T13" fmla="*/ 839 h 839"/>
                <a:gd name="T14" fmla="*/ 165 w 723"/>
                <a:gd name="T15" fmla="*/ 480 h 839"/>
                <a:gd name="T16" fmla="*/ 212 w 723"/>
                <a:gd name="T17" fmla="*/ 442 h 839"/>
                <a:gd name="T18" fmla="*/ 512 w 723"/>
                <a:gd name="T19" fmla="*/ 442 h 839"/>
                <a:gd name="T20" fmla="*/ 558 w 723"/>
                <a:gd name="T21" fmla="*/ 480 h 839"/>
                <a:gd name="T22" fmla="*/ 558 w 723"/>
                <a:gd name="T23" fmla="*/ 839 h 839"/>
                <a:gd name="T24" fmla="*/ 723 w 723"/>
                <a:gd name="T25" fmla="*/ 839 h 839"/>
                <a:gd name="T26" fmla="*/ 723 w 723"/>
                <a:gd name="T27" fmla="*/ 0 h 839"/>
                <a:gd name="T28" fmla="*/ 558 w 723"/>
                <a:gd name="T29" fmla="*/ 0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3" h="839">
                  <a:moveTo>
                    <a:pt x="558" y="0"/>
                  </a:moveTo>
                  <a:lnTo>
                    <a:pt x="558" y="364"/>
                  </a:lnTo>
                  <a:lnTo>
                    <a:pt x="165" y="364"/>
                  </a:lnTo>
                  <a:lnTo>
                    <a:pt x="165" y="0"/>
                  </a:lnTo>
                  <a:lnTo>
                    <a:pt x="0" y="0"/>
                  </a:lnTo>
                  <a:lnTo>
                    <a:pt x="0" y="839"/>
                  </a:lnTo>
                  <a:lnTo>
                    <a:pt x="165" y="839"/>
                  </a:lnTo>
                  <a:lnTo>
                    <a:pt x="165" y="480"/>
                  </a:lnTo>
                  <a:cubicBezTo>
                    <a:pt x="165" y="454"/>
                    <a:pt x="189" y="442"/>
                    <a:pt x="212" y="442"/>
                  </a:cubicBezTo>
                  <a:lnTo>
                    <a:pt x="512" y="442"/>
                  </a:lnTo>
                  <a:cubicBezTo>
                    <a:pt x="535" y="442"/>
                    <a:pt x="558" y="454"/>
                    <a:pt x="558" y="480"/>
                  </a:cubicBezTo>
                  <a:lnTo>
                    <a:pt x="558" y="839"/>
                  </a:lnTo>
                  <a:lnTo>
                    <a:pt x="723" y="839"/>
                  </a:lnTo>
                  <a:lnTo>
                    <a:pt x="723" y="0"/>
                  </a:lnTo>
                  <a:lnTo>
                    <a:pt x="558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17">
              <a:extLst>
                <a:ext uri="{FF2B5EF4-FFF2-40B4-BE49-F238E27FC236}">
                  <a16:creationId xmlns:a16="http://schemas.microsoft.com/office/drawing/2014/main" id="{9B92359E-5C6F-D392-ABD3-2B5B44A8E3A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432156" y="1076777"/>
              <a:ext cx="1682860" cy="65439"/>
            </a:xfrm>
            <a:custGeom>
              <a:avLst/>
              <a:gdLst>
                <a:gd name="T0" fmla="*/ 7350 w 7569"/>
                <a:gd name="T1" fmla="*/ 285 h 292"/>
                <a:gd name="T2" fmla="*/ 7273 w 7569"/>
                <a:gd name="T3" fmla="*/ 149 h 292"/>
                <a:gd name="T4" fmla="*/ 7144 w 7569"/>
                <a:gd name="T5" fmla="*/ 7 h 292"/>
                <a:gd name="T6" fmla="*/ 7175 w 7569"/>
                <a:gd name="T7" fmla="*/ 152 h 292"/>
                <a:gd name="T8" fmla="*/ 6990 w 7569"/>
                <a:gd name="T9" fmla="*/ 278 h 292"/>
                <a:gd name="T10" fmla="*/ 6845 w 7569"/>
                <a:gd name="T11" fmla="*/ 15 h 292"/>
                <a:gd name="T12" fmla="*/ 6775 w 7569"/>
                <a:gd name="T13" fmla="*/ 279 h 292"/>
                <a:gd name="T14" fmla="*/ 6513 w 7569"/>
                <a:gd name="T15" fmla="*/ 14 h 292"/>
                <a:gd name="T16" fmla="*/ 6738 w 7569"/>
                <a:gd name="T17" fmla="*/ 65 h 292"/>
                <a:gd name="T18" fmla="*/ 6444 w 7569"/>
                <a:gd name="T19" fmla="*/ 278 h 292"/>
                <a:gd name="T20" fmla="*/ 6365 w 7569"/>
                <a:gd name="T21" fmla="*/ 282 h 292"/>
                <a:gd name="T22" fmla="*/ 6044 w 7569"/>
                <a:gd name="T23" fmla="*/ 67 h 292"/>
                <a:gd name="T24" fmla="*/ 5915 w 7569"/>
                <a:gd name="T25" fmla="*/ 213 h 292"/>
                <a:gd name="T26" fmla="*/ 5663 w 7569"/>
                <a:gd name="T27" fmla="*/ 140 h 292"/>
                <a:gd name="T28" fmla="*/ 5852 w 7569"/>
                <a:gd name="T29" fmla="*/ 238 h 292"/>
                <a:gd name="T30" fmla="*/ 5390 w 7569"/>
                <a:gd name="T31" fmla="*/ 13 h 292"/>
                <a:gd name="T32" fmla="*/ 5540 w 7569"/>
                <a:gd name="T33" fmla="*/ 280 h 292"/>
                <a:gd name="T34" fmla="*/ 5390 w 7569"/>
                <a:gd name="T35" fmla="*/ 13 h 292"/>
                <a:gd name="T36" fmla="*/ 5281 w 7569"/>
                <a:gd name="T37" fmla="*/ 14 h 292"/>
                <a:gd name="T38" fmla="*/ 4974 w 7569"/>
                <a:gd name="T39" fmla="*/ 285 h 292"/>
                <a:gd name="T40" fmla="*/ 4809 w 7569"/>
                <a:gd name="T41" fmla="*/ 7 h 292"/>
                <a:gd name="T42" fmla="*/ 4816 w 7569"/>
                <a:gd name="T43" fmla="*/ 260 h 292"/>
                <a:gd name="T44" fmla="*/ 4687 w 7569"/>
                <a:gd name="T45" fmla="*/ 139 h 292"/>
                <a:gd name="T46" fmla="*/ 4425 w 7569"/>
                <a:gd name="T47" fmla="*/ 279 h 292"/>
                <a:gd name="T48" fmla="*/ 4236 w 7569"/>
                <a:gd name="T49" fmla="*/ 7 h 292"/>
                <a:gd name="T50" fmla="*/ 4068 w 7569"/>
                <a:gd name="T51" fmla="*/ 152 h 292"/>
                <a:gd name="T52" fmla="*/ 4085 w 7569"/>
                <a:gd name="T53" fmla="*/ 7 h 292"/>
                <a:gd name="T54" fmla="*/ 3977 w 7569"/>
                <a:gd name="T55" fmla="*/ 260 h 292"/>
                <a:gd name="T56" fmla="*/ 3893 w 7569"/>
                <a:gd name="T57" fmla="*/ 248 h 292"/>
                <a:gd name="T58" fmla="*/ 3414 w 7569"/>
                <a:gd name="T59" fmla="*/ 7 h 292"/>
                <a:gd name="T60" fmla="*/ 3621 w 7569"/>
                <a:gd name="T61" fmla="*/ 286 h 292"/>
                <a:gd name="T62" fmla="*/ 3247 w 7569"/>
                <a:gd name="T63" fmla="*/ 59 h 292"/>
                <a:gd name="T64" fmla="*/ 3261 w 7569"/>
                <a:gd name="T65" fmla="*/ 7 h 292"/>
                <a:gd name="T66" fmla="*/ 3289 w 7569"/>
                <a:gd name="T67" fmla="*/ 176 h 292"/>
                <a:gd name="T68" fmla="*/ 2941 w 7569"/>
                <a:gd name="T69" fmla="*/ 286 h 292"/>
                <a:gd name="T70" fmla="*/ 3116 w 7569"/>
                <a:gd name="T71" fmla="*/ 282 h 292"/>
                <a:gd name="T72" fmla="*/ 2868 w 7569"/>
                <a:gd name="T73" fmla="*/ 14 h 292"/>
                <a:gd name="T74" fmla="*/ 2713 w 7569"/>
                <a:gd name="T75" fmla="*/ 7 h 292"/>
                <a:gd name="T76" fmla="*/ 2552 w 7569"/>
                <a:gd name="T77" fmla="*/ 122 h 292"/>
                <a:gd name="T78" fmla="*/ 2538 w 7569"/>
                <a:gd name="T79" fmla="*/ 159 h 292"/>
                <a:gd name="T80" fmla="*/ 2552 w 7569"/>
                <a:gd name="T81" fmla="*/ 122 h 292"/>
                <a:gd name="T82" fmla="*/ 2217 w 7569"/>
                <a:gd name="T83" fmla="*/ 61 h 292"/>
                <a:gd name="T84" fmla="*/ 2376 w 7569"/>
                <a:gd name="T85" fmla="*/ 219 h 292"/>
                <a:gd name="T86" fmla="*/ 2116 w 7569"/>
                <a:gd name="T87" fmla="*/ 278 h 292"/>
                <a:gd name="T88" fmla="*/ 1951 w 7569"/>
                <a:gd name="T89" fmla="*/ 282 h 292"/>
                <a:gd name="T90" fmla="*/ 1736 w 7569"/>
                <a:gd name="T91" fmla="*/ 286 h 292"/>
                <a:gd name="T92" fmla="*/ 1455 w 7569"/>
                <a:gd name="T93" fmla="*/ 278 h 292"/>
                <a:gd name="T94" fmla="*/ 1676 w 7569"/>
                <a:gd name="T95" fmla="*/ 14 h 292"/>
                <a:gd name="T96" fmla="*/ 1260 w 7569"/>
                <a:gd name="T97" fmla="*/ 153 h 292"/>
                <a:gd name="T98" fmla="*/ 1284 w 7569"/>
                <a:gd name="T99" fmla="*/ 13 h 292"/>
                <a:gd name="T100" fmla="*/ 1101 w 7569"/>
                <a:gd name="T101" fmla="*/ 280 h 292"/>
                <a:gd name="T102" fmla="*/ 1114 w 7569"/>
                <a:gd name="T103" fmla="*/ 216 h 292"/>
                <a:gd name="T104" fmla="*/ 863 w 7569"/>
                <a:gd name="T105" fmla="*/ 12 h 292"/>
                <a:gd name="T106" fmla="*/ 763 w 7569"/>
                <a:gd name="T107" fmla="*/ 24 h 292"/>
                <a:gd name="T108" fmla="*/ 770 w 7569"/>
                <a:gd name="T109" fmla="*/ 267 h 292"/>
                <a:gd name="T110" fmla="*/ 669 w 7569"/>
                <a:gd name="T111" fmla="*/ 25 h 292"/>
                <a:gd name="T112" fmla="*/ 591 w 7569"/>
                <a:gd name="T113" fmla="*/ 278 h 292"/>
                <a:gd name="T114" fmla="*/ 347 w 7569"/>
                <a:gd name="T115" fmla="*/ 24 h 292"/>
                <a:gd name="T116" fmla="*/ 133 w 7569"/>
                <a:gd name="T117" fmla="*/ 171 h 292"/>
                <a:gd name="T118" fmla="*/ 39 w 7569"/>
                <a:gd name="T119" fmla="*/ 129 h 292"/>
                <a:gd name="T120" fmla="*/ 170 w 7569"/>
                <a:gd name="T121" fmla="*/ 71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569" h="292">
                  <a:moveTo>
                    <a:pt x="7383" y="30"/>
                  </a:moveTo>
                  <a:cubicBezTo>
                    <a:pt x="7390" y="29"/>
                    <a:pt x="7396" y="28"/>
                    <a:pt x="7408" y="28"/>
                  </a:cubicBezTo>
                  <a:cubicBezTo>
                    <a:pt x="7445" y="28"/>
                    <a:pt x="7476" y="37"/>
                    <a:pt x="7498" y="62"/>
                  </a:cubicBezTo>
                  <a:cubicBezTo>
                    <a:pt x="7519" y="85"/>
                    <a:pt x="7526" y="115"/>
                    <a:pt x="7526" y="145"/>
                  </a:cubicBezTo>
                  <a:cubicBezTo>
                    <a:pt x="7526" y="216"/>
                    <a:pt x="7488" y="264"/>
                    <a:pt x="7404" y="264"/>
                  </a:cubicBezTo>
                  <a:cubicBezTo>
                    <a:pt x="7394" y="264"/>
                    <a:pt x="7388" y="263"/>
                    <a:pt x="7383" y="262"/>
                  </a:cubicBezTo>
                  <a:lnTo>
                    <a:pt x="7383" y="30"/>
                  </a:lnTo>
                  <a:close/>
                  <a:moveTo>
                    <a:pt x="7343" y="275"/>
                  </a:moveTo>
                  <a:cubicBezTo>
                    <a:pt x="7343" y="280"/>
                    <a:pt x="7344" y="283"/>
                    <a:pt x="7350" y="285"/>
                  </a:cubicBezTo>
                  <a:cubicBezTo>
                    <a:pt x="7361" y="287"/>
                    <a:pt x="7389" y="288"/>
                    <a:pt x="7403" y="288"/>
                  </a:cubicBezTo>
                  <a:cubicBezTo>
                    <a:pt x="7447" y="288"/>
                    <a:pt x="7492" y="279"/>
                    <a:pt x="7526" y="250"/>
                  </a:cubicBezTo>
                  <a:cubicBezTo>
                    <a:pt x="7541" y="236"/>
                    <a:pt x="7569" y="204"/>
                    <a:pt x="7569" y="147"/>
                  </a:cubicBezTo>
                  <a:cubicBezTo>
                    <a:pt x="7569" y="82"/>
                    <a:pt x="7530" y="4"/>
                    <a:pt x="7413" y="4"/>
                  </a:cubicBezTo>
                  <a:cubicBezTo>
                    <a:pt x="7389" y="4"/>
                    <a:pt x="7359" y="7"/>
                    <a:pt x="7349" y="11"/>
                  </a:cubicBezTo>
                  <a:cubicBezTo>
                    <a:pt x="7345" y="12"/>
                    <a:pt x="7343" y="13"/>
                    <a:pt x="7343" y="22"/>
                  </a:cubicBezTo>
                  <a:lnTo>
                    <a:pt x="7343" y="275"/>
                  </a:lnTo>
                  <a:close/>
                  <a:moveTo>
                    <a:pt x="7266" y="152"/>
                  </a:moveTo>
                  <a:cubicBezTo>
                    <a:pt x="7270" y="152"/>
                    <a:pt x="7272" y="152"/>
                    <a:pt x="7273" y="149"/>
                  </a:cubicBezTo>
                  <a:cubicBezTo>
                    <a:pt x="7273" y="147"/>
                    <a:pt x="7273" y="138"/>
                    <a:pt x="7273" y="133"/>
                  </a:cubicBezTo>
                  <a:cubicBezTo>
                    <a:pt x="7273" y="127"/>
                    <a:pt x="7270" y="127"/>
                    <a:pt x="7266" y="127"/>
                  </a:cubicBezTo>
                  <a:lnTo>
                    <a:pt x="7175" y="127"/>
                  </a:lnTo>
                  <a:lnTo>
                    <a:pt x="7175" y="32"/>
                  </a:lnTo>
                  <a:lnTo>
                    <a:pt x="7282" y="32"/>
                  </a:lnTo>
                  <a:cubicBezTo>
                    <a:pt x="7288" y="32"/>
                    <a:pt x="7289" y="31"/>
                    <a:pt x="7290" y="28"/>
                  </a:cubicBezTo>
                  <a:cubicBezTo>
                    <a:pt x="7290" y="26"/>
                    <a:pt x="7290" y="18"/>
                    <a:pt x="7290" y="13"/>
                  </a:cubicBezTo>
                  <a:cubicBezTo>
                    <a:pt x="7290" y="7"/>
                    <a:pt x="7287" y="7"/>
                    <a:pt x="7282" y="7"/>
                  </a:cubicBezTo>
                  <a:lnTo>
                    <a:pt x="7144" y="7"/>
                  </a:lnTo>
                  <a:cubicBezTo>
                    <a:pt x="7137" y="7"/>
                    <a:pt x="7136" y="9"/>
                    <a:pt x="7136" y="16"/>
                  </a:cubicBezTo>
                  <a:lnTo>
                    <a:pt x="7136" y="279"/>
                  </a:lnTo>
                  <a:cubicBezTo>
                    <a:pt x="7136" y="285"/>
                    <a:pt x="7138" y="286"/>
                    <a:pt x="7144" y="286"/>
                  </a:cubicBezTo>
                  <a:lnTo>
                    <a:pt x="7282" y="286"/>
                  </a:lnTo>
                  <a:cubicBezTo>
                    <a:pt x="7287" y="286"/>
                    <a:pt x="7290" y="285"/>
                    <a:pt x="7290" y="279"/>
                  </a:cubicBezTo>
                  <a:lnTo>
                    <a:pt x="7290" y="267"/>
                  </a:lnTo>
                  <a:cubicBezTo>
                    <a:pt x="7290" y="260"/>
                    <a:pt x="7288" y="260"/>
                    <a:pt x="7282" y="260"/>
                  </a:cubicBezTo>
                  <a:lnTo>
                    <a:pt x="7175" y="260"/>
                  </a:lnTo>
                  <a:lnTo>
                    <a:pt x="7175" y="152"/>
                  </a:lnTo>
                  <a:lnTo>
                    <a:pt x="7266" y="152"/>
                  </a:lnTo>
                  <a:close/>
                  <a:moveTo>
                    <a:pt x="7099" y="32"/>
                  </a:moveTo>
                  <a:cubicBezTo>
                    <a:pt x="7105" y="32"/>
                    <a:pt x="7107" y="30"/>
                    <a:pt x="7107" y="25"/>
                  </a:cubicBezTo>
                  <a:cubicBezTo>
                    <a:pt x="7107" y="8"/>
                    <a:pt x="7107" y="7"/>
                    <a:pt x="7099" y="7"/>
                  </a:cubicBezTo>
                  <a:lnTo>
                    <a:pt x="6921" y="7"/>
                  </a:lnTo>
                  <a:cubicBezTo>
                    <a:pt x="6913" y="7"/>
                    <a:pt x="6913" y="9"/>
                    <a:pt x="6913" y="24"/>
                  </a:cubicBezTo>
                  <a:cubicBezTo>
                    <a:pt x="6913" y="30"/>
                    <a:pt x="6915" y="32"/>
                    <a:pt x="6921" y="32"/>
                  </a:cubicBezTo>
                  <a:lnTo>
                    <a:pt x="6990" y="32"/>
                  </a:lnTo>
                  <a:lnTo>
                    <a:pt x="6990" y="278"/>
                  </a:lnTo>
                  <a:cubicBezTo>
                    <a:pt x="6991" y="285"/>
                    <a:pt x="6993" y="286"/>
                    <a:pt x="6999" y="286"/>
                  </a:cubicBezTo>
                  <a:lnTo>
                    <a:pt x="7022" y="286"/>
                  </a:lnTo>
                  <a:cubicBezTo>
                    <a:pt x="7029" y="286"/>
                    <a:pt x="7029" y="284"/>
                    <a:pt x="7029" y="278"/>
                  </a:cubicBezTo>
                  <a:lnTo>
                    <a:pt x="7029" y="32"/>
                  </a:lnTo>
                  <a:lnTo>
                    <a:pt x="7099" y="32"/>
                  </a:lnTo>
                  <a:close/>
                  <a:moveTo>
                    <a:pt x="6884" y="14"/>
                  </a:moveTo>
                  <a:cubicBezTo>
                    <a:pt x="6884" y="7"/>
                    <a:pt x="6882" y="7"/>
                    <a:pt x="6876" y="7"/>
                  </a:cubicBezTo>
                  <a:lnTo>
                    <a:pt x="6852" y="7"/>
                  </a:lnTo>
                  <a:cubicBezTo>
                    <a:pt x="6846" y="6"/>
                    <a:pt x="6845" y="8"/>
                    <a:pt x="6845" y="15"/>
                  </a:cubicBezTo>
                  <a:lnTo>
                    <a:pt x="6845" y="278"/>
                  </a:lnTo>
                  <a:cubicBezTo>
                    <a:pt x="6845" y="285"/>
                    <a:pt x="6848" y="286"/>
                    <a:pt x="6852" y="286"/>
                  </a:cubicBezTo>
                  <a:lnTo>
                    <a:pt x="6876" y="286"/>
                  </a:lnTo>
                  <a:cubicBezTo>
                    <a:pt x="6882" y="286"/>
                    <a:pt x="6884" y="285"/>
                    <a:pt x="6884" y="278"/>
                  </a:cubicBezTo>
                  <a:lnTo>
                    <a:pt x="6884" y="14"/>
                  </a:lnTo>
                  <a:close/>
                  <a:moveTo>
                    <a:pt x="6738" y="278"/>
                  </a:moveTo>
                  <a:cubicBezTo>
                    <a:pt x="6738" y="285"/>
                    <a:pt x="6739" y="286"/>
                    <a:pt x="6745" y="286"/>
                  </a:cubicBezTo>
                  <a:lnTo>
                    <a:pt x="6767" y="286"/>
                  </a:lnTo>
                  <a:cubicBezTo>
                    <a:pt x="6774" y="286"/>
                    <a:pt x="6775" y="285"/>
                    <a:pt x="6775" y="279"/>
                  </a:cubicBezTo>
                  <a:lnTo>
                    <a:pt x="6775" y="13"/>
                  </a:lnTo>
                  <a:cubicBezTo>
                    <a:pt x="6775" y="7"/>
                    <a:pt x="6773" y="7"/>
                    <a:pt x="6767" y="7"/>
                  </a:cubicBezTo>
                  <a:lnTo>
                    <a:pt x="6740" y="7"/>
                  </a:lnTo>
                  <a:cubicBezTo>
                    <a:pt x="6733" y="7"/>
                    <a:pt x="6733" y="7"/>
                    <a:pt x="6730" y="15"/>
                  </a:cubicBezTo>
                  <a:lnTo>
                    <a:pt x="6645" y="219"/>
                  </a:lnTo>
                  <a:lnTo>
                    <a:pt x="6557" y="14"/>
                  </a:lnTo>
                  <a:cubicBezTo>
                    <a:pt x="6554" y="7"/>
                    <a:pt x="6553" y="7"/>
                    <a:pt x="6547" y="7"/>
                  </a:cubicBezTo>
                  <a:lnTo>
                    <a:pt x="6520" y="7"/>
                  </a:lnTo>
                  <a:cubicBezTo>
                    <a:pt x="6514" y="7"/>
                    <a:pt x="6513" y="8"/>
                    <a:pt x="6513" y="14"/>
                  </a:cubicBezTo>
                  <a:lnTo>
                    <a:pt x="6513" y="278"/>
                  </a:lnTo>
                  <a:cubicBezTo>
                    <a:pt x="6513" y="283"/>
                    <a:pt x="6513" y="285"/>
                    <a:pt x="6517" y="286"/>
                  </a:cubicBezTo>
                  <a:lnTo>
                    <a:pt x="6536" y="286"/>
                  </a:lnTo>
                  <a:cubicBezTo>
                    <a:pt x="6541" y="286"/>
                    <a:pt x="6543" y="285"/>
                    <a:pt x="6543" y="279"/>
                  </a:cubicBezTo>
                  <a:lnTo>
                    <a:pt x="6543" y="65"/>
                  </a:lnTo>
                  <a:lnTo>
                    <a:pt x="6633" y="278"/>
                  </a:lnTo>
                  <a:cubicBezTo>
                    <a:pt x="6636" y="285"/>
                    <a:pt x="6637" y="287"/>
                    <a:pt x="6642" y="287"/>
                  </a:cubicBezTo>
                  <a:cubicBezTo>
                    <a:pt x="6646" y="287"/>
                    <a:pt x="6646" y="286"/>
                    <a:pt x="6650" y="278"/>
                  </a:cubicBezTo>
                  <a:lnTo>
                    <a:pt x="6738" y="65"/>
                  </a:lnTo>
                  <a:lnTo>
                    <a:pt x="6738" y="278"/>
                  </a:lnTo>
                  <a:close/>
                  <a:moveTo>
                    <a:pt x="6444" y="14"/>
                  </a:moveTo>
                  <a:cubicBezTo>
                    <a:pt x="6444" y="7"/>
                    <a:pt x="6441" y="7"/>
                    <a:pt x="6436" y="7"/>
                  </a:cubicBezTo>
                  <a:lnTo>
                    <a:pt x="6412" y="7"/>
                  </a:lnTo>
                  <a:cubicBezTo>
                    <a:pt x="6406" y="6"/>
                    <a:pt x="6404" y="8"/>
                    <a:pt x="6404" y="15"/>
                  </a:cubicBezTo>
                  <a:lnTo>
                    <a:pt x="6404" y="278"/>
                  </a:lnTo>
                  <a:cubicBezTo>
                    <a:pt x="6404" y="285"/>
                    <a:pt x="6407" y="286"/>
                    <a:pt x="6412" y="286"/>
                  </a:cubicBezTo>
                  <a:lnTo>
                    <a:pt x="6436" y="286"/>
                  </a:lnTo>
                  <a:cubicBezTo>
                    <a:pt x="6442" y="286"/>
                    <a:pt x="6444" y="285"/>
                    <a:pt x="6444" y="278"/>
                  </a:cubicBezTo>
                  <a:lnTo>
                    <a:pt x="6444" y="14"/>
                  </a:lnTo>
                  <a:close/>
                  <a:moveTo>
                    <a:pt x="6253" y="14"/>
                  </a:moveTo>
                  <a:cubicBezTo>
                    <a:pt x="6253" y="8"/>
                    <a:pt x="6252" y="7"/>
                    <a:pt x="6246" y="7"/>
                  </a:cubicBezTo>
                  <a:lnTo>
                    <a:pt x="6221" y="7"/>
                  </a:lnTo>
                  <a:cubicBezTo>
                    <a:pt x="6216" y="7"/>
                    <a:pt x="6214" y="7"/>
                    <a:pt x="6214" y="14"/>
                  </a:cubicBezTo>
                  <a:lnTo>
                    <a:pt x="6214" y="279"/>
                  </a:lnTo>
                  <a:cubicBezTo>
                    <a:pt x="6214" y="283"/>
                    <a:pt x="6215" y="286"/>
                    <a:pt x="6221" y="286"/>
                  </a:cubicBezTo>
                  <a:lnTo>
                    <a:pt x="6358" y="286"/>
                  </a:lnTo>
                  <a:cubicBezTo>
                    <a:pt x="6361" y="286"/>
                    <a:pt x="6364" y="286"/>
                    <a:pt x="6365" y="282"/>
                  </a:cubicBezTo>
                  <a:lnTo>
                    <a:pt x="6365" y="267"/>
                  </a:lnTo>
                  <a:cubicBezTo>
                    <a:pt x="6365" y="262"/>
                    <a:pt x="6364" y="260"/>
                    <a:pt x="6358" y="260"/>
                  </a:cubicBezTo>
                  <a:lnTo>
                    <a:pt x="6253" y="260"/>
                  </a:lnTo>
                  <a:lnTo>
                    <a:pt x="6253" y="14"/>
                  </a:lnTo>
                  <a:close/>
                  <a:moveTo>
                    <a:pt x="5991" y="122"/>
                  </a:moveTo>
                  <a:cubicBezTo>
                    <a:pt x="5960" y="109"/>
                    <a:pt x="5936" y="98"/>
                    <a:pt x="5936" y="67"/>
                  </a:cubicBezTo>
                  <a:cubicBezTo>
                    <a:pt x="5936" y="44"/>
                    <a:pt x="5954" y="24"/>
                    <a:pt x="5980" y="24"/>
                  </a:cubicBezTo>
                  <a:cubicBezTo>
                    <a:pt x="6005" y="24"/>
                    <a:pt x="6017" y="41"/>
                    <a:pt x="6025" y="53"/>
                  </a:cubicBezTo>
                  <a:cubicBezTo>
                    <a:pt x="6029" y="60"/>
                    <a:pt x="6034" y="67"/>
                    <a:pt x="6044" y="67"/>
                  </a:cubicBezTo>
                  <a:cubicBezTo>
                    <a:pt x="6054" y="67"/>
                    <a:pt x="6061" y="59"/>
                    <a:pt x="6061" y="49"/>
                  </a:cubicBezTo>
                  <a:cubicBezTo>
                    <a:pt x="6061" y="29"/>
                    <a:pt x="6029" y="1"/>
                    <a:pt x="5982" y="1"/>
                  </a:cubicBezTo>
                  <a:cubicBezTo>
                    <a:pt x="5931" y="1"/>
                    <a:pt x="5899" y="33"/>
                    <a:pt x="5899" y="75"/>
                  </a:cubicBezTo>
                  <a:cubicBezTo>
                    <a:pt x="5899" y="122"/>
                    <a:pt x="5940" y="141"/>
                    <a:pt x="5956" y="149"/>
                  </a:cubicBezTo>
                  <a:lnTo>
                    <a:pt x="5977" y="159"/>
                  </a:lnTo>
                  <a:cubicBezTo>
                    <a:pt x="6008" y="173"/>
                    <a:pt x="6035" y="187"/>
                    <a:pt x="6035" y="221"/>
                  </a:cubicBezTo>
                  <a:cubicBezTo>
                    <a:pt x="6035" y="246"/>
                    <a:pt x="6017" y="267"/>
                    <a:pt x="5987" y="267"/>
                  </a:cubicBezTo>
                  <a:cubicBezTo>
                    <a:pt x="5954" y="267"/>
                    <a:pt x="5941" y="242"/>
                    <a:pt x="5935" y="230"/>
                  </a:cubicBezTo>
                  <a:cubicBezTo>
                    <a:pt x="5931" y="221"/>
                    <a:pt x="5926" y="213"/>
                    <a:pt x="5915" y="213"/>
                  </a:cubicBezTo>
                  <a:cubicBezTo>
                    <a:pt x="5905" y="213"/>
                    <a:pt x="5896" y="219"/>
                    <a:pt x="5896" y="232"/>
                  </a:cubicBezTo>
                  <a:cubicBezTo>
                    <a:pt x="5896" y="249"/>
                    <a:pt x="5920" y="292"/>
                    <a:pt x="5984" y="292"/>
                  </a:cubicBezTo>
                  <a:cubicBezTo>
                    <a:pt x="6036" y="292"/>
                    <a:pt x="6072" y="259"/>
                    <a:pt x="6072" y="212"/>
                  </a:cubicBezTo>
                  <a:cubicBezTo>
                    <a:pt x="6072" y="162"/>
                    <a:pt x="6031" y="142"/>
                    <a:pt x="6011" y="132"/>
                  </a:cubicBezTo>
                  <a:lnTo>
                    <a:pt x="5991" y="122"/>
                  </a:lnTo>
                  <a:close/>
                  <a:moveTo>
                    <a:pt x="5814" y="228"/>
                  </a:moveTo>
                  <a:cubicBezTo>
                    <a:pt x="5814" y="241"/>
                    <a:pt x="5813" y="249"/>
                    <a:pt x="5803" y="256"/>
                  </a:cubicBezTo>
                  <a:cubicBezTo>
                    <a:pt x="5793" y="263"/>
                    <a:pt x="5777" y="266"/>
                    <a:pt x="5762" y="266"/>
                  </a:cubicBezTo>
                  <a:cubicBezTo>
                    <a:pt x="5699" y="266"/>
                    <a:pt x="5663" y="210"/>
                    <a:pt x="5663" y="140"/>
                  </a:cubicBezTo>
                  <a:cubicBezTo>
                    <a:pt x="5663" y="62"/>
                    <a:pt x="5707" y="25"/>
                    <a:pt x="5752" y="25"/>
                  </a:cubicBezTo>
                  <a:cubicBezTo>
                    <a:pt x="5787" y="25"/>
                    <a:pt x="5803" y="47"/>
                    <a:pt x="5811" y="59"/>
                  </a:cubicBezTo>
                  <a:cubicBezTo>
                    <a:pt x="5819" y="71"/>
                    <a:pt x="5824" y="79"/>
                    <a:pt x="5834" y="79"/>
                  </a:cubicBezTo>
                  <a:cubicBezTo>
                    <a:pt x="5843" y="79"/>
                    <a:pt x="5853" y="72"/>
                    <a:pt x="5853" y="60"/>
                  </a:cubicBezTo>
                  <a:cubicBezTo>
                    <a:pt x="5853" y="41"/>
                    <a:pt x="5819" y="1"/>
                    <a:pt x="5753" y="1"/>
                  </a:cubicBezTo>
                  <a:cubicBezTo>
                    <a:pt x="5673" y="1"/>
                    <a:pt x="5621" y="61"/>
                    <a:pt x="5621" y="146"/>
                  </a:cubicBezTo>
                  <a:cubicBezTo>
                    <a:pt x="5621" y="223"/>
                    <a:pt x="5662" y="292"/>
                    <a:pt x="5759" y="292"/>
                  </a:cubicBezTo>
                  <a:cubicBezTo>
                    <a:pt x="5802" y="292"/>
                    <a:pt x="5834" y="277"/>
                    <a:pt x="5847" y="260"/>
                  </a:cubicBezTo>
                  <a:cubicBezTo>
                    <a:pt x="5852" y="254"/>
                    <a:pt x="5852" y="252"/>
                    <a:pt x="5852" y="238"/>
                  </a:cubicBezTo>
                  <a:lnTo>
                    <a:pt x="5852" y="155"/>
                  </a:lnTo>
                  <a:cubicBezTo>
                    <a:pt x="5852" y="150"/>
                    <a:pt x="5852" y="147"/>
                    <a:pt x="5845" y="147"/>
                  </a:cubicBezTo>
                  <a:lnTo>
                    <a:pt x="5760" y="147"/>
                  </a:lnTo>
                  <a:cubicBezTo>
                    <a:pt x="5756" y="147"/>
                    <a:pt x="5753" y="147"/>
                    <a:pt x="5752" y="151"/>
                  </a:cubicBezTo>
                  <a:lnTo>
                    <a:pt x="5752" y="163"/>
                  </a:lnTo>
                  <a:cubicBezTo>
                    <a:pt x="5752" y="170"/>
                    <a:pt x="5753" y="170"/>
                    <a:pt x="5760" y="170"/>
                  </a:cubicBezTo>
                  <a:lnTo>
                    <a:pt x="5814" y="170"/>
                  </a:lnTo>
                  <a:lnTo>
                    <a:pt x="5814" y="228"/>
                  </a:lnTo>
                  <a:close/>
                  <a:moveTo>
                    <a:pt x="5390" y="13"/>
                  </a:moveTo>
                  <a:cubicBezTo>
                    <a:pt x="5386" y="7"/>
                    <a:pt x="5386" y="7"/>
                    <a:pt x="5381" y="7"/>
                  </a:cubicBezTo>
                  <a:lnTo>
                    <a:pt x="5358" y="7"/>
                  </a:lnTo>
                  <a:cubicBezTo>
                    <a:pt x="5351" y="7"/>
                    <a:pt x="5350" y="8"/>
                    <a:pt x="5350" y="14"/>
                  </a:cubicBezTo>
                  <a:lnTo>
                    <a:pt x="5350" y="278"/>
                  </a:lnTo>
                  <a:cubicBezTo>
                    <a:pt x="5350" y="284"/>
                    <a:pt x="5351" y="286"/>
                    <a:pt x="5357" y="286"/>
                  </a:cubicBezTo>
                  <a:cubicBezTo>
                    <a:pt x="5364" y="286"/>
                    <a:pt x="5377" y="286"/>
                    <a:pt x="5378" y="285"/>
                  </a:cubicBezTo>
                  <a:cubicBezTo>
                    <a:pt x="5381" y="285"/>
                    <a:pt x="5381" y="283"/>
                    <a:pt x="5381" y="278"/>
                  </a:cubicBezTo>
                  <a:lnTo>
                    <a:pt x="5381" y="61"/>
                  </a:lnTo>
                  <a:lnTo>
                    <a:pt x="5540" y="280"/>
                  </a:lnTo>
                  <a:cubicBezTo>
                    <a:pt x="5544" y="285"/>
                    <a:pt x="5545" y="285"/>
                    <a:pt x="5549" y="286"/>
                  </a:cubicBezTo>
                  <a:lnTo>
                    <a:pt x="5564" y="286"/>
                  </a:lnTo>
                  <a:cubicBezTo>
                    <a:pt x="5569" y="286"/>
                    <a:pt x="5571" y="285"/>
                    <a:pt x="5571" y="279"/>
                  </a:cubicBezTo>
                  <a:lnTo>
                    <a:pt x="5571" y="14"/>
                  </a:lnTo>
                  <a:cubicBezTo>
                    <a:pt x="5571" y="8"/>
                    <a:pt x="5570" y="7"/>
                    <a:pt x="5565" y="7"/>
                  </a:cubicBezTo>
                  <a:lnTo>
                    <a:pt x="5544" y="7"/>
                  </a:lnTo>
                  <a:cubicBezTo>
                    <a:pt x="5541" y="7"/>
                    <a:pt x="5540" y="9"/>
                    <a:pt x="5540" y="14"/>
                  </a:cubicBezTo>
                  <a:lnTo>
                    <a:pt x="5540" y="219"/>
                  </a:lnTo>
                  <a:lnTo>
                    <a:pt x="5390" y="13"/>
                  </a:lnTo>
                  <a:close/>
                  <a:moveTo>
                    <a:pt x="5281" y="14"/>
                  </a:moveTo>
                  <a:cubicBezTo>
                    <a:pt x="5281" y="7"/>
                    <a:pt x="5278" y="7"/>
                    <a:pt x="5273" y="7"/>
                  </a:cubicBezTo>
                  <a:lnTo>
                    <a:pt x="5249" y="7"/>
                  </a:lnTo>
                  <a:cubicBezTo>
                    <a:pt x="5243" y="6"/>
                    <a:pt x="5242" y="8"/>
                    <a:pt x="5242" y="15"/>
                  </a:cubicBezTo>
                  <a:lnTo>
                    <a:pt x="5242" y="278"/>
                  </a:lnTo>
                  <a:cubicBezTo>
                    <a:pt x="5242" y="285"/>
                    <a:pt x="5244" y="286"/>
                    <a:pt x="5249" y="286"/>
                  </a:cubicBezTo>
                  <a:lnTo>
                    <a:pt x="5273" y="286"/>
                  </a:lnTo>
                  <a:cubicBezTo>
                    <a:pt x="5279" y="286"/>
                    <a:pt x="5281" y="285"/>
                    <a:pt x="5281" y="278"/>
                  </a:cubicBezTo>
                  <a:lnTo>
                    <a:pt x="5281" y="14"/>
                  </a:lnTo>
                  <a:close/>
                  <a:moveTo>
                    <a:pt x="5007" y="30"/>
                  </a:moveTo>
                  <a:cubicBezTo>
                    <a:pt x="5014" y="29"/>
                    <a:pt x="5021" y="28"/>
                    <a:pt x="5032" y="28"/>
                  </a:cubicBezTo>
                  <a:cubicBezTo>
                    <a:pt x="5069" y="28"/>
                    <a:pt x="5100" y="37"/>
                    <a:pt x="5123" y="62"/>
                  </a:cubicBezTo>
                  <a:cubicBezTo>
                    <a:pt x="5143" y="85"/>
                    <a:pt x="5151" y="115"/>
                    <a:pt x="5151" y="145"/>
                  </a:cubicBezTo>
                  <a:cubicBezTo>
                    <a:pt x="5151" y="216"/>
                    <a:pt x="5113" y="264"/>
                    <a:pt x="5028" y="264"/>
                  </a:cubicBezTo>
                  <a:cubicBezTo>
                    <a:pt x="5019" y="264"/>
                    <a:pt x="5012" y="263"/>
                    <a:pt x="5007" y="262"/>
                  </a:cubicBezTo>
                  <a:lnTo>
                    <a:pt x="5007" y="30"/>
                  </a:lnTo>
                  <a:close/>
                  <a:moveTo>
                    <a:pt x="4968" y="275"/>
                  </a:moveTo>
                  <a:cubicBezTo>
                    <a:pt x="4968" y="280"/>
                    <a:pt x="4968" y="283"/>
                    <a:pt x="4974" y="285"/>
                  </a:cubicBezTo>
                  <a:cubicBezTo>
                    <a:pt x="4985" y="287"/>
                    <a:pt x="5013" y="288"/>
                    <a:pt x="5027" y="288"/>
                  </a:cubicBezTo>
                  <a:cubicBezTo>
                    <a:pt x="5072" y="288"/>
                    <a:pt x="5117" y="279"/>
                    <a:pt x="5150" y="250"/>
                  </a:cubicBezTo>
                  <a:cubicBezTo>
                    <a:pt x="5165" y="236"/>
                    <a:pt x="5193" y="204"/>
                    <a:pt x="5193" y="147"/>
                  </a:cubicBezTo>
                  <a:cubicBezTo>
                    <a:pt x="5193" y="82"/>
                    <a:pt x="5154" y="4"/>
                    <a:pt x="5037" y="4"/>
                  </a:cubicBezTo>
                  <a:cubicBezTo>
                    <a:pt x="5013" y="4"/>
                    <a:pt x="4984" y="7"/>
                    <a:pt x="4974" y="11"/>
                  </a:cubicBezTo>
                  <a:cubicBezTo>
                    <a:pt x="4969" y="12"/>
                    <a:pt x="4968" y="13"/>
                    <a:pt x="4968" y="22"/>
                  </a:cubicBezTo>
                  <a:lnTo>
                    <a:pt x="4968" y="275"/>
                  </a:lnTo>
                  <a:close/>
                  <a:moveTo>
                    <a:pt x="4816" y="14"/>
                  </a:moveTo>
                  <a:cubicBezTo>
                    <a:pt x="4816" y="8"/>
                    <a:pt x="4815" y="7"/>
                    <a:pt x="4809" y="7"/>
                  </a:cubicBezTo>
                  <a:lnTo>
                    <a:pt x="4784" y="7"/>
                  </a:lnTo>
                  <a:cubicBezTo>
                    <a:pt x="4779" y="7"/>
                    <a:pt x="4777" y="7"/>
                    <a:pt x="4777" y="14"/>
                  </a:cubicBezTo>
                  <a:lnTo>
                    <a:pt x="4777" y="279"/>
                  </a:lnTo>
                  <a:cubicBezTo>
                    <a:pt x="4777" y="283"/>
                    <a:pt x="4778" y="286"/>
                    <a:pt x="4784" y="286"/>
                  </a:cubicBezTo>
                  <a:lnTo>
                    <a:pt x="4921" y="286"/>
                  </a:lnTo>
                  <a:cubicBezTo>
                    <a:pt x="4924" y="286"/>
                    <a:pt x="4927" y="286"/>
                    <a:pt x="4928" y="282"/>
                  </a:cubicBezTo>
                  <a:lnTo>
                    <a:pt x="4928" y="267"/>
                  </a:lnTo>
                  <a:cubicBezTo>
                    <a:pt x="4928" y="262"/>
                    <a:pt x="4927" y="260"/>
                    <a:pt x="4921" y="260"/>
                  </a:cubicBezTo>
                  <a:lnTo>
                    <a:pt x="4816" y="260"/>
                  </a:lnTo>
                  <a:lnTo>
                    <a:pt x="4816" y="14"/>
                  </a:lnTo>
                  <a:close/>
                  <a:moveTo>
                    <a:pt x="4687" y="139"/>
                  </a:moveTo>
                  <a:cubicBezTo>
                    <a:pt x="4687" y="161"/>
                    <a:pt x="4686" y="198"/>
                    <a:pt x="4667" y="227"/>
                  </a:cubicBezTo>
                  <a:cubicBezTo>
                    <a:pt x="4650" y="254"/>
                    <a:pt x="4624" y="265"/>
                    <a:pt x="4601" y="265"/>
                  </a:cubicBezTo>
                  <a:cubicBezTo>
                    <a:pt x="4565" y="265"/>
                    <a:pt x="4530" y="238"/>
                    <a:pt x="4519" y="185"/>
                  </a:cubicBezTo>
                  <a:cubicBezTo>
                    <a:pt x="4516" y="173"/>
                    <a:pt x="4515" y="159"/>
                    <a:pt x="4515" y="144"/>
                  </a:cubicBezTo>
                  <a:cubicBezTo>
                    <a:pt x="4515" y="98"/>
                    <a:pt x="4527" y="55"/>
                    <a:pt x="4564" y="34"/>
                  </a:cubicBezTo>
                  <a:cubicBezTo>
                    <a:pt x="4575" y="28"/>
                    <a:pt x="4588" y="24"/>
                    <a:pt x="4601" y="24"/>
                  </a:cubicBezTo>
                  <a:cubicBezTo>
                    <a:pt x="4630" y="24"/>
                    <a:pt x="4684" y="46"/>
                    <a:pt x="4687" y="139"/>
                  </a:cubicBezTo>
                  <a:close/>
                  <a:moveTo>
                    <a:pt x="4728" y="138"/>
                  </a:moveTo>
                  <a:cubicBezTo>
                    <a:pt x="4725" y="69"/>
                    <a:pt x="4683" y="0"/>
                    <a:pt x="4602" y="0"/>
                  </a:cubicBezTo>
                  <a:cubicBezTo>
                    <a:pt x="4514" y="0"/>
                    <a:pt x="4474" y="76"/>
                    <a:pt x="4474" y="146"/>
                  </a:cubicBezTo>
                  <a:cubicBezTo>
                    <a:pt x="4474" y="232"/>
                    <a:pt x="4529" y="292"/>
                    <a:pt x="4602" y="292"/>
                  </a:cubicBezTo>
                  <a:cubicBezTo>
                    <a:pt x="4678" y="292"/>
                    <a:pt x="4732" y="224"/>
                    <a:pt x="4728" y="138"/>
                  </a:cubicBezTo>
                  <a:close/>
                  <a:moveTo>
                    <a:pt x="4386" y="278"/>
                  </a:moveTo>
                  <a:cubicBezTo>
                    <a:pt x="4386" y="285"/>
                    <a:pt x="4387" y="286"/>
                    <a:pt x="4393" y="286"/>
                  </a:cubicBezTo>
                  <a:lnTo>
                    <a:pt x="4418" y="286"/>
                  </a:lnTo>
                  <a:cubicBezTo>
                    <a:pt x="4423" y="286"/>
                    <a:pt x="4425" y="286"/>
                    <a:pt x="4425" y="279"/>
                  </a:cubicBezTo>
                  <a:lnTo>
                    <a:pt x="4425" y="13"/>
                  </a:lnTo>
                  <a:cubicBezTo>
                    <a:pt x="4425" y="7"/>
                    <a:pt x="4424" y="7"/>
                    <a:pt x="4418" y="7"/>
                  </a:cubicBezTo>
                  <a:lnTo>
                    <a:pt x="4393" y="7"/>
                  </a:lnTo>
                  <a:cubicBezTo>
                    <a:pt x="4386" y="6"/>
                    <a:pt x="4386" y="9"/>
                    <a:pt x="4386" y="15"/>
                  </a:cubicBezTo>
                  <a:lnTo>
                    <a:pt x="4386" y="127"/>
                  </a:lnTo>
                  <a:lnTo>
                    <a:pt x="4268" y="127"/>
                  </a:lnTo>
                  <a:lnTo>
                    <a:pt x="4268" y="13"/>
                  </a:lnTo>
                  <a:cubicBezTo>
                    <a:pt x="4268" y="7"/>
                    <a:pt x="4266" y="6"/>
                    <a:pt x="4261" y="7"/>
                  </a:cubicBezTo>
                  <a:lnTo>
                    <a:pt x="4236" y="7"/>
                  </a:lnTo>
                  <a:cubicBezTo>
                    <a:pt x="4231" y="7"/>
                    <a:pt x="4229" y="8"/>
                    <a:pt x="4229" y="13"/>
                  </a:cubicBezTo>
                  <a:lnTo>
                    <a:pt x="4229" y="278"/>
                  </a:lnTo>
                  <a:cubicBezTo>
                    <a:pt x="4229" y="285"/>
                    <a:pt x="4231" y="286"/>
                    <a:pt x="4236" y="286"/>
                  </a:cubicBezTo>
                  <a:lnTo>
                    <a:pt x="4261" y="286"/>
                  </a:lnTo>
                  <a:cubicBezTo>
                    <a:pt x="4266" y="286"/>
                    <a:pt x="4268" y="285"/>
                    <a:pt x="4268" y="278"/>
                  </a:cubicBezTo>
                  <a:lnTo>
                    <a:pt x="4268" y="152"/>
                  </a:lnTo>
                  <a:lnTo>
                    <a:pt x="4386" y="152"/>
                  </a:lnTo>
                  <a:lnTo>
                    <a:pt x="4386" y="278"/>
                  </a:lnTo>
                  <a:close/>
                  <a:moveTo>
                    <a:pt x="4068" y="152"/>
                  </a:moveTo>
                  <a:cubicBezTo>
                    <a:pt x="4072" y="152"/>
                    <a:pt x="4074" y="152"/>
                    <a:pt x="4075" y="149"/>
                  </a:cubicBezTo>
                  <a:cubicBezTo>
                    <a:pt x="4076" y="147"/>
                    <a:pt x="4076" y="138"/>
                    <a:pt x="4076" y="133"/>
                  </a:cubicBezTo>
                  <a:cubicBezTo>
                    <a:pt x="4076" y="127"/>
                    <a:pt x="4072" y="127"/>
                    <a:pt x="4068" y="127"/>
                  </a:cubicBezTo>
                  <a:lnTo>
                    <a:pt x="3977" y="127"/>
                  </a:lnTo>
                  <a:lnTo>
                    <a:pt x="3977" y="32"/>
                  </a:lnTo>
                  <a:lnTo>
                    <a:pt x="4085" y="32"/>
                  </a:lnTo>
                  <a:cubicBezTo>
                    <a:pt x="4090" y="32"/>
                    <a:pt x="4092" y="31"/>
                    <a:pt x="4092" y="28"/>
                  </a:cubicBezTo>
                  <a:cubicBezTo>
                    <a:pt x="4092" y="26"/>
                    <a:pt x="4092" y="18"/>
                    <a:pt x="4092" y="13"/>
                  </a:cubicBezTo>
                  <a:cubicBezTo>
                    <a:pt x="4092" y="7"/>
                    <a:pt x="4089" y="7"/>
                    <a:pt x="4085" y="7"/>
                  </a:cubicBezTo>
                  <a:lnTo>
                    <a:pt x="3946" y="7"/>
                  </a:lnTo>
                  <a:cubicBezTo>
                    <a:pt x="3939" y="7"/>
                    <a:pt x="3938" y="9"/>
                    <a:pt x="3938" y="16"/>
                  </a:cubicBezTo>
                  <a:lnTo>
                    <a:pt x="3938" y="279"/>
                  </a:lnTo>
                  <a:cubicBezTo>
                    <a:pt x="3938" y="285"/>
                    <a:pt x="3940" y="286"/>
                    <a:pt x="3946" y="286"/>
                  </a:cubicBezTo>
                  <a:lnTo>
                    <a:pt x="4085" y="286"/>
                  </a:lnTo>
                  <a:cubicBezTo>
                    <a:pt x="4090" y="286"/>
                    <a:pt x="4092" y="285"/>
                    <a:pt x="4092" y="279"/>
                  </a:cubicBezTo>
                  <a:lnTo>
                    <a:pt x="4092" y="267"/>
                  </a:lnTo>
                  <a:cubicBezTo>
                    <a:pt x="4092" y="260"/>
                    <a:pt x="4090" y="260"/>
                    <a:pt x="4085" y="260"/>
                  </a:cubicBezTo>
                  <a:lnTo>
                    <a:pt x="3977" y="260"/>
                  </a:lnTo>
                  <a:lnTo>
                    <a:pt x="3977" y="152"/>
                  </a:lnTo>
                  <a:lnTo>
                    <a:pt x="4068" y="152"/>
                  </a:lnTo>
                  <a:close/>
                  <a:moveTo>
                    <a:pt x="3861" y="64"/>
                  </a:moveTo>
                  <a:cubicBezTo>
                    <a:pt x="3867" y="73"/>
                    <a:pt x="3874" y="74"/>
                    <a:pt x="3879" y="74"/>
                  </a:cubicBezTo>
                  <a:cubicBezTo>
                    <a:pt x="3888" y="74"/>
                    <a:pt x="3897" y="67"/>
                    <a:pt x="3897" y="56"/>
                  </a:cubicBezTo>
                  <a:cubicBezTo>
                    <a:pt x="3897" y="35"/>
                    <a:pt x="3864" y="1"/>
                    <a:pt x="3805" y="1"/>
                  </a:cubicBezTo>
                  <a:cubicBezTo>
                    <a:pt x="3713" y="1"/>
                    <a:pt x="3677" y="77"/>
                    <a:pt x="3677" y="144"/>
                  </a:cubicBezTo>
                  <a:cubicBezTo>
                    <a:pt x="3677" y="222"/>
                    <a:pt x="3720" y="292"/>
                    <a:pt x="3807" y="292"/>
                  </a:cubicBezTo>
                  <a:cubicBezTo>
                    <a:pt x="3858" y="292"/>
                    <a:pt x="3893" y="262"/>
                    <a:pt x="3893" y="248"/>
                  </a:cubicBezTo>
                  <a:cubicBezTo>
                    <a:pt x="3893" y="243"/>
                    <a:pt x="3889" y="239"/>
                    <a:pt x="3884" y="239"/>
                  </a:cubicBezTo>
                  <a:cubicBezTo>
                    <a:pt x="3880" y="239"/>
                    <a:pt x="3877" y="241"/>
                    <a:pt x="3870" y="245"/>
                  </a:cubicBezTo>
                  <a:cubicBezTo>
                    <a:pt x="3853" y="257"/>
                    <a:pt x="3835" y="263"/>
                    <a:pt x="3815" y="263"/>
                  </a:cubicBezTo>
                  <a:cubicBezTo>
                    <a:pt x="3758" y="263"/>
                    <a:pt x="3718" y="209"/>
                    <a:pt x="3718" y="136"/>
                  </a:cubicBezTo>
                  <a:cubicBezTo>
                    <a:pt x="3718" y="67"/>
                    <a:pt x="3755" y="25"/>
                    <a:pt x="3801" y="25"/>
                  </a:cubicBezTo>
                  <a:cubicBezTo>
                    <a:pt x="3838" y="25"/>
                    <a:pt x="3854" y="52"/>
                    <a:pt x="3861" y="64"/>
                  </a:cubicBezTo>
                  <a:close/>
                  <a:moveTo>
                    <a:pt x="3447" y="13"/>
                  </a:moveTo>
                  <a:cubicBezTo>
                    <a:pt x="3443" y="7"/>
                    <a:pt x="3443" y="7"/>
                    <a:pt x="3438" y="7"/>
                  </a:cubicBezTo>
                  <a:lnTo>
                    <a:pt x="3414" y="7"/>
                  </a:lnTo>
                  <a:cubicBezTo>
                    <a:pt x="3408" y="7"/>
                    <a:pt x="3407" y="8"/>
                    <a:pt x="3407" y="14"/>
                  </a:cubicBezTo>
                  <a:lnTo>
                    <a:pt x="3407" y="278"/>
                  </a:lnTo>
                  <a:cubicBezTo>
                    <a:pt x="3407" y="284"/>
                    <a:pt x="3408" y="286"/>
                    <a:pt x="3414" y="286"/>
                  </a:cubicBezTo>
                  <a:cubicBezTo>
                    <a:pt x="3420" y="286"/>
                    <a:pt x="3434" y="286"/>
                    <a:pt x="3434" y="285"/>
                  </a:cubicBezTo>
                  <a:cubicBezTo>
                    <a:pt x="3438" y="285"/>
                    <a:pt x="3438" y="283"/>
                    <a:pt x="3438" y="278"/>
                  </a:cubicBezTo>
                  <a:lnTo>
                    <a:pt x="3438" y="61"/>
                  </a:lnTo>
                  <a:lnTo>
                    <a:pt x="3597" y="280"/>
                  </a:lnTo>
                  <a:cubicBezTo>
                    <a:pt x="3601" y="285"/>
                    <a:pt x="3602" y="285"/>
                    <a:pt x="3606" y="286"/>
                  </a:cubicBezTo>
                  <a:lnTo>
                    <a:pt x="3621" y="286"/>
                  </a:lnTo>
                  <a:cubicBezTo>
                    <a:pt x="3626" y="286"/>
                    <a:pt x="3628" y="285"/>
                    <a:pt x="3628" y="279"/>
                  </a:cubicBezTo>
                  <a:lnTo>
                    <a:pt x="3628" y="14"/>
                  </a:lnTo>
                  <a:cubicBezTo>
                    <a:pt x="3628" y="8"/>
                    <a:pt x="3627" y="7"/>
                    <a:pt x="3622" y="7"/>
                  </a:cubicBezTo>
                  <a:lnTo>
                    <a:pt x="3601" y="7"/>
                  </a:lnTo>
                  <a:cubicBezTo>
                    <a:pt x="3598" y="7"/>
                    <a:pt x="3597" y="9"/>
                    <a:pt x="3597" y="14"/>
                  </a:cubicBezTo>
                  <a:lnTo>
                    <a:pt x="3597" y="219"/>
                  </a:lnTo>
                  <a:lnTo>
                    <a:pt x="3447" y="13"/>
                  </a:lnTo>
                  <a:close/>
                  <a:moveTo>
                    <a:pt x="3212" y="153"/>
                  </a:moveTo>
                  <a:lnTo>
                    <a:pt x="3247" y="59"/>
                  </a:lnTo>
                  <a:lnTo>
                    <a:pt x="3281" y="153"/>
                  </a:lnTo>
                  <a:lnTo>
                    <a:pt x="3212" y="153"/>
                  </a:lnTo>
                  <a:close/>
                  <a:moveTo>
                    <a:pt x="3329" y="280"/>
                  </a:moveTo>
                  <a:cubicBezTo>
                    <a:pt x="3331" y="286"/>
                    <a:pt x="3332" y="286"/>
                    <a:pt x="3339" y="286"/>
                  </a:cubicBezTo>
                  <a:lnTo>
                    <a:pt x="3366" y="286"/>
                  </a:lnTo>
                  <a:cubicBezTo>
                    <a:pt x="3369" y="286"/>
                    <a:pt x="3372" y="286"/>
                    <a:pt x="3372" y="282"/>
                  </a:cubicBezTo>
                  <a:cubicBezTo>
                    <a:pt x="3372" y="280"/>
                    <a:pt x="3371" y="278"/>
                    <a:pt x="3370" y="276"/>
                  </a:cubicBezTo>
                  <a:lnTo>
                    <a:pt x="3267" y="12"/>
                  </a:lnTo>
                  <a:cubicBezTo>
                    <a:pt x="3265" y="7"/>
                    <a:pt x="3264" y="7"/>
                    <a:pt x="3261" y="7"/>
                  </a:cubicBezTo>
                  <a:lnTo>
                    <a:pt x="3244" y="7"/>
                  </a:lnTo>
                  <a:cubicBezTo>
                    <a:pt x="3239" y="7"/>
                    <a:pt x="3238" y="7"/>
                    <a:pt x="3236" y="13"/>
                  </a:cubicBezTo>
                  <a:lnTo>
                    <a:pt x="3133" y="276"/>
                  </a:lnTo>
                  <a:cubicBezTo>
                    <a:pt x="3133" y="277"/>
                    <a:pt x="3131" y="282"/>
                    <a:pt x="3131" y="282"/>
                  </a:cubicBezTo>
                  <a:cubicBezTo>
                    <a:pt x="3131" y="286"/>
                    <a:pt x="3135" y="286"/>
                    <a:pt x="3137" y="286"/>
                  </a:cubicBezTo>
                  <a:lnTo>
                    <a:pt x="3156" y="286"/>
                  </a:lnTo>
                  <a:cubicBezTo>
                    <a:pt x="3161" y="286"/>
                    <a:pt x="3163" y="286"/>
                    <a:pt x="3165" y="279"/>
                  </a:cubicBezTo>
                  <a:lnTo>
                    <a:pt x="3204" y="176"/>
                  </a:lnTo>
                  <a:lnTo>
                    <a:pt x="3289" y="176"/>
                  </a:lnTo>
                  <a:lnTo>
                    <a:pt x="3329" y="280"/>
                  </a:lnTo>
                  <a:close/>
                  <a:moveTo>
                    <a:pt x="2972" y="28"/>
                  </a:moveTo>
                  <a:cubicBezTo>
                    <a:pt x="2980" y="27"/>
                    <a:pt x="2986" y="26"/>
                    <a:pt x="2997" y="26"/>
                  </a:cubicBezTo>
                  <a:cubicBezTo>
                    <a:pt x="3014" y="26"/>
                    <a:pt x="3063" y="26"/>
                    <a:pt x="3063" y="83"/>
                  </a:cubicBezTo>
                  <a:cubicBezTo>
                    <a:pt x="3063" y="119"/>
                    <a:pt x="3038" y="138"/>
                    <a:pt x="3004" y="141"/>
                  </a:cubicBezTo>
                  <a:cubicBezTo>
                    <a:pt x="2998" y="142"/>
                    <a:pt x="2995" y="142"/>
                    <a:pt x="2972" y="141"/>
                  </a:cubicBezTo>
                  <a:lnTo>
                    <a:pt x="2972" y="28"/>
                  </a:lnTo>
                  <a:close/>
                  <a:moveTo>
                    <a:pt x="2933" y="279"/>
                  </a:moveTo>
                  <a:cubicBezTo>
                    <a:pt x="2933" y="285"/>
                    <a:pt x="2935" y="286"/>
                    <a:pt x="2941" y="286"/>
                  </a:cubicBezTo>
                  <a:lnTo>
                    <a:pt x="2964" y="286"/>
                  </a:lnTo>
                  <a:cubicBezTo>
                    <a:pt x="2970" y="286"/>
                    <a:pt x="2972" y="284"/>
                    <a:pt x="2972" y="277"/>
                  </a:cubicBezTo>
                  <a:lnTo>
                    <a:pt x="2972" y="173"/>
                  </a:lnTo>
                  <a:cubicBezTo>
                    <a:pt x="2972" y="169"/>
                    <a:pt x="2971" y="159"/>
                    <a:pt x="2982" y="159"/>
                  </a:cubicBezTo>
                  <a:cubicBezTo>
                    <a:pt x="2993" y="159"/>
                    <a:pt x="3000" y="168"/>
                    <a:pt x="3003" y="174"/>
                  </a:cubicBezTo>
                  <a:lnTo>
                    <a:pt x="3070" y="279"/>
                  </a:lnTo>
                  <a:cubicBezTo>
                    <a:pt x="3074" y="286"/>
                    <a:pt x="3074" y="286"/>
                    <a:pt x="3081" y="286"/>
                  </a:cubicBezTo>
                  <a:lnTo>
                    <a:pt x="3110" y="286"/>
                  </a:lnTo>
                  <a:cubicBezTo>
                    <a:pt x="3112" y="286"/>
                    <a:pt x="3116" y="286"/>
                    <a:pt x="3116" y="282"/>
                  </a:cubicBezTo>
                  <a:cubicBezTo>
                    <a:pt x="3116" y="279"/>
                    <a:pt x="3115" y="277"/>
                    <a:pt x="3114" y="275"/>
                  </a:cubicBezTo>
                  <a:lnTo>
                    <a:pt x="3033" y="154"/>
                  </a:lnTo>
                  <a:cubicBezTo>
                    <a:pt x="3077" y="143"/>
                    <a:pt x="3102" y="116"/>
                    <a:pt x="3102" y="79"/>
                  </a:cubicBezTo>
                  <a:cubicBezTo>
                    <a:pt x="3102" y="43"/>
                    <a:pt x="3082" y="27"/>
                    <a:pt x="3078" y="24"/>
                  </a:cubicBezTo>
                  <a:cubicBezTo>
                    <a:pt x="3057" y="5"/>
                    <a:pt x="3023" y="4"/>
                    <a:pt x="3002" y="4"/>
                  </a:cubicBezTo>
                  <a:cubicBezTo>
                    <a:pt x="2981" y="4"/>
                    <a:pt x="2949" y="6"/>
                    <a:pt x="2940" y="9"/>
                  </a:cubicBezTo>
                  <a:cubicBezTo>
                    <a:pt x="2935" y="11"/>
                    <a:pt x="2933" y="13"/>
                    <a:pt x="2933" y="22"/>
                  </a:cubicBezTo>
                  <a:lnTo>
                    <a:pt x="2933" y="279"/>
                  </a:lnTo>
                  <a:close/>
                  <a:moveTo>
                    <a:pt x="2868" y="14"/>
                  </a:moveTo>
                  <a:cubicBezTo>
                    <a:pt x="2868" y="9"/>
                    <a:pt x="2866" y="7"/>
                    <a:pt x="2863" y="7"/>
                  </a:cubicBezTo>
                  <a:cubicBezTo>
                    <a:pt x="2862" y="7"/>
                    <a:pt x="2850" y="7"/>
                    <a:pt x="2843" y="7"/>
                  </a:cubicBezTo>
                  <a:cubicBezTo>
                    <a:pt x="2838" y="7"/>
                    <a:pt x="2837" y="9"/>
                    <a:pt x="2837" y="14"/>
                  </a:cubicBezTo>
                  <a:lnTo>
                    <a:pt x="2837" y="199"/>
                  </a:lnTo>
                  <a:cubicBezTo>
                    <a:pt x="2837" y="214"/>
                    <a:pt x="2837" y="226"/>
                    <a:pt x="2828" y="239"/>
                  </a:cubicBezTo>
                  <a:cubicBezTo>
                    <a:pt x="2817" y="255"/>
                    <a:pt x="2798" y="262"/>
                    <a:pt x="2778" y="262"/>
                  </a:cubicBezTo>
                  <a:cubicBezTo>
                    <a:pt x="2721" y="262"/>
                    <a:pt x="2720" y="210"/>
                    <a:pt x="2720" y="191"/>
                  </a:cubicBezTo>
                  <a:lnTo>
                    <a:pt x="2720" y="14"/>
                  </a:lnTo>
                  <a:cubicBezTo>
                    <a:pt x="2720" y="7"/>
                    <a:pt x="2719" y="7"/>
                    <a:pt x="2713" y="7"/>
                  </a:cubicBezTo>
                  <a:lnTo>
                    <a:pt x="2688" y="7"/>
                  </a:lnTo>
                  <a:cubicBezTo>
                    <a:pt x="2682" y="7"/>
                    <a:pt x="2680" y="7"/>
                    <a:pt x="2680" y="14"/>
                  </a:cubicBezTo>
                  <a:lnTo>
                    <a:pt x="2680" y="197"/>
                  </a:lnTo>
                  <a:cubicBezTo>
                    <a:pt x="2680" y="213"/>
                    <a:pt x="2681" y="233"/>
                    <a:pt x="2691" y="251"/>
                  </a:cubicBezTo>
                  <a:cubicBezTo>
                    <a:pt x="2697" y="262"/>
                    <a:pt x="2717" y="292"/>
                    <a:pt x="2775" y="292"/>
                  </a:cubicBezTo>
                  <a:cubicBezTo>
                    <a:pt x="2811" y="292"/>
                    <a:pt x="2840" y="281"/>
                    <a:pt x="2856" y="253"/>
                  </a:cubicBezTo>
                  <a:cubicBezTo>
                    <a:pt x="2867" y="236"/>
                    <a:pt x="2867" y="219"/>
                    <a:pt x="2868" y="203"/>
                  </a:cubicBezTo>
                  <a:lnTo>
                    <a:pt x="2868" y="14"/>
                  </a:lnTo>
                  <a:close/>
                  <a:moveTo>
                    <a:pt x="2552" y="122"/>
                  </a:moveTo>
                  <a:cubicBezTo>
                    <a:pt x="2522" y="109"/>
                    <a:pt x="2497" y="98"/>
                    <a:pt x="2497" y="67"/>
                  </a:cubicBezTo>
                  <a:cubicBezTo>
                    <a:pt x="2497" y="44"/>
                    <a:pt x="2515" y="24"/>
                    <a:pt x="2541" y="24"/>
                  </a:cubicBezTo>
                  <a:cubicBezTo>
                    <a:pt x="2567" y="24"/>
                    <a:pt x="2578" y="41"/>
                    <a:pt x="2586" y="53"/>
                  </a:cubicBezTo>
                  <a:cubicBezTo>
                    <a:pt x="2590" y="60"/>
                    <a:pt x="2595" y="67"/>
                    <a:pt x="2605" y="67"/>
                  </a:cubicBezTo>
                  <a:cubicBezTo>
                    <a:pt x="2615" y="67"/>
                    <a:pt x="2622" y="59"/>
                    <a:pt x="2622" y="49"/>
                  </a:cubicBezTo>
                  <a:cubicBezTo>
                    <a:pt x="2622" y="29"/>
                    <a:pt x="2591" y="1"/>
                    <a:pt x="2543" y="1"/>
                  </a:cubicBezTo>
                  <a:cubicBezTo>
                    <a:pt x="2493" y="1"/>
                    <a:pt x="2461" y="33"/>
                    <a:pt x="2461" y="75"/>
                  </a:cubicBezTo>
                  <a:cubicBezTo>
                    <a:pt x="2461" y="122"/>
                    <a:pt x="2501" y="141"/>
                    <a:pt x="2517" y="149"/>
                  </a:cubicBezTo>
                  <a:lnTo>
                    <a:pt x="2538" y="159"/>
                  </a:lnTo>
                  <a:cubicBezTo>
                    <a:pt x="2569" y="173"/>
                    <a:pt x="2597" y="187"/>
                    <a:pt x="2597" y="221"/>
                  </a:cubicBezTo>
                  <a:cubicBezTo>
                    <a:pt x="2597" y="246"/>
                    <a:pt x="2578" y="267"/>
                    <a:pt x="2548" y="267"/>
                  </a:cubicBezTo>
                  <a:cubicBezTo>
                    <a:pt x="2515" y="267"/>
                    <a:pt x="2503" y="242"/>
                    <a:pt x="2497" y="230"/>
                  </a:cubicBezTo>
                  <a:cubicBezTo>
                    <a:pt x="2492" y="221"/>
                    <a:pt x="2487" y="213"/>
                    <a:pt x="2476" y="213"/>
                  </a:cubicBezTo>
                  <a:cubicBezTo>
                    <a:pt x="2467" y="213"/>
                    <a:pt x="2457" y="219"/>
                    <a:pt x="2457" y="232"/>
                  </a:cubicBezTo>
                  <a:cubicBezTo>
                    <a:pt x="2457" y="249"/>
                    <a:pt x="2481" y="292"/>
                    <a:pt x="2546" y="292"/>
                  </a:cubicBezTo>
                  <a:cubicBezTo>
                    <a:pt x="2597" y="292"/>
                    <a:pt x="2634" y="259"/>
                    <a:pt x="2634" y="212"/>
                  </a:cubicBezTo>
                  <a:cubicBezTo>
                    <a:pt x="2634" y="162"/>
                    <a:pt x="2593" y="142"/>
                    <a:pt x="2573" y="132"/>
                  </a:cubicBezTo>
                  <a:lnTo>
                    <a:pt x="2552" y="122"/>
                  </a:lnTo>
                  <a:close/>
                  <a:moveTo>
                    <a:pt x="2226" y="13"/>
                  </a:moveTo>
                  <a:cubicBezTo>
                    <a:pt x="2222" y="7"/>
                    <a:pt x="2222" y="7"/>
                    <a:pt x="2216" y="7"/>
                  </a:cubicBezTo>
                  <a:lnTo>
                    <a:pt x="2193" y="7"/>
                  </a:lnTo>
                  <a:cubicBezTo>
                    <a:pt x="2187" y="7"/>
                    <a:pt x="2186" y="8"/>
                    <a:pt x="2186" y="14"/>
                  </a:cubicBezTo>
                  <a:lnTo>
                    <a:pt x="2186" y="278"/>
                  </a:lnTo>
                  <a:cubicBezTo>
                    <a:pt x="2186" y="284"/>
                    <a:pt x="2187" y="286"/>
                    <a:pt x="2193" y="286"/>
                  </a:cubicBezTo>
                  <a:cubicBezTo>
                    <a:pt x="2199" y="286"/>
                    <a:pt x="2212" y="286"/>
                    <a:pt x="2213" y="285"/>
                  </a:cubicBezTo>
                  <a:cubicBezTo>
                    <a:pt x="2216" y="285"/>
                    <a:pt x="2217" y="283"/>
                    <a:pt x="2217" y="278"/>
                  </a:cubicBezTo>
                  <a:lnTo>
                    <a:pt x="2217" y="61"/>
                  </a:lnTo>
                  <a:lnTo>
                    <a:pt x="2376" y="280"/>
                  </a:lnTo>
                  <a:cubicBezTo>
                    <a:pt x="2379" y="285"/>
                    <a:pt x="2381" y="285"/>
                    <a:pt x="2385" y="286"/>
                  </a:cubicBezTo>
                  <a:lnTo>
                    <a:pt x="2400" y="286"/>
                  </a:lnTo>
                  <a:cubicBezTo>
                    <a:pt x="2405" y="286"/>
                    <a:pt x="2407" y="285"/>
                    <a:pt x="2407" y="279"/>
                  </a:cubicBezTo>
                  <a:lnTo>
                    <a:pt x="2407" y="14"/>
                  </a:lnTo>
                  <a:cubicBezTo>
                    <a:pt x="2407" y="8"/>
                    <a:pt x="2406" y="7"/>
                    <a:pt x="2401" y="7"/>
                  </a:cubicBezTo>
                  <a:lnTo>
                    <a:pt x="2380" y="7"/>
                  </a:lnTo>
                  <a:cubicBezTo>
                    <a:pt x="2377" y="7"/>
                    <a:pt x="2376" y="9"/>
                    <a:pt x="2376" y="14"/>
                  </a:cubicBezTo>
                  <a:lnTo>
                    <a:pt x="2376" y="219"/>
                  </a:lnTo>
                  <a:lnTo>
                    <a:pt x="2226" y="13"/>
                  </a:lnTo>
                  <a:close/>
                  <a:moveTo>
                    <a:pt x="2116" y="14"/>
                  </a:moveTo>
                  <a:cubicBezTo>
                    <a:pt x="2116" y="7"/>
                    <a:pt x="2114" y="7"/>
                    <a:pt x="2108" y="7"/>
                  </a:cubicBezTo>
                  <a:lnTo>
                    <a:pt x="2084" y="7"/>
                  </a:lnTo>
                  <a:cubicBezTo>
                    <a:pt x="2079" y="6"/>
                    <a:pt x="2077" y="8"/>
                    <a:pt x="2077" y="15"/>
                  </a:cubicBezTo>
                  <a:lnTo>
                    <a:pt x="2077" y="278"/>
                  </a:lnTo>
                  <a:cubicBezTo>
                    <a:pt x="2077" y="285"/>
                    <a:pt x="2080" y="286"/>
                    <a:pt x="2084" y="286"/>
                  </a:cubicBezTo>
                  <a:lnTo>
                    <a:pt x="2108" y="286"/>
                  </a:lnTo>
                  <a:cubicBezTo>
                    <a:pt x="2114" y="286"/>
                    <a:pt x="2116" y="285"/>
                    <a:pt x="2116" y="278"/>
                  </a:cubicBezTo>
                  <a:lnTo>
                    <a:pt x="2116" y="14"/>
                  </a:lnTo>
                  <a:close/>
                  <a:moveTo>
                    <a:pt x="1792" y="153"/>
                  </a:moveTo>
                  <a:lnTo>
                    <a:pt x="1826" y="59"/>
                  </a:lnTo>
                  <a:lnTo>
                    <a:pt x="1860" y="153"/>
                  </a:lnTo>
                  <a:lnTo>
                    <a:pt x="1792" y="153"/>
                  </a:lnTo>
                  <a:close/>
                  <a:moveTo>
                    <a:pt x="1908" y="280"/>
                  </a:moveTo>
                  <a:cubicBezTo>
                    <a:pt x="1911" y="286"/>
                    <a:pt x="1911" y="286"/>
                    <a:pt x="1918" y="286"/>
                  </a:cubicBezTo>
                  <a:lnTo>
                    <a:pt x="1946" y="286"/>
                  </a:lnTo>
                  <a:cubicBezTo>
                    <a:pt x="1949" y="286"/>
                    <a:pt x="1951" y="286"/>
                    <a:pt x="1951" y="282"/>
                  </a:cubicBezTo>
                  <a:cubicBezTo>
                    <a:pt x="1951" y="280"/>
                    <a:pt x="1951" y="278"/>
                    <a:pt x="1950" y="276"/>
                  </a:cubicBezTo>
                  <a:lnTo>
                    <a:pt x="1846" y="12"/>
                  </a:lnTo>
                  <a:cubicBezTo>
                    <a:pt x="1844" y="7"/>
                    <a:pt x="1843" y="7"/>
                    <a:pt x="1841" y="7"/>
                  </a:cubicBezTo>
                  <a:lnTo>
                    <a:pt x="1823" y="7"/>
                  </a:lnTo>
                  <a:cubicBezTo>
                    <a:pt x="1819" y="7"/>
                    <a:pt x="1818" y="7"/>
                    <a:pt x="1816" y="13"/>
                  </a:cubicBezTo>
                  <a:lnTo>
                    <a:pt x="1713" y="276"/>
                  </a:lnTo>
                  <a:cubicBezTo>
                    <a:pt x="1713" y="277"/>
                    <a:pt x="1711" y="282"/>
                    <a:pt x="1711" y="282"/>
                  </a:cubicBezTo>
                  <a:cubicBezTo>
                    <a:pt x="1711" y="286"/>
                    <a:pt x="1714" y="286"/>
                    <a:pt x="1717" y="286"/>
                  </a:cubicBezTo>
                  <a:lnTo>
                    <a:pt x="1736" y="286"/>
                  </a:lnTo>
                  <a:cubicBezTo>
                    <a:pt x="1741" y="286"/>
                    <a:pt x="1742" y="286"/>
                    <a:pt x="1745" y="279"/>
                  </a:cubicBezTo>
                  <a:lnTo>
                    <a:pt x="1783" y="176"/>
                  </a:lnTo>
                  <a:lnTo>
                    <a:pt x="1869" y="176"/>
                  </a:lnTo>
                  <a:lnTo>
                    <a:pt x="1908" y="280"/>
                  </a:lnTo>
                  <a:close/>
                  <a:moveTo>
                    <a:pt x="1495" y="13"/>
                  </a:moveTo>
                  <a:cubicBezTo>
                    <a:pt x="1491" y="7"/>
                    <a:pt x="1491" y="7"/>
                    <a:pt x="1485" y="7"/>
                  </a:cubicBezTo>
                  <a:lnTo>
                    <a:pt x="1462" y="7"/>
                  </a:lnTo>
                  <a:cubicBezTo>
                    <a:pt x="1456" y="7"/>
                    <a:pt x="1455" y="8"/>
                    <a:pt x="1455" y="14"/>
                  </a:cubicBezTo>
                  <a:lnTo>
                    <a:pt x="1455" y="278"/>
                  </a:lnTo>
                  <a:cubicBezTo>
                    <a:pt x="1455" y="284"/>
                    <a:pt x="1456" y="286"/>
                    <a:pt x="1462" y="286"/>
                  </a:cubicBezTo>
                  <a:cubicBezTo>
                    <a:pt x="1468" y="286"/>
                    <a:pt x="1481" y="286"/>
                    <a:pt x="1482" y="285"/>
                  </a:cubicBezTo>
                  <a:cubicBezTo>
                    <a:pt x="1485" y="285"/>
                    <a:pt x="1486" y="283"/>
                    <a:pt x="1486" y="278"/>
                  </a:cubicBezTo>
                  <a:lnTo>
                    <a:pt x="1486" y="61"/>
                  </a:lnTo>
                  <a:lnTo>
                    <a:pt x="1645" y="280"/>
                  </a:lnTo>
                  <a:cubicBezTo>
                    <a:pt x="1649" y="285"/>
                    <a:pt x="1650" y="285"/>
                    <a:pt x="1654" y="286"/>
                  </a:cubicBezTo>
                  <a:lnTo>
                    <a:pt x="1669" y="286"/>
                  </a:lnTo>
                  <a:cubicBezTo>
                    <a:pt x="1674" y="286"/>
                    <a:pt x="1676" y="285"/>
                    <a:pt x="1676" y="279"/>
                  </a:cubicBezTo>
                  <a:lnTo>
                    <a:pt x="1676" y="14"/>
                  </a:lnTo>
                  <a:cubicBezTo>
                    <a:pt x="1676" y="8"/>
                    <a:pt x="1675" y="7"/>
                    <a:pt x="1670" y="7"/>
                  </a:cubicBezTo>
                  <a:lnTo>
                    <a:pt x="1649" y="7"/>
                  </a:lnTo>
                  <a:cubicBezTo>
                    <a:pt x="1646" y="7"/>
                    <a:pt x="1645" y="9"/>
                    <a:pt x="1645" y="14"/>
                  </a:cubicBezTo>
                  <a:lnTo>
                    <a:pt x="1645" y="219"/>
                  </a:lnTo>
                  <a:lnTo>
                    <a:pt x="1495" y="13"/>
                  </a:lnTo>
                  <a:close/>
                  <a:moveTo>
                    <a:pt x="1260" y="153"/>
                  </a:moveTo>
                  <a:lnTo>
                    <a:pt x="1295" y="59"/>
                  </a:lnTo>
                  <a:lnTo>
                    <a:pt x="1329" y="153"/>
                  </a:lnTo>
                  <a:lnTo>
                    <a:pt x="1260" y="153"/>
                  </a:lnTo>
                  <a:close/>
                  <a:moveTo>
                    <a:pt x="1377" y="280"/>
                  </a:moveTo>
                  <a:cubicBezTo>
                    <a:pt x="1379" y="286"/>
                    <a:pt x="1380" y="286"/>
                    <a:pt x="1387" y="286"/>
                  </a:cubicBezTo>
                  <a:lnTo>
                    <a:pt x="1414" y="286"/>
                  </a:lnTo>
                  <a:cubicBezTo>
                    <a:pt x="1417" y="286"/>
                    <a:pt x="1420" y="286"/>
                    <a:pt x="1420" y="282"/>
                  </a:cubicBezTo>
                  <a:cubicBezTo>
                    <a:pt x="1420" y="280"/>
                    <a:pt x="1419" y="278"/>
                    <a:pt x="1418" y="276"/>
                  </a:cubicBezTo>
                  <a:lnTo>
                    <a:pt x="1314" y="12"/>
                  </a:lnTo>
                  <a:cubicBezTo>
                    <a:pt x="1312" y="7"/>
                    <a:pt x="1312" y="7"/>
                    <a:pt x="1309" y="7"/>
                  </a:cubicBezTo>
                  <a:lnTo>
                    <a:pt x="1292" y="7"/>
                  </a:lnTo>
                  <a:cubicBezTo>
                    <a:pt x="1287" y="7"/>
                    <a:pt x="1286" y="7"/>
                    <a:pt x="1284" y="13"/>
                  </a:cubicBezTo>
                  <a:lnTo>
                    <a:pt x="1181" y="276"/>
                  </a:lnTo>
                  <a:cubicBezTo>
                    <a:pt x="1181" y="277"/>
                    <a:pt x="1179" y="282"/>
                    <a:pt x="1179" y="282"/>
                  </a:cubicBezTo>
                  <a:cubicBezTo>
                    <a:pt x="1179" y="286"/>
                    <a:pt x="1183" y="286"/>
                    <a:pt x="1185" y="286"/>
                  </a:cubicBezTo>
                  <a:lnTo>
                    <a:pt x="1204" y="286"/>
                  </a:lnTo>
                  <a:cubicBezTo>
                    <a:pt x="1209" y="286"/>
                    <a:pt x="1210" y="286"/>
                    <a:pt x="1213" y="279"/>
                  </a:cubicBezTo>
                  <a:lnTo>
                    <a:pt x="1252" y="176"/>
                  </a:lnTo>
                  <a:lnTo>
                    <a:pt x="1337" y="176"/>
                  </a:lnTo>
                  <a:lnTo>
                    <a:pt x="1377" y="280"/>
                  </a:lnTo>
                  <a:close/>
                  <a:moveTo>
                    <a:pt x="1101" y="280"/>
                  </a:moveTo>
                  <a:cubicBezTo>
                    <a:pt x="1102" y="284"/>
                    <a:pt x="1104" y="285"/>
                    <a:pt x="1106" y="286"/>
                  </a:cubicBezTo>
                  <a:lnTo>
                    <a:pt x="1118" y="286"/>
                  </a:lnTo>
                  <a:cubicBezTo>
                    <a:pt x="1122" y="286"/>
                    <a:pt x="1123" y="285"/>
                    <a:pt x="1125" y="279"/>
                  </a:cubicBezTo>
                  <a:lnTo>
                    <a:pt x="1202" y="19"/>
                  </a:lnTo>
                  <a:cubicBezTo>
                    <a:pt x="1204" y="13"/>
                    <a:pt x="1204" y="13"/>
                    <a:pt x="1204" y="11"/>
                  </a:cubicBezTo>
                  <a:cubicBezTo>
                    <a:pt x="1204" y="7"/>
                    <a:pt x="1201" y="7"/>
                    <a:pt x="1199" y="7"/>
                  </a:cubicBezTo>
                  <a:lnTo>
                    <a:pt x="1178" y="7"/>
                  </a:lnTo>
                  <a:cubicBezTo>
                    <a:pt x="1173" y="7"/>
                    <a:pt x="1172" y="8"/>
                    <a:pt x="1170" y="14"/>
                  </a:cubicBezTo>
                  <a:lnTo>
                    <a:pt x="1114" y="216"/>
                  </a:lnTo>
                  <a:lnTo>
                    <a:pt x="1045" y="14"/>
                  </a:lnTo>
                  <a:cubicBezTo>
                    <a:pt x="1043" y="8"/>
                    <a:pt x="1043" y="7"/>
                    <a:pt x="1041" y="7"/>
                  </a:cubicBezTo>
                  <a:lnTo>
                    <a:pt x="1031" y="7"/>
                  </a:lnTo>
                  <a:cubicBezTo>
                    <a:pt x="1028" y="7"/>
                    <a:pt x="1028" y="7"/>
                    <a:pt x="1025" y="16"/>
                  </a:cubicBezTo>
                  <a:lnTo>
                    <a:pt x="959" y="216"/>
                  </a:lnTo>
                  <a:lnTo>
                    <a:pt x="904" y="15"/>
                  </a:lnTo>
                  <a:cubicBezTo>
                    <a:pt x="903" y="7"/>
                    <a:pt x="901" y="6"/>
                    <a:pt x="895" y="7"/>
                  </a:cubicBezTo>
                  <a:lnTo>
                    <a:pt x="870" y="7"/>
                  </a:lnTo>
                  <a:cubicBezTo>
                    <a:pt x="866" y="7"/>
                    <a:pt x="863" y="8"/>
                    <a:pt x="863" y="12"/>
                  </a:cubicBezTo>
                  <a:cubicBezTo>
                    <a:pt x="863" y="13"/>
                    <a:pt x="863" y="13"/>
                    <a:pt x="865" y="19"/>
                  </a:cubicBezTo>
                  <a:lnTo>
                    <a:pt x="942" y="279"/>
                  </a:lnTo>
                  <a:cubicBezTo>
                    <a:pt x="945" y="286"/>
                    <a:pt x="946" y="286"/>
                    <a:pt x="959" y="286"/>
                  </a:cubicBezTo>
                  <a:cubicBezTo>
                    <a:pt x="965" y="286"/>
                    <a:pt x="965" y="285"/>
                    <a:pt x="967" y="279"/>
                  </a:cubicBezTo>
                  <a:lnTo>
                    <a:pt x="1031" y="84"/>
                  </a:lnTo>
                  <a:lnTo>
                    <a:pt x="1101" y="280"/>
                  </a:lnTo>
                  <a:close/>
                  <a:moveTo>
                    <a:pt x="774" y="122"/>
                  </a:moveTo>
                  <a:cubicBezTo>
                    <a:pt x="744" y="109"/>
                    <a:pt x="719" y="98"/>
                    <a:pt x="719" y="67"/>
                  </a:cubicBezTo>
                  <a:cubicBezTo>
                    <a:pt x="719" y="44"/>
                    <a:pt x="737" y="24"/>
                    <a:pt x="763" y="24"/>
                  </a:cubicBezTo>
                  <a:cubicBezTo>
                    <a:pt x="789" y="24"/>
                    <a:pt x="800" y="41"/>
                    <a:pt x="808" y="53"/>
                  </a:cubicBezTo>
                  <a:cubicBezTo>
                    <a:pt x="812" y="60"/>
                    <a:pt x="817" y="67"/>
                    <a:pt x="827" y="67"/>
                  </a:cubicBezTo>
                  <a:cubicBezTo>
                    <a:pt x="837" y="67"/>
                    <a:pt x="844" y="59"/>
                    <a:pt x="844" y="49"/>
                  </a:cubicBezTo>
                  <a:cubicBezTo>
                    <a:pt x="844" y="29"/>
                    <a:pt x="813" y="1"/>
                    <a:pt x="765" y="1"/>
                  </a:cubicBezTo>
                  <a:cubicBezTo>
                    <a:pt x="714" y="1"/>
                    <a:pt x="683" y="33"/>
                    <a:pt x="683" y="75"/>
                  </a:cubicBezTo>
                  <a:cubicBezTo>
                    <a:pt x="683" y="122"/>
                    <a:pt x="723" y="141"/>
                    <a:pt x="739" y="149"/>
                  </a:cubicBezTo>
                  <a:lnTo>
                    <a:pt x="760" y="159"/>
                  </a:lnTo>
                  <a:cubicBezTo>
                    <a:pt x="791" y="173"/>
                    <a:pt x="819" y="187"/>
                    <a:pt x="819" y="221"/>
                  </a:cubicBezTo>
                  <a:cubicBezTo>
                    <a:pt x="819" y="246"/>
                    <a:pt x="800" y="267"/>
                    <a:pt x="770" y="267"/>
                  </a:cubicBezTo>
                  <a:cubicBezTo>
                    <a:pt x="737" y="267"/>
                    <a:pt x="724" y="242"/>
                    <a:pt x="718" y="230"/>
                  </a:cubicBezTo>
                  <a:cubicBezTo>
                    <a:pt x="714" y="221"/>
                    <a:pt x="709" y="213"/>
                    <a:pt x="698" y="213"/>
                  </a:cubicBezTo>
                  <a:cubicBezTo>
                    <a:pt x="689" y="213"/>
                    <a:pt x="679" y="219"/>
                    <a:pt x="679" y="232"/>
                  </a:cubicBezTo>
                  <a:cubicBezTo>
                    <a:pt x="679" y="249"/>
                    <a:pt x="703" y="292"/>
                    <a:pt x="768" y="292"/>
                  </a:cubicBezTo>
                  <a:cubicBezTo>
                    <a:pt x="819" y="292"/>
                    <a:pt x="856" y="259"/>
                    <a:pt x="856" y="212"/>
                  </a:cubicBezTo>
                  <a:cubicBezTo>
                    <a:pt x="856" y="162"/>
                    <a:pt x="815" y="142"/>
                    <a:pt x="795" y="132"/>
                  </a:cubicBezTo>
                  <a:lnTo>
                    <a:pt x="774" y="122"/>
                  </a:lnTo>
                  <a:close/>
                  <a:moveTo>
                    <a:pt x="661" y="32"/>
                  </a:moveTo>
                  <a:cubicBezTo>
                    <a:pt x="667" y="32"/>
                    <a:pt x="669" y="30"/>
                    <a:pt x="669" y="25"/>
                  </a:cubicBezTo>
                  <a:cubicBezTo>
                    <a:pt x="669" y="8"/>
                    <a:pt x="669" y="7"/>
                    <a:pt x="661" y="7"/>
                  </a:cubicBezTo>
                  <a:lnTo>
                    <a:pt x="482" y="7"/>
                  </a:lnTo>
                  <a:cubicBezTo>
                    <a:pt x="475" y="7"/>
                    <a:pt x="475" y="9"/>
                    <a:pt x="475" y="24"/>
                  </a:cubicBezTo>
                  <a:cubicBezTo>
                    <a:pt x="475" y="30"/>
                    <a:pt x="476" y="32"/>
                    <a:pt x="482" y="32"/>
                  </a:cubicBezTo>
                  <a:lnTo>
                    <a:pt x="552" y="32"/>
                  </a:lnTo>
                  <a:lnTo>
                    <a:pt x="552" y="278"/>
                  </a:lnTo>
                  <a:cubicBezTo>
                    <a:pt x="553" y="285"/>
                    <a:pt x="555" y="286"/>
                    <a:pt x="561" y="286"/>
                  </a:cubicBezTo>
                  <a:lnTo>
                    <a:pt x="584" y="286"/>
                  </a:lnTo>
                  <a:cubicBezTo>
                    <a:pt x="590" y="286"/>
                    <a:pt x="591" y="284"/>
                    <a:pt x="591" y="278"/>
                  </a:cubicBezTo>
                  <a:lnTo>
                    <a:pt x="591" y="32"/>
                  </a:lnTo>
                  <a:lnTo>
                    <a:pt x="661" y="32"/>
                  </a:lnTo>
                  <a:close/>
                  <a:moveTo>
                    <a:pt x="433" y="139"/>
                  </a:moveTo>
                  <a:cubicBezTo>
                    <a:pt x="433" y="161"/>
                    <a:pt x="433" y="198"/>
                    <a:pt x="413" y="227"/>
                  </a:cubicBezTo>
                  <a:cubicBezTo>
                    <a:pt x="396" y="254"/>
                    <a:pt x="370" y="265"/>
                    <a:pt x="348" y="265"/>
                  </a:cubicBezTo>
                  <a:cubicBezTo>
                    <a:pt x="312" y="265"/>
                    <a:pt x="276" y="238"/>
                    <a:pt x="265" y="185"/>
                  </a:cubicBezTo>
                  <a:cubicBezTo>
                    <a:pt x="263" y="173"/>
                    <a:pt x="261" y="159"/>
                    <a:pt x="261" y="144"/>
                  </a:cubicBezTo>
                  <a:cubicBezTo>
                    <a:pt x="261" y="98"/>
                    <a:pt x="273" y="55"/>
                    <a:pt x="310" y="34"/>
                  </a:cubicBezTo>
                  <a:cubicBezTo>
                    <a:pt x="321" y="28"/>
                    <a:pt x="334" y="24"/>
                    <a:pt x="347" y="24"/>
                  </a:cubicBezTo>
                  <a:cubicBezTo>
                    <a:pt x="377" y="24"/>
                    <a:pt x="431" y="46"/>
                    <a:pt x="433" y="139"/>
                  </a:cubicBezTo>
                  <a:close/>
                  <a:moveTo>
                    <a:pt x="474" y="138"/>
                  </a:moveTo>
                  <a:cubicBezTo>
                    <a:pt x="471" y="69"/>
                    <a:pt x="430" y="0"/>
                    <a:pt x="348" y="0"/>
                  </a:cubicBezTo>
                  <a:cubicBezTo>
                    <a:pt x="260" y="0"/>
                    <a:pt x="220" y="76"/>
                    <a:pt x="220" y="146"/>
                  </a:cubicBezTo>
                  <a:cubicBezTo>
                    <a:pt x="220" y="232"/>
                    <a:pt x="275" y="292"/>
                    <a:pt x="348" y="292"/>
                  </a:cubicBezTo>
                  <a:cubicBezTo>
                    <a:pt x="424" y="292"/>
                    <a:pt x="478" y="224"/>
                    <a:pt x="474" y="138"/>
                  </a:cubicBezTo>
                  <a:close/>
                  <a:moveTo>
                    <a:pt x="39" y="150"/>
                  </a:moveTo>
                  <a:cubicBezTo>
                    <a:pt x="48" y="150"/>
                    <a:pt x="54" y="149"/>
                    <a:pt x="65" y="149"/>
                  </a:cubicBezTo>
                  <a:cubicBezTo>
                    <a:pt x="87" y="149"/>
                    <a:pt x="115" y="150"/>
                    <a:pt x="133" y="171"/>
                  </a:cubicBezTo>
                  <a:cubicBezTo>
                    <a:pt x="139" y="177"/>
                    <a:pt x="147" y="190"/>
                    <a:pt x="147" y="211"/>
                  </a:cubicBezTo>
                  <a:cubicBezTo>
                    <a:pt x="147" y="250"/>
                    <a:pt x="115" y="265"/>
                    <a:pt x="72" y="265"/>
                  </a:cubicBezTo>
                  <a:cubicBezTo>
                    <a:pt x="57" y="265"/>
                    <a:pt x="46" y="264"/>
                    <a:pt x="39" y="263"/>
                  </a:cubicBezTo>
                  <a:lnTo>
                    <a:pt x="39" y="150"/>
                  </a:lnTo>
                  <a:close/>
                  <a:moveTo>
                    <a:pt x="39" y="29"/>
                  </a:moveTo>
                  <a:cubicBezTo>
                    <a:pt x="47" y="28"/>
                    <a:pt x="56" y="27"/>
                    <a:pt x="67" y="27"/>
                  </a:cubicBezTo>
                  <a:cubicBezTo>
                    <a:pt x="80" y="27"/>
                    <a:pt x="130" y="27"/>
                    <a:pt x="130" y="78"/>
                  </a:cubicBezTo>
                  <a:cubicBezTo>
                    <a:pt x="130" y="92"/>
                    <a:pt x="124" y="125"/>
                    <a:pt x="72" y="129"/>
                  </a:cubicBezTo>
                  <a:cubicBezTo>
                    <a:pt x="61" y="130"/>
                    <a:pt x="51" y="130"/>
                    <a:pt x="39" y="129"/>
                  </a:cubicBezTo>
                  <a:lnTo>
                    <a:pt x="39" y="29"/>
                  </a:lnTo>
                  <a:close/>
                  <a:moveTo>
                    <a:pt x="0" y="270"/>
                  </a:moveTo>
                  <a:cubicBezTo>
                    <a:pt x="0" y="279"/>
                    <a:pt x="1" y="281"/>
                    <a:pt x="6" y="283"/>
                  </a:cubicBezTo>
                  <a:cubicBezTo>
                    <a:pt x="13" y="285"/>
                    <a:pt x="38" y="288"/>
                    <a:pt x="65" y="288"/>
                  </a:cubicBezTo>
                  <a:cubicBezTo>
                    <a:pt x="95" y="288"/>
                    <a:pt x="189" y="288"/>
                    <a:pt x="189" y="212"/>
                  </a:cubicBezTo>
                  <a:cubicBezTo>
                    <a:pt x="189" y="177"/>
                    <a:pt x="168" y="148"/>
                    <a:pt x="127" y="138"/>
                  </a:cubicBezTo>
                  <a:cubicBezTo>
                    <a:pt x="124" y="138"/>
                    <a:pt x="121" y="137"/>
                    <a:pt x="118" y="136"/>
                  </a:cubicBezTo>
                  <a:cubicBezTo>
                    <a:pt x="121" y="135"/>
                    <a:pt x="124" y="134"/>
                    <a:pt x="127" y="132"/>
                  </a:cubicBezTo>
                  <a:cubicBezTo>
                    <a:pt x="146" y="123"/>
                    <a:pt x="170" y="104"/>
                    <a:pt x="170" y="71"/>
                  </a:cubicBezTo>
                  <a:cubicBezTo>
                    <a:pt x="170" y="51"/>
                    <a:pt x="161" y="32"/>
                    <a:pt x="142" y="20"/>
                  </a:cubicBezTo>
                  <a:cubicBezTo>
                    <a:pt x="120" y="7"/>
                    <a:pt x="90" y="4"/>
                    <a:pt x="67" y="4"/>
                  </a:cubicBezTo>
                  <a:cubicBezTo>
                    <a:pt x="49" y="4"/>
                    <a:pt x="16" y="6"/>
                    <a:pt x="6" y="9"/>
                  </a:cubicBezTo>
                  <a:cubicBezTo>
                    <a:pt x="1" y="11"/>
                    <a:pt x="0" y="13"/>
                    <a:pt x="0" y="20"/>
                  </a:cubicBezTo>
                  <a:lnTo>
                    <a:pt x="0" y="27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364F709C-568F-19D8-B620-2439C384BE5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086485" y="0"/>
            <a:ext cx="105516" cy="6858000"/>
          </a:xfrm>
          <a:custGeom>
            <a:avLst/>
            <a:gdLst>
              <a:gd name="connsiteX0" fmla="*/ 0 w 105516"/>
              <a:gd name="connsiteY0" fmla="*/ 0 h 6858000"/>
              <a:gd name="connsiteX1" fmla="*/ 105516 w 105516"/>
              <a:gd name="connsiteY1" fmla="*/ 0 h 6858000"/>
              <a:gd name="connsiteX2" fmla="*/ 105516 w 105516"/>
              <a:gd name="connsiteY2" fmla="*/ 6858000 h 6858000"/>
              <a:gd name="connsiteX3" fmla="*/ 0 w 105516"/>
              <a:gd name="connsiteY3" fmla="*/ 6858000 h 6858000"/>
              <a:gd name="connsiteX4" fmla="*/ 0 w 105516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516" h="6858000">
                <a:moveTo>
                  <a:pt x="0" y="0"/>
                </a:moveTo>
                <a:lnTo>
                  <a:pt x="105516" y="0"/>
                </a:lnTo>
                <a:lnTo>
                  <a:pt x="10551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0B2C3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61" name="Freeform 9">
            <a:extLst>
              <a:ext uri="{FF2B5EF4-FFF2-40B4-BE49-F238E27FC236}">
                <a16:creationId xmlns:a16="http://schemas.microsoft.com/office/drawing/2014/main" id="{D59F7087-06FD-F144-BB96-D736EF3EF3B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722394" y="6096000"/>
            <a:ext cx="2625725" cy="425450"/>
          </a:xfrm>
          <a:custGeom>
            <a:avLst/>
            <a:gdLst>
              <a:gd name="T0" fmla="*/ 301 w 7261"/>
              <a:gd name="T1" fmla="*/ 300 h 1168"/>
              <a:gd name="T2" fmla="*/ 330 w 7261"/>
              <a:gd name="T3" fmla="*/ 336 h 1168"/>
              <a:gd name="T4" fmla="*/ 293 w 7261"/>
              <a:gd name="T5" fmla="*/ 325 h 1168"/>
              <a:gd name="T6" fmla="*/ 362 w 7261"/>
              <a:gd name="T7" fmla="*/ 18 h 1168"/>
              <a:gd name="T8" fmla="*/ 248 w 7261"/>
              <a:gd name="T9" fmla="*/ 547 h 1168"/>
              <a:gd name="T10" fmla="*/ 262 w 7261"/>
              <a:gd name="T11" fmla="*/ 492 h 1168"/>
              <a:gd name="T12" fmla="*/ 42 w 7261"/>
              <a:gd name="T13" fmla="*/ 307 h 1168"/>
              <a:gd name="T14" fmla="*/ 407 w 7261"/>
              <a:gd name="T15" fmla="*/ 709 h 1168"/>
              <a:gd name="T16" fmla="*/ 342 w 7261"/>
              <a:gd name="T17" fmla="*/ 701 h 1168"/>
              <a:gd name="T18" fmla="*/ 578 w 7261"/>
              <a:gd name="T19" fmla="*/ 673 h 1168"/>
              <a:gd name="T20" fmla="*/ 781 w 7261"/>
              <a:gd name="T21" fmla="*/ 632 h 1168"/>
              <a:gd name="T22" fmla="*/ 655 w 7261"/>
              <a:gd name="T23" fmla="*/ 1062 h 1168"/>
              <a:gd name="T24" fmla="*/ 836 w 7261"/>
              <a:gd name="T25" fmla="*/ 625 h 1168"/>
              <a:gd name="T26" fmla="*/ 856 w 7261"/>
              <a:gd name="T27" fmla="*/ 464 h 1168"/>
              <a:gd name="T28" fmla="*/ 742 w 7261"/>
              <a:gd name="T29" fmla="*/ 706 h 1168"/>
              <a:gd name="T30" fmla="*/ 1138 w 7261"/>
              <a:gd name="T31" fmla="*/ 451 h 1168"/>
              <a:gd name="T32" fmla="*/ 1061 w 7261"/>
              <a:gd name="T33" fmla="*/ 705 h 1168"/>
              <a:gd name="T34" fmla="*/ 1398 w 7261"/>
              <a:gd name="T35" fmla="*/ 748 h 1168"/>
              <a:gd name="T36" fmla="*/ 1419 w 7261"/>
              <a:gd name="T37" fmla="*/ 710 h 1168"/>
              <a:gd name="T38" fmla="*/ 1664 w 7261"/>
              <a:gd name="T39" fmla="*/ 636 h 1168"/>
              <a:gd name="T40" fmla="*/ 1558 w 7261"/>
              <a:gd name="T41" fmla="*/ 591 h 1168"/>
              <a:gd name="T42" fmla="*/ 1810 w 7261"/>
              <a:gd name="T43" fmla="*/ 579 h 1168"/>
              <a:gd name="T44" fmla="*/ 1995 w 7261"/>
              <a:gd name="T45" fmla="*/ 676 h 1168"/>
              <a:gd name="T46" fmla="*/ 1951 w 7261"/>
              <a:gd name="T47" fmla="*/ 345 h 1168"/>
              <a:gd name="T48" fmla="*/ 2542 w 7261"/>
              <a:gd name="T49" fmla="*/ 667 h 1168"/>
              <a:gd name="T50" fmla="*/ 2153 w 7261"/>
              <a:gd name="T51" fmla="*/ 730 h 1168"/>
              <a:gd name="T52" fmla="*/ 2649 w 7261"/>
              <a:gd name="T53" fmla="*/ 580 h 1168"/>
              <a:gd name="T54" fmla="*/ 2796 w 7261"/>
              <a:gd name="T55" fmla="*/ 819 h 1168"/>
              <a:gd name="T56" fmla="*/ 2526 w 7261"/>
              <a:gd name="T57" fmla="*/ 1001 h 1168"/>
              <a:gd name="T58" fmla="*/ 2745 w 7261"/>
              <a:gd name="T59" fmla="*/ 910 h 1168"/>
              <a:gd name="T60" fmla="*/ 3223 w 7261"/>
              <a:gd name="T61" fmla="*/ 358 h 1168"/>
              <a:gd name="T62" fmla="*/ 3498 w 7261"/>
              <a:gd name="T63" fmla="*/ 672 h 1168"/>
              <a:gd name="T64" fmla="*/ 3231 w 7261"/>
              <a:gd name="T65" fmla="*/ 443 h 1168"/>
              <a:gd name="T66" fmla="*/ 3683 w 7261"/>
              <a:gd name="T67" fmla="*/ 559 h 1168"/>
              <a:gd name="T68" fmla="*/ 3687 w 7261"/>
              <a:gd name="T69" fmla="*/ 727 h 1168"/>
              <a:gd name="T70" fmla="*/ 3988 w 7261"/>
              <a:gd name="T71" fmla="*/ 749 h 1168"/>
              <a:gd name="T72" fmla="*/ 4175 w 7261"/>
              <a:gd name="T73" fmla="*/ 553 h 1168"/>
              <a:gd name="T74" fmla="*/ 4032 w 7261"/>
              <a:gd name="T75" fmla="*/ 556 h 1168"/>
              <a:gd name="T76" fmla="*/ 4585 w 7261"/>
              <a:gd name="T77" fmla="*/ 663 h 1168"/>
              <a:gd name="T78" fmla="*/ 4400 w 7261"/>
              <a:gd name="T79" fmla="*/ 581 h 1168"/>
              <a:gd name="T80" fmla="*/ 4387 w 7261"/>
              <a:gd name="T81" fmla="*/ 744 h 1168"/>
              <a:gd name="T82" fmla="*/ 4908 w 7261"/>
              <a:gd name="T83" fmla="*/ 206 h 1168"/>
              <a:gd name="T84" fmla="*/ 5107 w 7261"/>
              <a:gd name="T85" fmla="*/ 666 h 1168"/>
              <a:gd name="T86" fmla="*/ 4742 w 7261"/>
              <a:gd name="T87" fmla="*/ 600 h 1168"/>
              <a:gd name="T88" fmla="*/ 5616 w 7261"/>
              <a:gd name="T89" fmla="*/ 539 h 1168"/>
              <a:gd name="T90" fmla="*/ 5520 w 7261"/>
              <a:gd name="T91" fmla="*/ 625 h 1168"/>
              <a:gd name="T92" fmla="*/ 5641 w 7261"/>
              <a:gd name="T93" fmla="*/ 707 h 1168"/>
              <a:gd name="T94" fmla="*/ 5597 w 7261"/>
              <a:gd name="T95" fmla="*/ 755 h 1168"/>
              <a:gd name="T96" fmla="*/ 5626 w 7261"/>
              <a:gd name="T97" fmla="*/ 559 h 1168"/>
              <a:gd name="T98" fmla="*/ 5787 w 7261"/>
              <a:gd name="T99" fmla="*/ 324 h 1168"/>
              <a:gd name="T100" fmla="*/ 6014 w 7261"/>
              <a:gd name="T101" fmla="*/ 615 h 1168"/>
              <a:gd name="T102" fmla="*/ 6128 w 7261"/>
              <a:gd name="T103" fmla="*/ 522 h 1168"/>
              <a:gd name="T104" fmla="*/ 6321 w 7261"/>
              <a:gd name="T105" fmla="*/ 510 h 1168"/>
              <a:gd name="T106" fmla="*/ 6091 w 7261"/>
              <a:gd name="T107" fmla="*/ 500 h 1168"/>
              <a:gd name="T108" fmla="*/ 6149 w 7261"/>
              <a:gd name="T109" fmla="*/ 684 h 1168"/>
              <a:gd name="T110" fmla="*/ 6412 w 7261"/>
              <a:gd name="T111" fmla="*/ 628 h 1168"/>
              <a:gd name="T112" fmla="*/ 7015 w 7261"/>
              <a:gd name="T113" fmla="*/ 609 h 1168"/>
              <a:gd name="T114" fmla="*/ 6533 w 7261"/>
              <a:gd name="T115" fmla="*/ 718 h 1168"/>
              <a:gd name="T116" fmla="*/ 6651 w 7261"/>
              <a:gd name="T117" fmla="*/ 603 h 1168"/>
              <a:gd name="T118" fmla="*/ 6776 w 7261"/>
              <a:gd name="T119" fmla="*/ 380 h 1168"/>
              <a:gd name="T120" fmla="*/ 6771 w 7261"/>
              <a:gd name="T121" fmla="*/ 479 h 1168"/>
              <a:gd name="T122" fmla="*/ 6731 w 7261"/>
              <a:gd name="T123" fmla="*/ 718 h 1168"/>
              <a:gd name="T124" fmla="*/ 7147 w 7261"/>
              <a:gd name="T125" fmla="*/ 591 h 1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261" h="1168">
                <a:moveTo>
                  <a:pt x="103" y="1015"/>
                </a:moveTo>
                <a:cubicBezTo>
                  <a:pt x="100" y="1015"/>
                  <a:pt x="97" y="1014"/>
                  <a:pt x="94" y="1013"/>
                </a:cubicBezTo>
                <a:cubicBezTo>
                  <a:pt x="92" y="1012"/>
                  <a:pt x="89" y="1012"/>
                  <a:pt x="87" y="1012"/>
                </a:cubicBezTo>
                <a:cubicBezTo>
                  <a:pt x="84" y="1013"/>
                  <a:pt x="82" y="1014"/>
                  <a:pt x="79" y="1014"/>
                </a:cubicBezTo>
                <a:cubicBezTo>
                  <a:pt x="74" y="1014"/>
                  <a:pt x="69" y="1012"/>
                  <a:pt x="66" y="1007"/>
                </a:cubicBezTo>
                <a:cubicBezTo>
                  <a:pt x="62" y="1001"/>
                  <a:pt x="60" y="995"/>
                  <a:pt x="60" y="990"/>
                </a:cubicBezTo>
                <a:cubicBezTo>
                  <a:pt x="60" y="987"/>
                  <a:pt x="61" y="986"/>
                  <a:pt x="62" y="985"/>
                </a:cubicBezTo>
                <a:cubicBezTo>
                  <a:pt x="64" y="983"/>
                  <a:pt x="64" y="982"/>
                  <a:pt x="64" y="980"/>
                </a:cubicBezTo>
                <a:cubicBezTo>
                  <a:pt x="64" y="978"/>
                  <a:pt x="65" y="977"/>
                  <a:pt x="66" y="977"/>
                </a:cubicBezTo>
                <a:lnTo>
                  <a:pt x="67" y="977"/>
                </a:lnTo>
                <a:cubicBezTo>
                  <a:pt x="67" y="977"/>
                  <a:pt x="68" y="977"/>
                  <a:pt x="68" y="976"/>
                </a:cubicBezTo>
                <a:lnTo>
                  <a:pt x="67" y="973"/>
                </a:lnTo>
                <a:cubicBezTo>
                  <a:pt x="67" y="970"/>
                  <a:pt x="68" y="968"/>
                  <a:pt x="69" y="968"/>
                </a:cubicBezTo>
                <a:cubicBezTo>
                  <a:pt x="69" y="968"/>
                  <a:pt x="70" y="966"/>
                  <a:pt x="70" y="963"/>
                </a:cubicBezTo>
                <a:lnTo>
                  <a:pt x="69" y="961"/>
                </a:lnTo>
                <a:cubicBezTo>
                  <a:pt x="69" y="960"/>
                  <a:pt x="69" y="960"/>
                  <a:pt x="70" y="960"/>
                </a:cubicBezTo>
                <a:cubicBezTo>
                  <a:pt x="71" y="960"/>
                  <a:pt x="71" y="958"/>
                  <a:pt x="71" y="954"/>
                </a:cubicBezTo>
                <a:lnTo>
                  <a:pt x="70" y="951"/>
                </a:lnTo>
                <a:cubicBezTo>
                  <a:pt x="71" y="951"/>
                  <a:pt x="71" y="951"/>
                  <a:pt x="71" y="951"/>
                </a:cubicBezTo>
                <a:cubicBezTo>
                  <a:pt x="71" y="952"/>
                  <a:pt x="71" y="952"/>
                  <a:pt x="72" y="952"/>
                </a:cubicBezTo>
                <a:cubicBezTo>
                  <a:pt x="72" y="952"/>
                  <a:pt x="74" y="948"/>
                  <a:pt x="77" y="938"/>
                </a:cubicBezTo>
                <a:cubicBezTo>
                  <a:pt x="80" y="929"/>
                  <a:pt x="81" y="924"/>
                  <a:pt x="81" y="921"/>
                </a:cubicBezTo>
                <a:lnTo>
                  <a:pt x="81" y="918"/>
                </a:lnTo>
                <a:lnTo>
                  <a:pt x="82" y="916"/>
                </a:lnTo>
                <a:cubicBezTo>
                  <a:pt x="82" y="916"/>
                  <a:pt x="84" y="914"/>
                  <a:pt x="85" y="911"/>
                </a:cubicBezTo>
                <a:cubicBezTo>
                  <a:pt x="87" y="903"/>
                  <a:pt x="89" y="895"/>
                  <a:pt x="90" y="887"/>
                </a:cubicBezTo>
                <a:cubicBezTo>
                  <a:pt x="90" y="884"/>
                  <a:pt x="90" y="882"/>
                  <a:pt x="91" y="882"/>
                </a:cubicBezTo>
                <a:lnTo>
                  <a:pt x="92" y="883"/>
                </a:lnTo>
                <a:cubicBezTo>
                  <a:pt x="92" y="883"/>
                  <a:pt x="92" y="884"/>
                  <a:pt x="92" y="884"/>
                </a:cubicBezTo>
                <a:cubicBezTo>
                  <a:pt x="93" y="884"/>
                  <a:pt x="93" y="883"/>
                  <a:pt x="93" y="881"/>
                </a:cubicBezTo>
                <a:cubicBezTo>
                  <a:pt x="93" y="879"/>
                  <a:pt x="94" y="878"/>
                  <a:pt x="95" y="878"/>
                </a:cubicBezTo>
                <a:cubicBezTo>
                  <a:pt x="96" y="878"/>
                  <a:pt x="97" y="872"/>
                  <a:pt x="98" y="861"/>
                </a:cubicBezTo>
                <a:cubicBezTo>
                  <a:pt x="98" y="859"/>
                  <a:pt x="98" y="857"/>
                  <a:pt x="99" y="857"/>
                </a:cubicBezTo>
                <a:lnTo>
                  <a:pt x="99" y="857"/>
                </a:lnTo>
                <a:cubicBezTo>
                  <a:pt x="100" y="857"/>
                  <a:pt x="100" y="856"/>
                  <a:pt x="101" y="854"/>
                </a:cubicBezTo>
                <a:cubicBezTo>
                  <a:pt x="103" y="848"/>
                  <a:pt x="104" y="844"/>
                  <a:pt x="104" y="841"/>
                </a:cubicBezTo>
                <a:cubicBezTo>
                  <a:pt x="104" y="840"/>
                  <a:pt x="104" y="839"/>
                  <a:pt x="104" y="839"/>
                </a:cubicBezTo>
                <a:cubicBezTo>
                  <a:pt x="103" y="838"/>
                  <a:pt x="103" y="838"/>
                  <a:pt x="103" y="838"/>
                </a:cubicBezTo>
                <a:lnTo>
                  <a:pt x="105" y="838"/>
                </a:lnTo>
                <a:cubicBezTo>
                  <a:pt x="105" y="838"/>
                  <a:pt x="106" y="838"/>
                  <a:pt x="107" y="836"/>
                </a:cubicBezTo>
                <a:cubicBezTo>
                  <a:pt x="108" y="835"/>
                  <a:pt x="109" y="833"/>
                  <a:pt x="109" y="831"/>
                </a:cubicBezTo>
                <a:cubicBezTo>
                  <a:pt x="109" y="829"/>
                  <a:pt x="110" y="827"/>
                  <a:pt x="110" y="826"/>
                </a:cubicBezTo>
                <a:cubicBezTo>
                  <a:pt x="110" y="825"/>
                  <a:pt x="110" y="824"/>
                  <a:pt x="109" y="823"/>
                </a:cubicBezTo>
                <a:cubicBezTo>
                  <a:pt x="109" y="823"/>
                  <a:pt x="109" y="822"/>
                  <a:pt x="109" y="821"/>
                </a:cubicBezTo>
                <a:cubicBezTo>
                  <a:pt x="109" y="820"/>
                  <a:pt x="109" y="818"/>
                  <a:pt x="110" y="816"/>
                </a:cubicBezTo>
                <a:cubicBezTo>
                  <a:pt x="110" y="813"/>
                  <a:pt x="111" y="812"/>
                  <a:pt x="112" y="810"/>
                </a:cubicBezTo>
                <a:cubicBezTo>
                  <a:pt x="113" y="809"/>
                  <a:pt x="114" y="808"/>
                  <a:pt x="114" y="808"/>
                </a:cubicBezTo>
                <a:lnTo>
                  <a:pt x="115" y="808"/>
                </a:lnTo>
                <a:cubicBezTo>
                  <a:pt x="115" y="808"/>
                  <a:pt x="115" y="808"/>
                  <a:pt x="115" y="807"/>
                </a:cubicBezTo>
                <a:cubicBezTo>
                  <a:pt x="115" y="807"/>
                  <a:pt x="115" y="806"/>
                  <a:pt x="115" y="806"/>
                </a:cubicBezTo>
                <a:cubicBezTo>
                  <a:pt x="115" y="805"/>
                  <a:pt x="115" y="805"/>
                  <a:pt x="115" y="804"/>
                </a:cubicBezTo>
                <a:cubicBezTo>
                  <a:pt x="115" y="802"/>
                  <a:pt x="115" y="800"/>
                  <a:pt x="115" y="798"/>
                </a:cubicBezTo>
                <a:cubicBezTo>
                  <a:pt x="117" y="792"/>
                  <a:pt x="119" y="790"/>
                  <a:pt x="120" y="790"/>
                </a:cubicBezTo>
                <a:lnTo>
                  <a:pt x="120" y="790"/>
                </a:lnTo>
                <a:cubicBezTo>
                  <a:pt x="120" y="790"/>
                  <a:pt x="121" y="789"/>
                  <a:pt x="121" y="786"/>
                </a:cubicBezTo>
                <a:lnTo>
                  <a:pt x="120" y="784"/>
                </a:lnTo>
                <a:cubicBezTo>
                  <a:pt x="120" y="783"/>
                  <a:pt x="120" y="783"/>
                  <a:pt x="121" y="783"/>
                </a:cubicBezTo>
                <a:lnTo>
                  <a:pt x="122" y="784"/>
                </a:lnTo>
                <a:cubicBezTo>
                  <a:pt x="122" y="784"/>
                  <a:pt x="123" y="782"/>
                  <a:pt x="123" y="780"/>
                </a:cubicBezTo>
                <a:lnTo>
                  <a:pt x="122" y="778"/>
                </a:lnTo>
                <a:cubicBezTo>
                  <a:pt x="122" y="777"/>
                  <a:pt x="122" y="777"/>
                  <a:pt x="123" y="777"/>
                </a:cubicBezTo>
                <a:lnTo>
                  <a:pt x="125" y="778"/>
                </a:lnTo>
                <a:lnTo>
                  <a:pt x="125" y="776"/>
                </a:lnTo>
                <a:cubicBezTo>
                  <a:pt x="125" y="774"/>
                  <a:pt x="127" y="765"/>
                  <a:pt x="132" y="750"/>
                </a:cubicBezTo>
                <a:cubicBezTo>
                  <a:pt x="136" y="737"/>
                  <a:pt x="139" y="729"/>
                  <a:pt x="139" y="726"/>
                </a:cubicBezTo>
                <a:cubicBezTo>
                  <a:pt x="139" y="725"/>
                  <a:pt x="138" y="725"/>
                  <a:pt x="138" y="725"/>
                </a:cubicBezTo>
                <a:cubicBezTo>
                  <a:pt x="137" y="725"/>
                  <a:pt x="137" y="726"/>
                  <a:pt x="135" y="728"/>
                </a:cubicBezTo>
                <a:lnTo>
                  <a:pt x="134" y="729"/>
                </a:lnTo>
                <a:cubicBezTo>
                  <a:pt x="134" y="728"/>
                  <a:pt x="134" y="728"/>
                  <a:pt x="135" y="726"/>
                </a:cubicBezTo>
                <a:cubicBezTo>
                  <a:pt x="135" y="725"/>
                  <a:pt x="136" y="723"/>
                  <a:pt x="136" y="722"/>
                </a:cubicBezTo>
                <a:lnTo>
                  <a:pt x="141" y="723"/>
                </a:lnTo>
                <a:cubicBezTo>
                  <a:pt x="141" y="722"/>
                  <a:pt x="146" y="708"/>
                  <a:pt x="154" y="683"/>
                </a:cubicBezTo>
                <a:cubicBezTo>
                  <a:pt x="163" y="657"/>
                  <a:pt x="167" y="644"/>
                  <a:pt x="167" y="644"/>
                </a:cubicBezTo>
                <a:cubicBezTo>
                  <a:pt x="167" y="643"/>
                  <a:pt x="167" y="643"/>
                  <a:pt x="167" y="643"/>
                </a:cubicBezTo>
                <a:cubicBezTo>
                  <a:pt x="166" y="643"/>
                  <a:pt x="163" y="649"/>
                  <a:pt x="159" y="661"/>
                </a:cubicBezTo>
                <a:cubicBezTo>
                  <a:pt x="154" y="671"/>
                  <a:pt x="151" y="676"/>
                  <a:pt x="150" y="676"/>
                </a:cubicBezTo>
                <a:cubicBezTo>
                  <a:pt x="149" y="676"/>
                  <a:pt x="148" y="677"/>
                  <a:pt x="148" y="677"/>
                </a:cubicBezTo>
                <a:cubicBezTo>
                  <a:pt x="148" y="677"/>
                  <a:pt x="148" y="678"/>
                  <a:pt x="149" y="678"/>
                </a:cubicBezTo>
                <a:cubicBezTo>
                  <a:pt x="151" y="679"/>
                  <a:pt x="151" y="680"/>
                  <a:pt x="151" y="681"/>
                </a:cubicBezTo>
                <a:cubicBezTo>
                  <a:pt x="151" y="683"/>
                  <a:pt x="151" y="684"/>
                  <a:pt x="149" y="684"/>
                </a:cubicBezTo>
                <a:lnTo>
                  <a:pt x="145" y="683"/>
                </a:lnTo>
                <a:cubicBezTo>
                  <a:pt x="145" y="683"/>
                  <a:pt x="146" y="684"/>
                  <a:pt x="147" y="686"/>
                </a:cubicBezTo>
                <a:cubicBezTo>
                  <a:pt x="149" y="687"/>
                  <a:pt x="149" y="688"/>
                  <a:pt x="149" y="689"/>
                </a:cubicBezTo>
                <a:cubicBezTo>
                  <a:pt x="149" y="689"/>
                  <a:pt x="149" y="690"/>
                  <a:pt x="148" y="690"/>
                </a:cubicBezTo>
                <a:lnTo>
                  <a:pt x="143" y="687"/>
                </a:lnTo>
                <a:cubicBezTo>
                  <a:pt x="143" y="687"/>
                  <a:pt x="144" y="689"/>
                  <a:pt x="145" y="691"/>
                </a:cubicBezTo>
                <a:cubicBezTo>
                  <a:pt x="147" y="693"/>
                  <a:pt x="147" y="695"/>
                  <a:pt x="147" y="696"/>
                </a:cubicBezTo>
                <a:cubicBezTo>
                  <a:pt x="147" y="696"/>
                  <a:pt x="147" y="696"/>
                  <a:pt x="147" y="696"/>
                </a:cubicBezTo>
                <a:cubicBezTo>
                  <a:pt x="146" y="696"/>
                  <a:pt x="145" y="696"/>
                  <a:pt x="144" y="695"/>
                </a:cubicBezTo>
                <a:lnTo>
                  <a:pt x="141" y="693"/>
                </a:lnTo>
                <a:lnTo>
                  <a:pt x="142" y="696"/>
                </a:lnTo>
                <a:cubicBezTo>
                  <a:pt x="142" y="696"/>
                  <a:pt x="142" y="697"/>
                  <a:pt x="142" y="697"/>
                </a:cubicBezTo>
                <a:cubicBezTo>
                  <a:pt x="141" y="697"/>
                  <a:pt x="141" y="697"/>
                  <a:pt x="140" y="698"/>
                </a:cubicBezTo>
                <a:cubicBezTo>
                  <a:pt x="140" y="698"/>
                  <a:pt x="139" y="699"/>
                  <a:pt x="139" y="700"/>
                </a:cubicBezTo>
                <a:cubicBezTo>
                  <a:pt x="139" y="702"/>
                  <a:pt x="140" y="703"/>
                  <a:pt x="141" y="703"/>
                </a:cubicBezTo>
                <a:cubicBezTo>
                  <a:pt x="142" y="703"/>
                  <a:pt x="143" y="702"/>
                  <a:pt x="144" y="700"/>
                </a:cubicBezTo>
                <a:cubicBezTo>
                  <a:pt x="144" y="700"/>
                  <a:pt x="144" y="700"/>
                  <a:pt x="144" y="700"/>
                </a:cubicBezTo>
                <a:cubicBezTo>
                  <a:pt x="144" y="700"/>
                  <a:pt x="145" y="701"/>
                  <a:pt x="145" y="702"/>
                </a:cubicBezTo>
                <a:cubicBezTo>
                  <a:pt x="144" y="705"/>
                  <a:pt x="143" y="706"/>
                  <a:pt x="141" y="706"/>
                </a:cubicBezTo>
                <a:cubicBezTo>
                  <a:pt x="139" y="706"/>
                  <a:pt x="137" y="708"/>
                  <a:pt x="136" y="710"/>
                </a:cubicBezTo>
                <a:cubicBezTo>
                  <a:pt x="135" y="713"/>
                  <a:pt x="134" y="717"/>
                  <a:pt x="132" y="724"/>
                </a:cubicBezTo>
                <a:cubicBezTo>
                  <a:pt x="129" y="733"/>
                  <a:pt x="127" y="739"/>
                  <a:pt x="127" y="741"/>
                </a:cubicBezTo>
                <a:cubicBezTo>
                  <a:pt x="127" y="741"/>
                  <a:pt x="128" y="742"/>
                  <a:pt x="128" y="742"/>
                </a:cubicBezTo>
                <a:cubicBezTo>
                  <a:pt x="129" y="742"/>
                  <a:pt x="130" y="741"/>
                  <a:pt x="130" y="740"/>
                </a:cubicBezTo>
                <a:cubicBezTo>
                  <a:pt x="130" y="739"/>
                  <a:pt x="131" y="738"/>
                  <a:pt x="131" y="738"/>
                </a:cubicBezTo>
                <a:lnTo>
                  <a:pt x="131" y="739"/>
                </a:lnTo>
                <a:cubicBezTo>
                  <a:pt x="131" y="740"/>
                  <a:pt x="131" y="742"/>
                  <a:pt x="129" y="742"/>
                </a:cubicBezTo>
                <a:cubicBezTo>
                  <a:pt x="128" y="744"/>
                  <a:pt x="127" y="746"/>
                  <a:pt x="125" y="748"/>
                </a:cubicBezTo>
                <a:cubicBezTo>
                  <a:pt x="124" y="751"/>
                  <a:pt x="123" y="753"/>
                  <a:pt x="122" y="753"/>
                </a:cubicBezTo>
                <a:lnTo>
                  <a:pt x="121" y="753"/>
                </a:lnTo>
                <a:lnTo>
                  <a:pt x="120" y="752"/>
                </a:lnTo>
                <a:cubicBezTo>
                  <a:pt x="120" y="752"/>
                  <a:pt x="120" y="752"/>
                  <a:pt x="121" y="753"/>
                </a:cubicBezTo>
                <a:cubicBezTo>
                  <a:pt x="122" y="754"/>
                  <a:pt x="122" y="756"/>
                  <a:pt x="122" y="757"/>
                </a:cubicBezTo>
                <a:cubicBezTo>
                  <a:pt x="122" y="760"/>
                  <a:pt x="122" y="762"/>
                  <a:pt x="121" y="765"/>
                </a:cubicBezTo>
                <a:cubicBezTo>
                  <a:pt x="120" y="769"/>
                  <a:pt x="120" y="771"/>
                  <a:pt x="119" y="774"/>
                </a:cubicBezTo>
                <a:cubicBezTo>
                  <a:pt x="118" y="777"/>
                  <a:pt x="117" y="778"/>
                  <a:pt x="116" y="779"/>
                </a:cubicBezTo>
                <a:cubicBezTo>
                  <a:pt x="115" y="779"/>
                  <a:pt x="115" y="780"/>
                  <a:pt x="115" y="781"/>
                </a:cubicBezTo>
                <a:cubicBezTo>
                  <a:pt x="115" y="781"/>
                  <a:pt x="115" y="781"/>
                  <a:pt x="115" y="782"/>
                </a:cubicBezTo>
                <a:cubicBezTo>
                  <a:pt x="115" y="782"/>
                  <a:pt x="115" y="783"/>
                  <a:pt x="115" y="784"/>
                </a:cubicBezTo>
                <a:cubicBezTo>
                  <a:pt x="115" y="784"/>
                  <a:pt x="115" y="785"/>
                  <a:pt x="114" y="786"/>
                </a:cubicBezTo>
                <a:cubicBezTo>
                  <a:pt x="113" y="786"/>
                  <a:pt x="112" y="789"/>
                  <a:pt x="112" y="794"/>
                </a:cubicBezTo>
                <a:cubicBezTo>
                  <a:pt x="111" y="799"/>
                  <a:pt x="110" y="802"/>
                  <a:pt x="108" y="802"/>
                </a:cubicBezTo>
                <a:lnTo>
                  <a:pt x="106" y="802"/>
                </a:lnTo>
                <a:cubicBezTo>
                  <a:pt x="105" y="802"/>
                  <a:pt x="105" y="802"/>
                  <a:pt x="105" y="803"/>
                </a:cubicBezTo>
                <a:cubicBezTo>
                  <a:pt x="105" y="803"/>
                  <a:pt x="105" y="804"/>
                  <a:pt x="105" y="804"/>
                </a:cubicBezTo>
                <a:cubicBezTo>
                  <a:pt x="106" y="805"/>
                  <a:pt x="106" y="805"/>
                  <a:pt x="107" y="805"/>
                </a:cubicBezTo>
                <a:cubicBezTo>
                  <a:pt x="108" y="805"/>
                  <a:pt x="108" y="806"/>
                  <a:pt x="108" y="807"/>
                </a:cubicBezTo>
                <a:cubicBezTo>
                  <a:pt x="108" y="808"/>
                  <a:pt x="108" y="809"/>
                  <a:pt x="107" y="810"/>
                </a:cubicBezTo>
                <a:cubicBezTo>
                  <a:pt x="107" y="811"/>
                  <a:pt x="107" y="811"/>
                  <a:pt x="107" y="812"/>
                </a:cubicBezTo>
                <a:cubicBezTo>
                  <a:pt x="106" y="812"/>
                  <a:pt x="106" y="812"/>
                  <a:pt x="105" y="812"/>
                </a:cubicBezTo>
                <a:cubicBezTo>
                  <a:pt x="105" y="812"/>
                  <a:pt x="105" y="812"/>
                  <a:pt x="105" y="810"/>
                </a:cubicBezTo>
                <a:cubicBezTo>
                  <a:pt x="105" y="809"/>
                  <a:pt x="104" y="808"/>
                  <a:pt x="104" y="807"/>
                </a:cubicBezTo>
                <a:lnTo>
                  <a:pt x="102" y="808"/>
                </a:lnTo>
                <a:cubicBezTo>
                  <a:pt x="101" y="808"/>
                  <a:pt x="101" y="808"/>
                  <a:pt x="101" y="807"/>
                </a:cubicBezTo>
                <a:cubicBezTo>
                  <a:pt x="101" y="806"/>
                  <a:pt x="102" y="803"/>
                  <a:pt x="103" y="799"/>
                </a:cubicBezTo>
                <a:cubicBezTo>
                  <a:pt x="105" y="795"/>
                  <a:pt x="106" y="793"/>
                  <a:pt x="108" y="793"/>
                </a:cubicBezTo>
                <a:cubicBezTo>
                  <a:pt x="109" y="793"/>
                  <a:pt x="110" y="792"/>
                  <a:pt x="110" y="790"/>
                </a:cubicBezTo>
                <a:cubicBezTo>
                  <a:pt x="110" y="789"/>
                  <a:pt x="110" y="789"/>
                  <a:pt x="110" y="789"/>
                </a:cubicBezTo>
                <a:lnTo>
                  <a:pt x="107" y="790"/>
                </a:lnTo>
                <a:cubicBezTo>
                  <a:pt x="107" y="790"/>
                  <a:pt x="106" y="790"/>
                  <a:pt x="106" y="789"/>
                </a:cubicBezTo>
                <a:cubicBezTo>
                  <a:pt x="106" y="789"/>
                  <a:pt x="108" y="783"/>
                  <a:pt x="112" y="772"/>
                </a:cubicBezTo>
                <a:cubicBezTo>
                  <a:pt x="115" y="761"/>
                  <a:pt x="120" y="748"/>
                  <a:pt x="124" y="734"/>
                </a:cubicBezTo>
                <a:cubicBezTo>
                  <a:pt x="129" y="719"/>
                  <a:pt x="133" y="706"/>
                  <a:pt x="137" y="695"/>
                </a:cubicBezTo>
                <a:cubicBezTo>
                  <a:pt x="141" y="683"/>
                  <a:pt x="144" y="676"/>
                  <a:pt x="145" y="674"/>
                </a:cubicBezTo>
                <a:cubicBezTo>
                  <a:pt x="146" y="672"/>
                  <a:pt x="147" y="670"/>
                  <a:pt x="147" y="667"/>
                </a:cubicBezTo>
                <a:cubicBezTo>
                  <a:pt x="148" y="665"/>
                  <a:pt x="149" y="662"/>
                  <a:pt x="150" y="659"/>
                </a:cubicBezTo>
                <a:cubicBezTo>
                  <a:pt x="151" y="656"/>
                  <a:pt x="152" y="653"/>
                  <a:pt x="153" y="651"/>
                </a:cubicBezTo>
                <a:cubicBezTo>
                  <a:pt x="154" y="649"/>
                  <a:pt x="155" y="648"/>
                  <a:pt x="155" y="648"/>
                </a:cubicBezTo>
                <a:cubicBezTo>
                  <a:pt x="156" y="648"/>
                  <a:pt x="156" y="648"/>
                  <a:pt x="156" y="648"/>
                </a:cubicBezTo>
                <a:cubicBezTo>
                  <a:pt x="156" y="649"/>
                  <a:pt x="156" y="650"/>
                  <a:pt x="155" y="651"/>
                </a:cubicBezTo>
                <a:cubicBezTo>
                  <a:pt x="154" y="652"/>
                  <a:pt x="154" y="653"/>
                  <a:pt x="154" y="654"/>
                </a:cubicBezTo>
                <a:lnTo>
                  <a:pt x="154" y="655"/>
                </a:lnTo>
                <a:lnTo>
                  <a:pt x="155" y="655"/>
                </a:lnTo>
                <a:cubicBezTo>
                  <a:pt x="156" y="655"/>
                  <a:pt x="158" y="652"/>
                  <a:pt x="159" y="647"/>
                </a:cubicBezTo>
                <a:cubicBezTo>
                  <a:pt x="159" y="645"/>
                  <a:pt x="159" y="644"/>
                  <a:pt x="160" y="642"/>
                </a:cubicBezTo>
                <a:cubicBezTo>
                  <a:pt x="160" y="641"/>
                  <a:pt x="161" y="640"/>
                  <a:pt x="161" y="640"/>
                </a:cubicBezTo>
                <a:lnTo>
                  <a:pt x="158" y="643"/>
                </a:lnTo>
                <a:cubicBezTo>
                  <a:pt x="157" y="645"/>
                  <a:pt x="156" y="646"/>
                  <a:pt x="155" y="646"/>
                </a:cubicBezTo>
                <a:lnTo>
                  <a:pt x="155" y="645"/>
                </a:lnTo>
                <a:cubicBezTo>
                  <a:pt x="155" y="644"/>
                  <a:pt x="156" y="639"/>
                  <a:pt x="159" y="632"/>
                </a:cubicBezTo>
                <a:cubicBezTo>
                  <a:pt x="161" y="625"/>
                  <a:pt x="164" y="621"/>
                  <a:pt x="167" y="621"/>
                </a:cubicBezTo>
                <a:lnTo>
                  <a:pt x="170" y="621"/>
                </a:lnTo>
                <a:cubicBezTo>
                  <a:pt x="170" y="621"/>
                  <a:pt x="169" y="620"/>
                  <a:pt x="167" y="620"/>
                </a:cubicBezTo>
                <a:cubicBezTo>
                  <a:pt x="166" y="620"/>
                  <a:pt x="165" y="618"/>
                  <a:pt x="165" y="616"/>
                </a:cubicBezTo>
                <a:cubicBezTo>
                  <a:pt x="166" y="615"/>
                  <a:pt x="167" y="613"/>
                  <a:pt x="167" y="611"/>
                </a:cubicBezTo>
                <a:cubicBezTo>
                  <a:pt x="167" y="610"/>
                  <a:pt x="168" y="608"/>
                  <a:pt x="169" y="606"/>
                </a:cubicBezTo>
                <a:cubicBezTo>
                  <a:pt x="171" y="601"/>
                  <a:pt x="172" y="598"/>
                  <a:pt x="172" y="598"/>
                </a:cubicBezTo>
                <a:cubicBezTo>
                  <a:pt x="172" y="598"/>
                  <a:pt x="172" y="598"/>
                  <a:pt x="172" y="599"/>
                </a:cubicBezTo>
                <a:cubicBezTo>
                  <a:pt x="172" y="600"/>
                  <a:pt x="172" y="603"/>
                  <a:pt x="171" y="606"/>
                </a:cubicBezTo>
                <a:cubicBezTo>
                  <a:pt x="170" y="610"/>
                  <a:pt x="170" y="612"/>
                  <a:pt x="170" y="613"/>
                </a:cubicBezTo>
                <a:lnTo>
                  <a:pt x="170" y="614"/>
                </a:lnTo>
                <a:cubicBezTo>
                  <a:pt x="171" y="614"/>
                  <a:pt x="172" y="612"/>
                  <a:pt x="172" y="610"/>
                </a:cubicBezTo>
                <a:cubicBezTo>
                  <a:pt x="172" y="608"/>
                  <a:pt x="172" y="606"/>
                  <a:pt x="174" y="604"/>
                </a:cubicBezTo>
                <a:cubicBezTo>
                  <a:pt x="176" y="600"/>
                  <a:pt x="177" y="596"/>
                  <a:pt x="179" y="590"/>
                </a:cubicBezTo>
                <a:cubicBezTo>
                  <a:pt x="180" y="585"/>
                  <a:pt x="181" y="580"/>
                  <a:pt x="181" y="578"/>
                </a:cubicBezTo>
                <a:cubicBezTo>
                  <a:pt x="181" y="577"/>
                  <a:pt x="181" y="577"/>
                  <a:pt x="181" y="576"/>
                </a:cubicBezTo>
                <a:cubicBezTo>
                  <a:pt x="181" y="576"/>
                  <a:pt x="180" y="575"/>
                  <a:pt x="180" y="575"/>
                </a:cubicBezTo>
                <a:lnTo>
                  <a:pt x="181" y="575"/>
                </a:lnTo>
                <a:cubicBezTo>
                  <a:pt x="182" y="575"/>
                  <a:pt x="183" y="573"/>
                  <a:pt x="184" y="571"/>
                </a:cubicBezTo>
                <a:cubicBezTo>
                  <a:pt x="186" y="568"/>
                  <a:pt x="187" y="565"/>
                  <a:pt x="188" y="561"/>
                </a:cubicBezTo>
                <a:cubicBezTo>
                  <a:pt x="205" y="513"/>
                  <a:pt x="215" y="489"/>
                  <a:pt x="217" y="489"/>
                </a:cubicBezTo>
                <a:lnTo>
                  <a:pt x="218" y="489"/>
                </a:lnTo>
                <a:cubicBezTo>
                  <a:pt x="218" y="490"/>
                  <a:pt x="218" y="490"/>
                  <a:pt x="218" y="491"/>
                </a:cubicBezTo>
                <a:cubicBezTo>
                  <a:pt x="218" y="492"/>
                  <a:pt x="218" y="492"/>
                  <a:pt x="218" y="492"/>
                </a:cubicBezTo>
                <a:cubicBezTo>
                  <a:pt x="216" y="494"/>
                  <a:pt x="215" y="496"/>
                  <a:pt x="215" y="499"/>
                </a:cubicBezTo>
                <a:cubicBezTo>
                  <a:pt x="214" y="501"/>
                  <a:pt x="214" y="502"/>
                  <a:pt x="213" y="502"/>
                </a:cubicBezTo>
                <a:cubicBezTo>
                  <a:pt x="212" y="503"/>
                  <a:pt x="212" y="504"/>
                  <a:pt x="212" y="505"/>
                </a:cubicBezTo>
                <a:lnTo>
                  <a:pt x="212" y="507"/>
                </a:lnTo>
                <a:cubicBezTo>
                  <a:pt x="212" y="508"/>
                  <a:pt x="212" y="509"/>
                  <a:pt x="211" y="509"/>
                </a:cubicBezTo>
                <a:cubicBezTo>
                  <a:pt x="210" y="509"/>
                  <a:pt x="210" y="510"/>
                  <a:pt x="210" y="511"/>
                </a:cubicBezTo>
                <a:lnTo>
                  <a:pt x="211" y="515"/>
                </a:lnTo>
                <a:cubicBezTo>
                  <a:pt x="211" y="515"/>
                  <a:pt x="211" y="515"/>
                  <a:pt x="210" y="515"/>
                </a:cubicBezTo>
                <a:lnTo>
                  <a:pt x="208" y="514"/>
                </a:lnTo>
                <a:lnTo>
                  <a:pt x="208" y="515"/>
                </a:lnTo>
                <a:cubicBezTo>
                  <a:pt x="208" y="518"/>
                  <a:pt x="206" y="524"/>
                  <a:pt x="203" y="534"/>
                </a:cubicBezTo>
                <a:cubicBezTo>
                  <a:pt x="200" y="543"/>
                  <a:pt x="199" y="549"/>
                  <a:pt x="199" y="553"/>
                </a:cubicBezTo>
                <a:cubicBezTo>
                  <a:pt x="199" y="554"/>
                  <a:pt x="199" y="554"/>
                  <a:pt x="199" y="555"/>
                </a:cubicBezTo>
                <a:cubicBezTo>
                  <a:pt x="200" y="555"/>
                  <a:pt x="200" y="554"/>
                  <a:pt x="201" y="552"/>
                </a:cubicBezTo>
                <a:cubicBezTo>
                  <a:pt x="202" y="551"/>
                  <a:pt x="203" y="549"/>
                  <a:pt x="203" y="548"/>
                </a:cubicBezTo>
                <a:cubicBezTo>
                  <a:pt x="203" y="547"/>
                  <a:pt x="203" y="546"/>
                  <a:pt x="202" y="546"/>
                </a:cubicBezTo>
                <a:cubicBezTo>
                  <a:pt x="202" y="546"/>
                  <a:pt x="202" y="545"/>
                  <a:pt x="202" y="545"/>
                </a:cubicBezTo>
                <a:cubicBezTo>
                  <a:pt x="202" y="544"/>
                  <a:pt x="202" y="544"/>
                  <a:pt x="203" y="544"/>
                </a:cubicBezTo>
                <a:cubicBezTo>
                  <a:pt x="204" y="544"/>
                  <a:pt x="207" y="538"/>
                  <a:pt x="212" y="524"/>
                </a:cubicBezTo>
                <a:cubicBezTo>
                  <a:pt x="217" y="511"/>
                  <a:pt x="219" y="504"/>
                  <a:pt x="220" y="504"/>
                </a:cubicBezTo>
                <a:cubicBezTo>
                  <a:pt x="221" y="503"/>
                  <a:pt x="221" y="502"/>
                  <a:pt x="221" y="500"/>
                </a:cubicBezTo>
                <a:cubicBezTo>
                  <a:pt x="221" y="498"/>
                  <a:pt x="222" y="497"/>
                  <a:pt x="224" y="496"/>
                </a:cubicBezTo>
                <a:cubicBezTo>
                  <a:pt x="225" y="496"/>
                  <a:pt x="226" y="495"/>
                  <a:pt x="226" y="493"/>
                </a:cubicBezTo>
                <a:lnTo>
                  <a:pt x="225" y="488"/>
                </a:lnTo>
                <a:cubicBezTo>
                  <a:pt x="225" y="488"/>
                  <a:pt x="225" y="487"/>
                  <a:pt x="225" y="487"/>
                </a:cubicBezTo>
                <a:lnTo>
                  <a:pt x="228" y="488"/>
                </a:lnTo>
                <a:cubicBezTo>
                  <a:pt x="228" y="488"/>
                  <a:pt x="228" y="488"/>
                  <a:pt x="228" y="488"/>
                </a:cubicBezTo>
                <a:cubicBezTo>
                  <a:pt x="228" y="487"/>
                  <a:pt x="228" y="487"/>
                  <a:pt x="228" y="486"/>
                </a:cubicBezTo>
                <a:cubicBezTo>
                  <a:pt x="227" y="486"/>
                  <a:pt x="227" y="485"/>
                  <a:pt x="227" y="484"/>
                </a:cubicBezTo>
                <a:cubicBezTo>
                  <a:pt x="227" y="484"/>
                  <a:pt x="227" y="484"/>
                  <a:pt x="228" y="484"/>
                </a:cubicBezTo>
                <a:lnTo>
                  <a:pt x="232" y="485"/>
                </a:lnTo>
                <a:cubicBezTo>
                  <a:pt x="232" y="485"/>
                  <a:pt x="231" y="483"/>
                  <a:pt x="230" y="482"/>
                </a:cubicBezTo>
                <a:cubicBezTo>
                  <a:pt x="229" y="480"/>
                  <a:pt x="229" y="479"/>
                  <a:pt x="229" y="478"/>
                </a:cubicBezTo>
                <a:lnTo>
                  <a:pt x="229" y="477"/>
                </a:lnTo>
                <a:lnTo>
                  <a:pt x="229" y="477"/>
                </a:lnTo>
                <a:cubicBezTo>
                  <a:pt x="230" y="477"/>
                  <a:pt x="230" y="478"/>
                  <a:pt x="230" y="479"/>
                </a:cubicBezTo>
                <a:cubicBezTo>
                  <a:pt x="231" y="480"/>
                  <a:pt x="231" y="480"/>
                  <a:pt x="231" y="480"/>
                </a:cubicBezTo>
                <a:cubicBezTo>
                  <a:pt x="231" y="480"/>
                  <a:pt x="232" y="480"/>
                  <a:pt x="233" y="478"/>
                </a:cubicBezTo>
                <a:cubicBezTo>
                  <a:pt x="234" y="476"/>
                  <a:pt x="235" y="475"/>
                  <a:pt x="235" y="474"/>
                </a:cubicBezTo>
                <a:cubicBezTo>
                  <a:pt x="235" y="473"/>
                  <a:pt x="234" y="472"/>
                  <a:pt x="234" y="471"/>
                </a:cubicBezTo>
                <a:cubicBezTo>
                  <a:pt x="233" y="470"/>
                  <a:pt x="232" y="469"/>
                  <a:pt x="232" y="468"/>
                </a:cubicBezTo>
                <a:lnTo>
                  <a:pt x="233" y="467"/>
                </a:lnTo>
                <a:lnTo>
                  <a:pt x="233" y="467"/>
                </a:lnTo>
                <a:cubicBezTo>
                  <a:pt x="234" y="467"/>
                  <a:pt x="234" y="468"/>
                  <a:pt x="234" y="469"/>
                </a:cubicBezTo>
                <a:cubicBezTo>
                  <a:pt x="234" y="470"/>
                  <a:pt x="234" y="470"/>
                  <a:pt x="235" y="470"/>
                </a:cubicBezTo>
                <a:cubicBezTo>
                  <a:pt x="235" y="470"/>
                  <a:pt x="236" y="470"/>
                  <a:pt x="237" y="469"/>
                </a:cubicBezTo>
                <a:cubicBezTo>
                  <a:pt x="239" y="467"/>
                  <a:pt x="239" y="465"/>
                  <a:pt x="239" y="463"/>
                </a:cubicBezTo>
                <a:cubicBezTo>
                  <a:pt x="239" y="462"/>
                  <a:pt x="239" y="461"/>
                  <a:pt x="238" y="461"/>
                </a:cubicBezTo>
                <a:cubicBezTo>
                  <a:pt x="238" y="460"/>
                  <a:pt x="237" y="460"/>
                  <a:pt x="236" y="460"/>
                </a:cubicBezTo>
                <a:cubicBezTo>
                  <a:pt x="236" y="459"/>
                  <a:pt x="236" y="459"/>
                  <a:pt x="236" y="459"/>
                </a:cubicBezTo>
                <a:cubicBezTo>
                  <a:pt x="236" y="458"/>
                  <a:pt x="236" y="458"/>
                  <a:pt x="236" y="457"/>
                </a:cubicBezTo>
                <a:cubicBezTo>
                  <a:pt x="236" y="457"/>
                  <a:pt x="238" y="457"/>
                  <a:pt x="240" y="457"/>
                </a:cubicBezTo>
                <a:cubicBezTo>
                  <a:pt x="242" y="457"/>
                  <a:pt x="245" y="452"/>
                  <a:pt x="249" y="441"/>
                </a:cubicBezTo>
                <a:cubicBezTo>
                  <a:pt x="250" y="437"/>
                  <a:pt x="251" y="434"/>
                  <a:pt x="251" y="431"/>
                </a:cubicBezTo>
                <a:cubicBezTo>
                  <a:pt x="251" y="431"/>
                  <a:pt x="251" y="430"/>
                  <a:pt x="250" y="430"/>
                </a:cubicBezTo>
                <a:cubicBezTo>
                  <a:pt x="250" y="429"/>
                  <a:pt x="250" y="429"/>
                  <a:pt x="250" y="429"/>
                </a:cubicBezTo>
                <a:cubicBezTo>
                  <a:pt x="249" y="429"/>
                  <a:pt x="247" y="433"/>
                  <a:pt x="244" y="439"/>
                </a:cubicBezTo>
                <a:lnTo>
                  <a:pt x="242" y="447"/>
                </a:lnTo>
                <a:cubicBezTo>
                  <a:pt x="241" y="451"/>
                  <a:pt x="241" y="453"/>
                  <a:pt x="241" y="454"/>
                </a:cubicBezTo>
                <a:cubicBezTo>
                  <a:pt x="241" y="454"/>
                  <a:pt x="240" y="455"/>
                  <a:pt x="239" y="455"/>
                </a:cubicBezTo>
                <a:cubicBezTo>
                  <a:pt x="239" y="455"/>
                  <a:pt x="238" y="454"/>
                  <a:pt x="238" y="452"/>
                </a:cubicBezTo>
                <a:cubicBezTo>
                  <a:pt x="238" y="449"/>
                  <a:pt x="240" y="443"/>
                  <a:pt x="244" y="433"/>
                </a:cubicBezTo>
                <a:cubicBezTo>
                  <a:pt x="248" y="426"/>
                  <a:pt x="251" y="422"/>
                  <a:pt x="251" y="422"/>
                </a:cubicBezTo>
                <a:cubicBezTo>
                  <a:pt x="253" y="422"/>
                  <a:pt x="253" y="422"/>
                  <a:pt x="253" y="422"/>
                </a:cubicBezTo>
                <a:cubicBezTo>
                  <a:pt x="253" y="423"/>
                  <a:pt x="253" y="423"/>
                  <a:pt x="251" y="424"/>
                </a:cubicBezTo>
                <a:cubicBezTo>
                  <a:pt x="250" y="424"/>
                  <a:pt x="250" y="425"/>
                  <a:pt x="250" y="426"/>
                </a:cubicBezTo>
                <a:cubicBezTo>
                  <a:pt x="250" y="426"/>
                  <a:pt x="250" y="427"/>
                  <a:pt x="250" y="427"/>
                </a:cubicBezTo>
                <a:cubicBezTo>
                  <a:pt x="251" y="428"/>
                  <a:pt x="251" y="428"/>
                  <a:pt x="251" y="428"/>
                </a:cubicBezTo>
                <a:cubicBezTo>
                  <a:pt x="253" y="428"/>
                  <a:pt x="255" y="425"/>
                  <a:pt x="257" y="419"/>
                </a:cubicBezTo>
                <a:lnTo>
                  <a:pt x="261" y="406"/>
                </a:lnTo>
                <a:cubicBezTo>
                  <a:pt x="260" y="406"/>
                  <a:pt x="260" y="406"/>
                  <a:pt x="259" y="406"/>
                </a:cubicBezTo>
                <a:lnTo>
                  <a:pt x="258" y="406"/>
                </a:lnTo>
                <a:cubicBezTo>
                  <a:pt x="258" y="406"/>
                  <a:pt x="257" y="406"/>
                  <a:pt x="257" y="406"/>
                </a:cubicBezTo>
                <a:cubicBezTo>
                  <a:pt x="257" y="405"/>
                  <a:pt x="258" y="404"/>
                  <a:pt x="260" y="404"/>
                </a:cubicBezTo>
                <a:lnTo>
                  <a:pt x="262" y="404"/>
                </a:lnTo>
                <a:cubicBezTo>
                  <a:pt x="263" y="404"/>
                  <a:pt x="263" y="404"/>
                  <a:pt x="263" y="402"/>
                </a:cubicBezTo>
                <a:cubicBezTo>
                  <a:pt x="263" y="401"/>
                  <a:pt x="263" y="400"/>
                  <a:pt x="262" y="400"/>
                </a:cubicBezTo>
                <a:lnTo>
                  <a:pt x="260" y="401"/>
                </a:lnTo>
                <a:cubicBezTo>
                  <a:pt x="260" y="401"/>
                  <a:pt x="259" y="401"/>
                  <a:pt x="259" y="400"/>
                </a:cubicBezTo>
                <a:cubicBezTo>
                  <a:pt x="259" y="399"/>
                  <a:pt x="260" y="397"/>
                  <a:pt x="262" y="395"/>
                </a:cubicBezTo>
                <a:cubicBezTo>
                  <a:pt x="262" y="394"/>
                  <a:pt x="263" y="393"/>
                  <a:pt x="263" y="393"/>
                </a:cubicBezTo>
                <a:cubicBezTo>
                  <a:pt x="263" y="393"/>
                  <a:pt x="264" y="393"/>
                  <a:pt x="265" y="392"/>
                </a:cubicBezTo>
                <a:lnTo>
                  <a:pt x="266" y="393"/>
                </a:lnTo>
                <a:cubicBezTo>
                  <a:pt x="266" y="393"/>
                  <a:pt x="267" y="392"/>
                  <a:pt x="267" y="391"/>
                </a:cubicBezTo>
                <a:cubicBezTo>
                  <a:pt x="267" y="390"/>
                  <a:pt x="267" y="389"/>
                  <a:pt x="268" y="388"/>
                </a:cubicBezTo>
                <a:cubicBezTo>
                  <a:pt x="268" y="388"/>
                  <a:pt x="269" y="387"/>
                  <a:pt x="269" y="387"/>
                </a:cubicBezTo>
                <a:cubicBezTo>
                  <a:pt x="270" y="387"/>
                  <a:pt x="270" y="387"/>
                  <a:pt x="270" y="385"/>
                </a:cubicBezTo>
                <a:cubicBezTo>
                  <a:pt x="269" y="384"/>
                  <a:pt x="268" y="384"/>
                  <a:pt x="268" y="384"/>
                </a:cubicBezTo>
                <a:lnTo>
                  <a:pt x="266" y="385"/>
                </a:lnTo>
                <a:lnTo>
                  <a:pt x="266" y="384"/>
                </a:lnTo>
                <a:cubicBezTo>
                  <a:pt x="266" y="384"/>
                  <a:pt x="266" y="383"/>
                  <a:pt x="267" y="381"/>
                </a:cubicBezTo>
                <a:cubicBezTo>
                  <a:pt x="268" y="380"/>
                  <a:pt x="268" y="379"/>
                  <a:pt x="269" y="378"/>
                </a:cubicBezTo>
                <a:cubicBezTo>
                  <a:pt x="270" y="377"/>
                  <a:pt x="271" y="377"/>
                  <a:pt x="272" y="377"/>
                </a:cubicBezTo>
                <a:cubicBezTo>
                  <a:pt x="273" y="377"/>
                  <a:pt x="274" y="377"/>
                  <a:pt x="274" y="376"/>
                </a:cubicBezTo>
                <a:lnTo>
                  <a:pt x="273" y="376"/>
                </a:lnTo>
                <a:cubicBezTo>
                  <a:pt x="272" y="375"/>
                  <a:pt x="272" y="375"/>
                  <a:pt x="272" y="374"/>
                </a:cubicBezTo>
                <a:cubicBezTo>
                  <a:pt x="272" y="373"/>
                  <a:pt x="273" y="372"/>
                  <a:pt x="274" y="371"/>
                </a:cubicBezTo>
                <a:lnTo>
                  <a:pt x="276" y="370"/>
                </a:lnTo>
                <a:lnTo>
                  <a:pt x="273" y="370"/>
                </a:lnTo>
                <a:cubicBezTo>
                  <a:pt x="273" y="370"/>
                  <a:pt x="273" y="370"/>
                  <a:pt x="273" y="370"/>
                </a:cubicBezTo>
                <a:cubicBezTo>
                  <a:pt x="273" y="369"/>
                  <a:pt x="273" y="368"/>
                  <a:pt x="275" y="366"/>
                </a:cubicBezTo>
                <a:cubicBezTo>
                  <a:pt x="276" y="364"/>
                  <a:pt x="277" y="362"/>
                  <a:pt x="277" y="362"/>
                </a:cubicBezTo>
                <a:cubicBezTo>
                  <a:pt x="277" y="361"/>
                  <a:pt x="277" y="360"/>
                  <a:pt x="277" y="360"/>
                </a:cubicBezTo>
                <a:lnTo>
                  <a:pt x="277" y="359"/>
                </a:lnTo>
                <a:lnTo>
                  <a:pt x="279" y="360"/>
                </a:lnTo>
                <a:cubicBezTo>
                  <a:pt x="280" y="360"/>
                  <a:pt x="280" y="360"/>
                  <a:pt x="280" y="359"/>
                </a:cubicBezTo>
                <a:cubicBezTo>
                  <a:pt x="280" y="357"/>
                  <a:pt x="280" y="357"/>
                  <a:pt x="279" y="357"/>
                </a:cubicBezTo>
                <a:cubicBezTo>
                  <a:pt x="278" y="357"/>
                  <a:pt x="277" y="356"/>
                  <a:pt x="277" y="355"/>
                </a:cubicBezTo>
                <a:cubicBezTo>
                  <a:pt x="277" y="355"/>
                  <a:pt x="278" y="354"/>
                  <a:pt x="279" y="352"/>
                </a:cubicBezTo>
                <a:cubicBezTo>
                  <a:pt x="280" y="350"/>
                  <a:pt x="281" y="350"/>
                  <a:pt x="283" y="350"/>
                </a:cubicBezTo>
                <a:lnTo>
                  <a:pt x="284" y="350"/>
                </a:lnTo>
                <a:lnTo>
                  <a:pt x="283" y="344"/>
                </a:lnTo>
                <a:cubicBezTo>
                  <a:pt x="283" y="343"/>
                  <a:pt x="283" y="343"/>
                  <a:pt x="283" y="343"/>
                </a:cubicBezTo>
                <a:lnTo>
                  <a:pt x="285" y="343"/>
                </a:lnTo>
                <a:cubicBezTo>
                  <a:pt x="286" y="343"/>
                  <a:pt x="288" y="342"/>
                  <a:pt x="290" y="338"/>
                </a:cubicBezTo>
                <a:cubicBezTo>
                  <a:pt x="291" y="334"/>
                  <a:pt x="292" y="331"/>
                  <a:pt x="292" y="330"/>
                </a:cubicBezTo>
                <a:cubicBezTo>
                  <a:pt x="292" y="329"/>
                  <a:pt x="291" y="329"/>
                  <a:pt x="291" y="329"/>
                </a:cubicBezTo>
                <a:lnTo>
                  <a:pt x="289" y="329"/>
                </a:lnTo>
                <a:lnTo>
                  <a:pt x="289" y="329"/>
                </a:lnTo>
                <a:cubicBezTo>
                  <a:pt x="289" y="328"/>
                  <a:pt x="290" y="327"/>
                  <a:pt x="291" y="325"/>
                </a:cubicBezTo>
                <a:cubicBezTo>
                  <a:pt x="291" y="323"/>
                  <a:pt x="292" y="322"/>
                  <a:pt x="293" y="322"/>
                </a:cubicBezTo>
                <a:cubicBezTo>
                  <a:pt x="293" y="322"/>
                  <a:pt x="294" y="322"/>
                  <a:pt x="294" y="322"/>
                </a:cubicBezTo>
                <a:cubicBezTo>
                  <a:pt x="294" y="322"/>
                  <a:pt x="294" y="323"/>
                  <a:pt x="295" y="323"/>
                </a:cubicBezTo>
                <a:cubicBezTo>
                  <a:pt x="295" y="323"/>
                  <a:pt x="296" y="322"/>
                  <a:pt x="296" y="321"/>
                </a:cubicBezTo>
                <a:cubicBezTo>
                  <a:pt x="296" y="319"/>
                  <a:pt x="296" y="318"/>
                  <a:pt x="296" y="318"/>
                </a:cubicBezTo>
                <a:cubicBezTo>
                  <a:pt x="296" y="317"/>
                  <a:pt x="296" y="317"/>
                  <a:pt x="296" y="317"/>
                </a:cubicBezTo>
                <a:lnTo>
                  <a:pt x="294" y="318"/>
                </a:lnTo>
                <a:cubicBezTo>
                  <a:pt x="294" y="318"/>
                  <a:pt x="294" y="317"/>
                  <a:pt x="294" y="317"/>
                </a:cubicBezTo>
                <a:cubicBezTo>
                  <a:pt x="294" y="317"/>
                  <a:pt x="294" y="316"/>
                  <a:pt x="294" y="316"/>
                </a:cubicBezTo>
                <a:cubicBezTo>
                  <a:pt x="295" y="315"/>
                  <a:pt x="296" y="313"/>
                  <a:pt x="299" y="311"/>
                </a:cubicBezTo>
                <a:lnTo>
                  <a:pt x="298" y="311"/>
                </a:lnTo>
                <a:cubicBezTo>
                  <a:pt x="297" y="311"/>
                  <a:pt x="297" y="311"/>
                  <a:pt x="297" y="310"/>
                </a:cubicBezTo>
                <a:cubicBezTo>
                  <a:pt x="297" y="309"/>
                  <a:pt x="298" y="308"/>
                  <a:pt x="298" y="305"/>
                </a:cubicBezTo>
                <a:cubicBezTo>
                  <a:pt x="299" y="302"/>
                  <a:pt x="300" y="300"/>
                  <a:pt x="301" y="300"/>
                </a:cubicBezTo>
                <a:lnTo>
                  <a:pt x="302" y="301"/>
                </a:lnTo>
                <a:cubicBezTo>
                  <a:pt x="302" y="301"/>
                  <a:pt x="303" y="301"/>
                  <a:pt x="303" y="301"/>
                </a:cubicBezTo>
                <a:cubicBezTo>
                  <a:pt x="303" y="301"/>
                  <a:pt x="303" y="301"/>
                  <a:pt x="303" y="300"/>
                </a:cubicBezTo>
                <a:lnTo>
                  <a:pt x="302" y="297"/>
                </a:lnTo>
                <a:cubicBezTo>
                  <a:pt x="302" y="296"/>
                  <a:pt x="303" y="295"/>
                  <a:pt x="304" y="295"/>
                </a:cubicBezTo>
                <a:cubicBezTo>
                  <a:pt x="305" y="295"/>
                  <a:pt x="305" y="295"/>
                  <a:pt x="305" y="294"/>
                </a:cubicBezTo>
                <a:lnTo>
                  <a:pt x="304" y="292"/>
                </a:lnTo>
                <a:cubicBezTo>
                  <a:pt x="304" y="291"/>
                  <a:pt x="305" y="287"/>
                  <a:pt x="308" y="281"/>
                </a:cubicBezTo>
                <a:cubicBezTo>
                  <a:pt x="311" y="272"/>
                  <a:pt x="316" y="259"/>
                  <a:pt x="323" y="243"/>
                </a:cubicBezTo>
                <a:lnTo>
                  <a:pt x="328" y="236"/>
                </a:lnTo>
                <a:lnTo>
                  <a:pt x="329" y="236"/>
                </a:lnTo>
                <a:cubicBezTo>
                  <a:pt x="329" y="236"/>
                  <a:pt x="328" y="235"/>
                  <a:pt x="328" y="235"/>
                </a:cubicBezTo>
                <a:cubicBezTo>
                  <a:pt x="328" y="235"/>
                  <a:pt x="327" y="234"/>
                  <a:pt x="327" y="233"/>
                </a:cubicBezTo>
                <a:cubicBezTo>
                  <a:pt x="327" y="232"/>
                  <a:pt x="328" y="230"/>
                  <a:pt x="330" y="227"/>
                </a:cubicBezTo>
                <a:cubicBezTo>
                  <a:pt x="331" y="225"/>
                  <a:pt x="332" y="223"/>
                  <a:pt x="332" y="222"/>
                </a:cubicBezTo>
                <a:lnTo>
                  <a:pt x="332" y="222"/>
                </a:lnTo>
                <a:cubicBezTo>
                  <a:pt x="332" y="221"/>
                  <a:pt x="332" y="219"/>
                  <a:pt x="333" y="217"/>
                </a:cubicBezTo>
                <a:cubicBezTo>
                  <a:pt x="335" y="214"/>
                  <a:pt x="335" y="213"/>
                  <a:pt x="335" y="212"/>
                </a:cubicBezTo>
                <a:lnTo>
                  <a:pt x="338" y="206"/>
                </a:lnTo>
                <a:cubicBezTo>
                  <a:pt x="340" y="201"/>
                  <a:pt x="341" y="198"/>
                  <a:pt x="342" y="198"/>
                </a:cubicBezTo>
                <a:cubicBezTo>
                  <a:pt x="343" y="198"/>
                  <a:pt x="343" y="197"/>
                  <a:pt x="343" y="196"/>
                </a:cubicBezTo>
                <a:lnTo>
                  <a:pt x="343" y="194"/>
                </a:lnTo>
                <a:cubicBezTo>
                  <a:pt x="343" y="191"/>
                  <a:pt x="343" y="189"/>
                  <a:pt x="345" y="188"/>
                </a:cubicBezTo>
                <a:cubicBezTo>
                  <a:pt x="346" y="188"/>
                  <a:pt x="347" y="186"/>
                  <a:pt x="347" y="184"/>
                </a:cubicBezTo>
                <a:cubicBezTo>
                  <a:pt x="347" y="182"/>
                  <a:pt x="347" y="181"/>
                  <a:pt x="348" y="179"/>
                </a:cubicBezTo>
                <a:cubicBezTo>
                  <a:pt x="349" y="178"/>
                  <a:pt x="350" y="177"/>
                  <a:pt x="350" y="177"/>
                </a:cubicBezTo>
                <a:cubicBezTo>
                  <a:pt x="350" y="177"/>
                  <a:pt x="350" y="176"/>
                  <a:pt x="351" y="175"/>
                </a:cubicBezTo>
                <a:lnTo>
                  <a:pt x="351" y="174"/>
                </a:lnTo>
                <a:cubicBezTo>
                  <a:pt x="351" y="171"/>
                  <a:pt x="353" y="164"/>
                  <a:pt x="357" y="154"/>
                </a:cubicBezTo>
                <a:cubicBezTo>
                  <a:pt x="361" y="144"/>
                  <a:pt x="363" y="139"/>
                  <a:pt x="364" y="139"/>
                </a:cubicBezTo>
                <a:cubicBezTo>
                  <a:pt x="364" y="139"/>
                  <a:pt x="365" y="138"/>
                  <a:pt x="365" y="137"/>
                </a:cubicBezTo>
                <a:lnTo>
                  <a:pt x="365" y="136"/>
                </a:lnTo>
                <a:cubicBezTo>
                  <a:pt x="365" y="133"/>
                  <a:pt x="367" y="127"/>
                  <a:pt x="370" y="116"/>
                </a:cubicBezTo>
                <a:cubicBezTo>
                  <a:pt x="375" y="104"/>
                  <a:pt x="379" y="90"/>
                  <a:pt x="383" y="74"/>
                </a:cubicBezTo>
                <a:cubicBezTo>
                  <a:pt x="387" y="58"/>
                  <a:pt x="389" y="48"/>
                  <a:pt x="389" y="42"/>
                </a:cubicBezTo>
                <a:cubicBezTo>
                  <a:pt x="389" y="37"/>
                  <a:pt x="387" y="34"/>
                  <a:pt x="384" y="34"/>
                </a:cubicBezTo>
                <a:cubicBezTo>
                  <a:pt x="381" y="34"/>
                  <a:pt x="375" y="36"/>
                  <a:pt x="365" y="41"/>
                </a:cubicBezTo>
                <a:cubicBezTo>
                  <a:pt x="359" y="43"/>
                  <a:pt x="355" y="45"/>
                  <a:pt x="353" y="45"/>
                </a:cubicBezTo>
                <a:cubicBezTo>
                  <a:pt x="351" y="45"/>
                  <a:pt x="350" y="44"/>
                  <a:pt x="350" y="44"/>
                </a:cubicBezTo>
                <a:cubicBezTo>
                  <a:pt x="350" y="43"/>
                  <a:pt x="349" y="43"/>
                  <a:pt x="348" y="43"/>
                </a:cubicBezTo>
                <a:cubicBezTo>
                  <a:pt x="347" y="43"/>
                  <a:pt x="344" y="44"/>
                  <a:pt x="340" y="46"/>
                </a:cubicBezTo>
                <a:cubicBezTo>
                  <a:pt x="336" y="48"/>
                  <a:pt x="333" y="50"/>
                  <a:pt x="333" y="51"/>
                </a:cubicBezTo>
                <a:lnTo>
                  <a:pt x="335" y="52"/>
                </a:lnTo>
                <a:cubicBezTo>
                  <a:pt x="336" y="52"/>
                  <a:pt x="336" y="52"/>
                  <a:pt x="336" y="51"/>
                </a:cubicBezTo>
                <a:cubicBezTo>
                  <a:pt x="336" y="50"/>
                  <a:pt x="337" y="50"/>
                  <a:pt x="337" y="50"/>
                </a:cubicBezTo>
                <a:lnTo>
                  <a:pt x="339" y="50"/>
                </a:lnTo>
                <a:cubicBezTo>
                  <a:pt x="340" y="50"/>
                  <a:pt x="340" y="50"/>
                  <a:pt x="340" y="49"/>
                </a:cubicBezTo>
                <a:cubicBezTo>
                  <a:pt x="340" y="48"/>
                  <a:pt x="341" y="48"/>
                  <a:pt x="342" y="48"/>
                </a:cubicBezTo>
                <a:cubicBezTo>
                  <a:pt x="342" y="48"/>
                  <a:pt x="343" y="48"/>
                  <a:pt x="343" y="48"/>
                </a:cubicBezTo>
                <a:cubicBezTo>
                  <a:pt x="344" y="48"/>
                  <a:pt x="345" y="48"/>
                  <a:pt x="345" y="46"/>
                </a:cubicBezTo>
                <a:cubicBezTo>
                  <a:pt x="346" y="45"/>
                  <a:pt x="347" y="45"/>
                  <a:pt x="348" y="45"/>
                </a:cubicBezTo>
                <a:cubicBezTo>
                  <a:pt x="349" y="45"/>
                  <a:pt x="349" y="45"/>
                  <a:pt x="350" y="47"/>
                </a:cubicBezTo>
                <a:cubicBezTo>
                  <a:pt x="350" y="47"/>
                  <a:pt x="349" y="48"/>
                  <a:pt x="348" y="49"/>
                </a:cubicBezTo>
                <a:cubicBezTo>
                  <a:pt x="347" y="50"/>
                  <a:pt x="345" y="51"/>
                  <a:pt x="343" y="51"/>
                </a:cubicBezTo>
                <a:cubicBezTo>
                  <a:pt x="340" y="53"/>
                  <a:pt x="338" y="54"/>
                  <a:pt x="335" y="56"/>
                </a:cubicBezTo>
                <a:cubicBezTo>
                  <a:pt x="333" y="58"/>
                  <a:pt x="331" y="59"/>
                  <a:pt x="329" y="59"/>
                </a:cubicBezTo>
                <a:cubicBezTo>
                  <a:pt x="327" y="60"/>
                  <a:pt x="325" y="62"/>
                  <a:pt x="323" y="63"/>
                </a:cubicBezTo>
                <a:cubicBezTo>
                  <a:pt x="321" y="66"/>
                  <a:pt x="319" y="66"/>
                  <a:pt x="318" y="66"/>
                </a:cubicBezTo>
                <a:lnTo>
                  <a:pt x="317" y="66"/>
                </a:lnTo>
                <a:cubicBezTo>
                  <a:pt x="316" y="66"/>
                  <a:pt x="315" y="66"/>
                  <a:pt x="315" y="67"/>
                </a:cubicBezTo>
                <a:cubicBezTo>
                  <a:pt x="315" y="68"/>
                  <a:pt x="314" y="69"/>
                  <a:pt x="311" y="71"/>
                </a:cubicBezTo>
                <a:cubicBezTo>
                  <a:pt x="309" y="73"/>
                  <a:pt x="306" y="75"/>
                  <a:pt x="303" y="76"/>
                </a:cubicBezTo>
                <a:cubicBezTo>
                  <a:pt x="300" y="78"/>
                  <a:pt x="297" y="78"/>
                  <a:pt x="296" y="78"/>
                </a:cubicBezTo>
                <a:lnTo>
                  <a:pt x="294" y="78"/>
                </a:lnTo>
                <a:lnTo>
                  <a:pt x="295" y="78"/>
                </a:lnTo>
                <a:cubicBezTo>
                  <a:pt x="295" y="79"/>
                  <a:pt x="295" y="80"/>
                  <a:pt x="295" y="81"/>
                </a:cubicBezTo>
                <a:cubicBezTo>
                  <a:pt x="295" y="81"/>
                  <a:pt x="295" y="82"/>
                  <a:pt x="294" y="82"/>
                </a:cubicBezTo>
                <a:cubicBezTo>
                  <a:pt x="293" y="83"/>
                  <a:pt x="293" y="83"/>
                  <a:pt x="292" y="83"/>
                </a:cubicBezTo>
                <a:cubicBezTo>
                  <a:pt x="291" y="83"/>
                  <a:pt x="290" y="83"/>
                  <a:pt x="289" y="81"/>
                </a:cubicBezTo>
                <a:cubicBezTo>
                  <a:pt x="288" y="80"/>
                  <a:pt x="286" y="80"/>
                  <a:pt x="284" y="80"/>
                </a:cubicBezTo>
                <a:cubicBezTo>
                  <a:pt x="283" y="80"/>
                  <a:pt x="283" y="80"/>
                  <a:pt x="283" y="80"/>
                </a:cubicBezTo>
                <a:cubicBezTo>
                  <a:pt x="283" y="80"/>
                  <a:pt x="284" y="81"/>
                  <a:pt x="286" y="82"/>
                </a:cubicBezTo>
                <a:cubicBezTo>
                  <a:pt x="288" y="83"/>
                  <a:pt x="289" y="84"/>
                  <a:pt x="289" y="85"/>
                </a:cubicBezTo>
                <a:cubicBezTo>
                  <a:pt x="289" y="85"/>
                  <a:pt x="289" y="85"/>
                  <a:pt x="288" y="86"/>
                </a:cubicBezTo>
                <a:cubicBezTo>
                  <a:pt x="288" y="86"/>
                  <a:pt x="287" y="87"/>
                  <a:pt x="286" y="87"/>
                </a:cubicBezTo>
                <a:cubicBezTo>
                  <a:pt x="285" y="87"/>
                  <a:pt x="284" y="86"/>
                  <a:pt x="283" y="86"/>
                </a:cubicBezTo>
                <a:cubicBezTo>
                  <a:pt x="282" y="85"/>
                  <a:pt x="281" y="85"/>
                  <a:pt x="281" y="85"/>
                </a:cubicBezTo>
                <a:cubicBezTo>
                  <a:pt x="276" y="85"/>
                  <a:pt x="263" y="94"/>
                  <a:pt x="242" y="110"/>
                </a:cubicBezTo>
                <a:cubicBezTo>
                  <a:pt x="235" y="117"/>
                  <a:pt x="231" y="120"/>
                  <a:pt x="229" y="120"/>
                </a:cubicBezTo>
                <a:cubicBezTo>
                  <a:pt x="229" y="118"/>
                  <a:pt x="238" y="110"/>
                  <a:pt x="257" y="97"/>
                </a:cubicBezTo>
                <a:cubicBezTo>
                  <a:pt x="275" y="83"/>
                  <a:pt x="286" y="76"/>
                  <a:pt x="288" y="76"/>
                </a:cubicBezTo>
                <a:lnTo>
                  <a:pt x="289" y="77"/>
                </a:lnTo>
                <a:cubicBezTo>
                  <a:pt x="289" y="77"/>
                  <a:pt x="289" y="77"/>
                  <a:pt x="289" y="76"/>
                </a:cubicBezTo>
                <a:cubicBezTo>
                  <a:pt x="289" y="74"/>
                  <a:pt x="290" y="73"/>
                  <a:pt x="292" y="73"/>
                </a:cubicBezTo>
                <a:cubicBezTo>
                  <a:pt x="294" y="73"/>
                  <a:pt x="295" y="72"/>
                  <a:pt x="295" y="71"/>
                </a:cubicBezTo>
                <a:lnTo>
                  <a:pt x="295" y="71"/>
                </a:lnTo>
                <a:cubicBezTo>
                  <a:pt x="295" y="69"/>
                  <a:pt x="296" y="68"/>
                  <a:pt x="298" y="68"/>
                </a:cubicBezTo>
                <a:cubicBezTo>
                  <a:pt x="300" y="68"/>
                  <a:pt x="300" y="68"/>
                  <a:pt x="300" y="68"/>
                </a:cubicBezTo>
                <a:lnTo>
                  <a:pt x="300" y="67"/>
                </a:lnTo>
                <a:cubicBezTo>
                  <a:pt x="300" y="65"/>
                  <a:pt x="308" y="60"/>
                  <a:pt x="323" y="52"/>
                </a:cubicBezTo>
                <a:cubicBezTo>
                  <a:pt x="338" y="44"/>
                  <a:pt x="348" y="40"/>
                  <a:pt x="353" y="40"/>
                </a:cubicBezTo>
                <a:cubicBezTo>
                  <a:pt x="361" y="40"/>
                  <a:pt x="365" y="39"/>
                  <a:pt x="365" y="38"/>
                </a:cubicBezTo>
                <a:cubicBezTo>
                  <a:pt x="365" y="38"/>
                  <a:pt x="365" y="37"/>
                  <a:pt x="364" y="36"/>
                </a:cubicBezTo>
                <a:cubicBezTo>
                  <a:pt x="363" y="35"/>
                  <a:pt x="363" y="34"/>
                  <a:pt x="363" y="34"/>
                </a:cubicBezTo>
                <a:cubicBezTo>
                  <a:pt x="363" y="33"/>
                  <a:pt x="363" y="32"/>
                  <a:pt x="365" y="32"/>
                </a:cubicBezTo>
                <a:cubicBezTo>
                  <a:pt x="367" y="31"/>
                  <a:pt x="370" y="31"/>
                  <a:pt x="372" y="31"/>
                </a:cubicBezTo>
                <a:cubicBezTo>
                  <a:pt x="373" y="31"/>
                  <a:pt x="374" y="31"/>
                  <a:pt x="375" y="31"/>
                </a:cubicBezTo>
                <a:cubicBezTo>
                  <a:pt x="375" y="31"/>
                  <a:pt x="375" y="32"/>
                  <a:pt x="376" y="32"/>
                </a:cubicBezTo>
                <a:lnTo>
                  <a:pt x="375" y="34"/>
                </a:lnTo>
                <a:cubicBezTo>
                  <a:pt x="375" y="34"/>
                  <a:pt x="376" y="34"/>
                  <a:pt x="377" y="34"/>
                </a:cubicBezTo>
                <a:cubicBezTo>
                  <a:pt x="377" y="34"/>
                  <a:pt x="378" y="34"/>
                  <a:pt x="379" y="33"/>
                </a:cubicBezTo>
                <a:cubicBezTo>
                  <a:pt x="379" y="33"/>
                  <a:pt x="380" y="32"/>
                  <a:pt x="380" y="32"/>
                </a:cubicBezTo>
                <a:cubicBezTo>
                  <a:pt x="380" y="31"/>
                  <a:pt x="379" y="30"/>
                  <a:pt x="377" y="28"/>
                </a:cubicBezTo>
                <a:cubicBezTo>
                  <a:pt x="375" y="26"/>
                  <a:pt x="374" y="25"/>
                  <a:pt x="373" y="25"/>
                </a:cubicBezTo>
                <a:cubicBezTo>
                  <a:pt x="372" y="25"/>
                  <a:pt x="372" y="26"/>
                  <a:pt x="371" y="27"/>
                </a:cubicBezTo>
                <a:cubicBezTo>
                  <a:pt x="370" y="27"/>
                  <a:pt x="367" y="29"/>
                  <a:pt x="361" y="30"/>
                </a:cubicBezTo>
                <a:cubicBezTo>
                  <a:pt x="355" y="31"/>
                  <a:pt x="348" y="34"/>
                  <a:pt x="341" y="38"/>
                </a:cubicBezTo>
                <a:cubicBezTo>
                  <a:pt x="335" y="42"/>
                  <a:pt x="331" y="44"/>
                  <a:pt x="330" y="44"/>
                </a:cubicBezTo>
                <a:cubicBezTo>
                  <a:pt x="329" y="44"/>
                  <a:pt x="328" y="42"/>
                  <a:pt x="328" y="40"/>
                </a:cubicBezTo>
                <a:cubicBezTo>
                  <a:pt x="327" y="40"/>
                  <a:pt x="324" y="41"/>
                  <a:pt x="321" y="43"/>
                </a:cubicBezTo>
                <a:cubicBezTo>
                  <a:pt x="317" y="44"/>
                  <a:pt x="315" y="45"/>
                  <a:pt x="314" y="45"/>
                </a:cubicBezTo>
                <a:cubicBezTo>
                  <a:pt x="312" y="45"/>
                  <a:pt x="312" y="45"/>
                  <a:pt x="312" y="44"/>
                </a:cubicBezTo>
                <a:cubicBezTo>
                  <a:pt x="312" y="43"/>
                  <a:pt x="313" y="41"/>
                  <a:pt x="315" y="39"/>
                </a:cubicBezTo>
                <a:cubicBezTo>
                  <a:pt x="316" y="37"/>
                  <a:pt x="317" y="36"/>
                  <a:pt x="317" y="35"/>
                </a:cubicBezTo>
                <a:cubicBezTo>
                  <a:pt x="317" y="34"/>
                  <a:pt x="317" y="34"/>
                  <a:pt x="316" y="34"/>
                </a:cubicBezTo>
                <a:cubicBezTo>
                  <a:pt x="315" y="34"/>
                  <a:pt x="314" y="34"/>
                  <a:pt x="312" y="35"/>
                </a:cubicBezTo>
                <a:cubicBezTo>
                  <a:pt x="311" y="36"/>
                  <a:pt x="310" y="36"/>
                  <a:pt x="310" y="36"/>
                </a:cubicBezTo>
                <a:lnTo>
                  <a:pt x="312" y="33"/>
                </a:lnTo>
                <a:cubicBezTo>
                  <a:pt x="314" y="31"/>
                  <a:pt x="315" y="29"/>
                  <a:pt x="315" y="29"/>
                </a:cubicBezTo>
                <a:cubicBezTo>
                  <a:pt x="315" y="28"/>
                  <a:pt x="315" y="27"/>
                  <a:pt x="314" y="27"/>
                </a:cubicBezTo>
                <a:cubicBezTo>
                  <a:pt x="313" y="27"/>
                  <a:pt x="313" y="27"/>
                  <a:pt x="312" y="27"/>
                </a:cubicBezTo>
                <a:cubicBezTo>
                  <a:pt x="311" y="28"/>
                  <a:pt x="310" y="28"/>
                  <a:pt x="310" y="28"/>
                </a:cubicBezTo>
                <a:cubicBezTo>
                  <a:pt x="310" y="28"/>
                  <a:pt x="310" y="28"/>
                  <a:pt x="310" y="27"/>
                </a:cubicBezTo>
                <a:cubicBezTo>
                  <a:pt x="310" y="27"/>
                  <a:pt x="313" y="24"/>
                  <a:pt x="321" y="20"/>
                </a:cubicBezTo>
                <a:cubicBezTo>
                  <a:pt x="327" y="17"/>
                  <a:pt x="330" y="16"/>
                  <a:pt x="332" y="16"/>
                </a:cubicBezTo>
                <a:cubicBezTo>
                  <a:pt x="332" y="16"/>
                  <a:pt x="332" y="16"/>
                  <a:pt x="332" y="16"/>
                </a:cubicBezTo>
                <a:cubicBezTo>
                  <a:pt x="332" y="19"/>
                  <a:pt x="330" y="20"/>
                  <a:pt x="324" y="22"/>
                </a:cubicBezTo>
                <a:cubicBezTo>
                  <a:pt x="320" y="24"/>
                  <a:pt x="317" y="25"/>
                  <a:pt x="317" y="27"/>
                </a:cubicBezTo>
                <a:lnTo>
                  <a:pt x="318" y="28"/>
                </a:lnTo>
                <a:lnTo>
                  <a:pt x="333" y="20"/>
                </a:lnTo>
                <a:cubicBezTo>
                  <a:pt x="347" y="13"/>
                  <a:pt x="360" y="8"/>
                  <a:pt x="372" y="5"/>
                </a:cubicBezTo>
                <a:cubicBezTo>
                  <a:pt x="375" y="5"/>
                  <a:pt x="377" y="4"/>
                  <a:pt x="377" y="4"/>
                </a:cubicBezTo>
                <a:cubicBezTo>
                  <a:pt x="377" y="3"/>
                  <a:pt x="376" y="3"/>
                  <a:pt x="374" y="2"/>
                </a:cubicBezTo>
                <a:cubicBezTo>
                  <a:pt x="372" y="2"/>
                  <a:pt x="371" y="1"/>
                  <a:pt x="371" y="1"/>
                </a:cubicBezTo>
                <a:cubicBezTo>
                  <a:pt x="371" y="0"/>
                  <a:pt x="373" y="0"/>
                  <a:pt x="377" y="0"/>
                </a:cubicBezTo>
                <a:cubicBezTo>
                  <a:pt x="382" y="0"/>
                  <a:pt x="385" y="1"/>
                  <a:pt x="389" y="2"/>
                </a:cubicBezTo>
                <a:cubicBezTo>
                  <a:pt x="393" y="4"/>
                  <a:pt x="394" y="6"/>
                  <a:pt x="394" y="8"/>
                </a:cubicBezTo>
                <a:cubicBezTo>
                  <a:pt x="394" y="10"/>
                  <a:pt x="396" y="13"/>
                  <a:pt x="399" y="15"/>
                </a:cubicBezTo>
                <a:cubicBezTo>
                  <a:pt x="400" y="16"/>
                  <a:pt x="401" y="17"/>
                  <a:pt x="402" y="17"/>
                </a:cubicBezTo>
                <a:cubicBezTo>
                  <a:pt x="402" y="18"/>
                  <a:pt x="403" y="19"/>
                  <a:pt x="403" y="22"/>
                </a:cubicBezTo>
                <a:lnTo>
                  <a:pt x="403" y="22"/>
                </a:lnTo>
                <a:cubicBezTo>
                  <a:pt x="403" y="23"/>
                  <a:pt x="404" y="24"/>
                  <a:pt x="406" y="24"/>
                </a:cubicBezTo>
                <a:cubicBezTo>
                  <a:pt x="415" y="25"/>
                  <a:pt x="421" y="29"/>
                  <a:pt x="424" y="36"/>
                </a:cubicBezTo>
                <a:cubicBezTo>
                  <a:pt x="427" y="43"/>
                  <a:pt x="428" y="52"/>
                  <a:pt x="428" y="64"/>
                </a:cubicBezTo>
                <a:cubicBezTo>
                  <a:pt x="428" y="78"/>
                  <a:pt x="427" y="92"/>
                  <a:pt x="424" y="106"/>
                </a:cubicBezTo>
                <a:lnTo>
                  <a:pt x="420" y="120"/>
                </a:lnTo>
                <a:cubicBezTo>
                  <a:pt x="417" y="132"/>
                  <a:pt x="412" y="151"/>
                  <a:pt x="403" y="175"/>
                </a:cubicBezTo>
                <a:cubicBezTo>
                  <a:pt x="384" y="227"/>
                  <a:pt x="366" y="275"/>
                  <a:pt x="348" y="318"/>
                </a:cubicBezTo>
                <a:cubicBezTo>
                  <a:pt x="345" y="325"/>
                  <a:pt x="343" y="329"/>
                  <a:pt x="343" y="332"/>
                </a:cubicBezTo>
                <a:cubicBezTo>
                  <a:pt x="343" y="333"/>
                  <a:pt x="342" y="333"/>
                  <a:pt x="342" y="335"/>
                </a:cubicBezTo>
                <a:cubicBezTo>
                  <a:pt x="341" y="336"/>
                  <a:pt x="341" y="337"/>
                  <a:pt x="340" y="337"/>
                </a:cubicBezTo>
                <a:cubicBezTo>
                  <a:pt x="338" y="340"/>
                  <a:pt x="337" y="342"/>
                  <a:pt x="337" y="345"/>
                </a:cubicBezTo>
                <a:cubicBezTo>
                  <a:pt x="336" y="348"/>
                  <a:pt x="334" y="355"/>
                  <a:pt x="330" y="365"/>
                </a:cubicBezTo>
                <a:cubicBezTo>
                  <a:pt x="325" y="375"/>
                  <a:pt x="322" y="381"/>
                  <a:pt x="320" y="383"/>
                </a:cubicBezTo>
                <a:cubicBezTo>
                  <a:pt x="319" y="384"/>
                  <a:pt x="319" y="385"/>
                  <a:pt x="319" y="386"/>
                </a:cubicBezTo>
                <a:cubicBezTo>
                  <a:pt x="319" y="386"/>
                  <a:pt x="320" y="387"/>
                  <a:pt x="320" y="387"/>
                </a:cubicBezTo>
                <a:cubicBezTo>
                  <a:pt x="320" y="389"/>
                  <a:pt x="316" y="399"/>
                  <a:pt x="308" y="417"/>
                </a:cubicBezTo>
                <a:cubicBezTo>
                  <a:pt x="305" y="424"/>
                  <a:pt x="303" y="429"/>
                  <a:pt x="303" y="429"/>
                </a:cubicBezTo>
                <a:cubicBezTo>
                  <a:pt x="303" y="429"/>
                  <a:pt x="296" y="447"/>
                  <a:pt x="281" y="482"/>
                </a:cubicBezTo>
                <a:cubicBezTo>
                  <a:pt x="278" y="489"/>
                  <a:pt x="276" y="492"/>
                  <a:pt x="276" y="494"/>
                </a:cubicBezTo>
                <a:lnTo>
                  <a:pt x="275" y="497"/>
                </a:lnTo>
                <a:cubicBezTo>
                  <a:pt x="273" y="504"/>
                  <a:pt x="271" y="508"/>
                  <a:pt x="271" y="509"/>
                </a:cubicBezTo>
                <a:cubicBezTo>
                  <a:pt x="270" y="510"/>
                  <a:pt x="270" y="511"/>
                  <a:pt x="270" y="511"/>
                </a:cubicBezTo>
                <a:cubicBezTo>
                  <a:pt x="269" y="516"/>
                  <a:pt x="266" y="524"/>
                  <a:pt x="261" y="535"/>
                </a:cubicBezTo>
                <a:cubicBezTo>
                  <a:pt x="255" y="549"/>
                  <a:pt x="252" y="556"/>
                  <a:pt x="252" y="556"/>
                </a:cubicBezTo>
                <a:cubicBezTo>
                  <a:pt x="252" y="552"/>
                  <a:pt x="256" y="539"/>
                  <a:pt x="265" y="516"/>
                </a:cubicBezTo>
                <a:cubicBezTo>
                  <a:pt x="268" y="509"/>
                  <a:pt x="269" y="505"/>
                  <a:pt x="269" y="502"/>
                </a:cubicBezTo>
                <a:cubicBezTo>
                  <a:pt x="269" y="502"/>
                  <a:pt x="269" y="501"/>
                  <a:pt x="269" y="501"/>
                </a:cubicBezTo>
                <a:cubicBezTo>
                  <a:pt x="267" y="501"/>
                  <a:pt x="264" y="507"/>
                  <a:pt x="260" y="518"/>
                </a:cubicBezTo>
                <a:cubicBezTo>
                  <a:pt x="256" y="529"/>
                  <a:pt x="253" y="535"/>
                  <a:pt x="251" y="535"/>
                </a:cubicBezTo>
                <a:lnTo>
                  <a:pt x="251" y="534"/>
                </a:lnTo>
                <a:cubicBezTo>
                  <a:pt x="250" y="533"/>
                  <a:pt x="249" y="533"/>
                  <a:pt x="247" y="533"/>
                </a:cubicBezTo>
                <a:lnTo>
                  <a:pt x="246" y="534"/>
                </a:lnTo>
                <a:cubicBezTo>
                  <a:pt x="246" y="533"/>
                  <a:pt x="246" y="532"/>
                  <a:pt x="247" y="531"/>
                </a:cubicBezTo>
                <a:cubicBezTo>
                  <a:pt x="248" y="530"/>
                  <a:pt x="249" y="530"/>
                  <a:pt x="250" y="530"/>
                </a:cubicBezTo>
                <a:cubicBezTo>
                  <a:pt x="250" y="530"/>
                  <a:pt x="251" y="530"/>
                  <a:pt x="252" y="531"/>
                </a:cubicBezTo>
                <a:lnTo>
                  <a:pt x="253" y="534"/>
                </a:lnTo>
                <a:lnTo>
                  <a:pt x="253" y="528"/>
                </a:lnTo>
                <a:cubicBezTo>
                  <a:pt x="253" y="527"/>
                  <a:pt x="253" y="527"/>
                  <a:pt x="254" y="527"/>
                </a:cubicBezTo>
                <a:lnTo>
                  <a:pt x="255" y="527"/>
                </a:lnTo>
                <a:cubicBezTo>
                  <a:pt x="255" y="527"/>
                  <a:pt x="255" y="527"/>
                  <a:pt x="255" y="525"/>
                </a:cubicBezTo>
                <a:cubicBezTo>
                  <a:pt x="254" y="524"/>
                  <a:pt x="253" y="523"/>
                  <a:pt x="252" y="523"/>
                </a:cubicBezTo>
                <a:cubicBezTo>
                  <a:pt x="251" y="523"/>
                  <a:pt x="250" y="523"/>
                  <a:pt x="250" y="522"/>
                </a:cubicBezTo>
                <a:lnTo>
                  <a:pt x="251" y="521"/>
                </a:lnTo>
                <a:cubicBezTo>
                  <a:pt x="251" y="521"/>
                  <a:pt x="253" y="520"/>
                  <a:pt x="255" y="520"/>
                </a:cubicBezTo>
                <a:cubicBezTo>
                  <a:pt x="256" y="520"/>
                  <a:pt x="257" y="520"/>
                  <a:pt x="257" y="519"/>
                </a:cubicBezTo>
                <a:cubicBezTo>
                  <a:pt x="257" y="519"/>
                  <a:pt x="257" y="518"/>
                  <a:pt x="256" y="517"/>
                </a:cubicBezTo>
                <a:lnTo>
                  <a:pt x="257" y="517"/>
                </a:lnTo>
                <a:cubicBezTo>
                  <a:pt x="258" y="517"/>
                  <a:pt x="259" y="516"/>
                  <a:pt x="259" y="515"/>
                </a:cubicBezTo>
                <a:lnTo>
                  <a:pt x="259" y="515"/>
                </a:lnTo>
                <a:cubicBezTo>
                  <a:pt x="258" y="514"/>
                  <a:pt x="257" y="513"/>
                  <a:pt x="256" y="513"/>
                </a:cubicBezTo>
                <a:cubicBezTo>
                  <a:pt x="255" y="513"/>
                  <a:pt x="254" y="513"/>
                  <a:pt x="254" y="512"/>
                </a:cubicBezTo>
                <a:lnTo>
                  <a:pt x="255" y="511"/>
                </a:lnTo>
                <a:cubicBezTo>
                  <a:pt x="255" y="510"/>
                  <a:pt x="256" y="510"/>
                  <a:pt x="258" y="510"/>
                </a:cubicBezTo>
                <a:lnTo>
                  <a:pt x="260" y="511"/>
                </a:lnTo>
                <a:cubicBezTo>
                  <a:pt x="261" y="511"/>
                  <a:pt x="261" y="510"/>
                  <a:pt x="261" y="510"/>
                </a:cubicBezTo>
                <a:cubicBezTo>
                  <a:pt x="261" y="508"/>
                  <a:pt x="261" y="507"/>
                  <a:pt x="259" y="507"/>
                </a:cubicBezTo>
                <a:cubicBezTo>
                  <a:pt x="258" y="506"/>
                  <a:pt x="257" y="505"/>
                  <a:pt x="257" y="505"/>
                </a:cubicBezTo>
                <a:cubicBezTo>
                  <a:pt x="257" y="503"/>
                  <a:pt x="258" y="502"/>
                  <a:pt x="259" y="501"/>
                </a:cubicBezTo>
                <a:cubicBezTo>
                  <a:pt x="260" y="500"/>
                  <a:pt x="260" y="499"/>
                  <a:pt x="262" y="499"/>
                </a:cubicBezTo>
                <a:cubicBezTo>
                  <a:pt x="262" y="499"/>
                  <a:pt x="263" y="499"/>
                  <a:pt x="263" y="500"/>
                </a:cubicBezTo>
                <a:cubicBezTo>
                  <a:pt x="263" y="500"/>
                  <a:pt x="262" y="500"/>
                  <a:pt x="261" y="501"/>
                </a:cubicBezTo>
                <a:cubicBezTo>
                  <a:pt x="260" y="502"/>
                  <a:pt x="259" y="503"/>
                  <a:pt x="259" y="504"/>
                </a:cubicBezTo>
                <a:cubicBezTo>
                  <a:pt x="259" y="504"/>
                  <a:pt x="260" y="505"/>
                  <a:pt x="260" y="505"/>
                </a:cubicBezTo>
                <a:cubicBezTo>
                  <a:pt x="261" y="506"/>
                  <a:pt x="261" y="507"/>
                  <a:pt x="262" y="507"/>
                </a:cubicBezTo>
                <a:cubicBezTo>
                  <a:pt x="263" y="507"/>
                  <a:pt x="263" y="505"/>
                  <a:pt x="264" y="503"/>
                </a:cubicBezTo>
                <a:lnTo>
                  <a:pt x="265" y="501"/>
                </a:lnTo>
                <a:cubicBezTo>
                  <a:pt x="265" y="499"/>
                  <a:pt x="264" y="497"/>
                  <a:pt x="263" y="497"/>
                </a:cubicBezTo>
                <a:lnTo>
                  <a:pt x="261" y="495"/>
                </a:lnTo>
                <a:lnTo>
                  <a:pt x="263" y="496"/>
                </a:lnTo>
                <a:cubicBezTo>
                  <a:pt x="266" y="496"/>
                  <a:pt x="267" y="495"/>
                  <a:pt x="267" y="495"/>
                </a:cubicBezTo>
                <a:lnTo>
                  <a:pt x="268" y="493"/>
                </a:lnTo>
                <a:cubicBezTo>
                  <a:pt x="268" y="493"/>
                  <a:pt x="268" y="494"/>
                  <a:pt x="269" y="496"/>
                </a:cubicBezTo>
                <a:cubicBezTo>
                  <a:pt x="269" y="498"/>
                  <a:pt x="270" y="499"/>
                  <a:pt x="271" y="501"/>
                </a:cubicBezTo>
                <a:lnTo>
                  <a:pt x="272" y="501"/>
                </a:lnTo>
                <a:cubicBezTo>
                  <a:pt x="272" y="501"/>
                  <a:pt x="273" y="501"/>
                  <a:pt x="273" y="500"/>
                </a:cubicBezTo>
                <a:lnTo>
                  <a:pt x="272" y="497"/>
                </a:lnTo>
                <a:cubicBezTo>
                  <a:pt x="272" y="496"/>
                  <a:pt x="272" y="496"/>
                  <a:pt x="272" y="496"/>
                </a:cubicBezTo>
                <a:lnTo>
                  <a:pt x="274" y="497"/>
                </a:lnTo>
                <a:cubicBezTo>
                  <a:pt x="274" y="497"/>
                  <a:pt x="275" y="497"/>
                  <a:pt x="275" y="496"/>
                </a:cubicBezTo>
                <a:cubicBezTo>
                  <a:pt x="275" y="496"/>
                  <a:pt x="275" y="495"/>
                  <a:pt x="274" y="494"/>
                </a:cubicBezTo>
                <a:cubicBezTo>
                  <a:pt x="274" y="494"/>
                  <a:pt x="274" y="493"/>
                  <a:pt x="274" y="492"/>
                </a:cubicBezTo>
                <a:cubicBezTo>
                  <a:pt x="274" y="492"/>
                  <a:pt x="274" y="491"/>
                  <a:pt x="275" y="491"/>
                </a:cubicBezTo>
                <a:cubicBezTo>
                  <a:pt x="276" y="491"/>
                  <a:pt x="276" y="490"/>
                  <a:pt x="276" y="490"/>
                </a:cubicBezTo>
                <a:lnTo>
                  <a:pt x="276" y="484"/>
                </a:lnTo>
                <a:cubicBezTo>
                  <a:pt x="276" y="481"/>
                  <a:pt x="277" y="480"/>
                  <a:pt x="279" y="480"/>
                </a:cubicBezTo>
                <a:cubicBezTo>
                  <a:pt x="280" y="480"/>
                  <a:pt x="280" y="479"/>
                  <a:pt x="281" y="478"/>
                </a:cubicBezTo>
                <a:cubicBezTo>
                  <a:pt x="281" y="478"/>
                  <a:pt x="281" y="477"/>
                  <a:pt x="281" y="476"/>
                </a:cubicBezTo>
                <a:cubicBezTo>
                  <a:pt x="281" y="476"/>
                  <a:pt x="281" y="476"/>
                  <a:pt x="280" y="476"/>
                </a:cubicBezTo>
                <a:lnTo>
                  <a:pt x="277" y="476"/>
                </a:lnTo>
                <a:cubicBezTo>
                  <a:pt x="275" y="476"/>
                  <a:pt x="275" y="475"/>
                  <a:pt x="275" y="475"/>
                </a:cubicBezTo>
                <a:cubicBezTo>
                  <a:pt x="275" y="473"/>
                  <a:pt x="275" y="473"/>
                  <a:pt x="277" y="473"/>
                </a:cubicBezTo>
                <a:cubicBezTo>
                  <a:pt x="279" y="473"/>
                  <a:pt x="280" y="472"/>
                  <a:pt x="280" y="471"/>
                </a:cubicBezTo>
                <a:lnTo>
                  <a:pt x="279" y="467"/>
                </a:lnTo>
                <a:cubicBezTo>
                  <a:pt x="279" y="465"/>
                  <a:pt x="281" y="463"/>
                  <a:pt x="284" y="462"/>
                </a:cubicBezTo>
                <a:cubicBezTo>
                  <a:pt x="286" y="460"/>
                  <a:pt x="288" y="459"/>
                  <a:pt x="288" y="458"/>
                </a:cubicBezTo>
                <a:cubicBezTo>
                  <a:pt x="288" y="457"/>
                  <a:pt x="287" y="456"/>
                  <a:pt x="286" y="456"/>
                </a:cubicBezTo>
                <a:cubicBezTo>
                  <a:pt x="285" y="456"/>
                  <a:pt x="284" y="456"/>
                  <a:pt x="283" y="458"/>
                </a:cubicBezTo>
                <a:cubicBezTo>
                  <a:pt x="283" y="459"/>
                  <a:pt x="281" y="460"/>
                  <a:pt x="280" y="460"/>
                </a:cubicBezTo>
                <a:lnTo>
                  <a:pt x="278" y="460"/>
                </a:lnTo>
                <a:cubicBezTo>
                  <a:pt x="278" y="460"/>
                  <a:pt x="279" y="459"/>
                  <a:pt x="280" y="459"/>
                </a:cubicBezTo>
                <a:cubicBezTo>
                  <a:pt x="281" y="458"/>
                  <a:pt x="281" y="458"/>
                  <a:pt x="281" y="457"/>
                </a:cubicBezTo>
                <a:lnTo>
                  <a:pt x="281" y="456"/>
                </a:lnTo>
                <a:cubicBezTo>
                  <a:pt x="281" y="455"/>
                  <a:pt x="282" y="455"/>
                  <a:pt x="283" y="455"/>
                </a:cubicBezTo>
                <a:cubicBezTo>
                  <a:pt x="283" y="455"/>
                  <a:pt x="284" y="453"/>
                  <a:pt x="284" y="451"/>
                </a:cubicBezTo>
                <a:lnTo>
                  <a:pt x="283" y="450"/>
                </a:lnTo>
                <a:cubicBezTo>
                  <a:pt x="283" y="448"/>
                  <a:pt x="284" y="448"/>
                  <a:pt x="285" y="448"/>
                </a:cubicBezTo>
                <a:cubicBezTo>
                  <a:pt x="285" y="448"/>
                  <a:pt x="286" y="448"/>
                  <a:pt x="286" y="447"/>
                </a:cubicBezTo>
                <a:lnTo>
                  <a:pt x="285" y="445"/>
                </a:lnTo>
                <a:cubicBezTo>
                  <a:pt x="285" y="445"/>
                  <a:pt x="285" y="444"/>
                  <a:pt x="285" y="444"/>
                </a:cubicBezTo>
                <a:lnTo>
                  <a:pt x="289" y="446"/>
                </a:lnTo>
                <a:cubicBezTo>
                  <a:pt x="289" y="446"/>
                  <a:pt x="289" y="445"/>
                  <a:pt x="289" y="445"/>
                </a:cubicBezTo>
                <a:lnTo>
                  <a:pt x="289" y="444"/>
                </a:lnTo>
                <a:lnTo>
                  <a:pt x="289" y="442"/>
                </a:lnTo>
                <a:lnTo>
                  <a:pt x="290" y="441"/>
                </a:lnTo>
                <a:lnTo>
                  <a:pt x="288" y="441"/>
                </a:lnTo>
                <a:lnTo>
                  <a:pt x="286" y="441"/>
                </a:lnTo>
                <a:cubicBezTo>
                  <a:pt x="286" y="441"/>
                  <a:pt x="287" y="440"/>
                  <a:pt x="288" y="439"/>
                </a:cubicBezTo>
                <a:cubicBezTo>
                  <a:pt x="289" y="438"/>
                  <a:pt x="289" y="437"/>
                  <a:pt x="289" y="436"/>
                </a:cubicBezTo>
                <a:cubicBezTo>
                  <a:pt x="289" y="436"/>
                  <a:pt x="289" y="436"/>
                  <a:pt x="288" y="436"/>
                </a:cubicBezTo>
                <a:cubicBezTo>
                  <a:pt x="287" y="436"/>
                  <a:pt x="286" y="437"/>
                  <a:pt x="285" y="439"/>
                </a:cubicBezTo>
                <a:lnTo>
                  <a:pt x="283" y="442"/>
                </a:lnTo>
                <a:cubicBezTo>
                  <a:pt x="283" y="442"/>
                  <a:pt x="283" y="441"/>
                  <a:pt x="283" y="439"/>
                </a:cubicBezTo>
                <a:cubicBezTo>
                  <a:pt x="284" y="437"/>
                  <a:pt x="284" y="436"/>
                  <a:pt x="284" y="435"/>
                </a:cubicBezTo>
                <a:cubicBezTo>
                  <a:pt x="284" y="434"/>
                  <a:pt x="285" y="434"/>
                  <a:pt x="287" y="434"/>
                </a:cubicBezTo>
                <a:cubicBezTo>
                  <a:pt x="288" y="434"/>
                  <a:pt x="290" y="432"/>
                  <a:pt x="290" y="430"/>
                </a:cubicBezTo>
                <a:lnTo>
                  <a:pt x="291" y="428"/>
                </a:lnTo>
                <a:lnTo>
                  <a:pt x="290" y="427"/>
                </a:lnTo>
                <a:lnTo>
                  <a:pt x="289" y="427"/>
                </a:lnTo>
                <a:cubicBezTo>
                  <a:pt x="288" y="427"/>
                  <a:pt x="288" y="427"/>
                  <a:pt x="288" y="426"/>
                </a:cubicBezTo>
                <a:cubicBezTo>
                  <a:pt x="288" y="424"/>
                  <a:pt x="289" y="424"/>
                  <a:pt x="291" y="424"/>
                </a:cubicBezTo>
                <a:cubicBezTo>
                  <a:pt x="293" y="424"/>
                  <a:pt x="294" y="423"/>
                  <a:pt x="294" y="421"/>
                </a:cubicBezTo>
                <a:lnTo>
                  <a:pt x="295" y="418"/>
                </a:lnTo>
                <a:lnTo>
                  <a:pt x="296" y="418"/>
                </a:lnTo>
                <a:cubicBezTo>
                  <a:pt x="296" y="418"/>
                  <a:pt x="297" y="417"/>
                  <a:pt x="297" y="415"/>
                </a:cubicBezTo>
                <a:cubicBezTo>
                  <a:pt x="297" y="412"/>
                  <a:pt x="297" y="411"/>
                  <a:pt x="296" y="411"/>
                </a:cubicBezTo>
                <a:cubicBezTo>
                  <a:pt x="295" y="411"/>
                  <a:pt x="295" y="410"/>
                  <a:pt x="295" y="410"/>
                </a:cubicBezTo>
                <a:lnTo>
                  <a:pt x="296" y="406"/>
                </a:lnTo>
                <a:cubicBezTo>
                  <a:pt x="296" y="406"/>
                  <a:pt x="295" y="406"/>
                  <a:pt x="295" y="406"/>
                </a:cubicBezTo>
                <a:lnTo>
                  <a:pt x="293" y="407"/>
                </a:lnTo>
                <a:cubicBezTo>
                  <a:pt x="293" y="407"/>
                  <a:pt x="293" y="407"/>
                  <a:pt x="293" y="406"/>
                </a:cubicBezTo>
                <a:cubicBezTo>
                  <a:pt x="293" y="406"/>
                  <a:pt x="293" y="405"/>
                  <a:pt x="295" y="404"/>
                </a:cubicBezTo>
                <a:cubicBezTo>
                  <a:pt x="296" y="402"/>
                  <a:pt x="298" y="401"/>
                  <a:pt x="298" y="399"/>
                </a:cubicBezTo>
                <a:cubicBezTo>
                  <a:pt x="299" y="398"/>
                  <a:pt x="300" y="397"/>
                  <a:pt x="300" y="397"/>
                </a:cubicBezTo>
                <a:cubicBezTo>
                  <a:pt x="300" y="396"/>
                  <a:pt x="299" y="396"/>
                  <a:pt x="299" y="396"/>
                </a:cubicBezTo>
                <a:lnTo>
                  <a:pt x="296" y="397"/>
                </a:lnTo>
                <a:cubicBezTo>
                  <a:pt x="296" y="397"/>
                  <a:pt x="296" y="396"/>
                  <a:pt x="296" y="395"/>
                </a:cubicBezTo>
                <a:cubicBezTo>
                  <a:pt x="296" y="394"/>
                  <a:pt x="296" y="393"/>
                  <a:pt x="298" y="393"/>
                </a:cubicBezTo>
                <a:cubicBezTo>
                  <a:pt x="300" y="393"/>
                  <a:pt x="301" y="392"/>
                  <a:pt x="301" y="390"/>
                </a:cubicBezTo>
                <a:cubicBezTo>
                  <a:pt x="301" y="388"/>
                  <a:pt x="301" y="387"/>
                  <a:pt x="301" y="386"/>
                </a:cubicBezTo>
                <a:cubicBezTo>
                  <a:pt x="302" y="385"/>
                  <a:pt x="303" y="385"/>
                  <a:pt x="306" y="385"/>
                </a:cubicBezTo>
                <a:cubicBezTo>
                  <a:pt x="310" y="385"/>
                  <a:pt x="312" y="384"/>
                  <a:pt x="312" y="382"/>
                </a:cubicBezTo>
                <a:cubicBezTo>
                  <a:pt x="312" y="381"/>
                  <a:pt x="312" y="380"/>
                  <a:pt x="311" y="379"/>
                </a:cubicBezTo>
                <a:lnTo>
                  <a:pt x="310" y="377"/>
                </a:lnTo>
                <a:lnTo>
                  <a:pt x="310" y="379"/>
                </a:lnTo>
                <a:cubicBezTo>
                  <a:pt x="310" y="381"/>
                  <a:pt x="309" y="382"/>
                  <a:pt x="308" y="382"/>
                </a:cubicBezTo>
                <a:cubicBezTo>
                  <a:pt x="308" y="382"/>
                  <a:pt x="308" y="382"/>
                  <a:pt x="307" y="381"/>
                </a:cubicBezTo>
                <a:cubicBezTo>
                  <a:pt x="306" y="380"/>
                  <a:pt x="306" y="379"/>
                  <a:pt x="306" y="378"/>
                </a:cubicBezTo>
                <a:cubicBezTo>
                  <a:pt x="306" y="377"/>
                  <a:pt x="306" y="376"/>
                  <a:pt x="306" y="376"/>
                </a:cubicBezTo>
                <a:cubicBezTo>
                  <a:pt x="306" y="375"/>
                  <a:pt x="307" y="375"/>
                  <a:pt x="308" y="374"/>
                </a:cubicBezTo>
                <a:lnTo>
                  <a:pt x="308" y="374"/>
                </a:lnTo>
                <a:cubicBezTo>
                  <a:pt x="309" y="374"/>
                  <a:pt x="309" y="374"/>
                  <a:pt x="309" y="373"/>
                </a:cubicBezTo>
                <a:lnTo>
                  <a:pt x="308" y="368"/>
                </a:lnTo>
                <a:lnTo>
                  <a:pt x="310" y="369"/>
                </a:lnTo>
                <a:cubicBezTo>
                  <a:pt x="311" y="369"/>
                  <a:pt x="313" y="366"/>
                  <a:pt x="315" y="359"/>
                </a:cubicBezTo>
                <a:lnTo>
                  <a:pt x="320" y="346"/>
                </a:lnTo>
                <a:lnTo>
                  <a:pt x="320" y="351"/>
                </a:lnTo>
                <a:cubicBezTo>
                  <a:pt x="320" y="355"/>
                  <a:pt x="320" y="357"/>
                  <a:pt x="321" y="357"/>
                </a:cubicBezTo>
                <a:cubicBezTo>
                  <a:pt x="322" y="357"/>
                  <a:pt x="322" y="357"/>
                  <a:pt x="322" y="357"/>
                </a:cubicBezTo>
                <a:cubicBezTo>
                  <a:pt x="323" y="357"/>
                  <a:pt x="324" y="355"/>
                  <a:pt x="324" y="351"/>
                </a:cubicBezTo>
                <a:cubicBezTo>
                  <a:pt x="324" y="350"/>
                  <a:pt x="324" y="349"/>
                  <a:pt x="326" y="349"/>
                </a:cubicBezTo>
                <a:cubicBezTo>
                  <a:pt x="327" y="349"/>
                  <a:pt x="328" y="348"/>
                  <a:pt x="328" y="346"/>
                </a:cubicBezTo>
                <a:cubicBezTo>
                  <a:pt x="328" y="345"/>
                  <a:pt x="328" y="345"/>
                  <a:pt x="328" y="345"/>
                </a:cubicBezTo>
                <a:lnTo>
                  <a:pt x="326" y="345"/>
                </a:lnTo>
                <a:cubicBezTo>
                  <a:pt x="325" y="345"/>
                  <a:pt x="325" y="345"/>
                  <a:pt x="325" y="344"/>
                </a:cubicBezTo>
                <a:cubicBezTo>
                  <a:pt x="325" y="343"/>
                  <a:pt x="326" y="342"/>
                  <a:pt x="328" y="342"/>
                </a:cubicBezTo>
                <a:cubicBezTo>
                  <a:pt x="329" y="342"/>
                  <a:pt x="330" y="342"/>
                  <a:pt x="330" y="340"/>
                </a:cubicBezTo>
                <a:lnTo>
                  <a:pt x="330" y="336"/>
                </a:lnTo>
                <a:cubicBezTo>
                  <a:pt x="330" y="335"/>
                  <a:pt x="330" y="334"/>
                  <a:pt x="331" y="334"/>
                </a:cubicBezTo>
                <a:cubicBezTo>
                  <a:pt x="332" y="334"/>
                  <a:pt x="333" y="333"/>
                  <a:pt x="334" y="329"/>
                </a:cubicBezTo>
                <a:cubicBezTo>
                  <a:pt x="335" y="326"/>
                  <a:pt x="335" y="324"/>
                  <a:pt x="336" y="324"/>
                </a:cubicBezTo>
                <a:cubicBezTo>
                  <a:pt x="336" y="324"/>
                  <a:pt x="337" y="324"/>
                  <a:pt x="338" y="323"/>
                </a:cubicBezTo>
                <a:lnTo>
                  <a:pt x="338" y="323"/>
                </a:lnTo>
                <a:cubicBezTo>
                  <a:pt x="338" y="319"/>
                  <a:pt x="338" y="317"/>
                  <a:pt x="338" y="316"/>
                </a:cubicBezTo>
                <a:cubicBezTo>
                  <a:pt x="338" y="315"/>
                  <a:pt x="339" y="315"/>
                  <a:pt x="340" y="315"/>
                </a:cubicBezTo>
                <a:lnTo>
                  <a:pt x="341" y="315"/>
                </a:lnTo>
                <a:cubicBezTo>
                  <a:pt x="342" y="315"/>
                  <a:pt x="342" y="315"/>
                  <a:pt x="342" y="314"/>
                </a:cubicBezTo>
                <a:cubicBezTo>
                  <a:pt x="342" y="312"/>
                  <a:pt x="342" y="311"/>
                  <a:pt x="340" y="311"/>
                </a:cubicBezTo>
                <a:cubicBezTo>
                  <a:pt x="339" y="311"/>
                  <a:pt x="339" y="311"/>
                  <a:pt x="339" y="311"/>
                </a:cubicBezTo>
                <a:cubicBezTo>
                  <a:pt x="339" y="309"/>
                  <a:pt x="339" y="308"/>
                  <a:pt x="341" y="308"/>
                </a:cubicBezTo>
                <a:cubicBezTo>
                  <a:pt x="341" y="308"/>
                  <a:pt x="342" y="309"/>
                  <a:pt x="342" y="309"/>
                </a:cubicBezTo>
                <a:lnTo>
                  <a:pt x="343" y="309"/>
                </a:lnTo>
                <a:cubicBezTo>
                  <a:pt x="343" y="309"/>
                  <a:pt x="343" y="309"/>
                  <a:pt x="343" y="308"/>
                </a:cubicBezTo>
                <a:lnTo>
                  <a:pt x="342" y="304"/>
                </a:lnTo>
                <a:cubicBezTo>
                  <a:pt x="342" y="304"/>
                  <a:pt x="342" y="304"/>
                  <a:pt x="343" y="304"/>
                </a:cubicBezTo>
                <a:lnTo>
                  <a:pt x="345" y="306"/>
                </a:lnTo>
                <a:cubicBezTo>
                  <a:pt x="346" y="306"/>
                  <a:pt x="346" y="305"/>
                  <a:pt x="346" y="305"/>
                </a:cubicBezTo>
                <a:lnTo>
                  <a:pt x="345" y="303"/>
                </a:lnTo>
                <a:cubicBezTo>
                  <a:pt x="345" y="301"/>
                  <a:pt x="346" y="299"/>
                  <a:pt x="347" y="297"/>
                </a:cubicBezTo>
                <a:cubicBezTo>
                  <a:pt x="348" y="296"/>
                  <a:pt x="349" y="294"/>
                  <a:pt x="349" y="293"/>
                </a:cubicBezTo>
                <a:cubicBezTo>
                  <a:pt x="349" y="292"/>
                  <a:pt x="350" y="290"/>
                  <a:pt x="351" y="287"/>
                </a:cubicBezTo>
                <a:cubicBezTo>
                  <a:pt x="353" y="279"/>
                  <a:pt x="355" y="275"/>
                  <a:pt x="356" y="275"/>
                </a:cubicBezTo>
                <a:cubicBezTo>
                  <a:pt x="357" y="275"/>
                  <a:pt x="357" y="275"/>
                  <a:pt x="357" y="274"/>
                </a:cubicBezTo>
                <a:lnTo>
                  <a:pt x="357" y="272"/>
                </a:lnTo>
                <a:cubicBezTo>
                  <a:pt x="357" y="272"/>
                  <a:pt x="357" y="271"/>
                  <a:pt x="357" y="271"/>
                </a:cubicBezTo>
                <a:cubicBezTo>
                  <a:pt x="358" y="271"/>
                  <a:pt x="358" y="270"/>
                  <a:pt x="358" y="268"/>
                </a:cubicBezTo>
                <a:lnTo>
                  <a:pt x="358" y="267"/>
                </a:lnTo>
                <a:cubicBezTo>
                  <a:pt x="358" y="266"/>
                  <a:pt x="358" y="265"/>
                  <a:pt x="359" y="265"/>
                </a:cubicBezTo>
                <a:cubicBezTo>
                  <a:pt x="360" y="265"/>
                  <a:pt x="360" y="264"/>
                  <a:pt x="360" y="262"/>
                </a:cubicBezTo>
                <a:lnTo>
                  <a:pt x="360" y="259"/>
                </a:lnTo>
                <a:cubicBezTo>
                  <a:pt x="360" y="259"/>
                  <a:pt x="360" y="259"/>
                  <a:pt x="360" y="259"/>
                </a:cubicBezTo>
                <a:lnTo>
                  <a:pt x="361" y="259"/>
                </a:lnTo>
                <a:cubicBezTo>
                  <a:pt x="361" y="260"/>
                  <a:pt x="362" y="260"/>
                  <a:pt x="362" y="260"/>
                </a:cubicBezTo>
                <a:cubicBezTo>
                  <a:pt x="364" y="260"/>
                  <a:pt x="365" y="258"/>
                  <a:pt x="365" y="255"/>
                </a:cubicBezTo>
                <a:cubicBezTo>
                  <a:pt x="365" y="253"/>
                  <a:pt x="364" y="252"/>
                  <a:pt x="364" y="252"/>
                </a:cubicBezTo>
                <a:cubicBezTo>
                  <a:pt x="364" y="251"/>
                  <a:pt x="363" y="250"/>
                  <a:pt x="363" y="249"/>
                </a:cubicBezTo>
                <a:cubicBezTo>
                  <a:pt x="363" y="249"/>
                  <a:pt x="364" y="249"/>
                  <a:pt x="364" y="249"/>
                </a:cubicBezTo>
                <a:lnTo>
                  <a:pt x="365" y="249"/>
                </a:lnTo>
                <a:cubicBezTo>
                  <a:pt x="366" y="249"/>
                  <a:pt x="367" y="249"/>
                  <a:pt x="368" y="248"/>
                </a:cubicBezTo>
                <a:cubicBezTo>
                  <a:pt x="368" y="247"/>
                  <a:pt x="369" y="246"/>
                  <a:pt x="369" y="246"/>
                </a:cubicBezTo>
                <a:cubicBezTo>
                  <a:pt x="369" y="245"/>
                  <a:pt x="368" y="245"/>
                  <a:pt x="368" y="245"/>
                </a:cubicBezTo>
                <a:lnTo>
                  <a:pt x="366" y="246"/>
                </a:lnTo>
                <a:lnTo>
                  <a:pt x="368" y="244"/>
                </a:lnTo>
                <a:cubicBezTo>
                  <a:pt x="369" y="243"/>
                  <a:pt x="370" y="241"/>
                  <a:pt x="371" y="240"/>
                </a:cubicBezTo>
                <a:cubicBezTo>
                  <a:pt x="372" y="238"/>
                  <a:pt x="372" y="237"/>
                  <a:pt x="372" y="236"/>
                </a:cubicBezTo>
                <a:cubicBezTo>
                  <a:pt x="372" y="235"/>
                  <a:pt x="372" y="235"/>
                  <a:pt x="371" y="235"/>
                </a:cubicBezTo>
                <a:lnTo>
                  <a:pt x="370" y="236"/>
                </a:lnTo>
                <a:cubicBezTo>
                  <a:pt x="370" y="235"/>
                  <a:pt x="371" y="234"/>
                  <a:pt x="372" y="232"/>
                </a:cubicBezTo>
                <a:lnTo>
                  <a:pt x="374" y="229"/>
                </a:lnTo>
                <a:lnTo>
                  <a:pt x="372" y="230"/>
                </a:lnTo>
                <a:cubicBezTo>
                  <a:pt x="372" y="230"/>
                  <a:pt x="372" y="230"/>
                  <a:pt x="372" y="229"/>
                </a:cubicBezTo>
                <a:cubicBezTo>
                  <a:pt x="372" y="228"/>
                  <a:pt x="372" y="228"/>
                  <a:pt x="373" y="227"/>
                </a:cubicBezTo>
                <a:cubicBezTo>
                  <a:pt x="373" y="226"/>
                  <a:pt x="374" y="225"/>
                  <a:pt x="374" y="225"/>
                </a:cubicBezTo>
                <a:cubicBezTo>
                  <a:pt x="375" y="225"/>
                  <a:pt x="375" y="224"/>
                  <a:pt x="375" y="222"/>
                </a:cubicBezTo>
                <a:lnTo>
                  <a:pt x="375" y="220"/>
                </a:lnTo>
                <a:cubicBezTo>
                  <a:pt x="375" y="219"/>
                  <a:pt x="376" y="218"/>
                  <a:pt x="377" y="218"/>
                </a:cubicBezTo>
                <a:lnTo>
                  <a:pt x="377" y="219"/>
                </a:lnTo>
                <a:cubicBezTo>
                  <a:pt x="378" y="219"/>
                  <a:pt x="378" y="219"/>
                  <a:pt x="379" y="218"/>
                </a:cubicBezTo>
                <a:cubicBezTo>
                  <a:pt x="380" y="217"/>
                  <a:pt x="380" y="216"/>
                  <a:pt x="380" y="215"/>
                </a:cubicBezTo>
                <a:cubicBezTo>
                  <a:pt x="380" y="215"/>
                  <a:pt x="380" y="215"/>
                  <a:pt x="379" y="215"/>
                </a:cubicBezTo>
                <a:lnTo>
                  <a:pt x="377" y="215"/>
                </a:lnTo>
                <a:cubicBezTo>
                  <a:pt x="377" y="215"/>
                  <a:pt x="377" y="215"/>
                  <a:pt x="377" y="215"/>
                </a:cubicBezTo>
                <a:cubicBezTo>
                  <a:pt x="377" y="214"/>
                  <a:pt x="378" y="212"/>
                  <a:pt x="379" y="208"/>
                </a:cubicBezTo>
                <a:cubicBezTo>
                  <a:pt x="379" y="206"/>
                  <a:pt x="380" y="205"/>
                  <a:pt x="380" y="205"/>
                </a:cubicBezTo>
                <a:cubicBezTo>
                  <a:pt x="380" y="204"/>
                  <a:pt x="381" y="203"/>
                  <a:pt x="383" y="203"/>
                </a:cubicBezTo>
                <a:cubicBezTo>
                  <a:pt x="383" y="203"/>
                  <a:pt x="383" y="202"/>
                  <a:pt x="383" y="199"/>
                </a:cubicBezTo>
                <a:cubicBezTo>
                  <a:pt x="383" y="197"/>
                  <a:pt x="384" y="195"/>
                  <a:pt x="385" y="194"/>
                </a:cubicBezTo>
                <a:cubicBezTo>
                  <a:pt x="387" y="193"/>
                  <a:pt x="388" y="193"/>
                  <a:pt x="388" y="192"/>
                </a:cubicBezTo>
                <a:lnTo>
                  <a:pt x="388" y="191"/>
                </a:lnTo>
                <a:cubicBezTo>
                  <a:pt x="387" y="191"/>
                  <a:pt x="387" y="190"/>
                  <a:pt x="387" y="189"/>
                </a:cubicBezTo>
                <a:cubicBezTo>
                  <a:pt x="387" y="188"/>
                  <a:pt x="388" y="185"/>
                  <a:pt x="389" y="183"/>
                </a:cubicBezTo>
                <a:cubicBezTo>
                  <a:pt x="390" y="176"/>
                  <a:pt x="392" y="173"/>
                  <a:pt x="394" y="173"/>
                </a:cubicBezTo>
                <a:cubicBezTo>
                  <a:pt x="395" y="173"/>
                  <a:pt x="396" y="172"/>
                  <a:pt x="396" y="171"/>
                </a:cubicBezTo>
                <a:cubicBezTo>
                  <a:pt x="396" y="170"/>
                  <a:pt x="397" y="168"/>
                  <a:pt x="397" y="166"/>
                </a:cubicBezTo>
                <a:lnTo>
                  <a:pt x="398" y="163"/>
                </a:lnTo>
                <a:lnTo>
                  <a:pt x="395" y="166"/>
                </a:lnTo>
                <a:cubicBezTo>
                  <a:pt x="395" y="166"/>
                  <a:pt x="395" y="166"/>
                  <a:pt x="395" y="165"/>
                </a:cubicBezTo>
                <a:cubicBezTo>
                  <a:pt x="395" y="164"/>
                  <a:pt x="396" y="161"/>
                  <a:pt x="398" y="155"/>
                </a:cubicBezTo>
                <a:lnTo>
                  <a:pt x="398" y="154"/>
                </a:lnTo>
                <a:cubicBezTo>
                  <a:pt x="398" y="154"/>
                  <a:pt x="397" y="153"/>
                  <a:pt x="396" y="153"/>
                </a:cubicBezTo>
                <a:cubicBezTo>
                  <a:pt x="395" y="154"/>
                  <a:pt x="394" y="155"/>
                  <a:pt x="393" y="156"/>
                </a:cubicBezTo>
                <a:lnTo>
                  <a:pt x="392" y="160"/>
                </a:lnTo>
                <a:cubicBezTo>
                  <a:pt x="392" y="161"/>
                  <a:pt x="391" y="163"/>
                  <a:pt x="391" y="164"/>
                </a:cubicBezTo>
                <a:cubicBezTo>
                  <a:pt x="390" y="168"/>
                  <a:pt x="389" y="171"/>
                  <a:pt x="387" y="174"/>
                </a:cubicBezTo>
                <a:lnTo>
                  <a:pt x="384" y="180"/>
                </a:lnTo>
                <a:cubicBezTo>
                  <a:pt x="384" y="183"/>
                  <a:pt x="384" y="185"/>
                  <a:pt x="384" y="185"/>
                </a:cubicBezTo>
                <a:cubicBezTo>
                  <a:pt x="382" y="185"/>
                  <a:pt x="382" y="184"/>
                  <a:pt x="382" y="182"/>
                </a:cubicBezTo>
                <a:lnTo>
                  <a:pt x="382" y="180"/>
                </a:lnTo>
                <a:cubicBezTo>
                  <a:pt x="384" y="175"/>
                  <a:pt x="386" y="170"/>
                  <a:pt x="388" y="163"/>
                </a:cubicBezTo>
                <a:cubicBezTo>
                  <a:pt x="390" y="157"/>
                  <a:pt x="391" y="152"/>
                  <a:pt x="391" y="148"/>
                </a:cubicBezTo>
                <a:lnTo>
                  <a:pt x="390" y="147"/>
                </a:lnTo>
                <a:lnTo>
                  <a:pt x="394" y="148"/>
                </a:lnTo>
                <a:cubicBezTo>
                  <a:pt x="394" y="148"/>
                  <a:pt x="394" y="148"/>
                  <a:pt x="394" y="147"/>
                </a:cubicBezTo>
                <a:lnTo>
                  <a:pt x="393" y="143"/>
                </a:lnTo>
                <a:cubicBezTo>
                  <a:pt x="393" y="142"/>
                  <a:pt x="394" y="142"/>
                  <a:pt x="395" y="142"/>
                </a:cubicBezTo>
                <a:lnTo>
                  <a:pt x="396" y="142"/>
                </a:lnTo>
                <a:cubicBezTo>
                  <a:pt x="396" y="142"/>
                  <a:pt x="396" y="142"/>
                  <a:pt x="396" y="141"/>
                </a:cubicBezTo>
                <a:lnTo>
                  <a:pt x="395" y="137"/>
                </a:lnTo>
                <a:cubicBezTo>
                  <a:pt x="395" y="136"/>
                  <a:pt x="396" y="136"/>
                  <a:pt x="397" y="136"/>
                </a:cubicBezTo>
                <a:lnTo>
                  <a:pt x="398" y="136"/>
                </a:lnTo>
                <a:cubicBezTo>
                  <a:pt x="398" y="136"/>
                  <a:pt x="398" y="136"/>
                  <a:pt x="398" y="135"/>
                </a:cubicBezTo>
                <a:lnTo>
                  <a:pt x="398" y="133"/>
                </a:lnTo>
                <a:cubicBezTo>
                  <a:pt x="398" y="130"/>
                  <a:pt x="398" y="128"/>
                  <a:pt x="400" y="127"/>
                </a:cubicBezTo>
                <a:cubicBezTo>
                  <a:pt x="401" y="125"/>
                  <a:pt x="401" y="123"/>
                  <a:pt x="401" y="120"/>
                </a:cubicBezTo>
                <a:lnTo>
                  <a:pt x="401" y="118"/>
                </a:lnTo>
                <a:cubicBezTo>
                  <a:pt x="401" y="117"/>
                  <a:pt x="401" y="117"/>
                  <a:pt x="401" y="117"/>
                </a:cubicBezTo>
                <a:lnTo>
                  <a:pt x="402" y="117"/>
                </a:lnTo>
                <a:cubicBezTo>
                  <a:pt x="402" y="118"/>
                  <a:pt x="403" y="118"/>
                  <a:pt x="403" y="118"/>
                </a:cubicBezTo>
                <a:cubicBezTo>
                  <a:pt x="404" y="118"/>
                  <a:pt x="405" y="116"/>
                  <a:pt x="405" y="111"/>
                </a:cubicBezTo>
                <a:cubicBezTo>
                  <a:pt x="405" y="106"/>
                  <a:pt x="404" y="102"/>
                  <a:pt x="402" y="100"/>
                </a:cubicBezTo>
                <a:cubicBezTo>
                  <a:pt x="400" y="98"/>
                  <a:pt x="399" y="97"/>
                  <a:pt x="399" y="97"/>
                </a:cubicBezTo>
                <a:cubicBezTo>
                  <a:pt x="398" y="97"/>
                  <a:pt x="398" y="97"/>
                  <a:pt x="398" y="97"/>
                </a:cubicBezTo>
                <a:cubicBezTo>
                  <a:pt x="398" y="101"/>
                  <a:pt x="399" y="103"/>
                  <a:pt x="401" y="104"/>
                </a:cubicBezTo>
                <a:lnTo>
                  <a:pt x="401" y="105"/>
                </a:lnTo>
                <a:cubicBezTo>
                  <a:pt x="401" y="106"/>
                  <a:pt x="400" y="106"/>
                  <a:pt x="399" y="106"/>
                </a:cubicBezTo>
                <a:cubicBezTo>
                  <a:pt x="397" y="106"/>
                  <a:pt x="396" y="107"/>
                  <a:pt x="396" y="108"/>
                </a:cubicBezTo>
                <a:cubicBezTo>
                  <a:pt x="396" y="109"/>
                  <a:pt x="397" y="109"/>
                  <a:pt x="398" y="109"/>
                </a:cubicBezTo>
                <a:lnTo>
                  <a:pt x="398" y="109"/>
                </a:lnTo>
                <a:cubicBezTo>
                  <a:pt x="398" y="109"/>
                  <a:pt x="399" y="110"/>
                  <a:pt x="399" y="110"/>
                </a:cubicBezTo>
                <a:cubicBezTo>
                  <a:pt x="399" y="113"/>
                  <a:pt x="398" y="115"/>
                  <a:pt x="397" y="115"/>
                </a:cubicBezTo>
                <a:cubicBezTo>
                  <a:pt x="397" y="115"/>
                  <a:pt x="397" y="115"/>
                  <a:pt x="396" y="114"/>
                </a:cubicBezTo>
                <a:cubicBezTo>
                  <a:pt x="396" y="114"/>
                  <a:pt x="395" y="113"/>
                  <a:pt x="395" y="113"/>
                </a:cubicBezTo>
                <a:cubicBezTo>
                  <a:pt x="395" y="113"/>
                  <a:pt x="394" y="114"/>
                  <a:pt x="394" y="115"/>
                </a:cubicBezTo>
                <a:cubicBezTo>
                  <a:pt x="394" y="117"/>
                  <a:pt x="393" y="118"/>
                  <a:pt x="393" y="118"/>
                </a:cubicBezTo>
                <a:cubicBezTo>
                  <a:pt x="393" y="119"/>
                  <a:pt x="394" y="120"/>
                  <a:pt x="394" y="120"/>
                </a:cubicBezTo>
                <a:lnTo>
                  <a:pt x="396" y="118"/>
                </a:lnTo>
                <a:cubicBezTo>
                  <a:pt x="396" y="118"/>
                  <a:pt x="396" y="119"/>
                  <a:pt x="396" y="119"/>
                </a:cubicBezTo>
                <a:cubicBezTo>
                  <a:pt x="396" y="120"/>
                  <a:pt x="396" y="122"/>
                  <a:pt x="394" y="126"/>
                </a:cubicBezTo>
                <a:cubicBezTo>
                  <a:pt x="393" y="130"/>
                  <a:pt x="392" y="132"/>
                  <a:pt x="390" y="132"/>
                </a:cubicBezTo>
                <a:lnTo>
                  <a:pt x="389" y="131"/>
                </a:lnTo>
                <a:lnTo>
                  <a:pt x="389" y="131"/>
                </a:lnTo>
                <a:cubicBezTo>
                  <a:pt x="389" y="131"/>
                  <a:pt x="389" y="132"/>
                  <a:pt x="390" y="133"/>
                </a:cubicBezTo>
                <a:cubicBezTo>
                  <a:pt x="391" y="134"/>
                  <a:pt x="391" y="135"/>
                  <a:pt x="391" y="136"/>
                </a:cubicBezTo>
                <a:cubicBezTo>
                  <a:pt x="391" y="137"/>
                  <a:pt x="391" y="137"/>
                  <a:pt x="390" y="137"/>
                </a:cubicBezTo>
                <a:cubicBezTo>
                  <a:pt x="390" y="138"/>
                  <a:pt x="389" y="138"/>
                  <a:pt x="389" y="138"/>
                </a:cubicBezTo>
                <a:lnTo>
                  <a:pt x="390" y="134"/>
                </a:lnTo>
                <a:lnTo>
                  <a:pt x="389" y="135"/>
                </a:lnTo>
                <a:cubicBezTo>
                  <a:pt x="389" y="136"/>
                  <a:pt x="389" y="137"/>
                  <a:pt x="388" y="137"/>
                </a:cubicBezTo>
                <a:cubicBezTo>
                  <a:pt x="388" y="137"/>
                  <a:pt x="388" y="138"/>
                  <a:pt x="388" y="139"/>
                </a:cubicBezTo>
                <a:cubicBezTo>
                  <a:pt x="388" y="140"/>
                  <a:pt x="387" y="141"/>
                  <a:pt x="386" y="142"/>
                </a:cubicBezTo>
                <a:cubicBezTo>
                  <a:pt x="385" y="143"/>
                  <a:pt x="385" y="144"/>
                  <a:pt x="385" y="144"/>
                </a:cubicBezTo>
                <a:lnTo>
                  <a:pt x="389" y="143"/>
                </a:lnTo>
                <a:cubicBezTo>
                  <a:pt x="389" y="143"/>
                  <a:pt x="388" y="144"/>
                  <a:pt x="387" y="145"/>
                </a:cubicBezTo>
                <a:cubicBezTo>
                  <a:pt x="386" y="146"/>
                  <a:pt x="386" y="147"/>
                  <a:pt x="386" y="148"/>
                </a:cubicBezTo>
                <a:cubicBezTo>
                  <a:pt x="386" y="149"/>
                  <a:pt x="386" y="149"/>
                  <a:pt x="386" y="150"/>
                </a:cubicBezTo>
                <a:lnTo>
                  <a:pt x="386" y="150"/>
                </a:lnTo>
                <a:lnTo>
                  <a:pt x="385" y="150"/>
                </a:lnTo>
                <a:cubicBezTo>
                  <a:pt x="384" y="150"/>
                  <a:pt x="383" y="150"/>
                  <a:pt x="383" y="151"/>
                </a:cubicBezTo>
                <a:cubicBezTo>
                  <a:pt x="383" y="152"/>
                  <a:pt x="382" y="153"/>
                  <a:pt x="382" y="154"/>
                </a:cubicBezTo>
                <a:cubicBezTo>
                  <a:pt x="382" y="154"/>
                  <a:pt x="381" y="155"/>
                  <a:pt x="380" y="155"/>
                </a:cubicBezTo>
                <a:cubicBezTo>
                  <a:pt x="380" y="155"/>
                  <a:pt x="379" y="155"/>
                  <a:pt x="379" y="156"/>
                </a:cubicBezTo>
                <a:cubicBezTo>
                  <a:pt x="379" y="157"/>
                  <a:pt x="380" y="158"/>
                  <a:pt x="382" y="158"/>
                </a:cubicBezTo>
                <a:lnTo>
                  <a:pt x="384" y="158"/>
                </a:lnTo>
                <a:cubicBezTo>
                  <a:pt x="384" y="158"/>
                  <a:pt x="383" y="159"/>
                  <a:pt x="381" y="161"/>
                </a:cubicBezTo>
                <a:cubicBezTo>
                  <a:pt x="379" y="164"/>
                  <a:pt x="377" y="166"/>
                  <a:pt x="377" y="166"/>
                </a:cubicBezTo>
                <a:cubicBezTo>
                  <a:pt x="377" y="167"/>
                  <a:pt x="377" y="167"/>
                  <a:pt x="377" y="167"/>
                </a:cubicBezTo>
                <a:cubicBezTo>
                  <a:pt x="378" y="167"/>
                  <a:pt x="378" y="167"/>
                  <a:pt x="379" y="166"/>
                </a:cubicBezTo>
                <a:lnTo>
                  <a:pt x="380" y="165"/>
                </a:lnTo>
                <a:cubicBezTo>
                  <a:pt x="380" y="166"/>
                  <a:pt x="379" y="168"/>
                  <a:pt x="377" y="170"/>
                </a:cubicBezTo>
                <a:cubicBezTo>
                  <a:pt x="375" y="173"/>
                  <a:pt x="374" y="174"/>
                  <a:pt x="374" y="175"/>
                </a:cubicBezTo>
                <a:cubicBezTo>
                  <a:pt x="374" y="175"/>
                  <a:pt x="374" y="175"/>
                  <a:pt x="374" y="175"/>
                </a:cubicBezTo>
                <a:lnTo>
                  <a:pt x="379" y="174"/>
                </a:lnTo>
                <a:cubicBezTo>
                  <a:pt x="379" y="174"/>
                  <a:pt x="378" y="175"/>
                  <a:pt x="377" y="176"/>
                </a:cubicBezTo>
                <a:cubicBezTo>
                  <a:pt x="376" y="178"/>
                  <a:pt x="375" y="178"/>
                  <a:pt x="375" y="179"/>
                </a:cubicBezTo>
                <a:cubicBezTo>
                  <a:pt x="375" y="179"/>
                  <a:pt x="376" y="179"/>
                  <a:pt x="376" y="179"/>
                </a:cubicBezTo>
                <a:cubicBezTo>
                  <a:pt x="376" y="179"/>
                  <a:pt x="377" y="179"/>
                  <a:pt x="377" y="180"/>
                </a:cubicBezTo>
                <a:cubicBezTo>
                  <a:pt x="377" y="180"/>
                  <a:pt x="375" y="182"/>
                  <a:pt x="372" y="186"/>
                </a:cubicBezTo>
                <a:cubicBezTo>
                  <a:pt x="370" y="188"/>
                  <a:pt x="369" y="190"/>
                  <a:pt x="369" y="191"/>
                </a:cubicBezTo>
                <a:cubicBezTo>
                  <a:pt x="369" y="191"/>
                  <a:pt x="369" y="192"/>
                  <a:pt x="370" y="192"/>
                </a:cubicBezTo>
                <a:cubicBezTo>
                  <a:pt x="370" y="192"/>
                  <a:pt x="370" y="192"/>
                  <a:pt x="370" y="192"/>
                </a:cubicBezTo>
                <a:lnTo>
                  <a:pt x="370" y="192"/>
                </a:lnTo>
                <a:cubicBezTo>
                  <a:pt x="370" y="193"/>
                  <a:pt x="370" y="194"/>
                  <a:pt x="368" y="195"/>
                </a:cubicBezTo>
                <a:cubicBezTo>
                  <a:pt x="366" y="197"/>
                  <a:pt x="365" y="198"/>
                  <a:pt x="365" y="199"/>
                </a:cubicBezTo>
                <a:lnTo>
                  <a:pt x="366" y="200"/>
                </a:lnTo>
                <a:cubicBezTo>
                  <a:pt x="366" y="203"/>
                  <a:pt x="366" y="204"/>
                  <a:pt x="365" y="204"/>
                </a:cubicBezTo>
                <a:lnTo>
                  <a:pt x="364" y="206"/>
                </a:lnTo>
                <a:cubicBezTo>
                  <a:pt x="364" y="206"/>
                  <a:pt x="363" y="205"/>
                  <a:pt x="363" y="205"/>
                </a:cubicBezTo>
                <a:lnTo>
                  <a:pt x="365" y="202"/>
                </a:lnTo>
                <a:cubicBezTo>
                  <a:pt x="364" y="202"/>
                  <a:pt x="364" y="202"/>
                  <a:pt x="363" y="203"/>
                </a:cubicBezTo>
                <a:cubicBezTo>
                  <a:pt x="363" y="203"/>
                  <a:pt x="362" y="204"/>
                  <a:pt x="362" y="205"/>
                </a:cubicBezTo>
                <a:cubicBezTo>
                  <a:pt x="362" y="206"/>
                  <a:pt x="361" y="206"/>
                  <a:pt x="361" y="207"/>
                </a:cubicBezTo>
                <a:cubicBezTo>
                  <a:pt x="361" y="208"/>
                  <a:pt x="362" y="209"/>
                  <a:pt x="362" y="209"/>
                </a:cubicBezTo>
                <a:lnTo>
                  <a:pt x="364" y="209"/>
                </a:lnTo>
                <a:lnTo>
                  <a:pt x="363" y="215"/>
                </a:lnTo>
                <a:cubicBezTo>
                  <a:pt x="360" y="220"/>
                  <a:pt x="359" y="223"/>
                  <a:pt x="359" y="224"/>
                </a:cubicBezTo>
                <a:cubicBezTo>
                  <a:pt x="358" y="224"/>
                  <a:pt x="358" y="223"/>
                  <a:pt x="357" y="223"/>
                </a:cubicBezTo>
                <a:cubicBezTo>
                  <a:pt x="357" y="223"/>
                  <a:pt x="357" y="223"/>
                  <a:pt x="357" y="224"/>
                </a:cubicBezTo>
                <a:lnTo>
                  <a:pt x="357" y="225"/>
                </a:lnTo>
                <a:cubicBezTo>
                  <a:pt x="357" y="227"/>
                  <a:pt x="356" y="228"/>
                  <a:pt x="355" y="228"/>
                </a:cubicBezTo>
                <a:cubicBezTo>
                  <a:pt x="355" y="228"/>
                  <a:pt x="354" y="230"/>
                  <a:pt x="353" y="233"/>
                </a:cubicBezTo>
                <a:cubicBezTo>
                  <a:pt x="352" y="236"/>
                  <a:pt x="352" y="238"/>
                  <a:pt x="350" y="238"/>
                </a:cubicBezTo>
                <a:cubicBezTo>
                  <a:pt x="349" y="238"/>
                  <a:pt x="348" y="237"/>
                  <a:pt x="347" y="234"/>
                </a:cubicBezTo>
                <a:lnTo>
                  <a:pt x="347" y="232"/>
                </a:lnTo>
                <a:cubicBezTo>
                  <a:pt x="347" y="231"/>
                  <a:pt x="347" y="231"/>
                  <a:pt x="347" y="231"/>
                </a:cubicBezTo>
                <a:lnTo>
                  <a:pt x="349" y="232"/>
                </a:lnTo>
                <a:cubicBezTo>
                  <a:pt x="350" y="232"/>
                  <a:pt x="350" y="232"/>
                  <a:pt x="350" y="231"/>
                </a:cubicBezTo>
                <a:cubicBezTo>
                  <a:pt x="350" y="231"/>
                  <a:pt x="350" y="230"/>
                  <a:pt x="349" y="230"/>
                </a:cubicBezTo>
                <a:cubicBezTo>
                  <a:pt x="349" y="229"/>
                  <a:pt x="349" y="228"/>
                  <a:pt x="349" y="228"/>
                </a:cubicBezTo>
                <a:cubicBezTo>
                  <a:pt x="349" y="227"/>
                  <a:pt x="349" y="227"/>
                  <a:pt x="350" y="227"/>
                </a:cubicBezTo>
                <a:cubicBezTo>
                  <a:pt x="351" y="227"/>
                  <a:pt x="352" y="226"/>
                  <a:pt x="353" y="225"/>
                </a:cubicBezTo>
                <a:cubicBezTo>
                  <a:pt x="355" y="220"/>
                  <a:pt x="356" y="216"/>
                  <a:pt x="356" y="213"/>
                </a:cubicBezTo>
                <a:cubicBezTo>
                  <a:pt x="356" y="210"/>
                  <a:pt x="356" y="209"/>
                  <a:pt x="357" y="209"/>
                </a:cubicBezTo>
                <a:lnTo>
                  <a:pt x="358" y="209"/>
                </a:lnTo>
                <a:lnTo>
                  <a:pt x="359" y="209"/>
                </a:lnTo>
                <a:lnTo>
                  <a:pt x="358" y="207"/>
                </a:lnTo>
                <a:cubicBezTo>
                  <a:pt x="357" y="206"/>
                  <a:pt x="357" y="206"/>
                  <a:pt x="357" y="205"/>
                </a:cubicBezTo>
                <a:cubicBezTo>
                  <a:pt x="357" y="204"/>
                  <a:pt x="357" y="203"/>
                  <a:pt x="359" y="201"/>
                </a:cubicBezTo>
                <a:cubicBezTo>
                  <a:pt x="361" y="200"/>
                  <a:pt x="362" y="198"/>
                  <a:pt x="362" y="198"/>
                </a:cubicBezTo>
                <a:cubicBezTo>
                  <a:pt x="362" y="198"/>
                  <a:pt x="362" y="198"/>
                  <a:pt x="362" y="198"/>
                </a:cubicBezTo>
                <a:cubicBezTo>
                  <a:pt x="361" y="198"/>
                  <a:pt x="361" y="197"/>
                  <a:pt x="361" y="195"/>
                </a:cubicBezTo>
                <a:cubicBezTo>
                  <a:pt x="362" y="193"/>
                  <a:pt x="362" y="192"/>
                  <a:pt x="363" y="192"/>
                </a:cubicBezTo>
                <a:lnTo>
                  <a:pt x="363" y="192"/>
                </a:lnTo>
                <a:cubicBezTo>
                  <a:pt x="364" y="192"/>
                  <a:pt x="365" y="187"/>
                  <a:pt x="366" y="176"/>
                </a:cubicBezTo>
                <a:cubicBezTo>
                  <a:pt x="366" y="174"/>
                  <a:pt x="366" y="173"/>
                  <a:pt x="367" y="173"/>
                </a:cubicBezTo>
                <a:lnTo>
                  <a:pt x="371" y="175"/>
                </a:lnTo>
                <a:lnTo>
                  <a:pt x="370" y="174"/>
                </a:lnTo>
                <a:cubicBezTo>
                  <a:pt x="370" y="171"/>
                  <a:pt x="371" y="167"/>
                  <a:pt x="372" y="162"/>
                </a:cubicBezTo>
                <a:cubicBezTo>
                  <a:pt x="374" y="158"/>
                  <a:pt x="374" y="154"/>
                  <a:pt x="374" y="151"/>
                </a:cubicBezTo>
                <a:cubicBezTo>
                  <a:pt x="374" y="150"/>
                  <a:pt x="375" y="148"/>
                  <a:pt x="377" y="147"/>
                </a:cubicBezTo>
                <a:cubicBezTo>
                  <a:pt x="378" y="146"/>
                  <a:pt x="379" y="145"/>
                  <a:pt x="379" y="143"/>
                </a:cubicBezTo>
                <a:cubicBezTo>
                  <a:pt x="379" y="142"/>
                  <a:pt x="380" y="140"/>
                  <a:pt x="381" y="138"/>
                </a:cubicBezTo>
                <a:cubicBezTo>
                  <a:pt x="382" y="137"/>
                  <a:pt x="383" y="134"/>
                  <a:pt x="384" y="132"/>
                </a:cubicBezTo>
                <a:cubicBezTo>
                  <a:pt x="384" y="129"/>
                  <a:pt x="385" y="127"/>
                  <a:pt x="385" y="125"/>
                </a:cubicBezTo>
                <a:cubicBezTo>
                  <a:pt x="385" y="124"/>
                  <a:pt x="384" y="124"/>
                  <a:pt x="384" y="124"/>
                </a:cubicBezTo>
                <a:lnTo>
                  <a:pt x="383" y="124"/>
                </a:lnTo>
                <a:lnTo>
                  <a:pt x="384" y="122"/>
                </a:lnTo>
                <a:cubicBezTo>
                  <a:pt x="385" y="120"/>
                  <a:pt x="385" y="119"/>
                  <a:pt x="385" y="117"/>
                </a:cubicBezTo>
                <a:cubicBezTo>
                  <a:pt x="385" y="117"/>
                  <a:pt x="385" y="117"/>
                  <a:pt x="385" y="117"/>
                </a:cubicBezTo>
                <a:lnTo>
                  <a:pt x="386" y="116"/>
                </a:lnTo>
                <a:cubicBezTo>
                  <a:pt x="387" y="116"/>
                  <a:pt x="388" y="116"/>
                  <a:pt x="388" y="115"/>
                </a:cubicBezTo>
                <a:lnTo>
                  <a:pt x="388" y="113"/>
                </a:lnTo>
                <a:cubicBezTo>
                  <a:pt x="388" y="111"/>
                  <a:pt x="388" y="109"/>
                  <a:pt x="389" y="108"/>
                </a:cubicBezTo>
                <a:lnTo>
                  <a:pt x="390" y="106"/>
                </a:lnTo>
                <a:lnTo>
                  <a:pt x="387" y="108"/>
                </a:lnTo>
                <a:cubicBezTo>
                  <a:pt x="387" y="108"/>
                  <a:pt x="387" y="107"/>
                  <a:pt x="387" y="107"/>
                </a:cubicBezTo>
                <a:cubicBezTo>
                  <a:pt x="387" y="107"/>
                  <a:pt x="387" y="106"/>
                  <a:pt x="389" y="105"/>
                </a:cubicBezTo>
                <a:cubicBezTo>
                  <a:pt x="390" y="103"/>
                  <a:pt x="391" y="101"/>
                  <a:pt x="391" y="99"/>
                </a:cubicBezTo>
                <a:lnTo>
                  <a:pt x="391" y="97"/>
                </a:lnTo>
                <a:cubicBezTo>
                  <a:pt x="391" y="96"/>
                  <a:pt x="392" y="96"/>
                  <a:pt x="392" y="96"/>
                </a:cubicBezTo>
                <a:cubicBezTo>
                  <a:pt x="393" y="96"/>
                  <a:pt x="394" y="95"/>
                  <a:pt x="394" y="94"/>
                </a:cubicBezTo>
                <a:lnTo>
                  <a:pt x="393" y="93"/>
                </a:lnTo>
                <a:cubicBezTo>
                  <a:pt x="393" y="90"/>
                  <a:pt x="394" y="90"/>
                  <a:pt x="394" y="90"/>
                </a:cubicBezTo>
                <a:cubicBezTo>
                  <a:pt x="395" y="90"/>
                  <a:pt x="395" y="88"/>
                  <a:pt x="395" y="83"/>
                </a:cubicBezTo>
                <a:cubicBezTo>
                  <a:pt x="395" y="80"/>
                  <a:pt x="396" y="77"/>
                  <a:pt x="397" y="75"/>
                </a:cubicBezTo>
                <a:cubicBezTo>
                  <a:pt x="399" y="74"/>
                  <a:pt x="399" y="73"/>
                  <a:pt x="399" y="72"/>
                </a:cubicBezTo>
                <a:cubicBezTo>
                  <a:pt x="399" y="72"/>
                  <a:pt x="399" y="71"/>
                  <a:pt x="398" y="71"/>
                </a:cubicBezTo>
                <a:cubicBezTo>
                  <a:pt x="397" y="71"/>
                  <a:pt x="397" y="71"/>
                  <a:pt x="397" y="71"/>
                </a:cubicBezTo>
                <a:cubicBezTo>
                  <a:pt x="397" y="70"/>
                  <a:pt x="397" y="69"/>
                  <a:pt x="398" y="67"/>
                </a:cubicBezTo>
                <a:cubicBezTo>
                  <a:pt x="398" y="66"/>
                  <a:pt x="399" y="64"/>
                  <a:pt x="399" y="61"/>
                </a:cubicBezTo>
                <a:lnTo>
                  <a:pt x="398" y="60"/>
                </a:lnTo>
                <a:lnTo>
                  <a:pt x="399" y="60"/>
                </a:lnTo>
                <a:cubicBezTo>
                  <a:pt x="400" y="60"/>
                  <a:pt x="400" y="56"/>
                  <a:pt x="400" y="50"/>
                </a:cubicBezTo>
                <a:cubicBezTo>
                  <a:pt x="400" y="43"/>
                  <a:pt x="400" y="39"/>
                  <a:pt x="400" y="38"/>
                </a:cubicBezTo>
                <a:cubicBezTo>
                  <a:pt x="399" y="37"/>
                  <a:pt x="399" y="37"/>
                  <a:pt x="399" y="37"/>
                </a:cubicBezTo>
                <a:lnTo>
                  <a:pt x="394" y="65"/>
                </a:lnTo>
                <a:cubicBezTo>
                  <a:pt x="394" y="67"/>
                  <a:pt x="394" y="68"/>
                  <a:pt x="394" y="70"/>
                </a:cubicBezTo>
                <a:cubicBezTo>
                  <a:pt x="394" y="71"/>
                  <a:pt x="393" y="71"/>
                  <a:pt x="392" y="71"/>
                </a:cubicBezTo>
                <a:cubicBezTo>
                  <a:pt x="392" y="71"/>
                  <a:pt x="391" y="72"/>
                  <a:pt x="391" y="74"/>
                </a:cubicBezTo>
                <a:lnTo>
                  <a:pt x="391" y="76"/>
                </a:lnTo>
                <a:cubicBezTo>
                  <a:pt x="391" y="77"/>
                  <a:pt x="391" y="78"/>
                  <a:pt x="390" y="78"/>
                </a:cubicBezTo>
                <a:cubicBezTo>
                  <a:pt x="389" y="78"/>
                  <a:pt x="389" y="78"/>
                  <a:pt x="389" y="81"/>
                </a:cubicBezTo>
                <a:lnTo>
                  <a:pt x="389" y="83"/>
                </a:lnTo>
                <a:cubicBezTo>
                  <a:pt x="389" y="83"/>
                  <a:pt x="389" y="83"/>
                  <a:pt x="389" y="83"/>
                </a:cubicBezTo>
                <a:lnTo>
                  <a:pt x="385" y="82"/>
                </a:lnTo>
                <a:lnTo>
                  <a:pt x="385" y="83"/>
                </a:lnTo>
                <a:cubicBezTo>
                  <a:pt x="385" y="83"/>
                  <a:pt x="386" y="84"/>
                  <a:pt x="387" y="85"/>
                </a:cubicBezTo>
                <a:cubicBezTo>
                  <a:pt x="387" y="86"/>
                  <a:pt x="388" y="87"/>
                  <a:pt x="388" y="88"/>
                </a:cubicBezTo>
                <a:cubicBezTo>
                  <a:pt x="388" y="90"/>
                  <a:pt x="387" y="91"/>
                  <a:pt x="385" y="91"/>
                </a:cubicBezTo>
                <a:lnTo>
                  <a:pt x="381" y="90"/>
                </a:lnTo>
                <a:lnTo>
                  <a:pt x="383" y="92"/>
                </a:lnTo>
                <a:cubicBezTo>
                  <a:pt x="385" y="93"/>
                  <a:pt x="386" y="94"/>
                  <a:pt x="386" y="95"/>
                </a:cubicBezTo>
                <a:cubicBezTo>
                  <a:pt x="386" y="96"/>
                  <a:pt x="385" y="97"/>
                  <a:pt x="385" y="98"/>
                </a:cubicBezTo>
                <a:cubicBezTo>
                  <a:pt x="384" y="99"/>
                  <a:pt x="383" y="103"/>
                  <a:pt x="382" y="109"/>
                </a:cubicBezTo>
                <a:cubicBezTo>
                  <a:pt x="380" y="115"/>
                  <a:pt x="380" y="118"/>
                  <a:pt x="379" y="118"/>
                </a:cubicBezTo>
                <a:cubicBezTo>
                  <a:pt x="378" y="118"/>
                  <a:pt x="377" y="119"/>
                  <a:pt x="377" y="120"/>
                </a:cubicBezTo>
                <a:lnTo>
                  <a:pt x="377" y="120"/>
                </a:lnTo>
                <a:cubicBezTo>
                  <a:pt x="377" y="122"/>
                  <a:pt x="377" y="125"/>
                  <a:pt x="375" y="131"/>
                </a:cubicBezTo>
                <a:cubicBezTo>
                  <a:pt x="373" y="141"/>
                  <a:pt x="369" y="152"/>
                  <a:pt x="363" y="166"/>
                </a:cubicBezTo>
                <a:cubicBezTo>
                  <a:pt x="363" y="167"/>
                  <a:pt x="362" y="169"/>
                  <a:pt x="361" y="172"/>
                </a:cubicBezTo>
                <a:cubicBezTo>
                  <a:pt x="360" y="174"/>
                  <a:pt x="359" y="177"/>
                  <a:pt x="358" y="180"/>
                </a:cubicBezTo>
                <a:cubicBezTo>
                  <a:pt x="357" y="182"/>
                  <a:pt x="356" y="185"/>
                  <a:pt x="355" y="188"/>
                </a:cubicBezTo>
                <a:lnTo>
                  <a:pt x="351" y="201"/>
                </a:lnTo>
                <a:cubicBezTo>
                  <a:pt x="349" y="207"/>
                  <a:pt x="347" y="212"/>
                  <a:pt x="345" y="214"/>
                </a:cubicBezTo>
                <a:cubicBezTo>
                  <a:pt x="343" y="215"/>
                  <a:pt x="343" y="218"/>
                  <a:pt x="343" y="220"/>
                </a:cubicBezTo>
                <a:lnTo>
                  <a:pt x="343" y="223"/>
                </a:lnTo>
                <a:cubicBezTo>
                  <a:pt x="343" y="223"/>
                  <a:pt x="343" y="224"/>
                  <a:pt x="343" y="224"/>
                </a:cubicBezTo>
                <a:lnTo>
                  <a:pt x="341" y="223"/>
                </a:lnTo>
                <a:cubicBezTo>
                  <a:pt x="340" y="223"/>
                  <a:pt x="340" y="223"/>
                  <a:pt x="340" y="223"/>
                </a:cubicBezTo>
                <a:lnTo>
                  <a:pt x="341" y="227"/>
                </a:lnTo>
                <a:cubicBezTo>
                  <a:pt x="341" y="228"/>
                  <a:pt x="341" y="228"/>
                  <a:pt x="341" y="228"/>
                </a:cubicBezTo>
                <a:lnTo>
                  <a:pt x="340" y="228"/>
                </a:lnTo>
                <a:cubicBezTo>
                  <a:pt x="339" y="228"/>
                  <a:pt x="338" y="229"/>
                  <a:pt x="337" y="231"/>
                </a:cubicBezTo>
                <a:cubicBezTo>
                  <a:pt x="337" y="233"/>
                  <a:pt x="335" y="236"/>
                  <a:pt x="335" y="238"/>
                </a:cubicBezTo>
                <a:cubicBezTo>
                  <a:pt x="333" y="241"/>
                  <a:pt x="333" y="244"/>
                  <a:pt x="333" y="245"/>
                </a:cubicBezTo>
                <a:cubicBezTo>
                  <a:pt x="333" y="246"/>
                  <a:pt x="333" y="247"/>
                  <a:pt x="333" y="247"/>
                </a:cubicBezTo>
                <a:cubicBezTo>
                  <a:pt x="334" y="247"/>
                  <a:pt x="334" y="248"/>
                  <a:pt x="334" y="248"/>
                </a:cubicBezTo>
                <a:lnTo>
                  <a:pt x="333" y="248"/>
                </a:lnTo>
                <a:cubicBezTo>
                  <a:pt x="332" y="248"/>
                  <a:pt x="330" y="249"/>
                  <a:pt x="330" y="251"/>
                </a:cubicBezTo>
                <a:cubicBezTo>
                  <a:pt x="329" y="254"/>
                  <a:pt x="327" y="255"/>
                  <a:pt x="326" y="255"/>
                </a:cubicBezTo>
                <a:cubicBezTo>
                  <a:pt x="324" y="255"/>
                  <a:pt x="323" y="255"/>
                  <a:pt x="323" y="257"/>
                </a:cubicBezTo>
                <a:cubicBezTo>
                  <a:pt x="323" y="258"/>
                  <a:pt x="323" y="258"/>
                  <a:pt x="325" y="258"/>
                </a:cubicBezTo>
                <a:lnTo>
                  <a:pt x="325" y="257"/>
                </a:lnTo>
                <a:cubicBezTo>
                  <a:pt x="326" y="257"/>
                  <a:pt x="326" y="258"/>
                  <a:pt x="326" y="258"/>
                </a:cubicBezTo>
                <a:cubicBezTo>
                  <a:pt x="326" y="259"/>
                  <a:pt x="325" y="261"/>
                  <a:pt x="324" y="262"/>
                </a:cubicBezTo>
                <a:lnTo>
                  <a:pt x="322" y="262"/>
                </a:lnTo>
                <a:cubicBezTo>
                  <a:pt x="322" y="262"/>
                  <a:pt x="321" y="263"/>
                  <a:pt x="320" y="265"/>
                </a:cubicBezTo>
                <a:cubicBezTo>
                  <a:pt x="319" y="267"/>
                  <a:pt x="317" y="272"/>
                  <a:pt x="314" y="280"/>
                </a:cubicBezTo>
                <a:cubicBezTo>
                  <a:pt x="313" y="283"/>
                  <a:pt x="312" y="286"/>
                  <a:pt x="311" y="289"/>
                </a:cubicBezTo>
                <a:cubicBezTo>
                  <a:pt x="310" y="292"/>
                  <a:pt x="309" y="295"/>
                  <a:pt x="308" y="296"/>
                </a:cubicBezTo>
                <a:cubicBezTo>
                  <a:pt x="307" y="298"/>
                  <a:pt x="306" y="300"/>
                  <a:pt x="306" y="302"/>
                </a:cubicBezTo>
                <a:cubicBezTo>
                  <a:pt x="305" y="304"/>
                  <a:pt x="305" y="306"/>
                  <a:pt x="304" y="307"/>
                </a:cubicBezTo>
                <a:cubicBezTo>
                  <a:pt x="303" y="308"/>
                  <a:pt x="303" y="310"/>
                  <a:pt x="303" y="311"/>
                </a:cubicBezTo>
                <a:cubicBezTo>
                  <a:pt x="303" y="311"/>
                  <a:pt x="303" y="312"/>
                  <a:pt x="303" y="313"/>
                </a:cubicBezTo>
                <a:cubicBezTo>
                  <a:pt x="302" y="314"/>
                  <a:pt x="302" y="316"/>
                  <a:pt x="301" y="317"/>
                </a:cubicBezTo>
                <a:cubicBezTo>
                  <a:pt x="298" y="322"/>
                  <a:pt x="296" y="325"/>
                  <a:pt x="294" y="325"/>
                </a:cubicBezTo>
                <a:lnTo>
                  <a:pt x="293" y="325"/>
                </a:lnTo>
                <a:cubicBezTo>
                  <a:pt x="292" y="325"/>
                  <a:pt x="292" y="325"/>
                  <a:pt x="292" y="326"/>
                </a:cubicBezTo>
                <a:cubicBezTo>
                  <a:pt x="292" y="326"/>
                  <a:pt x="292" y="327"/>
                  <a:pt x="293" y="327"/>
                </a:cubicBezTo>
                <a:cubicBezTo>
                  <a:pt x="293" y="328"/>
                  <a:pt x="293" y="328"/>
                  <a:pt x="294" y="328"/>
                </a:cubicBezTo>
                <a:cubicBezTo>
                  <a:pt x="295" y="328"/>
                  <a:pt x="295" y="329"/>
                  <a:pt x="295" y="330"/>
                </a:cubicBezTo>
                <a:cubicBezTo>
                  <a:pt x="295" y="332"/>
                  <a:pt x="295" y="333"/>
                  <a:pt x="293" y="335"/>
                </a:cubicBezTo>
                <a:cubicBezTo>
                  <a:pt x="293" y="336"/>
                  <a:pt x="293" y="337"/>
                  <a:pt x="293" y="338"/>
                </a:cubicBezTo>
                <a:cubicBezTo>
                  <a:pt x="293" y="339"/>
                  <a:pt x="293" y="340"/>
                  <a:pt x="293" y="341"/>
                </a:cubicBezTo>
                <a:cubicBezTo>
                  <a:pt x="293" y="342"/>
                  <a:pt x="294" y="343"/>
                  <a:pt x="294" y="343"/>
                </a:cubicBezTo>
                <a:cubicBezTo>
                  <a:pt x="294" y="344"/>
                  <a:pt x="293" y="344"/>
                  <a:pt x="293" y="344"/>
                </a:cubicBezTo>
                <a:lnTo>
                  <a:pt x="291" y="344"/>
                </a:lnTo>
                <a:cubicBezTo>
                  <a:pt x="289" y="344"/>
                  <a:pt x="286" y="348"/>
                  <a:pt x="283" y="357"/>
                </a:cubicBezTo>
                <a:cubicBezTo>
                  <a:pt x="280" y="365"/>
                  <a:pt x="278" y="370"/>
                  <a:pt x="278" y="372"/>
                </a:cubicBezTo>
                <a:cubicBezTo>
                  <a:pt x="278" y="372"/>
                  <a:pt x="279" y="372"/>
                  <a:pt x="279" y="372"/>
                </a:cubicBezTo>
                <a:lnTo>
                  <a:pt x="281" y="372"/>
                </a:lnTo>
                <a:cubicBezTo>
                  <a:pt x="282" y="372"/>
                  <a:pt x="282" y="372"/>
                  <a:pt x="282" y="373"/>
                </a:cubicBezTo>
                <a:cubicBezTo>
                  <a:pt x="282" y="374"/>
                  <a:pt x="281" y="374"/>
                  <a:pt x="280" y="374"/>
                </a:cubicBezTo>
                <a:lnTo>
                  <a:pt x="279" y="374"/>
                </a:lnTo>
                <a:cubicBezTo>
                  <a:pt x="278" y="374"/>
                  <a:pt x="276" y="376"/>
                  <a:pt x="274" y="380"/>
                </a:cubicBezTo>
                <a:cubicBezTo>
                  <a:pt x="272" y="384"/>
                  <a:pt x="270" y="388"/>
                  <a:pt x="269" y="393"/>
                </a:cubicBezTo>
                <a:cubicBezTo>
                  <a:pt x="267" y="398"/>
                  <a:pt x="266" y="402"/>
                  <a:pt x="266" y="404"/>
                </a:cubicBezTo>
                <a:cubicBezTo>
                  <a:pt x="266" y="405"/>
                  <a:pt x="267" y="406"/>
                  <a:pt x="267" y="406"/>
                </a:cubicBezTo>
                <a:lnTo>
                  <a:pt x="268" y="407"/>
                </a:lnTo>
                <a:lnTo>
                  <a:pt x="265" y="406"/>
                </a:lnTo>
                <a:cubicBezTo>
                  <a:pt x="263" y="406"/>
                  <a:pt x="263" y="407"/>
                  <a:pt x="263" y="409"/>
                </a:cubicBezTo>
                <a:cubicBezTo>
                  <a:pt x="263" y="410"/>
                  <a:pt x="263" y="411"/>
                  <a:pt x="265" y="412"/>
                </a:cubicBezTo>
                <a:lnTo>
                  <a:pt x="265" y="413"/>
                </a:lnTo>
                <a:lnTo>
                  <a:pt x="263" y="412"/>
                </a:lnTo>
                <a:cubicBezTo>
                  <a:pt x="262" y="412"/>
                  <a:pt x="261" y="413"/>
                  <a:pt x="261" y="415"/>
                </a:cubicBezTo>
                <a:cubicBezTo>
                  <a:pt x="261" y="416"/>
                  <a:pt x="261" y="417"/>
                  <a:pt x="262" y="417"/>
                </a:cubicBezTo>
                <a:lnTo>
                  <a:pt x="264" y="416"/>
                </a:lnTo>
                <a:cubicBezTo>
                  <a:pt x="264" y="416"/>
                  <a:pt x="265" y="416"/>
                  <a:pt x="265" y="417"/>
                </a:cubicBezTo>
                <a:lnTo>
                  <a:pt x="264" y="418"/>
                </a:lnTo>
                <a:cubicBezTo>
                  <a:pt x="263" y="418"/>
                  <a:pt x="263" y="419"/>
                  <a:pt x="261" y="419"/>
                </a:cubicBezTo>
                <a:cubicBezTo>
                  <a:pt x="260" y="419"/>
                  <a:pt x="260" y="420"/>
                  <a:pt x="258" y="424"/>
                </a:cubicBezTo>
                <a:cubicBezTo>
                  <a:pt x="254" y="434"/>
                  <a:pt x="252" y="441"/>
                  <a:pt x="252" y="445"/>
                </a:cubicBezTo>
                <a:lnTo>
                  <a:pt x="253" y="448"/>
                </a:lnTo>
                <a:cubicBezTo>
                  <a:pt x="253" y="448"/>
                  <a:pt x="253" y="448"/>
                  <a:pt x="253" y="448"/>
                </a:cubicBezTo>
                <a:lnTo>
                  <a:pt x="251" y="448"/>
                </a:lnTo>
                <a:cubicBezTo>
                  <a:pt x="251" y="448"/>
                  <a:pt x="250" y="448"/>
                  <a:pt x="250" y="449"/>
                </a:cubicBezTo>
                <a:cubicBezTo>
                  <a:pt x="249" y="451"/>
                  <a:pt x="248" y="452"/>
                  <a:pt x="248" y="454"/>
                </a:cubicBezTo>
                <a:cubicBezTo>
                  <a:pt x="246" y="459"/>
                  <a:pt x="245" y="463"/>
                  <a:pt x="243" y="466"/>
                </a:cubicBezTo>
                <a:cubicBezTo>
                  <a:pt x="241" y="474"/>
                  <a:pt x="239" y="480"/>
                  <a:pt x="238" y="484"/>
                </a:cubicBezTo>
                <a:lnTo>
                  <a:pt x="237" y="491"/>
                </a:lnTo>
                <a:cubicBezTo>
                  <a:pt x="237" y="492"/>
                  <a:pt x="236" y="493"/>
                  <a:pt x="235" y="495"/>
                </a:cubicBezTo>
                <a:cubicBezTo>
                  <a:pt x="233" y="497"/>
                  <a:pt x="233" y="498"/>
                  <a:pt x="233" y="500"/>
                </a:cubicBezTo>
                <a:lnTo>
                  <a:pt x="233" y="501"/>
                </a:lnTo>
                <a:cubicBezTo>
                  <a:pt x="233" y="503"/>
                  <a:pt x="232" y="504"/>
                  <a:pt x="231" y="505"/>
                </a:cubicBezTo>
                <a:cubicBezTo>
                  <a:pt x="231" y="506"/>
                  <a:pt x="230" y="506"/>
                  <a:pt x="229" y="507"/>
                </a:cubicBezTo>
                <a:lnTo>
                  <a:pt x="228" y="517"/>
                </a:lnTo>
                <a:lnTo>
                  <a:pt x="228" y="523"/>
                </a:lnTo>
                <a:lnTo>
                  <a:pt x="229" y="522"/>
                </a:lnTo>
                <a:cubicBezTo>
                  <a:pt x="230" y="522"/>
                  <a:pt x="230" y="522"/>
                  <a:pt x="230" y="522"/>
                </a:cubicBezTo>
                <a:cubicBezTo>
                  <a:pt x="230" y="523"/>
                  <a:pt x="229" y="525"/>
                  <a:pt x="228" y="529"/>
                </a:cubicBezTo>
                <a:lnTo>
                  <a:pt x="227" y="530"/>
                </a:lnTo>
                <a:cubicBezTo>
                  <a:pt x="226" y="533"/>
                  <a:pt x="226" y="535"/>
                  <a:pt x="226" y="536"/>
                </a:cubicBezTo>
                <a:cubicBezTo>
                  <a:pt x="226" y="537"/>
                  <a:pt x="226" y="538"/>
                  <a:pt x="226" y="538"/>
                </a:cubicBezTo>
                <a:cubicBezTo>
                  <a:pt x="227" y="538"/>
                  <a:pt x="228" y="536"/>
                  <a:pt x="230" y="533"/>
                </a:cubicBezTo>
                <a:cubicBezTo>
                  <a:pt x="231" y="531"/>
                  <a:pt x="231" y="530"/>
                  <a:pt x="232" y="529"/>
                </a:cubicBezTo>
                <a:cubicBezTo>
                  <a:pt x="232" y="529"/>
                  <a:pt x="233" y="529"/>
                  <a:pt x="234" y="528"/>
                </a:cubicBezTo>
                <a:lnTo>
                  <a:pt x="235" y="528"/>
                </a:lnTo>
                <a:cubicBezTo>
                  <a:pt x="235" y="528"/>
                  <a:pt x="236" y="528"/>
                  <a:pt x="236" y="528"/>
                </a:cubicBezTo>
                <a:cubicBezTo>
                  <a:pt x="236" y="529"/>
                  <a:pt x="235" y="530"/>
                  <a:pt x="235" y="531"/>
                </a:cubicBezTo>
                <a:cubicBezTo>
                  <a:pt x="227" y="552"/>
                  <a:pt x="223" y="563"/>
                  <a:pt x="223" y="566"/>
                </a:cubicBezTo>
                <a:cubicBezTo>
                  <a:pt x="223" y="566"/>
                  <a:pt x="225" y="563"/>
                  <a:pt x="227" y="557"/>
                </a:cubicBezTo>
                <a:lnTo>
                  <a:pt x="230" y="550"/>
                </a:lnTo>
                <a:lnTo>
                  <a:pt x="233" y="546"/>
                </a:lnTo>
                <a:lnTo>
                  <a:pt x="233" y="547"/>
                </a:lnTo>
                <a:cubicBezTo>
                  <a:pt x="233" y="548"/>
                  <a:pt x="233" y="549"/>
                  <a:pt x="232" y="551"/>
                </a:cubicBezTo>
                <a:cubicBezTo>
                  <a:pt x="231" y="552"/>
                  <a:pt x="231" y="555"/>
                  <a:pt x="231" y="558"/>
                </a:cubicBezTo>
                <a:cubicBezTo>
                  <a:pt x="231" y="559"/>
                  <a:pt x="231" y="560"/>
                  <a:pt x="231" y="560"/>
                </a:cubicBezTo>
                <a:lnTo>
                  <a:pt x="230" y="559"/>
                </a:lnTo>
                <a:cubicBezTo>
                  <a:pt x="230" y="559"/>
                  <a:pt x="229" y="559"/>
                  <a:pt x="229" y="559"/>
                </a:cubicBezTo>
                <a:cubicBezTo>
                  <a:pt x="228" y="559"/>
                  <a:pt x="228" y="559"/>
                  <a:pt x="228" y="561"/>
                </a:cubicBezTo>
                <a:cubicBezTo>
                  <a:pt x="228" y="562"/>
                  <a:pt x="228" y="564"/>
                  <a:pt x="227" y="565"/>
                </a:cubicBezTo>
                <a:cubicBezTo>
                  <a:pt x="226" y="566"/>
                  <a:pt x="226" y="567"/>
                  <a:pt x="226" y="567"/>
                </a:cubicBezTo>
                <a:cubicBezTo>
                  <a:pt x="226" y="568"/>
                  <a:pt x="226" y="568"/>
                  <a:pt x="227" y="568"/>
                </a:cubicBezTo>
                <a:lnTo>
                  <a:pt x="229" y="567"/>
                </a:lnTo>
                <a:lnTo>
                  <a:pt x="229" y="568"/>
                </a:lnTo>
                <a:cubicBezTo>
                  <a:pt x="229" y="568"/>
                  <a:pt x="229" y="569"/>
                  <a:pt x="229" y="570"/>
                </a:cubicBezTo>
                <a:cubicBezTo>
                  <a:pt x="228" y="571"/>
                  <a:pt x="228" y="572"/>
                  <a:pt x="228" y="572"/>
                </a:cubicBezTo>
                <a:cubicBezTo>
                  <a:pt x="227" y="572"/>
                  <a:pt x="227" y="571"/>
                  <a:pt x="227" y="571"/>
                </a:cubicBezTo>
                <a:cubicBezTo>
                  <a:pt x="227" y="571"/>
                  <a:pt x="226" y="570"/>
                  <a:pt x="226" y="570"/>
                </a:cubicBezTo>
                <a:cubicBezTo>
                  <a:pt x="226" y="570"/>
                  <a:pt x="224" y="572"/>
                  <a:pt x="222" y="576"/>
                </a:cubicBezTo>
                <a:cubicBezTo>
                  <a:pt x="219" y="582"/>
                  <a:pt x="218" y="585"/>
                  <a:pt x="217" y="585"/>
                </a:cubicBezTo>
                <a:lnTo>
                  <a:pt x="218" y="579"/>
                </a:lnTo>
                <a:lnTo>
                  <a:pt x="217" y="580"/>
                </a:lnTo>
                <a:cubicBezTo>
                  <a:pt x="216" y="581"/>
                  <a:pt x="216" y="583"/>
                  <a:pt x="216" y="584"/>
                </a:cubicBezTo>
                <a:cubicBezTo>
                  <a:pt x="215" y="585"/>
                  <a:pt x="214" y="587"/>
                  <a:pt x="214" y="589"/>
                </a:cubicBezTo>
                <a:lnTo>
                  <a:pt x="213" y="593"/>
                </a:lnTo>
                <a:cubicBezTo>
                  <a:pt x="213" y="593"/>
                  <a:pt x="214" y="592"/>
                  <a:pt x="216" y="590"/>
                </a:cubicBezTo>
                <a:cubicBezTo>
                  <a:pt x="217" y="588"/>
                  <a:pt x="218" y="587"/>
                  <a:pt x="218" y="587"/>
                </a:cubicBezTo>
                <a:cubicBezTo>
                  <a:pt x="218" y="587"/>
                  <a:pt x="218" y="589"/>
                  <a:pt x="216" y="591"/>
                </a:cubicBezTo>
                <a:cubicBezTo>
                  <a:pt x="215" y="594"/>
                  <a:pt x="214" y="595"/>
                  <a:pt x="213" y="595"/>
                </a:cubicBezTo>
                <a:cubicBezTo>
                  <a:pt x="212" y="595"/>
                  <a:pt x="211" y="596"/>
                  <a:pt x="211" y="598"/>
                </a:cubicBezTo>
                <a:lnTo>
                  <a:pt x="212" y="600"/>
                </a:lnTo>
                <a:cubicBezTo>
                  <a:pt x="212" y="600"/>
                  <a:pt x="211" y="601"/>
                  <a:pt x="211" y="601"/>
                </a:cubicBezTo>
                <a:cubicBezTo>
                  <a:pt x="210" y="601"/>
                  <a:pt x="209" y="601"/>
                  <a:pt x="209" y="602"/>
                </a:cubicBezTo>
                <a:lnTo>
                  <a:pt x="210" y="604"/>
                </a:lnTo>
                <a:cubicBezTo>
                  <a:pt x="210" y="605"/>
                  <a:pt x="210" y="605"/>
                  <a:pt x="210" y="605"/>
                </a:cubicBezTo>
                <a:cubicBezTo>
                  <a:pt x="209" y="605"/>
                  <a:pt x="208" y="606"/>
                  <a:pt x="208" y="607"/>
                </a:cubicBezTo>
                <a:cubicBezTo>
                  <a:pt x="207" y="609"/>
                  <a:pt x="206" y="611"/>
                  <a:pt x="205" y="613"/>
                </a:cubicBezTo>
                <a:cubicBezTo>
                  <a:pt x="204" y="618"/>
                  <a:pt x="203" y="620"/>
                  <a:pt x="201" y="620"/>
                </a:cubicBezTo>
                <a:lnTo>
                  <a:pt x="200" y="620"/>
                </a:lnTo>
                <a:lnTo>
                  <a:pt x="200" y="620"/>
                </a:lnTo>
                <a:lnTo>
                  <a:pt x="201" y="623"/>
                </a:lnTo>
                <a:cubicBezTo>
                  <a:pt x="202" y="625"/>
                  <a:pt x="203" y="627"/>
                  <a:pt x="203" y="628"/>
                </a:cubicBezTo>
                <a:cubicBezTo>
                  <a:pt x="203" y="629"/>
                  <a:pt x="203" y="629"/>
                  <a:pt x="203" y="629"/>
                </a:cubicBezTo>
                <a:lnTo>
                  <a:pt x="201" y="628"/>
                </a:lnTo>
                <a:cubicBezTo>
                  <a:pt x="201" y="628"/>
                  <a:pt x="200" y="629"/>
                  <a:pt x="200" y="630"/>
                </a:cubicBezTo>
                <a:lnTo>
                  <a:pt x="201" y="634"/>
                </a:lnTo>
                <a:cubicBezTo>
                  <a:pt x="201" y="635"/>
                  <a:pt x="201" y="635"/>
                  <a:pt x="200" y="635"/>
                </a:cubicBezTo>
                <a:lnTo>
                  <a:pt x="198" y="634"/>
                </a:lnTo>
                <a:cubicBezTo>
                  <a:pt x="198" y="634"/>
                  <a:pt x="198" y="635"/>
                  <a:pt x="198" y="635"/>
                </a:cubicBezTo>
                <a:cubicBezTo>
                  <a:pt x="198" y="635"/>
                  <a:pt x="198" y="636"/>
                  <a:pt x="198" y="636"/>
                </a:cubicBezTo>
                <a:cubicBezTo>
                  <a:pt x="198" y="636"/>
                  <a:pt x="199" y="637"/>
                  <a:pt x="200" y="639"/>
                </a:cubicBezTo>
                <a:cubicBezTo>
                  <a:pt x="201" y="638"/>
                  <a:pt x="202" y="636"/>
                  <a:pt x="203" y="632"/>
                </a:cubicBezTo>
                <a:cubicBezTo>
                  <a:pt x="204" y="629"/>
                  <a:pt x="206" y="625"/>
                  <a:pt x="208" y="620"/>
                </a:cubicBezTo>
                <a:cubicBezTo>
                  <a:pt x="209" y="615"/>
                  <a:pt x="211" y="610"/>
                  <a:pt x="212" y="606"/>
                </a:cubicBezTo>
                <a:lnTo>
                  <a:pt x="214" y="599"/>
                </a:lnTo>
                <a:lnTo>
                  <a:pt x="213" y="598"/>
                </a:lnTo>
                <a:cubicBezTo>
                  <a:pt x="213" y="597"/>
                  <a:pt x="214" y="597"/>
                  <a:pt x="214" y="597"/>
                </a:cubicBezTo>
                <a:cubicBezTo>
                  <a:pt x="215" y="597"/>
                  <a:pt x="216" y="596"/>
                  <a:pt x="217" y="595"/>
                </a:cubicBezTo>
                <a:cubicBezTo>
                  <a:pt x="218" y="593"/>
                  <a:pt x="219" y="591"/>
                  <a:pt x="220" y="589"/>
                </a:cubicBezTo>
                <a:cubicBezTo>
                  <a:pt x="221" y="587"/>
                  <a:pt x="221" y="585"/>
                  <a:pt x="222" y="583"/>
                </a:cubicBezTo>
                <a:cubicBezTo>
                  <a:pt x="223" y="582"/>
                  <a:pt x="224" y="581"/>
                  <a:pt x="224" y="581"/>
                </a:cubicBezTo>
                <a:cubicBezTo>
                  <a:pt x="224" y="581"/>
                  <a:pt x="225" y="581"/>
                  <a:pt x="225" y="582"/>
                </a:cubicBezTo>
                <a:cubicBezTo>
                  <a:pt x="225" y="583"/>
                  <a:pt x="224" y="585"/>
                  <a:pt x="223" y="588"/>
                </a:cubicBezTo>
                <a:cubicBezTo>
                  <a:pt x="223" y="590"/>
                  <a:pt x="222" y="592"/>
                  <a:pt x="222" y="593"/>
                </a:cubicBezTo>
                <a:cubicBezTo>
                  <a:pt x="222" y="595"/>
                  <a:pt x="222" y="595"/>
                  <a:pt x="223" y="595"/>
                </a:cubicBezTo>
                <a:cubicBezTo>
                  <a:pt x="224" y="595"/>
                  <a:pt x="224" y="596"/>
                  <a:pt x="224" y="597"/>
                </a:cubicBezTo>
                <a:cubicBezTo>
                  <a:pt x="224" y="598"/>
                  <a:pt x="224" y="598"/>
                  <a:pt x="223" y="598"/>
                </a:cubicBezTo>
                <a:lnTo>
                  <a:pt x="221" y="598"/>
                </a:lnTo>
                <a:cubicBezTo>
                  <a:pt x="221" y="598"/>
                  <a:pt x="220" y="598"/>
                  <a:pt x="219" y="599"/>
                </a:cubicBezTo>
                <a:cubicBezTo>
                  <a:pt x="218" y="600"/>
                  <a:pt x="218" y="601"/>
                  <a:pt x="218" y="603"/>
                </a:cubicBezTo>
                <a:cubicBezTo>
                  <a:pt x="217" y="604"/>
                  <a:pt x="217" y="605"/>
                  <a:pt x="217" y="606"/>
                </a:cubicBezTo>
                <a:cubicBezTo>
                  <a:pt x="217" y="607"/>
                  <a:pt x="217" y="608"/>
                  <a:pt x="218" y="609"/>
                </a:cubicBezTo>
                <a:lnTo>
                  <a:pt x="218" y="609"/>
                </a:lnTo>
                <a:cubicBezTo>
                  <a:pt x="218" y="609"/>
                  <a:pt x="218" y="608"/>
                  <a:pt x="218" y="608"/>
                </a:cubicBezTo>
                <a:cubicBezTo>
                  <a:pt x="218" y="607"/>
                  <a:pt x="219" y="607"/>
                  <a:pt x="219" y="606"/>
                </a:cubicBezTo>
                <a:cubicBezTo>
                  <a:pt x="220" y="606"/>
                  <a:pt x="220" y="607"/>
                  <a:pt x="220" y="607"/>
                </a:cubicBezTo>
                <a:cubicBezTo>
                  <a:pt x="220" y="608"/>
                  <a:pt x="220" y="609"/>
                  <a:pt x="219" y="610"/>
                </a:cubicBezTo>
                <a:cubicBezTo>
                  <a:pt x="218" y="611"/>
                  <a:pt x="218" y="612"/>
                  <a:pt x="217" y="612"/>
                </a:cubicBezTo>
                <a:lnTo>
                  <a:pt x="216" y="612"/>
                </a:lnTo>
                <a:cubicBezTo>
                  <a:pt x="215" y="612"/>
                  <a:pt x="215" y="612"/>
                  <a:pt x="215" y="612"/>
                </a:cubicBezTo>
                <a:lnTo>
                  <a:pt x="216" y="616"/>
                </a:lnTo>
                <a:cubicBezTo>
                  <a:pt x="216" y="617"/>
                  <a:pt x="215" y="617"/>
                  <a:pt x="215" y="617"/>
                </a:cubicBezTo>
                <a:lnTo>
                  <a:pt x="213" y="616"/>
                </a:lnTo>
                <a:cubicBezTo>
                  <a:pt x="213" y="616"/>
                  <a:pt x="213" y="616"/>
                  <a:pt x="213" y="616"/>
                </a:cubicBezTo>
                <a:cubicBezTo>
                  <a:pt x="213" y="617"/>
                  <a:pt x="213" y="617"/>
                  <a:pt x="213" y="618"/>
                </a:cubicBezTo>
                <a:cubicBezTo>
                  <a:pt x="214" y="619"/>
                  <a:pt x="214" y="619"/>
                  <a:pt x="214" y="620"/>
                </a:cubicBezTo>
                <a:cubicBezTo>
                  <a:pt x="214" y="621"/>
                  <a:pt x="213" y="621"/>
                  <a:pt x="213" y="621"/>
                </a:cubicBezTo>
                <a:cubicBezTo>
                  <a:pt x="212" y="621"/>
                  <a:pt x="211" y="622"/>
                  <a:pt x="211" y="625"/>
                </a:cubicBezTo>
                <a:lnTo>
                  <a:pt x="212" y="626"/>
                </a:lnTo>
                <a:cubicBezTo>
                  <a:pt x="212" y="627"/>
                  <a:pt x="211" y="627"/>
                  <a:pt x="211" y="627"/>
                </a:cubicBezTo>
                <a:cubicBezTo>
                  <a:pt x="210" y="627"/>
                  <a:pt x="209" y="628"/>
                  <a:pt x="208" y="630"/>
                </a:cubicBezTo>
                <a:cubicBezTo>
                  <a:pt x="206" y="635"/>
                  <a:pt x="205" y="640"/>
                  <a:pt x="205" y="645"/>
                </a:cubicBezTo>
                <a:cubicBezTo>
                  <a:pt x="205" y="647"/>
                  <a:pt x="205" y="649"/>
                  <a:pt x="206" y="650"/>
                </a:cubicBezTo>
                <a:cubicBezTo>
                  <a:pt x="207" y="651"/>
                  <a:pt x="207" y="651"/>
                  <a:pt x="208" y="651"/>
                </a:cubicBezTo>
                <a:cubicBezTo>
                  <a:pt x="208" y="651"/>
                  <a:pt x="208" y="650"/>
                  <a:pt x="208" y="648"/>
                </a:cubicBezTo>
                <a:lnTo>
                  <a:pt x="208" y="646"/>
                </a:lnTo>
                <a:cubicBezTo>
                  <a:pt x="208" y="645"/>
                  <a:pt x="208" y="644"/>
                  <a:pt x="208" y="644"/>
                </a:cubicBezTo>
                <a:cubicBezTo>
                  <a:pt x="208" y="644"/>
                  <a:pt x="209" y="645"/>
                  <a:pt x="210" y="645"/>
                </a:cubicBezTo>
                <a:cubicBezTo>
                  <a:pt x="211" y="646"/>
                  <a:pt x="211" y="647"/>
                  <a:pt x="212" y="647"/>
                </a:cubicBezTo>
                <a:cubicBezTo>
                  <a:pt x="212" y="647"/>
                  <a:pt x="213" y="648"/>
                  <a:pt x="213" y="648"/>
                </a:cubicBezTo>
                <a:lnTo>
                  <a:pt x="214" y="647"/>
                </a:lnTo>
                <a:lnTo>
                  <a:pt x="214" y="647"/>
                </a:lnTo>
                <a:cubicBezTo>
                  <a:pt x="214" y="646"/>
                  <a:pt x="214" y="646"/>
                  <a:pt x="213" y="646"/>
                </a:cubicBezTo>
                <a:cubicBezTo>
                  <a:pt x="212" y="646"/>
                  <a:pt x="212" y="645"/>
                  <a:pt x="212" y="644"/>
                </a:cubicBezTo>
                <a:cubicBezTo>
                  <a:pt x="213" y="643"/>
                  <a:pt x="213" y="643"/>
                  <a:pt x="213" y="643"/>
                </a:cubicBezTo>
                <a:cubicBezTo>
                  <a:pt x="214" y="643"/>
                  <a:pt x="214" y="643"/>
                  <a:pt x="215" y="644"/>
                </a:cubicBezTo>
                <a:cubicBezTo>
                  <a:pt x="216" y="645"/>
                  <a:pt x="216" y="646"/>
                  <a:pt x="216" y="647"/>
                </a:cubicBezTo>
                <a:cubicBezTo>
                  <a:pt x="216" y="647"/>
                  <a:pt x="216" y="648"/>
                  <a:pt x="216" y="649"/>
                </a:cubicBezTo>
                <a:cubicBezTo>
                  <a:pt x="215" y="651"/>
                  <a:pt x="214" y="651"/>
                  <a:pt x="214" y="651"/>
                </a:cubicBezTo>
                <a:lnTo>
                  <a:pt x="213" y="651"/>
                </a:lnTo>
                <a:cubicBezTo>
                  <a:pt x="212" y="651"/>
                  <a:pt x="212" y="651"/>
                  <a:pt x="212" y="653"/>
                </a:cubicBezTo>
                <a:lnTo>
                  <a:pt x="212" y="654"/>
                </a:lnTo>
                <a:cubicBezTo>
                  <a:pt x="212" y="656"/>
                  <a:pt x="211" y="656"/>
                  <a:pt x="210" y="656"/>
                </a:cubicBezTo>
                <a:cubicBezTo>
                  <a:pt x="209" y="656"/>
                  <a:pt x="208" y="655"/>
                  <a:pt x="206" y="653"/>
                </a:cubicBezTo>
                <a:cubicBezTo>
                  <a:pt x="205" y="651"/>
                  <a:pt x="204" y="650"/>
                  <a:pt x="203" y="650"/>
                </a:cubicBezTo>
                <a:cubicBezTo>
                  <a:pt x="202" y="650"/>
                  <a:pt x="202" y="651"/>
                  <a:pt x="201" y="654"/>
                </a:cubicBezTo>
                <a:cubicBezTo>
                  <a:pt x="201" y="656"/>
                  <a:pt x="201" y="658"/>
                  <a:pt x="199" y="659"/>
                </a:cubicBezTo>
                <a:cubicBezTo>
                  <a:pt x="198" y="661"/>
                  <a:pt x="198" y="661"/>
                  <a:pt x="198" y="662"/>
                </a:cubicBezTo>
                <a:cubicBezTo>
                  <a:pt x="198" y="662"/>
                  <a:pt x="198" y="662"/>
                  <a:pt x="198" y="662"/>
                </a:cubicBezTo>
                <a:lnTo>
                  <a:pt x="198" y="663"/>
                </a:lnTo>
                <a:cubicBezTo>
                  <a:pt x="198" y="664"/>
                  <a:pt x="197" y="667"/>
                  <a:pt x="196" y="673"/>
                </a:cubicBezTo>
                <a:lnTo>
                  <a:pt x="192" y="686"/>
                </a:lnTo>
                <a:cubicBezTo>
                  <a:pt x="192" y="686"/>
                  <a:pt x="194" y="682"/>
                  <a:pt x="197" y="674"/>
                </a:cubicBezTo>
                <a:cubicBezTo>
                  <a:pt x="198" y="670"/>
                  <a:pt x="200" y="667"/>
                  <a:pt x="201" y="665"/>
                </a:cubicBezTo>
                <a:lnTo>
                  <a:pt x="204" y="662"/>
                </a:lnTo>
                <a:lnTo>
                  <a:pt x="205" y="662"/>
                </a:lnTo>
                <a:lnTo>
                  <a:pt x="205" y="661"/>
                </a:lnTo>
                <a:cubicBezTo>
                  <a:pt x="204" y="660"/>
                  <a:pt x="204" y="659"/>
                  <a:pt x="204" y="659"/>
                </a:cubicBezTo>
                <a:cubicBezTo>
                  <a:pt x="204" y="659"/>
                  <a:pt x="204" y="658"/>
                  <a:pt x="205" y="658"/>
                </a:cubicBezTo>
                <a:cubicBezTo>
                  <a:pt x="206" y="658"/>
                  <a:pt x="207" y="659"/>
                  <a:pt x="207" y="660"/>
                </a:cubicBezTo>
                <a:cubicBezTo>
                  <a:pt x="207" y="661"/>
                  <a:pt x="207" y="662"/>
                  <a:pt x="208" y="662"/>
                </a:cubicBezTo>
                <a:cubicBezTo>
                  <a:pt x="208" y="662"/>
                  <a:pt x="208" y="661"/>
                  <a:pt x="209" y="660"/>
                </a:cubicBezTo>
                <a:cubicBezTo>
                  <a:pt x="209" y="659"/>
                  <a:pt x="210" y="658"/>
                  <a:pt x="210" y="658"/>
                </a:cubicBezTo>
                <a:lnTo>
                  <a:pt x="204" y="676"/>
                </a:lnTo>
                <a:cubicBezTo>
                  <a:pt x="202" y="684"/>
                  <a:pt x="200" y="688"/>
                  <a:pt x="199" y="688"/>
                </a:cubicBezTo>
                <a:cubicBezTo>
                  <a:pt x="198" y="688"/>
                  <a:pt x="198" y="689"/>
                  <a:pt x="198" y="690"/>
                </a:cubicBezTo>
                <a:lnTo>
                  <a:pt x="198" y="691"/>
                </a:lnTo>
                <a:cubicBezTo>
                  <a:pt x="198" y="694"/>
                  <a:pt x="197" y="700"/>
                  <a:pt x="194" y="708"/>
                </a:cubicBezTo>
                <a:cubicBezTo>
                  <a:pt x="191" y="718"/>
                  <a:pt x="188" y="722"/>
                  <a:pt x="187" y="722"/>
                </a:cubicBezTo>
                <a:lnTo>
                  <a:pt x="186" y="721"/>
                </a:lnTo>
                <a:lnTo>
                  <a:pt x="186" y="723"/>
                </a:lnTo>
                <a:cubicBezTo>
                  <a:pt x="186" y="726"/>
                  <a:pt x="185" y="734"/>
                  <a:pt x="181" y="744"/>
                </a:cubicBezTo>
                <a:cubicBezTo>
                  <a:pt x="176" y="759"/>
                  <a:pt x="173" y="767"/>
                  <a:pt x="173" y="768"/>
                </a:cubicBezTo>
                <a:cubicBezTo>
                  <a:pt x="172" y="772"/>
                  <a:pt x="171" y="774"/>
                  <a:pt x="170" y="774"/>
                </a:cubicBezTo>
                <a:cubicBezTo>
                  <a:pt x="169" y="774"/>
                  <a:pt x="169" y="775"/>
                  <a:pt x="169" y="776"/>
                </a:cubicBezTo>
                <a:cubicBezTo>
                  <a:pt x="169" y="778"/>
                  <a:pt x="168" y="780"/>
                  <a:pt x="167" y="784"/>
                </a:cubicBezTo>
                <a:cubicBezTo>
                  <a:pt x="165" y="788"/>
                  <a:pt x="163" y="795"/>
                  <a:pt x="161" y="803"/>
                </a:cubicBezTo>
                <a:cubicBezTo>
                  <a:pt x="158" y="811"/>
                  <a:pt x="155" y="819"/>
                  <a:pt x="151" y="830"/>
                </a:cubicBezTo>
                <a:cubicBezTo>
                  <a:pt x="149" y="833"/>
                  <a:pt x="149" y="835"/>
                  <a:pt x="149" y="837"/>
                </a:cubicBezTo>
                <a:cubicBezTo>
                  <a:pt x="149" y="838"/>
                  <a:pt x="149" y="839"/>
                  <a:pt x="149" y="840"/>
                </a:cubicBezTo>
                <a:cubicBezTo>
                  <a:pt x="149" y="840"/>
                  <a:pt x="150" y="841"/>
                  <a:pt x="151" y="843"/>
                </a:cubicBezTo>
                <a:lnTo>
                  <a:pt x="149" y="843"/>
                </a:lnTo>
                <a:cubicBezTo>
                  <a:pt x="148" y="843"/>
                  <a:pt x="146" y="847"/>
                  <a:pt x="143" y="855"/>
                </a:cubicBezTo>
                <a:lnTo>
                  <a:pt x="134" y="882"/>
                </a:lnTo>
                <a:cubicBezTo>
                  <a:pt x="128" y="899"/>
                  <a:pt x="124" y="915"/>
                  <a:pt x="120" y="930"/>
                </a:cubicBezTo>
                <a:cubicBezTo>
                  <a:pt x="116" y="945"/>
                  <a:pt x="114" y="954"/>
                  <a:pt x="114" y="958"/>
                </a:cubicBezTo>
                <a:cubicBezTo>
                  <a:pt x="114" y="960"/>
                  <a:pt x="114" y="961"/>
                  <a:pt x="115" y="961"/>
                </a:cubicBezTo>
                <a:cubicBezTo>
                  <a:pt x="115" y="961"/>
                  <a:pt x="115" y="962"/>
                  <a:pt x="115" y="962"/>
                </a:cubicBezTo>
                <a:cubicBezTo>
                  <a:pt x="115" y="963"/>
                  <a:pt x="114" y="964"/>
                  <a:pt x="113" y="965"/>
                </a:cubicBezTo>
                <a:cubicBezTo>
                  <a:pt x="112" y="967"/>
                  <a:pt x="111" y="968"/>
                  <a:pt x="111" y="969"/>
                </a:cubicBezTo>
                <a:cubicBezTo>
                  <a:pt x="111" y="970"/>
                  <a:pt x="112" y="971"/>
                  <a:pt x="114" y="971"/>
                </a:cubicBezTo>
                <a:cubicBezTo>
                  <a:pt x="114" y="971"/>
                  <a:pt x="115" y="970"/>
                  <a:pt x="115" y="967"/>
                </a:cubicBezTo>
                <a:cubicBezTo>
                  <a:pt x="115" y="966"/>
                  <a:pt x="116" y="965"/>
                  <a:pt x="119" y="963"/>
                </a:cubicBezTo>
                <a:cubicBezTo>
                  <a:pt x="120" y="963"/>
                  <a:pt x="121" y="963"/>
                  <a:pt x="122" y="963"/>
                </a:cubicBezTo>
                <a:cubicBezTo>
                  <a:pt x="122" y="962"/>
                  <a:pt x="122" y="961"/>
                  <a:pt x="123" y="960"/>
                </a:cubicBezTo>
                <a:cubicBezTo>
                  <a:pt x="123" y="958"/>
                  <a:pt x="124" y="958"/>
                  <a:pt x="125" y="957"/>
                </a:cubicBezTo>
                <a:cubicBezTo>
                  <a:pt x="126" y="956"/>
                  <a:pt x="127" y="955"/>
                  <a:pt x="127" y="954"/>
                </a:cubicBezTo>
                <a:lnTo>
                  <a:pt x="126" y="952"/>
                </a:lnTo>
                <a:cubicBezTo>
                  <a:pt x="126" y="952"/>
                  <a:pt x="127" y="952"/>
                  <a:pt x="128" y="953"/>
                </a:cubicBezTo>
                <a:cubicBezTo>
                  <a:pt x="129" y="953"/>
                  <a:pt x="129" y="954"/>
                  <a:pt x="129" y="955"/>
                </a:cubicBezTo>
                <a:lnTo>
                  <a:pt x="128" y="962"/>
                </a:lnTo>
                <a:cubicBezTo>
                  <a:pt x="126" y="975"/>
                  <a:pt x="122" y="987"/>
                  <a:pt x="117" y="997"/>
                </a:cubicBezTo>
                <a:cubicBezTo>
                  <a:pt x="112" y="1007"/>
                  <a:pt x="107" y="1013"/>
                  <a:pt x="103" y="1015"/>
                </a:cubicBezTo>
                <a:close/>
                <a:moveTo>
                  <a:pt x="324" y="56"/>
                </a:moveTo>
                <a:lnTo>
                  <a:pt x="333" y="55"/>
                </a:lnTo>
                <a:cubicBezTo>
                  <a:pt x="334" y="55"/>
                  <a:pt x="334" y="55"/>
                  <a:pt x="334" y="54"/>
                </a:cubicBezTo>
                <a:cubicBezTo>
                  <a:pt x="334" y="54"/>
                  <a:pt x="334" y="53"/>
                  <a:pt x="333" y="52"/>
                </a:cubicBezTo>
                <a:cubicBezTo>
                  <a:pt x="332" y="51"/>
                  <a:pt x="332" y="51"/>
                  <a:pt x="331" y="51"/>
                </a:cubicBezTo>
                <a:cubicBezTo>
                  <a:pt x="330" y="51"/>
                  <a:pt x="328" y="52"/>
                  <a:pt x="326" y="53"/>
                </a:cubicBezTo>
                <a:cubicBezTo>
                  <a:pt x="324" y="55"/>
                  <a:pt x="323" y="56"/>
                  <a:pt x="323" y="56"/>
                </a:cubicBezTo>
                <a:lnTo>
                  <a:pt x="324" y="56"/>
                </a:lnTo>
                <a:close/>
                <a:moveTo>
                  <a:pt x="369" y="36"/>
                </a:moveTo>
                <a:cubicBezTo>
                  <a:pt x="369" y="36"/>
                  <a:pt x="369" y="36"/>
                  <a:pt x="369" y="34"/>
                </a:cubicBezTo>
                <a:cubicBezTo>
                  <a:pt x="369" y="33"/>
                  <a:pt x="369" y="32"/>
                  <a:pt x="367" y="32"/>
                </a:cubicBezTo>
                <a:cubicBezTo>
                  <a:pt x="366" y="32"/>
                  <a:pt x="366" y="33"/>
                  <a:pt x="366" y="34"/>
                </a:cubicBezTo>
                <a:cubicBezTo>
                  <a:pt x="366" y="34"/>
                  <a:pt x="366" y="34"/>
                  <a:pt x="367" y="35"/>
                </a:cubicBezTo>
                <a:cubicBezTo>
                  <a:pt x="367" y="35"/>
                  <a:pt x="367" y="36"/>
                  <a:pt x="367" y="36"/>
                </a:cubicBezTo>
                <a:cubicBezTo>
                  <a:pt x="367" y="36"/>
                  <a:pt x="368" y="36"/>
                  <a:pt x="369" y="36"/>
                </a:cubicBezTo>
                <a:close/>
                <a:moveTo>
                  <a:pt x="322" y="39"/>
                </a:moveTo>
                <a:cubicBezTo>
                  <a:pt x="322" y="39"/>
                  <a:pt x="322" y="38"/>
                  <a:pt x="322" y="38"/>
                </a:cubicBezTo>
                <a:lnTo>
                  <a:pt x="322" y="34"/>
                </a:lnTo>
                <a:cubicBezTo>
                  <a:pt x="321" y="32"/>
                  <a:pt x="320" y="32"/>
                  <a:pt x="320" y="32"/>
                </a:cubicBezTo>
                <a:cubicBezTo>
                  <a:pt x="319" y="32"/>
                  <a:pt x="319" y="32"/>
                  <a:pt x="319" y="33"/>
                </a:cubicBezTo>
                <a:cubicBezTo>
                  <a:pt x="319" y="35"/>
                  <a:pt x="320" y="36"/>
                  <a:pt x="320" y="38"/>
                </a:cubicBezTo>
                <a:lnTo>
                  <a:pt x="322" y="39"/>
                </a:lnTo>
                <a:close/>
                <a:moveTo>
                  <a:pt x="347" y="31"/>
                </a:moveTo>
                <a:cubicBezTo>
                  <a:pt x="348" y="31"/>
                  <a:pt x="350" y="30"/>
                  <a:pt x="352" y="29"/>
                </a:cubicBezTo>
                <a:cubicBezTo>
                  <a:pt x="353" y="28"/>
                  <a:pt x="353" y="27"/>
                  <a:pt x="353" y="27"/>
                </a:cubicBezTo>
                <a:cubicBezTo>
                  <a:pt x="353" y="27"/>
                  <a:pt x="353" y="27"/>
                  <a:pt x="353" y="27"/>
                </a:cubicBezTo>
                <a:cubicBezTo>
                  <a:pt x="352" y="27"/>
                  <a:pt x="352" y="27"/>
                  <a:pt x="351" y="27"/>
                </a:cubicBezTo>
                <a:cubicBezTo>
                  <a:pt x="350" y="27"/>
                  <a:pt x="349" y="28"/>
                  <a:pt x="348" y="28"/>
                </a:cubicBezTo>
                <a:cubicBezTo>
                  <a:pt x="347" y="29"/>
                  <a:pt x="346" y="30"/>
                  <a:pt x="346" y="30"/>
                </a:cubicBezTo>
                <a:cubicBezTo>
                  <a:pt x="346" y="30"/>
                  <a:pt x="347" y="31"/>
                  <a:pt x="347" y="31"/>
                </a:cubicBezTo>
                <a:close/>
                <a:moveTo>
                  <a:pt x="325" y="36"/>
                </a:moveTo>
                <a:cubicBezTo>
                  <a:pt x="326" y="36"/>
                  <a:pt x="326" y="36"/>
                  <a:pt x="327" y="34"/>
                </a:cubicBezTo>
                <a:cubicBezTo>
                  <a:pt x="327" y="34"/>
                  <a:pt x="328" y="33"/>
                  <a:pt x="329" y="33"/>
                </a:cubicBezTo>
                <a:lnTo>
                  <a:pt x="332" y="34"/>
                </a:lnTo>
                <a:cubicBezTo>
                  <a:pt x="332" y="34"/>
                  <a:pt x="332" y="34"/>
                  <a:pt x="333" y="33"/>
                </a:cubicBezTo>
                <a:cubicBezTo>
                  <a:pt x="333" y="32"/>
                  <a:pt x="337" y="30"/>
                  <a:pt x="345" y="26"/>
                </a:cubicBezTo>
                <a:cubicBezTo>
                  <a:pt x="352" y="22"/>
                  <a:pt x="356" y="19"/>
                  <a:pt x="356" y="18"/>
                </a:cubicBezTo>
                <a:lnTo>
                  <a:pt x="355" y="15"/>
                </a:lnTo>
                <a:cubicBezTo>
                  <a:pt x="355" y="15"/>
                  <a:pt x="354" y="15"/>
                  <a:pt x="354" y="16"/>
                </a:cubicBezTo>
                <a:cubicBezTo>
                  <a:pt x="354" y="17"/>
                  <a:pt x="353" y="18"/>
                  <a:pt x="353" y="18"/>
                </a:cubicBezTo>
                <a:cubicBezTo>
                  <a:pt x="353" y="18"/>
                  <a:pt x="352" y="17"/>
                  <a:pt x="352" y="16"/>
                </a:cubicBezTo>
                <a:cubicBezTo>
                  <a:pt x="351" y="15"/>
                  <a:pt x="350" y="15"/>
                  <a:pt x="350" y="15"/>
                </a:cubicBezTo>
                <a:cubicBezTo>
                  <a:pt x="350" y="15"/>
                  <a:pt x="350" y="16"/>
                  <a:pt x="350" y="17"/>
                </a:cubicBezTo>
                <a:cubicBezTo>
                  <a:pt x="350" y="19"/>
                  <a:pt x="350" y="20"/>
                  <a:pt x="349" y="20"/>
                </a:cubicBezTo>
                <a:cubicBezTo>
                  <a:pt x="349" y="20"/>
                  <a:pt x="348" y="20"/>
                  <a:pt x="348" y="18"/>
                </a:cubicBezTo>
                <a:cubicBezTo>
                  <a:pt x="347" y="17"/>
                  <a:pt x="347" y="16"/>
                  <a:pt x="346" y="16"/>
                </a:cubicBezTo>
                <a:cubicBezTo>
                  <a:pt x="346" y="16"/>
                  <a:pt x="346" y="17"/>
                  <a:pt x="346" y="19"/>
                </a:cubicBezTo>
                <a:cubicBezTo>
                  <a:pt x="346" y="21"/>
                  <a:pt x="346" y="22"/>
                  <a:pt x="345" y="22"/>
                </a:cubicBezTo>
                <a:cubicBezTo>
                  <a:pt x="345" y="22"/>
                  <a:pt x="345" y="22"/>
                  <a:pt x="344" y="20"/>
                </a:cubicBezTo>
                <a:cubicBezTo>
                  <a:pt x="343" y="19"/>
                  <a:pt x="343" y="18"/>
                  <a:pt x="343" y="18"/>
                </a:cubicBezTo>
                <a:cubicBezTo>
                  <a:pt x="342" y="18"/>
                  <a:pt x="342" y="19"/>
                  <a:pt x="342" y="21"/>
                </a:cubicBezTo>
                <a:cubicBezTo>
                  <a:pt x="342" y="22"/>
                  <a:pt x="342" y="23"/>
                  <a:pt x="340" y="24"/>
                </a:cubicBezTo>
                <a:cubicBezTo>
                  <a:pt x="339" y="25"/>
                  <a:pt x="338" y="25"/>
                  <a:pt x="336" y="25"/>
                </a:cubicBezTo>
                <a:cubicBezTo>
                  <a:pt x="335" y="25"/>
                  <a:pt x="334" y="25"/>
                  <a:pt x="333" y="24"/>
                </a:cubicBezTo>
                <a:lnTo>
                  <a:pt x="333" y="23"/>
                </a:lnTo>
                <a:cubicBezTo>
                  <a:pt x="333" y="23"/>
                  <a:pt x="332" y="24"/>
                  <a:pt x="332" y="26"/>
                </a:cubicBezTo>
                <a:cubicBezTo>
                  <a:pt x="332" y="28"/>
                  <a:pt x="332" y="29"/>
                  <a:pt x="332" y="29"/>
                </a:cubicBezTo>
                <a:cubicBezTo>
                  <a:pt x="332" y="29"/>
                  <a:pt x="331" y="28"/>
                  <a:pt x="331" y="27"/>
                </a:cubicBezTo>
                <a:cubicBezTo>
                  <a:pt x="330" y="26"/>
                  <a:pt x="329" y="25"/>
                  <a:pt x="329" y="25"/>
                </a:cubicBezTo>
                <a:cubicBezTo>
                  <a:pt x="329" y="25"/>
                  <a:pt x="329" y="26"/>
                  <a:pt x="329" y="27"/>
                </a:cubicBezTo>
                <a:cubicBezTo>
                  <a:pt x="329" y="29"/>
                  <a:pt x="328" y="30"/>
                  <a:pt x="328" y="30"/>
                </a:cubicBezTo>
                <a:cubicBezTo>
                  <a:pt x="328" y="30"/>
                  <a:pt x="327" y="29"/>
                  <a:pt x="327" y="29"/>
                </a:cubicBezTo>
                <a:cubicBezTo>
                  <a:pt x="327" y="28"/>
                  <a:pt x="326" y="27"/>
                  <a:pt x="325" y="27"/>
                </a:cubicBezTo>
                <a:cubicBezTo>
                  <a:pt x="325" y="27"/>
                  <a:pt x="325" y="28"/>
                  <a:pt x="324" y="30"/>
                </a:cubicBezTo>
                <a:cubicBezTo>
                  <a:pt x="324" y="31"/>
                  <a:pt x="324" y="33"/>
                  <a:pt x="324" y="34"/>
                </a:cubicBezTo>
                <a:cubicBezTo>
                  <a:pt x="324" y="35"/>
                  <a:pt x="324" y="36"/>
                  <a:pt x="325" y="36"/>
                </a:cubicBezTo>
                <a:close/>
                <a:moveTo>
                  <a:pt x="355" y="27"/>
                </a:moveTo>
                <a:lnTo>
                  <a:pt x="373" y="22"/>
                </a:lnTo>
                <a:cubicBezTo>
                  <a:pt x="378" y="21"/>
                  <a:pt x="381" y="20"/>
                  <a:pt x="381" y="19"/>
                </a:cubicBezTo>
                <a:cubicBezTo>
                  <a:pt x="381" y="19"/>
                  <a:pt x="380" y="18"/>
                  <a:pt x="379" y="18"/>
                </a:cubicBezTo>
                <a:cubicBezTo>
                  <a:pt x="376" y="18"/>
                  <a:pt x="370" y="20"/>
                  <a:pt x="362" y="23"/>
                </a:cubicBezTo>
                <a:cubicBezTo>
                  <a:pt x="358" y="24"/>
                  <a:pt x="355" y="26"/>
                  <a:pt x="355" y="27"/>
                </a:cubicBezTo>
                <a:close/>
                <a:moveTo>
                  <a:pt x="380" y="29"/>
                </a:moveTo>
                <a:cubicBezTo>
                  <a:pt x="380" y="29"/>
                  <a:pt x="382" y="28"/>
                  <a:pt x="383" y="27"/>
                </a:cubicBezTo>
                <a:cubicBezTo>
                  <a:pt x="385" y="27"/>
                  <a:pt x="386" y="26"/>
                  <a:pt x="386" y="25"/>
                </a:cubicBezTo>
                <a:cubicBezTo>
                  <a:pt x="386" y="24"/>
                  <a:pt x="385" y="24"/>
                  <a:pt x="383" y="23"/>
                </a:cubicBezTo>
                <a:cubicBezTo>
                  <a:pt x="383" y="23"/>
                  <a:pt x="382" y="24"/>
                  <a:pt x="380" y="24"/>
                </a:cubicBezTo>
                <a:cubicBezTo>
                  <a:pt x="379" y="25"/>
                  <a:pt x="378" y="26"/>
                  <a:pt x="378" y="27"/>
                </a:cubicBezTo>
                <a:lnTo>
                  <a:pt x="379" y="27"/>
                </a:lnTo>
                <a:cubicBezTo>
                  <a:pt x="379" y="28"/>
                  <a:pt x="379" y="29"/>
                  <a:pt x="380" y="29"/>
                </a:cubicBezTo>
                <a:close/>
                <a:moveTo>
                  <a:pt x="362" y="18"/>
                </a:moveTo>
                <a:cubicBezTo>
                  <a:pt x="363" y="18"/>
                  <a:pt x="364" y="17"/>
                  <a:pt x="365" y="16"/>
                </a:cubicBezTo>
                <a:cubicBezTo>
                  <a:pt x="365" y="14"/>
                  <a:pt x="368" y="14"/>
                  <a:pt x="371" y="13"/>
                </a:cubicBezTo>
                <a:cubicBezTo>
                  <a:pt x="374" y="13"/>
                  <a:pt x="375" y="12"/>
                  <a:pt x="375" y="11"/>
                </a:cubicBezTo>
                <a:lnTo>
                  <a:pt x="375" y="10"/>
                </a:lnTo>
                <a:cubicBezTo>
                  <a:pt x="375" y="9"/>
                  <a:pt x="377" y="9"/>
                  <a:pt x="379" y="9"/>
                </a:cubicBezTo>
                <a:lnTo>
                  <a:pt x="386" y="10"/>
                </a:lnTo>
                <a:lnTo>
                  <a:pt x="381" y="8"/>
                </a:lnTo>
                <a:cubicBezTo>
                  <a:pt x="379" y="7"/>
                  <a:pt x="377" y="6"/>
                  <a:pt x="376" y="6"/>
                </a:cubicBezTo>
                <a:cubicBezTo>
                  <a:pt x="375" y="6"/>
                  <a:pt x="374" y="7"/>
                  <a:pt x="373" y="8"/>
                </a:cubicBezTo>
                <a:cubicBezTo>
                  <a:pt x="372" y="9"/>
                  <a:pt x="371" y="10"/>
                  <a:pt x="370" y="10"/>
                </a:cubicBezTo>
                <a:lnTo>
                  <a:pt x="367" y="9"/>
                </a:lnTo>
                <a:cubicBezTo>
                  <a:pt x="366" y="9"/>
                  <a:pt x="365" y="10"/>
                  <a:pt x="365" y="11"/>
                </a:cubicBezTo>
                <a:cubicBezTo>
                  <a:pt x="365" y="12"/>
                  <a:pt x="365" y="12"/>
                  <a:pt x="363" y="12"/>
                </a:cubicBezTo>
                <a:lnTo>
                  <a:pt x="361" y="12"/>
                </a:lnTo>
                <a:cubicBezTo>
                  <a:pt x="360" y="12"/>
                  <a:pt x="358" y="13"/>
                  <a:pt x="358" y="14"/>
                </a:cubicBezTo>
                <a:lnTo>
                  <a:pt x="359" y="15"/>
                </a:lnTo>
                <a:cubicBezTo>
                  <a:pt x="360" y="17"/>
                  <a:pt x="361" y="18"/>
                  <a:pt x="362" y="18"/>
                </a:cubicBezTo>
                <a:close/>
                <a:moveTo>
                  <a:pt x="194" y="656"/>
                </a:moveTo>
                <a:cubicBezTo>
                  <a:pt x="194" y="656"/>
                  <a:pt x="195" y="655"/>
                  <a:pt x="196" y="654"/>
                </a:cubicBezTo>
                <a:cubicBezTo>
                  <a:pt x="197" y="652"/>
                  <a:pt x="198" y="650"/>
                  <a:pt x="198" y="649"/>
                </a:cubicBezTo>
                <a:cubicBezTo>
                  <a:pt x="198" y="648"/>
                  <a:pt x="197" y="648"/>
                  <a:pt x="197" y="648"/>
                </a:cubicBezTo>
                <a:cubicBezTo>
                  <a:pt x="197" y="648"/>
                  <a:pt x="196" y="649"/>
                  <a:pt x="195" y="651"/>
                </a:cubicBezTo>
                <a:cubicBezTo>
                  <a:pt x="194" y="652"/>
                  <a:pt x="194" y="654"/>
                  <a:pt x="194" y="655"/>
                </a:cubicBezTo>
                <a:cubicBezTo>
                  <a:pt x="194" y="656"/>
                  <a:pt x="194" y="656"/>
                  <a:pt x="194" y="656"/>
                </a:cubicBezTo>
                <a:close/>
                <a:moveTo>
                  <a:pt x="194" y="570"/>
                </a:moveTo>
                <a:cubicBezTo>
                  <a:pt x="194" y="570"/>
                  <a:pt x="195" y="570"/>
                  <a:pt x="196" y="568"/>
                </a:cubicBezTo>
                <a:cubicBezTo>
                  <a:pt x="197" y="566"/>
                  <a:pt x="198" y="565"/>
                  <a:pt x="198" y="563"/>
                </a:cubicBezTo>
                <a:cubicBezTo>
                  <a:pt x="198" y="563"/>
                  <a:pt x="197" y="563"/>
                  <a:pt x="197" y="563"/>
                </a:cubicBezTo>
                <a:cubicBezTo>
                  <a:pt x="197" y="563"/>
                  <a:pt x="196" y="563"/>
                  <a:pt x="196" y="564"/>
                </a:cubicBezTo>
                <a:cubicBezTo>
                  <a:pt x="195" y="565"/>
                  <a:pt x="194" y="566"/>
                  <a:pt x="194" y="567"/>
                </a:cubicBezTo>
                <a:cubicBezTo>
                  <a:pt x="194" y="568"/>
                  <a:pt x="194" y="568"/>
                  <a:pt x="194" y="569"/>
                </a:cubicBezTo>
                <a:cubicBezTo>
                  <a:pt x="194" y="570"/>
                  <a:pt x="194" y="570"/>
                  <a:pt x="194" y="570"/>
                </a:cubicBezTo>
                <a:close/>
                <a:moveTo>
                  <a:pt x="199" y="559"/>
                </a:moveTo>
                <a:lnTo>
                  <a:pt x="199" y="559"/>
                </a:lnTo>
                <a:cubicBezTo>
                  <a:pt x="199" y="558"/>
                  <a:pt x="199" y="557"/>
                  <a:pt x="198" y="556"/>
                </a:cubicBezTo>
                <a:cubicBezTo>
                  <a:pt x="197" y="555"/>
                  <a:pt x="196" y="555"/>
                  <a:pt x="196" y="555"/>
                </a:cubicBezTo>
                <a:cubicBezTo>
                  <a:pt x="196" y="555"/>
                  <a:pt x="196" y="556"/>
                  <a:pt x="197" y="557"/>
                </a:cubicBezTo>
                <a:cubicBezTo>
                  <a:pt x="198" y="558"/>
                  <a:pt x="198" y="559"/>
                  <a:pt x="198" y="559"/>
                </a:cubicBezTo>
                <a:lnTo>
                  <a:pt x="199" y="559"/>
                </a:lnTo>
                <a:close/>
                <a:moveTo>
                  <a:pt x="219" y="576"/>
                </a:moveTo>
                <a:cubicBezTo>
                  <a:pt x="219" y="576"/>
                  <a:pt x="220" y="576"/>
                  <a:pt x="220" y="574"/>
                </a:cubicBezTo>
                <a:cubicBezTo>
                  <a:pt x="222" y="572"/>
                  <a:pt x="222" y="571"/>
                  <a:pt x="222" y="569"/>
                </a:cubicBezTo>
                <a:cubicBezTo>
                  <a:pt x="222" y="569"/>
                  <a:pt x="222" y="569"/>
                  <a:pt x="222" y="569"/>
                </a:cubicBezTo>
                <a:cubicBezTo>
                  <a:pt x="222" y="569"/>
                  <a:pt x="221" y="569"/>
                  <a:pt x="221" y="570"/>
                </a:cubicBezTo>
                <a:cubicBezTo>
                  <a:pt x="220" y="571"/>
                  <a:pt x="219" y="572"/>
                  <a:pt x="219" y="573"/>
                </a:cubicBezTo>
                <a:cubicBezTo>
                  <a:pt x="219" y="574"/>
                  <a:pt x="218" y="575"/>
                  <a:pt x="218" y="575"/>
                </a:cubicBezTo>
                <a:cubicBezTo>
                  <a:pt x="218" y="576"/>
                  <a:pt x="219" y="576"/>
                  <a:pt x="219" y="576"/>
                </a:cubicBezTo>
                <a:close/>
                <a:moveTo>
                  <a:pt x="223" y="550"/>
                </a:moveTo>
                <a:cubicBezTo>
                  <a:pt x="224" y="550"/>
                  <a:pt x="224" y="548"/>
                  <a:pt x="225" y="545"/>
                </a:cubicBezTo>
                <a:lnTo>
                  <a:pt x="225" y="542"/>
                </a:lnTo>
                <a:cubicBezTo>
                  <a:pt x="225" y="541"/>
                  <a:pt x="225" y="540"/>
                  <a:pt x="224" y="540"/>
                </a:cubicBezTo>
                <a:cubicBezTo>
                  <a:pt x="223" y="540"/>
                  <a:pt x="222" y="542"/>
                  <a:pt x="222" y="545"/>
                </a:cubicBezTo>
                <a:cubicBezTo>
                  <a:pt x="222" y="548"/>
                  <a:pt x="223" y="550"/>
                  <a:pt x="223" y="550"/>
                </a:cubicBezTo>
                <a:close/>
                <a:moveTo>
                  <a:pt x="387" y="78"/>
                </a:moveTo>
                <a:cubicBezTo>
                  <a:pt x="387" y="77"/>
                  <a:pt x="388" y="75"/>
                  <a:pt x="389" y="71"/>
                </a:cubicBezTo>
                <a:cubicBezTo>
                  <a:pt x="389" y="68"/>
                  <a:pt x="390" y="66"/>
                  <a:pt x="390" y="65"/>
                </a:cubicBezTo>
                <a:cubicBezTo>
                  <a:pt x="391" y="64"/>
                  <a:pt x="392" y="61"/>
                  <a:pt x="393" y="55"/>
                </a:cubicBezTo>
                <a:lnTo>
                  <a:pt x="395" y="41"/>
                </a:lnTo>
                <a:cubicBezTo>
                  <a:pt x="395" y="38"/>
                  <a:pt x="394" y="36"/>
                  <a:pt x="394" y="36"/>
                </a:cubicBezTo>
                <a:cubicBezTo>
                  <a:pt x="394" y="36"/>
                  <a:pt x="393" y="37"/>
                  <a:pt x="392" y="39"/>
                </a:cubicBezTo>
                <a:cubicBezTo>
                  <a:pt x="391" y="43"/>
                  <a:pt x="390" y="48"/>
                  <a:pt x="390" y="53"/>
                </a:cubicBezTo>
                <a:cubicBezTo>
                  <a:pt x="390" y="59"/>
                  <a:pt x="389" y="62"/>
                  <a:pt x="389" y="64"/>
                </a:cubicBezTo>
                <a:cubicBezTo>
                  <a:pt x="387" y="68"/>
                  <a:pt x="386" y="72"/>
                  <a:pt x="386" y="76"/>
                </a:cubicBezTo>
                <a:cubicBezTo>
                  <a:pt x="386" y="77"/>
                  <a:pt x="386" y="78"/>
                  <a:pt x="386" y="78"/>
                </a:cubicBezTo>
                <a:lnTo>
                  <a:pt x="387" y="78"/>
                </a:lnTo>
                <a:close/>
                <a:moveTo>
                  <a:pt x="372" y="184"/>
                </a:moveTo>
                <a:cubicBezTo>
                  <a:pt x="372" y="184"/>
                  <a:pt x="373" y="183"/>
                  <a:pt x="374" y="182"/>
                </a:cubicBezTo>
                <a:lnTo>
                  <a:pt x="374" y="181"/>
                </a:lnTo>
                <a:cubicBezTo>
                  <a:pt x="374" y="180"/>
                  <a:pt x="374" y="179"/>
                  <a:pt x="373" y="179"/>
                </a:cubicBezTo>
                <a:cubicBezTo>
                  <a:pt x="372" y="179"/>
                  <a:pt x="371" y="180"/>
                  <a:pt x="371" y="182"/>
                </a:cubicBezTo>
                <a:cubicBezTo>
                  <a:pt x="371" y="183"/>
                  <a:pt x="372" y="184"/>
                  <a:pt x="372" y="184"/>
                </a:cubicBezTo>
                <a:close/>
                <a:moveTo>
                  <a:pt x="303" y="411"/>
                </a:moveTo>
                <a:lnTo>
                  <a:pt x="302" y="406"/>
                </a:lnTo>
                <a:lnTo>
                  <a:pt x="302" y="406"/>
                </a:lnTo>
                <a:lnTo>
                  <a:pt x="306" y="408"/>
                </a:lnTo>
                <a:lnTo>
                  <a:pt x="306" y="407"/>
                </a:lnTo>
                <a:lnTo>
                  <a:pt x="304" y="405"/>
                </a:lnTo>
                <a:cubicBezTo>
                  <a:pt x="303" y="404"/>
                  <a:pt x="303" y="402"/>
                  <a:pt x="303" y="400"/>
                </a:cubicBezTo>
                <a:cubicBezTo>
                  <a:pt x="303" y="397"/>
                  <a:pt x="304" y="395"/>
                  <a:pt x="305" y="395"/>
                </a:cubicBezTo>
                <a:cubicBezTo>
                  <a:pt x="306" y="395"/>
                  <a:pt x="307" y="394"/>
                  <a:pt x="307" y="392"/>
                </a:cubicBezTo>
                <a:cubicBezTo>
                  <a:pt x="307" y="391"/>
                  <a:pt x="307" y="390"/>
                  <a:pt x="306" y="388"/>
                </a:cubicBezTo>
                <a:cubicBezTo>
                  <a:pt x="305" y="387"/>
                  <a:pt x="305" y="386"/>
                  <a:pt x="303" y="386"/>
                </a:cubicBezTo>
                <a:cubicBezTo>
                  <a:pt x="302" y="386"/>
                  <a:pt x="301" y="387"/>
                  <a:pt x="301" y="387"/>
                </a:cubicBezTo>
                <a:cubicBezTo>
                  <a:pt x="301" y="389"/>
                  <a:pt x="302" y="389"/>
                  <a:pt x="303" y="389"/>
                </a:cubicBezTo>
                <a:cubicBezTo>
                  <a:pt x="303" y="389"/>
                  <a:pt x="304" y="389"/>
                  <a:pt x="304" y="390"/>
                </a:cubicBezTo>
                <a:cubicBezTo>
                  <a:pt x="304" y="391"/>
                  <a:pt x="303" y="394"/>
                  <a:pt x="301" y="398"/>
                </a:cubicBezTo>
                <a:cubicBezTo>
                  <a:pt x="299" y="402"/>
                  <a:pt x="298" y="405"/>
                  <a:pt x="298" y="407"/>
                </a:cubicBezTo>
                <a:cubicBezTo>
                  <a:pt x="298" y="409"/>
                  <a:pt x="300" y="410"/>
                  <a:pt x="303" y="411"/>
                </a:cubicBezTo>
                <a:close/>
                <a:moveTo>
                  <a:pt x="313" y="375"/>
                </a:moveTo>
                <a:cubicBezTo>
                  <a:pt x="314" y="375"/>
                  <a:pt x="315" y="374"/>
                  <a:pt x="317" y="373"/>
                </a:cubicBezTo>
                <a:cubicBezTo>
                  <a:pt x="318" y="372"/>
                  <a:pt x="318" y="372"/>
                  <a:pt x="318" y="371"/>
                </a:cubicBezTo>
                <a:cubicBezTo>
                  <a:pt x="318" y="371"/>
                  <a:pt x="318" y="370"/>
                  <a:pt x="316" y="369"/>
                </a:cubicBezTo>
                <a:cubicBezTo>
                  <a:pt x="315" y="368"/>
                  <a:pt x="314" y="367"/>
                  <a:pt x="314" y="367"/>
                </a:cubicBezTo>
                <a:lnTo>
                  <a:pt x="315" y="372"/>
                </a:lnTo>
                <a:cubicBezTo>
                  <a:pt x="315" y="372"/>
                  <a:pt x="315" y="373"/>
                  <a:pt x="314" y="373"/>
                </a:cubicBezTo>
                <a:lnTo>
                  <a:pt x="312" y="372"/>
                </a:lnTo>
                <a:cubicBezTo>
                  <a:pt x="312" y="372"/>
                  <a:pt x="311" y="372"/>
                  <a:pt x="311" y="373"/>
                </a:cubicBezTo>
                <a:cubicBezTo>
                  <a:pt x="311" y="374"/>
                  <a:pt x="312" y="375"/>
                  <a:pt x="313" y="375"/>
                </a:cubicBezTo>
                <a:close/>
                <a:moveTo>
                  <a:pt x="317" y="365"/>
                </a:moveTo>
                <a:cubicBezTo>
                  <a:pt x="318" y="365"/>
                  <a:pt x="319" y="365"/>
                  <a:pt x="320" y="364"/>
                </a:cubicBezTo>
                <a:cubicBezTo>
                  <a:pt x="320" y="363"/>
                  <a:pt x="321" y="362"/>
                  <a:pt x="321" y="362"/>
                </a:cubicBezTo>
                <a:cubicBezTo>
                  <a:pt x="321" y="361"/>
                  <a:pt x="321" y="360"/>
                  <a:pt x="320" y="360"/>
                </a:cubicBezTo>
                <a:cubicBezTo>
                  <a:pt x="319" y="359"/>
                  <a:pt x="319" y="358"/>
                  <a:pt x="318" y="358"/>
                </a:cubicBezTo>
                <a:cubicBezTo>
                  <a:pt x="318" y="358"/>
                  <a:pt x="317" y="359"/>
                  <a:pt x="317" y="360"/>
                </a:cubicBezTo>
                <a:cubicBezTo>
                  <a:pt x="316" y="362"/>
                  <a:pt x="316" y="362"/>
                  <a:pt x="316" y="363"/>
                </a:cubicBezTo>
                <a:cubicBezTo>
                  <a:pt x="316" y="365"/>
                  <a:pt x="316" y="365"/>
                  <a:pt x="317" y="365"/>
                </a:cubicBezTo>
                <a:close/>
                <a:moveTo>
                  <a:pt x="391" y="183"/>
                </a:moveTo>
                <a:cubicBezTo>
                  <a:pt x="391" y="183"/>
                  <a:pt x="392" y="183"/>
                  <a:pt x="392" y="182"/>
                </a:cubicBezTo>
                <a:cubicBezTo>
                  <a:pt x="394" y="179"/>
                  <a:pt x="394" y="178"/>
                  <a:pt x="394" y="176"/>
                </a:cubicBezTo>
                <a:cubicBezTo>
                  <a:pt x="394" y="176"/>
                  <a:pt x="394" y="176"/>
                  <a:pt x="394" y="176"/>
                </a:cubicBezTo>
                <a:cubicBezTo>
                  <a:pt x="394" y="176"/>
                  <a:pt x="393" y="176"/>
                  <a:pt x="392" y="178"/>
                </a:cubicBezTo>
                <a:cubicBezTo>
                  <a:pt x="391" y="179"/>
                  <a:pt x="390" y="181"/>
                  <a:pt x="390" y="183"/>
                </a:cubicBezTo>
                <a:cubicBezTo>
                  <a:pt x="390" y="183"/>
                  <a:pt x="391" y="183"/>
                  <a:pt x="391" y="183"/>
                </a:cubicBezTo>
                <a:close/>
                <a:moveTo>
                  <a:pt x="406" y="69"/>
                </a:moveTo>
                <a:cubicBezTo>
                  <a:pt x="407" y="69"/>
                  <a:pt x="408" y="68"/>
                  <a:pt x="408" y="67"/>
                </a:cubicBezTo>
                <a:cubicBezTo>
                  <a:pt x="408" y="66"/>
                  <a:pt x="407" y="65"/>
                  <a:pt x="406" y="65"/>
                </a:cubicBezTo>
                <a:cubicBezTo>
                  <a:pt x="404" y="65"/>
                  <a:pt x="404" y="66"/>
                  <a:pt x="404" y="67"/>
                </a:cubicBezTo>
                <a:cubicBezTo>
                  <a:pt x="404" y="68"/>
                  <a:pt x="404" y="69"/>
                  <a:pt x="406" y="69"/>
                </a:cubicBezTo>
                <a:close/>
                <a:moveTo>
                  <a:pt x="403" y="82"/>
                </a:moveTo>
                <a:cubicBezTo>
                  <a:pt x="403" y="82"/>
                  <a:pt x="404" y="81"/>
                  <a:pt x="404" y="81"/>
                </a:cubicBezTo>
                <a:cubicBezTo>
                  <a:pt x="405" y="80"/>
                  <a:pt x="405" y="79"/>
                  <a:pt x="405" y="78"/>
                </a:cubicBezTo>
                <a:cubicBezTo>
                  <a:pt x="405" y="78"/>
                  <a:pt x="405" y="78"/>
                  <a:pt x="404" y="78"/>
                </a:cubicBezTo>
                <a:cubicBezTo>
                  <a:pt x="402" y="78"/>
                  <a:pt x="402" y="78"/>
                  <a:pt x="402" y="80"/>
                </a:cubicBezTo>
                <a:cubicBezTo>
                  <a:pt x="402" y="81"/>
                  <a:pt x="402" y="82"/>
                  <a:pt x="403" y="82"/>
                </a:cubicBezTo>
                <a:close/>
                <a:moveTo>
                  <a:pt x="407" y="102"/>
                </a:moveTo>
                <a:cubicBezTo>
                  <a:pt x="407" y="102"/>
                  <a:pt x="408" y="101"/>
                  <a:pt x="408" y="101"/>
                </a:cubicBezTo>
                <a:lnTo>
                  <a:pt x="407" y="96"/>
                </a:lnTo>
                <a:cubicBezTo>
                  <a:pt x="407" y="95"/>
                  <a:pt x="408" y="94"/>
                  <a:pt x="409" y="94"/>
                </a:cubicBezTo>
                <a:cubicBezTo>
                  <a:pt x="409" y="93"/>
                  <a:pt x="410" y="90"/>
                  <a:pt x="410" y="83"/>
                </a:cubicBezTo>
                <a:cubicBezTo>
                  <a:pt x="410" y="76"/>
                  <a:pt x="411" y="71"/>
                  <a:pt x="412" y="70"/>
                </a:cubicBezTo>
                <a:cubicBezTo>
                  <a:pt x="413" y="69"/>
                  <a:pt x="414" y="66"/>
                  <a:pt x="414" y="62"/>
                </a:cubicBezTo>
                <a:cubicBezTo>
                  <a:pt x="414" y="55"/>
                  <a:pt x="413" y="51"/>
                  <a:pt x="412" y="51"/>
                </a:cubicBezTo>
                <a:cubicBezTo>
                  <a:pt x="411" y="51"/>
                  <a:pt x="410" y="52"/>
                  <a:pt x="410" y="53"/>
                </a:cubicBezTo>
                <a:lnTo>
                  <a:pt x="410" y="58"/>
                </a:lnTo>
                <a:cubicBezTo>
                  <a:pt x="410" y="60"/>
                  <a:pt x="410" y="61"/>
                  <a:pt x="410" y="62"/>
                </a:cubicBezTo>
                <a:lnTo>
                  <a:pt x="409" y="62"/>
                </a:lnTo>
                <a:cubicBezTo>
                  <a:pt x="408" y="62"/>
                  <a:pt x="408" y="62"/>
                  <a:pt x="408" y="61"/>
                </a:cubicBezTo>
                <a:cubicBezTo>
                  <a:pt x="408" y="60"/>
                  <a:pt x="407" y="60"/>
                  <a:pt x="407" y="60"/>
                </a:cubicBezTo>
                <a:cubicBezTo>
                  <a:pt x="407" y="60"/>
                  <a:pt x="406" y="60"/>
                  <a:pt x="406" y="61"/>
                </a:cubicBezTo>
                <a:cubicBezTo>
                  <a:pt x="406" y="62"/>
                  <a:pt x="407" y="63"/>
                  <a:pt x="407" y="64"/>
                </a:cubicBezTo>
                <a:cubicBezTo>
                  <a:pt x="408" y="65"/>
                  <a:pt x="409" y="66"/>
                  <a:pt x="409" y="68"/>
                </a:cubicBezTo>
                <a:cubicBezTo>
                  <a:pt x="409" y="71"/>
                  <a:pt x="408" y="73"/>
                  <a:pt x="406" y="73"/>
                </a:cubicBezTo>
                <a:lnTo>
                  <a:pt x="405" y="72"/>
                </a:lnTo>
                <a:lnTo>
                  <a:pt x="405" y="73"/>
                </a:lnTo>
                <a:cubicBezTo>
                  <a:pt x="405" y="73"/>
                  <a:pt x="405" y="74"/>
                  <a:pt x="406" y="75"/>
                </a:cubicBezTo>
                <a:cubicBezTo>
                  <a:pt x="407" y="77"/>
                  <a:pt x="407" y="79"/>
                  <a:pt x="407" y="81"/>
                </a:cubicBezTo>
                <a:cubicBezTo>
                  <a:pt x="407" y="84"/>
                  <a:pt x="405" y="87"/>
                  <a:pt x="402" y="89"/>
                </a:cubicBezTo>
                <a:cubicBezTo>
                  <a:pt x="400" y="90"/>
                  <a:pt x="399" y="91"/>
                  <a:pt x="399" y="92"/>
                </a:cubicBezTo>
                <a:lnTo>
                  <a:pt x="400" y="92"/>
                </a:lnTo>
                <a:cubicBezTo>
                  <a:pt x="400" y="92"/>
                  <a:pt x="400" y="92"/>
                  <a:pt x="401" y="93"/>
                </a:cubicBezTo>
                <a:cubicBezTo>
                  <a:pt x="402" y="94"/>
                  <a:pt x="403" y="95"/>
                  <a:pt x="403" y="97"/>
                </a:cubicBezTo>
                <a:cubicBezTo>
                  <a:pt x="405" y="100"/>
                  <a:pt x="406" y="102"/>
                  <a:pt x="407" y="102"/>
                </a:cubicBezTo>
                <a:close/>
                <a:moveTo>
                  <a:pt x="410" y="103"/>
                </a:moveTo>
                <a:cubicBezTo>
                  <a:pt x="411" y="103"/>
                  <a:pt x="412" y="103"/>
                  <a:pt x="412" y="103"/>
                </a:cubicBezTo>
                <a:cubicBezTo>
                  <a:pt x="413" y="102"/>
                  <a:pt x="414" y="101"/>
                  <a:pt x="414" y="100"/>
                </a:cubicBezTo>
                <a:cubicBezTo>
                  <a:pt x="414" y="98"/>
                  <a:pt x="413" y="98"/>
                  <a:pt x="412" y="98"/>
                </a:cubicBezTo>
                <a:cubicBezTo>
                  <a:pt x="410" y="98"/>
                  <a:pt x="410" y="99"/>
                  <a:pt x="410" y="101"/>
                </a:cubicBezTo>
                <a:cubicBezTo>
                  <a:pt x="410" y="103"/>
                  <a:pt x="410" y="103"/>
                  <a:pt x="410" y="103"/>
                </a:cubicBezTo>
                <a:close/>
                <a:moveTo>
                  <a:pt x="401" y="155"/>
                </a:moveTo>
                <a:cubicBezTo>
                  <a:pt x="401" y="155"/>
                  <a:pt x="401" y="154"/>
                  <a:pt x="401" y="152"/>
                </a:cubicBezTo>
                <a:lnTo>
                  <a:pt x="401" y="147"/>
                </a:lnTo>
                <a:cubicBezTo>
                  <a:pt x="401" y="142"/>
                  <a:pt x="402" y="139"/>
                  <a:pt x="404" y="136"/>
                </a:cubicBezTo>
                <a:cubicBezTo>
                  <a:pt x="405" y="134"/>
                  <a:pt x="406" y="132"/>
                  <a:pt x="406" y="130"/>
                </a:cubicBezTo>
                <a:lnTo>
                  <a:pt x="406" y="125"/>
                </a:lnTo>
                <a:lnTo>
                  <a:pt x="406" y="125"/>
                </a:lnTo>
                <a:lnTo>
                  <a:pt x="408" y="125"/>
                </a:lnTo>
                <a:cubicBezTo>
                  <a:pt x="409" y="125"/>
                  <a:pt x="409" y="125"/>
                  <a:pt x="409" y="125"/>
                </a:cubicBezTo>
                <a:lnTo>
                  <a:pt x="408" y="120"/>
                </a:lnTo>
                <a:lnTo>
                  <a:pt x="408" y="118"/>
                </a:lnTo>
                <a:lnTo>
                  <a:pt x="410" y="120"/>
                </a:lnTo>
                <a:cubicBezTo>
                  <a:pt x="410" y="120"/>
                  <a:pt x="410" y="119"/>
                  <a:pt x="410" y="118"/>
                </a:cubicBezTo>
                <a:lnTo>
                  <a:pt x="410" y="115"/>
                </a:lnTo>
                <a:cubicBezTo>
                  <a:pt x="410" y="113"/>
                  <a:pt x="411" y="110"/>
                  <a:pt x="413" y="108"/>
                </a:cubicBezTo>
                <a:cubicBezTo>
                  <a:pt x="414" y="106"/>
                  <a:pt x="415" y="105"/>
                  <a:pt x="415" y="104"/>
                </a:cubicBezTo>
                <a:cubicBezTo>
                  <a:pt x="415" y="104"/>
                  <a:pt x="414" y="105"/>
                  <a:pt x="411" y="106"/>
                </a:cubicBezTo>
                <a:cubicBezTo>
                  <a:pt x="409" y="108"/>
                  <a:pt x="408" y="109"/>
                  <a:pt x="407" y="110"/>
                </a:cubicBezTo>
                <a:cubicBezTo>
                  <a:pt x="407" y="111"/>
                  <a:pt x="407" y="112"/>
                  <a:pt x="407" y="113"/>
                </a:cubicBezTo>
                <a:cubicBezTo>
                  <a:pt x="407" y="114"/>
                  <a:pt x="407" y="115"/>
                  <a:pt x="407" y="116"/>
                </a:cubicBezTo>
                <a:cubicBezTo>
                  <a:pt x="406" y="117"/>
                  <a:pt x="406" y="119"/>
                  <a:pt x="406" y="122"/>
                </a:cubicBezTo>
                <a:cubicBezTo>
                  <a:pt x="406" y="123"/>
                  <a:pt x="405" y="125"/>
                  <a:pt x="403" y="126"/>
                </a:cubicBezTo>
                <a:cubicBezTo>
                  <a:pt x="403" y="127"/>
                  <a:pt x="402" y="127"/>
                  <a:pt x="402" y="128"/>
                </a:cubicBezTo>
                <a:cubicBezTo>
                  <a:pt x="402" y="128"/>
                  <a:pt x="403" y="129"/>
                  <a:pt x="403" y="129"/>
                </a:cubicBezTo>
                <a:cubicBezTo>
                  <a:pt x="403" y="129"/>
                  <a:pt x="403" y="129"/>
                  <a:pt x="403" y="129"/>
                </a:cubicBezTo>
                <a:cubicBezTo>
                  <a:pt x="403" y="129"/>
                  <a:pt x="403" y="130"/>
                  <a:pt x="402" y="131"/>
                </a:cubicBezTo>
                <a:cubicBezTo>
                  <a:pt x="401" y="132"/>
                  <a:pt x="400" y="133"/>
                  <a:pt x="400" y="134"/>
                </a:cubicBezTo>
                <a:cubicBezTo>
                  <a:pt x="400" y="134"/>
                  <a:pt x="401" y="134"/>
                  <a:pt x="401" y="134"/>
                </a:cubicBezTo>
                <a:cubicBezTo>
                  <a:pt x="401" y="134"/>
                  <a:pt x="401" y="135"/>
                  <a:pt x="401" y="135"/>
                </a:cubicBezTo>
                <a:cubicBezTo>
                  <a:pt x="401" y="135"/>
                  <a:pt x="401" y="136"/>
                  <a:pt x="400" y="138"/>
                </a:cubicBezTo>
                <a:cubicBezTo>
                  <a:pt x="399" y="139"/>
                  <a:pt x="399" y="141"/>
                  <a:pt x="399" y="143"/>
                </a:cubicBezTo>
                <a:cubicBezTo>
                  <a:pt x="399" y="145"/>
                  <a:pt x="399" y="146"/>
                  <a:pt x="398" y="146"/>
                </a:cubicBezTo>
                <a:cubicBezTo>
                  <a:pt x="397" y="147"/>
                  <a:pt x="397" y="147"/>
                  <a:pt x="397" y="148"/>
                </a:cubicBezTo>
                <a:cubicBezTo>
                  <a:pt x="397" y="149"/>
                  <a:pt x="398" y="150"/>
                  <a:pt x="399" y="152"/>
                </a:cubicBezTo>
                <a:cubicBezTo>
                  <a:pt x="399" y="153"/>
                  <a:pt x="400" y="154"/>
                  <a:pt x="401" y="155"/>
                </a:cubicBezTo>
                <a:close/>
                <a:moveTo>
                  <a:pt x="412" y="95"/>
                </a:moveTo>
                <a:cubicBezTo>
                  <a:pt x="412" y="95"/>
                  <a:pt x="413" y="94"/>
                  <a:pt x="414" y="93"/>
                </a:cubicBezTo>
                <a:cubicBezTo>
                  <a:pt x="416" y="90"/>
                  <a:pt x="416" y="89"/>
                  <a:pt x="416" y="88"/>
                </a:cubicBezTo>
                <a:lnTo>
                  <a:pt x="415" y="88"/>
                </a:lnTo>
                <a:cubicBezTo>
                  <a:pt x="415" y="88"/>
                  <a:pt x="414" y="88"/>
                  <a:pt x="413" y="89"/>
                </a:cubicBezTo>
                <a:cubicBezTo>
                  <a:pt x="412" y="90"/>
                  <a:pt x="412" y="92"/>
                  <a:pt x="412" y="93"/>
                </a:cubicBezTo>
                <a:cubicBezTo>
                  <a:pt x="412" y="95"/>
                  <a:pt x="412" y="95"/>
                  <a:pt x="412" y="95"/>
                </a:cubicBezTo>
                <a:close/>
                <a:moveTo>
                  <a:pt x="418" y="85"/>
                </a:moveTo>
                <a:lnTo>
                  <a:pt x="420" y="81"/>
                </a:lnTo>
                <a:cubicBezTo>
                  <a:pt x="421" y="78"/>
                  <a:pt x="422" y="73"/>
                  <a:pt x="422" y="66"/>
                </a:cubicBezTo>
                <a:cubicBezTo>
                  <a:pt x="422" y="51"/>
                  <a:pt x="420" y="41"/>
                  <a:pt x="418" y="36"/>
                </a:cubicBezTo>
                <a:cubicBezTo>
                  <a:pt x="417" y="35"/>
                  <a:pt x="417" y="34"/>
                  <a:pt x="417" y="32"/>
                </a:cubicBezTo>
                <a:lnTo>
                  <a:pt x="417" y="31"/>
                </a:lnTo>
                <a:lnTo>
                  <a:pt x="417" y="31"/>
                </a:lnTo>
                <a:lnTo>
                  <a:pt x="414" y="32"/>
                </a:lnTo>
                <a:cubicBezTo>
                  <a:pt x="412" y="32"/>
                  <a:pt x="412" y="31"/>
                  <a:pt x="412" y="30"/>
                </a:cubicBezTo>
                <a:lnTo>
                  <a:pt x="412" y="29"/>
                </a:lnTo>
                <a:cubicBezTo>
                  <a:pt x="412" y="29"/>
                  <a:pt x="412" y="29"/>
                  <a:pt x="411" y="28"/>
                </a:cubicBezTo>
                <a:cubicBezTo>
                  <a:pt x="410" y="27"/>
                  <a:pt x="409" y="27"/>
                  <a:pt x="408" y="27"/>
                </a:cubicBezTo>
                <a:cubicBezTo>
                  <a:pt x="407" y="27"/>
                  <a:pt x="407" y="27"/>
                  <a:pt x="407" y="28"/>
                </a:cubicBezTo>
                <a:lnTo>
                  <a:pt x="409" y="38"/>
                </a:lnTo>
                <a:lnTo>
                  <a:pt x="408" y="40"/>
                </a:lnTo>
                <a:cubicBezTo>
                  <a:pt x="408" y="40"/>
                  <a:pt x="408" y="40"/>
                  <a:pt x="409" y="40"/>
                </a:cubicBezTo>
                <a:lnTo>
                  <a:pt x="414" y="40"/>
                </a:lnTo>
                <a:cubicBezTo>
                  <a:pt x="414" y="40"/>
                  <a:pt x="415" y="40"/>
                  <a:pt x="415" y="41"/>
                </a:cubicBezTo>
                <a:lnTo>
                  <a:pt x="414" y="46"/>
                </a:lnTo>
                <a:cubicBezTo>
                  <a:pt x="414" y="48"/>
                  <a:pt x="414" y="49"/>
                  <a:pt x="415" y="49"/>
                </a:cubicBezTo>
                <a:cubicBezTo>
                  <a:pt x="415" y="50"/>
                  <a:pt x="415" y="51"/>
                  <a:pt x="416" y="52"/>
                </a:cubicBezTo>
                <a:cubicBezTo>
                  <a:pt x="416" y="53"/>
                  <a:pt x="416" y="54"/>
                  <a:pt x="417" y="55"/>
                </a:cubicBezTo>
                <a:cubicBezTo>
                  <a:pt x="417" y="56"/>
                  <a:pt x="417" y="56"/>
                  <a:pt x="417" y="57"/>
                </a:cubicBezTo>
                <a:cubicBezTo>
                  <a:pt x="417" y="58"/>
                  <a:pt x="417" y="58"/>
                  <a:pt x="417" y="60"/>
                </a:cubicBezTo>
                <a:cubicBezTo>
                  <a:pt x="418" y="61"/>
                  <a:pt x="418" y="62"/>
                  <a:pt x="418" y="62"/>
                </a:cubicBezTo>
                <a:cubicBezTo>
                  <a:pt x="418" y="63"/>
                  <a:pt x="419" y="64"/>
                  <a:pt x="419" y="64"/>
                </a:cubicBezTo>
                <a:cubicBezTo>
                  <a:pt x="419" y="65"/>
                  <a:pt x="419" y="66"/>
                  <a:pt x="419" y="66"/>
                </a:cubicBezTo>
                <a:cubicBezTo>
                  <a:pt x="419" y="67"/>
                  <a:pt x="419" y="67"/>
                  <a:pt x="419" y="67"/>
                </a:cubicBezTo>
                <a:lnTo>
                  <a:pt x="417" y="66"/>
                </a:lnTo>
                <a:cubicBezTo>
                  <a:pt x="417" y="66"/>
                  <a:pt x="416" y="67"/>
                  <a:pt x="416" y="68"/>
                </a:cubicBezTo>
                <a:cubicBezTo>
                  <a:pt x="416" y="70"/>
                  <a:pt x="417" y="71"/>
                  <a:pt x="417" y="71"/>
                </a:cubicBezTo>
                <a:lnTo>
                  <a:pt x="419" y="69"/>
                </a:lnTo>
                <a:cubicBezTo>
                  <a:pt x="419" y="69"/>
                  <a:pt x="420" y="70"/>
                  <a:pt x="420" y="71"/>
                </a:cubicBezTo>
                <a:cubicBezTo>
                  <a:pt x="420" y="72"/>
                  <a:pt x="419" y="74"/>
                  <a:pt x="417" y="76"/>
                </a:cubicBezTo>
                <a:cubicBezTo>
                  <a:pt x="415" y="78"/>
                  <a:pt x="414" y="79"/>
                  <a:pt x="414" y="80"/>
                </a:cubicBezTo>
                <a:cubicBezTo>
                  <a:pt x="414" y="80"/>
                  <a:pt x="414" y="81"/>
                  <a:pt x="414" y="81"/>
                </a:cubicBezTo>
                <a:lnTo>
                  <a:pt x="418" y="78"/>
                </a:lnTo>
                <a:cubicBezTo>
                  <a:pt x="419" y="78"/>
                  <a:pt x="419" y="79"/>
                  <a:pt x="419" y="80"/>
                </a:cubicBezTo>
                <a:lnTo>
                  <a:pt x="418" y="85"/>
                </a:lnTo>
                <a:close/>
                <a:moveTo>
                  <a:pt x="419" y="42"/>
                </a:moveTo>
                <a:lnTo>
                  <a:pt x="419" y="42"/>
                </a:lnTo>
                <a:cubicBezTo>
                  <a:pt x="418" y="42"/>
                  <a:pt x="417" y="41"/>
                  <a:pt x="417" y="40"/>
                </a:cubicBezTo>
                <a:lnTo>
                  <a:pt x="416" y="37"/>
                </a:lnTo>
                <a:lnTo>
                  <a:pt x="416" y="37"/>
                </a:lnTo>
                <a:cubicBezTo>
                  <a:pt x="417" y="37"/>
                  <a:pt x="417" y="38"/>
                  <a:pt x="418" y="39"/>
                </a:cubicBezTo>
                <a:cubicBezTo>
                  <a:pt x="419" y="39"/>
                  <a:pt x="419" y="40"/>
                  <a:pt x="419" y="41"/>
                </a:cubicBezTo>
                <a:lnTo>
                  <a:pt x="419" y="42"/>
                </a:lnTo>
                <a:close/>
                <a:moveTo>
                  <a:pt x="238" y="568"/>
                </a:moveTo>
                <a:cubicBezTo>
                  <a:pt x="237" y="568"/>
                  <a:pt x="236" y="568"/>
                  <a:pt x="236" y="568"/>
                </a:cubicBezTo>
                <a:cubicBezTo>
                  <a:pt x="236" y="568"/>
                  <a:pt x="237" y="567"/>
                  <a:pt x="238" y="566"/>
                </a:cubicBezTo>
                <a:cubicBezTo>
                  <a:pt x="239" y="566"/>
                  <a:pt x="239" y="565"/>
                  <a:pt x="239" y="565"/>
                </a:cubicBezTo>
                <a:cubicBezTo>
                  <a:pt x="239" y="564"/>
                  <a:pt x="239" y="564"/>
                  <a:pt x="238" y="564"/>
                </a:cubicBezTo>
                <a:cubicBezTo>
                  <a:pt x="238" y="563"/>
                  <a:pt x="238" y="563"/>
                  <a:pt x="237" y="563"/>
                </a:cubicBezTo>
                <a:cubicBezTo>
                  <a:pt x="236" y="563"/>
                  <a:pt x="235" y="564"/>
                  <a:pt x="234" y="566"/>
                </a:cubicBezTo>
                <a:cubicBezTo>
                  <a:pt x="234" y="567"/>
                  <a:pt x="233" y="568"/>
                  <a:pt x="233" y="568"/>
                </a:cubicBezTo>
                <a:cubicBezTo>
                  <a:pt x="233" y="568"/>
                  <a:pt x="232" y="568"/>
                  <a:pt x="232" y="567"/>
                </a:cubicBezTo>
                <a:lnTo>
                  <a:pt x="232" y="567"/>
                </a:lnTo>
                <a:cubicBezTo>
                  <a:pt x="232" y="565"/>
                  <a:pt x="233" y="564"/>
                  <a:pt x="234" y="563"/>
                </a:cubicBezTo>
                <a:cubicBezTo>
                  <a:pt x="236" y="562"/>
                  <a:pt x="237" y="561"/>
                  <a:pt x="238" y="561"/>
                </a:cubicBezTo>
                <a:cubicBezTo>
                  <a:pt x="239" y="561"/>
                  <a:pt x="239" y="561"/>
                  <a:pt x="240" y="562"/>
                </a:cubicBezTo>
                <a:cubicBezTo>
                  <a:pt x="241" y="564"/>
                  <a:pt x="241" y="565"/>
                  <a:pt x="241" y="566"/>
                </a:cubicBezTo>
                <a:cubicBezTo>
                  <a:pt x="241" y="568"/>
                  <a:pt x="240" y="568"/>
                  <a:pt x="238" y="568"/>
                </a:cubicBezTo>
                <a:close/>
                <a:moveTo>
                  <a:pt x="231" y="611"/>
                </a:moveTo>
                <a:lnTo>
                  <a:pt x="231" y="610"/>
                </a:lnTo>
                <a:cubicBezTo>
                  <a:pt x="231" y="609"/>
                  <a:pt x="233" y="604"/>
                  <a:pt x="236" y="597"/>
                </a:cubicBezTo>
                <a:cubicBezTo>
                  <a:pt x="237" y="593"/>
                  <a:pt x="238" y="592"/>
                  <a:pt x="239" y="592"/>
                </a:cubicBezTo>
                <a:lnTo>
                  <a:pt x="239" y="592"/>
                </a:lnTo>
                <a:lnTo>
                  <a:pt x="237" y="597"/>
                </a:lnTo>
                <a:lnTo>
                  <a:pt x="234" y="606"/>
                </a:lnTo>
                <a:cubicBezTo>
                  <a:pt x="233" y="609"/>
                  <a:pt x="232" y="611"/>
                  <a:pt x="231" y="611"/>
                </a:cubicBezTo>
                <a:close/>
                <a:moveTo>
                  <a:pt x="219" y="128"/>
                </a:moveTo>
                <a:lnTo>
                  <a:pt x="218" y="127"/>
                </a:lnTo>
                <a:lnTo>
                  <a:pt x="221" y="125"/>
                </a:lnTo>
                <a:cubicBezTo>
                  <a:pt x="223" y="123"/>
                  <a:pt x="224" y="122"/>
                  <a:pt x="225" y="122"/>
                </a:cubicBezTo>
                <a:cubicBezTo>
                  <a:pt x="226" y="122"/>
                  <a:pt x="226" y="123"/>
                  <a:pt x="226" y="123"/>
                </a:cubicBezTo>
                <a:cubicBezTo>
                  <a:pt x="226" y="124"/>
                  <a:pt x="224" y="125"/>
                  <a:pt x="223" y="126"/>
                </a:cubicBezTo>
                <a:cubicBezTo>
                  <a:pt x="221" y="127"/>
                  <a:pt x="219" y="128"/>
                  <a:pt x="219" y="128"/>
                </a:cubicBezTo>
                <a:close/>
                <a:moveTo>
                  <a:pt x="235" y="578"/>
                </a:moveTo>
                <a:cubicBezTo>
                  <a:pt x="234" y="578"/>
                  <a:pt x="232" y="578"/>
                  <a:pt x="231" y="576"/>
                </a:cubicBezTo>
                <a:lnTo>
                  <a:pt x="231" y="575"/>
                </a:lnTo>
                <a:cubicBezTo>
                  <a:pt x="231" y="574"/>
                  <a:pt x="231" y="573"/>
                  <a:pt x="232" y="572"/>
                </a:cubicBezTo>
                <a:cubicBezTo>
                  <a:pt x="233" y="571"/>
                  <a:pt x="233" y="570"/>
                  <a:pt x="234" y="570"/>
                </a:cubicBezTo>
                <a:cubicBezTo>
                  <a:pt x="235" y="570"/>
                  <a:pt x="236" y="571"/>
                  <a:pt x="236" y="573"/>
                </a:cubicBezTo>
                <a:cubicBezTo>
                  <a:pt x="236" y="573"/>
                  <a:pt x="235" y="574"/>
                  <a:pt x="235" y="574"/>
                </a:cubicBezTo>
                <a:lnTo>
                  <a:pt x="233" y="573"/>
                </a:lnTo>
                <a:cubicBezTo>
                  <a:pt x="233" y="573"/>
                  <a:pt x="232" y="573"/>
                  <a:pt x="232" y="573"/>
                </a:cubicBezTo>
                <a:lnTo>
                  <a:pt x="233" y="574"/>
                </a:lnTo>
                <a:cubicBezTo>
                  <a:pt x="234" y="575"/>
                  <a:pt x="234" y="576"/>
                  <a:pt x="235" y="576"/>
                </a:cubicBezTo>
                <a:lnTo>
                  <a:pt x="237" y="575"/>
                </a:lnTo>
                <a:cubicBezTo>
                  <a:pt x="237" y="575"/>
                  <a:pt x="238" y="576"/>
                  <a:pt x="238" y="576"/>
                </a:cubicBezTo>
                <a:cubicBezTo>
                  <a:pt x="238" y="578"/>
                  <a:pt x="237" y="578"/>
                  <a:pt x="235" y="578"/>
                </a:cubicBezTo>
                <a:close/>
                <a:moveTo>
                  <a:pt x="219" y="486"/>
                </a:moveTo>
                <a:cubicBezTo>
                  <a:pt x="219" y="486"/>
                  <a:pt x="218" y="485"/>
                  <a:pt x="218" y="483"/>
                </a:cubicBezTo>
                <a:lnTo>
                  <a:pt x="217" y="481"/>
                </a:lnTo>
                <a:cubicBezTo>
                  <a:pt x="217" y="481"/>
                  <a:pt x="218" y="481"/>
                  <a:pt x="219" y="482"/>
                </a:cubicBezTo>
                <a:cubicBezTo>
                  <a:pt x="220" y="483"/>
                  <a:pt x="220" y="485"/>
                  <a:pt x="220" y="485"/>
                </a:cubicBezTo>
                <a:lnTo>
                  <a:pt x="219" y="486"/>
                </a:lnTo>
                <a:close/>
                <a:moveTo>
                  <a:pt x="237" y="558"/>
                </a:moveTo>
                <a:cubicBezTo>
                  <a:pt x="236" y="558"/>
                  <a:pt x="236" y="557"/>
                  <a:pt x="236" y="557"/>
                </a:cubicBezTo>
                <a:cubicBezTo>
                  <a:pt x="236" y="556"/>
                  <a:pt x="236" y="555"/>
                  <a:pt x="237" y="554"/>
                </a:cubicBezTo>
                <a:cubicBezTo>
                  <a:pt x="238" y="553"/>
                  <a:pt x="239" y="552"/>
                  <a:pt x="239" y="551"/>
                </a:cubicBezTo>
                <a:cubicBezTo>
                  <a:pt x="240" y="550"/>
                  <a:pt x="241" y="550"/>
                  <a:pt x="242" y="550"/>
                </a:cubicBezTo>
                <a:cubicBezTo>
                  <a:pt x="243" y="550"/>
                  <a:pt x="244" y="551"/>
                  <a:pt x="244" y="552"/>
                </a:cubicBezTo>
                <a:cubicBezTo>
                  <a:pt x="244" y="553"/>
                  <a:pt x="244" y="554"/>
                  <a:pt x="243" y="554"/>
                </a:cubicBezTo>
                <a:lnTo>
                  <a:pt x="241" y="553"/>
                </a:lnTo>
                <a:cubicBezTo>
                  <a:pt x="240" y="553"/>
                  <a:pt x="239" y="554"/>
                  <a:pt x="238" y="556"/>
                </a:cubicBezTo>
                <a:cubicBezTo>
                  <a:pt x="238" y="557"/>
                  <a:pt x="237" y="558"/>
                  <a:pt x="237" y="558"/>
                </a:cubicBezTo>
                <a:close/>
                <a:moveTo>
                  <a:pt x="239" y="515"/>
                </a:moveTo>
                <a:cubicBezTo>
                  <a:pt x="238" y="515"/>
                  <a:pt x="238" y="515"/>
                  <a:pt x="238" y="513"/>
                </a:cubicBezTo>
                <a:cubicBezTo>
                  <a:pt x="238" y="512"/>
                  <a:pt x="238" y="512"/>
                  <a:pt x="238" y="512"/>
                </a:cubicBezTo>
                <a:cubicBezTo>
                  <a:pt x="238" y="512"/>
                  <a:pt x="239" y="512"/>
                  <a:pt x="240" y="511"/>
                </a:cubicBezTo>
                <a:cubicBezTo>
                  <a:pt x="241" y="511"/>
                  <a:pt x="241" y="511"/>
                  <a:pt x="241" y="510"/>
                </a:cubicBezTo>
                <a:lnTo>
                  <a:pt x="241" y="508"/>
                </a:lnTo>
                <a:cubicBezTo>
                  <a:pt x="241" y="507"/>
                  <a:pt x="241" y="507"/>
                  <a:pt x="241" y="507"/>
                </a:cubicBezTo>
                <a:cubicBezTo>
                  <a:pt x="243" y="507"/>
                  <a:pt x="243" y="507"/>
                  <a:pt x="243" y="508"/>
                </a:cubicBezTo>
                <a:cubicBezTo>
                  <a:pt x="243" y="509"/>
                  <a:pt x="243" y="510"/>
                  <a:pt x="242" y="512"/>
                </a:cubicBezTo>
                <a:cubicBezTo>
                  <a:pt x="241" y="514"/>
                  <a:pt x="240" y="515"/>
                  <a:pt x="239" y="515"/>
                </a:cubicBezTo>
                <a:close/>
                <a:moveTo>
                  <a:pt x="248" y="547"/>
                </a:moveTo>
                <a:cubicBezTo>
                  <a:pt x="248" y="547"/>
                  <a:pt x="248" y="546"/>
                  <a:pt x="247" y="545"/>
                </a:cubicBezTo>
                <a:cubicBezTo>
                  <a:pt x="246" y="544"/>
                  <a:pt x="245" y="543"/>
                  <a:pt x="244" y="543"/>
                </a:cubicBezTo>
                <a:lnTo>
                  <a:pt x="242" y="544"/>
                </a:lnTo>
                <a:lnTo>
                  <a:pt x="243" y="542"/>
                </a:lnTo>
                <a:cubicBezTo>
                  <a:pt x="244" y="541"/>
                  <a:pt x="245" y="540"/>
                  <a:pt x="246" y="540"/>
                </a:cubicBezTo>
                <a:cubicBezTo>
                  <a:pt x="246" y="540"/>
                  <a:pt x="247" y="541"/>
                  <a:pt x="248" y="542"/>
                </a:cubicBezTo>
                <a:cubicBezTo>
                  <a:pt x="248" y="544"/>
                  <a:pt x="249" y="544"/>
                  <a:pt x="249" y="544"/>
                </a:cubicBezTo>
                <a:cubicBezTo>
                  <a:pt x="250" y="544"/>
                  <a:pt x="250" y="544"/>
                  <a:pt x="250" y="542"/>
                </a:cubicBezTo>
                <a:cubicBezTo>
                  <a:pt x="250" y="541"/>
                  <a:pt x="250" y="541"/>
                  <a:pt x="250" y="541"/>
                </a:cubicBezTo>
                <a:cubicBezTo>
                  <a:pt x="250" y="541"/>
                  <a:pt x="251" y="541"/>
                  <a:pt x="251" y="542"/>
                </a:cubicBezTo>
                <a:cubicBezTo>
                  <a:pt x="251" y="543"/>
                  <a:pt x="251" y="544"/>
                  <a:pt x="250" y="545"/>
                </a:cubicBezTo>
                <a:cubicBezTo>
                  <a:pt x="249" y="546"/>
                  <a:pt x="248" y="547"/>
                  <a:pt x="248" y="547"/>
                </a:cubicBezTo>
                <a:close/>
                <a:moveTo>
                  <a:pt x="248" y="495"/>
                </a:moveTo>
                <a:cubicBezTo>
                  <a:pt x="246" y="495"/>
                  <a:pt x="246" y="495"/>
                  <a:pt x="246" y="493"/>
                </a:cubicBezTo>
                <a:cubicBezTo>
                  <a:pt x="246" y="492"/>
                  <a:pt x="246" y="491"/>
                  <a:pt x="248" y="491"/>
                </a:cubicBezTo>
                <a:cubicBezTo>
                  <a:pt x="249" y="491"/>
                  <a:pt x="249" y="492"/>
                  <a:pt x="250" y="493"/>
                </a:cubicBezTo>
                <a:cubicBezTo>
                  <a:pt x="249" y="495"/>
                  <a:pt x="249" y="495"/>
                  <a:pt x="248" y="495"/>
                </a:cubicBezTo>
                <a:close/>
                <a:moveTo>
                  <a:pt x="219" y="140"/>
                </a:moveTo>
                <a:cubicBezTo>
                  <a:pt x="219" y="140"/>
                  <a:pt x="218" y="139"/>
                  <a:pt x="218" y="139"/>
                </a:cubicBezTo>
                <a:cubicBezTo>
                  <a:pt x="218" y="138"/>
                  <a:pt x="219" y="137"/>
                  <a:pt x="219" y="136"/>
                </a:cubicBezTo>
                <a:cubicBezTo>
                  <a:pt x="220" y="135"/>
                  <a:pt x="221" y="135"/>
                  <a:pt x="221" y="135"/>
                </a:cubicBezTo>
                <a:cubicBezTo>
                  <a:pt x="222" y="135"/>
                  <a:pt x="222" y="135"/>
                  <a:pt x="222" y="136"/>
                </a:cubicBezTo>
                <a:cubicBezTo>
                  <a:pt x="222" y="137"/>
                  <a:pt x="222" y="139"/>
                  <a:pt x="220" y="140"/>
                </a:cubicBezTo>
                <a:lnTo>
                  <a:pt x="219" y="140"/>
                </a:lnTo>
                <a:close/>
                <a:moveTo>
                  <a:pt x="286" y="414"/>
                </a:moveTo>
                <a:cubicBezTo>
                  <a:pt x="285" y="414"/>
                  <a:pt x="285" y="414"/>
                  <a:pt x="285" y="413"/>
                </a:cubicBezTo>
                <a:cubicBezTo>
                  <a:pt x="285" y="412"/>
                  <a:pt x="286" y="410"/>
                  <a:pt x="286" y="408"/>
                </a:cubicBezTo>
                <a:cubicBezTo>
                  <a:pt x="287" y="404"/>
                  <a:pt x="288" y="402"/>
                  <a:pt x="289" y="402"/>
                </a:cubicBezTo>
                <a:lnTo>
                  <a:pt x="289" y="402"/>
                </a:lnTo>
                <a:cubicBezTo>
                  <a:pt x="289" y="404"/>
                  <a:pt x="289" y="405"/>
                  <a:pt x="289" y="406"/>
                </a:cubicBezTo>
                <a:cubicBezTo>
                  <a:pt x="288" y="408"/>
                  <a:pt x="288" y="410"/>
                  <a:pt x="287" y="411"/>
                </a:cubicBezTo>
                <a:cubicBezTo>
                  <a:pt x="286" y="413"/>
                  <a:pt x="286" y="414"/>
                  <a:pt x="286" y="414"/>
                </a:cubicBezTo>
                <a:close/>
                <a:moveTo>
                  <a:pt x="266" y="66"/>
                </a:moveTo>
                <a:cubicBezTo>
                  <a:pt x="265" y="66"/>
                  <a:pt x="264" y="66"/>
                  <a:pt x="264" y="65"/>
                </a:cubicBezTo>
                <a:lnTo>
                  <a:pt x="264" y="65"/>
                </a:lnTo>
                <a:cubicBezTo>
                  <a:pt x="265" y="64"/>
                  <a:pt x="265" y="64"/>
                  <a:pt x="266" y="64"/>
                </a:cubicBezTo>
                <a:cubicBezTo>
                  <a:pt x="266" y="64"/>
                  <a:pt x="267" y="64"/>
                  <a:pt x="268" y="64"/>
                </a:cubicBezTo>
                <a:cubicBezTo>
                  <a:pt x="268" y="65"/>
                  <a:pt x="269" y="66"/>
                  <a:pt x="269" y="66"/>
                </a:cubicBezTo>
                <a:cubicBezTo>
                  <a:pt x="269" y="66"/>
                  <a:pt x="268" y="66"/>
                  <a:pt x="266" y="66"/>
                </a:cubicBezTo>
                <a:close/>
                <a:moveTo>
                  <a:pt x="267" y="56"/>
                </a:moveTo>
                <a:cubicBezTo>
                  <a:pt x="267" y="56"/>
                  <a:pt x="268" y="54"/>
                  <a:pt x="272" y="52"/>
                </a:cubicBezTo>
                <a:cubicBezTo>
                  <a:pt x="275" y="49"/>
                  <a:pt x="279" y="46"/>
                  <a:pt x="284" y="43"/>
                </a:cubicBezTo>
                <a:cubicBezTo>
                  <a:pt x="289" y="39"/>
                  <a:pt x="293" y="37"/>
                  <a:pt x="296" y="34"/>
                </a:cubicBezTo>
                <a:cubicBezTo>
                  <a:pt x="300" y="32"/>
                  <a:pt x="302" y="32"/>
                  <a:pt x="303" y="32"/>
                </a:cubicBezTo>
                <a:cubicBezTo>
                  <a:pt x="303" y="32"/>
                  <a:pt x="296" y="37"/>
                  <a:pt x="284" y="45"/>
                </a:cubicBezTo>
                <a:cubicBezTo>
                  <a:pt x="273" y="53"/>
                  <a:pt x="268" y="56"/>
                  <a:pt x="267" y="56"/>
                </a:cubicBezTo>
                <a:close/>
                <a:moveTo>
                  <a:pt x="233" y="82"/>
                </a:moveTo>
                <a:cubicBezTo>
                  <a:pt x="233" y="81"/>
                  <a:pt x="235" y="79"/>
                  <a:pt x="239" y="76"/>
                </a:cubicBezTo>
                <a:cubicBezTo>
                  <a:pt x="248" y="69"/>
                  <a:pt x="252" y="66"/>
                  <a:pt x="253" y="66"/>
                </a:cubicBezTo>
                <a:cubicBezTo>
                  <a:pt x="253" y="66"/>
                  <a:pt x="252" y="67"/>
                  <a:pt x="250" y="69"/>
                </a:cubicBezTo>
                <a:cubicBezTo>
                  <a:pt x="240" y="78"/>
                  <a:pt x="235" y="82"/>
                  <a:pt x="233" y="82"/>
                </a:cubicBezTo>
                <a:close/>
                <a:moveTo>
                  <a:pt x="252" y="78"/>
                </a:moveTo>
                <a:cubicBezTo>
                  <a:pt x="252" y="78"/>
                  <a:pt x="251" y="77"/>
                  <a:pt x="251" y="76"/>
                </a:cubicBezTo>
                <a:cubicBezTo>
                  <a:pt x="251" y="74"/>
                  <a:pt x="252" y="73"/>
                  <a:pt x="253" y="73"/>
                </a:cubicBezTo>
                <a:lnTo>
                  <a:pt x="254" y="72"/>
                </a:lnTo>
                <a:cubicBezTo>
                  <a:pt x="254" y="72"/>
                  <a:pt x="255" y="72"/>
                  <a:pt x="255" y="73"/>
                </a:cubicBezTo>
                <a:lnTo>
                  <a:pt x="254" y="74"/>
                </a:lnTo>
                <a:cubicBezTo>
                  <a:pt x="253" y="76"/>
                  <a:pt x="253" y="78"/>
                  <a:pt x="252" y="78"/>
                </a:cubicBezTo>
                <a:close/>
                <a:moveTo>
                  <a:pt x="239" y="87"/>
                </a:moveTo>
                <a:cubicBezTo>
                  <a:pt x="238" y="87"/>
                  <a:pt x="238" y="87"/>
                  <a:pt x="238" y="86"/>
                </a:cubicBezTo>
                <a:cubicBezTo>
                  <a:pt x="238" y="85"/>
                  <a:pt x="238" y="85"/>
                  <a:pt x="239" y="84"/>
                </a:cubicBezTo>
                <a:cubicBezTo>
                  <a:pt x="239" y="83"/>
                  <a:pt x="240" y="82"/>
                  <a:pt x="241" y="81"/>
                </a:cubicBezTo>
                <a:cubicBezTo>
                  <a:pt x="242" y="80"/>
                  <a:pt x="243" y="80"/>
                  <a:pt x="243" y="80"/>
                </a:cubicBezTo>
                <a:cubicBezTo>
                  <a:pt x="244" y="80"/>
                  <a:pt x="244" y="80"/>
                  <a:pt x="244" y="81"/>
                </a:cubicBezTo>
                <a:lnTo>
                  <a:pt x="244" y="81"/>
                </a:lnTo>
                <a:cubicBezTo>
                  <a:pt x="244" y="81"/>
                  <a:pt x="245" y="80"/>
                  <a:pt x="247" y="78"/>
                </a:cubicBezTo>
                <a:cubicBezTo>
                  <a:pt x="248" y="76"/>
                  <a:pt x="249" y="76"/>
                  <a:pt x="249" y="76"/>
                </a:cubicBezTo>
                <a:cubicBezTo>
                  <a:pt x="249" y="76"/>
                  <a:pt x="249" y="77"/>
                  <a:pt x="248" y="80"/>
                </a:cubicBezTo>
                <a:cubicBezTo>
                  <a:pt x="246" y="82"/>
                  <a:pt x="246" y="83"/>
                  <a:pt x="245" y="83"/>
                </a:cubicBezTo>
                <a:lnTo>
                  <a:pt x="244" y="83"/>
                </a:lnTo>
                <a:cubicBezTo>
                  <a:pt x="243" y="83"/>
                  <a:pt x="242" y="83"/>
                  <a:pt x="241" y="85"/>
                </a:cubicBezTo>
                <a:cubicBezTo>
                  <a:pt x="240" y="86"/>
                  <a:pt x="239" y="87"/>
                  <a:pt x="239" y="87"/>
                </a:cubicBezTo>
                <a:close/>
                <a:moveTo>
                  <a:pt x="238" y="87"/>
                </a:moveTo>
                <a:close/>
                <a:moveTo>
                  <a:pt x="258" y="73"/>
                </a:moveTo>
                <a:cubicBezTo>
                  <a:pt x="258" y="73"/>
                  <a:pt x="257" y="73"/>
                  <a:pt x="257" y="71"/>
                </a:cubicBezTo>
                <a:cubicBezTo>
                  <a:pt x="257" y="70"/>
                  <a:pt x="258" y="69"/>
                  <a:pt x="259" y="68"/>
                </a:cubicBezTo>
                <a:lnTo>
                  <a:pt x="260" y="68"/>
                </a:lnTo>
                <a:cubicBezTo>
                  <a:pt x="260" y="68"/>
                  <a:pt x="260" y="68"/>
                  <a:pt x="260" y="68"/>
                </a:cubicBezTo>
                <a:cubicBezTo>
                  <a:pt x="260" y="69"/>
                  <a:pt x="260" y="70"/>
                  <a:pt x="260" y="71"/>
                </a:cubicBezTo>
                <a:cubicBezTo>
                  <a:pt x="259" y="73"/>
                  <a:pt x="258" y="73"/>
                  <a:pt x="258" y="73"/>
                </a:cubicBezTo>
                <a:close/>
                <a:moveTo>
                  <a:pt x="226" y="95"/>
                </a:moveTo>
                <a:lnTo>
                  <a:pt x="224" y="95"/>
                </a:lnTo>
                <a:cubicBezTo>
                  <a:pt x="224" y="94"/>
                  <a:pt x="225" y="93"/>
                  <a:pt x="226" y="92"/>
                </a:cubicBezTo>
                <a:cubicBezTo>
                  <a:pt x="227" y="91"/>
                  <a:pt x="228" y="91"/>
                  <a:pt x="229" y="91"/>
                </a:cubicBezTo>
                <a:cubicBezTo>
                  <a:pt x="231" y="91"/>
                  <a:pt x="232" y="92"/>
                  <a:pt x="232" y="94"/>
                </a:cubicBezTo>
                <a:lnTo>
                  <a:pt x="230" y="93"/>
                </a:lnTo>
                <a:cubicBezTo>
                  <a:pt x="229" y="93"/>
                  <a:pt x="228" y="93"/>
                  <a:pt x="228" y="93"/>
                </a:cubicBezTo>
                <a:cubicBezTo>
                  <a:pt x="227" y="94"/>
                  <a:pt x="226" y="95"/>
                  <a:pt x="226" y="95"/>
                </a:cubicBezTo>
                <a:close/>
                <a:moveTo>
                  <a:pt x="345" y="11"/>
                </a:moveTo>
                <a:lnTo>
                  <a:pt x="343" y="11"/>
                </a:lnTo>
                <a:lnTo>
                  <a:pt x="343" y="10"/>
                </a:lnTo>
                <a:cubicBezTo>
                  <a:pt x="343" y="9"/>
                  <a:pt x="344" y="9"/>
                  <a:pt x="345" y="8"/>
                </a:cubicBezTo>
                <a:cubicBezTo>
                  <a:pt x="346" y="7"/>
                  <a:pt x="347" y="7"/>
                  <a:pt x="348" y="6"/>
                </a:cubicBezTo>
                <a:cubicBezTo>
                  <a:pt x="350" y="5"/>
                  <a:pt x="351" y="5"/>
                  <a:pt x="352" y="5"/>
                </a:cubicBezTo>
                <a:lnTo>
                  <a:pt x="355" y="5"/>
                </a:lnTo>
                <a:cubicBezTo>
                  <a:pt x="355" y="5"/>
                  <a:pt x="356" y="5"/>
                  <a:pt x="356" y="4"/>
                </a:cubicBezTo>
                <a:cubicBezTo>
                  <a:pt x="356" y="3"/>
                  <a:pt x="358" y="2"/>
                  <a:pt x="360" y="2"/>
                </a:cubicBezTo>
                <a:cubicBezTo>
                  <a:pt x="362" y="1"/>
                  <a:pt x="363" y="1"/>
                  <a:pt x="365" y="1"/>
                </a:cubicBezTo>
                <a:cubicBezTo>
                  <a:pt x="366" y="1"/>
                  <a:pt x="367" y="1"/>
                  <a:pt x="367" y="2"/>
                </a:cubicBezTo>
                <a:cubicBezTo>
                  <a:pt x="367" y="3"/>
                  <a:pt x="365" y="5"/>
                  <a:pt x="362" y="5"/>
                </a:cubicBezTo>
                <a:lnTo>
                  <a:pt x="360" y="5"/>
                </a:lnTo>
                <a:cubicBezTo>
                  <a:pt x="354" y="7"/>
                  <a:pt x="351" y="8"/>
                  <a:pt x="349" y="8"/>
                </a:cubicBezTo>
                <a:lnTo>
                  <a:pt x="349" y="8"/>
                </a:lnTo>
                <a:cubicBezTo>
                  <a:pt x="348" y="8"/>
                  <a:pt x="347" y="9"/>
                  <a:pt x="346" y="10"/>
                </a:cubicBezTo>
                <a:cubicBezTo>
                  <a:pt x="345" y="11"/>
                  <a:pt x="345" y="11"/>
                  <a:pt x="345" y="11"/>
                </a:cubicBezTo>
                <a:close/>
                <a:moveTo>
                  <a:pt x="269" y="490"/>
                </a:moveTo>
                <a:cubicBezTo>
                  <a:pt x="269" y="490"/>
                  <a:pt x="269" y="490"/>
                  <a:pt x="269" y="490"/>
                </a:cubicBezTo>
                <a:cubicBezTo>
                  <a:pt x="269" y="489"/>
                  <a:pt x="269" y="488"/>
                  <a:pt x="269" y="487"/>
                </a:cubicBezTo>
                <a:cubicBezTo>
                  <a:pt x="270" y="487"/>
                  <a:pt x="270" y="485"/>
                  <a:pt x="271" y="485"/>
                </a:cubicBezTo>
                <a:cubicBezTo>
                  <a:pt x="271" y="484"/>
                  <a:pt x="272" y="483"/>
                  <a:pt x="272" y="483"/>
                </a:cubicBezTo>
                <a:cubicBezTo>
                  <a:pt x="272" y="483"/>
                  <a:pt x="273" y="484"/>
                  <a:pt x="273" y="484"/>
                </a:cubicBezTo>
                <a:cubicBezTo>
                  <a:pt x="273" y="484"/>
                  <a:pt x="273" y="485"/>
                  <a:pt x="272" y="486"/>
                </a:cubicBezTo>
                <a:cubicBezTo>
                  <a:pt x="272" y="487"/>
                  <a:pt x="271" y="488"/>
                  <a:pt x="271" y="489"/>
                </a:cubicBezTo>
                <a:cubicBezTo>
                  <a:pt x="270" y="490"/>
                  <a:pt x="270" y="490"/>
                  <a:pt x="269" y="490"/>
                </a:cubicBezTo>
                <a:close/>
                <a:moveTo>
                  <a:pt x="273" y="466"/>
                </a:moveTo>
                <a:cubicBezTo>
                  <a:pt x="273" y="466"/>
                  <a:pt x="273" y="465"/>
                  <a:pt x="273" y="464"/>
                </a:cubicBezTo>
                <a:cubicBezTo>
                  <a:pt x="273" y="462"/>
                  <a:pt x="273" y="460"/>
                  <a:pt x="275" y="460"/>
                </a:cubicBezTo>
                <a:lnTo>
                  <a:pt x="275" y="460"/>
                </a:lnTo>
                <a:cubicBezTo>
                  <a:pt x="275" y="460"/>
                  <a:pt x="275" y="460"/>
                  <a:pt x="275" y="460"/>
                </a:cubicBezTo>
                <a:lnTo>
                  <a:pt x="275" y="463"/>
                </a:lnTo>
                <a:cubicBezTo>
                  <a:pt x="274" y="465"/>
                  <a:pt x="274" y="466"/>
                  <a:pt x="273" y="466"/>
                </a:cubicBezTo>
                <a:close/>
                <a:moveTo>
                  <a:pt x="236" y="557"/>
                </a:moveTo>
                <a:close/>
                <a:moveTo>
                  <a:pt x="188" y="154"/>
                </a:moveTo>
                <a:lnTo>
                  <a:pt x="188" y="154"/>
                </a:lnTo>
                <a:lnTo>
                  <a:pt x="189" y="153"/>
                </a:lnTo>
                <a:cubicBezTo>
                  <a:pt x="189" y="152"/>
                  <a:pt x="190" y="152"/>
                  <a:pt x="191" y="151"/>
                </a:cubicBezTo>
                <a:cubicBezTo>
                  <a:pt x="192" y="150"/>
                  <a:pt x="192" y="150"/>
                  <a:pt x="193" y="150"/>
                </a:cubicBezTo>
                <a:cubicBezTo>
                  <a:pt x="193" y="150"/>
                  <a:pt x="194" y="150"/>
                  <a:pt x="194" y="150"/>
                </a:cubicBezTo>
                <a:cubicBezTo>
                  <a:pt x="194" y="151"/>
                  <a:pt x="193" y="152"/>
                  <a:pt x="192" y="153"/>
                </a:cubicBezTo>
                <a:cubicBezTo>
                  <a:pt x="191" y="154"/>
                  <a:pt x="190" y="154"/>
                  <a:pt x="188" y="154"/>
                </a:cubicBezTo>
                <a:close/>
                <a:moveTo>
                  <a:pt x="136" y="208"/>
                </a:moveTo>
                <a:cubicBezTo>
                  <a:pt x="136" y="207"/>
                  <a:pt x="137" y="205"/>
                  <a:pt x="139" y="203"/>
                </a:cubicBezTo>
                <a:cubicBezTo>
                  <a:pt x="141" y="201"/>
                  <a:pt x="142" y="200"/>
                  <a:pt x="143" y="200"/>
                </a:cubicBezTo>
                <a:cubicBezTo>
                  <a:pt x="143" y="201"/>
                  <a:pt x="142" y="202"/>
                  <a:pt x="141" y="204"/>
                </a:cubicBezTo>
                <a:cubicBezTo>
                  <a:pt x="138" y="206"/>
                  <a:pt x="136" y="208"/>
                  <a:pt x="136" y="208"/>
                </a:cubicBezTo>
                <a:close/>
                <a:moveTo>
                  <a:pt x="267" y="482"/>
                </a:moveTo>
                <a:lnTo>
                  <a:pt x="266" y="482"/>
                </a:lnTo>
                <a:cubicBezTo>
                  <a:pt x="266" y="482"/>
                  <a:pt x="266" y="482"/>
                  <a:pt x="266" y="481"/>
                </a:cubicBezTo>
                <a:cubicBezTo>
                  <a:pt x="266" y="481"/>
                  <a:pt x="266" y="479"/>
                  <a:pt x="267" y="477"/>
                </a:cubicBezTo>
                <a:cubicBezTo>
                  <a:pt x="270" y="472"/>
                  <a:pt x="271" y="470"/>
                  <a:pt x="272" y="470"/>
                </a:cubicBezTo>
                <a:lnTo>
                  <a:pt x="272" y="470"/>
                </a:lnTo>
                <a:cubicBezTo>
                  <a:pt x="272" y="471"/>
                  <a:pt x="271" y="472"/>
                  <a:pt x="271" y="474"/>
                </a:cubicBezTo>
                <a:cubicBezTo>
                  <a:pt x="270" y="476"/>
                  <a:pt x="270" y="478"/>
                  <a:pt x="269" y="479"/>
                </a:cubicBezTo>
                <a:cubicBezTo>
                  <a:pt x="268" y="480"/>
                  <a:pt x="268" y="482"/>
                  <a:pt x="267" y="482"/>
                </a:cubicBezTo>
                <a:close/>
                <a:moveTo>
                  <a:pt x="269" y="404"/>
                </a:moveTo>
                <a:cubicBezTo>
                  <a:pt x="268" y="404"/>
                  <a:pt x="267" y="403"/>
                  <a:pt x="267" y="402"/>
                </a:cubicBezTo>
                <a:cubicBezTo>
                  <a:pt x="268" y="402"/>
                  <a:pt x="268" y="401"/>
                  <a:pt x="268" y="401"/>
                </a:cubicBezTo>
                <a:cubicBezTo>
                  <a:pt x="269" y="400"/>
                  <a:pt x="269" y="400"/>
                  <a:pt x="270" y="399"/>
                </a:cubicBezTo>
                <a:cubicBezTo>
                  <a:pt x="270" y="399"/>
                  <a:pt x="271" y="400"/>
                  <a:pt x="271" y="402"/>
                </a:cubicBezTo>
                <a:cubicBezTo>
                  <a:pt x="271" y="403"/>
                  <a:pt x="270" y="404"/>
                  <a:pt x="269" y="404"/>
                </a:cubicBezTo>
                <a:close/>
                <a:moveTo>
                  <a:pt x="277" y="420"/>
                </a:moveTo>
                <a:lnTo>
                  <a:pt x="277" y="420"/>
                </a:lnTo>
                <a:lnTo>
                  <a:pt x="277" y="417"/>
                </a:lnTo>
                <a:cubicBezTo>
                  <a:pt x="283" y="400"/>
                  <a:pt x="286" y="392"/>
                  <a:pt x="288" y="392"/>
                </a:cubicBezTo>
                <a:lnTo>
                  <a:pt x="288" y="392"/>
                </a:lnTo>
                <a:cubicBezTo>
                  <a:pt x="288" y="393"/>
                  <a:pt x="287" y="396"/>
                  <a:pt x="285" y="400"/>
                </a:cubicBezTo>
                <a:cubicBezTo>
                  <a:pt x="284" y="404"/>
                  <a:pt x="282" y="409"/>
                  <a:pt x="281" y="412"/>
                </a:cubicBezTo>
                <a:cubicBezTo>
                  <a:pt x="279" y="416"/>
                  <a:pt x="278" y="419"/>
                  <a:pt x="277" y="420"/>
                </a:cubicBezTo>
                <a:close/>
                <a:moveTo>
                  <a:pt x="139" y="719"/>
                </a:moveTo>
                <a:cubicBezTo>
                  <a:pt x="139" y="719"/>
                  <a:pt x="138" y="719"/>
                  <a:pt x="138" y="718"/>
                </a:cubicBezTo>
                <a:lnTo>
                  <a:pt x="138" y="716"/>
                </a:lnTo>
                <a:cubicBezTo>
                  <a:pt x="139" y="714"/>
                  <a:pt x="139" y="713"/>
                  <a:pt x="139" y="712"/>
                </a:cubicBezTo>
                <a:cubicBezTo>
                  <a:pt x="139" y="710"/>
                  <a:pt x="140" y="710"/>
                  <a:pt x="141" y="710"/>
                </a:cubicBezTo>
                <a:lnTo>
                  <a:pt x="141" y="710"/>
                </a:lnTo>
                <a:cubicBezTo>
                  <a:pt x="142" y="710"/>
                  <a:pt x="142" y="711"/>
                  <a:pt x="142" y="712"/>
                </a:cubicBezTo>
                <a:cubicBezTo>
                  <a:pt x="142" y="713"/>
                  <a:pt x="142" y="713"/>
                  <a:pt x="142" y="714"/>
                </a:cubicBezTo>
                <a:cubicBezTo>
                  <a:pt x="141" y="715"/>
                  <a:pt x="141" y="716"/>
                  <a:pt x="141" y="716"/>
                </a:cubicBezTo>
                <a:lnTo>
                  <a:pt x="141" y="718"/>
                </a:lnTo>
                <a:cubicBezTo>
                  <a:pt x="141" y="719"/>
                  <a:pt x="140" y="719"/>
                  <a:pt x="139" y="719"/>
                </a:cubicBezTo>
                <a:close/>
                <a:moveTo>
                  <a:pt x="359" y="246"/>
                </a:moveTo>
                <a:lnTo>
                  <a:pt x="359" y="246"/>
                </a:lnTo>
                <a:cubicBezTo>
                  <a:pt x="359" y="244"/>
                  <a:pt x="361" y="238"/>
                  <a:pt x="365" y="229"/>
                </a:cubicBezTo>
                <a:lnTo>
                  <a:pt x="371" y="210"/>
                </a:lnTo>
                <a:cubicBezTo>
                  <a:pt x="376" y="199"/>
                  <a:pt x="379" y="192"/>
                  <a:pt x="379" y="190"/>
                </a:cubicBezTo>
                <a:cubicBezTo>
                  <a:pt x="380" y="188"/>
                  <a:pt x="381" y="188"/>
                  <a:pt x="381" y="188"/>
                </a:cubicBezTo>
                <a:cubicBezTo>
                  <a:pt x="382" y="188"/>
                  <a:pt x="383" y="188"/>
                  <a:pt x="383" y="189"/>
                </a:cubicBezTo>
                <a:cubicBezTo>
                  <a:pt x="383" y="190"/>
                  <a:pt x="382" y="191"/>
                  <a:pt x="382" y="192"/>
                </a:cubicBezTo>
                <a:cubicBezTo>
                  <a:pt x="381" y="193"/>
                  <a:pt x="380" y="195"/>
                  <a:pt x="380" y="198"/>
                </a:cubicBezTo>
                <a:cubicBezTo>
                  <a:pt x="379" y="202"/>
                  <a:pt x="378" y="205"/>
                  <a:pt x="376" y="207"/>
                </a:cubicBezTo>
                <a:cubicBezTo>
                  <a:pt x="375" y="209"/>
                  <a:pt x="374" y="211"/>
                  <a:pt x="374" y="211"/>
                </a:cubicBezTo>
                <a:lnTo>
                  <a:pt x="374" y="213"/>
                </a:lnTo>
                <a:cubicBezTo>
                  <a:pt x="374" y="213"/>
                  <a:pt x="374" y="215"/>
                  <a:pt x="372" y="217"/>
                </a:cubicBezTo>
                <a:cubicBezTo>
                  <a:pt x="371" y="219"/>
                  <a:pt x="370" y="221"/>
                  <a:pt x="370" y="221"/>
                </a:cubicBezTo>
                <a:cubicBezTo>
                  <a:pt x="370" y="222"/>
                  <a:pt x="370" y="223"/>
                  <a:pt x="369" y="224"/>
                </a:cubicBezTo>
                <a:cubicBezTo>
                  <a:pt x="369" y="225"/>
                  <a:pt x="368" y="226"/>
                  <a:pt x="368" y="227"/>
                </a:cubicBezTo>
                <a:cubicBezTo>
                  <a:pt x="366" y="230"/>
                  <a:pt x="365" y="232"/>
                  <a:pt x="365" y="233"/>
                </a:cubicBezTo>
                <a:cubicBezTo>
                  <a:pt x="365" y="235"/>
                  <a:pt x="365" y="237"/>
                  <a:pt x="363" y="239"/>
                </a:cubicBezTo>
                <a:cubicBezTo>
                  <a:pt x="362" y="244"/>
                  <a:pt x="360" y="246"/>
                  <a:pt x="359" y="246"/>
                </a:cubicBezTo>
                <a:close/>
                <a:moveTo>
                  <a:pt x="326" y="333"/>
                </a:moveTo>
                <a:cubicBezTo>
                  <a:pt x="326" y="333"/>
                  <a:pt x="326" y="332"/>
                  <a:pt x="326" y="329"/>
                </a:cubicBezTo>
                <a:cubicBezTo>
                  <a:pt x="326" y="327"/>
                  <a:pt x="326" y="325"/>
                  <a:pt x="327" y="325"/>
                </a:cubicBezTo>
                <a:lnTo>
                  <a:pt x="328" y="325"/>
                </a:lnTo>
                <a:cubicBezTo>
                  <a:pt x="328" y="325"/>
                  <a:pt x="329" y="325"/>
                  <a:pt x="329" y="324"/>
                </a:cubicBezTo>
                <a:cubicBezTo>
                  <a:pt x="330" y="324"/>
                  <a:pt x="330" y="323"/>
                  <a:pt x="330" y="323"/>
                </a:cubicBezTo>
                <a:cubicBezTo>
                  <a:pt x="330" y="322"/>
                  <a:pt x="329" y="322"/>
                  <a:pt x="328" y="322"/>
                </a:cubicBezTo>
                <a:cubicBezTo>
                  <a:pt x="327" y="322"/>
                  <a:pt x="327" y="321"/>
                  <a:pt x="327" y="320"/>
                </a:cubicBezTo>
                <a:cubicBezTo>
                  <a:pt x="327" y="319"/>
                  <a:pt x="327" y="318"/>
                  <a:pt x="328" y="318"/>
                </a:cubicBezTo>
                <a:lnTo>
                  <a:pt x="329" y="319"/>
                </a:lnTo>
                <a:cubicBezTo>
                  <a:pt x="330" y="319"/>
                  <a:pt x="332" y="316"/>
                  <a:pt x="335" y="308"/>
                </a:cubicBezTo>
                <a:cubicBezTo>
                  <a:pt x="336" y="305"/>
                  <a:pt x="337" y="302"/>
                  <a:pt x="337" y="298"/>
                </a:cubicBezTo>
                <a:cubicBezTo>
                  <a:pt x="338" y="295"/>
                  <a:pt x="338" y="293"/>
                  <a:pt x="339" y="293"/>
                </a:cubicBezTo>
                <a:cubicBezTo>
                  <a:pt x="339" y="293"/>
                  <a:pt x="340" y="293"/>
                  <a:pt x="340" y="292"/>
                </a:cubicBezTo>
                <a:lnTo>
                  <a:pt x="338" y="288"/>
                </a:lnTo>
                <a:cubicBezTo>
                  <a:pt x="338" y="288"/>
                  <a:pt x="338" y="288"/>
                  <a:pt x="339" y="288"/>
                </a:cubicBezTo>
                <a:lnTo>
                  <a:pt x="342" y="289"/>
                </a:lnTo>
                <a:cubicBezTo>
                  <a:pt x="342" y="289"/>
                  <a:pt x="342" y="289"/>
                  <a:pt x="342" y="288"/>
                </a:cubicBezTo>
                <a:lnTo>
                  <a:pt x="341" y="283"/>
                </a:lnTo>
                <a:cubicBezTo>
                  <a:pt x="341" y="282"/>
                  <a:pt x="341" y="282"/>
                  <a:pt x="342" y="282"/>
                </a:cubicBezTo>
                <a:lnTo>
                  <a:pt x="343" y="282"/>
                </a:lnTo>
                <a:cubicBezTo>
                  <a:pt x="343" y="282"/>
                  <a:pt x="344" y="281"/>
                  <a:pt x="345" y="281"/>
                </a:cubicBezTo>
                <a:cubicBezTo>
                  <a:pt x="345" y="280"/>
                  <a:pt x="345" y="279"/>
                  <a:pt x="345" y="279"/>
                </a:cubicBezTo>
                <a:cubicBezTo>
                  <a:pt x="345" y="278"/>
                  <a:pt x="345" y="278"/>
                  <a:pt x="345" y="278"/>
                </a:cubicBezTo>
                <a:lnTo>
                  <a:pt x="343" y="278"/>
                </a:lnTo>
                <a:lnTo>
                  <a:pt x="345" y="276"/>
                </a:lnTo>
                <a:cubicBezTo>
                  <a:pt x="347" y="275"/>
                  <a:pt x="347" y="274"/>
                  <a:pt x="347" y="272"/>
                </a:cubicBezTo>
                <a:lnTo>
                  <a:pt x="347" y="271"/>
                </a:lnTo>
                <a:cubicBezTo>
                  <a:pt x="347" y="270"/>
                  <a:pt x="348" y="269"/>
                  <a:pt x="349" y="269"/>
                </a:cubicBezTo>
                <a:cubicBezTo>
                  <a:pt x="351" y="269"/>
                  <a:pt x="352" y="269"/>
                  <a:pt x="352" y="269"/>
                </a:cubicBezTo>
                <a:cubicBezTo>
                  <a:pt x="352" y="268"/>
                  <a:pt x="351" y="268"/>
                  <a:pt x="350" y="267"/>
                </a:cubicBezTo>
                <a:cubicBezTo>
                  <a:pt x="349" y="266"/>
                  <a:pt x="348" y="266"/>
                  <a:pt x="348" y="266"/>
                </a:cubicBezTo>
                <a:lnTo>
                  <a:pt x="350" y="265"/>
                </a:lnTo>
                <a:cubicBezTo>
                  <a:pt x="351" y="265"/>
                  <a:pt x="351" y="264"/>
                  <a:pt x="351" y="263"/>
                </a:cubicBezTo>
                <a:lnTo>
                  <a:pt x="351" y="260"/>
                </a:lnTo>
                <a:cubicBezTo>
                  <a:pt x="351" y="260"/>
                  <a:pt x="351" y="259"/>
                  <a:pt x="351" y="259"/>
                </a:cubicBezTo>
                <a:lnTo>
                  <a:pt x="353" y="260"/>
                </a:lnTo>
                <a:cubicBezTo>
                  <a:pt x="354" y="260"/>
                  <a:pt x="355" y="259"/>
                  <a:pt x="355" y="257"/>
                </a:cubicBezTo>
                <a:cubicBezTo>
                  <a:pt x="355" y="257"/>
                  <a:pt x="354" y="257"/>
                  <a:pt x="353" y="257"/>
                </a:cubicBezTo>
                <a:cubicBezTo>
                  <a:pt x="353" y="257"/>
                  <a:pt x="352" y="256"/>
                  <a:pt x="352" y="255"/>
                </a:cubicBezTo>
                <a:cubicBezTo>
                  <a:pt x="352" y="254"/>
                  <a:pt x="352" y="253"/>
                  <a:pt x="353" y="253"/>
                </a:cubicBezTo>
                <a:lnTo>
                  <a:pt x="355" y="254"/>
                </a:lnTo>
                <a:cubicBezTo>
                  <a:pt x="355" y="254"/>
                  <a:pt x="357" y="253"/>
                  <a:pt x="357" y="251"/>
                </a:cubicBezTo>
                <a:cubicBezTo>
                  <a:pt x="358" y="250"/>
                  <a:pt x="359" y="249"/>
                  <a:pt x="359" y="249"/>
                </a:cubicBezTo>
                <a:cubicBezTo>
                  <a:pt x="359" y="250"/>
                  <a:pt x="358" y="253"/>
                  <a:pt x="357" y="258"/>
                </a:cubicBezTo>
                <a:cubicBezTo>
                  <a:pt x="355" y="263"/>
                  <a:pt x="353" y="268"/>
                  <a:pt x="351" y="273"/>
                </a:cubicBezTo>
                <a:cubicBezTo>
                  <a:pt x="349" y="278"/>
                  <a:pt x="348" y="281"/>
                  <a:pt x="347" y="283"/>
                </a:cubicBezTo>
                <a:cubicBezTo>
                  <a:pt x="345" y="285"/>
                  <a:pt x="345" y="286"/>
                  <a:pt x="345" y="287"/>
                </a:cubicBezTo>
                <a:cubicBezTo>
                  <a:pt x="345" y="287"/>
                  <a:pt x="345" y="287"/>
                  <a:pt x="345" y="287"/>
                </a:cubicBezTo>
                <a:lnTo>
                  <a:pt x="345" y="287"/>
                </a:lnTo>
                <a:cubicBezTo>
                  <a:pt x="345" y="288"/>
                  <a:pt x="345" y="289"/>
                  <a:pt x="344" y="290"/>
                </a:cubicBezTo>
                <a:cubicBezTo>
                  <a:pt x="343" y="292"/>
                  <a:pt x="342" y="295"/>
                  <a:pt x="340" y="300"/>
                </a:cubicBezTo>
                <a:cubicBezTo>
                  <a:pt x="338" y="305"/>
                  <a:pt x="336" y="311"/>
                  <a:pt x="335" y="316"/>
                </a:cubicBezTo>
                <a:cubicBezTo>
                  <a:pt x="333" y="322"/>
                  <a:pt x="332" y="326"/>
                  <a:pt x="332" y="328"/>
                </a:cubicBezTo>
                <a:lnTo>
                  <a:pt x="332" y="330"/>
                </a:lnTo>
                <a:lnTo>
                  <a:pt x="332" y="330"/>
                </a:lnTo>
                <a:lnTo>
                  <a:pt x="332" y="330"/>
                </a:lnTo>
                <a:cubicBezTo>
                  <a:pt x="331" y="329"/>
                  <a:pt x="331" y="329"/>
                  <a:pt x="331" y="329"/>
                </a:cubicBezTo>
                <a:cubicBezTo>
                  <a:pt x="330" y="329"/>
                  <a:pt x="329" y="330"/>
                  <a:pt x="328" y="331"/>
                </a:cubicBezTo>
                <a:cubicBezTo>
                  <a:pt x="327" y="332"/>
                  <a:pt x="327" y="333"/>
                  <a:pt x="326" y="333"/>
                </a:cubicBezTo>
                <a:close/>
                <a:moveTo>
                  <a:pt x="311" y="332"/>
                </a:moveTo>
                <a:lnTo>
                  <a:pt x="311" y="332"/>
                </a:lnTo>
                <a:cubicBezTo>
                  <a:pt x="311" y="330"/>
                  <a:pt x="313" y="323"/>
                  <a:pt x="318" y="313"/>
                </a:cubicBezTo>
                <a:cubicBezTo>
                  <a:pt x="322" y="301"/>
                  <a:pt x="326" y="292"/>
                  <a:pt x="329" y="285"/>
                </a:cubicBezTo>
                <a:cubicBezTo>
                  <a:pt x="337" y="266"/>
                  <a:pt x="341" y="254"/>
                  <a:pt x="341" y="249"/>
                </a:cubicBezTo>
                <a:lnTo>
                  <a:pt x="341" y="247"/>
                </a:lnTo>
                <a:cubicBezTo>
                  <a:pt x="341" y="247"/>
                  <a:pt x="341" y="247"/>
                  <a:pt x="341" y="247"/>
                </a:cubicBezTo>
                <a:lnTo>
                  <a:pt x="343" y="248"/>
                </a:lnTo>
                <a:cubicBezTo>
                  <a:pt x="344" y="248"/>
                  <a:pt x="344" y="248"/>
                  <a:pt x="344" y="247"/>
                </a:cubicBezTo>
                <a:lnTo>
                  <a:pt x="343" y="244"/>
                </a:lnTo>
                <a:cubicBezTo>
                  <a:pt x="343" y="242"/>
                  <a:pt x="344" y="241"/>
                  <a:pt x="346" y="241"/>
                </a:cubicBezTo>
                <a:cubicBezTo>
                  <a:pt x="348" y="241"/>
                  <a:pt x="348" y="241"/>
                  <a:pt x="348" y="243"/>
                </a:cubicBezTo>
                <a:cubicBezTo>
                  <a:pt x="348" y="245"/>
                  <a:pt x="347" y="249"/>
                  <a:pt x="343" y="256"/>
                </a:cubicBezTo>
                <a:cubicBezTo>
                  <a:pt x="340" y="264"/>
                  <a:pt x="337" y="271"/>
                  <a:pt x="335" y="279"/>
                </a:cubicBezTo>
                <a:cubicBezTo>
                  <a:pt x="332" y="286"/>
                  <a:pt x="329" y="295"/>
                  <a:pt x="325" y="304"/>
                </a:cubicBezTo>
                <a:cubicBezTo>
                  <a:pt x="322" y="310"/>
                  <a:pt x="320" y="316"/>
                  <a:pt x="318" y="321"/>
                </a:cubicBezTo>
                <a:lnTo>
                  <a:pt x="316" y="325"/>
                </a:lnTo>
                <a:cubicBezTo>
                  <a:pt x="314" y="330"/>
                  <a:pt x="313" y="332"/>
                  <a:pt x="311" y="332"/>
                </a:cubicBezTo>
                <a:close/>
                <a:moveTo>
                  <a:pt x="241" y="584"/>
                </a:moveTo>
                <a:lnTo>
                  <a:pt x="241" y="583"/>
                </a:lnTo>
                <a:cubicBezTo>
                  <a:pt x="241" y="583"/>
                  <a:pt x="242" y="580"/>
                  <a:pt x="243" y="576"/>
                </a:cubicBezTo>
                <a:cubicBezTo>
                  <a:pt x="247" y="566"/>
                  <a:pt x="250" y="561"/>
                  <a:pt x="250" y="561"/>
                </a:cubicBezTo>
                <a:lnTo>
                  <a:pt x="251" y="561"/>
                </a:lnTo>
                <a:cubicBezTo>
                  <a:pt x="251" y="563"/>
                  <a:pt x="248" y="568"/>
                  <a:pt x="244" y="577"/>
                </a:cubicBezTo>
                <a:cubicBezTo>
                  <a:pt x="242" y="582"/>
                  <a:pt x="241" y="584"/>
                  <a:pt x="241" y="584"/>
                </a:cubicBezTo>
                <a:close/>
                <a:moveTo>
                  <a:pt x="251" y="485"/>
                </a:moveTo>
                <a:cubicBezTo>
                  <a:pt x="250" y="485"/>
                  <a:pt x="250" y="485"/>
                  <a:pt x="250" y="484"/>
                </a:cubicBezTo>
                <a:cubicBezTo>
                  <a:pt x="250" y="484"/>
                  <a:pt x="250" y="483"/>
                  <a:pt x="251" y="482"/>
                </a:cubicBezTo>
                <a:cubicBezTo>
                  <a:pt x="251" y="481"/>
                  <a:pt x="252" y="481"/>
                  <a:pt x="253" y="481"/>
                </a:cubicBezTo>
                <a:cubicBezTo>
                  <a:pt x="253" y="481"/>
                  <a:pt x="253" y="481"/>
                  <a:pt x="253" y="483"/>
                </a:cubicBezTo>
                <a:cubicBezTo>
                  <a:pt x="253" y="484"/>
                  <a:pt x="253" y="485"/>
                  <a:pt x="251" y="485"/>
                </a:cubicBezTo>
                <a:close/>
                <a:moveTo>
                  <a:pt x="199" y="144"/>
                </a:moveTo>
                <a:lnTo>
                  <a:pt x="202" y="141"/>
                </a:lnTo>
                <a:cubicBezTo>
                  <a:pt x="204" y="138"/>
                  <a:pt x="206" y="137"/>
                  <a:pt x="206" y="137"/>
                </a:cubicBezTo>
                <a:cubicBezTo>
                  <a:pt x="207" y="137"/>
                  <a:pt x="207" y="137"/>
                  <a:pt x="207" y="139"/>
                </a:cubicBezTo>
                <a:cubicBezTo>
                  <a:pt x="207" y="140"/>
                  <a:pt x="206" y="141"/>
                  <a:pt x="203" y="142"/>
                </a:cubicBezTo>
                <a:cubicBezTo>
                  <a:pt x="201" y="144"/>
                  <a:pt x="200" y="144"/>
                  <a:pt x="199" y="144"/>
                </a:cubicBezTo>
                <a:close/>
                <a:moveTo>
                  <a:pt x="214" y="134"/>
                </a:moveTo>
                <a:cubicBezTo>
                  <a:pt x="213" y="134"/>
                  <a:pt x="213" y="134"/>
                  <a:pt x="213" y="133"/>
                </a:cubicBezTo>
                <a:cubicBezTo>
                  <a:pt x="213" y="131"/>
                  <a:pt x="213" y="131"/>
                  <a:pt x="215" y="131"/>
                </a:cubicBezTo>
                <a:cubicBezTo>
                  <a:pt x="216" y="131"/>
                  <a:pt x="216" y="131"/>
                  <a:pt x="216" y="132"/>
                </a:cubicBezTo>
                <a:lnTo>
                  <a:pt x="216" y="133"/>
                </a:lnTo>
                <a:cubicBezTo>
                  <a:pt x="215" y="134"/>
                  <a:pt x="214" y="134"/>
                  <a:pt x="214" y="134"/>
                </a:cubicBezTo>
                <a:close/>
                <a:moveTo>
                  <a:pt x="206" y="150"/>
                </a:moveTo>
                <a:cubicBezTo>
                  <a:pt x="205" y="150"/>
                  <a:pt x="205" y="149"/>
                  <a:pt x="205" y="149"/>
                </a:cubicBezTo>
                <a:cubicBezTo>
                  <a:pt x="205" y="148"/>
                  <a:pt x="206" y="147"/>
                  <a:pt x="209" y="145"/>
                </a:cubicBezTo>
                <a:cubicBezTo>
                  <a:pt x="212" y="144"/>
                  <a:pt x="214" y="144"/>
                  <a:pt x="214" y="144"/>
                </a:cubicBezTo>
                <a:lnTo>
                  <a:pt x="215" y="144"/>
                </a:lnTo>
                <a:lnTo>
                  <a:pt x="213" y="145"/>
                </a:lnTo>
                <a:cubicBezTo>
                  <a:pt x="213" y="146"/>
                  <a:pt x="211" y="147"/>
                  <a:pt x="209" y="148"/>
                </a:cubicBezTo>
                <a:cubicBezTo>
                  <a:pt x="208" y="149"/>
                  <a:pt x="206" y="150"/>
                  <a:pt x="206" y="150"/>
                </a:cubicBezTo>
                <a:close/>
                <a:moveTo>
                  <a:pt x="202" y="515"/>
                </a:moveTo>
                <a:cubicBezTo>
                  <a:pt x="201" y="515"/>
                  <a:pt x="201" y="515"/>
                  <a:pt x="201" y="515"/>
                </a:cubicBezTo>
                <a:cubicBezTo>
                  <a:pt x="201" y="513"/>
                  <a:pt x="202" y="511"/>
                  <a:pt x="203" y="509"/>
                </a:cubicBezTo>
                <a:cubicBezTo>
                  <a:pt x="204" y="508"/>
                  <a:pt x="204" y="508"/>
                  <a:pt x="205" y="508"/>
                </a:cubicBezTo>
                <a:cubicBezTo>
                  <a:pt x="205" y="508"/>
                  <a:pt x="205" y="508"/>
                  <a:pt x="205" y="508"/>
                </a:cubicBezTo>
                <a:cubicBezTo>
                  <a:pt x="205" y="509"/>
                  <a:pt x="205" y="510"/>
                  <a:pt x="205" y="511"/>
                </a:cubicBezTo>
                <a:cubicBezTo>
                  <a:pt x="204" y="512"/>
                  <a:pt x="204" y="513"/>
                  <a:pt x="203" y="514"/>
                </a:cubicBezTo>
                <a:cubicBezTo>
                  <a:pt x="203" y="515"/>
                  <a:pt x="202" y="515"/>
                  <a:pt x="202" y="515"/>
                </a:cubicBezTo>
                <a:close/>
                <a:moveTo>
                  <a:pt x="198" y="525"/>
                </a:moveTo>
                <a:cubicBezTo>
                  <a:pt x="198" y="525"/>
                  <a:pt x="198" y="525"/>
                  <a:pt x="198" y="525"/>
                </a:cubicBezTo>
                <a:cubicBezTo>
                  <a:pt x="198" y="524"/>
                  <a:pt x="198" y="523"/>
                  <a:pt x="198" y="522"/>
                </a:cubicBezTo>
                <a:cubicBezTo>
                  <a:pt x="198" y="521"/>
                  <a:pt x="199" y="520"/>
                  <a:pt x="199" y="519"/>
                </a:cubicBezTo>
                <a:cubicBezTo>
                  <a:pt x="200" y="518"/>
                  <a:pt x="201" y="518"/>
                  <a:pt x="201" y="518"/>
                </a:cubicBezTo>
                <a:cubicBezTo>
                  <a:pt x="201" y="518"/>
                  <a:pt x="201" y="518"/>
                  <a:pt x="201" y="519"/>
                </a:cubicBezTo>
                <a:cubicBezTo>
                  <a:pt x="201" y="519"/>
                  <a:pt x="201" y="520"/>
                  <a:pt x="201" y="521"/>
                </a:cubicBezTo>
                <a:cubicBezTo>
                  <a:pt x="201" y="522"/>
                  <a:pt x="200" y="523"/>
                  <a:pt x="199" y="524"/>
                </a:cubicBezTo>
                <a:cubicBezTo>
                  <a:pt x="199" y="525"/>
                  <a:pt x="198" y="525"/>
                  <a:pt x="198" y="525"/>
                </a:cubicBezTo>
                <a:close/>
                <a:moveTo>
                  <a:pt x="263" y="492"/>
                </a:moveTo>
                <a:cubicBezTo>
                  <a:pt x="262" y="492"/>
                  <a:pt x="262" y="492"/>
                  <a:pt x="262" y="492"/>
                </a:cubicBezTo>
                <a:cubicBezTo>
                  <a:pt x="262" y="491"/>
                  <a:pt x="262" y="490"/>
                  <a:pt x="263" y="489"/>
                </a:cubicBezTo>
                <a:cubicBezTo>
                  <a:pt x="265" y="487"/>
                  <a:pt x="265" y="485"/>
                  <a:pt x="266" y="485"/>
                </a:cubicBezTo>
                <a:cubicBezTo>
                  <a:pt x="266" y="485"/>
                  <a:pt x="266" y="486"/>
                  <a:pt x="266" y="488"/>
                </a:cubicBezTo>
                <a:cubicBezTo>
                  <a:pt x="266" y="490"/>
                  <a:pt x="265" y="491"/>
                  <a:pt x="263" y="492"/>
                </a:cubicBezTo>
                <a:close/>
                <a:moveTo>
                  <a:pt x="220" y="634"/>
                </a:moveTo>
                <a:cubicBezTo>
                  <a:pt x="219" y="634"/>
                  <a:pt x="219" y="633"/>
                  <a:pt x="219" y="631"/>
                </a:cubicBezTo>
                <a:cubicBezTo>
                  <a:pt x="219" y="629"/>
                  <a:pt x="219" y="628"/>
                  <a:pt x="219" y="627"/>
                </a:cubicBezTo>
                <a:cubicBezTo>
                  <a:pt x="219" y="627"/>
                  <a:pt x="220" y="626"/>
                  <a:pt x="221" y="625"/>
                </a:cubicBezTo>
                <a:cubicBezTo>
                  <a:pt x="222" y="625"/>
                  <a:pt x="222" y="626"/>
                  <a:pt x="222" y="628"/>
                </a:cubicBezTo>
                <a:cubicBezTo>
                  <a:pt x="222" y="630"/>
                  <a:pt x="222" y="632"/>
                  <a:pt x="221" y="634"/>
                </a:cubicBezTo>
                <a:lnTo>
                  <a:pt x="220" y="634"/>
                </a:lnTo>
                <a:close/>
                <a:moveTo>
                  <a:pt x="218" y="642"/>
                </a:moveTo>
                <a:cubicBezTo>
                  <a:pt x="217" y="642"/>
                  <a:pt x="217" y="641"/>
                  <a:pt x="216" y="640"/>
                </a:cubicBezTo>
                <a:cubicBezTo>
                  <a:pt x="216" y="640"/>
                  <a:pt x="216" y="639"/>
                  <a:pt x="216" y="639"/>
                </a:cubicBezTo>
                <a:cubicBezTo>
                  <a:pt x="216" y="638"/>
                  <a:pt x="216" y="638"/>
                  <a:pt x="216" y="638"/>
                </a:cubicBezTo>
                <a:lnTo>
                  <a:pt x="217" y="637"/>
                </a:lnTo>
                <a:cubicBezTo>
                  <a:pt x="218" y="637"/>
                  <a:pt x="218" y="638"/>
                  <a:pt x="218" y="639"/>
                </a:cubicBezTo>
                <a:cubicBezTo>
                  <a:pt x="218" y="641"/>
                  <a:pt x="218" y="642"/>
                  <a:pt x="218" y="642"/>
                </a:cubicBezTo>
                <a:close/>
                <a:moveTo>
                  <a:pt x="69" y="928"/>
                </a:moveTo>
                <a:cubicBezTo>
                  <a:pt x="68" y="928"/>
                  <a:pt x="68" y="928"/>
                  <a:pt x="68" y="927"/>
                </a:cubicBezTo>
                <a:cubicBezTo>
                  <a:pt x="68" y="926"/>
                  <a:pt x="69" y="925"/>
                  <a:pt x="69" y="924"/>
                </a:cubicBezTo>
                <a:cubicBezTo>
                  <a:pt x="69" y="922"/>
                  <a:pt x="69" y="921"/>
                  <a:pt x="70" y="920"/>
                </a:cubicBezTo>
                <a:lnTo>
                  <a:pt x="71" y="918"/>
                </a:lnTo>
                <a:cubicBezTo>
                  <a:pt x="71" y="918"/>
                  <a:pt x="72" y="918"/>
                  <a:pt x="72" y="919"/>
                </a:cubicBezTo>
                <a:cubicBezTo>
                  <a:pt x="72" y="921"/>
                  <a:pt x="71" y="924"/>
                  <a:pt x="70" y="926"/>
                </a:cubicBezTo>
                <a:cubicBezTo>
                  <a:pt x="69" y="928"/>
                  <a:pt x="69" y="928"/>
                  <a:pt x="69" y="928"/>
                </a:cubicBezTo>
                <a:close/>
                <a:moveTo>
                  <a:pt x="283" y="369"/>
                </a:moveTo>
                <a:cubicBezTo>
                  <a:pt x="282" y="369"/>
                  <a:pt x="282" y="368"/>
                  <a:pt x="282" y="368"/>
                </a:cubicBezTo>
                <a:cubicBezTo>
                  <a:pt x="282" y="366"/>
                  <a:pt x="283" y="362"/>
                  <a:pt x="285" y="357"/>
                </a:cubicBezTo>
                <a:cubicBezTo>
                  <a:pt x="286" y="355"/>
                  <a:pt x="287" y="352"/>
                  <a:pt x="288" y="350"/>
                </a:cubicBezTo>
                <a:lnTo>
                  <a:pt x="290" y="346"/>
                </a:lnTo>
                <a:cubicBezTo>
                  <a:pt x="291" y="346"/>
                  <a:pt x="291" y="347"/>
                  <a:pt x="291" y="348"/>
                </a:cubicBezTo>
                <a:cubicBezTo>
                  <a:pt x="291" y="348"/>
                  <a:pt x="289" y="353"/>
                  <a:pt x="286" y="362"/>
                </a:cubicBezTo>
                <a:cubicBezTo>
                  <a:pt x="285" y="366"/>
                  <a:pt x="284" y="367"/>
                  <a:pt x="284" y="368"/>
                </a:cubicBezTo>
                <a:cubicBezTo>
                  <a:pt x="284" y="368"/>
                  <a:pt x="283" y="369"/>
                  <a:pt x="283" y="369"/>
                </a:cubicBezTo>
                <a:close/>
                <a:moveTo>
                  <a:pt x="84" y="878"/>
                </a:moveTo>
                <a:cubicBezTo>
                  <a:pt x="83" y="878"/>
                  <a:pt x="82" y="877"/>
                  <a:pt x="82" y="876"/>
                </a:cubicBezTo>
                <a:lnTo>
                  <a:pt x="82" y="875"/>
                </a:lnTo>
                <a:cubicBezTo>
                  <a:pt x="83" y="872"/>
                  <a:pt x="84" y="870"/>
                  <a:pt x="85" y="867"/>
                </a:cubicBezTo>
                <a:cubicBezTo>
                  <a:pt x="85" y="864"/>
                  <a:pt x="87" y="862"/>
                  <a:pt x="89" y="862"/>
                </a:cubicBezTo>
                <a:cubicBezTo>
                  <a:pt x="90" y="862"/>
                  <a:pt x="91" y="863"/>
                  <a:pt x="91" y="865"/>
                </a:cubicBezTo>
                <a:cubicBezTo>
                  <a:pt x="91" y="867"/>
                  <a:pt x="91" y="867"/>
                  <a:pt x="90" y="867"/>
                </a:cubicBezTo>
                <a:lnTo>
                  <a:pt x="88" y="867"/>
                </a:lnTo>
                <a:cubicBezTo>
                  <a:pt x="86" y="867"/>
                  <a:pt x="86" y="868"/>
                  <a:pt x="86" y="868"/>
                </a:cubicBezTo>
                <a:cubicBezTo>
                  <a:pt x="86" y="869"/>
                  <a:pt x="86" y="869"/>
                  <a:pt x="87" y="870"/>
                </a:cubicBezTo>
                <a:cubicBezTo>
                  <a:pt x="89" y="871"/>
                  <a:pt x="89" y="871"/>
                  <a:pt x="89" y="872"/>
                </a:cubicBezTo>
                <a:cubicBezTo>
                  <a:pt x="89" y="873"/>
                  <a:pt x="89" y="873"/>
                  <a:pt x="88" y="874"/>
                </a:cubicBezTo>
                <a:cubicBezTo>
                  <a:pt x="87" y="874"/>
                  <a:pt x="86" y="875"/>
                  <a:pt x="86" y="876"/>
                </a:cubicBezTo>
                <a:lnTo>
                  <a:pt x="87" y="877"/>
                </a:lnTo>
                <a:cubicBezTo>
                  <a:pt x="87" y="878"/>
                  <a:pt x="86" y="878"/>
                  <a:pt x="84" y="878"/>
                </a:cubicBezTo>
                <a:close/>
                <a:moveTo>
                  <a:pt x="276" y="457"/>
                </a:moveTo>
                <a:cubicBezTo>
                  <a:pt x="276" y="457"/>
                  <a:pt x="276" y="456"/>
                  <a:pt x="276" y="456"/>
                </a:cubicBezTo>
                <a:cubicBezTo>
                  <a:pt x="276" y="455"/>
                  <a:pt x="276" y="454"/>
                  <a:pt x="278" y="452"/>
                </a:cubicBezTo>
                <a:cubicBezTo>
                  <a:pt x="278" y="450"/>
                  <a:pt x="279" y="449"/>
                  <a:pt x="280" y="449"/>
                </a:cubicBezTo>
                <a:lnTo>
                  <a:pt x="280" y="450"/>
                </a:lnTo>
                <a:cubicBezTo>
                  <a:pt x="280" y="450"/>
                  <a:pt x="280" y="451"/>
                  <a:pt x="280" y="452"/>
                </a:cubicBezTo>
                <a:cubicBezTo>
                  <a:pt x="279" y="453"/>
                  <a:pt x="279" y="454"/>
                  <a:pt x="278" y="455"/>
                </a:cubicBezTo>
                <a:cubicBezTo>
                  <a:pt x="277" y="456"/>
                  <a:pt x="277" y="457"/>
                  <a:pt x="276" y="457"/>
                </a:cubicBezTo>
                <a:close/>
                <a:moveTo>
                  <a:pt x="310" y="350"/>
                </a:moveTo>
                <a:cubicBezTo>
                  <a:pt x="310" y="350"/>
                  <a:pt x="310" y="350"/>
                  <a:pt x="310" y="348"/>
                </a:cubicBezTo>
                <a:cubicBezTo>
                  <a:pt x="310" y="347"/>
                  <a:pt x="310" y="346"/>
                  <a:pt x="311" y="345"/>
                </a:cubicBezTo>
                <a:lnTo>
                  <a:pt x="312" y="345"/>
                </a:lnTo>
                <a:cubicBezTo>
                  <a:pt x="312" y="345"/>
                  <a:pt x="312" y="345"/>
                  <a:pt x="312" y="346"/>
                </a:cubicBezTo>
                <a:cubicBezTo>
                  <a:pt x="312" y="346"/>
                  <a:pt x="312" y="347"/>
                  <a:pt x="311" y="348"/>
                </a:cubicBezTo>
                <a:cubicBezTo>
                  <a:pt x="311" y="350"/>
                  <a:pt x="310" y="350"/>
                  <a:pt x="310" y="350"/>
                </a:cubicBezTo>
                <a:close/>
                <a:moveTo>
                  <a:pt x="291" y="384"/>
                </a:moveTo>
                <a:cubicBezTo>
                  <a:pt x="290" y="384"/>
                  <a:pt x="290" y="384"/>
                  <a:pt x="290" y="383"/>
                </a:cubicBezTo>
                <a:cubicBezTo>
                  <a:pt x="290" y="381"/>
                  <a:pt x="293" y="372"/>
                  <a:pt x="300" y="357"/>
                </a:cubicBezTo>
                <a:cubicBezTo>
                  <a:pt x="306" y="343"/>
                  <a:pt x="310" y="335"/>
                  <a:pt x="312" y="335"/>
                </a:cubicBezTo>
                <a:cubicBezTo>
                  <a:pt x="313" y="335"/>
                  <a:pt x="315" y="334"/>
                  <a:pt x="317" y="332"/>
                </a:cubicBezTo>
                <a:lnTo>
                  <a:pt x="318" y="331"/>
                </a:lnTo>
                <a:lnTo>
                  <a:pt x="318" y="331"/>
                </a:lnTo>
                <a:cubicBezTo>
                  <a:pt x="318" y="332"/>
                  <a:pt x="317" y="333"/>
                  <a:pt x="316" y="336"/>
                </a:cubicBezTo>
                <a:cubicBezTo>
                  <a:pt x="315" y="339"/>
                  <a:pt x="315" y="340"/>
                  <a:pt x="314" y="340"/>
                </a:cubicBezTo>
                <a:cubicBezTo>
                  <a:pt x="313" y="340"/>
                  <a:pt x="313" y="340"/>
                  <a:pt x="313" y="339"/>
                </a:cubicBezTo>
                <a:cubicBezTo>
                  <a:pt x="313" y="339"/>
                  <a:pt x="313" y="339"/>
                  <a:pt x="313" y="339"/>
                </a:cubicBezTo>
                <a:cubicBezTo>
                  <a:pt x="312" y="339"/>
                  <a:pt x="310" y="342"/>
                  <a:pt x="307" y="348"/>
                </a:cubicBezTo>
                <a:cubicBezTo>
                  <a:pt x="303" y="356"/>
                  <a:pt x="302" y="361"/>
                  <a:pt x="302" y="363"/>
                </a:cubicBezTo>
                <a:cubicBezTo>
                  <a:pt x="302" y="364"/>
                  <a:pt x="302" y="364"/>
                  <a:pt x="302" y="364"/>
                </a:cubicBezTo>
                <a:lnTo>
                  <a:pt x="305" y="364"/>
                </a:lnTo>
                <a:cubicBezTo>
                  <a:pt x="305" y="364"/>
                  <a:pt x="306" y="364"/>
                  <a:pt x="306" y="365"/>
                </a:cubicBezTo>
                <a:cubicBezTo>
                  <a:pt x="306" y="365"/>
                  <a:pt x="305" y="366"/>
                  <a:pt x="304" y="366"/>
                </a:cubicBezTo>
                <a:lnTo>
                  <a:pt x="302" y="366"/>
                </a:lnTo>
                <a:cubicBezTo>
                  <a:pt x="301" y="366"/>
                  <a:pt x="300" y="367"/>
                  <a:pt x="299" y="369"/>
                </a:cubicBezTo>
                <a:cubicBezTo>
                  <a:pt x="297" y="370"/>
                  <a:pt x="296" y="372"/>
                  <a:pt x="295" y="375"/>
                </a:cubicBezTo>
                <a:cubicBezTo>
                  <a:pt x="294" y="377"/>
                  <a:pt x="293" y="379"/>
                  <a:pt x="293" y="380"/>
                </a:cubicBezTo>
                <a:cubicBezTo>
                  <a:pt x="293" y="382"/>
                  <a:pt x="292" y="383"/>
                  <a:pt x="292" y="383"/>
                </a:cubicBezTo>
                <a:cubicBezTo>
                  <a:pt x="291" y="384"/>
                  <a:pt x="291" y="384"/>
                  <a:pt x="291" y="384"/>
                </a:cubicBezTo>
                <a:close/>
                <a:moveTo>
                  <a:pt x="296" y="385"/>
                </a:moveTo>
                <a:cubicBezTo>
                  <a:pt x="296" y="385"/>
                  <a:pt x="296" y="385"/>
                  <a:pt x="296" y="384"/>
                </a:cubicBezTo>
                <a:cubicBezTo>
                  <a:pt x="296" y="383"/>
                  <a:pt x="296" y="380"/>
                  <a:pt x="298" y="375"/>
                </a:cubicBezTo>
                <a:cubicBezTo>
                  <a:pt x="300" y="371"/>
                  <a:pt x="301" y="369"/>
                  <a:pt x="302" y="369"/>
                </a:cubicBezTo>
                <a:cubicBezTo>
                  <a:pt x="303" y="369"/>
                  <a:pt x="303" y="369"/>
                  <a:pt x="303" y="369"/>
                </a:cubicBezTo>
                <a:cubicBezTo>
                  <a:pt x="303" y="371"/>
                  <a:pt x="302" y="373"/>
                  <a:pt x="300" y="376"/>
                </a:cubicBezTo>
                <a:cubicBezTo>
                  <a:pt x="298" y="382"/>
                  <a:pt x="297" y="385"/>
                  <a:pt x="296" y="385"/>
                </a:cubicBezTo>
                <a:close/>
                <a:moveTo>
                  <a:pt x="72" y="914"/>
                </a:moveTo>
                <a:lnTo>
                  <a:pt x="72" y="912"/>
                </a:lnTo>
                <a:cubicBezTo>
                  <a:pt x="72" y="911"/>
                  <a:pt x="72" y="909"/>
                  <a:pt x="73" y="906"/>
                </a:cubicBezTo>
                <a:cubicBezTo>
                  <a:pt x="74" y="904"/>
                  <a:pt x="74" y="902"/>
                  <a:pt x="75" y="899"/>
                </a:cubicBezTo>
                <a:cubicBezTo>
                  <a:pt x="76" y="897"/>
                  <a:pt x="77" y="896"/>
                  <a:pt x="78" y="896"/>
                </a:cubicBezTo>
                <a:cubicBezTo>
                  <a:pt x="79" y="896"/>
                  <a:pt x="80" y="897"/>
                  <a:pt x="80" y="898"/>
                </a:cubicBezTo>
                <a:cubicBezTo>
                  <a:pt x="80" y="899"/>
                  <a:pt x="79" y="901"/>
                  <a:pt x="77" y="904"/>
                </a:cubicBezTo>
                <a:cubicBezTo>
                  <a:pt x="75" y="906"/>
                  <a:pt x="74" y="909"/>
                  <a:pt x="74" y="911"/>
                </a:cubicBezTo>
                <a:cubicBezTo>
                  <a:pt x="73" y="913"/>
                  <a:pt x="73" y="914"/>
                  <a:pt x="72" y="914"/>
                </a:cubicBezTo>
                <a:close/>
                <a:moveTo>
                  <a:pt x="95" y="848"/>
                </a:moveTo>
                <a:cubicBezTo>
                  <a:pt x="95" y="848"/>
                  <a:pt x="95" y="848"/>
                  <a:pt x="95" y="847"/>
                </a:cubicBezTo>
                <a:cubicBezTo>
                  <a:pt x="95" y="845"/>
                  <a:pt x="96" y="842"/>
                  <a:pt x="97" y="837"/>
                </a:cubicBezTo>
                <a:cubicBezTo>
                  <a:pt x="99" y="832"/>
                  <a:pt x="100" y="828"/>
                  <a:pt x="100" y="823"/>
                </a:cubicBezTo>
                <a:lnTo>
                  <a:pt x="100" y="817"/>
                </a:lnTo>
                <a:cubicBezTo>
                  <a:pt x="100" y="815"/>
                  <a:pt x="100" y="814"/>
                  <a:pt x="100" y="814"/>
                </a:cubicBezTo>
                <a:cubicBezTo>
                  <a:pt x="100" y="814"/>
                  <a:pt x="101" y="814"/>
                  <a:pt x="102" y="815"/>
                </a:cubicBezTo>
                <a:cubicBezTo>
                  <a:pt x="103" y="816"/>
                  <a:pt x="103" y="816"/>
                  <a:pt x="104" y="816"/>
                </a:cubicBezTo>
                <a:lnTo>
                  <a:pt x="106" y="816"/>
                </a:lnTo>
                <a:lnTo>
                  <a:pt x="105" y="818"/>
                </a:lnTo>
                <a:cubicBezTo>
                  <a:pt x="105" y="820"/>
                  <a:pt x="104" y="821"/>
                  <a:pt x="103" y="821"/>
                </a:cubicBezTo>
                <a:cubicBezTo>
                  <a:pt x="102" y="821"/>
                  <a:pt x="101" y="822"/>
                  <a:pt x="101" y="823"/>
                </a:cubicBezTo>
                <a:lnTo>
                  <a:pt x="102" y="825"/>
                </a:lnTo>
                <a:cubicBezTo>
                  <a:pt x="102" y="826"/>
                  <a:pt x="101" y="828"/>
                  <a:pt x="101" y="830"/>
                </a:cubicBezTo>
                <a:cubicBezTo>
                  <a:pt x="98" y="842"/>
                  <a:pt x="96" y="848"/>
                  <a:pt x="95" y="848"/>
                </a:cubicBezTo>
                <a:close/>
                <a:moveTo>
                  <a:pt x="92" y="853"/>
                </a:moveTo>
                <a:cubicBezTo>
                  <a:pt x="90" y="853"/>
                  <a:pt x="90" y="853"/>
                  <a:pt x="90" y="853"/>
                </a:cubicBezTo>
                <a:lnTo>
                  <a:pt x="93" y="852"/>
                </a:lnTo>
                <a:cubicBezTo>
                  <a:pt x="94" y="852"/>
                  <a:pt x="94" y="852"/>
                  <a:pt x="94" y="853"/>
                </a:cubicBezTo>
                <a:cubicBezTo>
                  <a:pt x="94" y="853"/>
                  <a:pt x="94" y="853"/>
                  <a:pt x="92" y="853"/>
                </a:cubicBezTo>
                <a:close/>
                <a:moveTo>
                  <a:pt x="322" y="343"/>
                </a:moveTo>
                <a:cubicBezTo>
                  <a:pt x="322" y="343"/>
                  <a:pt x="322" y="342"/>
                  <a:pt x="322" y="340"/>
                </a:cubicBezTo>
                <a:cubicBezTo>
                  <a:pt x="322" y="337"/>
                  <a:pt x="322" y="335"/>
                  <a:pt x="323" y="335"/>
                </a:cubicBezTo>
                <a:cubicBezTo>
                  <a:pt x="324" y="335"/>
                  <a:pt x="324" y="335"/>
                  <a:pt x="325" y="336"/>
                </a:cubicBezTo>
                <a:cubicBezTo>
                  <a:pt x="326" y="337"/>
                  <a:pt x="327" y="338"/>
                  <a:pt x="328" y="338"/>
                </a:cubicBezTo>
                <a:cubicBezTo>
                  <a:pt x="328" y="338"/>
                  <a:pt x="329" y="339"/>
                  <a:pt x="329" y="339"/>
                </a:cubicBezTo>
                <a:cubicBezTo>
                  <a:pt x="329" y="340"/>
                  <a:pt x="328" y="340"/>
                  <a:pt x="328" y="340"/>
                </a:cubicBezTo>
                <a:lnTo>
                  <a:pt x="326" y="339"/>
                </a:lnTo>
                <a:cubicBezTo>
                  <a:pt x="325" y="339"/>
                  <a:pt x="324" y="340"/>
                  <a:pt x="323" y="342"/>
                </a:cubicBezTo>
                <a:lnTo>
                  <a:pt x="322" y="343"/>
                </a:lnTo>
                <a:close/>
                <a:moveTo>
                  <a:pt x="225" y="134"/>
                </a:moveTo>
                <a:cubicBezTo>
                  <a:pt x="225" y="134"/>
                  <a:pt x="225" y="134"/>
                  <a:pt x="225" y="134"/>
                </a:cubicBezTo>
                <a:cubicBezTo>
                  <a:pt x="225" y="134"/>
                  <a:pt x="225" y="133"/>
                  <a:pt x="226" y="133"/>
                </a:cubicBezTo>
                <a:cubicBezTo>
                  <a:pt x="228" y="132"/>
                  <a:pt x="228" y="131"/>
                  <a:pt x="228" y="131"/>
                </a:cubicBezTo>
                <a:cubicBezTo>
                  <a:pt x="228" y="131"/>
                  <a:pt x="228" y="131"/>
                  <a:pt x="228" y="131"/>
                </a:cubicBezTo>
                <a:cubicBezTo>
                  <a:pt x="228" y="129"/>
                  <a:pt x="231" y="126"/>
                  <a:pt x="237" y="122"/>
                </a:cubicBezTo>
                <a:cubicBezTo>
                  <a:pt x="244" y="116"/>
                  <a:pt x="248" y="112"/>
                  <a:pt x="248" y="111"/>
                </a:cubicBezTo>
                <a:cubicBezTo>
                  <a:pt x="248" y="110"/>
                  <a:pt x="249" y="110"/>
                  <a:pt x="251" y="110"/>
                </a:cubicBezTo>
                <a:cubicBezTo>
                  <a:pt x="253" y="110"/>
                  <a:pt x="254" y="109"/>
                  <a:pt x="255" y="107"/>
                </a:cubicBezTo>
                <a:cubicBezTo>
                  <a:pt x="256" y="105"/>
                  <a:pt x="258" y="104"/>
                  <a:pt x="259" y="104"/>
                </a:cubicBezTo>
                <a:cubicBezTo>
                  <a:pt x="260" y="104"/>
                  <a:pt x="260" y="104"/>
                  <a:pt x="260" y="103"/>
                </a:cubicBezTo>
                <a:lnTo>
                  <a:pt x="260" y="102"/>
                </a:lnTo>
                <a:cubicBezTo>
                  <a:pt x="260" y="100"/>
                  <a:pt x="262" y="99"/>
                  <a:pt x="265" y="96"/>
                </a:cubicBezTo>
                <a:cubicBezTo>
                  <a:pt x="269" y="94"/>
                  <a:pt x="271" y="93"/>
                  <a:pt x="271" y="91"/>
                </a:cubicBezTo>
                <a:cubicBezTo>
                  <a:pt x="271" y="90"/>
                  <a:pt x="272" y="90"/>
                  <a:pt x="274" y="90"/>
                </a:cubicBezTo>
                <a:cubicBezTo>
                  <a:pt x="274" y="90"/>
                  <a:pt x="275" y="89"/>
                  <a:pt x="276" y="89"/>
                </a:cubicBezTo>
                <a:cubicBezTo>
                  <a:pt x="276" y="88"/>
                  <a:pt x="276" y="88"/>
                  <a:pt x="276" y="87"/>
                </a:cubicBezTo>
                <a:cubicBezTo>
                  <a:pt x="276" y="86"/>
                  <a:pt x="277" y="85"/>
                  <a:pt x="279" y="85"/>
                </a:cubicBezTo>
                <a:cubicBezTo>
                  <a:pt x="281" y="85"/>
                  <a:pt x="282" y="86"/>
                  <a:pt x="283" y="87"/>
                </a:cubicBezTo>
                <a:cubicBezTo>
                  <a:pt x="283" y="88"/>
                  <a:pt x="280" y="92"/>
                  <a:pt x="273" y="98"/>
                </a:cubicBezTo>
                <a:cubicBezTo>
                  <a:pt x="265" y="103"/>
                  <a:pt x="261" y="106"/>
                  <a:pt x="260" y="107"/>
                </a:cubicBezTo>
                <a:cubicBezTo>
                  <a:pt x="259" y="107"/>
                  <a:pt x="258" y="108"/>
                  <a:pt x="257" y="109"/>
                </a:cubicBezTo>
                <a:cubicBezTo>
                  <a:pt x="255" y="111"/>
                  <a:pt x="254" y="112"/>
                  <a:pt x="252" y="114"/>
                </a:cubicBezTo>
                <a:cubicBezTo>
                  <a:pt x="250" y="115"/>
                  <a:pt x="248" y="117"/>
                  <a:pt x="246" y="118"/>
                </a:cubicBezTo>
                <a:cubicBezTo>
                  <a:pt x="245" y="120"/>
                  <a:pt x="244" y="120"/>
                  <a:pt x="243" y="120"/>
                </a:cubicBezTo>
                <a:cubicBezTo>
                  <a:pt x="242" y="120"/>
                  <a:pt x="237" y="125"/>
                  <a:pt x="228" y="133"/>
                </a:cubicBezTo>
                <a:cubicBezTo>
                  <a:pt x="227" y="134"/>
                  <a:pt x="226" y="134"/>
                  <a:pt x="225" y="134"/>
                </a:cubicBezTo>
                <a:close/>
                <a:moveTo>
                  <a:pt x="290" y="383"/>
                </a:moveTo>
                <a:close/>
                <a:moveTo>
                  <a:pt x="92" y="860"/>
                </a:moveTo>
                <a:cubicBezTo>
                  <a:pt x="90" y="860"/>
                  <a:pt x="89" y="859"/>
                  <a:pt x="88" y="858"/>
                </a:cubicBezTo>
                <a:lnTo>
                  <a:pt x="88" y="856"/>
                </a:lnTo>
                <a:cubicBezTo>
                  <a:pt x="88" y="856"/>
                  <a:pt x="88" y="856"/>
                  <a:pt x="89" y="856"/>
                </a:cubicBezTo>
                <a:cubicBezTo>
                  <a:pt x="90" y="856"/>
                  <a:pt x="91" y="856"/>
                  <a:pt x="92" y="857"/>
                </a:cubicBezTo>
                <a:cubicBezTo>
                  <a:pt x="92" y="858"/>
                  <a:pt x="92" y="859"/>
                  <a:pt x="92" y="859"/>
                </a:cubicBezTo>
                <a:cubicBezTo>
                  <a:pt x="92" y="860"/>
                  <a:pt x="92" y="860"/>
                  <a:pt x="92" y="860"/>
                </a:cubicBezTo>
                <a:close/>
                <a:moveTo>
                  <a:pt x="78" y="894"/>
                </a:moveTo>
                <a:cubicBezTo>
                  <a:pt x="77" y="894"/>
                  <a:pt x="77" y="894"/>
                  <a:pt x="77" y="893"/>
                </a:cubicBezTo>
                <a:cubicBezTo>
                  <a:pt x="77" y="892"/>
                  <a:pt x="77" y="890"/>
                  <a:pt x="78" y="887"/>
                </a:cubicBezTo>
                <a:cubicBezTo>
                  <a:pt x="80" y="882"/>
                  <a:pt x="81" y="880"/>
                  <a:pt x="84" y="880"/>
                </a:cubicBezTo>
                <a:cubicBezTo>
                  <a:pt x="85" y="880"/>
                  <a:pt x="85" y="881"/>
                  <a:pt x="85" y="883"/>
                </a:cubicBezTo>
                <a:cubicBezTo>
                  <a:pt x="85" y="885"/>
                  <a:pt x="85" y="886"/>
                  <a:pt x="84" y="886"/>
                </a:cubicBezTo>
                <a:cubicBezTo>
                  <a:pt x="82" y="886"/>
                  <a:pt x="81" y="888"/>
                  <a:pt x="81" y="890"/>
                </a:cubicBezTo>
                <a:cubicBezTo>
                  <a:pt x="80" y="893"/>
                  <a:pt x="79" y="894"/>
                  <a:pt x="78" y="894"/>
                </a:cubicBezTo>
                <a:close/>
                <a:moveTo>
                  <a:pt x="273" y="393"/>
                </a:moveTo>
                <a:cubicBezTo>
                  <a:pt x="273" y="393"/>
                  <a:pt x="273" y="393"/>
                  <a:pt x="273" y="391"/>
                </a:cubicBezTo>
                <a:cubicBezTo>
                  <a:pt x="273" y="390"/>
                  <a:pt x="273" y="389"/>
                  <a:pt x="275" y="388"/>
                </a:cubicBezTo>
                <a:lnTo>
                  <a:pt x="275" y="388"/>
                </a:lnTo>
                <a:cubicBezTo>
                  <a:pt x="275" y="388"/>
                  <a:pt x="275" y="388"/>
                  <a:pt x="275" y="389"/>
                </a:cubicBezTo>
                <a:lnTo>
                  <a:pt x="275" y="390"/>
                </a:lnTo>
                <a:cubicBezTo>
                  <a:pt x="275" y="392"/>
                  <a:pt x="274" y="393"/>
                  <a:pt x="273" y="393"/>
                </a:cubicBezTo>
                <a:close/>
                <a:moveTo>
                  <a:pt x="237" y="534"/>
                </a:moveTo>
                <a:lnTo>
                  <a:pt x="237" y="534"/>
                </a:lnTo>
                <a:cubicBezTo>
                  <a:pt x="237" y="533"/>
                  <a:pt x="237" y="532"/>
                  <a:pt x="237" y="531"/>
                </a:cubicBezTo>
                <a:cubicBezTo>
                  <a:pt x="238" y="530"/>
                  <a:pt x="238" y="529"/>
                  <a:pt x="239" y="527"/>
                </a:cubicBezTo>
                <a:lnTo>
                  <a:pt x="241" y="526"/>
                </a:lnTo>
                <a:lnTo>
                  <a:pt x="241" y="526"/>
                </a:lnTo>
                <a:cubicBezTo>
                  <a:pt x="241" y="527"/>
                  <a:pt x="241" y="528"/>
                  <a:pt x="240" y="529"/>
                </a:cubicBezTo>
                <a:cubicBezTo>
                  <a:pt x="239" y="531"/>
                  <a:pt x="239" y="532"/>
                  <a:pt x="238" y="533"/>
                </a:cubicBezTo>
                <a:cubicBezTo>
                  <a:pt x="238" y="534"/>
                  <a:pt x="237" y="534"/>
                  <a:pt x="237" y="534"/>
                </a:cubicBezTo>
                <a:close/>
                <a:moveTo>
                  <a:pt x="243" y="558"/>
                </a:moveTo>
                <a:cubicBezTo>
                  <a:pt x="241" y="558"/>
                  <a:pt x="241" y="558"/>
                  <a:pt x="241" y="558"/>
                </a:cubicBezTo>
                <a:cubicBezTo>
                  <a:pt x="241" y="557"/>
                  <a:pt x="242" y="556"/>
                  <a:pt x="243" y="555"/>
                </a:cubicBezTo>
                <a:cubicBezTo>
                  <a:pt x="245" y="552"/>
                  <a:pt x="246" y="551"/>
                  <a:pt x="247" y="551"/>
                </a:cubicBezTo>
                <a:lnTo>
                  <a:pt x="247" y="552"/>
                </a:lnTo>
                <a:cubicBezTo>
                  <a:pt x="247" y="552"/>
                  <a:pt x="247" y="554"/>
                  <a:pt x="246" y="555"/>
                </a:cubicBezTo>
                <a:cubicBezTo>
                  <a:pt x="246" y="557"/>
                  <a:pt x="244" y="558"/>
                  <a:pt x="243" y="558"/>
                </a:cubicBezTo>
                <a:close/>
                <a:moveTo>
                  <a:pt x="252" y="419"/>
                </a:moveTo>
                <a:lnTo>
                  <a:pt x="251" y="419"/>
                </a:lnTo>
                <a:cubicBezTo>
                  <a:pt x="251" y="419"/>
                  <a:pt x="251" y="419"/>
                  <a:pt x="251" y="418"/>
                </a:cubicBezTo>
                <a:cubicBezTo>
                  <a:pt x="251" y="418"/>
                  <a:pt x="251" y="417"/>
                  <a:pt x="253" y="415"/>
                </a:cubicBezTo>
                <a:cubicBezTo>
                  <a:pt x="255" y="412"/>
                  <a:pt x="256" y="411"/>
                  <a:pt x="256" y="411"/>
                </a:cubicBezTo>
                <a:cubicBezTo>
                  <a:pt x="257" y="411"/>
                  <a:pt x="257" y="411"/>
                  <a:pt x="257" y="411"/>
                </a:cubicBezTo>
                <a:cubicBezTo>
                  <a:pt x="257" y="414"/>
                  <a:pt x="255" y="416"/>
                  <a:pt x="252" y="419"/>
                </a:cubicBezTo>
                <a:close/>
                <a:moveTo>
                  <a:pt x="221" y="480"/>
                </a:moveTo>
                <a:cubicBezTo>
                  <a:pt x="221" y="480"/>
                  <a:pt x="220" y="480"/>
                  <a:pt x="220" y="480"/>
                </a:cubicBezTo>
                <a:cubicBezTo>
                  <a:pt x="220" y="480"/>
                  <a:pt x="220" y="479"/>
                  <a:pt x="220" y="479"/>
                </a:cubicBezTo>
                <a:cubicBezTo>
                  <a:pt x="220" y="478"/>
                  <a:pt x="221" y="476"/>
                  <a:pt x="222" y="473"/>
                </a:cubicBezTo>
                <a:cubicBezTo>
                  <a:pt x="223" y="471"/>
                  <a:pt x="224" y="469"/>
                  <a:pt x="224" y="466"/>
                </a:cubicBezTo>
                <a:lnTo>
                  <a:pt x="224" y="464"/>
                </a:lnTo>
                <a:cubicBezTo>
                  <a:pt x="224" y="463"/>
                  <a:pt x="224" y="461"/>
                  <a:pt x="225" y="460"/>
                </a:cubicBezTo>
                <a:cubicBezTo>
                  <a:pt x="226" y="459"/>
                  <a:pt x="227" y="458"/>
                  <a:pt x="227" y="455"/>
                </a:cubicBezTo>
                <a:cubicBezTo>
                  <a:pt x="228" y="452"/>
                  <a:pt x="229" y="451"/>
                  <a:pt x="230" y="451"/>
                </a:cubicBezTo>
                <a:cubicBezTo>
                  <a:pt x="231" y="451"/>
                  <a:pt x="231" y="451"/>
                  <a:pt x="231" y="452"/>
                </a:cubicBezTo>
                <a:cubicBezTo>
                  <a:pt x="231" y="453"/>
                  <a:pt x="229" y="459"/>
                  <a:pt x="226" y="469"/>
                </a:cubicBezTo>
                <a:cubicBezTo>
                  <a:pt x="223" y="477"/>
                  <a:pt x="222" y="480"/>
                  <a:pt x="221" y="480"/>
                </a:cubicBezTo>
                <a:close/>
                <a:moveTo>
                  <a:pt x="231" y="448"/>
                </a:moveTo>
                <a:cubicBezTo>
                  <a:pt x="231" y="448"/>
                  <a:pt x="230" y="447"/>
                  <a:pt x="229" y="446"/>
                </a:cubicBezTo>
                <a:lnTo>
                  <a:pt x="229" y="445"/>
                </a:lnTo>
                <a:cubicBezTo>
                  <a:pt x="229" y="444"/>
                  <a:pt x="229" y="444"/>
                  <a:pt x="230" y="444"/>
                </a:cubicBezTo>
                <a:cubicBezTo>
                  <a:pt x="231" y="444"/>
                  <a:pt x="231" y="444"/>
                  <a:pt x="231" y="443"/>
                </a:cubicBezTo>
                <a:lnTo>
                  <a:pt x="231" y="441"/>
                </a:lnTo>
                <a:cubicBezTo>
                  <a:pt x="231" y="440"/>
                  <a:pt x="231" y="440"/>
                  <a:pt x="232" y="440"/>
                </a:cubicBezTo>
                <a:cubicBezTo>
                  <a:pt x="233" y="440"/>
                  <a:pt x="234" y="436"/>
                  <a:pt x="237" y="429"/>
                </a:cubicBezTo>
                <a:cubicBezTo>
                  <a:pt x="243" y="409"/>
                  <a:pt x="247" y="399"/>
                  <a:pt x="250" y="399"/>
                </a:cubicBezTo>
                <a:cubicBezTo>
                  <a:pt x="250" y="399"/>
                  <a:pt x="251" y="400"/>
                  <a:pt x="251" y="400"/>
                </a:cubicBezTo>
                <a:cubicBezTo>
                  <a:pt x="251" y="401"/>
                  <a:pt x="250" y="402"/>
                  <a:pt x="250" y="403"/>
                </a:cubicBezTo>
                <a:cubicBezTo>
                  <a:pt x="249" y="404"/>
                  <a:pt x="249" y="405"/>
                  <a:pt x="249" y="406"/>
                </a:cubicBezTo>
                <a:lnTo>
                  <a:pt x="239" y="432"/>
                </a:lnTo>
                <a:cubicBezTo>
                  <a:pt x="236" y="443"/>
                  <a:pt x="233" y="448"/>
                  <a:pt x="231" y="448"/>
                </a:cubicBezTo>
                <a:close/>
                <a:moveTo>
                  <a:pt x="236" y="526"/>
                </a:moveTo>
                <a:cubicBezTo>
                  <a:pt x="234" y="526"/>
                  <a:pt x="234" y="525"/>
                  <a:pt x="234" y="523"/>
                </a:cubicBezTo>
                <a:cubicBezTo>
                  <a:pt x="234" y="521"/>
                  <a:pt x="234" y="520"/>
                  <a:pt x="235" y="519"/>
                </a:cubicBezTo>
                <a:cubicBezTo>
                  <a:pt x="236" y="518"/>
                  <a:pt x="237" y="518"/>
                  <a:pt x="238" y="518"/>
                </a:cubicBezTo>
                <a:cubicBezTo>
                  <a:pt x="239" y="518"/>
                  <a:pt x="239" y="518"/>
                  <a:pt x="239" y="519"/>
                </a:cubicBezTo>
                <a:cubicBezTo>
                  <a:pt x="239" y="520"/>
                  <a:pt x="239" y="521"/>
                  <a:pt x="239" y="522"/>
                </a:cubicBezTo>
                <a:cubicBezTo>
                  <a:pt x="238" y="523"/>
                  <a:pt x="238" y="524"/>
                  <a:pt x="238" y="524"/>
                </a:cubicBezTo>
                <a:cubicBezTo>
                  <a:pt x="237" y="525"/>
                  <a:pt x="236" y="526"/>
                  <a:pt x="236" y="526"/>
                </a:cubicBezTo>
                <a:close/>
                <a:moveTo>
                  <a:pt x="244" y="505"/>
                </a:moveTo>
                <a:cubicBezTo>
                  <a:pt x="243" y="505"/>
                  <a:pt x="242" y="505"/>
                  <a:pt x="242" y="503"/>
                </a:cubicBezTo>
                <a:cubicBezTo>
                  <a:pt x="242" y="502"/>
                  <a:pt x="243" y="501"/>
                  <a:pt x="244" y="501"/>
                </a:cubicBezTo>
                <a:cubicBezTo>
                  <a:pt x="245" y="501"/>
                  <a:pt x="246" y="502"/>
                  <a:pt x="246" y="503"/>
                </a:cubicBezTo>
                <a:cubicBezTo>
                  <a:pt x="246" y="505"/>
                  <a:pt x="245" y="505"/>
                  <a:pt x="244" y="505"/>
                </a:cubicBezTo>
                <a:close/>
                <a:moveTo>
                  <a:pt x="233" y="544"/>
                </a:moveTo>
                <a:lnTo>
                  <a:pt x="233" y="544"/>
                </a:lnTo>
                <a:cubicBezTo>
                  <a:pt x="233" y="543"/>
                  <a:pt x="233" y="542"/>
                  <a:pt x="234" y="540"/>
                </a:cubicBezTo>
                <a:cubicBezTo>
                  <a:pt x="235" y="537"/>
                  <a:pt x="236" y="536"/>
                  <a:pt x="237" y="536"/>
                </a:cubicBezTo>
                <a:lnTo>
                  <a:pt x="237" y="536"/>
                </a:lnTo>
                <a:cubicBezTo>
                  <a:pt x="237" y="537"/>
                  <a:pt x="237" y="538"/>
                  <a:pt x="236" y="541"/>
                </a:cubicBezTo>
                <a:cubicBezTo>
                  <a:pt x="234" y="543"/>
                  <a:pt x="234" y="544"/>
                  <a:pt x="233" y="544"/>
                </a:cubicBezTo>
                <a:close/>
                <a:moveTo>
                  <a:pt x="70" y="442"/>
                </a:moveTo>
                <a:cubicBezTo>
                  <a:pt x="67" y="442"/>
                  <a:pt x="66" y="441"/>
                  <a:pt x="66" y="441"/>
                </a:cubicBezTo>
                <a:cubicBezTo>
                  <a:pt x="66" y="439"/>
                  <a:pt x="67" y="439"/>
                  <a:pt x="68" y="439"/>
                </a:cubicBezTo>
                <a:lnTo>
                  <a:pt x="72" y="440"/>
                </a:lnTo>
                <a:cubicBezTo>
                  <a:pt x="72" y="440"/>
                  <a:pt x="72" y="440"/>
                  <a:pt x="72" y="439"/>
                </a:cubicBezTo>
                <a:lnTo>
                  <a:pt x="72" y="438"/>
                </a:lnTo>
                <a:cubicBezTo>
                  <a:pt x="71" y="438"/>
                  <a:pt x="70" y="438"/>
                  <a:pt x="69" y="437"/>
                </a:cubicBezTo>
                <a:cubicBezTo>
                  <a:pt x="67" y="437"/>
                  <a:pt x="66" y="437"/>
                  <a:pt x="65" y="437"/>
                </a:cubicBezTo>
                <a:cubicBezTo>
                  <a:pt x="62" y="437"/>
                  <a:pt x="61" y="437"/>
                  <a:pt x="61" y="438"/>
                </a:cubicBezTo>
                <a:lnTo>
                  <a:pt x="62" y="440"/>
                </a:lnTo>
                <a:cubicBezTo>
                  <a:pt x="62" y="441"/>
                  <a:pt x="60" y="441"/>
                  <a:pt x="57" y="441"/>
                </a:cubicBezTo>
                <a:cubicBezTo>
                  <a:pt x="54" y="441"/>
                  <a:pt x="51" y="441"/>
                  <a:pt x="48" y="440"/>
                </a:cubicBezTo>
                <a:lnTo>
                  <a:pt x="42" y="439"/>
                </a:lnTo>
                <a:cubicBezTo>
                  <a:pt x="41" y="439"/>
                  <a:pt x="41" y="439"/>
                  <a:pt x="41" y="438"/>
                </a:cubicBezTo>
                <a:cubicBezTo>
                  <a:pt x="41" y="437"/>
                  <a:pt x="39" y="436"/>
                  <a:pt x="37" y="435"/>
                </a:cubicBezTo>
                <a:lnTo>
                  <a:pt x="30" y="432"/>
                </a:lnTo>
                <a:cubicBezTo>
                  <a:pt x="17" y="424"/>
                  <a:pt x="8" y="417"/>
                  <a:pt x="5" y="410"/>
                </a:cubicBezTo>
                <a:cubicBezTo>
                  <a:pt x="2" y="404"/>
                  <a:pt x="0" y="395"/>
                  <a:pt x="0" y="385"/>
                </a:cubicBezTo>
                <a:cubicBezTo>
                  <a:pt x="0" y="367"/>
                  <a:pt x="8" y="342"/>
                  <a:pt x="24" y="311"/>
                </a:cubicBezTo>
                <a:cubicBezTo>
                  <a:pt x="39" y="279"/>
                  <a:pt x="57" y="253"/>
                  <a:pt x="77" y="231"/>
                </a:cubicBezTo>
                <a:cubicBezTo>
                  <a:pt x="80" y="228"/>
                  <a:pt x="82" y="226"/>
                  <a:pt x="82" y="225"/>
                </a:cubicBezTo>
                <a:lnTo>
                  <a:pt x="80" y="226"/>
                </a:lnTo>
                <a:cubicBezTo>
                  <a:pt x="79" y="228"/>
                  <a:pt x="78" y="228"/>
                  <a:pt x="78" y="228"/>
                </a:cubicBezTo>
                <a:cubicBezTo>
                  <a:pt x="78" y="228"/>
                  <a:pt x="78" y="227"/>
                  <a:pt x="80" y="225"/>
                </a:cubicBezTo>
                <a:cubicBezTo>
                  <a:pt x="81" y="224"/>
                  <a:pt x="82" y="223"/>
                  <a:pt x="83" y="223"/>
                </a:cubicBezTo>
                <a:lnTo>
                  <a:pt x="84" y="223"/>
                </a:lnTo>
                <a:cubicBezTo>
                  <a:pt x="85" y="223"/>
                  <a:pt x="87" y="221"/>
                  <a:pt x="90" y="218"/>
                </a:cubicBezTo>
                <a:lnTo>
                  <a:pt x="91" y="214"/>
                </a:lnTo>
                <a:cubicBezTo>
                  <a:pt x="91" y="212"/>
                  <a:pt x="93" y="209"/>
                  <a:pt x="97" y="204"/>
                </a:cubicBezTo>
                <a:lnTo>
                  <a:pt x="104" y="199"/>
                </a:lnTo>
                <a:lnTo>
                  <a:pt x="104" y="201"/>
                </a:lnTo>
                <a:cubicBezTo>
                  <a:pt x="104" y="202"/>
                  <a:pt x="104" y="202"/>
                  <a:pt x="104" y="202"/>
                </a:cubicBezTo>
                <a:cubicBezTo>
                  <a:pt x="105" y="202"/>
                  <a:pt x="105" y="202"/>
                  <a:pt x="105" y="203"/>
                </a:cubicBezTo>
                <a:cubicBezTo>
                  <a:pt x="105" y="204"/>
                  <a:pt x="104" y="206"/>
                  <a:pt x="103" y="208"/>
                </a:cubicBezTo>
                <a:cubicBezTo>
                  <a:pt x="101" y="210"/>
                  <a:pt x="100" y="212"/>
                  <a:pt x="99" y="213"/>
                </a:cubicBezTo>
                <a:cubicBezTo>
                  <a:pt x="90" y="228"/>
                  <a:pt x="85" y="235"/>
                  <a:pt x="83" y="235"/>
                </a:cubicBezTo>
                <a:cubicBezTo>
                  <a:pt x="81" y="235"/>
                  <a:pt x="80" y="235"/>
                  <a:pt x="80" y="236"/>
                </a:cubicBezTo>
                <a:lnTo>
                  <a:pt x="80" y="236"/>
                </a:lnTo>
                <a:cubicBezTo>
                  <a:pt x="80" y="238"/>
                  <a:pt x="80" y="240"/>
                  <a:pt x="79" y="242"/>
                </a:cubicBezTo>
                <a:cubicBezTo>
                  <a:pt x="78" y="244"/>
                  <a:pt x="76" y="246"/>
                  <a:pt x="75" y="248"/>
                </a:cubicBezTo>
                <a:cubicBezTo>
                  <a:pt x="73" y="250"/>
                  <a:pt x="72" y="250"/>
                  <a:pt x="71" y="250"/>
                </a:cubicBezTo>
                <a:cubicBezTo>
                  <a:pt x="70" y="250"/>
                  <a:pt x="70" y="251"/>
                  <a:pt x="69" y="251"/>
                </a:cubicBezTo>
                <a:cubicBezTo>
                  <a:pt x="69" y="252"/>
                  <a:pt x="68" y="252"/>
                  <a:pt x="68" y="253"/>
                </a:cubicBezTo>
                <a:cubicBezTo>
                  <a:pt x="68" y="255"/>
                  <a:pt x="68" y="257"/>
                  <a:pt x="67" y="257"/>
                </a:cubicBezTo>
                <a:cubicBezTo>
                  <a:pt x="67" y="258"/>
                  <a:pt x="66" y="260"/>
                  <a:pt x="64" y="262"/>
                </a:cubicBezTo>
                <a:cubicBezTo>
                  <a:pt x="61" y="266"/>
                  <a:pt x="56" y="273"/>
                  <a:pt x="51" y="282"/>
                </a:cubicBezTo>
                <a:cubicBezTo>
                  <a:pt x="36" y="306"/>
                  <a:pt x="28" y="320"/>
                  <a:pt x="28" y="324"/>
                </a:cubicBezTo>
                <a:lnTo>
                  <a:pt x="29" y="325"/>
                </a:lnTo>
                <a:cubicBezTo>
                  <a:pt x="29" y="326"/>
                  <a:pt x="28" y="326"/>
                  <a:pt x="28" y="326"/>
                </a:cubicBezTo>
                <a:cubicBezTo>
                  <a:pt x="28" y="326"/>
                  <a:pt x="27" y="326"/>
                  <a:pt x="26" y="327"/>
                </a:cubicBezTo>
                <a:lnTo>
                  <a:pt x="27" y="328"/>
                </a:lnTo>
                <a:cubicBezTo>
                  <a:pt x="27" y="329"/>
                  <a:pt x="26" y="330"/>
                  <a:pt x="25" y="331"/>
                </a:cubicBezTo>
                <a:cubicBezTo>
                  <a:pt x="23" y="332"/>
                  <a:pt x="23" y="333"/>
                  <a:pt x="23" y="333"/>
                </a:cubicBezTo>
                <a:cubicBezTo>
                  <a:pt x="23" y="333"/>
                  <a:pt x="23" y="333"/>
                  <a:pt x="25" y="333"/>
                </a:cubicBezTo>
                <a:cubicBezTo>
                  <a:pt x="27" y="333"/>
                  <a:pt x="28" y="333"/>
                  <a:pt x="28" y="332"/>
                </a:cubicBezTo>
                <a:lnTo>
                  <a:pt x="28" y="332"/>
                </a:lnTo>
                <a:cubicBezTo>
                  <a:pt x="28" y="331"/>
                  <a:pt x="29" y="330"/>
                  <a:pt x="30" y="329"/>
                </a:cubicBezTo>
                <a:cubicBezTo>
                  <a:pt x="32" y="327"/>
                  <a:pt x="32" y="326"/>
                  <a:pt x="32" y="325"/>
                </a:cubicBezTo>
                <a:cubicBezTo>
                  <a:pt x="32" y="324"/>
                  <a:pt x="32" y="324"/>
                  <a:pt x="31" y="323"/>
                </a:cubicBezTo>
                <a:cubicBezTo>
                  <a:pt x="31" y="322"/>
                  <a:pt x="30" y="321"/>
                  <a:pt x="30" y="321"/>
                </a:cubicBezTo>
                <a:cubicBezTo>
                  <a:pt x="30" y="319"/>
                  <a:pt x="31" y="318"/>
                  <a:pt x="33" y="316"/>
                </a:cubicBezTo>
                <a:cubicBezTo>
                  <a:pt x="36" y="313"/>
                  <a:pt x="37" y="311"/>
                  <a:pt x="37" y="310"/>
                </a:cubicBezTo>
                <a:cubicBezTo>
                  <a:pt x="38" y="309"/>
                  <a:pt x="39" y="309"/>
                  <a:pt x="40" y="309"/>
                </a:cubicBezTo>
                <a:cubicBezTo>
                  <a:pt x="41" y="309"/>
                  <a:pt x="42" y="309"/>
                  <a:pt x="42" y="308"/>
                </a:cubicBezTo>
                <a:lnTo>
                  <a:pt x="42" y="307"/>
                </a:lnTo>
                <a:cubicBezTo>
                  <a:pt x="42" y="306"/>
                  <a:pt x="42" y="306"/>
                  <a:pt x="43" y="306"/>
                </a:cubicBezTo>
                <a:lnTo>
                  <a:pt x="45" y="306"/>
                </a:lnTo>
                <a:cubicBezTo>
                  <a:pt x="45" y="305"/>
                  <a:pt x="44" y="305"/>
                  <a:pt x="44" y="304"/>
                </a:cubicBezTo>
                <a:cubicBezTo>
                  <a:pt x="43" y="304"/>
                  <a:pt x="43" y="303"/>
                  <a:pt x="43" y="302"/>
                </a:cubicBezTo>
                <a:cubicBezTo>
                  <a:pt x="43" y="299"/>
                  <a:pt x="48" y="289"/>
                  <a:pt x="58" y="275"/>
                </a:cubicBezTo>
                <a:cubicBezTo>
                  <a:pt x="69" y="260"/>
                  <a:pt x="81" y="244"/>
                  <a:pt x="95" y="227"/>
                </a:cubicBezTo>
                <a:cubicBezTo>
                  <a:pt x="110" y="209"/>
                  <a:pt x="123" y="195"/>
                  <a:pt x="136" y="182"/>
                </a:cubicBezTo>
                <a:cubicBezTo>
                  <a:pt x="167" y="151"/>
                  <a:pt x="192" y="128"/>
                  <a:pt x="210" y="114"/>
                </a:cubicBezTo>
                <a:cubicBezTo>
                  <a:pt x="217" y="108"/>
                  <a:pt x="225" y="102"/>
                  <a:pt x="233" y="96"/>
                </a:cubicBezTo>
                <a:cubicBezTo>
                  <a:pt x="240" y="90"/>
                  <a:pt x="250" y="83"/>
                  <a:pt x="260" y="75"/>
                </a:cubicBezTo>
                <a:cubicBezTo>
                  <a:pt x="263" y="73"/>
                  <a:pt x="265" y="72"/>
                  <a:pt x="265" y="71"/>
                </a:cubicBezTo>
                <a:cubicBezTo>
                  <a:pt x="266" y="70"/>
                  <a:pt x="267" y="69"/>
                  <a:pt x="270" y="68"/>
                </a:cubicBezTo>
                <a:cubicBezTo>
                  <a:pt x="272" y="66"/>
                  <a:pt x="274" y="65"/>
                  <a:pt x="274" y="63"/>
                </a:cubicBezTo>
                <a:lnTo>
                  <a:pt x="274" y="63"/>
                </a:lnTo>
                <a:cubicBezTo>
                  <a:pt x="273" y="62"/>
                  <a:pt x="273" y="62"/>
                  <a:pt x="272" y="62"/>
                </a:cubicBezTo>
                <a:cubicBezTo>
                  <a:pt x="271" y="62"/>
                  <a:pt x="271" y="62"/>
                  <a:pt x="271" y="62"/>
                </a:cubicBezTo>
                <a:cubicBezTo>
                  <a:pt x="270" y="63"/>
                  <a:pt x="270" y="63"/>
                  <a:pt x="269" y="63"/>
                </a:cubicBezTo>
                <a:cubicBezTo>
                  <a:pt x="269" y="63"/>
                  <a:pt x="269" y="63"/>
                  <a:pt x="269" y="62"/>
                </a:cubicBezTo>
                <a:cubicBezTo>
                  <a:pt x="269" y="61"/>
                  <a:pt x="272" y="59"/>
                  <a:pt x="278" y="54"/>
                </a:cubicBezTo>
                <a:cubicBezTo>
                  <a:pt x="285" y="50"/>
                  <a:pt x="288" y="48"/>
                  <a:pt x="290" y="48"/>
                </a:cubicBezTo>
                <a:cubicBezTo>
                  <a:pt x="291" y="48"/>
                  <a:pt x="292" y="47"/>
                  <a:pt x="293" y="46"/>
                </a:cubicBezTo>
                <a:cubicBezTo>
                  <a:pt x="293" y="44"/>
                  <a:pt x="294" y="44"/>
                  <a:pt x="295" y="44"/>
                </a:cubicBezTo>
                <a:cubicBezTo>
                  <a:pt x="296" y="44"/>
                  <a:pt x="296" y="44"/>
                  <a:pt x="296" y="45"/>
                </a:cubicBezTo>
                <a:cubicBezTo>
                  <a:pt x="296" y="46"/>
                  <a:pt x="296" y="47"/>
                  <a:pt x="295" y="48"/>
                </a:cubicBezTo>
                <a:cubicBezTo>
                  <a:pt x="293" y="50"/>
                  <a:pt x="292" y="50"/>
                  <a:pt x="291" y="50"/>
                </a:cubicBezTo>
                <a:lnTo>
                  <a:pt x="290" y="50"/>
                </a:lnTo>
                <a:cubicBezTo>
                  <a:pt x="289" y="50"/>
                  <a:pt x="288" y="51"/>
                  <a:pt x="288" y="52"/>
                </a:cubicBezTo>
                <a:cubicBezTo>
                  <a:pt x="287" y="54"/>
                  <a:pt x="286" y="54"/>
                  <a:pt x="285" y="54"/>
                </a:cubicBezTo>
                <a:lnTo>
                  <a:pt x="285" y="54"/>
                </a:lnTo>
                <a:cubicBezTo>
                  <a:pt x="283" y="54"/>
                  <a:pt x="282" y="55"/>
                  <a:pt x="281" y="56"/>
                </a:cubicBezTo>
                <a:cubicBezTo>
                  <a:pt x="281" y="58"/>
                  <a:pt x="280" y="59"/>
                  <a:pt x="279" y="59"/>
                </a:cubicBezTo>
                <a:cubicBezTo>
                  <a:pt x="275" y="59"/>
                  <a:pt x="274" y="59"/>
                  <a:pt x="274" y="60"/>
                </a:cubicBezTo>
                <a:cubicBezTo>
                  <a:pt x="274" y="61"/>
                  <a:pt x="274" y="62"/>
                  <a:pt x="275" y="62"/>
                </a:cubicBezTo>
                <a:cubicBezTo>
                  <a:pt x="278" y="62"/>
                  <a:pt x="283" y="59"/>
                  <a:pt x="291" y="54"/>
                </a:cubicBezTo>
                <a:cubicBezTo>
                  <a:pt x="300" y="48"/>
                  <a:pt x="305" y="44"/>
                  <a:pt x="305" y="42"/>
                </a:cubicBezTo>
                <a:cubicBezTo>
                  <a:pt x="305" y="42"/>
                  <a:pt x="305" y="41"/>
                  <a:pt x="304" y="41"/>
                </a:cubicBezTo>
                <a:lnTo>
                  <a:pt x="298" y="43"/>
                </a:lnTo>
                <a:cubicBezTo>
                  <a:pt x="298" y="42"/>
                  <a:pt x="299" y="41"/>
                  <a:pt x="301" y="40"/>
                </a:cubicBezTo>
                <a:cubicBezTo>
                  <a:pt x="303" y="39"/>
                  <a:pt x="305" y="38"/>
                  <a:pt x="306" y="38"/>
                </a:cubicBezTo>
                <a:cubicBezTo>
                  <a:pt x="306" y="38"/>
                  <a:pt x="307" y="39"/>
                  <a:pt x="307" y="40"/>
                </a:cubicBezTo>
                <a:cubicBezTo>
                  <a:pt x="308" y="41"/>
                  <a:pt x="308" y="41"/>
                  <a:pt x="310" y="41"/>
                </a:cubicBezTo>
                <a:lnTo>
                  <a:pt x="311" y="41"/>
                </a:lnTo>
                <a:lnTo>
                  <a:pt x="311" y="42"/>
                </a:lnTo>
                <a:cubicBezTo>
                  <a:pt x="310" y="43"/>
                  <a:pt x="310" y="44"/>
                  <a:pt x="310" y="44"/>
                </a:cubicBezTo>
                <a:cubicBezTo>
                  <a:pt x="310" y="46"/>
                  <a:pt x="311" y="47"/>
                  <a:pt x="314" y="47"/>
                </a:cubicBezTo>
                <a:cubicBezTo>
                  <a:pt x="316" y="47"/>
                  <a:pt x="318" y="46"/>
                  <a:pt x="320" y="46"/>
                </a:cubicBezTo>
                <a:lnTo>
                  <a:pt x="326" y="43"/>
                </a:lnTo>
                <a:cubicBezTo>
                  <a:pt x="326" y="44"/>
                  <a:pt x="322" y="48"/>
                  <a:pt x="312" y="53"/>
                </a:cubicBezTo>
                <a:cubicBezTo>
                  <a:pt x="302" y="59"/>
                  <a:pt x="296" y="62"/>
                  <a:pt x="294" y="62"/>
                </a:cubicBezTo>
                <a:cubicBezTo>
                  <a:pt x="293" y="62"/>
                  <a:pt x="292" y="61"/>
                  <a:pt x="292" y="61"/>
                </a:cubicBezTo>
                <a:lnTo>
                  <a:pt x="294" y="58"/>
                </a:lnTo>
                <a:cubicBezTo>
                  <a:pt x="294" y="58"/>
                  <a:pt x="293" y="57"/>
                  <a:pt x="293" y="57"/>
                </a:cubicBezTo>
                <a:lnTo>
                  <a:pt x="292" y="58"/>
                </a:lnTo>
                <a:cubicBezTo>
                  <a:pt x="291" y="58"/>
                  <a:pt x="291" y="60"/>
                  <a:pt x="291" y="61"/>
                </a:cubicBezTo>
                <a:lnTo>
                  <a:pt x="291" y="65"/>
                </a:lnTo>
                <a:cubicBezTo>
                  <a:pt x="291" y="66"/>
                  <a:pt x="291" y="67"/>
                  <a:pt x="290" y="67"/>
                </a:cubicBezTo>
                <a:cubicBezTo>
                  <a:pt x="290" y="67"/>
                  <a:pt x="289" y="67"/>
                  <a:pt x="289" y="67"/>
                </a:cubicBezTo>
                <a:cubicBezTo>
                  <a:pt x="289" y="66"/>
                  <a:pt x="289" y="66"/>
                  <a:pt x="289" y="65"/>
                </a:cubicBezTo>
                <a:lnTo>
                  <a:pt x="289" y="64"/>
                </a:lnTo>
                <a:lnTo>
                  <a:pt x="288" y="66"/>
                </a:lnTo>
                <a:cubicBezTo>
                  <a:pt x="286" y="67"/>
                  <a:pt x="285" y="68"/>
                  <a:pt x="285" y="68"/>
                </a:cubicBezTo>
                <a:cubicBezTo>
                  <a:pt x="284" y="68"/>
                  <a:pt x="283" y="68"/>
                  <a:pt x="283" y="67"/>
                </a:cubicBezTo>
                <a:cubicBezTo>
                  <a:pt x="282" y="66"/>
                  <a:pt x="281" y="66"/>
                  <a:pt x="281" y="66"/>
                </a:cubicBezTo>
                <a:lnTo>
                  <a:pt x="281" y="68"/>
                </a:lnTo>
                <a:cubicBezTo>
                  <a:pt x="281" y="71"/>
                  <a:pt x="280" y="72"/>
                  <a:pt x="279" y="72"/>
                </a:cubicBezTo>
                <a:cubicBezTo>
                  <a:pt x="277" y="72"/>
                  <a:pt x="276" y="72"/>
                  <a:pt x="276" y="73"/>
                </a:cubicBezTo>
                <a:cubicBezTo>
                  <a:pt x="276" y="73"/>
                  <a:pt x="276" y="74"/>
                  <a:pt x="275" y="76"/>
                </a:cubicBezTo>
                <a:cubicBezTo>
                  <a:pt x="273" y="77"/>
                  <a:pt x="272" y="78"/>
                  <a:pt x="270" y="79"/>
                </a:cubicBezTo>
                <a:cubicBezTo>
                  <a:pt x="250" y="92"/>
                  <a:pt x="218" y="118"/>
                  <a:pt x="174" y="158"/>
                </a:cubicBezTo>
                <a:cubicBezTo>
                  <a:pt x="129" y="199"/>
                  <a:pt x="107" y="222"/>
                  <a:pt x="107" y="227"/>
                </a:cubicBezTo>
                <a:cubicBezTo>
                  <a:pt x="107" y="228"/>
                  <a:pt x="107" y="228"/>
                  <a:pt x="106" y="229"/>
                </a:cubicBezTo>
                <a:cubicBezTo>
                  <a:pt x="105" y="230"/>
                  <a:pt x="104" y="231"/>
                  <a:pt x="103" y="232"/>
                </a:cubicBezTo>
                <a:cubicBezTo>
                  <a:pt x="101" y="232"/>
                  <a:pt x="100" y="233"/>
                  <a:pt x="99" y="234"/>
                </a:cubicBezTo>
                <a:cubicBezTo>
                  <a:pt x="96" y="237"/>
                  <a:pt x="95" y="239"/>
                  <a:pt x="95" y="240"/>
                </a:cubicBezTo>
                <a:lnTo>
                  <a:pt x="101" y="236"/>
                </a:lnTo>
                <a:lnTo>
                  <a:pt x="101" y="237"/>
                </a:lnTo>
                <a:cubicBezTo>
                  <a:pt x="101" y="237"/>
                  <a:pt x="100" y="238"/>
                  <a:pt x="100" y="239"/>
                </a:cubicBezTo>
                <a:cubicBezTo>
                  <a:pt x="99" y="240"/>
                  <a:pt x="98" y="240"/>
                  <a:pt x="97" y="241"/>
                </a:cubicBezTo>
                <a:cubicBezTo>
                  <a:pt x="95" y="242"/>
                  <a:pt x="94" y="242"/>
                  <a:pt x="94" y="242"/>
                </a:cubicBezTo>
                <a:cubicBezTo>
                  <a:pt x="93" y="242"/>
                  <a:pt x="92" y="242"/>
                  <a:pt x="92" y="243"/>
                </a:cubicBezTo>
                <a:lnTo>
                  <a:pt x="93" y="246"/>
                </a:lnTo>
                <a:cubicBezTo>
                  <a:pt x="93" y="246"/>
                  <a:pt x="93" y="246"/>
                  <a:pt x="92" y="246"/>
                </a:cubicBezTo>
                <a:lnTo>
                  <a:pt x="92" y="246"/>
                </a:lnTo>
                <a:cubicBezTo>
                  <a:pt x="91" y="245"/>
                  <a:pt x="91" y="245"/>
                  <a:pt x="90" y="245"/>
                </a:cubicBezTo>
                <a:cubicBezTo>
                  <a:pt x="89" y="245"/>
                  <a:pt x="89" y="246"/>
                  <a:pt x="89" y="247"/>
                </a:cubicBezTo>
                <a:cubicBezTo>
                  <a:pt x="88" y="247"/>
                  <a:pt x="87" y="248"/>
                  <a:pt x="86" y="248"/>
                </a:cubicBezTo>
                <a:lnTo>
                  <a:pt x="85" y="247"/>
                </a:lnTo>
                <a:cubicBezTo>
                  <a:pt x="85" y="247"/>
                  <a:pt x="84" y="247"/>
                  <a:pt x="84" y="248"/>
                </a:cubicBezTo>
                <a:cubicBezTo>
                  <a:pt x="84" y="248"/>
                  <a:pt x="85" y="249"/>
                  <a:pt x="85" y="250"/>
                </a:cubicBezTo>
                <a:cubicBezTo>
                  <a:pt x="85" y="251"/>
                  <a:pt x="87" y="251"/>
                  <a:pt x="88" y="251"/>
                </a:cubicBezTo>
                <a:lnTo>
                  <a:pt x="89" y="251"/>
                </a:lnTo>
                <a:cubicBezTo>
                  <a:pt x="89" y="251"/>
                  <a:pt x="88" y="252"/>
                  <a:pt x="87" y="253"/>
                </a:cubicBezTo>
                <a:cubicBezTo>
                  <a:pt x="86" y="255"/>
                  <a:pt x="84" y="255"/>
                  <a:pt x="82" y="255"/>
                </a:cubicBezTo>
                <a:cubicBezTo>
                  <a:pt x="79" y="255"/>
                  <a:pt x="78" y="256"/>
                  <a:pt x="78" y="256"/>
                </a:cubicBezTo>
                <a:lnTo>
                  <a:pt x="79" y="257"/>
                </a:lnTo>
                <a:cubicBezTo>
                  <a:pt x="79" y="258"/>
                  <a:pt x="78" y="259"/>
                  <a:pt x="76" y="260"/>
                </a:cubicBezTo>
                <a:cubicBezTo>
                  <a:pt x="75" y="262"/>
                  <a:pt x="74" y="262"/>
                  <a:pt x="74" y="262"/>
                </a:cubicBezTo>
                <a:lnTo>
                  <a:pt x="81" y="262"/>
                </a:lnTo>
                <a:cubicBezTo>
                  <a:pt x="81" y="262"/>
                  <a:pt x="80" y="263"/>
                  <a:pt x="79" y="264"/>
                </a:cubicBezTo>
                <a:cubicBezTo>
                  <a:pt x="77" y="265"/>
                  <a:pt x="76" y="267"/>
                  <a:pt x="76" y="268"/>
                </a:cubicBezTo>
                <a:cubicBezTo>
                  <a:pt x="76" y="269"/>
                  <a:pt x="75" y="270"/>
                  <a:pt x="74" y="272"/>
                </a:cubicBezTo>
                <a:cubicBezTo>
                  <a:pt x="69" y="278"/>
                  <a:pt x="66" y="281"/>
                  <a:pt x="64" y="283"/>
                </a:cubicBezTo>
                <a:lnTo>
                  <a:pt x="65" y="281"/>
                </a:lnTo>
                <a:lnTo>
                  <a:pt x="65" y="280"/>
                </a:lnTo>
                <a:cubicBezTo>
                  <a:pt x="65" y="279"/>
                  <a:pt x="65" y="279"/>
                  <a:pt x="64" y="279"/>
                </a:cubicBezTo>
                <a:cubicBezTo>
                  <a:pt x="63" y="279"/>
                  <a:pt x="62" y="280"/>
                  <a:pt x="62" y="281"/>
                </a:cubicBezTo>
                <a:cubicBezTo>
                  <a:pt x="62" y="283"/>
                  <a:pt x="63" y="283"/>
                  <a:pt x="63" y="283"/>
                </a:cubicBezTo>
                <a:lnTo>
                  <a:pt x="61" y="283"/>
                </a:lnTo>
                <a:cubicBezTo>
                  <a:pt x="61" y="282"/>
                  <a:pt x="60" y="282"/>
                  <a:pt x="60" y="282"/>
                </a:cubicBezTo>
                <a:cubicBezTo>
                  <a:pt x="59" y="282"/>
                  <a:pt x="59" y="283"/>
                  <a:pt x="59" y="284"/>
                </a:cubicBezTo>
                <a:cubicBezTo>
                  <a:pt x="59" y="285"/>
                  <a:pt x="59" y="285"/>
                  <a:pt x="60" y="286"/>
                </a:cubicBezTo>
                <a:cubicBezTo>
                  <a:pt x="60" y="286"/>
                  <a:pt x="60" y="286"/>
                  <a:pt x="61" y="287"/>
                </a:cubicBezTo>
                <a:cubicBezTo>
                  <a:pt x="61" y="288"/>
                  <a:pt x="60" y="289"/>
                  <a:pt x="59" y="289"/>
                </a:cubicBezTo>
                <a:cubicBezTo>
                  <a:pt x="57" y="290"/>
                  <a:pt x="56" y="291"/>
                  <a:pt x="55" y="293"/>
                </a:cubicBezTo>
                <a:cubicBezTo>
                  <a:pt x="54" y="294"/>
                  <a:pt x="53" y="295"/>
                  <a:pt x="53" y="296"/>
                </a:cubicBezTo>
                <a:lnTo>
                  <a:pt x="53" y="298"/>
                </a:lnTo>
                <a:lnTo>
                  <a:pt x="54" y="295"/>
                </a:lnTo>
                <a:cubicBezTo>
                  <a:pt x="55" y="294"/>
                  <a:pt x="56" y="293"/>
                  <a:pt x="57" y="293"/>
                </a:cubicBezTo>
                <a:cubicBezTo>
                  <a:pt x="57" y="293"/>
                  <a:pt x="58" y="294"/>
                  <a:pt x="58" y="294"/>
                </a:cubicBezTo>
                <a:cubicBezTo>
                  <a:pt x="58" y="295"/>
                  <a:pt x="57" y="296"/>
                  <a:pt x="56" y="298"/>
                </a:cubicBezTo>
                <a:cubicBezTo>
                  <a:pt x="54" y="301"/>
                  <a:pt x="52" y="302"/>
                  <a:pt x="50" y="302"/>
                </a:cubicBezTo>
                <a:cubicBezTo>
                  <a:pt x="48" y="302"/>
                  <a:pt x="48" y="303"/>
                  <a:pt x="48" y="303"/>
                </a:cubicBezTo>
                <a:cubicBezTo>
                  <a:pt x="48" y="303"/>
                  <a:pt x="48" y="304"/>
                  <a:pt x="48" y="304"/>
                </a:cubicBezTo>
                <a:cubicBezTo>
                  <a:pt x="49" y="305"/>
                  <a:pt x="49" y="306"/>
                  <a:pt x="49" y="306"/>
                </a:cubicBezTo>
                <a:cubicBezTo>
                  <a:pt x="49" y="307"/>
                  <a:pt x="48" y="309"/>
                  <a:pt x="46" y="310"/>
                </a:cubicBezTo>
                <a:cubicBezTo>
                  <a:pt x="44" y="312"/>
                  <a:pt x="43" y="313"/>
                  <a:pt x="43" y="314"/>
                </a:cubicBezTo>
                <a:cubicBezTo>
                  <a:pt x="43" y="315"/>
                  <a:pt x="44" y="316"/>
                  <a:pt x="46" y="317"/>
                </a:cubicBezTo>
                <a:cubicBezTo>
                  <a:pt x="48" y="318"/>
                  <a:pt x="48" y="319"/>
                  <a:pt x="48" y="320"/>
                </a:cubicBezTo>
                <a:lnTo>
                  <a:pt x="48" y="320"/>
                </a:lnTo>
                <a:lnTo>
                  <a:pt x="41" y="318"/>
                </a:lnTo>
                <a:cubicBezTo>
                  <a:pt x="40" y="318"/>
                  <a:pt x="40" y="318"/>
                  <a:pt x="39" y="318"/>
                </a:cubicBezTo>
                <a:lnTo>
                  <a:pt x="40" y="319"/>
                </a:lnTo>
                <a:cubicBezTo>
                  <a:pt x="41" y="320"/>
                  <a:pt x="41" y="321"/>
                  <a:pt x="42" y="322"/>
                </a:cubicBezTo>
                <a:cubicBezTo>
                  <a:pt x="42" y="323"/>
                  <a:pt x="43" y="324"/>
                  <a:pt x="43" y="325"/>
                </a:cubicBezTo>
                <a:cubicBezTo>
                  <a:pt x="43" y="325"/>
                  <a:pt x="42" y="326"/>
                  <a:pt x="42" y="326"/>
                </a:cubicBezTo>
                <a:lnTo>
                  <a:pt x="41" y="325"/>
                </a:lnTo>
                <a:lnTo>
                  <a:pt x="39" y="326"/>
                </a:lnTo>
                <a:cubicBezTo>
                  <a:pt x="37" y="327"/>
                  <a:pt x="36" y="328"/>
                  <a:pt x="36" y="330"/>
                </a:cubicBezTo>
                <a:cubicBezTo>
                  <a:pt x="36" y="330"/>
                  <a:pt x="36" y="330"/>
                  <a:pt x="37" y="330"/>
                </a:cubicBezTo>
                <a:cubicBezTo>
                  <a:pt x="37" y="330"/>
                  <a:pt x="37" y="331"/>
                  <a:pt x="37" y="331"/>
                </a:cubicBezTo>
                <a:cubicBezTo>
                  <a:pt x="37" y="331"/>
                  <a:pt x="37" y="331"/>
                  <a:pt x="35" y="332"/>
                </a:cubicBezTo>
                <a:cubicBezTo>
                  <a:pt x="34" y="333"/>
                  <a:pt x="34" y="333"/>
                  <a:pt x="34" y="334"/>
                </a:cubicBezTo>
                <a:cubicBezTo>
                  <a:pt x="34" y="334"/>
                  <a:pt x="34" y="334"/>
                  <a:pt x="35" y="334"/>
                </a:cubicBezTo>
                <a:cubicBezTo>
                  <a:pt x="36" y="334"/>
                  <a:pt x="37" y="333"/>
                  <a:pt x="38" y="331"/>
                </a:cubicBezTo>
                <a:cubicBezTo>
                  <a:pt x="40" y="329"/>
                  <a:pt x="40" y="328"/>
                  <a:pt x="41" y="328"/>
                </a:cubicBezTo>
                <a:lnTo>
                  <a:pt x="41" y="329"/>
                </a:lnTo>
                <a:cubicBezTo>
                  <a:pt x="41" y="330"/>
                  <a:pt x="39" y="333"/>
                  <a:pt x="37" y="340"/>
                </a:cubicBezTo>
                <a:cubicBezTo>
                  <a:pt x="34" y="346"/>
                  <a:pt x="32" y="349"/>
                  <a:pt x="32" y="350"/>
                </a:cubicBezTo>
                <a:cubicBezTo>
                  <a:pt x="31" y="351"/>
                  <a:pt x="30" y="354"/>
                  <a:pt x="27" y="361"/>
                </a:cubicBezTo>
                <a:cubicBezTo>
                  <a:pt x="25" y="368"/>
                  <a:pt x="23" y="372"/>
                  <a:pt x="23" y="373"/>
                </a:cubicBezTo>
                <a:cubicBezTo>
                  <a:pt x="23" y="374"/>
                  <a:pt x="25" y="374"/>
                  <a:pt x="27" y="374"/>
                </a:cubicBezTo>
                <a:cubicBezTo>
                  <a:pt x="27" y="374"/>
                  <a:pt x="28" y="374"/>
                  <a:pt x="28" y="372"/>
                </a:cubicBezTo>
                <a:lnTo>
                  <a:pt x="28" y="370"/>
                </a:lnTo>
                <a:cubicBezTo>
                  <a:pt x="28" y="367"/>
                  <a:pt x="31" y="358"/>
                  <a:pt x="38" y="345"/>
                </a:cubicBezTo>
                <a:cubicBezTo>
                  <a:pt x="45" y="332"/>
                  <a:pt x="52" y="319"/>
                  <a:pt x="60" y="306"/>
                </a:cubicBezTo>
                <a:cubicBezTo>
                  <a:pt x="69" y="293"/>
                  <a:pt x="75" y="285"/>
                  <a:pt x="79" y="281"/>
                </a:cubicBezTo>
                <a:lnTo>
                  <a:pt x="81" y="280"/>
                </a:lnTo>
                <a:cubicBezTo>
                  <a:pt x="81" y="280"/>
                  <a:pt x="80" y="281"/>
                  <a:pt x="79" y="283"/>
                </a:cubicBezTo>
                <a:cubicBezTo>
                  <a:pt x="75" y="288"/>
                  <a:pt x="73" y="292"/>
                  <a:pt x="71" y="296"/>
                </a:cubicBezTo>
                <a:cubicBezTo>
                  <a:pt x="71" y="297"/>
                  <a:pt x="71" y="297"/>
                  <a:pt x="70" y="297"/>
                </a:cubicBezTo>
                <a:cubicBezTo>
                  <a:pt x="68" y="301"/>
                  <a:pt x="65" y="305"/>
                  <a:pt x="62" y="309"/>
                </a:cubicBezTo>
                <a:cubicBezTo>
                  <a:pt x="58" y="313"/>
                  <a:pt x="57" y="316"/>
                  <a:pt x="57" y="318"/>
                </a:cubicBezTo>
                <a:cubicBezTo>
                  <a:pt x="56" y="323"/>
                  <a:pt x="54" y="326"/>
                  <a:pt x="52" y="326"/>
                </a:cubicBezTo>
                <a:cubicBezTo>
                  <a:pt x="52" y="326"/>
                  <a:pt x="51" y="326"/>
                  <a:pt x="51" y="327"/>
                </a:cubicBezTo>
                <a:lnTo>
                  <a:pt x="51" y="328"/>
                </a:lnTo>
                <a:cubicBezTo>
                  <a:pt x="51" y="330"/>
                  <a:pt x="50" y="332"/>
                  <a:pt x="48" y="334"/>
                </a:cubicBezTo>
                <a:cubicBezTo>
                  <a:pt x="46" y="337"/>
                  <a:pt x="45" y="339"/>
                  <a:pt x="45" y="340"/>
                </a:cubicBezTo>
                <a:cubicBezTo>
                  <a:pt x="45" y="340"/>
                  <a:pt x="45" y="341"/>
                  <a:pt x="46" y="342"/>
                </a:cubicBezTo>
                <a:cubicBezTo>
                  <a:pt x="46" y="343"/>
                  <a:pt x="47" y="344"/>
                  <a:pt x="47" y="344"/>
                </a:cubicBezTo>
                <a:cubicBezTo>
                  <a:pt x="47" y="344"/>
                  <a:pt x="46" y="344"/>
                  <a:pt x="45" y="344"/>
                </a:cubicBezTo>
                <a:lnTo>
                  <a:pt x="44" y="344"/>
                </a:lnTo>
                <a:lnTo>
                  <a:pt x="44" y="346"/>
                </a:lnTo>
                <a:cubicBezTo>
                  <a:pt x="44" y="347"/>
                  <a:pt x="43" y="348"/>
                  <a:pt x="42" y="349"/>
                </a:cubicBezTo>
                <a:cubicBezTo>
                  <a:pt x="40" y="351"/>
                  <a:pt x="39" y="353"/>
                  <a:pt x="39" y="353"/>
                </a:cubicBezTo>
                <a:cubicBezTo>
                  <a:pt x="39" y="356"/>
                  <a:pt x="38" y="358"/>
                  <a:pt x="35" y="360"/>
                </a:cubicBezTo>
                <a:cubicBezTo>
                  <a:pt x="34" y="362"/>
                  <a:pt x="33" y="363"/>
                  <a:pt x="33" y="364"/>
                </a:cubicBezTo>
                <a:cubicBezTo>
                  <a:pt x="33" y="364"/>
                  <a:pt x="33" y="365"/>
                  <a:pt x="34" y="365"/>
                </a:cubicBezTo>
                <a:cubicBezTo>
                  <a:pt x="34" y="365"/>
                  <a:pt x="35" y="365"/>
                  <a:pt x="35" y="365"/>
                </a:cubicBezTo>
                <a:cubicBezTo>
                  <a:pt x="35" y="366"/>
                  <a:pt x="34" y="367"/>
                  <a:pt x="33" y="367"/>
                </a:cubicBezTo>
                <a:cubicBezTo>
                  <a:pt x="32" y="369"/>
                  <a:pt x="32" y="370"/>
                  <a:pt x="32" y="370"/>
                </a:cubicBezTo>
                <a:cubicBezTo>
                  <a:pt x="32" y="370"/>
                  <a:pt x="32" y="371"/>
                  <a:pt x="33" y="371"/>
                </a:cubicBezTo>
                <a:cubicBezTo>
                  <a:pt x="35" y="371"/>
                  <a:pt x="35" y="371"/>
                  <a:pt x="35" y="371"/>
                </a:cubicBezTo>
                <a:cubicBezTo>
                  <a:pt x="35" y="372"/>
                  <a:pt x="35" y="372"/>
                  <a:pt x="34" y="372"/>
                </a:cubicBezTo>
                <a:cubicBezTo>
                  <a:pt x="33" y="373"/>
                  <a:pt x="32" y="376"/>
                  <a:pt x="30" y="380"/>
                </a:cubicBezTo>
                <a:cubicBezTo>
                  <a:pt x="29" y="384"/>
                  <a:pt x="28" y="389"/>
                  <a:pt x="27" y="394"/>
                </a:cubicBezTo>
                <a:cubicBezTo>
                  <a:pt x="27" y="400"/>
                  <a:pt x="26" y="404"/>
                  <a:pt x="26" y="408"/>
                </a:cubicBezTo>
                <a:cubicBezTo>
                  <a:pt x="26" y="411"/>
                  <a:pt x="27" y="412"/>
                  <a:pt x="27" y="412"/>
                </a:cubicBezTo>
                <a:lnTo>
                  <a:pt x="28" y="412"/>
                </a:lnTo>
                <a:cubicBezTo>
                  <a:pt x="29" y="412"/>
                  <a:pt x="29" y="413"/>
                  <a:pt x="29" y="415"/>
                </a:cubicBezTo>
                <a:cubicBezTo>
                  <a:pt x="29" y="417"/>
                  <a:pt x="31" y="418"/>
                  <a:pt x="34" y="418"/>
                </a:cubicBezTo>
                <a:cubicBezTo>
                  <a:pt x="37" y="418"/>
                  <a:pt x="39" y="418"/>
                  <a:pt x="40" y="419"/>
                </a:cubicBezTo>
                <a:cubicBezTo>
                  <a:pt x="40" y="420"/>
                  <a:pt x="42" y="420"/>
                  <a:pt x="45" y="420"/>
                </a:cubicBezTo>
                <a:cubicBezTo>
                  <a:pt x="46" y="420"/>
                  <a:pt x="48" y="420"/>
                  <a:pt x="50" y="419"/>
                </a:cubicBezTo>
                <a:cubicBezTo>
                  <a:pt x="53" y="419"/>
                  <a:pt x="55" y="419"/>
                  <a:pt x="56" y="419"/>
                </a:cubicBezTo>
                <a:cubicBezTo>
                  <a:pt x="58" y="419"/>
                  <a:pt x="59" y="419"/>
                  <a:pt x="60" y="419"/>
                </a:cubicBezTo>
                <a:cubicBezTo>
                  <a:pt x="60" y="420"/>
                  <a:pt x="66" y="421"/>
                  <a:pt x="77" y="421"/>
                </a:cubicBezTo>
                <a:cubicBezTo>
                  <a:pt x="86" y="421"/>
                  <a:pt x="91" y="421"/>
                  <a:pt x="91" y="421"/>
                </a:cubicBezTo>
                <a:lnTo>
                  <a:pt x="91" y="421"/>
                </a:lnTo>
                <a:cubicBezTo>
                  <a:pt x="89" y="422"/>
                  <a:pt x="87" y="423"/>
                  <a:pt x="87" y="424"/>
                </a:cubicBezTo>
                <a:cubicBezTo>
                  <a:pt x="87" y="424"/>
                  <a:pt x="86" y="425"/>
                  <a:pt x="84" y="425"/>
                </a:cubicBezTo>
                <a:lnTo>
                  <a:pt x="83" y="424"/>
                </a:lnTo>
                <a:cubicBezTo>
                  <a:pt x="82" y="424"/>
                  <a:pt x="82" y="425"/>
                  <a:pt x="82" y="426"/>
                </a:cubicBezTo>
                <a:cubicBezTo>
                  <a:pt x="82" y="427"/>
                  <a:pt x="82" y="427"/>
                  <a:pt x="84" y="427"/>
                </a:cubicBezTo>
                <a:lnTo>
                  <a:pt x="97" y="426"/>
                </a:lnTo>
                <a:cubicBezTo>
                  <a:pt x="100" y="426"/>
                  <a:pt x="103" y="426"/>
                  <a:pt x="104" y="427"/>
                </a:cubicBezTo>
                <a:cubicBezTo>
                  <a:pt x="104" y="428"/>
                  <a:pt x="105" y="429"/>
                  <a:pt x="106" y="429"/>
                </a:cubicBezTo>
                <a:cubicBezTo>
                  <a:pt x="107" y="429"/>
                  <a:pt x="108" y="428"/>
                  <a:pt x="108" y="426"/>
                </a:cubicBezTo>
                <a:lnTo>
                  <a:pt x="105" y="427"/>
                </a:lnTo>
                <a:lnTo>
                  <a:pt x="106" y="426"/>
                </a:lnTo>
                <a:cubicBezTo>
                  <a:pt x="107" y="426"/>
                  <a:pt x="109" y="425"/>
                  <a:pt x="112" y="424"/>
                </a:cubicBezTo>
                <a:cubicBezTo>
                  <a:pt x="115" y="424"/>
                  <a:pt x="118" y="423"/>
                  <a:pt x="121" y="423"/>
                </a:cubicBezTo>
                <a:cubicBezTo>
                  <a:pt x="123" y="423"/>
                  <a:pt x="124" y="423"/>
                  <a:pt x="125" y="424"/>
                </a:cubicBezTo>
                <a:cubicBezTo>
                  <a:pt x="126" y="424"/>
                  <a:pt x="127" y="424"/>
                  <a:pt x="129" y="424"/>
                </a:cubicBezTo>
                <a:cubicBezTo>
                  <a:pt x="129" y="424"/>
                  <a:pt x="129" y="425"/>
                  <a:pt x="130" y="426"/>
                </a:cubicBezTo>
                <a:cubicBezTo>
                  <a:pt x="131" y="427"/>
                  <a:pt x="131" y="428"/>
                  <a:pt x="131" y="428"/>
                </a:cubicBezTo>
                <a:cubicBezTo>
                  <a:pt x="131" y="429"/>
                  <a:pt x="131" y="429"/>
                  <a:pt x="131" y="429"/>
                </a:cubicBezTo>
                <a:cubicBezTo>
                  <a:pt x="130" y="429"/>
                  <a:pt x="129" y="429"/>
                  <a:pt x="128" y="428"/>
                </a:cubicBezTo>
                <a:cubicBezTo>
                  <a:pt x="127" y="427"/>
                  <a:pt x="126" y="427"/>
                  <a:pt x="125" y="427"/>
                </a:cubicBezTo>
                <a:cubicBezTo>
                  <a:pt x="124" y="427"/>
                  <a:pt x="123" y="427"/>
                  <a:pt x="123" y="428"/>
                </a:cubicBezTo>
                <a:cubicBezTo>
                  <a:pt x="123" y="429"/>
                  <a:pt x="124" y="430"/>
                  <a:pt x="125" y="431"/>
                </a:cubicBezTo>
                <a:cubicBezTo>
                  <a:pt x="125" y="433"/>
                  <a:pt x="126" y="433"/>
                  <a:pt x="126" y="434"/>
                </a:cubicBezTo>
                <a:cubicBezTo>
                  <a:pt x="126" y="434"/>
                  <a:pt x="125" y="433"/>
                  <a:pt x="123" y="432"/>
                </a:cubicBezTo>
                <a:cubicBezTo>
                  <a:pt x="122" y="431"/>
                  <a:pt x="119" y="431"/>
                  <a:pt x="115" y="431"/>
                </a:cubicBezTo>
                <a:cubicBezTo>
                  <a:pt x="108" y="431"/>
                  <a:pt x="103" y="432"/>
                  <a:pt x="100" y="433"/>
                </a:cubicBezTo>
                <a:cubicBezTo>
                  <a:pt x="99" y="434"/>
                  <a:pt x="95" y="435"/>
                  <a:pt x="89" y="435"/>
                </a:cubicBezTo>
                <a:cubicBezTo>
                  <a:pt x="82" y="436"/>
                  <a:pt x="78" y="437"/>
                  <a:pt x="78" y="437"/>
                </a:cubicBezTo>
                <a:cubicBezTo>
                  <a:pt x="78" y="438"/>
                  <a:pt x="80" y="438"/>
                  <a:pt x="86" y="438"/>
                </a:cubicBezTo>
                <a:cubicBezTo>
                  <a:pt x="92" y="438"/>
                  <a:pt x="95" y="438"/>
                  <a:pt x="95" y="438"/>
                </a:cubicBezTo>
                <a:cubicBezTo>
                  <a:pt x="95" y="439"/>
                  <a:pt x="94" y="439"/>
                  <a:pt x="94" y="439"/>
                </a:cubicBezTo>
                <a:cubicBezTo>
                  <a:pt x="93" y="440"/>
                  <a:pt x="91" y="440"/>
                  <a:pt x="90" y="440"/>
                </a:cubicBezTo>
                <a:cubicBezTo>
                  <a:pt x="88" y="440"/>
                  <a:pt x="86" y="440"/>
                  <a:pt x="83" y="440"/>
                </a:cubicBezTo>
                <a:cubicBezTo>
                  <a:pt x="80" y="441"/>
                  <a:pt x="78" y="441"/>
                  <a:pt x="75" y="441"/>
                </a:cubicBezTo>
                <a:cubicBezTo>
                  <a:pt x="73" y="442"/>
                  <a:pt x="71" y="442"/>
                  <a:pt x="70" y="442"/>
                </a:cubicBezTo>
                <a:close/>
                <a:moveTo>
                  <a:pt x="307" y="53"/>
                </a:moveTo>
                <a:cubicBezTo>
                  <a:pt x="309" y="52"/>
                  <a:pt x="310" y="51"/>
                  <a:pt x="310" y="50"/>
                </a:cubicBezTo>
                <a:cubicBezTo>
                  <a:pt x="309" y="49"/>
                  <a:pt x="309" y="49"/>
                  <a:pt x="308" y="49"/>
                </a:cubicBezTo>
                <a:cubicBezTo>
                  <a:pt x="307" y="49"/>
                  <a:pt x="306" y="50"/>
                  <a:pt x="306" y="51"/>
                </a:cubicBezTo>
                <a:lnTo>
                  <a:pt x="306" y="52"/>
                </a:lnTo>
                <a:cubicBezTo>
                  <a:pt x="306" y="52"/>
                  <a:pt x="306" y="53"/>
                  <a:pt x="306" y="53"/>
                </a:cubicBezTo>
                <a:lnTo>
                  <a:pt x="307" y="53"/>
                </a:lnTo>
                <a:close/>
                <a:moveTo>
                  <a:pt x="298" y="59"/>
                </a:moveTo>
                <a:cubicBezTo>
                  <a:pt x="299" y="59"/>
                  <a:pt x="299" y="58"/>
                  <a:pt x="299" y="56"/>
                </a:cubicBezTo>
                <a:cubicBezTo>
                  <a:pt x="299" y="55"/>
                  <a:pt x="299" y="54"/>
                  <a:pt x="298" y="54"/>
                </a:cubicBezTo>
                <a:lnTo>
                  <a:pt x="298" y="54"/>
                </a:lnTo>
                <a:cubicBezTo>
                  <a:pt x="297" y="55"/>
                  <a:pt x="296" y="55"/>
                  <a:pt x="296" y="56"/>
                </a:cubicBezTo>
                <a:cubicBezTo>
                  <a:pt x="296" y="56"/>
                  <a:pt x="297" y="57"/>
                  <a:pt x="297" y="58"/>
                </a:cubicBezTo>
                <a:cubicBezTo>
                  <a:pt x="298" y="59"/>
                  <a:pt x="298" y="59"/>
                  <a:pt x="298" y="59"/>
                </a:cubicBezTo>
                <a:close/>
                <a:moveTo>
                  <a:pt x="66" y="277"/>
                </a:moveTo>
                <a:cubicBezTo>
                  <a:pt x="68" y="277"/>
                  <a:pt x="68" y="276"/>
                  <a:pt x="68" y="274"/>
                </a:cubicBezTo>
                <a:cubicBezTo>
                  <a:pt x="68" y="273"/>
                  <a:pt x="68" y="272"/>
                  <a:pt x="67" y="272"/>
                </a:cubicBezTo>
                <a:lnTo>
                  <a:pt x="66" y="272"/>
                </a:lnTo>
                <a:cubicBezTo>
                  <a:pt x="65" y="273"/>
                  <a:pt x="64" y="274"/>
                  <a:pt x="64" y="275"/>
                </a:cubicBezTo>
                <a:cubicBezTo>
                  <a:pt x="64" y="277"/>
                  <a:pt x="65" y="277"/>
                  <a:pt x="66" y="277"/>
                </a:cubicBezTo>
                <a:close/>
                <a:moveTo>
                  <a:pt x="32" y="342"/>
                </a:moveTo>
                <a:lnTo>
                  <a:pt x="34" y="340"/>
                </a:lnTo>
                <a:cubicBezTo>
                  <a:pt x="35" y="339"/>
                  <a:pt x="35" y="338"/>
                  <a:pt x="35" y="338"/>
                </a:cubicBezTo>
                <a:cubicBezTo>
                  <a:pt x="35" y="337"/>
                  <a:pt x="35" y="337"/>
                  <a:pt x="35" y="337"/>
                </a:cubicBezTo>
                <a:cubicBezTo>
                  <a:pt x="34" y="337"/>
                  <a:pt x="33" y="338"/>
                  <a:pt x="33" y="340"/>
                </a:cubicBezTo>
                <a:lnTo>
                  <a:pt x="32" y="342"/>
                </a:lnTo>
                <a:close/>
                <a:moveTo>
                  <a:pt x="12" y="385"/>
                </a:moveTo>
                <a:cubicBezTo>
                  <a:pt x="12" y="385"/>
                  <a:pt x="12" y="384"/>
                  <a:pt x="12" y="384"/>
                </a:cubicBezTo>
                <a:cubicBezTo>
                  <a:pt x="12" y="384"/>
                  <a:pt x="12" y="384"/>
                  <a:pt x="11" y="383"/>
                </a:cubicBezTo>
                <a:cubicBezTo>
                  <a:pt x="10" y="382"/>
                  <a:pt x="10" y="382"/>
                  <a:pt x="9" y="382"/>
                </a:cubicBezTo>
                <a:cubicBezTo>
                  <a:pt x="8" y="382"/>
                  <a:pt x="8" y="382"/>
                  <a:pt x="8" y="383"/>
                </a:cubicBezTo>
                <a:cubicBezTo>
                  <a:pt x="8" y="384"/>
                  <a:pt x="8" y="384"/>
                  <a:pt x="8" y="384"/>
                </a:cubicBezTo>
                <a:cubicBezTo>
                  <a:pt x="9" y="384"/>
                  <a:pt x="9" y="384"/>
                  <a:pt x="10" y="385"/>
                </a:cubicBezTo>
                <a:lnTo>
                  <a:pt x="12" y="385"/>
                </a:lnTo>
                <a:close/>
                <a:moveTo>
                  <a:pt x="13" y="366"/>
                </a:moveTo>
                <a:cubicBezTo>
                  <a:pt x="13" y="366"/>
                  <a:pt x="14" y="365"/>
                  <a:pt x="15" y="362"/>
                </a:cubicBezTo>
                <a:cubicBezTo>
                  <a:pt x="17" y="359"/>
                  <a:pt x="18" y="357"/>
                  <a:pt x="18" y="355"/>
                </a:cubicBezTo>
                <a:lnTo>
                  <a:pt x="18" y="355"/>
                </a:lnTo>
                <a:cubicBezTo>
                  <a:pt x="17" y="355"/>
                  <a:pt x="16" y="357"/>
                  <a:pt x="15" y="359"/>
                </a:cubicBezTo>
                <a:cubicBezTo>
                  <a:pt x="13" y="362"/>
                  <a:pt x="12" y="365"/>
                  <a:pt x="12" y="366"/>
                </a:cubicBezTo>
                <a:cubicBezTo>
                  <a:pt x="12" y="366"/>
                  <a:pt x="12" y="366"/>
                  <a:pt x="13" y="366"/>
                </a:cubicBezTo>
                <a:close/>
                <a:moveTo>
                  <a:pt x="20" y="345"/>
                </a:moveTo>
                <a:cubicBezTo>
                  <a:pt x="21" y="345"/>
                  <a:pt x="22" y="345"/>
                  <a:pt x="23" y="344"/>
                </a:cubicBezTo>
                <a:cubicBezTo>
                  <a:pt x="23" y="343"/>
                  <a:pt x="24" y="341"/>
                  <a:pt x="24" y="340"/>
                </a:cubicBezTo>
                <a:lnTo>
                  <a:pt x="24" y="339"/>
                </a:lnTo>
                <a:lnTo>
                  <a:pt x="23" y="339"/>
                </a:lnTo>
                <a:cubicBezTo>
                  <a:pt x="23" y="339"/>
                  <a:pt x="22" y="340"/>
                  <a:pt x="21" y="341"/>
                </a:cubicBezTo>
                <a:cubicBezTo>
                  <a:pt x="20" y="343"/>
                  <a:pt x="20" y="344"/>
                  <a:pt x="20" y="345"/>
                </a:cubicBezTo>
                <a:cubicBezTo>
                  <a:pt x="20" y="345"/>
                  <a:pt x="20" y="345"/>
                  <a:pt x="20" y="345"/>
                </a:cubicBezTo>
                <a:close/>
                <a:moveTo>
                  <a:pt x="95" y="213"/>
                </a:moveTo>
                <a:cubicBezTo>
                  <a:pt x="97" y="212"/>
                  <a:pt x="99" y="210"/>
                  <a:pt x="101" y="207"/>
                </a:cubicBezTo>
                <a:lnTo>
                  <a:pt x="103" y="203"/>
                </a:lnTo>
                <a:lnTo>
                  <a:pt x="103" y="203"/>
                </a:lnTo>
                <a:cubicBezTo>
                  <a:pt x="102" y="203"/>
                  <a:pt x="100" y="205"/>
                  <a:pt x="97" y="208"/>
                </a:cubicBezTo>
                <a:cubicBezTo>
                  <a:pt x="96" y="210"/>
                  <a:pt x="95" y="212"/>
                  <a:pt x="95" y="213"/>
                </a:cubicBezTo>
                <a:lnTo>
                  <a:pt x="95" y="213"/>
                </a:lnTo>
                <a:close/>
                <a:moveTo>
                  <a:pt x="106" y="195"/>
                </a:moveTo>
                <a:close/>
                <a:moveTo>
                  <a:pt x="84" y="275"/>
                </a:moveTo>
                <a:cubicBezTo>
                  <a:pt x="84" y="274"/>
                  <a:pt x="85" y="273"/>
                  <a:pt x="86" y="271"/>
                </a:cubicBezTo>
                <a:cubicBezTo>
                  <a:pt x="89" y="269"/>
                  <a:pt x="90" y="267"/>
                  <a:pt x="91" y="267"/>
                </a:cubicBezTo>
                <a:lnTo>
                  <a:pt x="91" y="267"/>
                </a:lnTo>
                <a:cubicBezTo>
                  <a:pt x="91" y="268"/>
                  <a:pt x="91" y="268"/>
                  <a:pt x="90" y="269"/>
                </a:cubicBezTo>
                <a:cubicBezTo>
                  <a:pt x="89" y="270"/>
                  <a:pt x="89" y="270"/>
                  <a:pt x="88" y="271"/>
                </a:cubicBezTo>
                <a:cubicBezTo>
                  <a:pt x="87" y="272"/>
                  <a:pt x="87" y="273"/>
                  <a:pt x="86" y="274"/>
                </a:cubicBezTo>
                <a:cubicBezTo>
                  <a:pt x="85" y="275"/>
                  <a:pt x="84" y="275"/>
                  <a:pt x="84" y="275"/>
                </a:cubicBezTo>
                <a:close/>
                <a:moveTo>
                  <a:pt x="63" y="283"/>
                </a:moveTo>
                <a:lnTo>
                  <a:pt x="64" y="283"/>
                </a:lnTo>
                <a:lnTo>
                  <a:pt x="63" y="283"/>
                </a:lnTo>
                <a:close/>
                <a:moveTo>
                  <a:pt x="107" y="195"/>
                </a:moveTo>
                <a:cubicBezTo>
                  <a:pt x="107" y="195"/>
                  <a:pt x="106" y="195"/>
                  <a:pt x="106" y="195"/>
                </a:cubicBezTo>
                <a:cubicBezTo>
                  <a:pt x="106" y="194"/>
                  <a:pt x="107" y="194"/>
                  <a:pt x="108" y="193"/>
                </a:cubicBezTo>
                <a:cubicBezTo>
                  <a:pt x="109" y="193"/>
                  <a:pt x="109" y="192"/>
                  <a:pt x="111" y="191"/>
                </a:cubicBezTo>
                <a:lnTo>
                  <a:pt x="112" y="189"/>
                </a:lnTo>
                <a:lnTo>
                  <a:pt x="113" y="190"/>
                </a:lnTo>
                <a:lnTo>
                  <a:pt x="110" y="192"/>
                </a:lnTo>
                <a:cubicBezTo>
                  <a:pt x="109" y="194"/>
                  <a:pt x="108" y="195"/>
                  <a:pt x="107" y="195"/>
                </a:cubicBezTo>
                <a:close/>
                <a:moveTo>
                  <a:pt x="356" y="38"/>
                </a:moveTo>
                <a:lnTo>
                  <a:pt x="353" y="38"/>
                </a:lnTo>
                <a:cubicBezTo>
                  <a:pt x="353" y="38"/>
                  <a:pt x="353" y="37"/>
                  <a:pt x="355" y="36"/>
                </a:cubicBezTo>
                <a:cubicBezTo>
                  <a:pt x="356" y="36"/>
                  <a:pt x="357" y="36"/>
                  <a:pt x="358" y="36"/>
                </a:cubicBezTo>
                <a:cubicBezTo>
                  <a:pt x="358" y="36"/>
                  <a:pt x="359" y="36"/>
                  <a:pt x="359" y="36"/>
                </a:cubicBezTo>
                <a:cubicBezTo>
                  <a:pt x="360" y="36"/>
                  <a:pt x="360" y="36"/>
                  <a:pt x="360" y="36"/>
                </a:cubicBezTo>
                <a:cubicBezTo>
                  <a:pt x="360" y="37"/>
                  <a:pt x="358" y="38"/>
                  <a:pt x="356" y="38"/>
                </a:cubicBezTo>
                <a:close/>
                <a:moveTo>
                  <a:pt x="411" y="709"/>
                </a:moveTo>
                <a:cubicBezTo>
                  <a:pt x="409" y="709"/>
                  <a:pt x="407" y="709"/>
                  <a:pt x="407" y="709"/>
                </a:cubicBezTo>
                <a:cubicBezTo>
                  <a:pt x="407" y="708"/>
                  <a:pt x="408" y="708"/>
                  <a:pt x="409" y="708"/>
                </a:cubicBezTo>
                <a:lnTo>
                  <a:pt x="411" y="707"/>
                </a:lnTo>
                <a:cubicBezTo>
                  <a:pt x="413" y="707"/>
                  <a:pt x="414" y="707"/>
                  <a:pt x="414" y="708"/>
                </a:cubicBezTo>
                <a:cubicBezTo>
                  <a:pt x="414" y="709"/>
                  <a:pt x="413" y="709"/>
                  <a:pt x="411" y="709"/>
                </a:cubicBezTo>
                <a:close/>
                <a:moveTo>
                  <a:pt x="383" y="743"/>
                </a:moveTo>
                <a:cubicBezTo>
                  <a:pt x="382" y="743"/>
                  <a:pt x="382" y="743"/>
                  <a:pt x="382" y="742"/>
                </a:cubicBezTo>
                <a:cubicBezTo>
                  <a:pt x="382" y="741"/>
                  <a:pt x="382" y="740"/>
                  <a:pt x="384" y="737"/>
                </a:cubicBezTo>
                <a:cubicBezTo>
                  <a:pt x="386" y="736"/>
                  <a:pt x="388" y="734"/>
                  <a:pt x="390" y="731"/>
                </a:cubicBezTo>
                <a:cubicBezTo>
                  <a:pt x="392" y="729"/>
                  <a:pt x="395" y="726"/>
                  <a:pt x="397" y="723"/>
                </a:cubicBezTo>
                <a:cubicBezTo>
                  <a:pt x="400" y="719"/>
                  <a:pt x="401" y="718"/>
                  <a:pt x="402" y="718"/>
                </a:cubicBezTo>
                <a:lnTo>
                  <a:pt x="402" y="718"/>
                </a:lnTo>
                <a:cubicBezTo>
                  <a:pt x="402" y="719"/>
                  <a:pt x="399" y="724"/>
                  <a:pt x="393" y="733"/>
                </a:cubicBezTo>
                <a:cubicBezTo>
                  <a:pt x="388" y="740"/>
                  <a:pt x="385" y="743"/>
                  <a:pt x="383" y="743"/>
                </a:cubicBezTo>
                <a:close/>
                <a:moveTo>
                  <a:pt x="501" y="558"/>
                </a:moveTo>
                <a:cubicBezTo>
                  <a:pt x="501" y="558"/>
                  <a:pt x="501" y="558"/>
                  <a:pt x="501" y="556"/>
                </a:cubicBezTo>
                <a:cubicBezTo>
                  <a:pt x="501" y="554"/>
                  <a:pt x="503" y="551"/>
                  <a:pt x="507" y="547"/>
                </a:cubicBezTo>
                <a:cubicBezTo>
                  <a:pt x="510" y="544"/>
                  <a:pt x="512" y="543"/>
                  <a:pt x="513" y="543"/>
                </a:cubicBezTo>
                <a:cubicBezTo>
                  <a:pt x="513" y="543"/>
                  <a:pt x="511" y="545"/>
                  <a:pt x="508" y="549"/>
                </a:cubicBezTo>
                <a:cubicBezTo>
                  <a:pt x="504" y="554"/>
                  <a:pt x="502" y="557"/>
                  <a:pt x="502" y="557"/>
                </a:cubicBezTo>
                <a:cubicBezTo>
                  <a:pt x="502" y="558"/>
                  <a:pt x="502" y="558"/>
                  <a:pt x="501" y="558"/>
                </a:cubicBezTo>
                <a:close/>
                <a:moveTo>
                  <a:pt x="350" y="649"/>
                </a:moveTo>
                <a:cubicBezTo>
                  <a:pt x="349" y="649"/>
                  <a:pt x="348" y="648"/>
                  <a:pt x="347" y="646"/>
                </a:cubicBezTo>
                <a:cubicBezTo>
                  <a:pt x="347" y="645"/>
                  <a:pt x="346" y="644"/>
                  <a:pt x="346" y="643"/>
                </a:cubicBezTo>
                <a:cubicBezTo>
                  <a:pt x="346" y="642"/>
                  <a:pt x="347" y="641"/>
                  <a:pt x="347" y="641"/>
                </a:cubicBezTo>
                <a:cubicBezTo>
                  <a:pt x="348" y="641"/>
                  <a:pt x="349" y="642"/>
                  <a:pt x="350" y="644"/>
                </a:cubicBezTo>
                <a:lnTo>
                  <a:pt x="350" y="648"/>
                </a:lnTo>
                <a:cubicBezTo>
                  <a:pt x="350" y="649"/>
                  <a:pt x="350" y="649"/>
                  <a:pt x="350" y="649"/>
                </a:cubicBezTo>
                <a:close/>
                <a:moveTo>
                  <a:pt x="444" y="634"/>
                </a:moveTo>
                <a:cubicBezTo>
                  <a:pt x="444" y="634"/>
                  <a:pt x="444" y="633"/>
                  <a:pt x="444" y="632"/>
                </a:cubicBezTo>
                <a:cubicBezTo>
                  <a:pt x="444" y="631"/>
                  <a:pt x="444" y="630"/>
                  <a:pt x="446" y="627"/>
                </a:cubicBezTo>
                <a:cubicBezTo>
                  <a:pt x="458" y="612"/>
                  <a:pt x="464" y="605"/>
                  <a:pt x="466" y="605"/>
                </a:cubicBezTo>
                <a:cubicBezTo>
                  <a:pt x="466" y="605"/>
                  <a:pt x="466" y="605"/>
                  <a:pt x="466" y="606"/>
                </a:cubicBezTo>
                <a:cubicBezTo>
                  <a:pt x="466" y="608"/>
                  <a:pt x="466" y="610"/>
                  <a:pt x="464" y="610"/>
                </a:cubicBezTo>
                <a:cubicBezTo>
                  <a:pt x="463" y="610"/>
                  <a:pt x="461" y="613"/>
                  <a:pt x="457" y="620"/>
                </a:cubicBezTo>
                <a:cubicBezTo>
                  <a:pt x="455" y="624"/>
                  <a:pt x="453" y="627"/>
                  <a:pt x="450" y="630"/>
                </a:cubicBezTo>
                <a:cubicBezTo>
                  <a:pt x="448" y="632"/>
                  <a:pt x="446" y="634"/>
                  <a:pt x="444" y="634"/>
                </a:cubicBezTo>
                <a:close/>
                <a:moveTo>
                  <a:pt x="419" y="673"/>
                </a:moveTo>
                <a:lnTo>
                  <a:pt x="419" y="672"/>
                </a:lnTo>
                <a:cubicBezTo>
                  <a:pt x="419" y="672"/>
                  <a:pt x="420" y="670"/>
                  <a:pt x="421" y="666"/>
                </a:cubicBezTo>
                <a:cubicBezTo>
                  <a:pt x="424" y="661"/>
                  <a:pt x="426" y="658"/>
                  <a:pt x="427" y="658"/>
                </a:cubicBezTo>
                <a:cubicBezTo>
                  <a:pt x="429" y="658"/>
                  <a:pt x="429" y="657"/>
                  <a:pt x="429" y="654"/>
                </a:cubicBezTo>
                <a:cubicBezTo>
                  <a:pt x="429" y="651"/>
                  <a:pt x="430" y="649"/>
                  <a:pt x="433" y="648"/>
                </a:cubicBezTo>
                <a:lnTo>
                  <a:pt x="434" y="648"/>
                </a:lnTo>
                <a:cubicBezTo>
                  <a:pt x="435" y="648"/>
                  <a:pt x="435" y="648"/>
                  <a:pt x="435" y="648"/>
                </a:cubicBezTo>
                <a:cubicBezTo>
                  <a:pt x="435" y="650"/>
                  <a:pt x="433" y="654"/>
                  <a:pt x="429" y="660"/>
                </a:cubicBezTo>
                <a:cubicBezTo>
                  <a:pt x="423" y="669"/>
                  <a:pt x="420" y="673"/>
                  <a:pt x="419" y="673"/>
                </a:cubicBezTo>
                <a:close/>
                <a:moveTo>
                  <a:pt x="351" y="666"/>
                </a:moveTo>
                <a:cubicBezTo>
                  <a:pt x="350" y="666"/>
                  <a:pt x="348" y="664"/>
                  <a:pt x="346" y="661"/>
                </a:cubicBezTo>
                <a:cubicBezTo>
                  <a:pt x="344" y="657"/>
                  <a:pt x="343" y="655"/>
                  <a:pt x="343" y="653"/>
                </a:cubicBezTo>
                <a:lnTo>
                  <a:pt x="343" y="653"/>
                </a:lnTo>
                <a:cubicBezTo>
                  <a:pt x="343" y="653"/>
                  <a:pt x="345" y="654"/>
                  <a:pt x="348" y="658"/>
                </a:cubicBezTo>
                <a:cubicBezTo>
                  <a:pt x="350" y="661"/>
                  <a:pt x="351" y="664"/>
                  <a:pt x="351" y="665"/>
                </a:cubicBezTo>
                <a:lnTo>
                  <a:pt x="351" y="666"/>
                </a:lnTo>
                <a:close/>
                <a:moveTo>
                  <a:pt x="353" y="639"/>
                </a:moveTo>
                <a:cubicBezTo>
                  <a:pt x="352" y="639"/>
                  <a:pt x="352" y="639"/>
                  <a:pt x="350" y="637"/>
                </a:cubicBezTo>
                <a:cubicBezTo>
                  <a:pt x="349" y="636"/>
                  <a:pt x="349" y="634"/>
                  <a:pt x="349" y="634"/>
                </a:cubicBezTo>
                <a:cubicBezTo>
                  <a:pt x="349" y="632"/>
                  <a:pt x="349" y="632"/>
                  <a:pt x="350" y="632"/>
                </a:cubicBezTo>
                <a:cubicBezTo>
                  <a:pt x="351" y="632"/>
                  <a:pt x="352" y="633"/>
                  <a:pt x="352" y="635"/>
                </a:cubicBezTo>
                <a:lnTo>
                  <a:pt x="353" y="639"/>
                </a:lnTo>
                <a:cubicBezTo>
                  <a:pt x="353" y="639"/>
                  <a:pt x="353" y="639"/>
                  <a:pt x="353" y="639"/>
                </a:cubicBezTo>
                <a:close/>
                <a:moveTo>
                  <a:pt x="568" y="652"/>
                </a:moveTo>
                <a:cubicBezTo>
                  <a:pt x="567" y="652"/>
                  <a:pt x="567" y="652"/>
                  <a:pt x="567" y="651"/>
                </a:cubicBezTo>
                <a:cubicBezTo>
                  <a:pt x="567" y="650"/>
                  <a:pt x="568" y="649"/>
                  <a:pt x="568" y="649"/>
                </a:cubicBezTo>
                <a:cubicBezTo>
                  <a:pt x="569" y="648"/>
                  <a:pt x="571" y="647"/>
                  <a:pt x="573" y="645"/>
                </a:cubicBezTo>
                <a:cubicBezTo>
                  <a:pt x="574" y="644"/>
                  <a:pt x="575" y="643"/>
                  <a:pt x="576" y="643"/>
                </a:cubicBezTo>
                <a:lnTo>
                  <a:pt x="573" y="647"/>
                </a:lnTo>
                <a:cubicBezTo>
                  <a:pt x="571" y="650"/>
                  <a:pt x="569" y="652"/>
                  <a:pt x="568" y="652"/>
                </a:cubicBezTo>
                <a:close/>
                <a:moveTo>
                  <a:pt x="347" y="679"/>
                </a:moveTo>
                <a:cubicBezTo>
                  <a:pt x="347" y="679"/>
                  <a:pt x="346" y="679"/>
                  <a:pt x="346" y="679"/>
                </a:cubicBezTo>
                <a:lnTo>
                  <a:pt x="345" y="678"/>
                </a:lnTo>
                <a:lnTo>
                  <a:pt x="345" y="674"/>
                </a:lnTo>
                <a:lnTo>
                  <a:pt x="341" y="665"/>
                </a:lnTo>
                <a:cubicBezTo>
                  <a:pt x="342" y="665"/>
                  <a:pt x="343" y="666"/>
                  <a:pt x="345" y="668"/>
                </a:cubicBezTo>
                <a:cubicBezTo>
                  <a:pt x="348" y="669"/>
                  <a:pt x="349" y="671"/>
                  <a:pt x="349" y="672"/>
                </a:cubicBezTo>
                <a:cubicBezTo>
                  <a:pt x="349" y="673"/>
                  <a:pt x="349" y="673"/>
                  <a:pt x="349" y="673"/>
                </a:cubicBezTo>
                <a:cubicBezTo>
                  <a:pt x="347" y="673"/>
                  <a:pt x="347" y="674"/>
                  <a:pt x="347" y="676"/>
                </a:cubicBezTo>
                <a:lnTo>
                  <a:pt x="348" y="679"/>
                </a:lnTo>
                <a:cubicBezTo>
                  <a:pt x="348" y="679"/>
                  <a:pt x="348" y="679"/>
                  <a:pt x="347" y="679"/>
                </a:cubicBezTo>
                <a:close/>
                <a:moveTo>
                  <a:pt x="430" y="421"/>
                </a:moveTo>
                <a:cubicBezTo>
                  <a:pt x="430" y="421"/>
                  <a:pt x="429" y="420"/>
                  <a:pt x="429" y="417"/>
                </a:cubicBezTo>
                <a:cubicBezTo>
                  <a:pt x="429" y="415"/>
                  <a:pt x="430" y="414"/>
                  <a:pt x="430" y="414"/>
                </a:cubicBezTo>
                <a:cubicBezTo>
                  <a:pt x="430" y="414"/>
                  <a:pt x="431" y="414"/>
                  <a:pt x="431" y="415"/>
                </a:cubicBezTo>
                <a:cubicBezTo>
                  <a:pt x="432" y="416"/>
                  <a:pt x="432" y="417"/>
                  <a:pt x="432" y="418"/>
                </a:cubicBezTo>
                <a:cubicBezTo>
                  <a:pt x="432" y="419"/>
                  <a:pt x="432" y="420"/>
                  <a:pt x="431" y="421"/>
                </a:cubicBezTo>
                <a:lnTo>
                  <a:pt x="430" y="421"/>
                </a:lnTo>
                <a:close/>
                <a:moveTo>
                  <a:pt x="330" y="808"/>
                </a:moveTo>
                <a:cubicBezTo>
                  <a:pt x="327" y="808"/>
                  <a:pt x="325" y="807"/>
                  <a:pt x="323" y="805"/>
                </a:cubicBezTo>
                <a:cubicBezTo>
                  <a:pt x="321" y="802"/>
                  <a:pt x="317" y="801"/>
                  <a:pt x="313" y="801"/>
                </a:cubicBezTo>
                <a:cubicBezTo>
                  <a:pt x="301" y="801"/>
                  <a:pt x="295" y="792"/>
                  <a:pt x="295" y="774"/>
                </a:cubicBezTo>
                <a:cubicBezTo>
                  <a:pt x="295" y="758"/>
                  <a:pt x="299" y="735"/>
                  <a:pt x="306" y="704"/>
                </a:cubicBezTo>
                <a:cubicBezTo>
                  <a:pt x="308" y="692"/>
                  <a:pt x="309" y="684"/>
                  <a:pt x="309" y="680"/>
                </a:cubicBezTo>
                <a:cubicBezTo>
                  <a:pt x="309" y="678"/>
                  <a:pt x="309" y="677"/>
                  <a:pt x="308" y="677"/>
                </a:cubicBezTo>
                <a:cubicBezTo>
                  <a:pt x="307" y="676"/>
                  <a:pt x="307" y="676"/>
                  <a:pt x="306" y="675"/>
                </a:cubicBezTo>
                <a:cubicBezTo>
                  <a:pt x="306" y="674"/>
                  <a:pt x="306" y="672"/>
                  <a:pt x="306" y="671"/>
                </a:cubicBezTo>
                <a:cubicBezTo>
                  <a:pt x="306" y="669"/>
                  <a:pt x="306" y="667"/>
                  <a:pt x="306" y="667"/>
                </a:cubicBezTo>
                <a:cubicBezTo>
                  <a:pt x="307" y="667"/>
                  <a:pt x="308" y="668"/>
                  <a:pt x="309" y="670"/>
                </a:cubicBezTo>
                <a:cubicBezTo>
                  <a:pt x="310" y="672"/>
                  <a:pt x="311" y="673"/>
                  <a:pt x="312" y="673"/>
                </a:cubicBezTo>
                <a:cubicBezTo>
                  <a:pt x="313" y="673"/>
                  <a:pt x="314" y="672"/>
                  <a:pt x="314" y="670"/>
                </a:cubicBezTo>
                <a:cubicBezTo>
                  <a:pt x="314" y="669"/>
                  <a:pt x="313" y="668"/>
                  <a:pt x="312" y="666"/>
                </a:cubicBezTo>
                <a:cubicBezTo>
                  <a:pt x="311" y="665"/>
                  <a:pt x="310" y="664"/>
                  <a:pt x="309" y="663"/>
                </a:cubicBezTo>
                <a:cubicBezTo>
                  <a:pt x="309" y="661"/>
                  <a:pt x="308" y="661"/>
                  <a:pt x="308" y="660"/>
                </a:cubicBezTo>
                <a:cubicBezTo>
                  <a:pt x="308" y="659"/>
                  <a:pt x="309" y="659"/>
                  <a:pt x="309" y="659"/>
                </a:cubicBezTo>
                <a:cubicBezTo>
                  <a:pt x="310" y="659"/>
                  <a:pt x="310" y="659"/>
                  <a:pt x="311" y="659"/>
                </a:cubicBezTo>
                <a:cubicBezTo>
                  <a:pt x="312" y="659"/>
                  <a:pt x="312" y="660"/>
                  <a:pt x="313" y="660"/>
                </a:cubicBezTo>
                <a:cubicBezTo>
                  <a:pt x="315" y="660"/>
                  <a:pt x="316" y="659"/>
                  <a:pt x="316" y="657"/>
                </a:cubicBezTo>
                <a:cubicBezTo>
                  <a:pt x="316" y="656"/>
                  <a:pt x="315" y="655"/>
                  <a:pt x="315" y="655"/>
                </a:cubicBezTo>
                <a:cubicBezTo>
                  <a:pt x="314" y="655"/>
                  <a:pt x="313" y="655"/>
                  <a:pt x="313" y="654"/>
                </a:cubicBezTo>
                <a:cubicBezTo>
                  <a:pt x="313" y="653"/>
                  <a:pt x="314" y="652"/>
                  <a:pt x="316" y="649"/>
                </a:cubicBezTo>
                <a:cubicBezTo>
                  <a:pt x="318" y="647"/>
                  <a:pt x="318" y="646"/>
                  <a:pt x="318" y="645"/>
                </a:cubicBezTo>
                <a:cubicBezTo>
                  <a:pt x="318" y="644"/>
                  <a:pt x="318" y="644"/>
                  <a:pt x="318" y="644"/>
                </a:cubicBezTo>
                <a:cubicBezTo>
                  <a:pt x="315" y="643"/>
                  <a:pt x="314" y="640"/>
                  <a:pt x="314" y="637"/>
                </a:cubicBezTo>
                <a:cubicBezTo>
                  <a:pt x="314" y="634"/>
                  <a:pt x="315" y="631"/>
                  <a:pt x="317" y="628"/>
                </a:cubicBezTo>
                <a:lnTo>
                  <a:pt x="318" y="626"/>
                </a:lnTo>
                <a:cubicBezTo>
                  <a:pt x="319" y="626"/>
                  <a:pt x="319" y="626"/>
                  <a:pt x="319" y="627"/>
                </a:cubicBezTo>
                <a:cubicBezTo>
                  <a:pt x="319" y="628"/>
                  <a:pt x="319" y="629"/>
                  <a:pt x="318" y="632"/>
                </a:cubicBezTo>
                <a:cubicBezTo>
                  <a:pt x="318" y="634"/>
                  <a:pt x="318" y="637"/>
                  <a:pt x="318" y="638"/>
                </a:cubicBezTo>
                <a:cubicBezTo>
                  <a:pt x="318" y="639"/>
                  <a:pt x="318" y="639"/>
                  <a:pt x="318" y="639"/>
                </a:cubicBezTo>
                <a:cubicBezTo>
                  <a:pt x="320" y="638"/>
                  <a:pt x="320" y="637"/>
                  <a:pt x="320" y="636"/>
                </a:cubicBezTo>
                <a:cubicBezTo>
                  <a:pt x="320" y="634"/>
                  <a:pt x="321" y="633"/>
                  <a:pt x="321" y="632"/>
                </a:cubicBezTo>
                <a:cubicBezTo>
                  <a:pt x="322" y="631"/>
                  <a:pt x="322" y="630"/>
                  <a:pt x="322" y="629"/>
                </a:cubicBezTo>
                <a:cubicBezTo>
                  <a:pt x="323" y="628"/>
                  <a:pt x="323" y="628"/>
                  <a:pt x="323" y="627"/>
                </a:cubicBezTo>
                <a:cubicBezTo>
                  <a:pt x="324" y="626"/>
                  <a:pt x="324" y="624"/>
                  <a:pt x="324" y="623"/>
                </a:cubicBezTo>
                <a:cubicBezTo>
                  <a:pt x="324" y="622"/>
                  <a:pt x="324" y="622"/>
                  <a:pt x="323" y="621"/>
                </a:cubicBezTo>
                <a:cubicBezTo>
                  <a:pt x="322" y="621"/>
                  <a:pt x="321" y="619"/>
                  <a:pt x="321" y="617"/>
                </a:cubicBezTo>
                <a:cubicBezTo>
                  <a:pt x="321" y="614"/>
                  <a:pt x="322" y="610"/>
                  <a:pt x="323" y="605"/>
                </a:cubicBezTo>
                <a:cubicBezTo>
                  <a:pt x="326" y="592"/>
                  <a:pt x="329" y="584"/>
                  <a:pt x="332" y="581"/>
                </a:cubicBezTo>
                <a:lnTo>
                  <a:pt x="334" y="579"/>
                </a:lnTo>
                <a:lnTo>
                  <a:pt x="332" y="585"/>
                </a:lnTo>
                <a:cubicBezTo>
                  <a:pt x="332" y="585"/>
                  <a:pt x="333" y="585"/>
                  <a:pt x="334" y="584"/>
                </a:cubicBezTo>
                <a:cubicBezTo>
                  <a:pt x="336" y="583"/>
                  <a:pt x="336" y="582"/>
                  <a:pt x="336" y="581"/>
                </a:cubicBezTo>
                <a:cubicBezTo>
                  <a:pt x="336" y="580"/>
                  <a:pt x="335" y="578"/>
                  <a:pt x="334" y="577"/>
                </a:cubicBezTo>
                <a:cubicBezTo>
                  <a:pt x="333" y="575"/>
                  <a:pt x="332" y="574"/>
                  <a:pt x="332" y="574"/>
                </a:cubicBezTo>
                <a:cubicBezTo>
                  <a:pt x="332" y="573"/>
                  <a:pt x="332" y="573"/>
                  <a:pt x="332" y="573"/>
                </a:cubicBezTo>
                <a:lnTo>
                  <a:pt x="335" y="574"/>
                </a:lnTo>
                <a:cubicBezTo>
                  <a:pt x="335" y="574"/>
                  <a:pt x="336" y="574"/>
                  <a:pt x="337" y="573"/>
                </a:cubicBezTo>
                <a:cubicBezTo>
                  <a:pt x="338" y="572"/>
                  <a:pt x="338" y="571"/>
                  <a:pt x="338" y="570"/>
                </a:cubicBezTo>
                <a:cubicBezTo>
                  <a:pt x="338" y="568"/>
                  <a:pt x="338" y="568"/>
                  <a:pt x="337" y="568"/>
                </a:cubicBezTo>
                <a:cubicBezTo>
                  <a:pt x="335" y="567"/>
                  <a:pt x="334" y="567"/>
                  <a:pt x="334" y="567"/>
                </a:cubicBezTo>
                <a:cubicBezTo>
                  <a:pt x="334" y="566"/>
                  <a:pt x="335" y="565"/>
                  <a:pt x="337" y="564"/>
                </a:cubicBezTo>
                <a:cubicBezTo>
                  <a:pt x="338" y="563"/>
                  <a:pt x="339" y="562"/>
                  <a:pt x="339" y="560"/>
                </a:cubicBezTo>
                <a:cubicBezTo>
                  <a:pt x="339" y="559"/>
                  <a:pt x="339" y="559"/>
                  <a:pt x="339" y="558"/>
                </a:cubicBezTo>
                <a:cubicBezTo>
                  <a:pt x="338" y="557"/>
                  <a:pt x="338" y="557"/>
                  <a:pt x="338" y="557"/>
                </a:cubicBezTo>
                <a:cubicBezTo>
                  <a:pt x="338" y="556"/>
                  <a:pt x="339" y="555"/>
                  <a:pt x="340" y="555"/>
                </a:cubicBezTo>
                <a:cubicBezTo>
                  <a:pt x="341" y="555"/>
                  <a:pt x="342" y="555"/>
                  <a:pt x="342" y="554"/>
                </a:cubicBezTo>
                <a:lnTo>
                  <a:pt x="341" y="551"/>
                </a:lnTo>
                <a:cubicBezTo>
                  <a:pt x="341" y="550"/>
                  <a:pt x="342" y="549"/>
                  <a:pt x="343" y="548"/>
                </a:cubicBezTo>
                <a:cubicBezTo>
                  <a:pt x="345" y="548"/>
                  <a:pt x="345" y="547"/>
                  <a:pt x="345" y="546"/>
                </a:cubicBezTo>
                <a:cubicBezTo>
                  <a:pt x="345" y="545"/>
                  <a:pt x="345" y="543"/>
                  <a:pt x="343" y="541"/>
                </a:cubicBezTo>
                <a:cubicBezTo>
                  <a:pt x="342" y="539"/>
                  <a:pt x="341" y="538"/>
                  <a:pt x="341" y="537"/>
                </a:cubicBezTo>
                <a:lnTo>
                  <a:pt x="342" y="538"/>
                </a:lnTo>
                <a:cubicBezTo>
                  <a:pt x="342" y="538"/>
                  <a:pt x="343" y="539"/>
                  <a:pt x="343" y="539"/>
                </a:cubicBezTo>
                <a:cubicBezTo>
                  <a:pt x="345" y="539"/>
                  <a:pt x="346" y="538"/>
                  <a:pt x="348" y="536"/>
                </a:cubicBezTo>
                <a:cubicBezTo>
                  <a:pt x="349" y="535"/>
                  <a:pt x="350" y="532"/>
                  <a:pt x="350" y="530"/>
                </a:cubicBezTo>
                <a:cubicBezTo>
                  <a:pt x="350" y="529"/>
                  <a:pt x="351" y="527"/>
                  <a:pt x="352" y="526"/>
                </a:cubicBezTo>
                <a:cubicBezTo>
                  <a:pt x="353" y="525"/>
                  <a:pt x="353" y="523"/>
                  <a:pt x="353" y="521"/>
                </a:cubicBezTo>
                <a:cubicBezTo>
                  <a:pt x="353" y="517"/>
                  <a:pt x="352" y="514"/>
                  <a:pt x="352" y="514"/>
                </a:cubicBezTo>
                <a:lnTo>
                  <a:pt x="350" y="513"/>
                </a:lnTo>
                <a:cubicBezTo>
                  <a:pt x="349" y="513"/>
                  <a:pt x="349" y="514"/>
                  <a:pt x="349" y="515"/>
                </a:cubicBezTo>
                <a:lnTo>
                  <a:pt x="350" y="521"/>
                </a:lnTo>
                <a:cubicBezTo>
                  <a:pt x="350" y="523"/>
                  <a:pt x="348" y="525"/>
                  <a:pt x="346" y="526"/>
                </a:cubicBezTo>
                <a:cubicBezTo>
                  <a:pt x="344" y="527"/>
                  <a:pt x="343" y="528"/>
                  <a:pt x="343" y="528"/>
                </a:cubicBezTo>
                <a:cubicBezTo>
                  <a:pt x="343" y="529"/>
                  <a:pt x="344" y="530"/>
                  <a:pt x="346" y="531"/>
                </a:cubicBezTo>
                <a:cubicBezTo>
                  <a:pt x="347" y="532"/>
                  <a:pt x="348" y="533"/>
                  <a:pt x="348" y="533"/>
                </a:cubicBezTo>
                <a:lnTo>
                  <a:pt x="347" y="533"/>
                </a:lnTo>
                <a:cubicBezTo>
                  <a:pt x="342" y="533"/>
                  <a:pt x="339" y="532"/>
                  <a:pt x="339" y="531"/>
                </a:cubicBezTo>
                <a:cubicBezTo>
                  <a:pt x="339" y="531"/>
                  <a:pt x="340" y="529"/>
                  <a:pt x="342" y="527"/>
                </a:cubicBezTo>
                <a:cubicBezTo>
                  <a:pt x="344" y="524"/>
                  <a:pt x="345" y="521"/>
                  <a:pt x="345" y="518"/>
                </a:cubicBezTo>
                <a:cubicBezTo>
                  <a:pt x="345" y="517"/>
                  <a:pt x="345" y="516"/>
                  <a:pt x="345" y="515"/>
                </a:cubicBezTo>
                <a:cubicBezTo>
                  <a:pt x="345" y="514"/>
                  <a:pt x="344" y="513"/>
                  <a:pt x="344" y="513"/>
                </a:cubicBezTo>
                <a:cubicBezTo>
                  <a:pt x="344" y="511"/>
                  <a:pt x="345" y="511"/>
                  <a:pt x="345" y="511"/>
                </a:cubicBezTo>
                <a:lnTo>
                  <a:pt x="347" y="512"/>
                </a:lnTo>
                <a:cubicBezTo>
                  <a:pt x="348" y="512"/>
                  <a:pt x="348" y="511"/>
                  <a:pt x="348" y="510"/>
                </a:cubicBezTo>
                <a:cubicBezTo>
                  <a:pt x="348" y="509"/>
                  <a:pt x="348" y="508"/>
                  <a:pt x="348" y="507"/>
                </a:cubicBezTo>
                <a:cubicBezTo>
                  <a:pt x="347" y="505"/>
                  <a:pt x="347" y="504"/>
                  <a:pt x="347" y="503"/>
                </a:cubicBezTo>
                <a:cubicBezTo>
                  <a:pt x="347" y="502"/>
                  <a:pt x="347" y="501"/>
                  <a:pt x="349" y="501"/>
                </a:cubicBezTo>
                <a:cubicBezTo>
                  <a:pt x="350" y="501"/>
                  <a:pt x="351" y="500"/>
                  <a:pt x="351" y="497"/>
                </a:cubicBezTo>
                <a:cubicBezTo>
                  <a:pt x="351" y="497"/>
                  <a:pt x="351" y="496"/>
                  <a:pt x="350" y="495"/>
                </a:cubicBezTo>
                <a:cubicBezTo>
                  <a:pt x="350" y="494"/>
                  <a:pt x="350" y="493"/>
                  <a:pt x="350" y="493"/>
                </a:cubicBezTo>
                <a:cubicBezTo>
                  <a:pt x="350" y="492"/>
                  <a:pt x="350" y="492"/>
                  <a:pt x="350" y="492"/>
                </a:cubicBezTo>
                <a:lnTo>
                  <a:pt x="354" y="493"/>
                </a:lnTo>
                <a:cubicBezTo>
                  <a:pt x="355" y="493"/>
                  <a:pt x="356" y="492"/>
                  <a:pt x="356" y="492"/>
                </a:cubicBezTo>
                <a:cubicBezTo>
                  <a:pt x="356" y="491"/>
                  <a:pt x="356" y="490"/>
                  <a:pt x="355" y="489"/>
                </a:cubicBezTo>
                <a:cubicBezTo>
                  <a:pt x="355" y="489"/>
                  <a:pt x="355" y="488"/>
                  <a:pt x="355" y="488"/>
                </a:cubicBezTo>
                <a:cubicBezTo>
                  <a:pt x="355" y="486"/>
                  <a:pt x="356" y="485"/>
                  <a:pt x="357" y="485"/>
                </a:cubicBezTo>
                <a:cubicBezTo>
                  <a:pt x="358" y="485"/>
                  <a:pt x="359" y="485"/>
                  <a:pt x="359" y="484"/>
                </a:cubicBezTo>
                <a:cubicBezTo>
                  <a:pt x="359" y="484"/>
                  <a:pt x="358" y="482"/>
                  <a:pt x="357" y="480"/>
                </a:cubicBezTo>
                <a:cubicBezTo>
                  <a:pt x="356" y="478"/>
                  <a:pt x="355" y="477"/>
                  <a:pt x="355" y="477"/>
                </a:cubicBezTo>
                <a:cubicBezTo>
                  <a:pt x="355" y="477"/>
                  <a:pt x="355" y="476"/>
                  <a:pt x="355" y="476"/>
                </a:cubicBezTo>
                <a:lnTo>
                  <a:pt x="356" y="477"/>
                </a:lnTo>
                <a:cubicBezTo>
                  <a:pt x="356" y="477"/>
                  <a:pt x="357" y="477"/>
                  <a:pt x="357" y="477"/>
                </a:cubicBezTo>
                <a:cubicBezTo>
                  <a:pt x="358" y="477"/>
                  <a:pt x="360" y="475"/>
                  <a:pt x="362" y="469"/>
                </a:cubicBezTo>
                <a:cubicBezTo>
                  <a:pt x="363" y="464"/>
                  <a:pt x="367" y="454"/>
                  <a:pt x="371" y="440"/>
                </a:cubicBezTo>
                <a:lnTo>
                  <a:pt x="372" y="437"/>
                </a:lnTo>
                <a:cubicBezTo>
                  <a:pt x="371" y="437"/>
                  <a:pt x="370" y="438"/>
                  <a:pt x="369" y="440"/>
                </a:cubicBezTo>
                <a:cubicBezTo>
                  <a:pt x="368" y="442"/>
                  <a:pt x="367" y="443"/>
                  <a:pt x="366" y="443"/>
                </a:cubicBezTo>
                <a:cubicBezTo>
                  <a:pt x="366" y="443"/>
                  <a:pt x="366" y="443"/>
                  <a:pt x="366" y="442"/>
                </a:cubicBezTo>
                <a:cubicBezTo>
                  <a:pt x="366" y="441"/>
                  <a:pt x="367" y="437"/>
                  <a:pt x="369" y="431"/>
                </a:cubicBezTo>
                <a:cubicBezTo>
                  <a:pt x="371" y="426"/>
                  <a:pt x="373" y="423"/>
                  <a:pt x="375" y="423"/>
                </a:cubicBezTo>
                <a:lnTo>
                  <a:pt x="375" y="424"/>
                </a:lnTo>
                <a:cubicBezTo>
                  <a:pt x="376" y="424"/>
                  <a:pt x="376" y="423"/>
                  <a:pt x="376" y="422"/>
                </a:cubicBezTo>
                <a:cubicBezTo>
                  <a:pt x="376" y="421"/>
                  <a:pt x="376" y="421"/>
                  <a:pt x="375" y="419"/>
                </a:cubicBezTo>
                <a:cubicBezTo>
                  <a:pt x="375" y="418"/>
                  <a:pt x="375" y="417"/>
                  <a:pt x="375" y="417"/>
                </a:cubicBezTo>
                <a:cubicBezTo>
                  <a:pt x="375" y="416"/>
                  <a:pt x="375" y="416"/>
                  <a:pt x="375" y="416"/>
                </a:cubicBezTo>
                <a:lnTo>
                  <a:pt x="378" y="417"/>
                </a:lnTo>
                <a:cubicBezTo>
                  <a:pt x="379" y="417"/>
                  <a:pt x="379" y="417"/>
                  <a:pt x="379" y="416"/>
                </a:cubicBezTo>
                <a:cubicBezTo>
                  <a:pt x="379" y="415"/>
                  <a:pt x="379" y="415"/>
                  <a:pt x="379" y="414"/>
                </a:cubicBezTo>
                <a:cubicBezTo>
                  <a:pt x="379" y="414"/>
                  <a:pt x="378" y="413"/>
                  <a:pt x="378" y="411"/>
                </a:cubicBezTo>
                <a:cubicBezTo>
                  <a:pt x="378" y="408"/>
                  <a:pt x="380" y="404"/>
                  <a:pt x="383" y="399"/>
                </a:cubicBezTo>
                <a:cubicBezTo>
                  <a:pt x="386" y="393"/>
                  <a:pt x="390" y="389"/>
                  <a:pt x="393" y="389"/>
                </a:cubicBezTo>
                <a:cubicBezTo>
                  <a:pt x="395" y="389"/>
                  <a:pt x="398" y="390"/>
                  <a:pt x="400" y="391"/>
                </a:cubicBezTo>
                <a:cubicBezTo>
                  <a:pt x="402" y="393"/>
                  <a:pt x="402" y="394"/>
                  <a:pt x="402" y="396"/>
                </a:cubicBezTo>
                <a:cubicBezTo>
                  <a:pt x="402" y="397"/>
                  <a:pt x="402" y="397"/>
                  <a:pt x="402" y="398"/>
                </a:cubicBezTo>
                <a:cubicBezTo>
                  <a:pt x="402" y="398"/>
                  <a:pt x="401" y="399"/>
                  <a:pt x="401" y="399"/>
                </a:cubicBezTo>
                <a:cubicBezTo>
                  <a:pt x="401" y="400"/>
                  <a:pt x="402" y="400"/>
                  <a:pt x="403" y="400"/>
                </a:cubicBezTo>
                <a:cubicBezTo>
                  <a:pt x="404" y="400"/>
                  <a:pt x="405" y="400"/>
                  <a:pt x="406" y="399"/>
                </a:cubicBezTo>
                <a:cubicBezTo>
                  <a:pt x="407" y="398"/>
                  <a:pt x="408" y="397"/>
                  <a:pt x="409" y="394"/>
                </a:cubicBezTo>
                <a:cubicBezTo>
                  <a:pt x="410" y="393"/>
                  <a:pt x="411" y="392"/>
                  <a:pt x="411" y="392"/>
                </a:cubicBezTo>
                <a:cubicBezTo>
                  <a:pt x="412" y="392"/>
                  <a:pt x="412" y="394"/>
                  <a:pt x="412" y="399"/>
                </a:cubicBezTo>
                <a:cubicBezTo>
                  <a:pt x="412" y="403"/>
                  <a:pt x="413" y="406"/>
                  <a:pt x="415" y="406"/>
                </a:cubicBezTo>
                <a:cubicBezTo>
                  <a:pt x="418" y="406"/>
                  <a:pt x="419" y="409"/>
                  <a:pt x="419" y="415"/>
                </a:cubicBezTo>
                <a:cubicBezTo>
                  <a:pt x="419" y="421"/>
                  <a:pt x="417" y="427"/>
                  <a:pt x="414" y="434"/>
                </a:cubicBezTo>
                <a:cubicBezTo>
                  <a:pt x="412" y="438"/>
                  <a:pt x="411" y="441"/>
                  <a:pt x="411" y="443"/>
                </a:cubicBezTo>
                <a:lnTo>
                  <a:pt x="411" y="444"/>
                </a:lnTo>
                <a:cubicBezTo>
                  <a:pt x="411" y="447"/>
                  <a:pt x="410" y="449"/>
                  <a:pt x="408" y="452"/>
                </a:cubicBezTo>
                <a:cubicBezTo>
                  <a:pt x="405" y="455"/>
                  <a:pt x="404" y="456"/>
                  <a:pt x="404" y="457"/>
                </a:cubicBezTo>
                <a:lnTo>
                  <a:pt x="406" y="456"/>
                </a:lnTo>
                <a:cubicBezTo>
                  <a:pt x="407" y="456"/>
                  <a:pt x="407" y="457"/>
                  <a:pt x="407" y="458"/>
                </a:cubicBezTo>
                <a:cubicBezTo>
                  <a:pt x="407" y="460"/>
                  <a:pt x="406" y="462"/>
                  <a:pt x="405" y="466"/>
                </a:cubicBezTo>
                <a:cubicBezTo>
                  <a:pt x="404" y="470"/>
                  <a:pt x="402" y="473"/>
                  <a:pt x="400" y="475"/>
                </a:cubicBezTo>
                <a:cubicBezTo>
                  <a:pt x="399" y="477"/>
                  <a:pt x="399" y="478"/>
                  <a:pt x="399" y="478"/>
                </a:cubicBezTo>
                <a:cubicBezTo>
                  <a:pt x="399" y="479"/>
                  <a:pt x="399" y="479"/>
                  <a:pt x="399" y="479"/>
                </a:cubicBezTo>
                <a:cubicBezTo>
                  <a:pt x="399" y="479"/>
                  <a:pt x="399" y="480"/>
                  <a:pt x="399" y="480"/>
                </a:cubicBezTo>
                <a:cubicBezTo>
                  <a:pt x="399" y="480"/>
                  <a:pt x="399" y="482"/>
                  <a:pt x="397" y="483"/>
                </a:cubicBezTo>
                <a:cubicBezTo>
                  <a:pt x="396" y="485"/>
                  <a:pt x="395" y="487"/>
                  <a:pt x="395" y="489"/>
                </a:cubicBezTo>
                <a:cubicBezTo>
                  <a:pt x="395" y="490"/>
                  <a:pt x="396" y="491"/>
                  <a:pt x="396" y="492"/>
                </a:cubicBezTo>
                <a:cubicBezTo>
                  <a:pt x="397" y="492"/>
                  <a:pt x="397" y="493"/>
                  <a:pt x="397" y="493"/>
                </a:cubicBezTo>
                <a:cubicBezTo>
                  <a:pt x="397" y="494"/>
                  <a:pt x="397" y="494"/>
                  <a:pt x="397" y="494"/>
                </a:cubicBezTo>
                <a:cubicBezTo>
                  <a:pt x="396" y="494"/>
                  <a:pt x="396" y="494"/>
                  <a:pt x="395" y="493"/>
                </a:cubicBezTo>
                <a:cubicBezTo>
                  <a:pt x="394" y="493"/>
                  <a:pt x="394" y="492"/>
                  <a:pt x="393" y="492"/>
                </a:cubicBezTo>
                <a:cubicBezTo>
                  <a:pt x="392" y="492"/>
                  <a:pt x="392" y="498"/>
                  <a:pt x="391" y="509"/>
                </a:cubicBezTo>
                <a:cubicBezTo>
                  <a:pt x="390" y="514"/>
                  <a:pt x="389" y="517"/>
                  <a:pt x="387" y="518"/>
                </a:cubicBezTo>
                <a:cubicBezTo>
                  <a:pt x="385" y="520"/>
                  <a:pt x="384" y="522"/>
                  <a:pt x="384" y="524"/>
                </a:cubicBezTo>
                <a:lnTo>
                  <a:pt x="385" y="528"/>
                </a:lnTo>
                <a:cubicBezTo>
                  <a:pt x="385" y="530"/>
                  <a:pt x="384" y="530"/>
                  <a:pt x="383" y="531"/>
                </a:cubicBezTo>
                <a:cubicBezTo>
                  <a:pt x="381" y="531"/>
                  <a:pt x="381" y="532"/>
                  <a:pt x="381" y="534"/>
                </a:cubicBezTo>
                <a:lnTo>
                  <a:pt x="382" y="538"/>
                </a:lnTo>
                <a:cubicBezTo>
                  <a:pt x="382" y="539"/>
                  <a:pt x="381" y="540"/>
                  <a:pt x="380" y="540"/>
                </a:cubicBezTo>
                <a:cubicBezTo>
                  <a:pt x="379" y="540"/>
                  <a:pt x="378" y="541"/>
                  <a:pt x="377" y="544"/>
                </a:cubicBezTo>
                <a:cubicBezTo>
                  <a:pt x="375" y="546"/>
                  <a:pt x="375" y="549"/>
                  <a:pt x="374" y="553"/>
                </a:cubicBezTo>
                <a:cubicBezTo>
                  <a:pt x="373" y="556"/>
                  <a:pt x="373" y="559"/>
                  <a:pt x="373" y="561"/>
                </a:cubicBezTo>
                <a:cubicBezTo>
                  <a:pt x="373" y="562"/>
                  <a:pt x="373" y="563"/>
                  <a:pt x="373" y="563"/>
                </a:cubicBezTo>
                <a:cubicBezTo>
                  <a:pt x="374" y="564"/>
                  <a:pt x="374" y="565"/>
                  <a:pt x="374" y="565"/>
                </a:cubicBezTo>
                <a:cubicBezTo>
                  <a:pt x="374" y="566"/>
                  <a:pt x="373" y="567"/>
                  <a:pt x="371" y="568"/>
                </a:cubicBezTo>
                <a:cubicBezTo>
                  <a:pt x="370" y="568"/>
                  <a:pt x="369" y="572"/>
                  <a:pt x="368" y="578"/>
                </a:cubicBezTo>
                <a:cubicBezTo>
                  <a:pt x="368" y="583"/>
                  <a:pt x="367" y="587"/>
                  <a:pt x="365" y="589"/>
                </a:cubicBezTo>
                <a:cubicBezTo>
                  <a:pt x="363" y="591"/>
                  <a:pt x="362" y="595"/>
                  <a:pt x="362" y="600"/>
                </a:cubicBezTo>
                <a:cubicBezTo>
                  <a:pt x="361" y="606"/>
                  <a:pt x="360" y="610"/>
                  <a:pt x="359" y="612"/>
                </a:cubicBezTo>
                <a:cubicBezTo>
                  <a:pt x="357" y="613"/>
                  <a:pt x="356" y="614"/>
                  <a:pt x="355" y="614"/>
                </a:cubicBezTo>
                <a:cubicBezTo>
                  <a:pt x="355" y="614"/>
                  <a:pt x="355" y="614"/>
                  <a:pt x="355" y="613"/>
                </a:cubicBezTo>
                <a:cubicBezTo>
                  <a:pt x="355" y="610"/>
                  <a:pt x="357" y="600"/>
                  <a:pt x="361" y="586"/>
                </a:cubicBezTo>
                <a:cubicBezTo>
                  <a:pt x="365" y="573"/>
                  <a:pt x="368" y="562"/>
                  <a:pt x="371" y="552"/>
                </a:cubicBezTo>
                <a:cubicBezTo>
                  <a:pt x="374" y="541"/>
                  <a:pt x="375" y="535"/>
                  <a:pt x="376" y="533"/>
                </a:cubicBezTo>
                <a:cubicBezTo>
                  <a:pt x="376" y="533"/>
                  <a:pt x="376" y="532"/>
                  <a:pt x="376" y="532"/>
                </a:cubicBezTo>
                <a:cubicBezTo>
                  <a:pt x="376" y="531"/>
                  <a:pt x="377" y="531"/>
                  <a:pt x="377" y="530"/>
                </a:cubicBezTo>
                <a:cubicBezTo>
                  <a:pt x="378" y="529"/>
                  <a:pt x="378" y="527"/>
                  <a:pt x="379" y="526"/>
                </a:cubicBezTo>
                <a:cubicBezTo>
                  <a:pt x="379" y="525"/>
                  <a:pt x="380" y="521"/>
                  <a:pt x="382" y="515"/>
                </a:cubicBezTo>
                <a:cubicBezTo>
                  <a:pt x="385" y="508"/>
                  <a:pt x="386" y="503"/>
                  <a:pt x="386" y="500"/>
                </a:cubicBezTo>
                <a:cubicBezTo>
                  <a:pt x="386" y="497"/>
                  <a:pt x="387" y="495"/>
                  <a:pt x="388" y="493"/>
                </a:cubicBezTo>
                <a:cubicBezTo>
                  <a:pt x="389" y="492"/>
                  <a:pt x="390" y="490"/>
                  <a:pt x="390" y="487"/>
                </a:cubicBezTo>
                <a:cubicBezTo>
                  <a:pt x="391" y="484"/>
                  <a:pt x="392" y="481"/>
                  <a:pt x="393" y="477"/>
                </a:cubicBezTo>
                <a:cubicBezTo>
                  <a:pt x="395" y="473"/>
                  <a:pt x="396" y="471"/>
                  <a:pt x="396" y="469"/>
                </a:cubicBezTo>
                <a:cubicBezTo>
                  <a:pt x="396" y="468"/>
                  <a:pt x="397" y="467"/>
                  <a:pt x="399" y="465"/>
                </a:cubicBezTo>
                <a:cubicBezTo>
                  <a:pt x="400" y="464"/>
                  <a:pt x="400" y="460"/>
                  <a:pt x="400" y="455"/>
                </a:cubicBezTo>
                <a:cubicBezTo>
                  <a:pt x="400" y="451"/>
                  <a:pt x="400" y="450"/>
                  <a:pt x="399" y="450"/>
                </a:cubicBezTo>
                <a:cubicBezTo>
                  <a:pt x="399" y="450"/>
                  <a:pt x="393" y="467"/>
                  <a:pt x="383" y="501"/>
                </a:cubicBezTo>
                <a:cubicBezTo>
                  <a:pt x="366" y="555"/>
                  <a:pt x="352" y="602"/>
                  <a:pt x="340" y="643"/>
                </a:cubicBezTo>
                <a:cubicBezTo>
                  <a:pt x="334" y="665"/>
                  <a:pt x="330" y="679"/>
                  <a:pt x="328" y="686"/>
                </a:cubicBezTo>
                <a:cubicBezTo>
                  <a:pt x="327" y="688"/>
                  <a:pt x="325" y="698"/>
                  <a:pt x="321" y="716"/>
                </a:cubicBezTo>
                <a:cubicBezTo>
                  <a:pt x="320" y="723"/>
                  <a:pt x="318" y="730"/>
                  <a:pt x="317" y="735"/>
                </a:cubicBezTo>
                <a:cubicBezTo>
                  <a:pt x="316" y="741"/>
                  <a:pt x="315" y="745"/>
                  <a:pt x="315" y="746"/>
                </a:cubicBezTo>
                <a:cubicBezTo>
                  <a:pt x="315" y="748"/>
                  <a:pt x="314" y="749"/>
                  <a:pt x="314" y="749"/>
                </a:cubicBezTo>
                <a:cubicBezTo>
                  <a:pt x="314" y="750"/>
                  <a:pt x="314" y="751"/>
                  <a:pt x="314" y="752"/>
                </a:cubicBezTo>
                <a:cubicBezTo>
                  <a:pt x="314" y="754"/>
                  <a:pt x="313" y="755"/>
                  <a:pt x="310" y="755"/>
                </a:cubicBezTo>
                <a:cubicBezTo>
                  <a:pt x="310" y="755"/>
                  <a:pt x="309" y="755"/>
                  <a:pt x="309" y="756"/>
                </a:cubicBezTo>
                <a:cubicBezTo>
                  <a:pt x="309" y="757"/>
                  <a:pt x="310" y="757"/>
                  <a:pt x="312" y="759"/>
                </a:cubicBezTo>
                <a:cubicBezTo>
                  <a:pt x="313" y="760"/>
                  <a:pt x="314" y="761"/>
                  <a:pt x="314" y="761"/>
                </a:cubicBezTo>
                <a:cubicBezTo>
                  <a:pt x="314" y="761"/>
                  <a:pt x="313" y="761"/>
                  <a:pt x="311" y="761"/>
                </a:cubicBezTo>
                <a:cubicBezTo>
                  <a:pt x="309" y="761"/>
                  <a:pt x="308" y="762"/>
                  <a:pt x="308" y="762"/>
                </a:cubicBezTo>
                <a:cubicBezTo>
                  <a:pt x="308" y="762"/>
                  <a:pt x="309" y="763"/>
                  <a:pt x="311" y="764"/>
                </a:cubicBezTo>
                <a:cubicBezTo>
                  <a:pt x="313" y="766"/>
                  <a:pt x="314" y="767"/>
                  <a:pt x="314" y="767"/>
                </a:cubicBezTo>
                <a:cubicBezTo>
                  <a:pt x="314" y="767"/>
                  <a:pt x="313" y="767"/>
                  <a:pt x="311" y="767"/>
                </a:cubicBezTo>
                <a:cubicBezTo>
                  <a:pt x="309" y="767"/>
                  <a:pt x="308" y="768"/>
                  <a:pt x="308" y="768"/>
                </a:cubicBezTo>
                <a:cubicBezTo>
                  <a:pt x="308" y="768"/>
                  <a:pt x="309" y="769"/>
                  <a:pt x="311" y="770"/>
                </a:cubicBezTo>
                <a:cubicBezTo>
                  <a:pt x="313" y="772"/>
                  <a:pt x="314" y="772"/>
                  <a:pt x="314" y="773"/>
                </a:cubicBezTo>
                <a:cubicBezTo>
                  <a:pt x="314" y="773"/>
                  <a:pt x="313" y="774"/>
                  <a:pt x="311" y="774"/>
                </a:cubicBezTo>
                <a:cubicBezTo>
                  <a:pt x="310" y="774"/>
                  <a:pt x="309" y="776"/>
                  <a:pt x="308" y="781"/>
                </a:cubicBezTo>
                <a:cubicBezTo>
                  <a:pt x="308" y="786"/>
                  <a:pt x="309" y="789"/>
                  <a:pt x="310" y="789"/>
                </a:cubicBezTo>
                <a:cubicBezTo>
                  <a:pt x="312" y="789"/>
                  <a:pt x="314" y="782"/>
                  <a:pt x="317" y="768"/>
                </a:cubicBezTo>
                <a:cubicBezTo>
                  <a:pt x="318" y="755"/>
                  <a:pt x="320" y="745"/>
                  <a:pt x="322" y="739"/>
                </a:cubicBezTo>
                <a:cubicBezTo>
                  <a:pt x="324" y="727"/>
                  <a:pt x="327" y="719"/>
                  <a:pt x="330" y="717"/>
                </a:cubicBezTo>
                <a:lnTo>
                  <a:pt x="334" y="713"/>
                </a:lnTo>
                <a:cubicBezTo>
                  <a:pt x="333" y="713"/>
                  <a:pt x="332" y="713"/>
                  <a:pt x="330" y="714"/>
                </a:cubicBezTo>
                <a:cubicBezTo>
                  <a:pt x="328" y="715"/>
                  <a:pt x="326" y="715"/>
                  <a:pt x="326" y="715"/>
                </a:cubicBezTo>
                <a:lnTo>
                  <a:pt x="326" y="715"/>
                </a:lnTo>
                <a:cubicBezTo>
                  <a:pt x="326" y="715"/>
                  <a:pt x="327" y="713"/>
                  <a:pt x="330" y="711"/>
                </a:cubicBezTo>
                <a:cubicBezTo>
                  <a:pt x="333" y="709"/>
                  <a:pt x="335" y="705"/>
                  <a:pt x="337" y="698"/>
                </a:cubicBezTo>
                <a:cubicBezTo>
                  <a:pt x="337" y="693"/>
                  <a:pt x="338" y="689"/>
                  <a:pt x="340" y="686"/>
                </a:cubicBezTo>
                <a:cubicBezTo>
                  <a:pt x="341" y="686"/>
                  <a:pt x="341" y="685"/>
                  <a:pt x="341" y="684"/>
                </a:cubicBezTo>
                <a:cubicBezTo>
                  <a:pt x="341" y="682"/>
                  <a:pt x="340" y="681"/>
                  <a:pt x="339" y="679"/>
                </a:cubicBezTo>
                <a:lnTo>
                  <a:pt x="338" y="677"/>
                </a:lnTo>
                <a:cubicBezTo>
                  <a:pt x="338" y="677"/>
                  <a:pt x="340" y="678"/>
                  <a:pt x="343" y="680"/>
                </a:cubicBezTo>
                <a:cubicBezTo>
                  <a:pt x="345" y="682"/>
                  <a:pt x="347" y="683"/>
                  <a:pt x="347" y="685"/>
                </a:cubicBezTo>
                <a:cubicBezTo>
                  <a:pt x="347" y="686"/>
                  <a:pt x="347" y="687"/>
                  <a:pt x="346" y="688"/>
                </a:cubicBezTo>
                <a:cubicBezTo>
                  <a:pt x="345" y="688"/>
                  <a:pt x="344" y="690"/>
                  <a:pt x="344" y="691"/>
                </a:cubicBezTo>
                <a:cubicBezTo>
                  <a:pt x="344" y="691"/>
                  <a:pt x="345" y="692"/>
                  <a:pt x="345" y="692"/>
                </a:cubicBezTo>
                <a:cubicBezTo>
                  <a:pt x="345" y="692"/>
                  <a:pt x="345" y="693"/>
                  <a:pt x="345" y="694"/>
                </a:cubicBezTo>
                <a:cubicBezTo>
                  <a:pt x="345" y="695"/>
                  <a:pt x="345" y="696"/>
                  <a:pt x="344" y="697"/>
                </a:cubicBezTo>
                <a:cubicBezTo>
                  <a:pt x="343" y="699"/>
                  <a:pt x="343" y="700"/>
                  <a:pt x="342" y="701"/>
                </a:cubicBezTo>
                <a:cubicBezTo>
                  <a:pt x="342" y="702"/>
                  <a:pt x="342" y="703"/>
                  <a:pt x="342" y="703"/>
                </a:cubicBezTo>
                <a:cubicBezTo>
                  <a:pt x="341" y="703"/>
                  <a:pt x="341" y="704"/>
                  <a:pt x="341" y="705"/>
                </a:cubicBezTo>
                <a:cubicBezTo>
                  <a:pt x="341" y="706"/>
                  <a:pt x="341" y="707"/>
                  <a:pt x="340" y="708"/>
                </a:cubicBezTo>
                <a:cubicBezTo>
                  <a:pt x="340" y="708"/>
                  <a:pt x="338" y="715"/>
                  <a:pt x="336" y="728"/>
                </a:cubicBezTo>
                <a:cubicBezTo>
                  <a:pt x="335" y="734"/>
                  <a:pt x="334" y="739"/>
                  <a:pt x="334" y="743"/>
                </a:cubicBezTo>
                <a:cubicBezTo>
                  <a:pt x="334" y="748"/>
                  <a:pt x="333" y="751"/>
                  <a:pt x="332" y="752"/>
                </a:cubicBezTo>
                <a:cubicBezTo>
                  <a:pt x="330" y="754"/>
                  <a:pt x="328" y="754"/>
                  <a:pt x="328" y="755"/>
                </a:cubicBezTo>
                <a:cubicBezTo>
                  <a:pt x="328" y="755"/>
                  <a:pt x="329" y="755"/>
                  <a:pt x="331" y="755"/>
                </a:cubicBezTo>
                <a:cubicBezTo>
                  <a:pt x="332" y="755"/>
                  <a:pt x="333" y="756"/>
                  <a:pt x="333" y="758"/>
                </a:cubicBezTo>
                <a:cubicBezTo>
                  <a:pt x="333" y="760"/>
                  <a:pt x="333" y="762"/>
                  <a:pt x="332" y="764"/>
                </a:cubicBezTo>
                <a:cubicBezTo>
                  <a:pt x="332" y="766"/>
                  <a:pt x="332" y="767"/>
                  <a:pt x="332" y="768"/>
                </a:cubicBezTo>
                <a:cubicBezTo>
                  <a:pt x="332" y="768"/>
                  <a:pt x="332" y="768"/>
                  <a:pt x="332" y="768"/>
                </a:cubicBezTo>
                <a:cubicBezTo>
                  <a:pt x="333" y="768"/>
                  <a:pt x="335" y="765"/>
                  <a:pt x="340" y="760"/>
                </a:cubicBezTo>
                <a:lnTo>
                  <a:pt x="344" y="755"/>
                </a:lnTo>
                <a:cubicBezTo>
                  <a:pt x="353" y="744"/>
                  <a:pt x="357" y="738"/>
                  <a:pt x="357" y="737"/>
                </a:cubicBezTo>
                <a:cubicBezTo>
                  <a:pt x="357" y="736"/>
                  <a:pt x="357" y="735"/>
                  <a:pt x="355" y="735"/>
                </a:cubicBezTo>
                <a:lnTo>
                  <a:pt x="352" y="732"/>
                </a:lnTo>
                <a:cubicBezTo>
                  <a:pt x="352" y="731"/>
                  <a:pt x="352" y="731"/>
                  <a:pt x="352" y="731"/>
                </a:cubicBezTo>
                <a:cubicBezTo>
                  <a:pt x="352" y="731"/>
                  <a:pt x="353" y="731"/>
                  <a:pt x="354" y="732"/>
                </a:cubicBezTo>
                <a:cubicBezTo>
                  <a:pt x="355" y="732"/>
                  <a:pt x="356" y="732"/>
                  <a:pt x="357" y="732"/>
                </a:cubicBezTo>
                <a:cubicBezTo>
                  <a:pt x="359" y="732"/>
                  <a:pt x="361" y="732"/>
                  <a:pt x="363" y="730"/>
                </a:cubicBezTo>
                <a:cubicBezTo>
                  <a:pt x="364" y="728"/>
                  <a:pt x="365" y="727"/>
                  <a:pt x="365" y="725"/>
                </a:cubicBezTo>
                <a:cubicBezTo>
                  <a:pt x="365" y="723"/>
                  <a:pt x="365" y="723"/>
                  <a:pt x="364" y="722"/>
                </a:cubicBezTo>
                <a:cubicBezTo>
                  <a:pt x="364" y="721"/>
                  <a:pt x="363" y="720"/>
                  <a:pt x="363" y="720"/>
                </a:cubicBezTo>
                <a:cubicBezTo>
                  <a:pt x="363" y="720"/>
                  <a:pt x="364" y="719"/>
                  <a:pt x="364" y="719"/>
                </a:cubicBezTo>
                <a:lnTo>
                  <a:pt x="366" y="720"/>
                </a:lnTo>
                <a:cubicBezTo>
                  <a:pt x="369" y="720"/>
                  <a:pt x="375" y="713"/>
                  <a:pt x="384" y="698"/>
                </a:cubicBezTo>
                <a:lnTo>
                  <a:pt x="391" y="688"/>
                </a:lnTo>
                <a:cubicBezTo>
                  <a:pt x="393" y="687"/>
                  <a:pt x="394" y="685"/>
                  <a:pt x="394" y="683"/>
                </a:cubicBezTo>
                <a:lnTo>
                  <a:pt x="393" y="679"/>
                </a:lnTo>
                <a:cubicBezTo>
                  <a:pt x="393" y="678"/>
                  <a:pt x="393" y="677"/>
                  <a:pt x="394" y="677"/>
                </a:cubicBezTo>
                <a:lnTo>
                  <a:pt x="395" y="677"/>
                </a:lnTo>
                <a:cubicBezTo>
                  <a:pt x="396" y="677"/>
                  <a:pt x="399" y="675"/>
                  <a:pt x="402" y="671"/>
                </a:cubicBezTo>
                <a:cubicBezTo>
                  <a:pt x="406" y="666"/>
                  <a:pt x="410" y="661"/>
                  <a:pt x="413" y="656"/>
                </a:cubicBezTo>
                <a:cubicBezTo>
                  <a:pt x="416" y="651"/>
                  <a:pt x="418" y="648"/>
                  <a:pt x="418" y="646"/>
                </a:cubicBezTo>
                <a:cubicBezTo>
                  <a:pt x="418" y="645"/>
                  <a:pt x="417" y="644"/>
                  <a:pt x="417" y="644"/>
                </a:cubicBezTo>
                <a:cubicBezTo>
                  <a:pt x="416" y="644"/>
                  <a:pt x="414" y="646"/>
                  <a:pt x="411" y="649"/>
                </a:cubicBezTo>
                <a:cubicBezTo>
                  <a:pt x="409" y="653"/>
                  <a:pt x="407" y="655"/>
                  <a:pt x="407" y="655"/>
                </a:cubicBezTo>
                <a:cubicBezTo>
                  <a:pt x="407" y="654"/>
                  <a:pt x="409" y="651"/>
                  <a:pt x="411" y="647"/>
                </a:cubicBezTo>
                <a:cubicBezTo>
                  <a:pt x="414" y="642"/>
                  <a:pt x="416" y="639"/>
                  <a:pt x="417" y="639"/>
                </a:cubicBezTo>
                <a:lnTo>
                  <a:pt x="418" y="640"/>
                </a:lnTo>
                <a:cubicBezTo>
                  <a:pt x="418" y="640"/>
                  <a:pt x="418" y="641"/>
                  <a:pt x="418" y="641"/>
                </a:cubicBezTo>
                <a:cubicBezTo>
                  <a:pt x="420" y="641"/>
                  <a:pt x="424" y="637"/>
                  <a:pt x="429" y="628"/>
                </a:cubicBezTo>
                <a:cubicBezTo>
                  <a:pt x="433" y="622"/>
                  <a:pt x="435" y="619"/>
                  <a:pt x="435" y="618"/>
                </a:cubicBezTo>
                <a:cubicBezTo>
                  <a:pt x="435" y="618"/>
                  <a:pt x="433" y="620"/>
                  <a:pt x="430" y="624"/>
                </a:cubicBezTo>
                <a:cubicBezTo>
                  <a:pt x="425" y="631"/>
                  <a:pt x="421" y="634"/>
                  <a:pt x="420" y="634"/>
                </a:cubicBezTo>
                <a:cubicBezTo>
                  <a:pt x="420" y="634"/>
                  <a:pt x="420" y="634"/>
                  <a:pt x="420" y="634"/>
                </a:cubicBezTo>
                <a:cubicBezTo>
                  <a:pt x="420" y="632"/>
                  <a:pt x="425" y="623"/>
                  <a:pt x="435" y="608"/>
                </a:cubicBezTo>
                <a:cubicBezTo>
                  <a:pt x="447" y="590"/>
                  <a:pt x="454" y="580"/>
                  <a:pt x="454" y="578"/>
                </a:cubicBezTo>
                <a:cubicBezTo>
                  <a:pt x="454" y="576"/>
                  <a:pt x="455" y="574"/>
                  <a:pt x="458" y="572"/>
                </a:cubicBezTo>
                <a:cubicBezTo>
                  <a:pt x="460" y="571"/>
                  <a:pt x="461" y="570"/>
                  <a:pt x="462" y="568"/>
                </a:cubicBezTo>
                <a:cubicBezTo>
                  <a:pt x="463" y="567"/>
                  <a:pt x="464" y="566"/>
                  <a:pt x="464" y="566"/>
                </a:cubicBezTo>
                <a:cubicBezTo>
                  <a:pt x="464" y="564"/>
                  <a:pt x="466" y="561"/>
                  <a:pt x="471" y="555"/>
                </a:cubicBezTo>
                <a:cubicBezTo>
                  <a:pt x="482" y="544"/>
                  <a:pt x="487" y="536"/>
                  <a:pt x="487" y="534"/>
                </a:cubicBezTo>
                <a:lnTo>
                  <a:pt x="487" y="532"/>
                </a:lnTo>
                <a:cubicBezTo>
                  <a:pt x="487" y="532"/>
                  <a:pt x="487" y="531"/>
                  <a:pt x="487" y="531"/>
                </a:cubicBezTo>
                <a:lnTo>
                  <a:pt x="490" y="533"/>
                </a:lnTo>
                <a:cubicBezTo>
                  <a:pt x="492" y="533"/>
                  <a:pt x="492" y="531"/>
                  <a:pt x="492" y="529"/>
                </a:cubicBezTo>
                <a:cubicBezTo>
                  <a:pt x="492" y="526"/>
                  <a:pt x="493" y="525"/>
                  <a:pt x="496" y="525"/>
                </a:cubicBezTo>
                <a:cubicBezTo>
                  <a:pt x="497" y="525"/>
                  <a:pt x="498" y="526"/>
                  <a:pt x="500" y="528"/>
                </a:cubicBezTo>
                <a:cubicBezTo>
                  <a:pt x="502" y="530"/>
                  <a:pt x="503" y="531"/>
                  <a:pt x="505" y="531"/>
                </a:cubicBezTo>
                <a:cubicBezTo>
                  <a:pt x="506" y="531"/>
                  <a:pt x="507" y="531"/>
                  <a:pt x="507" y="530"/>
                </a:cubicBezTo>
                <a:cubicBezTo>
                  <a:pt x="507" y="530"/>
                  <a:pt x="506" y="529"/>
                  <a:pt x="504" y="528"/>
                </a:cubicBezTo>
                <a:cubicBezTo>
                  <a:pt x="503" y="527"/>
                  <a:pt x="502" y="525"/>
                  <a:pt x="502" y="524"/>
                </a:cubicBezTo>
                <a:cubicBezTo>
                  <a:pt x="502" y="522"/>
                  <a:pt x="503" y="520"/>
                  <a:pt x="504" y="519"/>
                </a:cubicBezTo>
                <a:cubicBezTo>
                  <a:pt x="506" y="517"/>
                  <a:pt x="507" y="517"/>
                  <a:pt x="509" y="516"/>
                </a:cubicBezTo>
                <a:cubicBezTo>
                  <a:pt x="514" y="516"/>
                  <a:pt x="518" y="518"/>
                  <a:pt x="521" y="522"/>
                </a:cubicBezTo>
                <a:cubicBezTo>
                  <a:pt x="524" y="526"/>
                  <a:pt x="528" y="527"/>
                  <a:pt x="532" y="527"/>
                </a:cubicBezTo>
                <a:cubicBezTo>
                  <a:pt x="534" y="527"/>
                  <a:pt x="538" y="527"/>
                  <a:pt x="543" y="524"/>
                </a:cubicBezTo>
                <a:cubicBezTo>
                  <a:pt x="546" y="523"/>
                  <a:pt x="548" y="522"/>
                  <a:pt x="550" y="522"/>
                </a:cubicBezTo>
                <a:cubicBezTo>
                  <a:pt x="555" y="522"/>
                  <a:pt x="558" y="528"/>
                  <a:pt x="560" y="538"/>
                </a:cubicBezTo>
                <a:cubicBezTo>
                  <a:pt x="561" y="548"/>
                  <a:pt x="563" y="567"/>
                  <a:pt x="563" y="594"/>
                </a:cubicBezTo>
                <a:cubicBezTo>
                  <a:pt x="563" y="615"/>
                  <a:pt x="563" y="631"/>
                  <a:pt x="564" y="642"/>
                </a:cubicBezTo>
                <a:cubicBezTo>
                  <a:pt x="565" y="650"/>
                  <a:pt x="566" y="654"/>
                  <a:pt x="570" y="654"/>
                </a:cubicBezTo>
                <a:cubicBezTo>
                  <a:pt x="573" y="654"/>
                  <a:pt x="580" y="647"/>
                  <a:pt x="590" y="635"/>
                </a:cubicBezTo>
                <a:cubicBezTo>
                  <a:pt x="611" y="613"/>
                  <a:pt x="622" y="601"/>
                  <a:pt x="622" y="599"/>
                </a:cubicBezTo>
                <a:cubicBezTo>
                  <a:pt x="622" y="598"/>
                  <a:pt x="622" y="598"/>
                  <a:pt x="621" y="598"/>
                </a:cubicBezTo>
                <a:cubicBezTo>
                  <a:pt x="620" y="598"/>
                  <a:pt x="615" y="603"/>
                  <a:pt x="605" y="613"/>
                </a:cubicBezTo>
                <a:lnTo>
                  <a:pt x="596" y="621"/>
                </a:lnTo>
                <a:cubicBezTo>
                  <a:pt x="596" y="621"/>
                  <a:pt x="600" y="616"/>
                  <a:pt x="609" y="607"/>
                </a:cubicBezTo>
                <a:lnTo>
                  <a:pt x="631" y="585"/>
                </a:lnTo>
                <a:cubicBezTo>
                  <a:pt x="631" y="585"/>
                  <a:pt x="630" y="587"/>
                  <a:pt x="627" y="590"/>
                </a:cubicBezTo>
                <a:cubicBezTo>
                  <a:pt x="626" y="592"/>
                  <a:pt x="625" y="593"/>
                  <a:pt x="625" y="594"/>
                </a:cubicBezTo>
                <a:cubicBezTo>
                  <a:pt x="625" y="594"/>
                  <a:pt x="626" y="595"/>
                  <a:pt x="627" y="595"/>
                </a:cubicBezTo>
                <a:cubicBezTo>
                  <a:pt x="627" y="595"/>
                  <a:pt x="629" y="594"/>
                  <a:pt x="632" y="593"/>
                </a:cubicBezTo>
                <a:cubicBezTo>
                  <a:pt x="634" y="591"/>
                  <a:pt x="636" y="589"/>
                  <a:pt x="638" y="586"/>
                </a:cubicBezTo>
                <a:cubicBezTo>
                  <a:pt x="644" y="581"/>
                  <a:pt x="650" y="576"/>
                  <a:pt x="658" y="572"/>
                </a:cubicBezTo>
                <a:cubicBezTo>
                  <a:pt x="665" y="568"/>
                  <a:pt x="672" y="567"/>
                  <a:pt x="676" y="567"/>
                </a:cubicBezTo>
                <a:cubicBezTo>
                  <a:pt x="680" y="567"/>
                  <a:pt x="682" y="568"/>
                  <a:pt x="684" y="570"/>
                </a:cubicBezTo>
                <a:cubicBezTo>
                  <a:pt x="684" y="571"/>
                  <a:pt x="685" y="571"/>
                  <a:pt x="686" y="571"/>
                </a:cubicBezTo>
                <a:cubicBezTo>
                  <a:pt x="689" y="571"/>
                  <a:pt x="692" y="570"/>
                  <a:pt x="697" y="568"/>
                </a:cubicBezTo>
                <a:cubicBezTo>
                  <a:pt x="701" y="567"/>
                  <a:pt x="705" y="566"/>
                  <a:pt x="707" y="566"/>
                </a:cubicBezTo>
                <a:cubicBezTo>
                  <a:pt x="710" y="566"/>
                  <a:pt x="712" y="566"/>
                  <a:pt x="714" y="568"/>
                </a:cubicBezTo>
                <a:lnTo>
                  <a:pt x="716" y="570"/>
                </a:lnTo>
                <a:lnTo>
                  <a:pt x="716" y="570"/>
                </a:lnTo>
                <a:lnTo>
                  <a:pt x="715" y="566"/>
                </a:lnTo>
                <a:cubicBezTo>
                  <a:pt x="715" y="566"/>
                  <a:pt x="715" y="566"/>
                  <a:pt x="715" y="566"/>
                </a:cubicBezTo>
                <a:cubicBezTo>
                  <a:pt x="716" y="566"/>
                  <a:pt x="718" y="567"/>
                  <a:pt x="721" y="570"/>
                </a:cubicBezTo>
                <a:cubicBezTo>
                  <a:pt x="724" y="572"/>
                  <a:pt x="727" y="574"/>
                  <a:pt x="729" y="576"/>
                </a:cubicBezTo>
                <a:cubicBezTo>
                  <a:pt x="730" y="578"/>
                  <a:pt x="731" y="579"/>
                  <a:pt x="731" y="579"/>
                </a:cubicBezTo>
                <a:cubicBezTo>
                  <a:pt x="731" y="579"/>
                  <a:pt x="731" y="579"/>
                  <a:pt x="731" y="579"/>
                </a:cubicBezTo>
                <a:lnTo>
                  <a:pt x="727" y="577"/>
                </a:lnTo>
                <a:lnTo>
                  <a:pt x="727" y="577"/>
                </a:lnTo>
                <a:cubicBezTo>
                  <a:pt x="727" y="580"/>
                  <a:pt x="729" y="583"/>
                  <a:pt x="734" y="589"/>
                </a:cubicBezTo>
                <a:lnTo>
                  <a:pt x="737" y="592"/>
                </a:lnTo>
                <a:lnTo>
                  <a:pt x="734" y="586"/>
                </a:lnTo>
                <a:cubicBezTo>
                  <a:pt x="734" y="586"/>
                  <a:pt x="734" y="586"/>
                  <a:pt x="735" y="586"/>
                </a:cubicBezTo>
                <a:cubicBezTo>
                  <a:pt x="735" y="586"/>
                  <a:pt x="736" y="586"/>
                  <a:pt x="737" y="587"/>
                </a:cubicBezTo>
                <a:cubicBezTo>
                  <a:pt x="737" y="587"/>
                  <a:pt x="738" y="588"/>
                  <a:pt x="738" y="590"/>
                </a:cubicBezTo>
                <a:lnTo>
                  <a:pt x="737" y="594"/>
                </a:lnTo>
                <a:cubicBezTo>
                  <a:pt x="737" y="597"/>
                  <a:pt x="738" y="598"/>
                  <a:pt x="739" y="599"/>
                </a:cubicBezTo>
                <a:cubicBezTo>
                  <a:pt x="741" y="600"/>
                  <a:pt x="742" y="600"/>
                  <a:pt x="742" y="600"/>
                </a:cubicBezTo>
                <a:lnTo>
                  <a:pt x="742" y="600"/>
                </a:lnTo>
                <a:lnTo>
                  <a:pt x="740" y="595"/>
                </a:lnTo>
                <a:cubicBezTo>
                  <a:pt x="740" y="595"/>
                  <a:pt x="741" y="595"/>
                  <a:pt x="742" y="596"/>
                </a:cubicBezTo>
                <a:cubicBezTo>
                  <a:pt x="744" y="597"/>
                  <a:pt x="744" y="598"/>
                  <a:pt x="744" y="599"/>
                </a:cubicBezTo>
                <a:cubicBezTo>
                  <a:pt x="744" y="600"/>
                  <a:pt x="744" y="600"/>
                  <a:pt x="744" y="601"/>
                </a:cubicBezTo>
                <a:cubicBezTo>
                  <a:pt x="744" y="601"/>
                  <a:pt x="743" y="602"/>
                  <a:pt x="743" y="603"/>
                </a:cubicBezTo>
                <a:cubicBezTo>
                  <a:pt x="743" y="605"/>
                  <a:pt x="744" y="607"/>
                  <a:pt x="747" y="610"/>
                </a:cubicBezTo>
                <a:cubicBezTo>
                  <a:pt x="749" y="612"/>
                  <a:pt x="752" y="614"/>
                  <a:pt x="754" y="614"/>
                </a:cubicBezTo>
                <a:cubicBezTo>
                  <a:pt x="757" y="614"/>
                  <a:pt x="758" y="614"/>
                  <a:pt x="758" y="614"/>
                </a:cubicBezTo>
                <a:cubicBezTo>
                  <a:pt x="758" y="615"/>
                  <a:pt x="757" y="616"/>
                  <a:pt x="757" y="617"/>
                </a:cubicBezTo>
                <a:cubicBezTo>
                  <a:pt x="756" y="618"/>
                  <a:pt x="755" y="619"/>
                  <a:pt x="755" y="620"/>
                </a:cubicBezTo>
                <a:cubicBezTo>
                  <a:pt x="755" y="621"/>
                  <a:pt x="756" y="621"/>
                  <a:pt x="758" y="621"/>
                </a:cubicBezTo>
                <a:cubicBezTo>
                  <a:pt x="761" y="621"/>
                  <a:pt x="764" y="620"/>
                  <a:pt x="769" y="618"/>
                </a:cubicBezTo>
                <a:cubicBezTo>
                  <a:pt x="774" y="616"/>
                  <a:pt x="777" y="613"/>
                  <a:pt x="780" y="610"/>
                </a:cubicBezTo>
                <a:cubicBezTo>
                  <a:pt x="785" y="604"/>
                  <a:pt x="788" y="601"/>
                  <a:pt x="789" y="601"/>
                </a:cubicBezTo>
                <a:cubicBezTo>
                  <a:pt x="790" y="601"/>
                  <a:pt x="790" y="601"/>
                  <a:pt x="790" y="602"/>
                </a:cubicBezTo>
                <a:cubicBezTo>
                  <a:pt x="790" y="603"/>
                  <a:pt x="790" y="604"/>
                  <a:pt x="790" y="606"/>
                </a:cubicBezTo>
                <a:cubicBezTo>
                  <a:pt x="789" y="607"/>
                  <a:pt x="789" y="609"/>
                  <a:pt x="789" y="610"/>
                </a:cubicBezTo>
                <a:cubicBezTo>
                  <a:pt x="789" y="612"/>
                  <a:pt x="789" y="614"/>
                  <a:pt x="789" y="616"/>
                </a:cubicBezTo>
                <a:cubicBezTo>
                  <a:pt x="788" y="618"/>
                  <a:pt x="787" y="621"/>
                  <a:pt x="784" y="624"/>
                </a:cubicBezTo>
                <a:cubicBezTo>
                  <a:pt x="781" y="627"/>
                  <a:pt x="778" y="630"/>
                  <a:pt x="774" y="633"/>
                </a:cubicBezTo>
                <a:cubicBezTo>
                  <a:pt x="770" y="636"/>
                  <a:pt x="767" y="637"/>
                  <a:pt x="764" y="637"/>
                </a:cubicBezTo>
                <a:cubicBezTo>
                  <a:pt x="762" y="637"/>
                  <a:pt x="759" y="637"/>
                  <a:pt x="756" y="635"/>
                </a:cubicBezTo>
                <a:cubicBezTo>
                  <a:pt x="753" y="634"/>
                  <a:pt x="750" y="633"/>
                  <a:pt x="747" y="631"/>
                </a:cubicBezTo>
                <a:cubicBezTo>
                  <a:pt x="745" y="630"/>
                  <a:pt x="744" y="628"/>
                  <a:pt x="744" y="627"/>
                </a:cubicBezTo>
                <a:lnTo>
                  <a:pt x="744" y="627"/>
                </a:lnTo>
                <a:cubicBezTo>
                  <a:pt x="744" y="627"/>
                  <a:pt x="745" y="626"/>
                  <a:pt x="745" y="626"/>
                </a:cubicBezTo>
                <a:cubicBezTo>
                  <a:pt x="745" y="625"/>
                  <a:pt x="744" y="625"/>
                  <a:pt x="743" y="625"/>
                </a:cubicBezTo>
                <a:cubicBezTo>
                  <a:pt x="742" y="625"/>
                  <a:pt x="741" y="625"/>
                  <a:pt x="741" y="625"/>
                </a:cubicBezTo>
                <a:cubicBezTo>
                  <a:pt x="739" y="626"/>
                  <a:pt x="739" y="627"/>
                  <a:pt x="738" y="627"/>
                </a:cubicBezTo>
                <a:cubicBezTo>
                  <a:pt x="738" y="628"/>
                  <a:pt x="737" y="628"/>
                  <a:pt x="737" y="628"/>
                </a:cubicBezTo>
                <a:cubicBezTo>
                  <a:pt x="734" y="628"/>
                  <a:pt x="729" y="626"/>
                  <a:pt x="723" y="620"/>
                </a:cubicBezTo>
                <a:cubicBezTo>
                  <a:pt x="716" y="615"/>
                  <a:pt x="710" y="610"/>
                  <a:pt x="705" y="603"/>
                </a:cubicBezTo>
                <a:cubicBezTo>
                  <a:pt x="699" y="597"/>
                  <a:pt x="696" y="592"/>
                  <a:pt x="696" y="589"/>
                </a:cubicBezTo>
                <a:cubicBezTo>
                  <a:pt x="696" y="587"/>
                  <a:pt x="696" y="586"/>
                  <a:pt x="694" y="586"/>
                </a:cubicBezTo>
                <a:cubicBezTo>
                  <a:pt x="689" y="586"/>
                  <a:pt x="668" y="605"/>
                  <a:pt x="633" y="643"/>
                </a:cubicBezTo>
                <a:cubicBezTo>
                  <a:pt x="618" y="659"/>
                  <a:pt x="606" y="671"/>
                  <a:pt x="597" y="677"/>
                </a:cubicBezTo>
                <a:cubicBezTo>
                  <a:pt x="588" y="684"/>
                  <a:pt x="580" y="688"/>
                  <a:pt x="573" y="688"/>
                </a:cubicBezTo>
                <a:cubicBezTo>
                  <a:pt x="570" y="688"/>
                  <a:pt x="567" y="687"/>
                  <a:pt x="564" y="686"/>
                </a:cubicBezTo>
                <a:cubicBezTo>
                  <a:pt x="561" y="685"/>
                  <a:pt x="559" y="685"/>
                  <a:pt x="559" y="684"/>
                </a:cubicBezTo>
                <a:cubicBezTo>
                  <a:pt x="559" y="684"/>
                  <a:pt x="560" y="683"/>
                  <a:pt x="562" y="682"/>
                </a:cubicBezTo>
                <a:cubicBezTo>
                  <a:pt x="565" y="681"/>
                  <a:pt x="566" y="681"/>
                  <a:pt x="566" y="680"/>
                </a:cubicBezTo>
                <a:cubicBezTo>
                  <a:pt x="566" y="680"/>
                  <a:pt x="563" y="679"/>
                  <a:pt x="559" y="679"/>
                </a:cubicBezTo>
                <a:cubicBezTo>
                  <a:pt x="554" y="679"/>
                  <a:pt x="550" y="679"/>
                  <a:pt x="549" y="676"/>
                </a:cubicBezTo>
                <a:cubicBezTo>
                  <a:pt x="547" y="674"/>
                  <a:pt x="544" y="674"/>
                  <a:pt x="541" y="674"/>
                </a:cubicBezTo>
                <a:cubicBezTo>
                  <a:pt x="536" y="674"/>
                  <a:pt x="532" y="670"/>
                  <a:pt x="526" y="662"/>
                </a:cubicBezTo>
                <a:cubicBezTo>
                  <a:pt x="523" y="660"/>
                  <a:pt x="522" y="657"/>
                  <a:pt x="522" y="656"/>
                </a:cubicBezTo>
                <a:lnTo>
                  <a:pt x="523" y="653"/>
                </a:lnTo>
                <a:cubicBezTo>
                  <a:pt x="523" y="652"/>
                  <a:pt x="522" y="652"/>
                  <a:pt x="521" y="652"/>
                </a:cubicBezTo>
                <a:cubicBezTo>
                  <a:pt x="519" y="652"/>
                  <a:pt x="518" y="651"/>
                  <a:pt x="518" y="648"/>
                </a:cubicBezTo>
                <a:cubicBezTo>
                  <a:pt x="518" y="647"/>
                  <a:pt x="518" y="646"/>
                  <a:pt x="519" y="644"/>
                </a:cubicBezTo>
                <a:cubicBezTo>
                  <a:pt x="519" y="643"/>
                  <a:pt x="520" y="642"/>
                  <a:pt x="521" y="642"/>
                </a:cubicBezTo>
                <a:cubicBezTo>
                  <a:pt x="523" y="642"/>
                  <a:pt x="523" y="641"/>
                  <a:pt x="523" y="641"/>
                </a:cubicBezTo>
                <a:cubicBezTo>
                  <a:pt x="523" y="640"/>
                  <a:pt x="522" y="640"/>
                  <a:pt x="520" y="640"/>
                </a:cubicBezTo>
                <a:cubicBezTo>
                  <a:pt x="518" y="640"/>
                  <a:pt x="517" y="638"/>
                  <a:pt x="516" y="633"/>
                </a:cubicBezTo>
                <a:cubicBezTo>
                  <a:pt x="515" y="628"/>
                  <a:pt x="515" y="620"/>
                  <a:pt x="515" y="608"/>
                </a:cubicBezTo>
                <a:lnTo>
                  <a:pt x="515" y="580"/>
                </a:lnTo>
                <a:cubicBezTo>
                  <a:pt x="515" y="570"/>
                  <a:pt x="514" y="565"/>
                  <a:pt x="513" y="565"/>
                </a:cubicBezTo>
                <a:lnTo>
                  <a:pt x="513" y="565"/>
                </a:lnTo>
                <a:cubicBezTo>
                  <a:pt x="511" y="567"/>
                  <a:pt x="506" y="574"/>
                  <a:pt x="496" y="587"/>
                </a:cubicBezTo>
                <a:cubicBezTo>
                  <a:pt x="472" y="620"/>
                  <a:pt x="450" y="651"/>
                  <a:pt x="431" y="680"/>
                </a:cubicBezTo>
                <a:cubicBezTo>
                  <a:pt x="422" y="694"/>
                  <a:pt x="417" y="701"/>
                  <a:pt x="416" y="701"/>
                </a:cubicBezTo>
                <a:cubicBezTo>
                  <a:pt x="416" y="699"/>
                  <a:pt x="420" y="691"/>
                  <a:pt x="430" y="676"/>
                </a:cubicBezTo>
                <a:cubicBezTo>
                  <a:pt x="452" y="641"/>
                  <a:pt x="473" y="608"/>
                  <a:pt x="494" y="579"/>
                </a:cubicBezTo>
                <a:cubicBezTo>
                  <a:pt x="509" y="558"/>
                  <a:pt x="516" y="545"/>
                  <a:pt x="516" y="539"/>
                </a:cubicBezTo>
                <a:cubicBezTo>
                  <a:pt x="516" y="537"/>
                  <a:pt x="515" y="536"/>
                  <a:pt x="514" y="536"/>
                </a:cubicBezTo>
                <a:cubicBezTo>
                  <a:pt x="513" y="536"/>
                  <a:pt x="511" y="537"/>
                  <a:pt x="508" y="538"/>
                </a:cubicBezTo>
                <a:cubicBezTo>
                  <a:pt x="506" y="540"/>
                  <a:pt x="504" y="542"/>
                  <a:pt x="502" y="544"/>
                </a:cubicBezTo>
                <a:cubicBezTo>
                  <a:pt x="500" y="546"/>
                  <a:pt x="499" y="548"/>
                  <a:pt x="498" y="549"/>
                </a:cubicBezTo>
                <a:cubicBezTo>
                  <a:pt x="497" y="551"/>
                  <a:pt x="496" y="553"/>
                  <a:pt x="495" y="554"/>
                </a:cubicBezTo>
                <a:cubicBezTo>
                  <a:pt x="493" y="555"/>
                  <a:pt x="492" y="555"/>
                  <a:pt x="491" y="555"/>
                </a:cubicBezTo>
                <a:cubicBezTo>
                  <a:pt x="489" y="555"/>
                  <a:pt x="488" y="556"/>
                  <a:pt x="488" y="558"/>
                </a:cubicBezTo>
                <a:lnTo>
                  <a:pt x="489" y="562"/>
                </a:lnTo>
                <a:cubicBezTo>
                  <a:pt x="489" y="564"/>
                  <a:pt x="488" y="564"/>
                  <a:pt x="487" y="564"/>
                </a:cubicBezTo>
                <a:cubicBezTo>
                  <a:pt x="486" y="564"/>
                  <a:pt x="484" y="567"/>
                  <a:pt x="481" y="572"/>
                </a:cubicBezTo>
                <a:cubicBezTo>
                  <a:pt x="481" y="574"/>
                  <a:pt x="480" y="576"/>
                  <a:pt x="480" y="578"/>
                </a:cubicBezTo>
                <a:cubicBezTo>
                  <a:pt x="480" y="579"/>
                  <a:pt x="480" y="579"/>
                  <a:pt x="480" y="579"/>
                </a:cubicBezTo>
                <a:cubicBezTo>
                  <a:pt x="482" y="579"/>
                  <a:pt x="484" y="577"/>
                  <a:pt x="488" y="572"/>
                </a:cubicBezTo>
                <a:cubicBezTo>
                  <a:pt x="491" y="567"/>
                  <a:pt x="494" y="564"/>
                  <a:pt x="496" y="564"/>
                </a:cubicBezTo>
                <a:cubicBezTo>
                  <a:pt x="497" y="564"/>
                  <a:pt x="497" y="564"/>
                  <a:pt x="497" y="565"/>
                </a:cubicBezTo>
                <a:cubicBezTo>
                  <a:pt x="497" y="566"/>
                  <a:pt x="496" y="566"/>
                  <a:pt x="495" y="567"/>
                </a:cubicBezTo>
                <a:cubicBezTo>
                  <a:pt x="493" y="568"/>
                  <a:pt x="492" y="569"/>
                  <a:pt x="491" y="571"/>
                </a:cubicBezTo>
                <a:cubicBezTo>
                  <a:pt x="490" y="572"/>
                  <a:pt x="489" y="573"/>
                  <a:pt x="489" y="574"/>
                </a:cubicBezTo>
                <a:cubicBezTo>
                  <a:pt x="489" y="575"/>
                  <a:pt x="488" y="577"/>
                  <a:pt x="486" y="580"/>
                </a:cubicBezTo>
                <a:cubicBezTo>
                  <a:pt x="484" y="583"/>
                  <a:pt x="482" y="586"/>
                  <a:pt x="478" y="589"/>
                </a:cubicBezTo>
                <a:cubicBezTo>
                  <a:pt x="474" y="592"/>
                  <a:pt x="472" y="594"/>
                  <a:pt x="472" y="594"/>
                </a:cubicBezTo>
                <a:cubicBezTo>
                  <a:pt x="472" y="594"/>
                  <a:pt x="472" y="593"/>
                  <a:pt x="473" y="593"/>
                </a:cubicBezTo>
                <a:cubicBezTo>
                  <a:pt x="476" y="588"/>
                  <a:pt x="478" y="585"/>
                  <a:pt x="478" y="583"/>
                </a:cubicBezTo>
                <a:cubicBezTo>
                  <a:pt x="478" y="581"/>
                  <a:pt x="477" y="581"/>
                  <a:pt x="476" y="581"/>
                </a:cubicBezTo>
                <a:lnTo>
                  <a:pt x="474" y="581"/>
                </a:lnTo>
                <a:cubicBezTo>
                  <a:pt x="471" y="582"/>
                  <a:pt x="469" y="584"/>
                  <a:pt x="469" y="586"/>
                </a:cubicBezTo>
                <a:cubicBezTo>
                  <a:pt x="469" y="589"/>
                  <a:pt x="468" y="592"/>
                  <a:pt x="465" y="594"/>
                </a:cubicBezTo>
                <a:cubicBezTo>
                  <a:pt x="462" y="596"/>
                  <a:pt x="461" y="597"/>
                  <a:pt x="461" y="597"/>
                </a:cubicBezTo>
                <a:cubicBezTo>
                  <a:pt x="461" y="597"/>
                  <a:pt x="461" y="596"/>
                  <a:pt x="462" y="595"/>
                </a:cubicBezTo>
                <a:lnTo>
                  <a:pt x="463" y="592"/>
                </a:lnTo>
                <a:cubicBezTo>
                  <a:pt x="463" y="592"/>
                  <a:pt x="462" y="592"/>
                  <a:pt x="461" y="593"/>
                </a:cubicBezTo>
                <a:cubicBezTo>
                  <a:pt x="459" y="594"/>
                  <a:pt x="459" y="595"/>
                  <a:pt x="459" y="596"/>
                </a:cubicBezTo>
                <a:cubicBezTo>
                  <a:pt x="459" y="597"/>
                  <a:pt x="459" y="597"/>
                  <a:pt x="459" y="598"/>
                </a:cubicBezTo>
                <a:lnTo>
                  <a:pt x="459" y="598"/>
                </a:lnTo>
                <a:cubicBezTo>
                  <a:pt x="459" y="601"/>
                  <a:pt x="456" y="607"/>
                  <a:pt x="449" y="617"/>
                </a:cubicBezTo>
                <a:cubicBezTo>
                  <a:pt x="443" y="626"/>
                  <a:pt x="440" y="632"/>
                  <a:pt x="440" y="635"/>
                </a:cubicBezTo>
                <a:cubicBezTo>
                  <a:pt x="440" y="636"/>
                  <a:pt x="440" y="637"/>
                  <a:pt x="441" y="637"/>
                </a:cubicBezTo>
                <a:cubicBezTo>
                  <a:pt x="442" y="638"/>
                  <a:pt x="442" y="638"/>
                  <a:pt x="442" y="639"/>
                </a:cubicBezTo>
                <a:cubicBezTo>
                  <a:pt x="442" y="640"/>
                  <a:pt x="442" y="640"/>
                  <a:pt x="441" y="641"/>
                </a:cubicBezTo>
                <a:cubicBezTo>
                  <a:pt x="441" y="642"/>
                  <a:pt x="440" y="642"/>
                  <a:pt x="439" y="642"/>
                </a:cubicBezTo>
                <a:cubicBezTo>
                  <a:pt x="438" y="642"/>
                  <a:pt x="438" y="642"/>
                  <a:pt x="438" y="640"/>
                </a:cubicBezTo>
                <a:cubicBezTo>
                  <a:pt x="438" y="639"/>
                  <a:pt x="437" y="639"/>
                  <a:pt x="436" y="639"/>
                </a:cubicBezTo>
                <a:lnTo>
                  <a:pt x="433" y="639"/>
                </a:lnTo>
                <a:cubicBezTo>
                  <a:pt x="431" y="640"/>
                  <a:pt x="430" y="641"/>
                  <a:pt x="430" y="642"/>
                </a:cubicBezTo>
                <a:lnTo>
                  <a:pt x="430" y="643"/>
                </a:lnTo>
                <a:cubicBezTo>
                  <a:pt x="430" y="646"/>
                  <a:pt x="422" y="659"/>
                  <a:pt x="406" y="681"/>
                </a:cubicBezTo>
                <a:cubicBezTo>
                  <a:pt x="385" y="711"/>
                  <a:pt x="375" y="728"/>
                  <a:pt x="375" y="731"/>
                </a:cubicBezTo>
                <a:cubicBezTo>
                  <a:pt x="375" y="732"/>
                  <a:pt x="374" y="732"/>
                  <a:pt x="374" y="733"/>
                </a:cubicBezTo>
                <a:cubicBezTo>
                  <a:pt x="373" y="734"/>
                  <a:pt x="373" y="734"/>
                  <a:pt x="372" y="734"/>
                </a:cubicBezTo>
                <a:cubicBezTo>
                  <a:pt x="372" y="734"/>
                  <a:pt x="370" y="735"/>
                  <a:pt x="368" y="738"/>
                </a:cubicBezTo>
                <a:cubicBezTo>
                  <a:pt x="366" y="741"/>
                  <a:pt x="363" y="744"/>
                  <a:pt x="361" y="748"/>
                </a:cubicBezTo>
                <a:cubicBezTo>
                  <a:pt x="356" y="757"/>
                  <a:pt x="350" y="766"/>
                  <a:pt x="342" y="776"/>
                </a:cubicBezTo>
                <a:cubicBezTo>
                  <a:pt x="335" y="785"/>
                  <a:pt x="332" y="790"/>
                  <a:pt x="332" y="792"/>
                </a:cubicBezTo>
                <a:cubicBezTo>
                  <a:pt x="332" y="794"/>
                  <a:pt x="333" y="796"/>
                  <a:pt x="335" y="796"/>
                </a:cubicBezTo>
                <a:cubicBezTo>
                  <a:pt x="337" y="796"/>
                  <a:pt x="338" y="795"/>
                  <a:pt x="340" y="793"/>
                </a:cubicBezTo>
                <a:cubicBezTo>
                  <a:pt x="341" y="791"/>
                  <a:pt x="342" y="790"/>
                  <a:pt x="342" y="790"/>
                </a:cubicBezTo>
                <a:cubicBezTo>
                  <a:pt x="342" y="789"/>
                  <a:pt x="342" y="789"/>
                  <a:pt x="341" y="789"/>
                </a:cubicBezTo>
                <a:cubicBezTo>
                  <a:pt x="341" y="789"/>
                  <a:pt x="340" y="789"/>
                  <a:pt x="340" y="788"/>
                </a:cubicBezTo>
                <a:cubicBezTo>
                  <a:pt x="340" y="787"/>
                  <a:pt x="342" y="785"/>
                  <a:pt x="346" y="781"/>
                </a:cubicBezTo>
                <a:cubicBezTo>
                  <a:pt x="350" y="778"/>
                  <a:pt x="354" y="776"/>
                  <a:pt x="358" y="776"/>
                </a:cubicBezTo>
                <a:lnTo>
                  <a:pt x="360" y="776"/>
                </a:lnTo>
                <a:cubicBezTo>
                  <a:pt x="363" y="776"/>
                  <a:pt x="367" y="775"/>
                  <a:pt x="369" y="772"/>
                </a:cubicBezTo>
                <a:cubicBezTo>
                  <a:pt x="370" y="769"/>
                  <a:pt x="372" y="768"/>
                  <a:pt x="372" y="768"/>
                </a:cubicBezTo>
                <a:cubicBezTo>
                  <a:pt x="372" y="768"/>
                  <a:pt x="372" y="767"/>
                  <a:pt x="371" y="767"/>
                </a:cubicBezTo>
                <a:lnTo>
                  <a:pt x="367" y="770"/>
                </a:lnTo>
                <a:cubicBezTo>
                  <a:pt x="362" y="772"/>
                  <a:pt x="359" y="774"/>
                  <a:pt x="357" y="774"/>
                </a:cubicBezTo>
                <a:cubicBezTo>
                  <a:pt x="356" y="774"/>
                  <a:pt x="356" y="773"/>
                  <a:pt x="356" y="772"/>
                </a:cubicBezTo>
                <a:cubicBezTo>
                  <a:pt x="356" y="771"/>
                  <a:pt x="356" y="770"/>
                  <a:pt x="357" y="769"/>
                </a:cubicBezTo>
                <a:cubicBezTo>
                  <a:pt x="358" y="767"/>
                  <a:pt x="360" y="767"/>
                  <a:pt x="362" y="766"/>
                </a:cubicBezTo>
                <a:cubicBezTo>
                  <a:pt x="363" y="765"/>
                  <a:pt x="365" y="764"/>
                  <a:pt x="366" y="764"/>
                </a:cubicBezTo>
                <a:cubicBezTo>
                  <a:pt x="368" y="764"/>
                  <a:pt x="369" y="764"/>
                  <a:pt x="370" y="764"/>
                </a:cubicBezTo>
                <a:cubicBezTo>
                  <a:pt x="370" y="763"/>
                  <a:pt x="371" y="763"/>
                  <a:pt x="371" y="762"/>
                </a:cubicBezTo>
                <a:cubicBezTo>
                  <a:pt x="371" y="762"/>
                  <a:pt x="370" y="761"/>
                  <a:pt x="370" y="760"/>
                </a:cubicBezTo>
                <a:cubicBezTo>
                  <a:pt x="370" y="759"/>
                  <a:pt x="369" y="759"/>
                  <a:pt x="367" y="759"/>
                </a:cubicBezTo>
                <a:cubicBezTo>
                  <a:pt x="367" y="759"/>
                  <a:pt x="366" y="759"/>
                  <a:pt x="365" y="760"/>
                </a:cubicBezTo>
                <a:cubicBezTo>
                  <a:pt x="365" y="761"/>
                  <a:pt x="364" y="761"/>
                  <a:pt x="364" y="761"/>
                </a:cubicBezTo>
                <a:cubicBezTo>
                  <a:pt x="364" y="761"/>
                  <a:pt x="363" y="761"/>
                  <a:pt x="363" y="760"/>
                </a:cubicBezTo>
                <a:lnTo>
                  <a:pt x="364" y="759"/>
                </a:lnTo>
                <a:cubicBezTo>
                  <a:pt x="365" y="757"/>
                  <a:pt x="367" y="756"/>
                  <a:pt x="367" y="756"/>
                </a:cubicBezTo>
                <a:cubicBezTo>
                  <a:pt x="368" y="756"/>
                  <a:pt x="369" y="757"/>
                  <a:pt x="369" y="757"/>
                </a:cubicBezTo>
                <a:cubicBezTo>
                  <a:pt x="369" y="757"/>
                  <a:pt x="369" y="757"/>
                  <a:pt x="370" y="757"/>
                </a:cubicBezTo>
                <a:cubicBezTo>
                  <a:pt x="371" y="757"/>
                  <a:pt x="373" y="756"/>
                  <a:pt x="375" y="752"/>
                </a:cubicBezTo>
                <a:cubicBezTo>
                  <a:pt x="375" y="751"/>
                  <a:pt x="376" y="749"/>
                  <a:pt x="377" y="748"/>
                </a:cubicBezTo>
                <a:cubicBezTo>
                  <a:pt x="379" y="747"/>
                  <a:pt x="380" y="746"/>
                  <a:pt x="381" y="746"/>
                </a:cubicBezTo>
                <a:cubicBezTo>
                  <a:pt x="382" y="746"/>
                  <a:pt x="382" y="747"/>
                  <a:pt x="382" y="747"/>
                </a:cubicBezTo>
                <a:cubicBezTo>
                  <a:pt x="382" y="748"/>
                  <a:pt x="382" y="749"/>
                  <a:pt x="380" y="751"/>
                </a:cubicBezTo>
                <a:cubicBezTo>
                  <a:pt x="379" y="752"/>
                  <a:pt x="378" y="754"/>
                  <a:pt x="378" y="756"/>
                </a:cubicBezTo>
                <a:cubicBezTo>
                  <a:pt x="378" y="757"/>
                  <a:pt x="379" y="758"/>
                  <a:pt x="379" y="759"/>
                </a:cubicBezTo>
                <a:cubicBezTo>
                  <a:pt x="380" y="759"/>
                  <a:pt x="380" y="760"/>
                  <a:pt x="380" y="760"/>
                </a:cubicBezTo>
                <a:cubicBezTo>
                  <a:pt x="380" y="761"/>
                  <a:pt x="380" y="761"/>
                  <a:pt x="379" y="761"/>
                </a:cubicBezTo>
                <a:cubicBezTo>
                  <a:pt x="379" y="761"/>
                  <a:pt x="379" y="761"/>
                  <a:pt x="378" y="760"/>
                </a:cubicBezTo>
                <a:cubicBezTo>
                  <a:pt x="378" y="759"/>
                  <a:pt x="377" y="759"/>
                  <a:pt x="376" y="759"/>
                </a:cubicBezTo>
                <a:cubicBezTo>
                  <a:pt x="375" y="759"/>
                  <a:pt x="375" y="761"/>
                  <a:pt x="375" y="763"/>
                </a:cubicBezTo>
                <a:cubicBezTo>
                  <a:pt x="375" y="766"/>
                  <a:pt x="372" y="771"/>
                  <a:pt x="366" y="778"/>
                </a:cubicBezTo>
                <a:cubicBezTo>
                  <a:pt x="360" y="785"/>
                  <a:pt x="355" y="791"/>
                  <a:pt x="349" y="797"/>
                </a:cubicBezTo>
                <a:cubicBezTo>
                  <a:pt x="341" y="805"/>
                  <a:pt x="335" y="808"/>
                  <a:pt x="330" y="808"/>
                </a:cubicBezTo>
                <a:close/>
                <a:moveTo>
                  <a:pt x="736" y="623"/>
                </a:moveTo>
                <a:cubicBezTo>
                  <a:pt x="737" y="623"/>
                  <a:pt x="737" y="622"/>
                  <a:pt x="737" y="621"/>
                </a:cubicBezTo>
                <a:cubicBezTo>
                  <a:pt x="737" y="620"/>
                  <a:pt x="737" y="619"/>
                  <a:pt x="735" y="617"/>
                </a:cubicBezTo>
                <a:cubicBezTo>
                  <a:pt x="733" y="615"/>
                  <a:pt x="732" y="614"/>
                  <a:pt x="732" y="614"/>
                </a:cubicBezTo>
                <a:lnTo>
                  <a:pt x="734" y="614"/>
                </a:lnTo>
                <a:cubicBezTo>
                  <a:pt x="734" y="613"/>
                  <a:pt x="732" y="609"/>
                  <a:pt x="729" y="603"/>
                </a:cubicBezTo>
                <a:cubicBezTo>
                  <a:pt x="719" y="589"/>
                  <a:pt x="712" y="583"/>
                  <a:pt x="705" y="583"/>
                </a:cubicBezTo>
                <a:cubicBezTo>
                  <a:pt x="704" y="583"/>
                  <a:pt x="704" y="583"/>
                  <a:pt x="704" y="584"/>
                </a:cubicBezTo>
                <a:cubicBezTo>
                  <a:pt x="704" y="585"/>
                  <a:pt x="704" y="586"/>
                  <a:pt x="706" y="589"/>
                </a:cubicBezTo>
                <a:cubicBezTo>
                  <a:pt x="707" y="591"/>
                  <a:pt x="709" y="593"/>
                  <a:pt x="711" y="593"/>
                </a:cubicBezTo>
                <a:lnTo>
                  <a:pt x="713" y="592"/>
                </a:lnTo>
                <a:lnTo>
                  <a:pt x="713" y="592"/>
                </a:lnTo>
                <a:cubicBezTo>
                  <a:pt x="713" y="592"/>
                  <a:pt x="712" y="593"/>
                  <a:pt x="711" y="595"/>
                </a:cubicBezTo>
                <a:cubicBezTo>
                  <a:pt x="710" y="598"/>
                  <a:pt x="709" y="599"/>
                  <a:pt x="709" y="600"/>
                </a:cubicBezTo>
                <a:cubicBezTo>
                  <a:pt x="709" y="600"/>
                  <a:pt x="709" y="600"/>
                  <a:pt x="709" y="600"/>
                </a:cubicBezTo>
                <a:lnTo>
                  <a:pt x="714" y="600"/>
                </a:lnTo>
                <a:cubicBezTo>
                  <a:pt x="717" y="600"/>
                  <a:pt x="718" y="600"/>
                  <a:pt x="718" y="602"/>
                </a:cubicBezTo>
                <a:cubicBezTo>
                  <a:pt x="718" y="603"/>
                  <a:pt x="717" y="604"/>
                  <a:pt x="716" y="605"/>
                </a:cubicBezTo>
                <a:cubicBezTo>
                  <a:pt x="715" y="607"/>
                  <a:pt x="714" y="608"/>
                  <a:pt x="714" y="609"/>
                </a:cubicBezTo>
                <a:lnTo>
                  <a:pt x="715" y="609"/>
                </a:lnTo>
                <a:lnTo>
                  <a:pt x="717" y="608"/>
                </a:lnTo>
                <a:cubicBezTo>
                  <a:pt x="719" y="608"/>
                  <a:pt x="721" y="609"/>
                  <a:pt x="724" y="611"/>
                </a:cubicBezTo>
                <a:cubicBezTo>
                  <a:pt x="726" y="613"/>
                  <a:pt x="727" y="614"/>
                  <a:pt x="727" y="614"/>
                </a:cubicBezTo>
                <a:cubicBezTo>
                  <a:pt x="727" y="615"/>
                  <a:pt x="726" y="615"/>
                  <a:pt x="726" y="615"/>
                </a:cubicBezTo>
                <a:lnTo>
                  <a:pt x="724" y="614"/>
                </a:lnTo>
                <a:lnTo>
                  <a:pt x="724" y="614"/>
                </a:lnTo>
                <a:cubicBezTo>
                  <a:pt x="724" y="615"/>
                  <a:pt x="725" y="616"/>
                  <a:pt x="727" y="617"/>
                </a:cubicBezTo>
                <a:cubicBezTo>
                  <a:pt x="729" y="620"/>
                  <a:pt x="731" y="621"/>
                  <a:pt x="732" y="622"/>
                </a:cubicBezTo>
                <a:cubicBezTo>
                  <a:pt x="734" y="623"/>
                  <a:pt x="735" y="623"/>
                  <a:pt x="736" y="623"/>
                </a:cubicBezTo>
                <a:close/>
                <a:moveTo>
                  <a:pt x="578" y="673"/>
                </a:moveTo>
                <a:cubicBezTo>
                  <a:pt x="580" y="673"/>
                  <a:pt x="583" y="671"/>
                  <a:pt x="589" y="668"/>
                </a:cubicBezTo>
                <a:cubicBezTo>
                  <a:pt x="596" y="664"/>
                  <a:pt x="612" y="647"/>
                  <a:pt x="637" y="620"/>
                </a:cubicBezTo>
                <a:cubicBezTo>
                  <a:pt x="645" y="610"/>
                  <a:pt x="654" y="601"/>
                  <a:pt x="665" y="590"/>
                </a:cubicBezTo>
                <a:cubicBezTo>
                  <a:pt x="672" y="583"/>
                  <a:pt x="675" y="579"/>
                  <a:pt x="675" y="578"/>
                </a:cubicBezTo>
                <a:lnTo>
                  <a:pt x="671" y="579"/>
                </a:lnTo>
                <a:cubicBezTo>
                  <a:pt x="671" y="579"/>
                  <a:pt x="670" y="579"/>
                  <a:pt x="670" y="579"/>
                </a:cubicBezTo>
                <a:cubicBezTo>
                  <a:pt x="670" y="579"/>
                  <a:pt x="671" y="577"/>
                  <a:pt x="673" y="575"/>
                </a:cubicBezTo>
                <a:cubicBezTo>
                  <a:pt x="674" y="573"/>
                  <a:pt x="675" y="572"/>
                  <a:pt x="675" y="572"/>
                </a:cubicBezTo>
                <a:cubicBezTo>
                  <a:pt x="675" y="571"/>
                  <a:pt x="675" y="571"/>
                  <a:pt x="675" y="571"/>
                </a:cubicBezTo>
                <a:cubicBezTo>
                  <a:pt x="674" y="571"/>
                  <a:pt x="672" y="572"/>
                  <a:pt x="669" y="573"/>
                </a:cubicBezTo>
                <a:cubicBezTo>
                  <a:pt x="660" y="577"/>
                  <a:pt x="642" y="593"/>
                  <a:pt x="614" y="621"/>
                </a:cubicBezTo>
                <a:cubicBezTo>
                  <a:pt x="587" y="649"/>
                  <a:pt x="573" y="665"/>
                  <a:pt x="573" y="670"/>
                </a:cubicBezTo>
                <a:cubicBezTo>
                  <a:pt x="573" y="670"/>
                  <a:pt x="573" y="671"/>
                  <a:pt x="574" y="671"/>
                </a:cubicBezTo>
                <a:cubicBezTo>
                  <a:pt x="575" y="671"/>
                  <a:pt x="575" y="672"/>
                  <a:pt x="576" y="672"/>
                </a:cubicBezTo>
                <a:cubicBezTo>
                  <a:pt x="577" y="673"/>
                  <a:pt x="578" y="673"/>
                  <a:pt x="578" y="673"/>
                </a:cubicBezTo>
                <a:close/>
                <a:moveTo>
                  <a:pt x="537" y="661"/>
                </a:moveTo>
                <a:lnTo>
                  <a:pt x="537" y="660"/>
                </a:lnTo>
                <a:cubicBezTo>
                  <a:pt x="538" y="659"/>
                  <a:pt x="538" y="659"/>
                  <a:pt x="538" y="658"/>
                </a:cubicBezTo>
                <a:lnTo>
                  <a:pt x="537" y="655"/>
                </a:lnTo>
                <a:cubicBezTo>
                  <a:pt x="537" y="654"/>
                  <a:pt x="537" y="653"/>
                  <a:pt x="536" y="653"/>
                </a:cubicBezTo>
                <a:cubicBezTo>
                  <a:pt x="536" y="653"/>
                  <a:pt x="536" y="654"/>
                  <a:pt x="535" y="656"/>
                </a:cubicBezTo>
                <a:cubicBezTo>
                  <a:pt x="535" y="659"/>
                  <a:pt x="536" y="661"/>
                  <a:pt x="537" y="661"/>
                </a:cubicBezTo>
                <a:close/>
                <a:moveTo>
                  <a:pt x="547" y="665"/>
                </a:moveTo>
                <a:cubicBezTo>
                  <a:pt x="548" y="665"/>
                  <a:pt x="549" y="665"/>
                  <a:pt x="551" y="665"/>
                </a:cubicBezTo>
                <a:cubicBezTo>
                  <a:pt x="552" y="664"/>
                  <a:pt x="553" y="664"/>
                  <a:pt x="554" y="663"/>
                </a:cubicBezTo>
                <a:cubicBezTo>
                  <a:pt x="555" y="662"/>
                  <a:pt x="556" y="661"/>
                  <a:pt x="556" y="661"/>
                </a:cubicBezTo>
                <a:cubicBezTo>
                  <a:pt x="556" y="659"/>
                  <a:pt x="554" y="658"/>
                  <a:pt x="552" y="658"/>
                </a:cubicBezTo>
                <a:cubicBezTo>
                  <a:pt x="551" y="658"/>
                  <a:pt x="550" y="658"/>
                  <a:pt x="550" y="658"/>
                </a:cubicBezTo>
                <a:cubicBezTo>
                  <a:pt x="550" y="657"/>
                  <a:pt x="551" y="656"/>
                  <a:pt x="553" y="655"/>
                </a:cubicBezTo>
                <a:cubicBezTo>
                  <a:pt x="554" y="654"/>
                  <a:pt x="555" y="653"/>
                  <a:pt x="555" y="653"/>
                </a:cubicBezTo>
                <a:cubicBezTo>
                  <a:pt x="555" y="652"/>
                  <a:pt x="555" y="652"/>
                  <a:pt x="553" y="652"/>
                </a:cubicBezTo>
                <a:cubicBezTo>
                  <a:pt x="552" y="652"/>
                  <a:pt x="552" y="644"/>
                  <a:pt x="552" y="629"/>
                </a:cubicBezTo>
                <a:lnTo>
                  <a:pt x="552" y="569"/>
                </a:lnTo>
                <a:cubicBezTo>
                  <a:pt x="552" y="554"/>
                  <a:pt x="552" y="544"/>
                  <a:pt x="551" y="541"/>
                </a:cubicBezTo>
                <a:cubicBezTo>
                  <a:pt x="551" y="539"/>
                  <a:pt x="550" y="537"/>
                  <a:pt x="548" y="536"/>
                </a:cubicBezTo>
                <a:cubicBezTo>
                  <a:pt x="547" y="534"/>
                  <a:pt x="545" y="534"/>
                  <a:pt x="544" y="534"/>
                </a:cubicBezTo>
                <a:cubicBezTo>
                  <a:pt x="543" y="534"/>
                  <a:pt x="542" y="535"/>
                  <a:pt x="541" y="536"/>
                </a:cubicBezTo>
                <a:cubicBezTo>
                  <a:pt x="541" y="538"/>
                  <a:pt x="541" y="539"/>
                  <a:pt x="540" y="539"/>
                </a:cubicBezTo>
                <a:lnTo>
                  <a:pt x="538" y="538"/>
                </a:lnTo>
                <a:cubicBezTo>
                  <a:pt x="536" y="538"/>
                  <a:pt x="535" y="539"/>
                  <a:pt x="534" y="541"/>
                </a:cubicBezTo>
                <a:cubicBezTo>
                  <a:pt x="533" y="548"/>
                  <a:pt x="532" y="571"/>
                  <a:pt x="532" y="611"/>
                </a:cubicBezTo>
                <a:cubicBezTo>
                  <a:pt x="532" y="620"/>
                  <a:pt x="532" y="629"/>
                  <a:pt x="532" y="637"/>
                </a:cubicBezTo>
                <a:cubicBezTo>
                  <a:pt x="533" y="645"/>
                  <a:pt x="533" y="649"/>
                  <a:pt x="534" y="649"/>
                </a:cubicBezTo>
                <a:cubicBezTo>
                  <a:pt x="535" y="649"/>
                  <a:pt x="535" y="648"/>
                  <a:pt x="535" y="646"/>
                </a:cubicBezTo>
                <a:cubicBezTo>
                  <a:pt x="535" y="603"/>
                  <a:pt x="536" y="575"/>
                  <a:pt x="536" y="563"/>
                </a:cubicBezTo>
                <a:cubicBezTo>
                  <a:pt x="537" y="556"/>
                  <a:pt x="538" y="554"/>
                  <a:pt x="539" y="554"/>
                </a:cubicBezTo>
                <a:lnTo>
                  <a:pt x="539" y="554"/>
                </a:lnTo>
                <a:cubicBezTo>
                  <a:pt x="542" y="555"/>
                  <a:pt x="543" y="557"/>
                  <a:pt x="543" y="561"/>
                </a:cubicBezTo>
                <a:cubicBezTo>
                  <a:pt x="543" y="562"/>
                  <a:pt x="543" y="563"/>
                  <a:pt x="543" y="563"/>
                </a:cubicBezTo>
                <a:cubicBezTo>
                  <a:pt x="542" y="564"/>
                  <a:pt x="541" y="564"/>
                  <a:pt x="541" y="564"/>
                </a:cubicBezTo>
                <a:cubicBezTo>
                  <a:pt x="540" y="564"/>
                  <a:pt x="539" y="565"/>
                  <a:pt x="539" y="565"/>
                </a:cubicBezTo>
                <a:cubicBezTo>
                  <a:pt x="539" y="566"/>
                  <a:pt x="540" y="567"/>
                  <a:pt x="541" y="569"/>
                </a:cubicBezTo>
                <a:cubicBezTo>
                  <a:pt x="543" y="571"/>
                  <a:pt x="544" y="572"/>
                  <a:pt x="544" y="572"/>
                </a:cubicBezTo>
                <a:cubicBezTo>
                  <a:pt x="544" y="573"/>
                  <a:pt x="543" y="573"/>
                  <a:pt x="543" y="573"/>
                </a:cubicBezTo>
                <a:lnTo>
                  <a:pt x="542" y="572"/>
                </a:lnTo>
                <a:cubicBezTo>
                  <a:pt x="540" y="572"/>
                  <a:pt x="539" y="583"/>
                  <a:pt x="539" y="605"/>
                </a:cubicBezTo>
                <a:cubicBezTo>
                  <a:pt x="539" y="628"/>
                  <a:pt x="540" y="640"/>
                  <a:pt x="541" y="640"/>
                </a:cubicBezTo>
                <a:cubicBezTo>
                  <a:pt x="542" y="640"/>
                  <a:pt x="543" y="642"/>
                  <a:pt x="543" y="645"/>
                </a:cubicBezTo>
                <a:lnTo>
                  <a:pt x="542" y="658"/>
                </a:lnTo>
                <a:cubicBezTo>
                  <a:pt x="542" y="659"/>
                  <a:pt x="542" y="660"/>
                  <a:pt x="542" y="660"/>
                </a:cubicBezTo>
                <a:cubicBezTo>
                  <a:pt x="542" y="660"/>
                  <a:pt x="543" y="659"/>
                  <a:pt x="544" y="658"/>
                </a:cubicBezTo>
                <a:cubicBezTo>
                  <a:pt x="545" y="656"/>
                  <a:pt x="546" y="656"/>
                  <a:pt x="546" y="656"/>
                </a:cubicBezTo>
                <a:cubicBezTo>
                  <a:pt x="547" y="656"/>
                  <a:pt x="547" y="656"/>
                  <a:pt x="547" y="656"/>
                </a:cubicBezTo>
                <a:lnTo>
                  <a:pt x="546" y="663"/>
                </a:lnTo>
                <a:cubicBezTo>
                  <a:pt x="546" y="664"/>
                  <a:pt x="546" y="665"/>
                  <a:pt x="547" y="665"/>
                </a:cubicBezTo>
                <a:close/>
                <a:moveTo>
                  <a:pt x="492" y="543"/>
                </a:moveTo>
                <a:cubicBezTo>
                  <a:pt x="493" y="543"/>
                  <a:pt x="494" y="543"/>
                  <a:pt x="495" y="542"/>
                </a:cubicBezTo>
                <a:cubicBezTo>
                  <a:pt x="497" y="541"/>
                  <a:pt x="497" y="540"/>
                  <a:pt x="497" y="539"/>
                </a:cubicBezTo>
                <a:cubicBezTo>
                  <a:pt x="497" y="538"/>
                  <a:pt x="497" y="537"/>
                  <a:pt x="496" y="537"/>
                </a:cubicBezTo>
                <a:cubicBezTo>
                  <a:pt x="494" y="537"/>
                  <a:pt x="492" y="538"/>
                  <a:pt x="491" y="540"/>
                </a:cubicBezTo>
                <a:lnTo>
                  <a:pt x="490" y="541"/>
                </a:lnTo>
                <a:cubicBezTo>
                  <a:pt x="490" y="542"/>
                  <a:pt x="491" y="543"/>
                  <a:pt x="492" y="543"/>
                </a:cubicBezTo>
                <a:close/>
                <a:moveTo>
                  <a:pt x="473" y="567"/>
                </a:moveTo>
                <a:cubicBezTo>
                  <a:pt x="473" y="567"/>
                  <a:pt x="474" y="566"/>
                  <a:pt x="476" y="564"/>
                </a:cubicBezTo>
                <a:cubicBezTo>
                  <a:pt x="477" y="563"/>
                  <a:pt x="478" y="562"/>
                  <a:pt x="478" y="561"/>
                </a:cubicBezTo>
                <a:cubicBezTo>
                  <a:pt x="478" y="560"/>
                  <a:pt x="478" y="560"/>
                  <a:pt x="477" y="560"/>
                </a:cubicBezTo>
                <a:lnTo>
                  <a:pt x="477" y="559"/>
                </a:lnTo>
                <a:cubicBezTo>
                  <a:pt x="476" y="559"/>
                  <a:pt x="475" y="561"/>
                  <a:pt x="474" y="563"/>
                </a:cubicBezTo>
                <a:lnTo>
                  <a:pt x="473" y="566"/>
                </a:lnTo>
                <a:lnTo>
                  <a:pt x="473" y="567"/>
                </a:lnTo>
                <a:close/>
                <a:moveTo>
                  <a:pt x="471" y="576"/>
                </a:moveTo>
                <a:cubicBezTo>
                  <a:pt x="474" y="576"/>
                  <a:pt x="475" y="576"/>
                  <a:pt x="475" y="575"/>
                </a:cubicBezTo>
                <a:cubicBezTo>
                  <a:pt x="475" y="574"/>
                  <a:pt x="474" y="573"/>
                  <a:pt x="471" y="572"/>
                </a:cubicBezTo>
                <a:lnTo>
                  <a:pt x="468" y="572"/>
                </a:lnTo>
                <a:cubicBezTo>
                  <a:pt x="467" y="572"/>
                  <a:pt x="466" y="572"/>
                  <a:pt x="466" y="573"/>
                </a:cubicBezTo>
                <a:cubicBezTo>
                  <a:pt x="466" y="574"/>
                  <a:pt x="467" y="575"/>
                  <a:pt x="468" y="575"/>
                </a:cubicBezTo>
                <a:cubicBezTo>
                  <a:pt x="469" y="576"/>
                  <a:pt x="469" y="576"/>
                  <a:pt x="471" y="576"/>
                </a:cubicBezTo>
                <a:close/>
                <a:moveTo>
                  <a:pt x="448" y="599"/>
                </a:moveTo>
                <a:cubicBezTo>
                  <a:pt x="449" y="599"/>
                  <a:pt x="450" y="598"/>
                  <a:pt x="452" y="595"/>
                </a:cubicBezTo>
                <a:cubicBezTo>
                  <a:pt x="455" y="593"/>
                  <a:pt x="457" y="590"/>
                  <a:pt x="459" y="588"/>
                </a:cubicBezTo>
                <a:cubicBezTo>
                  <a:pt x="461" y="585"/>
                  <a:pt x="462" y="583"/>
                  <a:pt x="462" y="581"/>
                </a:cubicBezTo>
                <a:cubicBezTo>
                  <a:pt x="462" y="579"/>
                  <a:pt x="461" y="578"/>
                  <a:pt x="459" y="577"/>
                </a:cubicBezTo>
                <a:cubicBezTo>
                  <a:pt x="457" y="577"/>
                  <a:pt x="457" y="578"/>
                  <a:pt x="456" y="579"/>
                </a:cubicBezTo>
                <a:lnTo>
                  <a:pt x="457" y="581"/>
                </a:lnTo>
                <a:cubicBezTo>
                  <a:pt x="457" y="583"/>
                  <a:pt x="456" y="585"/>
                  <a:pt x="454" y="588"/>
                </a:cubicBezTo>
                <a:cubicBezTo>
                  <a:pt x="450" y="593"/>
                  <a:pt x="448" y="597"/>
                  <a:pt x="448" y="598"/>
                </a:cubicBezTo>
                <a:cubicBezTo>
                  <a:pt x="448" y="598"/>
                  <a:pt x="448" y="599"/>
                  <a:pt x="448" y="599"/>
                </a:cubicBezTo>
                <a:close/>
                <a:moveTo>
                  <a:pt x="439" y="612"/>
                </a:moveTo>
                <a:cubicBezTo>
                  <a:pt x="439" y="612"/>
                  <a:pt x="441" y="612"/>
                  <a:pt x="442" y="611"/>
                </a:cubicBezTo>
                <a:cubicBezTo>
                  <a:pt x="443" y="610"/>
                  <a:pt x="444" y="609"/>
                  <a:pt x="445" y="608"/>
                </a:cubicBezTo>
                <a:cubicBezTo>
                  <a:pt x="446" y="607"/>
                  <a:pt x="446" y="607"/>
                  <a:pt x="446" y="606"/>
                </a:cubicBezTo>
                <a:cubicBezTo>
                  <a:pt x="446" y="605"/>
                  <a:pt x="446" y="605"/>
                  <a:pt x="446" y="605"/>
                </a:cubicBezTo>
                <a:cubicBezTo>
                  <a:pt x="444" y="605"/>
                  <a:pt x="443" y="605"/>
                  <a:pt x="442" y="607"/>
                </a:cubicBezTo>
                <a:cubicBezTo>
                  <a:pt x="439" y="609"/>
                  <a:pt x="438" y="610"/>
                  <a:pt x="438" y="611"/>
                </a:cubicBezTo>
                <a:cubicBezTo>
                  <a:pt x="438" y="612"/>
                  <a:pt x="438" y="612"/>
                  <a:pt x="439" y="612"/>
                </a:cubicBezTo>
                <a:close/>
                <a:moveTo>
                  <a:pt x="325" y="618"/>
                </a:moveTo>
                <a:lnTo>
                  <a:pt x="326" y="617"/>
                </a:lnTo>
                <a:cubicBezTo>
                  <a:pt x="328" y="616"/>
                  <a:pt x="328" y="614"/>
                  <a:pt x="328" y="612"/>
                </a:cubicBezTo>
                <a:cubicBezTo>
                  <a:pt x="328" y="611"/>
                  <a:pt x="328" y="610"/>
                  <a:pt x="326" y="610"/>
                </a:cubicBezTo>
                <a:cubicBezTo>
                  <a:pt x="325" y="610"/>
                  <a:pt x="324" y="610"/>
                  <a:pt x="324" y="611"/>
                </a:cubicBezTo>
                <a:cubicBezTo>
                  <a:pt x="323" y="612"/>
                  <a:pt x="323" y="613"/>
                  <a:pt x="323" y="614"/>
                </a:cubicBezTo>
                <a:cubicBezTo>
                  <a:pt x="323" y="617"/>
                  <a:pt x="323" y="618"/>
                  <a:pt x="325" y="618"/>
                </a:cubicBezTo>
                <a:close/>
                <a:moveTo>
                  <a:pt x="327" y="606"/>
                </a:moveTo>
                <a:cubicBezTo>
                  <a:pt x="327" y="606"/>
                  <a:pt x="327" y="606"/>
                  <a:pt x="328" y="605"/>
                </a:cubicBezTo>
                <a:cubicBezTo>
                  <a:pt x="329" y="605"/>
                  <a:pt x="330" y="604"/>
                  <a:pt x="330" y="602"/>
                </a:cubicBezTo>
                <a:cubicBezTo>
                  <a:pt x="331" y="600"/>
                  <a:pt x="332" y="598"/>
                  <a:pt x="332" y="596"/>
                </a:cubicBezTo>
                <a:lnTo>
                  <a:pt x="332" y="592"/>
                </a:lnTo>
                <a:cubicBezTo>
                  <a:pt x="332" y="590"/>
                  <a:pt x="332" y="588"/>
                  <a:pt x="331" y="588"/>
                </a:cubicBezTo>
                <a:cubicBezTo>
                  <a:pt x="329" y="588"/>
                  <a:pt x="328" y="590"/>
                  <a:pt x="328" y="592"/>
                </a:cubicBezTo>
                <a:cubicBezTo>
                  <a:pt x="328" y="595"/>
                  <a:pt x="328" y="598"/>
                  <a:pt x="327" y="602"/>
                </a:cubicBezTo>
                <a:lnTo>
                  <a:pt x="326" y="605"/>
                </a:lnTo>
                <a:cubicBezTo>
                  <a:pt x="326" y="606"/>
                  <a:pt x="326" y="606"/>
                  <a:pt x="327" y="606"/>
                </a:cubicBezTo>
                <a:close/>
                <a:moveTo>
                  <a:pt x="413" y="430"/>
                </a:moveTo>
                <a:cubicBezTo>
                  <a:pt x="414" y="430"/>
                  <a:pt x="414" y="430"/>
                  <a:pt x="414" y="430"/>
                </a:cubicBezTo>
                <a:lnTo>
                  <a:pt x="413" y="426"/>
                </a:lnTo>
                <a:cubicBezTo>
                  <a:pt x="412" y="424"/>
                  <a:pt x="411" y="423"/>
                  <a:pt x="410" y="422"/>
                </a:cubicBezTo>
                <a:lnTo>
                  <a:pt x="410" y="423"/>
                </a:lnTo>
                <a:cubicBezTo>
                  <a:pt x="410" y="423"/>
                  <a:pt x="409" y="424"/>
                  <a:pt x="409" y="424"/>
                </a:cubicBezTo>
                <a:cubicBezTo>
                  <a:pt x="409" y="425"/>
                  <a:pt x="410" y="426"/>
                  <a:pt x="411" y="428"/>
                </a:cubicBezTo>
                <a:cubicBezTo>
                  <a:pt x="412" y="429"/>
                  <a:pt x="413" y="430"/>
                  <a:pt x="413" y="430"/>
                </a:cubicBezTo>
                <a:close/>
                <a:moveTo>
                  <a:pt x="406" y="437"/>
                </a:moveTo>
                <a:cubicBezTo>
                  <a:pt x="407" y="437"/>
                  <a:pt x="407" y="437"/>
                  <a:pt x="408" y="436"/>
                </a:cubicBezTo>
                <a:cubicBezTo>
                  <a:pt x="409" y="436"/>
                  <a:pt x="409" y="436"/>
                  <a:pt x="409" y="435"/>
                </a:cubicBezTo>
                <a:cubicBezTo>
                  <a:pt x="409" y="435"/>
                  <a:pt x="408" y="434"/>
                  <a:pt x="406" y="432"/>
                </a:cubicBezTo>
                <a:lnTo>
                  <a:pt x="405" y="432"/>
                </a:lnTo>
                <a:cubicBezTo>
                  <a:pt x="404" y="432"/>
                  <a:pt x="403" y="432"/>
                  <a:pt x="403" y="433"/>
                </a:cubicBezTo>
                <a:cubicBezTo>
                  <a:pt x="403" y="436"/>
                  <a:pt x="404" y="437"/>
                  <a:pt x="406" y="437"/>
                </a:cubicBezTo>
                <a:close/>
                <a:moveTo>
                  <a:pt x="403" y="446"/>
                </a:moveTo>
                <a:cubicBezTo>
                  <a:pt x="404" y="446"/>
                  <a:pt x="404" y="446"/>
                  <a:pt x="405" y="446"/>
                </a:cubicBezTo>
                <a:cubicBezTo>
                  <a:pt x="406" y="445"/>
                  <a:pt x="406" y="445"/>
                  <a:pt x="406" y="444"/>
                </a:cubicBezTo>
                <a:cubicBezTo>
                  <a:pt x="406" y="444"/>
                  <a:pt x="405" y="443"/>
                  <a:pt x="403" y="441"/>
                </a:cubicBezTo>
                <a:lnTo>
                  <a:pt x="402" y="441"/>
                </a:lnTo>
                <a:cubicBezTo>
                  <a:pt x="401" y="441"/>
                  <a:pt x="400" y="441"/>
                  <a:pt x="400" y="442"/>
                </a:cubicBezTo>
                <a:cubicBezTo>
                  <a:pt x="400" y="445"/>
                  <a:pt x="401" y="446"/>
                  <a:pt x="403" y="446"/>
                </a:cubicBezTo>
                <a:close/>
                <a:moveTo>
                  <a:pt x="355" y="512"/>
                </a:moveTo>
                <a:cubicBezTo>
                  <a:pt x="356" y="512"/>
                  <a:pt x="356" y="511"/>
                  <a:pt x="356" y="508"/>
                </a:cubicBezTo>
                <a:cubicBezTo>
                  <a:pt x="356" y="505"/>
                  <a:pt x="355" y="504"/>
                  <a:pt x="354" y="504"/>
                </a:cubicBezTo>
                <a:cubicBezTo>
                  <a:pt x="352" y="504"/>
                  <a:pt x="352" y="505"/>
                  <a:pt x="352" y="506"/>
                </a:cubicBezTo>
                <a:cubicBezTo>
                  <a:pt x="352" y="507"/>
                  <a:pt x="352" y="509"/>
                  <a:pt x="353" y="510"/>
                </a:cubicBezTo>
                <a:cubicBezTo>
                  <a:pt x="354" y="512"/>
                  <a:pt x="355" y="512"/>
                  <a:pt x="355" y="512"/>
                </a:cubicBezTo>
                <a:close/>
                <a:moveTo>
                  <a:pt x="373" y="615"/>
                </a:moveTo>
                <a:cubicBezTo>
                  <a:pt x="372" y="615"/>
                  <a:pt x="372" y="614"/>
                  <a:pt x="372" y="613"/>
                </a:cubicBezTo>
                <a:cubicBezTo>
                  <a:pt x="372" y="610"/>
                  <a:pt x="373" y="607"/>
                  <a:pt x="375" y="604"/>
                </a:cubicBezTo>
                <a:cubicBezTo>
                  <a:pt x="375" y="602"/>
                  <a:pt x="376" y="601"/>
                  <a:pt x="376" y="601"/>
                </a:cubicBezTo>
                <a:cubicBezTo>
                  <a:pt x="377" y="601"/>
                  <a:pt x="377" y="601"/>
                  <a:pt x="377" y="602"/>
                </a:cubicBezTo>
                <a:cubicBezTo>
                  <a:pt x="377" y="604"/>
                  <a:pt x="376" y="607"/>
                  <a:pt x="375" y="611"/>
                </a:cubicBezTo>
                <a:cubicBezTo>
                  <a:pt x="374" y="614"/>
                  <a:pt x="373" y="615"/>
                  <a:pt x="373" y="615"/>
                </a:cubicBezTo>
                <a:close/>
                <a:moveTo>
                  <a:pt x="615" y="631"/>
                </a:moveTo>
                <a:cubicBezTo>
                  <a:pt x="615" y="630"/>
                  <a:pt x="618" y="626"/>
                  <a:pt x="623" y="619"/>
                </a:cubicBezTo>
                <a:cubicBezTo>
                  <a:pt x="629" y="612"/>
                  <a:pt x="633" y="608"/>
                  <a:pt x="635" y="608"/>
                </a:cubicBezTo>
                <a:lnTo>
                  <a:pt x="635" y="608"/>
                </a:lnTo>
                <a:lnTo>
                  <a:pt x="635" y="609"/>
                </a:lnTo>
                <a:cubicBezTo>
                  <a:pt x="635" y="610"/>
                  <a:pt x="633" y="614"/>
                  <a:pt x="627" y="621"/>
                </a:cubicBezTo>
                <a:cubicBezTo>
                  <a:pt x="621" y="627"/>
                  <a:pt x="617" y="631"/>
                  <a:pt x="615" y="631"/>
                </a:cubicBezTo>
                <a:close/>
                <a:moveTo>
                  <a:pt x="577" y="670"/>
                </a:moveTo>
                <a:lnTo>
                  <a:pt x="576" y="670"/>
                </a:lnTo>
                <a:cubicBezTo>
                  <a:pt x="576" y="669"/>
                  <a:pt x="578" y="667"/>
                  <a:pt x="581" y="664"/>
                </a:cubicBezTo>
                <a:cubicBezTo>
                  <a:pt x="586" y="661"/>
                  <a:pt x="592" y="654"/>
                  <a:pt x="601" y="645"/>
                </a:cubicBezTo>
                <a:cubicBezTo>
                  <a:pt x="607" y="638"/>
                  <a:pt x="611" y="634"/>
                  <a:pt x="613" y="634"/>
                </a:cubicBezTo>
                <a:cubicBezTo>
                  <a:pt x="613" y="637"/>
                  <a:pt x="607" y="643"/>
                  <a:pt x="596" y="654"/>
                </a:cubicBezTo>
                <a:cubicBezTo>
                  <a:pt x="585" y="665"/>
                  <a:pt x="579" y="670"/>
                  <a:pt x="577" y="670"/>
                </a:cubicBezTo>
                <a:close/>
                <a:moveTo>
                  <a:pt x="385" y="570"/>
                </a:moveTo>
                <a:lnTo>
                  <a:pt x="385" y="569"/>
                </a:lnTo>
                <a:cubicBezTo>
                  <a:pt x="385" y="567"/>
                  <a:pt x="392" y="541"/>
                  <a:pt x="407" y="493"/>
                </a:cubicBezTo>
                <a:cubicBezTo>
                  <a:pt x="421" y="448"/>
                  <a:pt x="428" y="426"/>
                  <a:pt x="429" y="426"/>
                </a:cubicBezTo>
                <a:cubicBezTo>
                  <a:pt x="429" y="432"/>
                  <a:pt x="418" y="468"/>
                  <a:pt x="398" y="532"/>
                </a:cubicBezTo>
                <a:cubicBezTo>
                  <a:pt x="390" y="557"/>
                  <a:pt x="385" y="570"/>
                  <a:pt x="385" y="570"/>
                </a:cubicBezTo>
                <a:close/>
                <a:moveTo>
                  <a:pt x="403" y="664"/>
                </a:moveTo>
                <a:cubicBezTo>
                  <a:pt x="401" y="664"/>
                  <a:pt x="400" y="663"/>
                  <a:pt x="400" y="661"/>
                </a:cubicBezTo>
                <a:cubicBezTo>
                  <a:pt x="400" y="659"/>
                  <a:pt x="401" y="658"/>
                  <a:pt x="403" y="658"/>
                </a:cubicBezTo>
                <a:cubicBezTo>
                  <a:pt x="405" y="658"/>
                  <a:pt x="406" y="659"/>
                  <a:pt x="406" y="661"/>
                </a:cubicBezTo>
                <a:cubicBezTo>
                  <a:pt x="406" y="663"/>
                  <a:pt x="405" y="664"/>
                  <a:pt x="403" y="664"/>
                </a:cubicBezTo>
                <a:close/>
                <a:moveTo>
                  <a:pt x="639" y="607"/>
                </a:moveTo>
                <a:close/>
                <a:moveTo>
                  <a:pt x="639" y="607"/>
                </a:moveTo>
                <a:lnTo>
                  <a:pt x="639" y="607"/>
                </a:lnTo>
                <a:cubicBezTo>
                  <a:pt x="639" y="604"/>
                  <a:pt x="643" y="598"/>
                  <a:pt x="653" y="590"/>
                </a:cubicBezTo>
                <a:cubicBezTo>
                  <a:pt x="659" y="583"/>
                  <a:pt x="664" y="580"/>
                  <a:pt x="666" y="580"/>
                </a:cubicBezTo>
                <a:cubicBezTo>
                  <a:pt x="667" y="580"/>
                  <a:pt x="668" y="581"/>
                  <a:pt x="668" y="583"/>
                </a:cubicBezTo>
                <a:cubicBezTo>
                  <a:pt x="668" y="585"/>
                  <a:pt x="666" y="586"/>
                  <a:pt x="663" y="588"/>
                </a:cubicBezTo>
                <a:cubicBezTo>
                  <a:pt x="659" y="589"/>
                  <a:pt x="655" y="593"/>
                  <a:pt x="648" y="599"/>
                </a:cubicBezTo>
                <a:cubicBezTo>
                  <a:pt x="643" y="605"/>
                  <a:pt x="640" y="607"/>
                  <a:pt x="639" y="607"/>
                </a:cubicBezTo>
                <a:close/>
                <a:moveTo>
                  <a:pt x="910" y="555"/>
                </a:moveTo>
                <a:lnTo>
                  <a:pt x="910" y="555"/>
                </a:lnTo>
                <a:cubicBezTo>
                  <a:pt x="910" y="555"/>
                  <a:pt x="909" y="554"/>
                  <a:pt x="908" y="554"/>
                </a:cubicBezTo>
                <a:cubicBezTo>
                  <a:pt x="907" y="554"/>
                  <a:pt x="906" y="553"/>
                  <a:pt x="905" y="553"/>
                </a:cubicBezTo>
                <a:cubicBezTo>
                  <a:pt x="905" y="552"/>
                  <a:pt x="904" y="552"/>
                  <a:pt x="904" y="552"/>
                </a:cubicBezTo>
                <a:cubicBezTo>
                  <a:pt x="904" y="551"/>
                  <a:pt x="905" y="551"/>
                  <a:pt x="905" y="551"/>
                </a:cubicBezTo>
                <a:cubicBezTo>
                  <a:pt x="905" y="551"/>
                  <a:pt x="906" y="551"/>
                  <a:pt x="907" y="551"/>
                </a:cubicBezTo>
                <a:cubicBezTo>
                  <a:pt x="908" y="552"/>
                  <a:pt x="908" y="552"/>
                  <a:pt x="909" y="553"/>
                </a:cubicBezTo>
                <a:cubicBezTo>
                  <a:pt x="910" y="554"/>
                  <a:pt x="910" y="554"/>
                  <a:pt x="910" y="555"/>
                </a:cubicBezTo>
                <a:close/>
                <a:moveTo>
                  <a:pt x="649" y="1102"/>
                </a:moveTo>
                <a:cubicBezTo>
                  <a:pt x="649" y="1102"/>
                  <a:pt x="648" y="1101"/>
                  <a:pt x="647" y="1100"/>
                </a:cubicBezTo>
                <a:cubicBezTo>
                  <a:pt x="646" y="1099"/>
                  <a:pt x="646" y="1098"/>
                  <a:pt x="646" y="1098"/>
                </a:cubicBezTo>
                <a:lnTo>
                  <a:pt x="647" y="1098"/>
                </a:lnTo>
                <a:cubicBezTo>
                  <a:pt x="648" y="1098"/>
                  <a:pt x="648" y="1098"/>
                  <a:pt x="648" y="1097"/>
                </a:cubicBezTo>
                <a:cubicBezTo>
                  <a:pt x="648" y="1095"/>
                  <a:pt x="647" y="1095"/>
                  <a:pt x="647" y="1095"/>
                </a:cubicBezTo>
                <a:lnTo>
                  <a:pt x="646" y="1095"/>
                </a:lnTo>
                <a:cubicBezTo>
                  <a:pt x="645" y="1095"/>
                  <a:pt x="645" y="1095"/>
                  <a:pt x="645" y="1095"/>
                </a:cubicBezTo>
                <a:cubicBezTo>
                  <a:pt x="645" y="1094"/>
                  <a:pt x="645" y="1093"/>
                  <a:pt x="645" y="1092"/>
                </a:cubicBezTo>
                <a:cubicBezTo>
                  <a:pt x="646" y="1091"/>
                  <a:pt x="647" y="1089"/>
                  <a:pt x="647" y="1087"/>
                </a:cubicBezTo>
                <a:lnTo>
                  <a:pt x="646" y="1084"/>
                </a:lnTo>
                <a:cubicBezTo>
                  <a:pt x="646" y="1083"/>
                  <a:pt x="646" y="1083"/>
                  <a:pt x="647" y="1082"/>
                </a:cubicBezTo>
                <a:cubicBezTo>
                  <a:pt x="647" y="1081"/>
                  <a:pt x="647" y="1080"/>
                  <a:pt x="647" y="1078"/>
                </a:cubicBezTo>
                <a:cubicBezTo>
                  <a:pt x="648" y="1076"/>
                  <a:pt x="648" y="1073"/>
                  <a:pt x="648" y="1071"/>
                </a:cubicBezTo>
                <a:cubicBezTo>
                  <a:pt x="648" y="1068"/>
                  <a:pt x="649" y="1061"/>
                  <a:pt x="652" y="1049"/>
                </a:cubicBezTo>
                <a:cubicBezTo>
                  <a:pt x="658" y="1024"/>
                  <a:pt x="663" y="1004"/>
                  <a:pt x="668" y="989"/>
                </a:cubicBezTo>
                <a:cubicBezTo>
                  <a:pt x="681" y="944"/>
                  <a:pt x="688" y="918"/>
                  <a:pt x="688" y="912"/>
                </a:cubicBezTo>
                <a:lnTo>
                  <a:pt x="688" y="911"/>
                </a:lnTo>
                <a:lnTo>
                  <a:pt x="689" y="911"/>
                </a:lnTo>
                <a:cubicBezTo>
                  <a:pt x="690" y="911"/>
                  <a:pt x="691" y="910"/>
                  <a:pt x="692" y="908"/>
                </a:cubicBezTo>
                <a:cubicBezTo>
                  <a:pt x="694" y="903"/>
                  <a:pt x="695" y="899"/>
                  <a:pt x="695" y="895"/>
                </a:cubicBezTo>
                <a:cubicBezTo>
                  <a:pt x="695" y="894"/>
                  <a:pt x="695" y="893"/>
                  <a:pt x="694" y="893"/>
                </a:cubicBezTo>
                <a:cubicBezTo>
                  <a:pt x="694" y="891"/>
                  <a:pt x="695" y="889"/>
                  <a:pt x="696" y="889"/>
                </a:cubicBezTo>
                <a:cubicBezTo>
                  <a:pt x="697" y="888"/>
                  <a:pt x="697" y="887"/>
                  <a:pt x="697" y="885"/>
                </a:cubicBezTo>
                <a:lnTo>
                  <a:pt x="697" y="884"/>
                </a:lnTo>
                <a:cubicBezTo>
                  <a:pt x="697" y="883"/>
                  <a:pt x="697" y="883"/>
                  <a:pt x="698" y="883"/>
                </a:cubicBezTo>
                <a:cubicBezTo>
                  <a:pt x="699" y="883"/>
                  <a:pt x="699" y="882"/>
                  <a:pt x="699" y="882"/>
                </a:cubicBezTo>
                <a:lnTo>
                  <a:pt x="699" y="881"/>
                </a:lnTo>
                <a:cubicBezTo>
                  <a:pt x="699" y="880"/>
                  <a:pt x="699" y="878"/>
                  <a:pt x="701" y="877"/>
                </a:cubicBezTo>
                <a:cubicBezTo>
                  <a:pt x="702" y="875"/>
                  <a:pt x="703" y="874"/>
                  <a:pt x="703" y="872"/>
                </a:cubicBezTo>
                <a:lnTo>
                  <a:pt x="702" y="867"/>
                </a:lnTo>
                <a:cubicBezTo>
                  <a:pt x="702" y="867"/>
                  <a:pt x="702" y="867"/>
                  <a:pt x="703" y="867"/>
                </a:cubicBezTo>
                <a:cubicBezTo>
                  <a:pt x="704" y="867"/>
                  <a:pt x="705" y="865"/>
                  <a:pt x="705" y="862"/>
                </a:cubicBezTo>
                <a:lnTo>
                  <a:pt x="704" y="860"/>
                </a:lnTo>
                <a:lnTo>
                  <a:pt x="705" y="860"/>
                </a:lnTo>
                <a:lnTo>
                  <a:pt x="705" y="860"/>
                </a:lnTo>
                <a:cubicBezTo>
                  <a:pt x="707" y="860"/>
                  <a:pt x="708" y="857"/>
                  <a:pt x="708" y="852"/>
                </a:cubicBezTo>
                <a:lnTo>
                  <a:pt x="708" y="849"/>
                </a:lnTo>
                <a:cubicBezTo>
                  <a:pt x="708" y="847"/>
                  <a:pt x="708" y="845"/>
                  <a:pt x="709" y="845"/>
                </a:cubicBezTo>
                <a:lnTo>
                  <a:pt x="709" y="845"/>
                </a:lnTo>
                <a:cubicBezTo>
                  <a:pt x="710" y="845"/>
                  <a:pt x="710" y="845"/>
                  <a:pt x="710" y="846"/>
                </a:cubicBezTo>
                <a:lnTo>
                  <a:pt x="710" y="848"/>
                </a:lnTo>
                <a:cubicBezTo>
                  <a:pt x="710" y="848"/>
                  <a:pt x="710" y="848"/>
                  <a:pt x="711" y="846"/>
                </a:cubicBezTo>
                <a:cubicBezTo>
                  <a:pt x="712" y="844"/>
                  <a:pt x="713" y="842"/>
                  <a:pt x="713" y="841"/>
                </a:cubicBezTo>
                <a:cubicBezTo>
                  <a:pt x="713" y="840"/>
                  <a:pt x="712" y="839"/>
                  <a:pt x="712" y="838"/>
                </a:cubicBezTo>
                <a:cubicBezTo>
                  <a:pt x="712" y="838"/>
                  <a:pt x="712" y="837"/>
                  <a:pt x="712" y="837"/>
                </a:cubicBezTo>
                <a:cubicBezTo>
                  <a:pt x="712" y="836"/>
                  <a:pt x="712" y="835"/>
                  <a:pt x="713" y="835"/>
                </a:cubicBezTo>
                <a:lnTo>
                  <a:pt x="714" y="835"/>
                </a:lnTo>
                <a:cubicBezTo>
                  <a:pt x="714" y="835"/>
                  <a:pt x="715" y="835"/>
                  <a:pt x="715" y="834"/>
                </a:cubicBezTo>
                <a:lnTo>
                  <a:pt x="715" y="831"/>
                </a:lnTo>
                <a:cubicBezTo>
                  <a:pt x="715" y="829"/>
                  <a:pt x="717" y="823"/>
                  <a:pt x="720" y="812"/>
                </a:cubicBezTo>
                <a:cubicBezTo>
                  <a:pt x="725" y="798"/>
                  <a:pt x="728" y="790"/>
                  <a:pt x="728" y="788"/>
                </a:cubicBezTo>
                <a:cubicBezTo>
                  <a:pt x="728" y="788"/>
                  <a:pt x="727" y="788"/>
                  <a:pt x="727" y="788"/>
                </a:cubicBezTo>
                <a:cubicBezTo>
                  <a:pt x="726" y="788"/>
                  <a:pt x="725" y="787"/>
                  <a:pt x="725" y="786"/>
                </a:cubicBezTo>
                <a:cubicBezTo>
                  <a:pt x="725" y="786"/>
                  <a:pt x="724" y="785"/>
                  <a:pt x="723" y="784"/>
                </a:cubicBezTo>
                <a:cubicBezTo>
                  <a:pt x="722" y="783"/>
                  <a:pt x="721" y="782"/>
                  <a:pt x="721" y="782"/>
                </a:cubicBezTo>
                <a:cubicBezTo>
                  <a:pt x="721" y="782"/>
                  <a:pt x="721" y="781"/>
                  <a:pt x="722" y="781"/>
                </a:cubicBezTo>
                <a:cubicBezTo>
                  <a:pt x="723" y="781"/>
                  <a:pt x="723" y="781"/>
                  <a:pt x="723" y="781"/>
                </a:cubicBezTo>
                <a:lnTo>
                  <a:pt x="723" y="779"/>
                </a:lnTo>
                <a:cubicBezTo>
                  <a:pt x="723" y="778"/>
                  <a:pt x="723" y="777"/>
                  <a:pt x="724" y="777"/>
                </a:cubicBezTo>
                <a:cubicBezTo>
                  <a:pt x="725" y="776"/>
                  <a:pt x="725" y="774"/>
                  <a:pt x="725" y="772"/>
                </a:cubicBezTo>
                <a:lnTo>
                  <a:pt x="725" y="770"/>
                </a:lnTo>
                <a:cubicBezTo>
                  <a:pt x="725" y="764"/>
                  <a:pt x="727" y="757"/>
                  <a:pt x="731" y="748"/>
                </a:cubicBezTo>
                <a:cubicBezTo>
                  <a:pt x="732" y="745"/>
                  <a:pt x="733" y="743"/>
                  <a:pt x="734" y="743"/>
                </a:cubicBezTo>
                <a:cubicBezTo>
                  <a:pt x="734" y="743"/>
                  <a:pt x="735" y="743"/>
                  <a:pt x="735" y="743"/>
                </a:cubicBezTo>
                <a:lnTo>
                  <a:pt x="734" y="741"/>
                </a:lnTo>
                <a:cubicBezTo>
                  <a:pt x="734" y="740"/>
                  <a:pt x="734" y="739"/>
                  <a:pt x="736" y="738"/>
                </a:cubicBezTo>
                <a:cubicBezTo>
                  <a:pt x="737" y="737"/>
                  <a:pt x="737" y="737"/>
                  <a:pt x="737" y="736"/>
                </a:cubicBezTo>
                <a:lnTo>
                  <a:pt x="737" y="735"/>
                </a:lnTo>
                <a:cubicBezTo>
                  <a:pt x="737" y="733"/>
                  <a:pt x="738" y="731"/>
                  <a:pt x="740" y="729"/>
                </a:cubicBezTo>
                <a:cubicBezTo>
                  <a:pt x="742" y="728"/>
                  <a:pt x="742" y="726"/>
                  <a:pt x="742" y="725"/>
                </a:cubicBezTo>
                <a:cubicBezTo>
                  <a:pt x="742" y="725"/>
                  <a:pt x="742" y="725"/>
                  <a:pt x="742" y="725"/>
                </a:cubicBezTo>
                <a:lnTo>
                  <a:pt x="742" y="724"/>
                </a:lnTo>
                <a:cubicBezTo>
                  <a:pt x="742" y="723"/>
                  <a:pt x="742" y="722"/>
                  <a:pt x="744" y="720"/>
                </a:cubicBezTo>
                <a:cubicBezTo>
                  <a:pt x="745" y="719"/>
                  <a:pt x="746" y="718"/>
                  <a:pt x="746" y="717"/>
                </a:cubicBezTo>
                <a:cubicBezTo>
                  <a:pt x="746" y="717"/>
                  <a:pt x="747" y="716"/>
                  <a:pt x="747" y="715"/>
                </a:cubicBezTo>
                <a:cubicBezTo>
                  <a:pt x="747" y="714"/>
                  <a:pt x="748" y="712"/>
                  <a:pt x="749" y="709"/>
                </a:cubicBezTo>
                <a:cubicBezTo>
                  <a:pt x="751" y="707"/>
                  <a:pt x="752" y="704"/>
                  <a:pt x="752" y="702"/>
                </a:cubicBezTo>
                <a:lnTo>
                  <a:pt x="751" y="701"/>
                </a:lnTo>
                <a:lnTo>
                  <a:pt x="752" y="702"/>
                </a:lnTo>
                <a:cubicBezTo>
                  <a:pt x="752" y="702"/>
                  <a:pt x="753" y="702"/>
                  <a:pt x="753" y="702"/>
                </a:cubicBezTo>
                <a:cubicBezTo>
                  <a:pt x="754" y="702"/>
                  <a:pt x="755" y="702"/>
                  <a:pt x="756" y="701"/>
                </a:cubicBezTo>
                <a:cubicBezTo>
                  <a:pt x="757" y="699"/>
                  <a:pt x="758" y="698"/>
                  <a:pt x="758" y="697"/>
                </a:cubicBezTo>
                <a:cubicBezTo>
                  <a:pt x="757" y="696"/>
                  <a:pt x="757" y="696"/>
                  <a:pt x="757" y="696"/>
                </a:cubicBezTo>
                <a:cubicBezTo>
                  <a:pt x="756" y="696"/>
                  <a:pt x="756" y="697"/>
                  <a:pt x="755" y="698"/>
                </a:cubicBezTo>
                <a:cubicBezTo>
                  <a:pt x="754" y="699"/>
                  <a:pt x="753" y="699"/>
                  <a:pt x="752" y="699"/>
                </a:cubicBezTo>
                <a:cubicBezTo>
                  <a:pt x="752" y="699"/>
                  <a:pt x="751" y="699"/>
                  <a:pt x="751" y="699"/>
                </a:cubicBezTo>
                <a:cubicBezTo>
                  <a:pt x="751" y="698"/>
                  <a:pt x="752" y="698"/>
                  <a:pt x="754" y="696"/>
                </a:cubicBezTo>
                <a:cubicBezTo>
                  <a:pt x="755" y="695"/>
                  <a:pt x="756" y="695"/>
                  <a:pt x="757" y="695"/>
                </a:cubicBezTo>
                <a:cubicBezTo>
                  <a:pt x="759" y="695"/>
                  <a:pt x="760" y="694"/>
                  <a:pt x="761" y="693"/>
                </a:cubicBezTo>
                <a:cubicBezTo>
                  <a:pt x="762" y="691"/>
                  <a:pt x="763" y="688"/>
                  <a:pt x="763" y="685"/>
                </a:cubicBezTo>
                <a:cubicBezTo>
                  <a:pt x="763" y="684"/>
                  <a:pt x="763" y="683"/>
                  <a:pt x="762" y="683"/>
                </a:cubicBezTo>
                <a:lnTo>
                  <a:pt x="761" y="681"/>
                </a:lnTo>
                <a:lnTo>
                  <a:pt x="763" y="683"/>
                </a:lnTo>
                <a:cubicBezTo>
                  <a:pt x="765" y="683"/>
                  <a:pt x="765" y="681"/>
                  <a:pt x="765" y="679"/>
                </a:cubicBezTo>
                <a:cubicBezTo>
                  <a:pt x="765" y="678"/>
                  <a:pt x="765" y="676"/>
                  <a:pt x="764" y="676"/>
                </a:cubicBezTo>
                <a:lnTo>
                  <a:pt x="764" y="676"/>
                </a:lnTo>
                <a:cubicBezTo>
                  <a:pt x="763" y="676"/>
                  <a:pt x="761" y="678"/>
                  <a:pt x="758" y="682"/>
                </a:cubicBezTo>
                <a:cubicBezTo>
                  <a:pt x="755" y="686"/>
                  <a:pt x="753" y="688"/>
                  <a:pt x="751" y="688"/>
                </a:cubicBezTo>
                <a:cubicBezTo>
                  <a:pt x="751" y="688"/>
                  <a:pt x="750" y="688"/>
                  <a:pt x="749" y="688"/>
                </a:cubicBezTo>
                <a:lnTo>
                  <a:pt x="749" y="686"/>
                </a:lnTo>
                <a:lnTo>
                  <a:pt x="752" y="688"/>
                </a:lnTo>
                <a:cubicBezTo>
                  <a:pt x="753" y="688"/>
                  <a:pt x="753" y="688"/>
                  <a:pt x="753" y="688"/>
                </a:cubicBezTo>
                <a:lnTo>
                  <a:pt x="752" y="683"/>
                </a:lnTo>
                <a:cubicBezTo>
                  <a:pt x="752" y="683"/>
                  <a:pt x="752" y="683"/>
                  <a:pt x="752" y="683"/>
                </a:cubicBezTo>
                <a:cubicBezTo>
                  <a:pt x="753" y="683"/>
                  <a:pt x="753" y="683"/>
                  <a:pt x="753" y="682"/>
                </a:cubicBezTo>
                <a:lnTo>
                  <a:pt x="752" y="679"/>
                </a:lnTo>
                <a:lnTo>
                  <a:pt x="754" y="680"/>
                </a:lnTo>
                <a:cubicBezTo>
                  <a:pt x="756" y="680"/>
                  <a:pt x="757" y="679"/>
                  <a:pt x="759" y="676"/>
                </a:cubicBezTo>
                <a:cubicBezTo>
                  <a:pt x="760" y="674"/>
                  <a:pt x="762" y="673"/>
                  <a:pt x="763" y="673"/>
                </a:cubicBezTo>
                <a:cubicBezTo>
                  <a:pt x="764" y="673"/>
                  <a:pt x="764" y="673"/>
                  <a:pt x="765" y="674"/>
                </a:cubicBezTo>
                <a:cubicBezTo>
                  <a:pt x="766" y="675"/>
                  <a:pt x="767" y="675"/>
                  <a:pt x="767" y="675"/>
                </a:cubicBezTo>
                <a:cubicBezTo>
                  <a:pt x="769" y="675"/>
                  <a:pt x="770" y="673"/>
                  <a:pt x="771" y="668"/>
                </a:cubicBezTo>
                <a:lnTo>
                  <a:pt x="771" y="665"/>
                </a:lnTo>
                <a:cubicBezTo>
                  <a:pt x="771" y="665"/>
                  <a:pt x="771" y="665"/>
                  <a:pt x="771" y="665"/>
                </a:cubicBezTo>
                <a:cubicBezTo>
                  <a:pt x="770" y="665"/>
                  <a:pt x="770" y="665"/>
                  <a:pt x="768" y="666"/>
                </a:cubicBezTo>
                <a:cubicBezTo>
                  <a:pt x="767" y="668"/>
                  <a:pt x="767" y="668"/>
                  <a:pt x="766" y="668"/>
                </a:cubicBezTo>
                <a:cubicBezTo>
                  <a:pt x="766" y="668"/>
                  <a:pt x="767" y="667"/>
                  <a:pt x="767" y="666"/>
                </a:cubicBezTo>
                <a:cubicBezTo>
                  <a:pt x="768" y="664"/>
                  <a:pt x="769" y="664"/>
                  <a:pt x="771" y="664"/>
                </a:cubicBezTo>
                <a:lnTo>
                  <a:pt x="772" y="664"/>
                </a:lnTo>
                <a:cubicBezTo>
                  <a:pt x="773" y="664"/>
                  <a:pt x="774" y="662"/>
                  <a:pt x="775" y="658"/>
                </a:cubicBezTo>
                <a:cubicBezTo>
                  <a:pt x="776" y="654"/>
                  <a:pt x="776" y="652"/>
                  <a:pt x="776" y="650"/>
                </a:cubicBezTo>
                <a:cubicBezTo>
                  <a:pt x="776" y="649"/>
                  <a:pt x="776" y="649"/>
                  <a:pt x="776" y="649"/>
                </a:cubicBezTo>
                <a:lnTo>
                  <a:pt x="774" y="650"/>
                </a:lnTo>
                <a:cubicBezTo>
                  <a:pt x="773" y="650"/>
                  <a:pt x="773" y="649"/>
                  <a:pt x="773" y="649"/>
                </a:cubicBezTo>
                <a:lnTo>
                  <a:pt x="774" y="648"/>
                </a:lnTo>
                <a:cubicBezTo>
                  <a:pt x="774" y="647"/>
                  <a:pt x="774" y="647"/>
                  <a:pt x="775" y="647"/>
                </a:cubicBezTo>
                <a:lnTo>
                  <a:pt x="776" y="647"/>
                </a:lnTo>
                <a:cubicBezTo>
                  <a:pt x="777" y="647"/>
                  <a:pt x="777" y="647"/>
                  <a:pt x="778" y="645"/>
                </a:cubicBezTo>
                <a:cubicBezTo>
                  <a:pt x="780" y="641"/>
                  <a:pt x="781" y="638"/>
                  <a:pt x="781" y="636"/>
                </a:cubicBezTo>
                <a:cubicBezTo>
                  <a:pt x="781" y="635"/>
                  <a:pt x="781" y="635"/>
                  <a:pt x="781" y="634"/>
                </a:cubicBezTo>
                <a:cubicBezTo>
                  <a:pt x="781" y="633"/>
                  <a:pt x="780" y="633"/>
                  <a:pt x="780" y="632"/>
                </a:cubicBezTo>
                <a:lnTo>
                  <a:pt x="781" y="632"/>
                </a:lnTo>
                <a:cubicBezTo>
                  <a:pt x="783" y="631"/>
                  <a:pt x="793" y="605"/>
                  <a:pt x="811" y="554"/>
                </a:cubicBezTo>
                <a:cubicBezTo>
                  <a:pt x="816" y="542"/>
                  <a:pt x="819" y="531"/>
                  <a:pt x="823" y="521"/>
                </a:cubicBezTo>
                <a:cubicBezTo>
                  <a:pt x="825" y="516"/>
                  <a:pt x="826" y="511"/>
                  <a:pt x="828" y="507"/>
                </a:cubicBezTo>
                <a:lnTo>
                  <a:pt x="838" y="480"/>
                </a:lnTo>
                <a:cubicBezTo>
                  <a:pt x="842" y="467"/>
                  <a:pt x="845" y="459"/>
                  <a:pt x="845" y="459"/>
                </a:cubicBezTo>
                <a:cubicBezTo>
                  <a:pt x="846" y="458"/>
                  <a:pt x="847" y="457"/>
                  <a:pt x="849" y="455"/>
                </a:cubicBezTo>
                <a:cubicBezTo>
                  <a:pt x="848" y="454"/>
                  <a:pt x="848" y="453"/>
                  <a:pt x="848" y="453"/>
                </a:cubicBezTo>
                <a:cubicBezTo>
                  <a:pt x="848" y="450"/>
                  <a:pt x="849" y="448"/>
                  <a:pt x="850" y="446"/>
                </a:cubicBezTo>
                <a:lnTo>
                  <a:pt x="851" y="444"/>
                </a:lnTo>
                <a:lnTo>
                  <a:pt x="852" y="444"/>
                </a:lnTo>
                <a:cubicBezTo>
                  <a:pt x="852" y="444"/>
                  <a:pt x="853" y="443"/>
                  <a:pt x="853" y="440"/>
                </a:cubicBezTo>
                <a:cubicBezTo>
                  <a:pt x="853" y="437"/>
                  <a:pt x="853" y="436"/>
                  <a:pt x="854" y="435"/>
                </a:cubicBezTo>
                <a:cubicBezTo>
                  <a:pt x="855" y="434"/>
                  <a:pt x="856" y="433"/>
                  <a:pt x="856" y="433"/>
                </a:cubicBezTo>
                <a:cubicBezTo>
                  <a:pt x="856" y="433"/>
                  <a:pt x="856" y="431"/>
                  <a:pt x="856" y="429"/>
                </a:cubicBezTo>
                <a:cubicBezTo>
                  <a:pt x="857" y="429"/>
                  <a:pt x="857" y="429"/>
                  <a:pt x="858" y="430"/>
                </a:cubicBezTo>
                <a:cubicBezTo>
                  <a:pt x="859" y="431"/>
                  <a:pt x="860" y="432"/>
                  <a:pt x="860" y="432"/>
                </a:cubicBezTo>
                <a:cubicBezTo>
                  <a:pt x="861" y="432"/>
                  <a:pt x="862" y="431"/>
                  <a:pt x="863" y="429"/>
                </a:cubicBezTo>
                <a:cubicBezTo>
                  <a:pt x="865" y="426"/>
                  <a:pt x="865" y="425"/>
                  <a:pt x="866" y="425"/>
                </a:cubicBezTo>
                <a:cubicBezTo>
                  <a:pt x="866" y="425"/>
                  <a:pt x="866" y="426"/>
                  <a:pt x="866" y="428"/>
                </a:cubicBezTo>
                <a:cubicBezTo>
                  <a:pt x="866" y="430"/>
                  <a:pt x="866" y="430"/>
                  <a:pt x="866" y="430"/>
                </a:cubicBezTo>
                <a:cubicBezTo>
                  <a:pt x="865" y="430"/>
                  <a:pt x="865" y="431"/>
                  <a:pt x="865" y="434"/>
                </a:cubicBezTo>
                <a:cubicBezTo>
                  <a:pt x="865" y="436"/>
                  <a:pt x="864" y="440"/>
                  <a:pt x="862" y="445"/>
                </a:cubicBezTo>
                <a:cubicBezTo>
                  <a:pt x="860" y="451"/>
                  <a:pt x="859" y="453"/>
                  <a:pt x="858" y="453"/>
                </a:cubicBezTo>
                <a:lnTo>
                  <a:pt x="858" y="453"/>
                </a:lnTo>
                <a:cubicBezTo>
                  <a:pt x="858" y="451"/>
                  <a:pt x="859" y="448"/>
                  <a:pt x="860" y="444"/>
                </a:cubicBezTo>
                <a:cubicBezTo>
                  <a:pt x="861" y="440"/>
                  <a:pt x="862" y="437"/>
                  <a:pt x="862" y="436"/>
                </a:cubicBezTo>
                <a:cubicBezTo>
                  <a:pt x="862" y="435"/>
                  <a:pt x="862" y="435"/>
                  <a:pt x="862" y="435"/>
                </a:cubicBezTo>
                <a:cubicBezTo>
                  <a:pt x="861" y="435"/>
                  <a:pt x="861" y="436"/>
                  <a:pt x="860" y="436"/>
                </a:cubicBezTo>
                <a:cubicBezTo>
                  <a:pt x="859" y="437"/>
                  <a:pt x="859" y="438"/>
                  <a:pt x="859" y="440"/>
                </a:cubicBezTo>
                <a:lnTo>
                  <a:pt x="859" y="441"/>
                </a:lnTo>
                <a:cubicBezTo>
                  <a:pt x="859" y="441"/>
                  <a:pt x="859" y="441"/>
                  <a:pt x="858" y="441"/>
                </a:cubicBezTo>
                <a:cubicBezTo>
                  <a:pt x="858" y="441"/>
                  <a:pt x="858" y="442"/>
                  <a:pt x="857" y="442"/>
                </a:cubicBezTo>
                <a:cubicBezTo>
                  <a:pt x="857" y="444"/>
                  <a:pt x="854" y="452"/>
                  <a:pt x="849" y="467"/>
                </a:cubicBezTo>
                <a:cubicBezTo>
                  <a:pt x="831" y="521"/>
                  <a:pt x="811" y="576"/>
                  <a:pt x="790" y="631"/>
                </a:cubicBezTo>
                <a:cubicBezTo>
                  <a:pt x="785" y="644"/>
                  <a:pt x="782" y="651"/>
                  <a:pt x="782" y="652"/>
                </a:cubicBezTo>
                <a:cubicBezTo>
                  <a:pt x="783" y="652"/>
                  <a:pt x="784" y="651"/>
                  <a:pt x="786" y="648"/>
                </a:cubicBezTo>
                <a:cubicBezTo>
                  <a:pt x="791" y="640"/>
                  <a:pt x="799" y="631"/>
                  <a:pt x="810" y="621"/>
                </a:cubicBezTo>
                <a:lnTo>
                  <a:pt x="814" y="616"/>
                </a:lnTo>
                <a:lnTo>
                  <a:pt x="816" y="612"/>
                </a:lnTo>
                <a:cubicBezTo>
                  <a:pt x="816" y="612"/>
                  <a:pt x="816" y="612"/>
                  <a:pt x="816" y="612"/>
                </a:cubicBezTo>
                <a:lnTo>
                  <a:pt x="820" y="613"/>
                </a:lnTo>
                <a:cubicBezTo>
                  <a:pt x="820" y="613"/>
                  <a:pt x="820" y="613"/>
                  <a:pt x="820" y="613"/>
                </a:cubicBezTo>
                <a:lnTo>
                  <a:pt x="820" y="612"/>
                </a:lnTo>
                <a:cubicBezTo>
                  <a:pt x="820" y="611"/>
                  <a:pt x="822" y="609"/>
                  <a:pt x="825" y="606"/>
                </a:cubicBezTo>
                <a:cubicBezTo>
                  <a:pt x="828" y="603"/>
                  <a:pt x="831" y="600"/>
                  <a:pt x="834" y="597"/>
                </a:cubicBezTo>
                <a:cubicBezTo>
                  <a:pt x="837" y="593"/>
                  <a:pt x="839" y="592"/>
                  <a:pt x="841" y="592"/>
                </a:cubicBezTo>
                <a:cubicBezTo>
                  <a:pt x="843" y="592"/>
                  <a:pt x="846" y="589"/>
                  <a:pt x="851" y="583"/>
                </a:cubicBezTo>
                <a:cubicBezTo>
                  <a:pt x="853" y="581"/>
                  <a:pt x="853" y="580"/>
                  <a:pt x="854" y="580"/>
                </a:cubicBezTo>
                <a:cubicBezTo>
                  <a:pt x="855" y="580"/>
                  <a:pt x="858" y="579"/>
                  <a:pt x="862" y="575"/>
                </a:cubicBezTo>
                <a:lnTo>
                  <a:pt x="866" y="571"/>
                </a:lnTo>
                <a:cubicBezTo>
                  <a:pt x="869" y="571"/>
                  <a:pt x="871" y="570"/>
                  <a:pt x="871" y="570"/>
                </a:cubicBezTo>
                <a:cubicBezTo>
                  <a:pt x="871" y="570"/>
                  <a:pt x="871" y="570"/>
                  <a:pt x="871" y="569"/>
                </a:cubicBezTo>
                <a:lnTo>
                  <a:pt x="871" y="569"/>
                </a:lnTo>
                <a:cubicBezTo>
                  <a:pt x="871" y="568"/>
                  <a:pt x="872" y="568"/>
                  <a:pt x="873" y="568"/>
                </a:cubicBezTo>
                <a:lnTo>
                  <a:pt x="874" y="569"/>
                </a:lnTo>
                <a:cubicBezTo>
                  <a:pt x="874" y="569"/>
                  <a:pt x="874" y="568"/>
                  <a:pt x="874" y="568"/>
                </a:cubicBezTo>
                <a:lnTo>
                  <a:pt x="874" y="568"/>
                </a:lnTo>
                <a:cubicBezTo>
                  <a:pt x="874" y="567"/>
                  <a:pt x="875" y="565"/>
                  <a:pt x="877" y="564"/>
                </a:cubicBezTo>
                <a:lnTo>
                  <a:pt x="880" y="563"/>
                </a:lnTo>
                <a:lnTo>
                  <a:pt x="880" y="564"/>
                </a:lnTo>
                <a:cubicBezTo>
                  <a:pt x="880" y="565"/>
                  <a:pt x="880" y="565"/>
                  <a:pt x="881" y="565"/>
                </a:cubicBezTo>
                <a:cubicBezTo>
                  <a:pt x="882" y="565"/>
                  <a:pt x="883" y="564"/>
                  <a:pt x="883" y="564"/>
                </a:cubicBezTo>
                <a:cubicBezTo>
                  <a:pt x="883" y="564"/>
                  <a:pt x="883" y="563"/>
                  <a:pt x="883" y="562"/>
                </a:cubicBezTo>
                <a:lnTo>
                  <a:pt x="883" y="562"/>
                </a:lnTo>
                <a:cubicBezTo>
                  <a:pt x="883" y="561"/>
                  <a:pt x="884" y="560"/>
                  <a:pt x="886" y="559"/>
                </a:cubicBezTo>
                <a:lnTo>
                  <a:pt x="890" y="558"/>
                </a:lnTo>
                <a:lnTo>
                  <a:pt x="890" y="559"/>
                </a:lnTo>
                <a:cubicBezTo>
                  <a:pt x="890" y="560"/>
                  <a:pt x="890" y="560"/>
                  <a:pt x="891" y="560"/>
                </a:cubicBezTo>
                <a:cubicBezTo>
                  <a:pt x="891" y="560"/>
                  <a:pt x="892" y="561"/>
                  <a:pt x="892" y="561"/>
                </a:cubicBezTo>
                <a:lnTo>
                  <a:pt x="892" y="563"/>
                </a:lnTo>
                <a:cubicBezTo>
                  <a:pt x="892" y="563"/>
                  <a:pt x="892" y="563"/>
                  <a:pt x="892" y="563"/>
                </a:cubicBezTo>
                <a:cubicBezTo>
                  <a:pt x="893" y="563"/>
                  <a:pt x="893" y="563"/>
                  <a:pt x="894" y="563"/>
                </a:cubicBezTo>
                <a:cubicBezTo>
                  <a:pt x="895" y="562"/>
                  <a:pt x="896" y="562"/>
                  <a:pt x="896" y="561"/>
                </a:cubicBezTo>
                <a:cubicBezTo>
                  <a:pt x="896" y="561"/>
                  <a:pt x="895" y="561"/>
                  <a:pt x="894" y="560"/>
                </a:cubicBezTo>
                <a:cubicBezTo>
                  <a:pt x="893" y="559"/>
                  <a:pt x="893" y="559"/>
                  <a:pt x="893" y="559"/>
                </a:cubicBezTo>
                <a:lnTo>
                  <a:pt x="896" y="559"/>
                </a:lnTo>
                <a:cubicBezTo>
                  <a:pt x="898" y="559"/>
                  <a:pt x="898" y="559"/>
                  <a:pt x="898" y="559"/>
                </a:cubicBezTo>
                <a:lnTo>
                  <a:pt x="898" y="558"/>
                </a:lnTo>
                <a:cubicBezTo>
                  <a:pt x="898" y="556"/>
                  <a:pt x="899" y="555"/>
                  <a:pt x="902" y="555"/>
                </a:cubicBezTo>
                <a:cubicBezTo>
                  <a:pt x="903" y="555"/>
                  <a:pt x="903" y="555"/>
                  <a:pt x="904" y="556"/>
                </a:cubicBezTo>
                <a:lnTo>
                  <a:pt x="904" y="556"/>
                </a:lnTo>
                <a:cubicBezTo>
                  <a:pt x="904" y="556"/>
                  <a:pt x="903" y="557"/>
                  <a:pt x="902" y="557"/>
                </a:cubicBezTo>
                <a:cubicBezTo>
                  <a:pt x="901" y="557"/>
                  <a:pt x="901" y="557"/>
                  <a:pt x="901" y="558"/>
                </a:cubicBezTo>
                <a:cubicBezTo>
                  <a:pt x="901" y="558"/>
                  <a:pt x="902" y="559"/>
                  <a:pt x="902" y="559"/>
                </a:cubicBezTo>
                <a:cubicBezTo>
                  <a:pt x="904" y="559"/>
                  <a:pt x="905" y="558"/>
                  <a:pt x="908" y="557"/>
                </a:cubicBezTo>
                <a:cubicBezTo>
                  <a:pt x="910" y="556"/>
                  <a:pt x="912" y="556"/>
                  <a:pt x="913" y="555"/>
                </a:cubicBezTo>
                <a:cubicBezTo>
                  <a:pt x="914" y="554"/>
                  <a:pt x="916" y="553"/>
                  <a:pt x="917" y="553"/>
                </a:cubicBezTo>
                <a:cubicBezTo>
                  <a:pt x="919" y="552"/>
                  <a:pt x="920" y="552"/>
                  <a:pt x="922" y="551"/>
                </a:cubicBezTo>
                <a:cubicBezTo>
                  <a:pt x="924" y="551"/>
                  <a:pt x="926" y="551"/>
                  <a:pt x="928" y="551"/>
                </a:cubicBezTo>
                <a:cubicBezTo>
                  <a:pt x="929" y="550"/>
                  <a:pt x="930" y="550"/>
                  <a:pt x="931" y="549"/>
                </a:cubicBezTo>
                <a:cubicBezTo>
                  <a:pt x="932" y="549"/>
                  <a:pt x="932" y="549"/>
                  <a:pt x="933" y="549"/>
                </a:cubicBezTo>
                <a:cubicBezTo>
                  <a:pt x="933" y="549"/>
                  <a:pt x="934" y="549"/>
                  <a:pt x="934" y="549"/>
                </a:cubicBezTo>
                <a:cubicBezTo>
                  <a:pt x="943" y="549"/>
                  <a:pt x="951" y="551"/>
                  <a:pt x="959" y="556"/>
                </a:cubicBezTo>
                <a:cubicBezTo>
                  <a:pt x="964" y="558"/>
                  <a:pt x="967" y="561"/>
                  <a:pt x="969" y="564"/>
                </a:cubicBezTo>
                <a:cubicBezTo>
                  <a:pt x="971" y="567"/>
                  <a:pt x="974" y="569"/>
                  <a:pt x="977" y="570"/>
                </a:cubicBezTo>
                <a:cubicBezTo>
                  <a:pt x="985" y="574"/>
                  <a:pt x="989" y="582"/>
                  <a:pt x="989" y="594"/>
                </a:cubicBezTo>
                <a:cubicBezTo>
                  <a:pt x="989" y="605"/>
                  <a:pt x="987" y="616"/>
                  <a:pt x="983" y="625"/>
                </a:cubicBezTo>
                <a:cubicBezTo>
                  <a:pt x="980" y="632"/>
                  <a:pt x="975" y="641"/>
                  <a:pt x="967" y="652"/>
                </a:cubicBezTo>
                <a:cubicBezTo>
                  <a:pt x="965" y="654"/>
                  <a:pt x="965" y="656"/>
                  <a:pt x="965" y="658"/>
                </a:cubicBezTo>
                <a:cubicBezTo>
                  <a:pt x="965" y="660"/>
                  <a:pt x="963" y="661"/>
                  <a:pt x="962" y="662"/>
                </a:cubicBezTo>
                <a:cubicBezTo>
                  <a:pt x="960" y="662"/>
                  <a:pt x="958" y="663"/>
                  <a:pt x="958" y="663"/>
                </a:cubicBezTo>
                <a:cubicBezTo>
                  <a:pt x="959" y="664"/>
                  <a:pt x="960" y="664"/>
                  <a:pt x="961" y="664"/>
                </a:cubicBezTo>
                <a:cubicBezTo>
                  <a:pt x="962" y="664"/>
                  <a:pt x="963" y="664"/>
                  <a:pt x="965" y="663"/>
                </a:cubicBezTo>
                <a:cubicBezTo>
                  <a:pt x="966" y="662"/>
                  <a:pt x="967" y="661"/>
                  <a:pt x="967" y="659"/>
                </a:cubicBezTo>
                <a:lnTo>
                  <a:pt x="967" y="659"/>
                </a:lnTo>
                <a:cubicBezTo>
                  <a:pt x="967" y="657"/>
                  <a:pt x="967" y="656"/>
                  <a:pt x="968" y="656"/>
                </a:cubicBezTo>
                <a:lnTo>
                  <a:pt x="971" y="656"/>
                </a:lnTo>
                <a:lnTo>
                  <a:pt x="973" y="655"/>
                </a:lnTo>
                <a:cubicBezTo>
                  <a:pt x="973" y="654"/>
                  <a:pt x="973" y="654"/>
                  <a:pt x="975" y="654"/>
                </a:cubicBezTo>
                <a:lnTo>
                  <a:pt x="976" y="655"/>
                </a:lnTo>
                <a:cubicBezTo>
                  <a:pt x="976" y="655"/>
                  <a:pt x="977" y="654"/>
                  <a:pt x="977" y="654"/>
                </a:cubicBezTo>
                <a:cubicBezTo>
                  <a:pt x="978" y="653"/>
                  <a:pt x="979" y="653"/>
                  <a:pt x="981" y="653"/>
                </a:cubicBezTo>
                <a:cubicBezTo>
                  <a:pt x="983" y="653"/>
                  <a:pt x="985" y="652"/>
                  <a:pt x="985" y="651"/>
                </a:cubicBezTo>
                <a:cubicBezTo>
                  <a:pt x="985" y="649"/>
                  <a:pt x="986" y="649"/>
                  <a:pt x="987" y="649"/>
                </a:cubicBezTo>
                <a:cubicBezTo>
                  <a:pt x="987" y="649"/>
                  <a:pt x="988" y="649"/>
                  <a:pt x="989" y="650"/>
                </a:cubicBezTo>
                <a:cubicBezTo>
                  <a:pt x="990" y="651"/>
                  <a:pt x="991" y="651"/>
                  <a:pt x="991" y="651"/>
                </a:cubicBezTo>
                <a:cubicBezTo>
                  <a:pt x="991" y="651"/>
                  <a:pt x="991" y="651"/>
                  <a:pt x="991" y="650"/>
                </a:cubicBezTo>
                <a:lnTo>
                  <a:pt x="991" y="648"/>
                </a:lnTo>
                <a:cubicBezTo>
                  <a:pt x="992" y="648"/>
                  <a:pt x="992" y="649"/>
                  <a:pt x="993" y="650"/>
                </a:cubicBezTo>
                <a:cubicBezTo>
                  <a:pt x="994" y="651"/>
                  <a:pt x="994" y="651"/>
                  <a:pt x="994" y="651"/>
                </a:cubicBezTo>
                <a:cubicBezTo>
                  <a:pt x="995" y="651"/>
                  <a:pt x="995" y="651"/>
                  <a:pt x="995" y="649"/>
                </a:cubicBezTo>
                <a:cubicBezTo>
                  <a:pt x="995" y="648"/>
                  <a:pt x="996" y="647"/>
                  <a:pt x="997" y="647"/>
                </a:cubicBezTo>
                <a:cubicBezTo>
                  <a:pt x="997" y="647"/>
                  <a:pt x="998" y="647"/>
                  <a:pt x="999" y="648"/>
                </a:cubicBezTo>
                <a:cubicBezTo>
                  <a:pt x="1000" y="649"/>
                  <a:pt x="1000" y="649"/>
                  <a:pt x="1001" y="649"/>
                </a:cubicBezTo>
                <a:cubicBezTo>
                  <a:pt x="1002" y="649"/>
                  <a:pt x="1002" y="649"/>
                  <a:pt x="1002" y="648"/>
                </a:cubicBezTo>
                <a:cubicBezTo>
                  <a:pt x="1003" y="646"/>
                  <a:pt x="1005" y="646"/>
                  <a:pt x="1009" y="646"/>
                </a:cubicBezTo>
                <a:cubicBezTo>
                  <a:pt x="1018" y="646"/>
                  <a:pt x="1028" y="644"/>
                  <a:pt x="1040" y="642"/>
                </a:cubicBezTo>
                <a:cubicBezTo>
                  <a:pt x="1041" y="641"/>
                  <a:pt x="1046" y="641"/>
                  <a:pt x="1053" y="640"/>
                </a:cubicBezTo>
                <a:lnTo>
                  <a:pt x="1084" y="635"/>
                </a:lnTo>
                <a:cubicBezTo>
                  <a:pt x="1096" y="634"/>
                  <a:pt x="1101" y="633"/>
                  <a:pt x="1101" y="632"/>
                </a:cubicBezTo>
                <a:cubicBezTo>
                  <a:pt x="1101" y="632"/>
                  <a:pt x="1101" y="632"/>
                  <a:pt x="1100" y="632"/>
                </a:cubicBezTo>
                <a:lnTo>
                  <a:pt x="1085" y="633"/>
                </a:lnTo>
                <a:cubicBezTo>
                  <a:pt x="1063" y="634"/>
                  <a:pt x="1051" y="635"/>
                  <a:pt x="1047" y="636"/>
                </a:cubicBezTo>
                <a:cubicBezTo>
                  <a:pt x="1047" y="636"/>
                  <a:pt x="1046" y="635"/>
                  <a:pt x="1046" y="634"/>
                </a:cubicBezTo>
                <a:cubicBezTo>
                  <a:pt x="1046" y="630"/>
                  <a:pt x="1052" y="628"/>
                  <a:pt x="1065" y="628"/>
                </a:cubicBezTo>
                <a:lnTo>
                  <a:pt x="1083" y="629"/>
                </a:lnTo>
                <a:cubicBezTo>
                  <a:pt x="1093" y="630"/>
                  <a:pt x="1100" y="630"/>
                  <a:pt x="1103" y="630"/>
                </a:cubicBezTo>
                <a:cubicBezTo>
                  <a:pt x="1105" y="630"/>
                  <a:pt x="1106" y="631"/>
                  <a:pt x="1106" y="632"/>
                </a:cubicBezTo>
                <a:lnTo>
                  <a:pt x="1106" y="632"/>
                </a:lnTo>
                <a:cubicBezTo>
                  <a:pt x="1106" y="633"/>
                  <a:pt x="1108" y="634"/>
                  <a:pt x="1110" y="634"/>
                </a:cubicBezTo>
                <a:cubicBezTo>
                  <a:pt x="1114" y="634"/>
                  <a:pt x="1116" y="634"/>
                  <a:pt x="1116" y="636"/>
                </a:cubicBezTo>
                <a:cubicBezTo>
                  <a:pt x="1116" y="637"/>
                  <a:pt x="1115" y="638"/>
                  <a:pt x="1114" y="638"/>
                </a:cubicBezTo>
                <a:cubicBezTo>
                  <a:pt x="1112" y="639"/>
                  <a:pt x="1112" y="640"/>
                  <a:pt x="1112" y="642"/>
                </a:cubicBezTo>
                <a:lnTo>
                  <a:pt x="1112" y="643"/>
                </a:lnTo>
                <a:cubicBezTo>
                  <a:pt x="1112" y="647"/>
                  <a:pt x="1097" y="652"/>
                  <a:pt x="1068" y="658"/>
                </a:cubicBezTo>
                <a:cubicBezTo>
                  <a:pt x="1034" y="664"/>
                  <a:pt x="1002" y="671"/>
                  <a:pt x="972" y="679"/>
                </a:cubicBezTo>
                <a:cubicBezTo>
                  <a:pt x="955" y="684"/>
                  <a:pt x="944" y="687"/>
                  <a:pt x="939" y="689"/>
                </a:cubicBezTo>
                <a:cubicBezTo>
                  <a:pt x="935" y="691"/>
                  <a:pt x="932" y="692"/>
                  <a:pt x="932" y="693"/>
                </a:cubicBezTo>
                <a:cubicBezTo>
                  <a:pt x="931" y="695"/>
                  <a:pt x="930" y="696"/>
                  <a:pt x="929" y="696"/>
                </a:cubicBezTo>
                <a:cubicBezTo>
                  <a:pt x="928" y="696"/>
                  <a:pt x="928" y="695"/>
                  <a:pt x="928" y="695"/>
                </a:cubicBezTo>
                <a:lnTo>
                  <a:pt x="928" y="693"/>
                </a:lnTo>
                <a:cubicBezTo>
                  <a:pt x="928" y="693"/>
                  <a:pt x="927" y="693"/>
                  <a:pt x="925" y="694"/>
                </a:cubicBezTo>
                <a:cubicBezTo>
                  <a:pt x="923" y="695"/>
                  <a:pt x="922" y="696"/>
                  <a:pt x="922" y="697"/>
                </a:cubicBezTo>
                <a:lnTo>
                  <a:pt x="927" y="696"/>
                </a:lnTo>
                <a:cubicBezTo>
                  <a:pt x="928" y="696"/>
                  <a:pt x="928" y="696"/>
                  <a:pt x="928" y="696"/>
                </a:cubicBezTo>
                <a:cubicBezTo>
                  <a:pt x="928" y="698"/>
                  <a:pt x="922" y="703"/>
                  <a:pt x="910" y="713"/>
                </a:cubicBezTo>
                <a:cubicBezTo>
                  <a:pt x="890" y="728"/>
                  <a:pt x="870" y="742"/>
                  <a:pt x="849" y="753"/>
                </a:cubicBezTo>
                <a:cubicBezTo>
                  <a:pt x="829" y="764"/>
                  <a:pt x="814" y="771"/>
                  <a:pt x="804" y="773"/>
                </a:cubicBezTo>
                <a:cubicBezTo>
                  <a:pt x="800" y="773"/>
                  <a:pt x="797" y="772"/>
                  <a:pt x="795" y="770"/>
                </a:cubicBezTo>
                <a:cubicBezTo>
                  <a:pt x="793" y="768"/>
                  <a:pt x="792" y="766"/>
                  <a:pt x="791" y="763"/>
                </a:cubicBezTo>
                <a:cubicBezTo>
                  <a:pt x="791" y="761"/>
                  <a:pt x="789" y="760"/>
                  <a:pt x="787" y="760"/>
                </a:cubicBezTo>
                <a:cubicBezTo>
                  <a:pt x="784" y="760"/>
                  <a:pt x="781" y="758"/>
                  <a:pt x="779" y="755"/>
                </a:cubicBezTo>
                <a:cubicBezTo>
                  <a:pt x="777" y="752"/>
                  <a:pt x="776" y="748"/>
                  <a:pt x="776" y="745"/>
                </a:cubicBezTo>
                <a:cubicBezTo>
                  <a:pt x="776" y="742"/>
                  <a:pt x="777" y="740"/>
                  <a:pt x="778" y="738"/>
                </a:cubicBezTo>
                <a:cubicBezTo>
                  <a:pt x="779" y="737"/>
                  <a:pt x="779" y="735"/>
                  <a:pt x="779" y="735"/>
                </a:cubicBezTo>
                <a:cubicBezTo>
                  <a:pt x="779" y="734"/>
                  <a:pt x="779" y="734"/>
                  <a:pt x="778" y="734"/>
                </a:cubicBezTo>
                <a:lnTo>
                  <a:pt x="775" y="736"/>
                </a:lnTo>
                <a:cubicBezTo>
                  <a:pt x="775" y="736"/>
                  <a:pt x="774" y="735"/>
                  <a:pt x="774" y="735"/>
                </a:cubicBezTo>
                <a:cubicBezTo>
                  <a:pt x="774" y="734"/>
                  <a:pt x="775" y="733"/>
                  <a:pt x="777" y="732"/>
                </a:cubicBezTo>
                <a:lnTo>
                  <a:pt x="782" y="727"/>
                </a:lnTo>
                <a:lnTo>
                  <a:pt x="780" y="731"/>
                </a:lnTo>
                <a:lnTo>
                  <a:pt x="782" y="730"/>
                </a:lnTo>
                <a:cubicBezTo>
                  <a:pt x="784" y="728"/>
                  <a:pt x="786" y="725"/>
                  <a:pt x="786" y="723"/>
                </a:cubicBezTo>
                <a:cubicBezTo>
                  <a:pt x="786" y="722"/>
                  <a:pt x="785" y="721"/>
                  <a:pt x="784" y="721"/>
                </a:cubicBezTo>
                <a:lnTo>
                  <a:pt x="784" y="723"/>
                </a:lnTo>
                <a:lnTo>
                  <a:pt x="784" y="725"/>
                </a:lnTo>
                <a:lnTo>
                  <a:pt x="782" y="723"/>
                </a:lnTo>
                <a:lnTo>
                  <a:pt x="783" y="727"/>
                </a:lnTo>
                <a:lnTo>
                  <a:pt x="782" y="725"/>
                </a:lnTo>
                <a:cubicBezTo>
                  <a:pt x="781" y="725"/>
                  <a:pt x="781" y="725"/>
                  <a:pt x="781" y="724"/>
                </a:cubicBezTo>
                <a:cubicBezTo>
                  <a:pt x="781" y="724"/>
                  <a:pt x="781" y="723"/>
                  <a:pt x="781" y="723"/>
                </a:cubicBezTo>
                <a:cubicBezTo>
                  <a:pt x="781" y="722"/>
                  <a:pt x="781" y="722"/>
                  <a:pt x="782" y="721"/>
                </a:cubicBezTo>
                <a:cubicBezTo>
                  <a:pt x="782" y="721"/>
                  <a:pt x="782" y="720"/>
                  <a:pt x="782" y="719"/>
                </a:cubicBezTo>
                <a:cubicBezTo>
                  <a:pt x="782" y="718"/>
                  <a:pt x="783" y="718"/>
                  <a:pt x="784" y="718"/>
                </a:cubicBezTo>
                <a:cubicBezTo>
                  <a:pt x="785" y="719"/>
                  <a:pt x="785" y="719"/>
                  <a:pt x="785" y="720"/>
                </a:cubicBezTo>
                <a:cubicBezTo>
                  <a:pt x="785" y="720"/>
                  <a:pt x="786" y="721"/>
                  <a:pt x="788" y="721"/>
                </a:cubicBezTo>
                <a:lnTo>
                  <a:pt x="790" y="720"/>
                </a:lnTo>
                <a:lnTo>
                  <a:pt x="790" y="719"/>
                </a:lnTo>
                <a:cubicBezTo>
                  <a:pt x="790" y="718"/>
                  <a:pt x="792" y="716"/>
                  <a:pt x="796" y="714"/>
                </a:cubicBezTo>
                <a:cubicBezTo>
                  <a:pt x="800" y="712"/>
                  <a:pt x="804" y="710"/>
                  <a:pt x="807" y="708"/>
                </a:cubicBezTo>
                <a:cubicBezTo>
                  <a:pt x="810" y="705"/>
                  <a:pt x="812" y="704"/>
                  <a:pt x="812" y="703"/>
                </a:cubicBezTo>
                <a:lnTo>
                  <a:pt x="811" y="703"/>
                </a:lnTo>
                <a:cubicBezTo>
                  <a:pt x="810" y="703"/>
                  <a:pt x="808" y="704"/>
                  <a:pt x="806" y="705"/>
                </a:cubicBezTo>
                <a:lnTo>
                  <a:pt x="804" y="706"/>
                </a:lnTo>
                <a:cubicBezTo>
                  <a:pt x="804" y="706"/>
                  <a:pt x="805" y="705"/>
                  <a:pt x="806" y="704"/>
                </a:cubicBezTo>
                <a:cubicBezTo>
                  <a:pt x="808" y="702"/>
                  <a:pt x="810" y="702"/>
                  <a:pt x="812" y="702"/>
                </a:cubicBezTo>
                <a:cubicBezTo>
                  <a:pt x="815" y="702"/>
                  <a:pt x="817" y="701"/>
                  <a:pt x="818" y="700"/>
                </a:cubicBezTo>
                <a:cubicBezTo>
                  <a:pt x="818" y="699"/>
                  <a:pt x="819" y="699"/>
                  <a:pt x="821" y="699"/>
                </a:cubicBezTo>
                <a:lnTo>
                  <a:pt x="821" y="699"/>
                </a:lnTo>
                <a:cubicBezTo>
                  <a:pt x="822" y="699"/>
                  <a:pt x="822" y="699"/>
                  <a:pt x="822" y="698"/>
                </a:cubicBezTo>
                <a:cubicBezTo>
                  <a:pt x="822" y="697"/>
                  <a:pt x="822" y="697"/>
                  <a:pt x="823" y="697"/>
                </a:cubicBezTo>
                <a:lnTo>
                  <a:pt x="824" y="697"/>
                </a:lnTo>
                <a:cubicBezTo>
                  <a:pt x="824" y="697"/>
                  <a:pt x="825" y="696"/>
                  <a:pt x="826" y="695"/>
                </a:cubicBezTo>
                <a:lnTo>
                  <a:pt x="827" y="693"/>
                </a:lnTo>
                <a:lnTo>
                  <a:pt x="829" y="693"/>
                </a:lnTo>
                <a:cubicBezTo>
                  <a:pt x="830" y="693"/>
                  <a:pt x="832" y="693"/>
                  <a:pt x="834" y="692"/>
                </a:cubicBezTo>
                <a:cubicBezTo>
                  <a:pt x="839" y="691"/>
                  <a:pt x="841" y="689"/>
                  <a:pt x="841" y="688"/>
                </a:cubicBezTo>
                <a:cubicBezTo>
                  <a:pt x="841" y="687"/>
                  <a:pt x="843" y="687"/>
                  <a:pt x="845" y="687"/>
                </a:cubicBezTo>
                <a:cubicBezTo>
                  <a:pt x="848" y="687"/>
                  <a:pt x="849" y="686"/>
                  <a:pt x="850" y="685"/>
                </a:cubicBezTo>
                <a:cubicBezTo>
                  <a:pt x="850" y="683"/>
                  <a:pt x="851" y="683"/>
                  <a:pt x="852" y="683"/>
                </a:cubicBezTo>
                <a:lnTo>
                  <a:pt x="855" y="683"/>
                </a:lnTo>
                <a:cubicBezTo>
                  <a:pt x="856" y="683"/>
                  <a:pt x="857" y="682"/>
                  <a:pt x="857" y="681"/>
                </a:cubicBezTo>
                <a:lnTo>
                  <a:pt x="857" y="681"/>
                </a:lnTo>
                <a:cubicBezTo>
                  <a:pt x="857" y="679"/>
                  <a:pt x="859" y="678"/>
                  <a:pt x="863" y="676"/>
                </a:cubicBezTo>
                <a:cubicBezTo>
                  <a:pt x="864" y="676"/>
                  <a:pt x="866" y="676"/>
                  <a:pt x="868" y="676"/>
                </a:cubicBezTo>
                <a:cubicBezTo>
                  <a:pt x="870" y="676"/>
                  <a:pt x="872" y="675"/>
                  <a:pt x="873" y="673"/>
                </a:cubicBezTo>
                <a:cubicBezTo>
                  <a:pt x="875" y="672"/>
                  <a:pt x="876" y="671"/>
                  <a:pt x="876" y="671"/>
                </a:cubicBezTo>
                <a:cubicBezTo>
                  <a:pt x="877" y="671"/>
                  <a:pt x="878" y="671"/>
                  <a:pt x="879" y="672"/>
                </a:cubicBezTo>
                <a:lnTo>
                  <a:pt x="881" y="674"/>
                </a:lnTo>
                <a:lnTo>
                  <a:pt x="880" y="671"/>
                </a:lnTo>
                <a:cubicBezTo>
                  <a:pt x="880" y="669"/>
                  <a:pt x="881" y="669"/>
                  <a:pt x="882" y="669"/>
                </a:cubicBezTo>
                <a:cubicBezTo>
                  <a:pt x="882" y="669"/>
                  <a:pt x="883" y="669"/>
                  <a:pt x="883" y="670"/>
                </a:cubicBezTo>
                <a:cubicBezTo>
                  <a:pt x="884" y="671"/>
                  <a:pt x="884" y="671"/>
                  <a:pt x="885" y="671"/>
                </a:cubicBezTo>
                <a:cubicBezTo>
                  <a:pt x="885" y="671"/>
                  <a:pt x="886" y="670"/>
                  <a:pt x="887" y="669"/>
                </a:cubicBezTo>
                <a:cubicBezTo>
                  <a:pt x="887" y="669"/>
                  <a:pt x="888" y="668"/>
                  <a:pt x="890" y="667"/>
                </a:cubicBezTo>
                <a:cubicBezTo>
                  <a:pt x="891" y="667"/>
                  <a:pt x="893" y="666"/>
                  <a:pt x="895" y="666"/>
                </a:cubicBezTo>
                <a:cubicBezTo>
                  <a:pt x="896" y="666"/>
                  <a:pt x="898" y="666"/>
                  <a:pt x="899" y="665"/>
                </a:cubicBezTo>
                <a:cubicBezTo>
                  <a:pt x="901" y="664"/>
                  <a:pt x="902" y="663"/>
                  <a:pt x="903" y="662"/>
                </a:cubicBezTo>
                <a:lnTo>
                  <a:pt x="904" y="661"/>
                </a:lnTo>
                <a:lnTo>
                  <a:pt x="903" y="664"/>
                </a:lnTo>
                <a:cubicBezTo>
                  <a:pt x="903" y="664"/>
                  <a:pt x="904" y="664"/>
                  <a:pt x="905" y="663"/>
                </a:cubicBezTo>
                <a:cubicBezTo>
                  <a:pt x="906" y="662"/>
                  <a:pt x="907" y="661"/>
                  <a:pt x="908" y="661"/>
                </a:cubicBezTo>
                <a:cubicBezTo>
                  <a:pt x="910" y="660"/>
                  <a:pt x="910" y="660"/>
                  <a:pt x="910" y="660"/>
                </a:cubicBezTo>
                <a:cubicBezTo>
                  <a:pt x="910" y="660"/>
                  <a:pt x="911" y="660"/>
                  <a:pt x="911" y="660"/>
                </a:cubicBezTo>
                <a:cubicBezTo>
                  <a:pt x="911" y="659"/>
                  <a:pt x="913" y="657"/>
                  <a:pt x="915" y="654"/>
                </a:cubicBezTo>
                <a:lnTo>
                  <a:pt x="913" y="656"/>
                </a:lnTo>
                <a:cubicBezTo>
                  <a:pt x="911" y="657"/>
                  <a:pt x="910" y="658"/>
                  <a:pt x="910" y="658"/>
                </a:cubicBezTo>
                <a:cubicBezTo>
                  <a:pt x="910" y="658"/>
                  <a:pt x="911" y="656"/>
                  <a:pt x="913" y="654"/>
                </a:cubicBezTo>
                <a:cubicBezTo>
                  <a:pt x="914" y="652"/>
                  <a:pt x="915" y="651"/>
                  <a:pt x="917" y="650"/>
                </a:cubicBezTo>
                <a:lnTo>
                  <a:pt x="919" y="648"/>
                </a:lnTo>
                <a:cubicBezTo>
                  <a:pt x="919" y="649"/>
                  <a:pt x="918" y="649"/>
                  <a:pt x="917" y="651"/>
                </a:cubicBezTo>
                <a:cubicBezTo>
                  <a:pt x="916" y="652"/>
                  <a:pt x="916" y="653"/>
                  <a:pt x="916" y="653"/>
                </a:cubicBezTo>
                <a:cubicBezTo>
                  <a:pt x="916" y="654"/>
                  <a:pt x="916" y="654"/>
                  <a:pt x="916" y="654"/>
                </a:cubicBezTo>
                <a:cubicBezTo>
                  <a:pt x="917" y="654"/>
                  <a:pt x="918" y="653"/>
                  <a:pt x="919" y="652"/>
                </a:cubicBezTo>
                <a:cubicBezTo>
                  <a:pt x="920" y="652"/>
                  <a:pt x="921" y="650"/>
                  <a:pt x="922" y="649"/>
                </a:cubicBezTo>
                <a:cubicBezTo>
                  <a:pt x="924" y="647"/>
                  <a:pt x="924" y="646"/>
                  <a:pt x="924" y="645"/>
                </a:cubicBezTo>
                <a:cubicBezTo>
                  <a:pt x="924" y="645"/>
                  <a:pt x="924" y="644"/>
                  <a:pt x="924" y="644"/>
                </a:cubicBezTo>
                <a:cubicBezTo>
                  <a:pt x="925" y="642"/>
                  <a:pt x="926" y="641"/>
                  <a:pt x="926" y="640"/>
                </a:cubicBezTo>
                <a:cubicBezTo>
                  <a:pt x="926" y="640"/>
                  <a:pt x="927" y="639"/>
                  <a:pt x="928" y="639"/>
                </a:cubicBezTo>
                <a:lnTo>
                  <a:pt x="930" y="638"/>
                </a:lnTo>
                <a:cubicBezTo>
                  <a:pt x="932" y="638"/>
                  <a:pt x="937" y="632"/>
                  <a:pt x="945" y="621"/>
                </a:cubicBezTo>
                <a:lnTo>
                  <a:pt x="949" y="616"/>
                </a:lnTo>
                <a:lnTo>
                  <a:pt x="945" y="626"/>
                </a:lnTo>
                <a:cubicBezTo>
                  <a:pt x="944" y="629"/>
                  <a:pt x="943" y="630"/>
                  <a:pt x="943" y="630"/>
                </a:cubicBezTo>
                <a:cubicBezTo>
                  <a:pt x="942" y="630"/>
                  <a:pt x="941" y="630"/>
                  <a:pt x="941" y="631"/>
                </a:cubicBezTo>
                <a:cubicBezTo>
                  <a:pt x="941" y="631"/>
                  <a:pt x="942" y="632"/>
                  <a:pt x="942" y="632"/>
                </a:cubicBezTo>
                <a:cubicBezTo>
                  <a:pt x="942" y="633"/>
                  <a:pt x="943" y="633"/>
                  <a:pt x="943" y="634"/>
                </a:cubicBezTo>
                <a:lnTo>
                  <a:pt x="941" y="633"/>
                </a:lnTo>
                <a:cubicBezTo>
                  <a:pt x="941" y="633"/>
                  <a:pt x="940" y="633"/>
                  <a:pt x="939" y="634"/>
                </a:cubicBezTo>
                <a:cubicBezTo>
                  <a:pt x="938" y="635"/>
                  <a:pt x="937" y="636"/>
                  <a:pt x="937" y="637"/>
                </a:cubicBezTo>
                <a:lnTo>
                  <a:pt x="936" y="641"/>
                </a:lnTo>
                <a:cubicBezTo>
                  <a:pt x="936" y="642"/>
                  <a:pt x="933" y="646"/>
                  <a:pt x="927" y="653"/>
                </a:cubicBezTo>
                <a:lnTo>
                  <a:pt x="922" y="659"/>
                </a:lnTo>
                <a:cubicBezTo>
                  <a:pt x="922" y="659"/>
                  <a:pt x="925" y="659"/>
                  <a:pt x="928" y="658"/>
                </a:cubicBezTo>
                <a:cubicBezTo>
                  <a:pt x="933" y="656"/>
                  <a:pt x="937" y="654"/>
                  <a:pt x="939" y="652"/>
                </a:cubicBezTo>
                <a:cubicBezTo>
                  <a:pt x="940" y="651"/>
                  <a:pt x="940" y="651"/>
                  <a:pt x="940" y="650"/>
                </a:cubicBezTo>
                <a:cubicBezTo>
                  <a:pt x="940" y="650"/>
                  <a:pt x="941" y="650"/>
                  <a:pt x="942" y="650"/>
                </a:cubicBezTo>
                <a:cubicBezTo>
                  <a:pt x="943" y="650"/>
                  <a:pt x="946" y="646"/>
                  <a:pt x="952" y="637"/>
                </a:cubicBezTo>
                <a:cubicBezTo>
                  <a:pt x="957" y="629"/>
                  <a:pt x="960" y="624"/>
                  <a:pt x="960" y="623"/>
                </a:cubicBezTo>
                <a:cubicBezTo>
                  <a:pt x="960" y="622"/>
                  <a:pt x="960" y="621"/>
                  <a:pt x="961" y="620"/>
                </a:cubicBezTo>
                <a:cubicBezTo>
                  <a:pt x="964" y="616"/>
                  <a:pt x="966" y="613"/>
                  <a:pt x="966" y="611"/>
                </a:cubicBezTo>
                <a:cubicBezTo>
                  <a:pt x="966" y="610"/>
                  <a:pt x="966" y="610"/>
                  <a:pt x="965" y="610"/>
                </a:cubicBezTo>
                <a:cubicBezTo>
                  <a:pt x="965" y="610"/>
                  <a:pt x="965" y="611"/>
                  <a:pt x="963" y="613"/>
                </a:cubicBezTo>
                <a:cubicBezTo>
                  <a:pt x="962" y="615"/>
                  <a:pt x="961" y="617"/>
                  <a:pt x="959" y="620"/>
                </a:cubicBezTo>
                <a:cubicBezTo>
                  <a:pt x="958" y="622"/>
                  <a:pt x="956" y="625"/>
                  <a:pt x="955" y="627"/>
                </a:cubicBezTo>
                <a:cubicBezTo>
                  <a:pt x="954" y="629"/>
                  <a:pt x="953" y="630"/>
                  <a:pt x="953" y="630"/>
                </a:cubicBezTo>
                <a:cubicBezTo>
                  <a:pt x="952" y="630"/>
                  <a:pt x="952" y="631"/>
                  <a:pt x="951" y="634"/>
                </a:cubicBezTo>
                <a:cubicBezTo>
                  <a:pt x="951" y="636"/>
                  <a:pt x="950" y="637"/>
                  <a:pt x="949" y="637"/>
                </a:cubicBezTo>
                <a:lnTo>
                  <a:pt x="949" y="637"/>
                </a:lnTo>
                <a:cubicBezTo>
                  <a:pt x="948" y="637"/>
                  <a:pt x="947" y="638"/>
                  <a:pt x="944" y="642"/>
                </a:cubicBezTo>
                <a:cubicBezTo>
                  <a:pt x="942" y="645"/>
                  <a:pt x="940" y="647"/>
                  <a:pt x="939" y="647"/>
                </a:cubicBezTo>
                <a:lnTo>
                  <a:pt x="939" y="646"/>
                </a:lnTo>
                <a:cubicBezTo>
                  <a:pt x="939" y="645"/>
                  <a:pt x="940" y="644"/>
                  <a:pt x="941" y="643"/>
                </a:cubicBezTo>
                <a:cubicBezTo>
                  <a:pt x="942" y="642"/>
                  <a:pt x="942" y="642"/>
                  <a:pt x="942" y="642"/>
                </a:cubicBezTo>
                <a:cubicBezTo>
                  <a:pt x="943" y="641"/>
                  <a:pt x="943" y="640"/>
                  <a:pt x="943" y="639"/>
                </a:cubicBezTo>
                <a:lnTo>
                  <a:pt x="943" y="639"/>
                </a:lnTo>
                <a:cubicBezTo>
                  <a:pt x="943" y="637"/>
                  <a:pt x="944" y="635"/>
                  <a:pt x="947" y="632"/>
                </a:cubicBezTo>
                <a:cubicBezTo>
                  <a:pt x="948" y="631"/>
                  <a:pt x="950" y="630"/>
                  <a:pt x="951" y="628"/>
                </a:cubicBezTo>
                <a:cubicBezTo>
                  <a:pt x="952" y="627"/>
                  <a:pt x="952" y="626"/>
                  <a:pt x="952" y="625"/>
                </a:cubicBezTo>
                <a:cubicBezTo>
                  <a:pt x="952" y="623"/>
                  <a:pt x="953" y="621"/>
                  <a:pt x="955" y="619"/>
                </a:cubicBezTo>
                <a:lnTo>
                  <a:pt x="957" y="616"/>
                </a:lnTo>
                <a:lnTo>
                  <a:pt x="958" y="613"/>
                </a:lnTo>
                <a:cubicBezTo>
                  <a:pt x="958" y="612"/>
                  <a:pt x="958" y="612"/>
                  <a:pt x="959" y="612"/>
                </a:cubicBezTo>
                <a:cubicBezTo>
                  <a:pt x="960" y="612"/>
                  <a:pt x="960" y="610"/>
                  <a:pt x="961" y="606"/>
                </a:cubicBezTo>
                <a:cubicBezTo>
                  <a:pt x="963" y="596"/>
                  <a:pt x="965" y="589"/>
                  <a:pt x="965" y="585"/>
                </a:cubicBezTo>
                <a:cubicBezTo>
                  <a:pt x="965" y="582"/>
                  <a:pt x="962" y="580"/>
                  <a:pt x="957" y="579"/>
                </a:cubicBezTo>
                <a:cubicBezTo>
                  <a:pt x="953" y="578"/>
                  <a:pt x="949" y="577"/>
                  <a:pt x="945" y="577"/>
                </a:cubicBezTo>
                <a:cubicBezTo>
                  <a:pt x="928" y="577"/>
                  <a:pt x="909" y="585"/>
                  <a:pt x="889" y="600"/>
                </a:cubicBezTo>
                <a:cubicBezTo>
                  <a:pt x="888" y="601"/>
                  <a:pt x="886" y="602"/>
                  <a:pt x="883" y="604"/>
                </a:cubicBezTo>
                <a:lnTo>
                  <a:pt x="880" y="605"/>
                </a:lnTo>
                <a:lnTo>
                  <a:pt x="879" y="607"/>
                </a:lnTo>
                <a:cubicBezTo>
                  <a:pt x="877" y="609"/>
                  <a:pt x="876" y="610"/>
                  <a:pt x="875" y="610"/>
                </a:cubicBezTo>
                <a:cubicBezTo>
                  <a:pt x="873" y="610"/>
                  <a:pt x="872" y="610"/>
                  <a:pt x="872" y="611"/>
                </a:cubicBezTo>
                <a:cubicBezTo>
                  <a:pt x="872" y="612"/>
                  <a:pt x="868" y="616"/>
                  <a:pt x="859" y="623"/>
                </a:cubicBezTo>
                <a:cubicBezTo>
                  <a:pt x="830" y="649"/>
                  <a:pt x="804" y="679"/>
                  <a:pt x="781" y="712"/>
                </a:cubicBezTo>
                <a:cubicBezTo>
                  <a:pt x="757" y="745"/>
                  <a:pt x="744" y="771"/>
                  <a:pt x="742" y="789"/>
                </a:cubicBezTo>
                <a:cubicBezTo>
                  <a:pt x="742" y="795"/>
                  <a:pt x="741" y="797"/>
                  <a:pt x="739" y="797"/>
                </a:cubicBezTo>
                <a:lnTo>
                  <a:pt x="738" y="797"/>
                </a:lnTo>
                <a:lnTo>
                  <a:pt x="737" y="798"/>
                </a:lnTo>
                <a:cubicBezTo>
                  <a:pt x="737" y="798"/>
                  <a:pt x="737" y="798"/>
                  <a:pt x="737" y="798"/>
                </a:cubicBezTo>
                <a:cubicBezTo>
                  <a:pt x="737" y="800"/>
                  <a:pt x="737" y="800"/>
                  <a:pt x="737" y="800"/>
                </a:cubicBezTo>
                <a:cubicBezTo>
                  <a:pt x="737" y="800"/>
                  <a:pt x="736" y="801"/>
                  <a:pt x="735" y="804"/>
                </a:cubicBezTo>
                <a:cubicBezTo>
                  <a:pt x="734" y="806"/>
                  <a:pt x="733" y="808"/>
                  <a:pt x="732" y="811"/>
                </a:cubicBezTo>
                <a:lnTo>
                  <a:pt x="711" y="873"/>
                </a:lnTo>
                <a:cubicBezTo>
                  <a:pt x="711" y="874"/>
                  <a:pt x="711" y="875"/>
                  <a:pt x="710" y="878"/>
                </a:cubicBezTo>
                <a:cubicBezTo>
                  <a:pt x="709" y="880"/>
                  <a:pt x="708" y="883"/>
                  <a:pt x="707" y="887"/>
                </a:cubicBezTo>
                <a:cubicBezTo>
                  <a:pt x="702" y="903"/>
                  <a:pt x="695" y="924"/>
                  <a:pt x="687" y="951"/>
                </a:cubicBezTo>
                <a:cubicBezTo>
                  <a:pt x="669" y="1008"/>
                  <a:pt x="658" y="1045"/>
                  <a:pt x="655" y="1062"/>
                </a:cubicBezTo>
                <a:cubicBezTo>
                  <a:pt x="653" y="1071"/>
                  <a:pt x="652" y="1079"/>
                  <a:pt x="652" y="1086"/>
                </a:cubicBezTo>
                <a:cubicBezTo>
                  <a:pt x="652" y="1096"/>
                  <a:pt x="651" y="1102"/>
                  <a:pt x="649" y="1102"/>
                </a:cubicBezTo>
                <a:close/>
                <a:moveTo>
                  <a:pt x="729" y="785"/>
                </a:moveTo>
                <a:cubicBezTo>
                  <a:pt x="729" y="785"/>
                  <a:pt x="730" y="784"/>
                  <a:pt x="731" y="781"/>
                </a:cubicBezTo>
                <a:lnTo>
                  <a:pt x="732" y="779"/>
                </a:lnTo>
                <a:cubicBezTo>
                  <a:pt x="732" y="779"/>
                  <a:pt x="732" y="779"/>
                  <a:pt x="731" y="779"/>
                </a:cubicBezTo>
                <a:cubicBezTo>
                  <a:pt x="729" y="779"/>
                  <a:pt x="729" y="780"/>
                  <a:pt x="729" y="784"/>
                </a:cubicBezTo>
                <a:cubicBezTo>
                  <a:pt x="729" y="784"/>
                  <a:pt x="729" y="785"/>
                  <a:pt x="729" y="785"/>
                </a:cubicBezTo>
                <a:close/>
                <a:moveTo>
                  <a:pt x="732" y="776"/>
                </a:moveTo>
                <a:cubicBezTo>
                  <a:pt x="733" y="776"/>
                  <a:pt x="735" y="772"/>
                  <a:pt x="737" y="763"/>
                </a:cubicBezTo>
                <a:cubicBezTo>
                  <a:pt x="740" y="756"/>
                  <a:pt x="741" y="751"/>
                  <a:pt x="741" y="749"/>
                </a:cubicBezTo>
                <a:cubicBezTo>
                  <a:pt x="741" y="747"/>
                  <a:pt x="741" y="747"/>
                  <a:pt x="740" y="747"/>
                </a:cubicBezTo>
                <a:cubicBezTo>
                  <a:pt x="739" y="747"/>
                  <a:pt x="738" y="749"/>
                  <a:pt x="737" y="753"/>
                </a:cubicBezTo>
                <a:cubicBezTo>
                  <a:pt x="736" y="757"/>
                  <a:pt x="734" y="759"/>
                  <a:pt x="732" y="759"/>
                </a:cubicBezTo>
                <a:lnTo>
                  <a:pt x="732" y="759"/>
                </a:lnTo>
                <a:cubicBezTo>
                  <a:pt x="732" y="759"/>
                  <a:pt x="731" y="759"/>
                  <a:pt x="731" y="759"/>
                </a:cubicBezTo>
                <a:cubicBezTo>
                  <a:pt x="731" y="760"/>
                  <a:pt x="732" y="761"/>
                  <a:pt x="732" y="763"/>
                </a:cubicBezTo>
                <a:cubicBezTo>
                  <a:pt x="733" y="764"/>
                  <a:pt x="733" y="766"/>
                  <a:pt x="733" y="766"/>
                </a:cubicBezTo>
                <a:lnTo>
                  <a:pt x="733" y="767"/>
                </a:lnTo>
                <a:lnTo>
                  <a:pt x="732" y="766"/>
                </a:lnTo>
                <a:cubicBezTo>
                  <a:pt x="731" y="766"/>
                  <a:pt x="731" y="767"/>
                  <a:pt x="731" y="769"/>
                </a:cubicBezTo>
                <a:cubicBezTo>
                  <a:pt x="731" y="774"/>
                  <a:pt x="731" y="776"/>
                  <a:pt x="732" y="776"/>
                </a:cubicBezTo>
                <a:close/>
                <a:moveTo>
                  <a:pt x="743" y="747"/>
                </a:moveTo>
                <a:cubicBezTo>
                  <a:pt x="744" y="747"/>
                  <a:pt x="744" y="744"/>
                  <a:pt x="746" y="740"/>
                </a:cubicBezTo>
                <a:lnTo>
                  <a:pt x="747" y="735"/>
                </a:lnTo>
                <a:cubicBezTo>
                  <a:pt x="747" y="735"/>
                  <a:pt x="746" y="736"/>
                  <a:pt x="744" y="738"/>
                </a:cubicBezTo>
                <a:cubicBezTo>
                  <a:pt x="743" y="741"/>
                  <a:pt x="742" y="743"/>
                  <a:pt x="742" y="744"/>
                </a:cubicBezTo>
                <a:cubicBezTo>
                  <a:pt x="742" y="746"/>
                  <a:pt x="742" y="747"/>
                  <a:pt x="743" y="747"/>
                </a:cubicBezTo>
                <a:close/>
                <a:moveTo>
                  <a:pt x="749" y="732"/>
                </a:moveTo>
                <a:cubicBezTo>
                  <a:pt x="749" y="732"/>
                  <a:pt x="749" y="732"/>
                  <a:pt x="749" y="731"/>
                </a:cubicBezTo>
                <a:lnTo>
                  <a:pt x="749" y="730"/>
                </a:lnTo>
                <a:cubicBezTo>
                  <a:pt x="749" y="728"/>
                  <a:pt x="749" y="727"/>
                  <a:pt x="747" y="727"/>
                </a:cubicBezTo>
                <a:cubicBezTo>
                  <a:pt x="746" y="727"/>
                  <a:pt x="746" y="727"/>
                  <a:pt x="746" y="728"/>
                </a:cubicBezTo>
                <a:cubicBezTo>
                  <a:pt x="746" y="728"/>
                  <a:pt x="746" y="729"/>
                  <a:pt x="746" y="729"/>
                </a:cubicBezTo>
                <a:cubicBezTo>
                  <a:pt x="747" y="729"/>
                  <a:pt x="747" y="730"/>
                  <a:pt x="749" y="732"/>
                </a:cubicBezTo>
                <a:close/>
                <a:moveTo>
                  <a:pt x="748" y="725"/>
                </a:moveTo>
                <a:cubicBezTo>
                  <a:pt x="748" y="725"/>
                  <a:pt x="749" y="724"/>
                  <a:pt x="750" y="722"/>
                </a:cubicBezTo>
                <a:lnTo>
                  <a:pt x="751" y="719"/>
                </a:lnTo>
                <a:cubicBezTo>
                  <a:pt x="751" y="719"/>
                  <a:pt x="750" y="720"/>
                  <a:pt x="749" y="721"/>
                </a:cubicBezTo>
                <a:cubicBezTo>
                  <a:pt x="747" y="723"/>
                  <a:pt x="747" y="724"/>
                  <a:pt x="747" y="725"/>
                </a:cubicBezTo>
                <a:cubicBezTo>
                  <a:pt x="747" y="725"/>
                  <a:pt x="747" y="725"/>
                  <a:pt x="748" y="725"/>
                </a:cubicBezTo>
                <a:close/>
                <a:moveTo>
                  <a:pt x="931" y="646"/>
                </a:moveTo>
                <a:cubicBezTo>
                  <a:pt x="932" y="646"/>
                  <a:pt x="933" y="645"/>
                  <a:pt x="933" y="644"/>
                </a:cubicBezTo>
                <a:cubicBezTo>
                  <a:pt x="934" y="642"/>
                  <a:pt x="935" y="641"/>
                  <a:pt x="935" y="641"/>
                </a:cubicBezTo>
                <a:lnTo>
                  <a:pt x="933" y="643"/>
                </a:lnTo>
                <a:cubicBezTo>
                  <a:pt x="931" y="644"/>
                  <a:pt x="930" y="645"/>
                  <a:pt x="930" y="646"/>
                </a:cubicBezTo>
                <a:cubicBezTo>
                  <a:pt x="930" y="646"/>
                  <a:pt x="930" y="646"/>
                  <a:pt x="931" y="646"/>
                </a:cubicBezTo>
                <a:close/>
                <a:moveTo>
                  <a:pt x="925" y="644"/>
                </a:moveTo>
                <a:cubicBezTo>
                  <a:pt x="926" y="644"/>
                  <a:pt x="927" y="643"/>
                  <a:pt x="928" y="641"/>
                </a:cubicBezTo>
                <a:lnTo>
                  <a:pt x="930" y="639"/>
                </a:lnTo>
                <a:lnTo>
                  <a:pt x="927" y="641"/>
                </a:lnTo>
                <a:lnTo>
                  <a:pt x="925" y="644"/>
                </a:lnTo>
                <a:cubicBezTo>
                  <a:pt x="925" y="644"/>
                  <a:pt x="925" y="644"/>
                  <a:pt x="925" y="644"/>
                </a:cubicBezTo>
                <a:close/>
                <a:moveTo>
                  <a:pt x="783" y="758"/>
                </a:moveTo>
                <a:cubicBezTo>
                  <a:pt x="783" y="758"/>
                  <a:pt x="784" y="757"/>
                  <a:pt x="784" y="756"/>
                </a:cubicBezTo>
                <a:cubicBezTo>
                  <a:pt x="784" y="755"/>
                  <a:pt x="783" y="754"/>
                  <a:pt x="782" y="754"/>
                </a:cubicBezTo>
                <a:cubicBezTo>
                  <a:pt x="781" y="754"/>
                  <a:pt x="780" y="754"/>
                  <a:pt x="780" y="755"/>
                </a:cubicBezTo>
                <a:cubicBezTo>
                  <a:pt x="780" y="756"/>
                  <a:pt x="780" y="756"/>
                  <a:pt x="781" y="756"/>
                </a:cubicBezTo>
                <a:cubicBezTo>
                  <a:pt x="781" y="756"/>
                  <a:pt x="781" y="757"/>
                  <a:pt x="783" y="758"/>
                </a:cubicBezTo>
                <a:close/>
                <a:moveTo>
                  <a:pt x="788" y="758"/>
                </a:moveTo>
                <a:cubicBezTo>
                  <a:pt x="789" y="758"/>
                  <a:pt x="790" y="757"/>
                  <a:pt x="790" y="757"/>
                </a:cubicBezTo>
                <a:lnTo>
                  <a:pt x="789" y="756"/>
                </a:lnTo>
                <a:cubicBezTo>
                  <a:pt x="789" y="756"/>
                  <a:pt x="789" y="755"/>
                  <a:pt x="788" y="755"/>
                </a:cubicBezTo>
                <a:cubicBezTo>
                  <a:pt x="788" y="754"/>
                  <a:pt x="787" y="754"/>
                  <a:pt x="786" y="754"/>
                </a:cubicBezTo>
                <a:cubicBezTo>
                  <a:pt x="786" y="754"/>
                  <a:pt x="786" y="755"/>
                  <a:pt x="786" y="756"/>
                </a:cubicBezTo>
                <a:lnTo>
                  <a:pt x="786" y="757"/>
                </a:lnTo>
                <a:cubicBezTo>
                  <a:pt x="786" y="757"/>
                  <a:pt x="786" y="758"/>
                  <a:pt x="788" y="758"/>
                </a:cubicBezTo>
                <a:close/>
                <a:moveTo>
                  <a:pt x="787" y="743"/>
                </a:moveTo>
                <a:cubicBezTo>
                  <a:pt x="788" y="743"/>
                  <a:pt x="789" y="741"/>
                  <a:pt x="791" y="739"/>
                </a:cubicBezTo>
                <a:cubicBezTo>
                  <a:pt x="794" y="736"/>
                  <a:pt x="796" y="735"/>
                  <a:pt x="796" y="735"/>
                </a:cubicBezTo>
                <a:lnTo>
                  <a:pt x="797" y="736"/>
                </a:lnTo>
                <a:cubicBezTo>
                  <a:pt x="798" y="736"/>
                  <a:pt x="798" y="735"/>
                  <a:pt x="800" y="733"/>
                </a:cubicBezTo>
                <a:cubicBezTo>
                  <a:pt x="801" y="731"/>
                  <a:pt x="803" y="730"/>
                  <a:pt x="805" y="728"/>
                </a:cubicBezTo>
                <a:cubicBezTo>
                  <a:pt x="807" y="727"/>
                  <a:pt x="808" y="726"/>
                  <a:pt x="808" y="725"/>
                </a:cubicBezTo>
                <a:cubicBezTo>
                  <a:pt x="808" y="725"/>
                  <a:pt x="808" y="725"/>
                  <a:pt x="808" y="725"/>
                </a:cubicBezTo>
                <a:cubicBezTo>
                  <a:pt x="808" y="725"/>
                  <a:pt x="807" y="725"/>
                  <a:pt x="807" y="725"/>
                </a:cubicBezTo>
                <a:cubicBezTo>
                  <a:pt x="806" y="725"/>
                  <a:pt x="806" y="725"/>
                  <a:pt x="804" y="725"/>
                </a:cubicBezTo>
                <a:cubicBezTo>
                  <a:pt x="801" y="728"/>
                  <a:pt x="800" y="729"/>
                  <a:pt x="799" y="731"/>
                </a:cubicBezTo>
                <a:cubicBezTo>
                  <a:pt x="799" y="733"/>
                  <a:pt x="798" y="734"/>
                  <a:pt x="798" y="734"/>
                </a:cubicBezTo>
                <a:lnTo>
                  <a:pt x="796" y="734"/>
                </a:lnTo>
                <a:cubicBezTo>
                  <a:pt x="795" y="734"/>
                  <a:pt x="793" y="735"/>
                  <a:pt x="791" y="738"/>
                </a:cubicBezTo>
                <a:cubicBezTo>
                  <a:pt x="789" y="741"/>
                  <a:pt x="787" y="742"/>
                  <a:pt x="787" y="743"/>
                </a:cubicBezTo>
                <a:close/>
                <a:moveTo>
                  <a:pt x="840" y="708"/>
                </a:moveTo>
                <a:cubicBezTo>
                  <a:pt x="841" y="708"/>
                  <a:pt x="842" y="707"/>
                  <a:pt x="844" y="705"/>
                </a:cubicBezTo>
                <a:lnTo>
                  <a:pt x="845" y="703"/>
                </a:lnTo>
                <a:lnTo>
                  <a:pt x="842" y="705"/>
                </a:lnTo>
                <a:cubicBezTo>
                  <a:pt x="840" y="706"/>
                  <a:pt x="839" y="707"/>
                  <a:pt x="839" y="708"/>
                </a:cubicBezTo>
                <a:cubicBezTo>
                  <a:pt x="839" y="708"/>
                  <a:pt x="839" y="708"/>
                  <a:pt x="840" y="708"/>
                </a:cubicBezTo>
                <a:close/>
                <a:moveTo>
                  <a:pt x="817" y="720"/>
                </a:moveTo>
                <a:cubicBezTo>
                  <a:pt x="818" y="720"/>
                  <a:pt x="819" y="720"/>
                  <a:pt x="821" y="719"/>
                </a:cubicBezTo>
                <a:cubicBezTo>
                  <a:pt x="823" y="718"/>
                  <a:pt x="823" y="716"/>
                  <a:pt x="823" y="715"/>
                </a:cubicBezTo>
                <a:lnTo>
                  <a:pt x="823" y="715"/>
                </a:lnTo>
                <a:cubicBezTo>
                  <a:pt x="822" y="715"/>
                  <a:pt x="821" y="716"/>
                  <a:pt x="820" y="716"/>
                </a:cubicBezTo>
                <a:cubicBezTo>
                  <a:pt x="819" y="717"/>
                  <a:pt x="818" y="718"/>
                  <a:pt x="817" y="718"/>
                </a:cubicBezTo>
                <a:cubicBezTo>
                  <a:pt x="816" y="719"/>
                  <a:pt x="816" y="719"/>
                  <a:pt x="816" y="720"/>
                </a:cubicBezTo>
                <a:cubicBezTo>
                  <a:pt x="816" y="720"/>
                  <a:pt x="816" y="720"/>
                  <a:pt x="817" y="720"/>
                </a:cubicBezTo>
                <a:close/>
                <a:moveTo>
                  <a:pt x="820" y="743"/>
                </a:moveTo>
                <a:lnTo>
                  <a:pt x="827" y="741"/>
                </a:lnTo>
                <a:cubicBezTo>
                  <a:pt x="830" y="740"/>
                  <a:pt x="831" y="739"/>
                  <a:pt x="831" y="738"/>
                </a:cubicBezTo>
                <a:cubicBezTo>
                  <a:pt x="831" y="738"/>
                  <a:pt x="831" y="737"/>
                  <a:pt x="831" y="737"/>
                </a:cubicBezTo>
                <a:cubicBezTo>
                  <a:pt x="831" y="737"/>
                  <a:pt x="831" y="737"/>
                  <a:pt x="831" y="737"/>
                </a:cubicBezTo>
                <a:cubicBezTo>
                  <a:pt x="830" y="737"/>
                  <a:pt x="828" y="738"/>
                  <a:pt x="826" y="739"/>
                </a:cubicBezTo>
                <a:cubicBezTo>
                  <a:pt x="822" y="742"/>
                  <a:pt x="820" y="743"/>
                  <a:pt x="820" y="743"/>
                </a:cubicBezTo>
                <a:close/>
                <a:moveTo>
                  <a:pt x="826" y="715"/>
                </a:moveTo>
                <a:cubicBezTo>
                  <a:pt x="827" y="715"/>
                  <a:pt x="828" y="715"/>
                  <a:pt x="829" y="714"/>
                </a:cubicBezTo>
                <a:cubicBezTo>
                  <a:pt x="831" y="713"/>
                  <a:pt x="832" y="713"/>
                  <a:pt x="834" y="712"/>
                </a:cubicBezTo>
                <a:lnTo>
                  <a:pt x="835" y="712"/>
                </a:lnTo>
                <a:cubicBezTo>
                  <a:pt x="835" y="712"/>
                  <a:pt x="835" y="712"/>
                  <a:pt x="835" y="711"/>
                </a:cubicBezTo>
                <a:cubicBezTo>
                  <a:pt x="835" y="710"/>
                  <a:pt x="835" y="710"/>
                  <a:pt x="833" y="710"/>
                </a:cubicBezTo>
                <a:cubicBezTo>
                  <a:pt x="833" y="710"/>
                  <a:pt x="831" y="710"/>
                  <a:pt x="830" y="710"/>
                </a:cubicBezTo>
                <a:cubicBezTo>
                  <a:pt x="829" y="711"/>
                  <a:pt x="828" y="712"/>
                  <a:pt x="827" y="712"/>
                </a:cubicBezTo>
                <a:cubicBezTo>
                  <a:pt x="826" y="713"/>
                  <a:pt x="826" y="714"/>
                  <a:pt x="826" y="714"/>
                </a:cubicBezTo>
                <a:cubicBezTo>
                  <a:pt x="826" y="715"/>
                  <a:pt x="826" y="715"/>
                  <a:pt x="826" y="715"/>
                </a:cubicBezTo>
                <a:close/>
                <a:moveTo>
                  <a:pt x="838" y="735"/>
                </a:moveTo>
                <a:cubicBezTo>
                  <a:pt x="838" y="735"/>
                  <a:pt x="840" y="735"/>
                  <a:pt x="842" y="733"/>
                </a:cubicBezTo>
                <a:cubicBezTo>
                  <a:pt x="844" y="732"/>
                  <a:pt x="845" y="731"/>
                  <a:pt x="846" y="730"/>
                </a:cubicBezTo>
                <a:cubicBezTo>
                  <a:pt x="847" y="729"/>
                  <a:pt x="848" y="729"/>
                  <a:pt x="848" y="728"/>
                </a:cubicBezTo>
                <a:cubicBezTo>
                  <a:pt x="848" y="728"/>
                  <a:pt x="848" y="728"/>
                  <a:pt x="849" y="728"/>
                </a:cubicBezTo>
                <a:lnTo>
                  <a:pt x="851" y="728"/>
                </a:lnTo>
                <a:lnTo>
                  <a:pt x="851" y="728"/>
                </a:lnTo>
                <a:cubicBezTo>
                  <a:pt x="851" y="727"/>
                  <a:pt x="851" y="726"/>
                  <a:pt x="849" y="726"/>
                </a:cubicBezTo>
                <a:cubicBezTo>
                  <a:pt x="848" y="726"/>
                  <a:pt x="845" y="727"/>
                  <a:pt x="842" y="730"/>
                </a:cubicBezTo>
                <a:cubicBezTo>
                  <a:pt x="838" y="732"/>
                  <a:pt x="837" y="734"/>
                  <a:pt x="837" y="735"/>
                </a:cubicBezTo>
                <a:cubicBezTo>
                  <a:pt x="837" y="735"/>
                  <a:pt x="837" y="735"/>
                  <a:pt x="838" y="735"/>
                </a:cubicBezTo>
                <a:close/>
                <a:moveTo>
                  <a:pt x="858" y="723"/>
                </a:moveTo>
                <a:lnTo>
                  <a:pt x="860" y="722"/>
                </a:lnTo>
                <a:cubicBezTo>
                  <a:pt x="861" y="721"/>
                  <a:pt x="862" y="721"/>
                  <a:pt x="862" y="720"/>
                </a:cubicBezTo>
                <a:lnTo>
                  <a:pt x="862" y="720"/>
                </a:lnTo>
                <a:lnTo>
                  <a:pt x="861" y="720"/>
                </a:lnTo>
                <a:cubicBezTo>
                  <a:pt x="861" y="720"/>
                  <a:pt x="860" y="720"/>
                  <a:pt x="859" y="720"/>
                </a:cubicBezTo>
                <a:cubicBezTo>
                  <a:pt x="858" y="721"/>
                  <a:pt x="858" y="722"/>
                  <a:pt x="858" y="723"/>
                </a:cubicBezTo>
                <a:close/>
                <a:moveTo>
                  <a:pt x="901" y="683"/>
                </a:moveTo>
                <a:cubicBezTo>
                  <a:pt x="903" y="683"/>
                  <a:pt x="903" y="682"/>
                  <a:pt x="903" y="681"/>
                </a:cubicBezTo>
                <a:cubicBezTo>
                  <a:pt x="903" y="681"/>
                  <a:pt x="903" y="680"/>
                  <a:pt x="903" y="680"/>
                </a:cubicBezTo>
                <a:cubicBezTo>
                  <a:pt x="903" y="680"/>
                  <a:pt x="903" y="679"/>
                  <a:pt x="902" y="679"/>
                </a:cubicBezTo>
                <a:cubicBezTo>
                  <a:pt x="902" y="679"/>
                  <a:pt x="901" y="680"/>
                  <a:pt x="901" y="680"/>
                </a:cubicBezTo>
                <a:cubicBezTo>
                  <a:pt x="901" y="680"/>
                  <a:pt x="900" y="681"/>
                  <a:pt x="900" y="682"/>
                </a:cubicBezTo>
                <a:lnTo>
                  <a:pt x="900" y="683"/>
                </a:lnTo>
                <a:cubicBezTo>
                  <a:pt x="900" y="683"/>
                  <a:pt x="901" y="683"/>
                  <a:pt x="901" y="683"/>
                </a:cubicBezTo>
                <a:close/>
                <a:moveTo>
                  <a:pt x="913" y="707"/>
                </a:moveTo>
                <a:cubicBezTo>
                  <a:pt x="914" y="707"/>
                  <a:pt x="915" y="705"/>
                  <a:pt x="918" y="702"/>
                </a:cubicBezTo>
                <a:cubicBezTo>
                  <a:pt x="920" y="700"/>
                  <a:pt x="920" y="698"/>
                  <a:pt x="920" y="698"/>
                </a:cubicBezTo>
                <a:cubicBezTo>
                  <a:pt x="920" y="698"/>
                  <a:pt x="920" y="698"/>
                  <a:pt x="919" y="699"/>
                </a:cubicBezTo>
                <a:cubicBezTo>
                  <a:pt x="915" y="703"/>
                  <a:pt x="913" y="705"/>
                  <a:pt x="913" y="707"/>
                </a:cubicBezTo>
                <a:close/>
                <a:moveTo>
                  <a:pt x="907" y="681"/>
                </a:moveTo>
                <a:lnTo>
                  <a:pt x="908" y="679"/>
                </a:lnTo>
                <a:cubicBezTo>
                  <a:pt x="908" y="678"/>
                  <a:pt x="908" y="677"/>
                  <a:pt x="910" y="677"/>
                </a:cubicBezTo>
                <a:lnTo>
                  <a:pt x="915" y="677"/>
                </a:lnTo>
                <a:cubicBezTo>
                  <a:pt x="916" y="677"/>
                  <a:pt x="916" y="677"/>
                  <a:pt x="916" y="677"/>
                </a:cubicBezTo>
                <a:lnTo>
                  <a:pt x="915" y="674"/>
                </a:lnTo>
                <a:cubicBezTo>
                  <a:pt x="915" y="674"/>
                  <a:pt x="915" y="674"/>
                  <a:pt x="915" y="674"/>
                </a:cubicBezTo>
                <a:lnTo>
                  <a:pt x="918" y="675"/>
                </a:lnTo>
                <a:cubicBezTo>
                  <a:pt x="918" y="675"/>
                  <a:pt x="919" y="674"/>
                  <a:pt x="920" y="674"/>
                </a:cubicBezTo>
                <a:lnTo>
                  <a:pt x="920" y="671"/>
                </a:lnTo>
                <a:cubicBezTo>
                  <a:pt x="920" y="671"/>
                  <a:pt x="920" y="670"/>
                  <a:pt x="918" y="670"/>
                </a:cubicBezTo>
                <a:cubicBezTo>
                  <a:pt x="915" y="670"/>
                  <a:pt x="911" y="672"/>
                  <a:pt x="908" y="676"/>
                </a:cubicBezTo>
                <a:lnTo>
                  <a:pt x="906" y="679"/>
                </a:lnTo>
                <a:lnTo>
                  <a:pt x="907" y="681"/>
                </a:lnTo>
                <a:close/>
                <a:moveTo>
                  <a:pt x="927" y="668"/>
                </a:moveTo>
                <a:lnTo>
                  <a:pt x="931" y="663"/>
                </a:lnTo>
                <a:lnTo>
                  <a:pt x="928" y="665"/>
                </a:lnTo>
                <a:cubicBezTo>
                  <a:pt x="927" y="666"/>
                  <a:pt x="926" y="667"/>
                  <a:pt x="926" y="668"/>
                </a:cubicBezTo>
                <a:cubicBezTo>
                  <a:pt x="926" y="668"/>
                  <a:pt x="926" y="668"/>
                  <a:pt x="927" y="668"/>
                </a:cubicBezTo>
                <a:close/>
                <a:moveTo>
                  <a:pt x="1057" y="632"/>
                </a:moveTo>
                <a:cubicBezTo>
                  <a:pt x="1059" y="632"/>
                  <a:pt x="1060" y="631"/>
                  <a:pt x="1060" y="631"/>
                </a:cubicBezTo>
                <a:lnTo>
                  <a:pt x="1060" y="630"/>
                </a:lnTo>
                <a:lnTo>
                  <a:pt x="1059" y="630"/>
                </a:lnTo>
                <a:cubicBezTo>
                  <a:pt x="1057" y="630"/>
                  <a:pt x="1056" y="630"/>
                  <a:pt x="1056" y="631"/>
                </a:cubicBezTo>
                <a:lnTo>
                  <a:pt x="1057" y="632"/>
                </a:lnTo>
                <a:close/>
                <a:moveTo>
                  <a:pt x="1005" y="668"/>
                </a:moveTo>
                <a:cubicBezTo>
                  <a:pt x="1006" y="668"/>
                  <a:pt x="1007" y="668"/>
                  <a:pt x="1008" y="667"/>
                </a:cubicBezTo>
                <a:lnTo>
                  <a:pt x="1008" y="666"/>
                </a:lnTo>
                <a:cubicBezTo>
                  <a:pt x="1008" y="666"/>
                  <a:pt x="1007" y="665"/>
                  <a:pt x="1004" y="665"/>
                </a:cubicBezTo>
                <a:cubicBezTo>
                  <a:pt x="1003" y="665"/>
                  <a:pt x="1002" y="666"/>
                  <a:pt x="1002" y="666"/>
                </a:cubicBezTo>
                <a:cubicBezTo>
                  <a:pt x="1002" y="668"/>
                  <a:pt x="1003" y="668"/>
                  <a:pt x="1005" y="668"/>
                </a:cubicBezTo>
                <a:close/>
                <a:moveTo>
                  <a:pt x="1018" y="664"/>
                </a:moveTo>
                <a:lnTo>
                  <a:pt x="1020" y="663"/>
                </a:lnTo>
                <a:cubicBezTo>
                  <a:pt x="1021" y="663"/>
                  <a:pt x="1022" y="662"/>
                  <a:pt x="1022" y="662"/>
                </a:cubicBezTo>
                <a:lnTo>
                  <a:pt x="1022" y="661"/>
                </a:lnTo>
                <a:cubicBezTo>
                  <a:pt x="1022" y="661"/>
                  <a:pt x="1021" y="661"/>
                  <a:pt x="1020" y="661"/>
                </a:cubicBezTo>
                <a:cubicBezTo>
                  <a:pt x="1018" y="661"/>
                  <a:pt x="1017" y="661"/>
                  <a:pt x="1017" y="663"/>
                </a:cubicBezTo>
                <a:cubicBezTo>
                  <a:pt x="1017" y="664"/>
                  <a:pt x="1017" y="664"/>
                  <a:pt x="1018" y="664"/>
                </a:cubicBezTo>
                <a:close/>
                <a:moveTo>
                  <a:pt x="1027" y="663"/>
                </a:moveTo>
                <a:cubicBezTo>
                  <a:pt x="1028" y="663"/>
                  <a:pt x="1029" y="662"/>
                  <a:pt x="1029" y="661"/>
                </a:cubicBezTo>
                <a:cubicBezTo>
                  <a:pt x="1029" y="660"/>
                  <a:pt x="1029" y="659"/>
                  <a:pt x="1027" y="659"/>
                </a:cubicBezTo>
                <a:cubicBezTo>
                  <a:pt x="1026" y="659"/>
                  <a:pt x="1025" y="660"/>
                  <a:pt x="1025" y="661"/>
                </a:cubicBezTo>
                <a:cubicBezTo>
                  <a:pt x="1025" y="662"/>
                  <a:pt x="1025" y="663"/>
                  <a:pt x="1027" y="663"/>
                </a:cubicBezTo>
                <a:close/>
                <a:moveTo>
                  <a:pt x="1036" y="661"/>
                </a:moveTo>
                <a:cubicBezTo>
                  <a:pt x="1039" y="661"/>
                  <a:pt x="1040" y="660"/>
                  <a:pt x="1040" y="658"/>
                </a:cubicBezTo>
                <a:cubicBezTo>
                  <a:pt x="1040" y="658"/>
                  <a:pt x="1040" y="657"/>
                  <a:pt x="1040" y="657"/>
                </a:cubicBezTo>
                <a:cubicBezTo>
                  <a:pt x="1039" y="657"/>
                  <a:pt x="1037" y="658"/>
                  <a:pt x="1036" y="659"/>
                </a:cubicBezTo>
                <a:cubicBezTo>
                  <a:pt x="1035" y="660"/>
                  <a:pt x="1034" y="661"/>
                  <a:pt x="1034" y="661"/>
                </a:cubicBezTo>
                <a:lnTo>
                  <a:pt x="1036" y="661"/>
                </a:lnTo>
                <a:close/>
                <a:moveTo>
                  <a:pt x="979" y="660"/>
                </a:moveTo>
                <a:cubicBezTo>
                  <a:pt x="980" y="660"/>
                  <a:pt x="981" y="659"/>
                  <a:pt x="983" y="659"/>
                </a:cubicBezTo>
                <a:cubicBezTo>
                  <a:pt x="984" y="659"/>
                  <a:pt x="986" y="658"/>
                  <a:pt x="987" y="658"/>
                </a:cubicBezTo>
                <a:lnTo>
                  <a:pt x="988" y="659"/>
                </a:lnTo>
                <a:cubicBezTo>
                  <a:pt x="988" y="659"/>
                  <a:pt x="989" y="658"/>
                  <a:pt x="990" y="657"/>
                </a:cubicBezTo>
                <a:cubicBezTo>
                  <a:pt x="991" y="656"/>
                  <a:pt x="992" y="656"/>
                  <a:pt x="994" y="656"/>
                </a:cubicBezTo>
                <a:cubicBezTo>
                  <a:pt x="995" y="656"/>
                  <a:pt x="996" y="655"/>
                  <a:pt x="999" y="654"/>
                </a:cubicBezTo>
                <a:cubicBezTo>
                  <a:pt x="1001" y="654"/>
                  <a:pt x="1004" y="654"/>
                  <a:pt x="1010" y="654"/>
                </a:cubicBezTo>
                <a:cubicBezTo>
                  <a:pt x="1012" y="654"/>
                  <a:pt x="1014" y="653"/>
                  <a:pt x="1015" y="652"/>
                </a:cubicBezTo>
                <a:cubicBezTo>
                  <a:pt x="1015" y="651"/>
                  <a:pt x="1016" y="651"/>
                  <a:pt x="1017" y="651"/>
                </a:cubicBezTo>
                <a:lnTo>
                  <a:pt x="1020" y="651"/>
                </a:lnTo>
                <a:cubicBezTo>
                  <a:pt x="1020" y="651"/>
                  <a:pt x="1021" y="651"/>
                  <a:pt x="1021" y="650"/>
                </a:cubicBezTo>
                <a:lnTo>
                  <a:pt x="1021" y="649"/>
                </a:lnTo>
                <a:cubicBezTo>
                  <a:pt x="1021" y="649"/>
                  <a:pt x="1021" y="649"/>
                  <a:pt x="1022" y="649"/>
                </a:cubicBezTo>
                <a:cubicBezTo>
                  <a:pt x="1022" y="649"/>
                  <a:pt x="1023" y="649"/>
                  <a:pt x="1024" y="650"/>
                </a:cubicBezTo>
                <a:cubicBezTo>
                  <a:pt x="1025" y="651"/>
                  <a:pt x="1026" y="652"/>
                  <a:pt x="1026" y="652"/>
                </a:cubicBezTo>
                <a:lnTo>
                  <a:pt x="1024" y="649"/>
                </a:lnTo>
                <a:lnTo>
                  <a:pt x="1029" y="649"/>
                </a:lnTo>
                <a:cubicBezTo>
                  <a:pt x="1030" y="649"/>
                  <a:pt x="1031" y="649"/>
                  <a:pt x="1031" y="648"/>
                </a:cubicBezTo>
                <a:cubicBezTo>
                  <a:pt x="1031" y="647"/>
                  <a:pt x="1030" y="647"/>
                  <a:pt x="1028" y="647"/>
                </a:cubicBezTo>
                <a:cubicBezTo>
                  <a:pt x="1025" y="647"/>
                  <a:pt x="1017" y="648"/>
                  <a:pt x="1004" y="651"/>
                </a:cubicBezTo>
                <a:cubicBezTo>
                  <a:pt x="998" y="652"/>
                  <a:pt x="994" y="653"/>
                  <a:pt x="991" y="653"/>
                </a:cubicBezTo>
                <a:cubicBezTo>
                  <a:pt x="989" y="653"/>
                  <a:pt x="988" y="652"/>
                  <a:pt x="988" y="652"/>
                </a:cubicBezTo>
                <a:lnTo>
                  <a:pt x="987" y="650"/>
                </a:lnTo>
                <a:lnTo>
                  <a:pt x="988" y="653"/>
                </a:lnTo>
                <a:cubicBezTo>
                  <a:pt x="988" y="655"/>
                  <a:pt x="985" y="656"/>
                  <a:pt x="981" y="656"/>
                </a:cubicBezTo>
                <a:cubicBezTo>
                  <a:pt x="978" y="657"/>
                  <a:pt x="976" y="658"/>
                  <a:pt x="976" y="659"/>
                </a:cubicBezTo>
                <a:cubicBezTo>
                  <a:pt x="976" y="659"/>
                  <a:pt x="977" y="659"/>
                  <a:pt x="979" y="660"/>
                </a:cubicBezTo>
                <a:close/>
                <a:moveTo>
                  <a:pt x="971" y="661"/>
                </a:moveTo>
                <a:cubicBezTo>
                  <a:pt x="972" y="661"/>
                  <a:pt x="973" y="661"/>
                  <a:pt x="973" y="660"/>
                </a:cubicBezTo>
                <a:lnTo>
                  <a:pt x="973" y="660"/>
                </a:lnTo>
                <a:lnTo>
                  <a:pt x="972" y="659"/>
                </a:lnTo>
                <a:lnTo>
                  <a:pt x="970" y="660"/>
                </a:lnTo>
                <a:lnTo>
                  <a:pt x="969" y="660"/>
                </a:lnTo>
                <a:cubicBezTo>
                  <a:pt x="969" y="661"/>
                  <a:pt x="969" y="661"/>
                  <a:pt x="971" y="661"/>
                </a:cubicBezTo>
                <a:close/>
                <a:moveTo>
                  <a:pt x="977" y="622"/>
                </a:moveTo>
                <a:cubicBezTo>
                  <a:pt x="977" y="622"/>
                  <a:pt x="979" y="620"/>
                  <a:pt x="980" y="616"/>
                </a:cubicBezTo>
                <a:cubicBezTo>
                  <a:pt x="982" y="611"/>
                  <a:pt x="983" y="608"/>
                  <a:pt x="983" y="607"/>
                </a:cubicBezTo>
                <a:cubicBezTo>
                  <a:pt x="983" y="606"/>
                  <a:pt x="983" y="605"/>
                  <a:pt x="983" y="605"/>
                </a:cubicBezTo>
                <a:cubicBezTo>
                  <a:pt x="983" y="605"/>
                  <a:pt x="983" y="604"/>
                  <a:pt x="984" y="603"/>
                </a:cubicBezTo>
                <a:cubicBezTo>
                  <a:pt x="984" y="603"/>
                  <a:pt x="984" y="603"/>
                  <a:pt x="984" y="602"/>
                </a:cubicBezTo>
                <a:cubicBezTo>
                  <a:pt x="984" y="600"/>
                  <a:pt x="984" y="597"/>
                  <a:pt x="983" y="594"/>
                </a:cubicBezTo>
                <a:cubicBezTo>
                  <a:pt x="983" y="591"/>
                  <a:pt x="982" y="589"/>
                  <a:pt x="981" y="586"/>
                </a:cubicBezTo>
                <a:cubicBezTo>
                  <a:pt x="980" y="584"/>
                  <a:pt x="980" y="583"/>
                  <a:pt x="979" y="583"/>
                </a:cubicBezTo>
                <a:cubicBezTo>
                  <a:pt x="978" y="583"/>
                  <a:pt x="977" y="583"/>
                  <a:pt x="977" y="584"/>
                </a:cubicBezTo>
                <a:cubicBezTo>
                  <a:pt x="977" y="586"/>
                  <a:pt x="978" y="587"/>
                  <a:pt x="979" y="588"/>
                </a:cubicBezTo>
                <a:cubicBezTo>
                  <a:pt x="980" y="589"/>
                  <a:pt x="981" y="589"/>
                  <a:pt x="981" y="590"/>
                </a:cubicBezTo>
                <a:cubicBezTo>
                  <a:pt x="981" y="590"/>
                  <a:pt x="980" y="591"/>
                  <a:pt x="980" y="591"/>
                </a:cubicBezTo>
                <a:cubicBezTo>
                  <a:pt x="979" y="592"/>
                  <a:pt x="979" y="595"/>
                  <a:pt x="979" y="601"/>
                </a:cubicBezTo>
                <a:lnTo>
                  <a:pt x="979" y="610"/>
                </a:lnTo>
                <a:cubicBezTo>
                  <a:pt x="979" y="612"/>
                  <a:pt x="979" y="613"/>
                  <a:pt x="978" y="613"/>
                </a:cubicBezTo>
                <a:cubicBezTo>
                  <a:pt x="977" y="613"/>
                  <a:pt x="977" y="614"/>
                  <a:pt x="977" y="614"/>
                </a:cubicBezTo>
                <a:lnTo>
                  <a:pt x="978" y="616"/>
                </a:lnTo>
                <a:cubicBezTo>
                  <a:pt x="978" y="617"/>
                  <a:pt x="978" y="617"/>
                  <a:pt x="977" y="618"/>
                </a:cubicBezTo>
                <a:cubicBezTo>
                  <a:pt x="977" y="619"/>
                  <a:pt x="976" y="620"/>
                  <a:pt x="976" y="620"/>
                </a:cubicBezTo>
                <a:cubicBezTo>
                  <a:pt x="976" y="622"/>
                  <a:pt x="976" y="622"/>
                  <a:pt x="977" y="622"/>
                </a:cubicBezTo>
                <a:close/>
                <a:moveTo>
                  <a:pt x="885" y="580"/>
                </a:moveTo>
                <a:lnTo>
                  <a:pt x="886" y="579"/>
                </a:lnTo>
                <a:cubicBezTo>
                  <a:pt x="886" y="578"/>
                  <a:pt x="885" y="577"/>
                  <a:pt x="884" y="576"/>
                </a:cubicBezTo>
                <a:cubicBezTo>
                  <a:pt x="883" y="576"/>
                  <a:pt x="883" y="575"/>
                  <a:pt x="883" y="575"/>
                </a:cubicBezTo>
                <a:cubicBezTo>
                  <a:pt x="882" y="575"/>
                  <a:pt x="882" y="576"/>
                  <a:pt x="882" y="576"/>
                </a:cubicBezTo>
                <a:cubicBezTo>
                  <a:pt x="883" y="578"/>
                  <a:pt x="884" y="580"/>
                  <a:pt x="885" y="580"/>
                </a:cubicBezTo>
                <a:close/>
                <a:moveTo>
                  <a:pt x="820" y="632"/>
                </a:moveTo>
                <a:cubicBezTo>
                  <a:pt x="821" y="632"/>
                  <a:pt x="821" y="631"/>
                  <a:pt x="822" y="629"/>
                </a:cubicBezTo>
                <a:cubicBezTo>
                  <a:pt x="823" y="627"/>
                  <a:pt x="824" y="626"/>
                  <a:pt x="824" y="626"/>
                </a:cubicBezTo>
                <a:lnTo>
                  <a:pt x="822" y="628"/>
                </a:lnTo>
                <a:cubicBezTo>
                  <a:pt x="820" y="630"/>
                  <a:pt x="819" y="630"/>
                  <a:pt x="819" y="631"/>
                </a:cubicBezTo>
                <a:cubicBezTo>
                  <a:pt x="819" y="631"/>
                  <a:pt x="820" y="632"/>
                  <a:pt x="820" y="632"/>
                </a:cubicBezTo>
                <a:close/>
                <a:moveTo>
                  <a:pt x="797" y="657"/>
                </a:moveTo>
                <a:cubicBezTo>
                  <a:pt x="797" y="657"/>
                  <a:pt x="798" y="657"/>
                  <a:pt x="798" y="656"/>
                </a:cubicBezTo>
                <a:cubicBezTo>
                  <a:pt x="799" y="656"/>
                  <a:pt x="799" y="655"/>
                  <a:pt x="800" y="654"/>
                </a:cubicBezTo>
                <a:cubicBezTo>
                  <a:pt x="801" y="653"/>
                  <a:pt x="801" y="652"/>
                  <a:pt x="801" y="652"/>
                </a:cubicBezTo>
                <a:lnTo>
                  <a:pt x="799" y="653"/>
                </a:lnTo>
                <a:cubicBezTo>
                  <a:pt x="797" y="655"/>
                  <a:pt x="796" y="656"/>
                  <a:pt x="796" y="657"/>
                </a:cubicBezTo>
                <a:cubicBezTo>
                  <a:pt x="796" y="657"/>
                  <a:pt x="797" y="657"/>
                  <a:pt x="797" y="657"/>
                </a:cubicBezTo>
                <a:close/>
                <a:moveTo>
                  <a:pt x="776" y="692"/>
                </a:moveTo>
                <a:cubicBezTo>
                  <a:pt x="776" y="692"/>
                  <a:pt x="778" y="691"/>
                  <a:pt x="780" y="689"/>
                </a:cubicBezTo>
                <a:cubicBezTo>
                  <a:pt x="781" y="687"/>
                  <a:pt x="782" y="686"/>
                  <a:pt x="782" y="684"/>
                </a:cubicBezTo>
                <a:cubicBezTo>
                  <a:pt x="782" y="683"/>
                  <a:pt x="783" y="681"/>
                  <a:pt x="785" y="680"/>
                </a:cubicBezTo>
                <a:cubicBezTo>
                  <a:pt x="787" y="679"/>
                  <a:pt x="788" y="678"/>
                  <a:pt x="788" y="677"/>
                </a:cubicBezTo>
                <a:lnTo>
                  <a:pt x="787" y="677"/>
                </a:lnTo>
                <a:cubicBezTo>
                  <a:pt x="787" y="676"/>
                  <a:pt x="790" y="673"/>
                  <a:pt x="796" y="666"/>
                </a:cubicBezTo>
                <a:lnTo>
                  <a:pt x="798" y="663"/>
                </a:lnTo>
                <a:cubicBezTo>
                  <a:pt x="803" y="657"/>
                  <a:pt x="806" y="654"/>
                  <a:pt x="806" y="653"/>
                </a:cubicBezTo>
                <a:cubicBezTo>
                  <a:pt x="805" y="653"/>
                  <a:pt x="803" y="654"/>
                  <a:pt x="800" y="658"/>
                </a:cubicBezTo>
                <a:cubicBezTo>
                  <a:pt x="797" y="661"/>
                  <a:pt x="794" y="666"/>
                  <a:pt x="790" y="670"/>
                </a:cubicBezTo>
                <a:cubicBezTo>
                  <a:pt x="786" y="675"/>
                  <a:pt x="782" y="679"/>
                  <a:pt x="779" y="683"/>
                </a:cubicBezTo>
                <a:cubicBezTo>
                  <a:pt x="776" y="687"/>
                  <a:pt x="775" y="689"/>
                  <a:pt x="774" y="690"/>
                </a:cubicBezTo>
                <a:lnTo>
                  <a:pt x="774" y="691"/>
                </a:lnTo>
                <a:cubicBezTo>
                  <a:pt x="774" y="691"/>
                  <a:pt x="775" y="692"/>
                  <a:pt x="776" y="692"/>
                </a:cubicBezTo>
                <a:close/>
                <a:moveTo>
                  <a:pt x="802" y="637"/>
                </a:moveTo>
                <a:lnTo>
                  <a:pt x="804" y="634"/>
                </a:lnTo>
                <a:lnTo>
                  <a:pt x="806" y="632"/>
                </a:lnTo>
                <a:lnTo>
                  <a:pt x="803" y="634"/>
                </a:lnTo>
                <a:cubicBezTo>
                  <a:pt x="802" y="635"/>
                  <a:pt x="801" y="636"/>
                  <a:pt x="801" y="637"/>
                </a:cubicBezTo>
                <a:cubicBezTo>
                  <a:pt x="801" y="637"/>
                  <a:pt x="801" y="637"/>
                  <a:pt x="802" y="637"/>
                </a:cubicBezTo>
                <a:close/>
                <a:moveTo>
                  <a:pt x="808" y="644"/>
                </a:moveTo>
                <a:lnTo>
                  <a:pt x="811" y="641"/>
                </a:lnTo>
                <a:cubicBezTo>
                  <a:pt x="812" y="639"/>
                  <a:pt x="813" y="638"/>
                  <a:pt x="813" y="637"/>
                </a:cubicBezTo>
                <a:cubicBezTo>
                  <a:pt x="813" y="637"/>
                  <a:pt x="811" y="638"/>
                  <a:pt x="809" y="641"/>
                </a:cubicBezTo>
                <a:cubicBezTo>
                  <a:pt x="808" y="642"/>
                  <a:pt x="808" y="643"/>
                  <a:pt x="808" y="644"/>
                </a:cubicBezTo>
                <a:close/>
                <a:moveTo>
                  <a:pt x="813" y="646"/>
                </a:moveTo>
                <a:cubicBezTo>
                  <a:pt x="813" y="646"/>
                  <a:pt x="817" y="642"/>
                  <a:pt x="824" y="634"/>
                </a:cubicBezTo>
                <a:cubicBezTo>
                  <a:pt x="829" y="628"/>
                  <a:pt x="831" y="625"/>
                  <a:pt x="831" y="625"/>
                </a:cubicBezTo>
                <a:cubicBezTo>
                  <a:pt x="831" y="625"/>
                  <a:pt x="828" y="627"/>
                  <a:pt x="824" y="632"/>
                </a:cubicBezTo>
                <a:cubicBezTo>
                  <a:pt x="821" y="635"/>
                  <a:pt x="819" y="637"/>
                  <a:pt x="818" y="637"/>
                </a:cubicBezTo>
                <a:cubicBezTo>
                  <a:pt x="817" y="637"/>
                  <a:pt x="816" y="638"/>
                  <a:pt x="815" y="641"/>
                </a:cubicBezTo>
                <a:cubicBezTo>
                  <a:pt x="813" y="644"/>
                  <a:pt x="813" y="645"/>
                  <a:pt x="813" y="646"/>
                </a:cubicBezTo>
                <a:close/>
                <a:moveTo>
                  <a:pt x="832" y="621"/>
                </a:moveTo>
                <a:cubicBezTo>
                  <a:pt x="833" y="621"/>
                  <a:pt x="833" y="620"/>
                  <a:pt x="833" y="619"/>
                </a:cubicBezTo>
                <a:cubicBezTo>
                  <a:pt x="833" y="617"/>
                  <a:pt x="833" y="617"/>
                  <a:pt x="832" y="617"/>
                </a:cubicBezTo>
                <a:cubicBezTo>
                  <a:pt x="832" y="617"/>
                  <a:pt x="832" y="617"/>
                  <a:pt x="831" y="617"/>
                </a:cubicBezTo>
                <a:cubicBezTo>
                  <a:pt x="831" y="618"/>
                  <a:pt x="831" y="619"/>
                  <a:pt x="831" y="620"/>
                </a:cubicBezTo>
                <a:lnTo>
                  <a:pt x="831" y="620"/>
                </a:lnTo>
                <a:cubicBezTo>
                  <a:pt x="831" y="620"/>
                  <a:pt x="831" y="621"/>
                  <a:pt x="832" y="621"/>
                </a:cubicBezTo>
                <a:close/>
                <a:moveTo>
                  <a:pt x="836" y="625"/>
                </a:moveTo>
                <a:cubicBezTo>
                  <a:pt x="837" y="625"/>
                  <a:pt x="838" y="623"/>
                  <a:pt x="839" y="619"/>
                </a:cubicBezTo>
                <a:cubicBezTo>
                  <a:pt x="840" y="617"/>
                  <a:pt x="841" y="615"/>
                  <a:pt x="841" y="614"/>
                </a:cubicBezTo>
                <a:cubicBezTo>
                  <a:pt x="841" y="613"/>
                  <a:pt x="840" y="613"/>
                  <a:pt x="840" y="613"/>
                </a:cubicBezTo>
                <a:cubicBezTo>
                  <a:pt x="839" y="613"/>
                  <a:pt x="839" y="613"/>
                  <a:pt x="839" y="613"/>
                </a:cubicBezTo>
                <a:cubicBezTo>
                  <a:pt x="838" y="613"/>
                  <a:pt x="837" y="613"/>
                  <a:pt x="837" y="615"/>
                </a:cubicBezTo>
                <a:cubicBezTo>
                  <a:pt x="837" y="616"/>
                  <a:pt x="837" y="617"/>
                  <a:pt x="837" y="618"/>
                </a:cubicBezTo>
                <a:cubicBezTo>
                  <a:pt x="837" y="619"/>
                  <a:pt x="837" y="620"/>
                  <a:pt x="836" y="621"/>
                </a:cubicBezTo>
                <a:cubicBezTo>
                  <a:pt x="836" y="622"/>
                  <a:pt x="836" y="623"/>
                  <a:pt x="836" y="624"/>
                </a:cubicBezTo>
                <a:cubicBezTo>
                  <a:pt x="836" y="624"/>
                  <a:pt x="836" y="625"/>
                  <a:pt x="836" y="625"/>
                </a:cubicBezTo>
                <a:close/>
                <a:moveTo>
                  <a:pt x="843" y="618"/>
                </a:moveTo>
                <a:cubicBezTo>
                  <a:pt x="843" y="618"/>
                  <a:pt x="844" y="618"/>
                  <a:pt x="845" y="616"/>
                </a:cubicBezTo>
                <a:cubicBezTo>
                  <a:pt x="846" y="615"/>
                  <a:pt x="846" y="613"/>
                  <a:pt x="847" y="611"/>
                </a:cubicBezTo>
                <a:cubicBezTo>
                  <a:pt x="849" y="608"/>
                  <a:pt x="850" y="607"/>
                  <a:pt x="851" y="607"/>
                </a:cubicBezTo>
                <a:lnTo>
                  <a:pt x="853" y="608"/>
                </a:lnTo>
                <a:lnTo>
                  <a:pt x="852" y="606"/>
                </a:lnTo>
                <a:cubicBezTo>
                  <a:pt x="852" y="604"/>
                  <a:pt x="852" y="603"/>
                  <a:pt x="853" y="602"/>
                </a:cubicBezTo>
                <a:cubicBezTo>
                  <a:pt x="853" y="599"/>
                  <a:pt x="855" y="598"/>
                  <a:pt x="856" y="598"/>
                </a:cubicBezTo>
                <a:cubicBezTo>
                  <a:pt x="857" y="598"/>
                  <a:pt x="857" y="598"/>
                  <a:pt x="857" y="599"/>
                </a:cubicBezTo>
                <a:lnTo>
                  <a:pt x="855" y="608"/>
                </a:lnTo>
                <a:lnTo>
                  <a:pt x="857" y="605"/>
                </a:lnTo>
                <a:cubicBezTo>
                  <a:pt x="858" y="604"/>
                  <a:pt x="860" y="603"/>
                  <a:pt x="861" y="602"/>
                </a:cubicBezTo>
                <a:cubicBezTo>
                  <a:pt x="863" y="601"/>
                  <a:pt x="863" y="600"/>
                  <a:pt x="863" y="597"/>
                </a:cubicBezTo>
                <a:cubicBezTo>
                  <a:pt x="863" y="595"/>
                  <a:pt x="864" y="593"/>
                  <a:pt x="865" y="593"/>
                </a:cubicBezTo>
                <a:cubicBezTo>
                  <a:pt x="865" y="594"/>
                  <a:pt x="866" y="595"/>
                  <a:pt x="866" y="597"/>
                </a:cubicBezTo>
                <a:lnTo>
                  <a:pt x="866" y="599"/>
                </a:lnTo>
                <a:cubicBezTo>
                  <a:pt x="867" y="599"/>
                  <a:pt x="869" y="597"/>
                  <a:pt x="872" y="594"/>
                </a:cubicBezTo>
                <a:cubicBezTo>
                  <a:pt x="875" y="592"/>
                  <a:pt x="876" y="591"/>
                  <a:pt x="876" y="590"/>
                </a:cubicBezTo>
                <a:cubicBezTo>
                  <a:pt x="876" y="590"/>
                  <a:pt x="875" y="590"/>
                  <a:pt x="875" y="590"/>
                </a:cubicBezTo>
                <a:cubicBezTo>
                  <a:pt x="873" y="590"/>
                  <a:pt x="872" y="590"/>
                  <a:pt x="872" y="592"/>
                </a:cubicBezTo>
                <a:lnTo>
                  <a:pt x="872" y="592"/>
                </a:lnTo>
                <a:cubicBezTo>
                  <a:pt x="872" y="593"/>
                  <a:pt x="871" y="593"/>
                  <a:pt x="870" y="593"/>
                </a:cubicBezTo>
                <a:cubicBezTo>
                  <a:pt x="869" y="593"/>
                  <a:pt x="869" y="593"/>
                  <a:pt x="869" y="591"/>
                </a:cubicBezTo>
                <a:cubicBezTo>
                  <a:pt x="869" y="590"/>
                  <a:pt x="869" y="589"/>
                  <a:pt x="870" y="588"/>
                </a:cubicBezTo>
                <a:cubicBezTo>
                  <a:pt x="870" y="587"/>
                  <a:pt x="871" y="587"/>
                  <a:pt x="872" y="587"/>
                </a:cubicBezTo>
                <a:cubicBezTo>
                  <a:pt x="874" y="587"/>
                  <a:pt x="875" y="586"/>
                  <a:pt x="875" y="585"/>
                </a:cubicBezTo>
                <a:cubicBezTo>
                  <a:pt x="875" y="585"/>
                  <a:pt x="874" y="584"/>
                  <a:pt x="873" y="583"/>
                </a:cubicBezTo>
                <a:lnTo>
                  <a:pt x="872" y="583"/>
                </a:lnTo>
                <a:cubicBezTo>
                  <a:pt x="871" y="583"/>
                  <a:pt x="870" y="584"/>
                  <a:pt x="868" y="586"/>
                </a:cubicBezTo>
                <a:cubicBezTo>
                  <a:pt x="866" y="588"/>
                  <a:pt x="864" y="590"/>
                  <a:pt x="863" y="590"/>
                </a:cubicBezTo>
                <a:cubicBezTo>
                  <a:pt x="862" y="590"/>
                  <a:pt x="862" y="590"/>
                  <a:pt x="862" y="591"/>
                </a:cubicBezTo>
                <a:lnTo>
                  <a:pt x="862" y="592"/>
                </a:lnTo>
                <a:cubicBezTo>
                  <a:pt x="862" y="592"/>
                  <a:pt x="861" y="593"/>
                  <a:pt x="861" y="593"/>
                </a:cubicBezTo>
                <a:lnTo>
                  <a:pt x="860" y="593"/>
                </a:lnTo>
                <a:cubicBezTo>
                  <a:pt x="858" y="593"/>
                  <a:pt x="854" y="596"/>
                  <a:pt x="849" y="602"/>
                </a:cubicBezTo>
                <a:cubicBezTo>
                  <a:pt x="847" y="605"/>
                  <a:pt x="846" y="607"/>
                  <a:pt x="846" y="608"/>
                </a:cubicBezTo>
                <a:cubicBezTo>
                  <a:pt x="846" y="610"/>
                  <a:pt x="845" y="612"/>
                  <a:pt x="844" y="613"/>
                </a:cubicBezTo>
                <a:cubicBezTo>
                  <a:pt x="844" y="613"/>
                  <a:pt x="843" y="612"/>
                  <a:pt x="843" y="612"/>
                </a:cubicBezTo>
                <a:cubicBezTo>
                  <a:pt x="843" y="609"/>
                  <a:pt x="843" y="607"/>
                  <a:pt x="843" y="607"/>
                </a:cubicBezTo>
                <a:cubicBezTo>
                  <a:pt x="842" y="607"/>
                  <a:pt x="842" y="607"/>
                  <a:pt x="841" y="607"/>
                </a:cubicBezTo>
                <a:cubicBezTo>
                  <a:pt x="840" y="608"/>
                  <a:pt x="839" y="609"/>
                  <a:pt x="839" y="610"/>
                </a:cubicBezTo>
                <a:cubicBezTo>
                  <a:pt x="839" y="611"/>
                  <a:pt x="840" y="612"/>
                  <a:pt x="841" y="613"/>
                </a:cubicBezTo>
                <a:cubicBezTo>
                  <a:pt x="842" y="614"/>
                  <a:pt x="843" y="615"/>
                  <a:pt x="843" y="616"/>
                </a:cubicBezTo>
                <a:lnTo>
                  <a:pt x="843" y="618"/>
                </a:lnTo>
                <a:cubicBezTo>
                  <a:pt x="843" y="618"/>
                  <a:pt x="843" y="618"/>
                  <a:pt x="843" y="618"/>
                </a:cubicBezTo>
                <a:close/>
                <a:moveTo>
                  <a:pt x="876" y="583"/>
                </a:moveTo>
                <a:cubicBezTo>
                  <a:pt x="876" y="583"/>
                  <a:pt x="878" y="582"/>
                  <a:pt x="879" y="581"/>
                </a:cubicBezTo>
                <a:cubicBezTo>
                  <a:pt x="880" y="580"/>
                  <a:pt x="881" y="579"/>
                  <a:pt x="881" y="578"/>
                </a:cubicBezTo>
                <a:cubicBezTo>
                  <a:pt x="881" y="578"/>
                  <a:pt x="880" y="578"/>
                  <a:pt x="880" y="578"/>
                </a:cubicBezTo>
                <a:cubicBezTo>
                  <a:pt x="879" y="578"/>
                  <a:pt x="878" y="578"/>
                  <a:pt x="876" y="579"/>
                </a:cubicBezTo>
                <a:cubicBezTo>
                  <a:pt x="876" y="580"/>
                  <a:pt x="875" y="581"/>
                  <a:pt x="875" y="582"/>
                </a:cubicBezTo>
                <a:cubicBezTo>
                  <a:pt x="875" y="582"/>
                  <a:pt x="875" y="583"/>
                  <a:pt x="876" y="583"/>
                </a:cubicBezTo>
                <a:close/>
                <a:moveTo>
                  <a:pt x="879" y="588"/>
                </a:moveTo>
                <a:cubicBezTo>
                  <a:pt x="881" y="588"/>
                  <a:pt x="884" y="587"/>
                  <a:pt x="888" y="584"/>
                </a:cubicBezTo>
                <a:cubicBezTo>
                  <a:pt x="895" y="581"/>
                  <a:pt x="898" y="578"/>
                  <a:pt x="900" y="576"/>
                </a:cubicBezTo>
                <a:cubicBezTo>
                  <a:pt x="900" y="576"/>
                  <a:pt x="900" y="575"/>
                  <a:pt x="900" y="575"/>
                </a:cubicBezTo>
                <a:lnTo>
                  <a:pt x="902" y="576"/>
                </a:lnTo>
                <a:cubicBezTo>
                  <a:pt x="904" y="576"/>
                  <a:pt x="908" y="575"/>
                  <a:pt x="915" y="572"/>
                </a:cubicBezTo>
                <a:cubicBezTo>
                  <a:pt x="922" y="570"/>
                  <a:pt x="926" y="569"/>
                  <a:pt x="927" y="569"/>
                </a:cubicBezTo>
                <a:lnTo>
                  <a:pt x="929" y="569"/>
                </a:lnTo>
                <a:cubicBezTo>
                  <a:pt x="930" y="569"/>
                  <a:pt x="930" y="568"/>
                  <a:pt x="930" y="568"/>
                </a:cubicBezTo>
                <a:cubicBezTo>
                  <a:pt x="930" y="567"/>
                  <a:pt x="932" y="567"/>
                  <a:pt x="937" y="567"/>
                </a:cubicBezTo>
                <a:lnTo>
                  <a:pt x="941" y="567"/>
                </a:lnTo>
                <a:cubicBezTo>
                  <a:pt x="947" y="567"/>
                  <a:pt x="951" y="566"/>
                  <a:pt x="951" y="565"/>
                </a:cubicBezTo>
                <a:cubicBezTo>
                  <a:pt x="951" y="564"/>
                  <a:pt x="948" y="563"/>
                  <a:pt x="943" y="563"/>
                </a:cubicBezTo>
                <a:cubicBezTo>
                  <a:pt x="940" y="563"/>
                  <a:pt x="935" y="564"/>
                  <a:pt x="930" y="565"/>
                </a:cubicBezTo>
                <a:lnTo>
                  <a:pt x="926" y="565"/>
                </a:lnTo>
                <a:cubicBezTo>
                  <a:pt x="924" y="565"/>
                  <a:pt x="923" y="565"/>
                  <a:pt x="922" y="564"/>
                </a:cubicBezTo>
                <a:cubicBezTo>
                  <a:pt x="922" y="563"/>
                  <a:pt x="921" y="562"/>
                  <a:pt x="920" y="562"/>
                </a:cubicBezTo>
                <a:lnTo>
                  <a:pt x="922" y="565"/>
                </a:lnTo>
                <a:cubicBezTo>
                  <a:pt x="922" y="566"/>
                  <a:pt x="921" y="567"/>
                  <a:pt x="919" y="568"/>
                </a:cubicBezTo>
                <a:cubicBezTo>
                  <a:pt x="918" y="569"/>
                  <a:pt x="916" y="569"/>
                  <a:pt x="914" y="569"/>
                </a:cubicBezTo>
                <a:cubicBezTo>
                  <a:pt x="912" y="569"/>
                  <a:pt x="911" y="569"/>
                  <a:pt x="910" y="568"/>
                </a:cubicBezTo>
                <a:lnTo>
                  <a:pt x="908" y="566"/>
                </a:lnTo>
                <a:lnTo>
                  <a:pt x="907" y="566"/>
                </a:lnTo>
                <a:lnTo>
                  <a:pt x="908" y="570"/>
                </a:lnTo>
                <a:cubicBezTo>
                  <a:pt x="908" y="571"/>
                  <a:pt x="908" y="571"/>
                  <a:pt x="906" y="571"/>
                </a:cubicBezTo>
                <a:cubicBezTo>
                  <a:pt x="905" y="571"/>
                  <a:pt x="904" y="571"/>
                  <a:pt x="904" y="569"/>
                </a:cubicBezTo>
                <a:cubicBezTo>
                  <a:pt x="904" y="568"/>
                  <a:pt x="905" y="568"/>
                  <a:pt x="905" y="567"/>
                </a:cubicBezTo>
                <a:cubicBezTo>
                  <a:pt x="906" y="566"/>
                  <a:pt x="907" y="565"/>
                  <a:pt x="908" y="565"/>
                </a:cubicBezTo>
                <a:cubicBezTo>
                  <a:pt x="908" y="565"/>
                  <a:pt x="909" y="566"/>
                  <a:pt x="910" y="566"/>
                </a:cubicBezTo>
                <a:cubicBezTo>
                  <a:pt x="911" y="566"/>
                  <a:pt x="911" y="567"/>
                  <a:pt x="912" y="567"/>
                </a:cubicBezTo>
                <a:cubicBezTo>
                  <a:pt x="912" y="567"/>
                  <a:pt x="912" y="566"/>
                  <a:pt x="912" y="566"/>
                </a:cubicBezTo>
                <a:lnTo>
                  <a:pt x="912" y="564"/>
                </a:lnTo>
                <a:cubicBezTo>
                  <a:pt x="913" y="564"/>
                  <a:pt x="913" y="565"/>
                  <a:pt x="914" y="566"/>
                </a:cubicBezTo>
                <a:cubicBezTo>
                  <a:pt x="915" y="567"/>
                  <a:pt x="915" y="567"/>
                  <a:pt x="915" y="567"/>
                </a:cubicBezTo>
                <a:cubicBezTo>
                  <a:pt x="915" y="567"/>
                  <a:pt x="916" y="567"/>
                  <a:pt x="916" y="566"/>
                </a:cubicBezTo>
                <a:cubicBezTo>
                  <a:pt x="916" y="565"/>
                  <a:pt x="916" y="565"/>
                  <a:pt x="917" y="565"/>
                </a:cubicBezTo>
                <a:lnTo>
                  <a:pt x="918" y="565"/>
                </a:lnTo>
                <a:cubicBezTo>
                  <a:pt x="919" y="565"/>
                  <a:pt x="919" y="564"/>
                  <a:pt x="919" y="563"/>
                </a:cubicBezTo>
                <a:lnTo>
                  <a:pt x="919" y="563"/>
                </a:lnTo>
                <a:cubicBezTo>
                  <a:pt x="919" y="561"/>
                  <a:pt x="920" y="560"/>
                  <a:pt x="922" y="560"/>
                </a:cubicBezTo>
                <a:cubicBezTo>
                  <a:pt x="924" y="560"/>
                  <a:pt x="925" y="561"/>
                  <a:pt x="926" y="562"/>
                </a:cubicBezTo>
                <a:cubicBezTo>
                  <a:pt x="926" y="563"/>
                  <a:pt x="926" y="563"/>
                  <a:pt x="926" y="563"/>
                </a:cubicBezTo>
                <a:cubicBezTo>
                  <a:pt x="927" y="563"/>
                  <a:pt x="927" y="562"/>
                  <a:pt x="928" y="561"/>
                </a:cubicBezTo>
                <a:cubicBezTo>
                  <a:pt x="930" y="559"/>
                  <a:pt x="931" y="559"/>
                  <a:pt x="932" y="559"/>
                </a:cubicBezTo>
                <a:cubicBezTo>
                  <a:pt x="932" y="559"/>
                  <a:pt x="932" y="559"/>
                  <a:pt x="932" y="559"/>
                </a:cubicBezTo>
                <a:lnTo>
                  <a:pt x="931" y="562"/>
                </a:lnTo>
                <a:lnTo>
                  <a:pt x="932" y="561"/>
                </a:lnTo>
                <a:cubicBezTo>
                  <a:pt x="934" y="560"/>
                  <a:pt x="936" y="559"/>
                  <a:pt x="938" y="559"/>
                </a:cubicBezTo>
                <a:cubicBezTo>
                  <a:pt x="939" y="559"/>
                  <a:pt x="941" y="559"/>
                  <a:pt x="942" y="558"/>
                </a:cubicBezTo>
                <a:cubicBezTo>
                  <a:pt x="943" y="557"/>
                  <a:pt x="944" y="557"/>
                  <a:pt x="944" y="557"/>
                </a:cubicBezTo>
                <a:lnTo>
                  <a:pt x="943" y="559"/>
                </a:lnTo>
                <a:cubicBezTo>
                  <a:pt x="943" y="560"/>
                  <a:pt x="945" y="560"/>
                  <a:pt x="948" y="560"/>
                </a:cubicBezTo>
                <a:cubicBezTo>
                  <a:pt x="951" y="560"/>
                  <a:pt x="954" y="561"/>
                  <a:pt x="956" y="561"/>
                </a:cubicBezTo>
                <a:cubicBezTo>
                  <a:pt x="958" y="561"/>
                  <a:pt x="959" y="562"/>
                  <a:pt x="959" y="563"/>
                </a:cubicBezTo>
                <a:cubicBezTo>
                  <a:pt x="959" y="563"/>
                  <a:pt x="959" y="563"/>
                  <a:pt x="958" y="564"/>
                </a:cubicBezTo>
                <a:cubicBezTo>
                  <a:pt x="957" y="564"/>
                  <a:pt x="956" y="565"/>
                  <a:pt x="956" y="565"/>
                </a:cubicBezTo>
                <a:cubicBezTo>
                  <a:pt x="956" y="566"/>
                  <a:pt x="957" y="566"/>
                  <a:pt x="959" y="566"/>
                </a:cubicBezTo>
                <a:lnTo>
                  <a:pt x="960" y="567"/>
                </a:lnTo>
                <a:cubicBezTo>
                  <a:pt x="961" y="567"/>
                  <a:pt x="962" y="566"/>
                  <a:pt x="962" y="565"/>
                </a:cubicBezTo>
                <a:cubicBezTo>
                  <a:pt x="962" y="564"/>
                  <a:pt x="960" y="562"/>
                  <a:pt x="956" y="560"/>
                </a:cubicBezTo>
                <a:cubicBezTo>
                  <a:pt x="952" y="557"/>
                  <a:pt x="946" y="556"/>
                  <a:pt x="939" y="556"/>
                </a:cubicBezTo>
                <a:cubicBezTo>
                  <a:pt x="932" y="556"/>
                  <a:pt x="928" y="557"/>
                  <a:pt x="926" y="559"/>
                </a:cubicBezTo>
                <a:lnTo>
                  <a:pt x="926" y="560"/>
                </a:lnTo>
                <a:lnTo>
                  <a:pt x="925" y="559"/>
                </a:lnTo>
                <a:cubicBezTo>
                  <a:pt x="925" y="558"/>
                  <a:pt x="925" y="558"/>
                  <a:pt x="923" y="558"/>
                </a:cubicBezTo>
                <a:lnTo>
                  <a:pt x="914" y="560"/>
                </a:lnTo>
                <a:cubicBezTo>
                  <a:pt x="907" y="563"/>
                  <a:pt x="904" y="564"/>
                  <a:pt x="904" y="566"/>
                </a:cubicBezTo>
                <a:cubicBezTo>
                  <a:pt x="904" y="566"/>
                  <a:pt x="902" y="566"/>
                  <a:pt x="900" y="567"/>
                </a:cubicBezTo>
                <a:cubicBezTo>
                  <a:pt x="898" y="567"/>
                  <a:pt x="896" y="568"/>
                  <a:pt x="896" y="569"/>
                </a:cubicBezTo>
                <a:cubicBezTo>
                  <a:pt x="896" y="570"/>
                  <a:pt x="895" y="570"/>
                  <a:pt x="894" y="570"/>
                </a:cubicBezTo>
                <a:lnTo>
                  <a:pt x="892" y="570"/>
                </a:lnTo>
                <a:cubicBezTo>
                  <a:pt x="890" y="570"/>
                  <a:pt x="889" y="571"/>
                  <a:pt x="888" y="572"/>
                </a:cubicBezTo>
                <a:cubicBezTo>
                  <a:pt x="887" y="573"/>
                  <a:pt x="886" y="574"/>
                  <a:pt x="886" y="574"/>
                </a:cubicBezTo>
                <a:cubicBezTo>
                  <a:pt x="886" y="575"/>
                  <a:pt x="887" y="575"/>
                  <a:pt x="888" y="575"/>
                </a:cubicBezTo>
                <a:cubicBezTo>
                  <a:pt x="889" y="575"/>
                  <a:pt x="889" y="576"/>
                  <a:pt x="889" y="578"/>
                </a:cubicBezTo>
                <a:cubicBezTo>
                  <a:pt x="889" y="579"/>
                  <a:pt x="889" y="580"/>
                  <a:pt x="887" y="582"/>
                </a:cubicBezTo>
                <a:cubicBezTo>
                  <a:pt x="886" y="583"/>
                  <a:pt x="885" y="583"/>
                  <a:pt x="883" y="583"/>
                </a:cubicBezTo>
                <a:cubicBezTo>
                  <a:pt x="883" y="583"/>
                  <a:pt x="882" y="583"/>
                  <a:pt x="881" y="583"/>
                </a:cubicBezTo>
                <a:cubicBezTo>
                  <a:pt x="881" y="583"/>
                  <a:pt x="880" y="583"/>
                  <a:pt x="880" y="583"/>
                </a:cubicBezTo>
                <a:lnTo>
                  <a:pt x="879" y="583"/>
                </a:lnTo>
                <a:lnTo>
                  <a:pt x="879" y="588"/>
                </a:lnTo>
                <a:cubicBezTo>
                  <a:pt x="879" y="588"/>
                  <a:pt x="879" y="588"/>
                  <a:pt x="879" y="588"/>
                </a:cubicBezTo>
                <a:close/>
                <a:moveTo>
                  <a:pt x="737" y="756"/>
                </a:moveTo>
                <a:lnTo>
                  <a:pt x="737" y="754"/>
                </a:lnTo>
                <a:cubicBezTo>
                  <a:pt x="737" y="752"/>
                  <a:pt x="738" y="752"/>
                  <a:pt x="739" y="751"/>
                </a:cubicBezTo>
                <a:cubicBezTo>
                  <a:pt x="739" y="751"/>
                  <a:pt x="739" y="752"/>
                  <a:pt x="739" y="752"/>
                </a:cubicBezTo>
                <a:cubicBezTo>
                  <a:pt x="739" y="752"/>
                  <a:pt x="739" y="753"/>
                  <a:pt x="739" y="754"/>
                </a:cubicBezTo>
                <a:cubicBezTo>
                  <a:pt x="738" y="755"/>
                  <a:pt x="738" y="756"/>
                  <a:pt x="737" y="756"/>
                </a:cubicBezTo>
                <a:close/>
                <a:moveTo>
                  <a:pt x="893" y="578"/>
                </a:moveTo>
                <a:cubicBezTo>
                  <a:pt x="892" y="578"/>
                  <a:pt x="891" y="577"/>
                  <a:pt x="891" y="575"/>
                </a:cubicBezTo>
                <a:lnTo>
                  <a:pt x="891" y="574"/>
                </a:lnTo>
                <a:cubicBezTo>
                  <a:pt x="891" y="572"/>
                  <a:pt x="891" y="571"/>
                  <a:pt x="892" y="571"/>
                </a:cubicBezTo>
                <a:cubicBezTo>
                  <a:pt x="893" y="571"/>
                  <a:pt x="894" y="572"/>
                  <a:pt x="894" y="573"/>
                </a:cubicBezTo>
                <a:cubicBezTo>
                  <a:pt x="894" y="573"/>
                  <a:pt x="894" y="573"/>
                  <a:pt x="895" y="573"/>
                </a:cubicBezTo>
                <a:cubicBezTo>
                  <a:pt x="895" y="573"/>
                  <a:pt x="896" y="573"/>
                  <a:pt x="898" y="571"/>
                </a:cubicBezTo>
                <a:cubicBezTo>
                  <a:pt x="899" y="569"/>
                  <a:pt x="900" y="568"/>
                  <a:pt x="900" y="568"/>
                </a:cubicBezTo>
                <a:cubicBezTo>
                  <a:pt x="901" y="568"/>
                  <a:pt x="902" y="569"/>
                  <a:pt x="903" y="570"/>
                </a:cubicBezTo>
                <a:cubicBezTo>
                  <a:pt x="903" y="572"/>
                  <a:pt x="904" y="573"/>
                  <a:pt x="904" y="574"/>
                </a:cubicBezTo>
                <a:cubicBezTo>
                  <a:pt x="904" y="575"/>
                  <a:pt x="903" y="575"/>
                  <a:pt x="903" y="575"/>
                </a:cubicBezTo>
                <a:cubicBezTo>
                  <a:pt x="903" y="575"/>
                  <a:pt x="902" y="575"/>
                  <a:pt x="902" y="574"/>
                </a:cubicBezTo>
                <a:cubicBezTo>
                  <a:pt x="901" y="573"/>
                  <a:pt x="901" y="573"/>
                  <a:pt x="900" y="573"/>
                </a:cubicBezTo>
                <a:cubicBezTo>
                  <a:pt x="900" y="573"/>
                  <a:pt x="899" y="574"/>
                  <a:pt x="897" y="576"/>
                </a:cubicBezTo>
                <a:cubicBezTo>
                  <a:pt x="895" y="578"/>
                  <a:pt x="894" y="578"/>
                  <a:pt x="893" y="578"/>
                </a:cubicBezTo>
                <a:close/>
                <a:moveTo>
                  <a:pt x="861" y="601"/>
                </a:moveTo>
                <a:cubicBezTo>
                  <a:pt x="860" y="601"/>
                  <a:pt x="860" y="600"/>
                  <a:pt x="860" y="600"/>
                </a:cubicBezTo>
                <a:cubicBezTo>
                  <a:pt x="860" y="599"/>
                  <a:pt x="860" y="598"/>
                  <a:pt x="860" y="598"/>
                </a:cubicBezTo>
                <a:lnTo>
                  <a:pt x="861" y="597"/>
                </a:lnTo>
                <a:cubicBezTo>
                  <a:pt x="862" y="597"/>
                  <a:pt x="862" y="598"/>
                  <a:pt x="862" y="599"/>
                </a:cubicBezTo>
                <a:cubicBezTo>
                  <a:pt x="862" y="600"/>
                  <a:pt x="861" y="601"/>
                  <a:pt x="861" y="601"/>
                </a:cubicBezTo>
                <a:close/>
                <a:moveTo>
                  <a:pt x="974" y="650"/>
                </a:moveTo>
                <a:cubicBezTo>
                  <a:pt x="973" y="650"/>
                  <a:pt x="973" y="650"/>
                  <a:pt x="973" y="649"/>
                </a:cubicBezTo>
                <a:lnTo>
                  <a:pt x="973" y="648"/>
                </a:lnTo>
                <a:cubicBezTo>
                  <a:pt x="974" y="647"/>
                  <a:pt x="975" y="646"/>
                  <a:pt x="976" y="646"/>
                </a:cubicBezTo>
                <a:cubicBezTo>
                  <a:pt x="976" y="646"/>
                  <a:pt x="977" y="647"/>
                  <a:pt x="977" y="647"/>
                </a:cubicBezTo>
                <a:cubicBezTo>
                  <a:pt x="977" y="647"/>
                  <a:pt x="977" y="648"/>
                  <a:pt x="976" y="649"/>
                </a:cubicBezTo>
                <a:cubicBezTo>
                  <a:pt x="976" y="650"/>
                  <a:pt x="975" y="650"/>
                  <a:pt x="974" y="650"/>
                </a:cubicBezTo>
                <a:close/>
                <a:moveTo>
                  <a:pt x="1017" y="641"/>
                </a:moveTo>
                <a:cubicBezTo>
                  <a:pt x="1015" y="641"/>
                  <a:pt x="1014" y="640"/>
                  <a:pt x="1014" y="639"/>
                </a:cubicBezTo>
                <a:cubicBezTo>
                  <a:pt x="1014" y="638"/>
                  <a:pt x="1015" y="637"/>
                  <a:pt x="1016" y="637"/>
                </a:cubicBezTo>
                <a:cubicBezTo>
                  <a:pt x="1017" y="637"/>
                  <a:pt x="1017" y="637"/>
                  <a:pt x="1018" y="638"/>
                </a:cubicBezTo>
                <a:cubicBezTo>
                  <a:pt x="1019" y="638"/>
                  <a:pt x="1019" y="639"/>
                  <a:pt x="1019" y="640"/>
                </a:cubicBezTo>
                <a:cubicBezTo>
                  <a:pt x="1019" y="641"/>
                  <a:pt x="1019" y="641"/>
                  <a:pt x="1017" y="641"/>
                </a:cubicBezTo>
                <a:close/>
                <a:moveTo>
                  <a:pt x="1025" y="639"/>
                </a:moveTo>
                <a:cubicBezTo>
                  <a:pt x="1024" y="639"/>
                  <a:pt x="1022" y="638"/>
                  <a:pt x="1022" y="637"/>
                </a:cubicBezTo>
                <a:lnTo>
                  <a:pt x="1022" y="637"/>
                </a:lnTo>
                <a:cubicBezTo>
                  <a:pt x="1022" y="636"/>
                  <a:pt x="1022" y="636"/>
                  <a:pt x="1022" y="636"/>
                </a:cubicBezTo>
                <a:cubicBezTo>
                  <a:pt x="1022" y="635"/>
                  <a:pt x="1021" y="635"/>
                  <a:pt x="1020" y="634"/>
                </a:cubicBezTo>
                <a:cubicBezTo>
                  <a:pt x="1020" y="634"/>
                  <a:pt x="1021" y="634"/>
                  <a:pt x="1022" y="634"/>
                </a:cubicBezTo>
                <a:cubicBezTo>
                  <a:pt x="1024" y="634"/>
                  <a:pt x="1025" y="634"/>
                  <a:pt x="1025" y="634"/>
                </a:cubicBezTo>
                <a:lnTo>
                  <a:pt x="1025" y="637"/>
                </a:lnTo>
                <a:cubicBezTo>
                  <a:pt x="1025" y="637"/>
                  <a:pt x="1026" y="637"/>
                  <a:pt x="1027" y="636"/>
                </a:cubicBezTo>
                <a:cubicBezTo>
                  <a:pt x="1027" y="635"/>
                  <a:pt x="1029" y="635"/>
                  <a:pt x="1031" y="635"/>
                </a:cubicBezTo>
                <a:cubicBezTo>
                  <a:pt x="1032" y="635"/>
                  <a:pt x="1033" y="635"/>
                  <a:pt x="1033" y="634"/>
                </a:cubicBezTo>
                <a:lnTo>
                  <a:pt x="1032" y="634"/>
                </a:lnTo>
                <a:cubicBezTo>
                  <a:pt x="1032" y="633"/>
                  <a:pt x="1034" y="632"/>
                  <a:pt x="1037" y="632"/>
                </a:cubicBezTo>
                <a:lnTo>
                  <a:pt x="1041" y="631"/>
                </a:lnTo>
                <a:cubicBezTo>
                  <a:pt x="1043" y="631"/>
                  <a:pt x="1044" y="632"/>
                  <a:pt x="1044" y="632"/>
                </a:cubicBezTo>
                <a:cubicBezTo>
                  <a:pt x="1044" y="633"/>
                  <a:pt x="1044" y="634"/>
                  <a:pt x="1043" y="635"/>
                </a:cubicBezTo>
                <a:cubicBezTo>
                  <a:pt x="1042" y="636"/>
                  <a:pt x="1041" y="636"/>
                  <a:pt x="1039" y="637"/>
                </a:cubicBezTo>
                <a:cubicBezTo>
                  <a:pt x="1037" y="637"/>
                  <a:pt x="1034" y="638"/>
                  <a:pt x="1032" y="638"/>
                </a:cubicBezTo>
                <a:cubicBezTo>
                  <a:pt x="1029" y="638"/>
                  <a:pt x="1027" y="639"/>
                  <a:pt x="1025" y="639"/>
                </a:cubicBezTo>
                <a:close/>
                <a:moveTo>
                  <a:pt x="980" y="648"/>
                </a:moveTo>
                <a:lnTo>
                  <a:pt x="979" y="648"/>
                </a:lnTo>
                <a:cubicBezTo>
                  <a:pt x="979" y="647"/>
                  <a:pt x="979" y="647"/>
                  <a:pt x="979" y="647"/>
                </a:cubicBezTo>
                <a:cubicBezTo>
                  <a:pt x="979" y="647"/>
                  <a:pt x="980" y="646"/>
                  <a:pt x="981" y="646"/>
                </a:cubicBezTo>
                <a:lnTo>
                  <a:pt x="983" y="645"/>
                </a:lnTo>
                <a:cubicBezTo>
                  <a:pt x="983" y="645"/>
                  <a:pt x="983" y="645"/>
                  <a:pt x="983" y="646"/>
                </a:cubicBezTo>
                <a:lnTo>
                  <a:pt x="983" y="647"/>
                </a:lnTo>
                <a:cubicBezTo>
                  <a:pt x="983" y="647"/>
                  <a:pt x="982" y="647"/>
                  <a:pt x="982" y="648"/>
                </a:cubicBezTo>
                <a:cubicBezTo>
                  <a:pt x="981" y="648"/>
                  <a:pt x="980" y="648"/>
                  <a:pt x="980" y="648"/>
                </a:cubicBezTo>
                <a:close/>
                <a:moveTo>
                  <a:pt x="997" y="644"/>
                </a:moveTo>
                <a:cubicBezTo>
                  <a:pt x="997" y="644"/>
                  <a:pt x="996" y="644"/>
                  <a:pt x="996" y="644"/>
                </a:cubicBezTo>
                <a:lnTo>
                  <a:pt x="1000" y="642"/>
                </a:lnTo>
                <a:lnTo>
                  <a:pt x="1000" y="642"/>
                </a:lnTo>
                <a:lnTo>
                  <a:pt x="1000" y="643"/>
                </a:lnTo>
                <a:cubicBezTo>
                  <a:pt x="1000" y="644"/>
                  <a:pt x="999" y="644"/>
                  <a:pt x="997" y="644"/>
                </a:cubicBezTo>
                <a:close/>
                <a:moveTo>
                  <a:pt x="1006" y="643"/>
                </a:moveTo>
                <a:cubicBezTo>
                  <a:pt x="1004" y="643"/>
                  <a:pt x="1003" y="642"/>
                  <a:pt x="1003" y="642"/>
                </a:cubicBezTo>
                <a:lnTo>
                  <a:pt x="1003" y="641"/>
                </a:lnTo>
                <a:cubicBezTo>
                  <a:pt x="1004" y="640"/>
                  <a:pt x="1005" y="639"/>
                  <a:pt x="1008" y="639"/>
                </a:cubicBezTo>
                <a:cubicBezTo>
                  <a:pt x="1009" y="640"/>
                  <a:pt x="1010" y="640"/>
                  <a:pt x="1010" y="641"/>
                </a:cubicBezTo>
                <a:cubicBezTo>
                  <a:pt x="1010" y="642"/>
                  <a:pt x="1009" y="643"/>
                  <a:pt x="1006" y="643"/>
                </a:cubicBezTo>
                <a:close/>
                <a:moveTo>
                  <a:pt x="790" y="716"/>
                </a:moveTo>
                <a:cubicBezTo>
                  <a:pt x="790" y="716"/>
                  <a:pt x="789" y="715"/>
                  <a:pt x="789" y="713"/>
                </a:cubicBezTo>
                <a:cubicBezTo>
                  <a:pt x="789" y="712"/>
                  <a:pt x="789" y="711"/>
                  <a:pt x="790" y="711"/>
                </a:cubicBezTo>
                <a:lnTo>
                  <a:pt x="791" y="712"/>
                </a:lnTo>
                <a:cubicBezTo>
                  <a:pt x="791" y="712"/>
                  <a:pt x="792" y="713"/>
                  <a:pt x="792" y="713"/>
                </a:cubicBezTo>
                <a:lnTo>
                  <a:pt x="792" y="714"/>
                </a:lnTo>
                <a:cubicBezTo>
                  <a:pt x="791" y="715"/>
                  <a:pt x="791" y="716"/>
                  <a:pt x="790" y="716"/>
                </a:cubicBezTo>
                <a:close/>
                <a:moveTo>
                  <a:pt x="763" y="666"/>
                </a:moveTo>
                <a:cubicBezTo>
                  <a:pt x="763" y="666"/>
                  <a:pt x="763" y="665"/>
                  <a:pt x="763" y="663"/>
                </a:cubicBezTo>
                <a:lnTo>
                  <a:pt x="763" y="661"/>
                </a:lnTo>
                <a:cubicBezTo>
                  <a:pt x="763" y="660"/>
                  <a:pt x="763" y="659"/>
                  <a:pt x="764" y="659"/>
                </a:cubicBezTo>
                <a:cubicBezTo>
                  <a:pt x="765" y="659"/>
                  <a:pt x="765" y="660"/>
                  <a:pt x="765" y="661"/>
                </a:cubicBezTo>
                <a:cubicBezTo>
                  <a:pt x="765" y="662"/>
                  <a:pt x="765" y="663"/>
                  <a:pt x="764" y="664"/>
                </a:cubicBezTo>
                <a:cubicBezTo>
                  <a:pt x="764" y="665"/>
                  <a:pt x="764" y="666"/>
                  <a:pt x="763" y="666"/>
                </a:cubicBezTo>
                <a:close/>
                <a:moveTo>
                  <a:pt x="851" y="423"/>
                </a:moveTo>
                <a:cubicBezTo>
                  <a:pt x="851" y="423"/>
                  <a:pt x="850" y="422"/>
                  <a:pt x="850" y="421"/>
                </a:cubicBezTo>
                <a:lnTo>
                  <a:pt x="849" y="420"/>
                </a:lnTo>
                <a:cubicBezTo>
                  <a:pt x="849" y="419"/>
                  <a:pt x="850" y="419"/>
                  <a:pt x="850" y="419"/>
                </a:cubicBezTo>
                <a:cubicBezTo>
                  <a:pt x="851" y="419"/>
                  <a:pt x="852" y="420"/>
                  <a:pt x="852" y="421"/>
                </a:cubicBezTo>
                <a:cubicBezTo>
                  <a:pt x="852" y="422"/>
                  <a:pt x="852" y="423"/>
                  <a:pt x="851" y="423"/>
                </a:cubicBezTo>
                <a:close/>
                <a:moveTo>
                  <a:pt x="835" y="428"/>
                </a:moveTo>
                <a:lnTo>
                  <a:pt x="834" y="428"/>
                </a:lnTo>
                <a:lnTo>
                  <a:pt x="835" y="425"/>
                </a:lnTo>
                <a:cubicBezTo>
                  <a:pt x="836" y="422"/>
                  <a:pt x="837" y="421"/>
                  <a:pt x="838" y="421"/>
                </a:cubicBezTo>
                <a:lnTo>
                  <a:pt x="838" y="422"/>
                </a:lnTo>
                <a:cubicBezTo>
                  <a:pt x="838" y="422"/>
                  <a:pt x="837" y="423"/>
                  <a:pt x="837" y="425"/>
                </a:cubicBezTo>
                <a:cubicBezTo>
                  <a:pt x="836" y="427"/>
                  <a:pt x="836" y="428"/>
                  <a:pt x="835" y="428"/>
                </a:cubicBezTo>
                <a:close/>
                <a:moveTo>
                  <a:pt x="845" y="422"/>
                </a:moveTo>
                <a:lnTo>
                  <a:pt x="844" y="422"/>
                </a:lnTo>
                <a:cubicBezTo>
                  <a:pt x="844" y="422"/>
                  <a:pt x="843" y="422"/>
                  <a:pt x="843" y="421"/>
                </a:cubicBezTo>
                <a:cubicBezTo>
                  <a:pt x="843" y="420"/>
                  <a:pt x="844" y="419"/>
                  <a:pt x="845" y="418"/>
                </a:cubicBezTo>
                <a:lnTo>
                  <a:pt x="845" y="418"/>
                </a:lnTo>
                <a:cubicBezTo>
                  <a:pt x="846" y="418"/>
                  <a:pt x="846" y="419"/>
                  <a:pt x="847" y="419"/>
                </a:cubicBezTo>
                <a:cubicBezTo>
                  <a:pt x="847" y="420"/>
                  <a:pt x="846" y="421"/>
                  <a:pt x="845" y="422"/>
                </a:cubicBezTo>
                <a:close/>
                <a:moveTo>
                  <a:pt x="840" y="415"/>
                </a:moveTo>
                <a:lnTo>
                  <a:pt x="839" y="415"/>
                </a:lnTo>
                <a:lnTo>
                  <a:pt x="840" y="413"/>
                </a:lnTo>
                <a:cubicBezTo>
                  <a:pt x="841" y="412"/>
                  <a:pt x="841" y="411"/>
                  <a:pt x="841" y="411"/>
                </a:cubicBezTo>
                <a:cubicBezTo>
                  <a:pt x="842" y="411"/>
                  <a:pt x="842" y="411"/>
                  <a:pt x="842" y="411"/>
                </a:cubicBezTo>
                <a:cubicBezTo>
                  <a:pt x="842" y="412"/>
                  <a:pt x="842" y="413"/>
                  <a:pt x="841" y="414"/>
                </a:cubicBezTo>
                <a:cubicBezTo>
                  <a:pt x="841" y="414"/>
                  <a:pt x="840" y="415"/>
                  <a:pt x="840" y="415"/>
                </a:cubicBezTo>
                <a:close/>
                <a:moveTo>
                  <a:pt x="800" y="617"/>
                </a:moveTo>
                <a:lnTo>
                  <a:pt x="800" y="617"/>
                </a:lnTo>
                <a:cubicBezTo>
                  <a:pt x="800" y="615"/>
                  <a:pt x="802" y="610"/>
                  <a:pt x="805" y="602"/>
                </a:cubicBezTo>
                <a:cubicBezTo>
                  <a:pt x="808" y="594"/>
                  <a:pt x="809" y="590"/>
                  <a:pt x="810" y="590"/>
                </a:cubicBezTo>
                <a:cubicBezTo>
                  <a:pt x="810" y="590"/>
                  <a:pt x="810" y="589"/>
                  <a:pt x="810" y="589"/>
                </a:cubicBezTo>
                <a:lnTo>
                  <a:pt x="809" y="586"/>
                </a:lnTo>
                <a:cubicBezTo>
                  <a:pt x="809" y="586"/>
                  <a:pt x="810" y="586"/>
                  <a:pt x="811" y="586"/>
                </a:cubicBezTo>
                <a:cubicBezTo>
                  <a:pt x="811" y="586"/>
                  <a:pt x="812" y="586"/>
                  <a:pt x="812" y="585"/>
                </a:cubicBezTo>
                <a:lnTo>
                  <a:pt x="811" y="583"/>
                </a:lnTo>
                <a:cubicBezTo>
                  <a:pt x="811" y="583"/>
                  <a:pt x="812" y="581"/>
                  <a:pt x="813" y="580"/>
                </a:cubicBezTo>
                <a:cubicBezTo>
                  <a:pt x="813" y="579"/>
                  <a:pt x="814" y="578"/>
                  <a:pt x="814" y="577"/>
                </a:cubicBezTo>
                <a:lnTo>
                  <a:pt x="813" y="575"/>
                </a:lnTo>
                <a:cubicBezTo>
                  <a:pt x="813" y="575"/>
                  <a:pt x="814" y="575"/>
                  <a:pt x="814" y="575"/>
                </a:cubicBezTo>
                <a:cubicBezTo>
                  <a:pt x="815" y="575"/>
                  <a:pt x="816" y="575"/>
                  <a:pt x="816" y="574"/>
                </a:cubicBezTo>
                <a:lnTo>
                  <a:pt x="815" y="573"/>
                </a:lnTo>
                <a:cubicBezTo>
                  <a:pt x="815" y="573"/>
                  <a:pt x="815" y="573"/>
                  <a:pt x="815" y="572"/>
                </a:cubicBezTo>
                <a:cubicBezTo>
                  <a:pt x="815" y="572"/>
                  <a:pt x="815" y="571"/>
                  <a:pt x="816" y="571"/>
                </a:cubicBezTo>
                <a:cubicBezTo>
                  <a:pt x="817" y="571"/>
                  <a:pt x="817" y="571"/>
                  <a:pt x="817" y="570"/>
                </a:cubicBezTo>
                <a:lnTo>
                  <a:pt x="817" y="569"/>
                </a:lnTo>
                <a:cubicBezTo>
                  <a:pt x="817" y="568"/>
                  <a:pt x="817" y="567"/>
                  <a:pt x="818" y="566"/>
                </a:cubicBezTo>
                <a:cubicBezTo>
                  <a:pt x="819" y="564"/>
                  <a:pt x="819" y="563"/>
                  <a:pt x="819" y="562"/>
                </a:cubicBezTo>
                <a:lnTo>
                  <a:pt x="819" y="561"/>
                </a:lnTo>
                <a:cubicBezTo>
                  <a:pt x="819" y="561"/>
                  <a:pt x="819" y="560"/>
                  <a:pt x="820" y="560"/>
                </a:cubicBezTo>
                <a:cubicBezTo>
                  <a:pt x="821" y="560"/>
                  <a:pt x="821" y="560"/>
                  <a:pt x="821" y="559"/>
                </a:cubicBezTo>
                <a:lnTo>
                  <a:pt x="821" y="558"/>
                </a:lnTo>
                <a:cubicBezTo>
                  <a:pt x="821" y="557"/>
                  <a:pt x="821" y="556"/>
                  <a:pt x="821" y="554"/>
                </a:cubicBezTo>
                <a:cubicBezTo>
                  <a:pt x="822" y="553"/>
                  <a:pt x="822" y="551"/>
                  <a:pt x="823" y="551"/>
                </a:cubicBezTo>
                <a:cubicBezTo>
                  <a:pt x="823" y="550"/>
                  <a:pt x="824" y="549"/>
                  <a:pt x="824" y="549"/>
                </a:cubicBezTo>
                <a:cubicBezTo>
                  <a:pt x="824" y="549"/>
                  <a:pt x="825" y="549"/>
                  <a:pt x="825" y="549"/>
                </a:cubicBezTo>
                <a:lnTo>
                  <a:pt x="825" y="548"/>
                </a:lnTo>
                <a:cubicBezTo>
                  <a:pt x="825" y="545"/>
                  <a:pt x="829" y="534"/>
                  <a:pt x="836" y="514"/>
                </a:cubicBezTo>
                <a:cubicBezTo>
                  <a:pt x="844" y="495"/>
                  <a:pt x="848" y="485"/>
                  <a:pt x="849" y="485"/>
                </a:cubicBezTo>
                <a:cubicBezTo>
                  <a:pt x="850" y="485"/>
                  <a:pt x="851" y="486"/>
                  <a:pt x="851" y="486"/>
                </a:cubicBezTo>
                <a:lnTo>
                  <a:pt x="850" y="487"/>
                </a:lnTo>
                <a:cubicBezTo>
                  <a:pt x="849" y="487"/>
                  <a:pt x="847" y="493"/>
                  <a:pt x="843" y="505"/>
                </a:cubicBezTo>
                <a:cubicBezTo>
                  <a:pt x="838" y="516"/>
                  <a:pt x="833" y="530"/>
                  <a:pt x="827" y="546"/>
                </a:cubicBezTo>
                <a:cubicBezTo>
                  <a:pt x="811" y="594"/>
                  <a:pt x="802" y="617"/>
                  <a:pt x="800" y="617"/>
                </a:cubicBezTo>
                <a:close/>
                <a:moveTo>
                  <a:pt x="849" y="483"/>
                </a:moveTo>
                <a:cubicBezTo>
                  <a:pt x="848" y="483"/>
                  <a:pt x="848" y="483"/>
                  <a:pt x="848" y="482"/>
                </a:cubicBezTo>
                <a:lnTo>
                  <a:pt x="849" y="479"/>
                </a:lnTo>
                <a:cubicBezTo>
                  <a:pt x="850" y="476"/>
                  <a:pt x="851" y="474"/>
                  <a:pt x="853" y="474"/>
                </a:cubicBezTo>
                <a:cubicBezTo>
                  <a:pt x="853" y="474"/>
                  <a:pt x="854" y="475"/>
                  <a:pt x="854" y="475"/>
                </a:cubicBezTo>
                <a:cubicBezTo>
                  <a:pt x="854" y="475"/>
                  <a:pt x="853" y="476"/>
                  <a:pt x="853" y="477"/>
                </a:cubicBezTo>
                <a:lnTo>
                  <a:pt x="851" y="481"/>
                </a:lnTo>
                <a:lnTo>
                  <a:pt x="851" y="482"/>
                </a:lnTo>
                <a:cubicBezTo>
                  <a:pt x="851" y="483"/>
                  <a:pt x="850" y="483"/>
                  <a:pt x="849" y="483"/>
                </a:cubicBezTo>
                <a:close/>
                <a:moveTo>
                  <a:pt x="796" y="629"/>
                </a:moveTo>
                <a:lnTo>
                  <a:pt x="797" y="625"/>
                </a:lnTo>
                <a:cubicBezTo>
                  <a:pt x="798" y="621"/>
                  <a:pt x="799" y="619"/>
                  <a:pt x="800" y="619"/>
                </a:cubicBezTo>
                <a:cubicBezTo>
                  <a:pt x="800" y="619"/>
                  <a:pt x="800" y="620"/>
                  <a:pt x="800" y="622"/>
                </a:cubicBezTo>
                <a:cubicBezTo>
                  <a:pt x="800" y="625"/>
                  <a:pt x="800" y="625"/>
                  <a:pt x="800" y="625"/>
                </a:cubicBezTo>
                <a:lnTo>
                  <a:pt x="799" y="625"/>
                </a:lnTo>
                <a:cubicBezTo>
                  <a:pt x="799" y="625"/>
                  <a:pt x="798" y="626"/>
                  <a:pt x="797" y="627"/>
                </a:cubicBezTo>
                <a:lnTo>
                  <a:pt x="796" y="629"/>
                </a:lnTo>
                <a:close/>
                <a:moveTo>
                  <a:pt x="853" y="472"/>
                </a:moveTo>
                <a:cubicBezTo>
                  <a:pt x="852" y="472"/>
                  <a:pt x="852" y="472"/>
                  <a:pt x="852" y="471"/>
                </a:cubicBezTo>
                <a:lnTo>
                  <a:pt x="853" y="467"/>
                </a:lnTo>
                <a:cubicBezTo>
                  <a:pt x="855" y="460"/>
                  <a:pt x="856" y="457"/>
                  <a:pt x="858" y="457"/>
                </a:cubicBezTo>
                <a:cubicBezTo>
                  <a:pt x="859" y="457"/>
                  <a:pt x="859" y="458"/>
                  <a:pt x="859" y="459"/>
                </a:cubicBezTo>
                <a:cubicBezTo>
                  <a:pt x="859" y="459"/>
                  <a:pt x="859" y="460"/>
                  <a:pt x="858" y="460"/>
                </a:cubicBezTo>
                <a:cubicBezTo>
                  <a:pt x="858" y="461"/>
                  <a:pt x="858" y="461"/>
                  <a:pt x="858" y="462"/>
                </a:cubicBezTo>
                <a:lnTo>
                  <a:pt x="859" y="465"/>
                </a:lnTo>
                <a:lnTo>
                  <a:pt x="856" y="464"/>
                </a:lnTo>
                <a:cubicBezTo>
                  <a:pt x="856" y="464"/>
                  <a:pt x="855" y="464"/>
                  <a:pt x="855" y="464"/>
                </a:cubicBezTo>
                <a:lnTo>
                  <a:pt x="856" y="467"/>
                </a:lnTo>
                <a:cubicBezTo>
                  <a:pt x="856" y="468"/>
                  <a:pt x="855" y="469"/>
                  <a:pt x="855" y="470"/>
                </a:cubicBezTo>
                <a:cubicBezTo>
                  <a:pt x="854" y="472"/>
                  <a:pt x="853" y="472"/>
                  <a:pt x="853" y="472"/>
                </a:cubicBezTo>
                <a:close/>
                <a:moveTo>
                  <a:pt x="759" y="689"/>
                </a:moveTo>
                <a:cubicBezTo>
                  <a:pt x="758" y="689"/>
                  <a:pt x="757" y="688"/>
                  <a:pt x="757" y="688"/>
                </a:cubicBezTo>
                <a:cubicBezTo>
                  <a:pt x="757" y="687"/>
                  <a:pt x="757" y="687"/>
                  <a:pt x="758" y="686"/>
                </a:cubicBezTo>
                <a:cubicBezTo>
                  <a:pt x="759" y="685"/>
                  <a:pt x="761" y="685"/>
                  <a:pt x="762" y="685"/>
                </a:cubicBezTo>
                <a:cubicBezTo>
                  <a:pt x="762" y="685"/>
                  <a:pt x="762" y="685"/>
                  <a:pt x="762" y="686"/>
                </a:cubicBezTo>
                <a:cubicBezTo>
                  <a:pt x="762" y="686"/>
                  <a:pt x="762" y="687"/>
                  <a:pt x="761" y="688"/>
                </a:cubicBezTo>
                <a:cubicBezTo>
                  <a:pt x="760" y="689"/>
                  <a:pt x="759" y="689"/>
                  <a:pt x="759" y="689"/>
                </a:cubicBezTo>
                <a:close/>
                <a:moveTo>
                  <a:pt x="831" y="439"/>
                </a:moveTo>
                <a:lnTo>
                  <a:pt x="830" y="439"/>
                </a:lnTo>
                <a:lnTo>
                  <a:pt x="831" y="437"/>
                </a:lnTo>
                <a:cubicBezTo>
                  <a:pt x="831" y="436"/>
                  <a:pt x="832" y="435"/>
                  <a:pt x="832" y="435"/>
                </a:cubicBezTo>
                <a:cubicBezTo>
                  <a:pt x="833" y="435"/>
                  <a:pt x="833" y="435"/>
                  <a:pt x="833" y="436"/>
                </a:cubicBezTo>
                <a:cubicBezTo>
                  <a:pt x="833" y="437"/>
                  <a:pt x="832" y="437"/>
                  <a:pt x="831" y="438"/>
                </a:cubicBezTo>
                <a:lnTo>
                  <a:pt x="831" y="439"/>
                </a:lnTo>
                <a:close/>
                <a:moveTo>
                  <a:pt x="825" y="452"/>
                </a:moveTo>
                <a:lnTo>
                  <a:pt x="825" y="451"/>
                </a:lnTo>
                <a:cubicBezTo>
                  <a:pt x="825" y="451"/>
                  <a:pt x="826" y="449"/>
                  <a:pt x="827" y="447"/>
                </a:cubicBezTo>
                <a:cubicBezTo>
                  <a:pt x="828" y="443"/>
                  <a:pt x="829" y="441"/>
                  <a:pt x="829" y="441"/>
                </a:cubicBezTo>
                <a:lnTo>
                  <a:pt x="829" y="442"/>
                </a:lnTo>
                <a:cubicBezTo>
                  <a:pt x="829" y="443"/>
                  <a:pt x="829" y="444"/>
                  <a:pt x="828" y="447"/>
                </a:cubicBezTo>
                <a:cubicBezTo>
                  <a:pt x="827" y="451"/>
                  <a:pt x="826" y="452"/>
                  <a:pt x="825" y="452"/>
                </a:cubicBezTo>
                <a:close/>
                <a:moveTo>
                  <a:pt x="813" y="483"/>
                </a:moveTo>
                <a:cubicBezTo>
                  <a:pt x="813" y="483"/>
                  <a:pt x="815" y="478"/>
                  <a:pt x="818" y="469"/>
                </a:cubicBezTo>
                <a:cubicBezTo>
                  <a:pt x="822" y="460"/>
                  <a:pt x="824" y="456"/>
                  <a:pt x="825" y="456"/>
                </a:cubicBezTo>
                <a:cubicBezTo>
                  <a:pt x="825" y="457"/>
                  <a:pt x="823" y="462"/>
                  <a:pt x="819" y="470"/>
                </a:cubicBezTo>
                <a:cubicBezTo>
                  <a:pt x="816" y="479"/>
                  <a:pt x="814" y="483"/>
                  <a:pt x="813" y="483"/>
                </a:cubicBezTo>
                <a:close/>
                <a:moveTo>
                  <a:pt x="622" y="1078"/>
                </a:moveTo>
                <a:cubicBezTo>
                  <a:pt x="622" y="1078"/>
                  <a:pt x="622" y="1076"/>
                  <a:pt x="621" y="1072"/>
                </a:cubicBezTo>
                <a:lnTo>
                  <a:pt x="621" y="1069"/>
                </a:lnTo>
                <a:cubicBezTo>
                  <a:pt x="621" y="1066"/>
                  <a:pt x="621" y="1065"/>
                  <a:pt x="622" y="1065"/>
                </a:cubicBezTo>
                <a:cubicBezTo>
                  <a:pt x="622" y="1065"/>
                  <a:pt x="623" y="1066"/>
                  <a:pt x="623" y="1068"/>
                </a:cubicBezTo>
                <a:cubicBezTo>
                  <a:pt x="623" y="1074"/>
                  <a:pt x="622" y="1078"/>
                  <a:pt x="622" y="1078"/>
                </a:cubicBezTo>
                <a:close/>
                <a:moveTo>
                  <a:pt x="637" y="1100"/>
                </a:moveTo>
                <a:cubicBezTo>
                  <a:pt x="635" y="1100"/>
                  <a:pt x="634" y="1099"/>
                  <a:pt x="634" y="1098"/>
                </a:cubicBezTo>
                <a:cubicBezTo>
                  <a:pt x="634" y="1097"/>
                  <a:pt x="633" y="1095"/>
                  <a:pt x="631" y="1093"/>
                </a:cubicBezTo>
                <a:cubicBezTo>
                  <a:pt x="630" y="1092"/>
                  <a:pt x="629" y="1091"/>
                  <a:pt x="629" y="1089"/>
                </a:cubicBezTo>
                <a:lnTo>
                  <a:pt x="629" y="1088"/>
                </a:lnTo>
                <a:cubicBezTo>
                  <a:pt x="628" y="1088"/>
                  <a:pt x="627" y="1088"/>
                  <a:pt x="627" y="1090"/>
                </a:cubicBezTo>
                <a:cubicBezTo>
                  <a:pt x="627" y="1090"/>
                  <a:pt x="628" y="1092"/>
                  <a:pt x="628" y="1093"/>
                </a:cubicBezTo>
                <a:cubicBezTo>
                  <a:pt x="629" y="1095"/>
                  <a:pt x="630" y="1096"/>
                  <a:pt x="630" y="1096"/>
                </a:cubicBezTo>
                <a:cubicBezTo>
                  <a:pt x="630" y="1096"/>
                  <a:pt x="628" y="1095"/>
                  <a:pt x="627" y="1093"/>
                </a:cubicBezTo>
                <a:cubicBezTo>
                  <a:pt x="626" y="1092"/>
                  <a:pt x="625" y="1090"/>
                  <a:pt x="624" y="1089"/>
                </a:cubicBezTo>
                <a:lnTo>
                  <a:pt x="623" y="1086"/>
                </a:lnTo>
                <a:cubicBezTo>
                  <a:pt x="623" y="1086"/>
                  <a:pt x="623" y="1086"/>
                  <a:pt x="623" y="1087"/>
                </a:cubicBezTo>
                <a:cubicBezTo>
                  <a:pt x="624" y="1088"/>
                  <a:pt x="624" y="1088"/>
                  <a:pt x="625" y="1088"/>
                </a:cubicBezTo>
                <a:cubicBezTo>
                  <a:pt x="625" y="1088"/>
                  <a:pt x="625" y="1084"/>
                  <a:pt x="625" y="1076"/>
                </a:cubicBezTo>
                <a:cubicBezTo>
                  <a:pt x="625" y="1066"/>
                  <a:pt x="624" y="1060"/>
                  <a:pt x="623" y="1059"/>
                </a:cubicBezTo>
                <a:cubicBezTo>
                  <a:pt x="622" y="1058"/>
                  <a:pt x="621" y="1057"/>
                  <a:pt x="621" y="1056"/>
                </a:cubicBezTo>
                <a:lnTo>
                  <a:pt x="625" y="1058"/>
                </a:lnTo>
                <a:cubicBezTo>
                  <a:pt x="626" y="1058"/>
                  <a:pt x="626" y="1057"/>
                  <a:pt x="626" y="1056"/>
                </a:cubicBezTo>
                <a:cubicBezTo>
                  <a:pt x="626" y="1056"/>
                  <a:pt x="625" y="1055"/>
                  <a:pt x="624" y="1054"/>
                </a:cubicBezTo>
                <a:cubicBezTo>
                  <a:pt x="623" y="1054"/>
                  <a:pt x="623" y="1052"/>
                  <a:pt x="623" y="1049"/>
                </a:cubicBezTo>
                <a:cubicBezTo>
                  <a:pt x="623" y="1043"/>
                  <a:pt x="624" y="1033"/>
                  <a:pt x="627" y="1019"/>
                </a:cubicBezTo>
                <a:cubicBezTo>
                  <a:pt x="630" y="1004"/>
                  <a:pt x="634" y="989"/>
                  <a:pt x="638" y="974"/>
                </a:cubicBezTo>
                <a:cubicBezTo>
                  <a:pt x="640" y="969"/>
                  <a:pt x="642" y="962"/>
                  <a:pt x="644" y="953"/>
                </a:cubicBezTo>
                <a:cubicBezTo>
                  <a:pt x="645" y="947"/>
                  <a:pt x="648" y="939"/>
                  <a:pt x="651" y="931"/>
                </a:cubicBezTo>
                <a:lnTo>
                  <a:pt x="654" y="921"/>
                </a:lnTo>
                <a:cubicBezTo>
                  <a:pt x="654" y="921"/>
                  <a:pt x="654" y="921"/>
                  <a:pt x="654" y="921"/>
                </a:cubicBezTo>
                <a:cubicBezTo>
                  <a:pt x="654" y="920"/>
                  <a:pt x="654" y="919"/>
                  <a:pt x="655" y="918"/>
                </a:cubicBezTo>
                <a:cubicBezTo>
                  <a:pt x="656" y="916"/>
                  <a:pt x="657" y="914"/>
                  <a:pt x="658" y="911"/>
                </a:cubicBezTo>
                <a:cubicBezTo>
                  <a:pt x="662" y="902"/>
                  <a:pt x="663" y="897"/>
                  <a:pt x="663" y="896"/>
                </a:cubicBezTo>
                <a:cubicBezTo>
                  <a:pt x="663" y="894"/>
                  <a:pt x="666" y="882"/>
                  <a:pt x="673" y="861"/>
                </a:cubicBezTo>
                <a:cubicBezTo>
                  <a:pt x="680" y="840"/>
                  <a:pt x="684" y="829"/>
                  <a:pt x="685" y="828"/>
                </a:cubicBezTo>
                <a:cubicBezTo>
                  <a:pt x="685" y="828"/>
                  <a:pt x="685" y="827"/>
                  <a:pt x="685" y="827"/>
                </a:cubicBezTo>
                <a:lnTo>
                  <a:pt x="685" y="825"/>
                </a:lnTo>
                <a:cubicBezTo>
                  <a:pt x="685" y="824"/>
                  <a:pt x="685" y="823"/>
                  <a:pt x="687" y="821"/>
                </a:cubicBezTo>
                <a:cubicBezTo>
                  <a:pt x="688" y="819"/>
                  <a:pt x="689" y="816"/>
                  <a:pt x="690" y="813"/>
                </a:cubicBezTo>
                <a:cubicBezTo>
                  <a:pt x="692" y="809"/>
                  <a:pt x="693" y="806"/>
                  <a:pt x="693" y="804"/>
                </a:cubicBezTo>
                <a:lnTo>
                  <a:pt x="692" y="802"/>
                </a:lnTo>
                <a:lnTo>
                  <a:pt x="692" y="802"/>
                </a:lnTo>
                <a:lnTo>
                  <a:pt x="693" y="803"/>
                </a:lnTo>
                <a:lnTo>
                  <a:pt x="694" y="803"/>
                </a:lnTo>
                <a:cubicBezTo>
                  <a:pt x="694" y="803"/>
                  <a:pt x="695" y="802"/>
                  <a:pt x="695" y="800"/>
                </a:cubicBezTo>
                <a:lnTo>
                  <a:pt x="694" y="796"/>
                </a:lnTo>
                <a:cubicBezTo>
                  <a:pt x="694" y="795"/>
                  <a:pt x="695" y="795"/>
                  <a:pt x="697" y="795"/>
                </a:cubicBezTo>
                <a:cubicBezTo>
                  <a:pt x="699" y="795"/>
                  <a:pt x="699" y="794"/>
                  <a:pt x="699" y="791"/>
                </a:cubicBezTo>
                <a:cubicBezTo>
                  <a:pt x="699" y="788"/>
                  <a:pt x="700" y="786"/>
                  <a:pt x="701" y="784"/>
                </a:cubicBezTo>
                <a:cubicBezTo>
                  <a:pt x="704" y="777"/>
                  <a:pt x="707" y="772"/>
                  <a:pt x="708" y="767"/>
                </a:cubicBezTo>
                <a:cubicBezTo>
                  <a:pt x="709" y="763"/>
                  <a:pt x="711" y="759"/>
                  <a:pt x="712" y="757"/>
                </a:cubicBezTo>
                <a:lnTo>
                  <a:pt x="715" y="752"/>
                </a:lnTo>
                <a:cubicBezTo>
                  <a:pt x="715" y="752"/>
                  <a:pt x="714" y="751"/>
                  <a:pt x="713" y="750"/>
                </a:cubicBezTo>
                <a:cubicBezTo>
                  <a:pt x="712" y="749"/>
                  <a:pt x="712" y="749"/>
                  <a:pt x="712" y="748"/>
                </a:cubicBezTo>
                <a:cubicBezTo>
                  <a:pt x="712" y="748"/>
                  <a:pt x="712" y="748"/>
                  <a:pt x="713" y="748"/>
                </a:cubicBezTo>
                <a:cubicBezTo>
                  <a:pt x="716" y="748"/>
                  <a:pt x="717" y="747"/>
                  <a:pt x="717" y="746"/>
                </a:cubicBezTo>
                <a:lnTo>
                  <a:pt x="717" y="744"/>
                </a:lnTo>
                <a:cubicBezTo>
                  <a:pt x="717" y="742"/>
                  <a:pt x="717" y="742"/>
                  <a:pt x="718" y="742"/>
                </a:cubicBezTo>
                <a:cubicBezTo>
                  <a:pt x="719" y="742"/>
                  <a:pt x="719" y="741"/>
                  <a:pt x="719" y="741"/>
                </a:cubicBezTo>
                <a:lnTo>
                  <a:pt x="719" y="739"/>
                </a:lnTo>
                <a:cubicBezTo>
                  <a:pt x="719" y="738"/>
                  <a:pt x="719" y="737"/>
                  <a:pt x="720" y="737"/>
                </a:cubicBezTo>
                <a:cubicBezTo>
                  <a:pt x="720" y="737"/>
                  <a:pt x="721" y="736"/>
                  <a:pt x="721" y="736"/>
                </a:cubicBezTo>
                <a:cubicBezTo>
                  <a:pt x="721" y="735"/>
                  <a:pt x="721" y="735"/>
                  <a:pt x="721" y="733"/>
                </a:cubicBezTo>
                <a:lnTo>
                  <a:pt x="721" y="732"/>
                </a:lnTo>
                <a:cubicBezTo>
                  <a:pt x="721" y="731"/>
                  <a:pt x="721" y="730"/>
                  <a:pt x="722" y="730"/>
                </a:cubicBezTo>
                <a:cubicBezTo>
                  <a:pt x="723" y="730"/>
                  <a:pt x="723" y="730"/>
                  <a:pt x="723" y="730"/>
                </a:cubicBezTo>
                <a:lnTo>
                  <a:pt x="723" y="729"/>
                </a:lnTo>
                <a:cubicBezTo>
                  <a:pt x="723" y="728"/>
                  <a:pt x="723" y="726"/>
                  <a:pt x="725" y="725"/>
                </a:cubicBezTo>
                <a:cubicBezTo>
                  <a:pt x="726" y="723"/>
                  <a:pt x="727" y="722"/>
                  <a:pt x="727" y="720"/>
                </a:cubicBezTo>
                <a:cubicBezTo>
                  <a:pt x="727" y="719"/>
                  <a:pt x="727" y="719"/>
                  <a:pt x="726" y="718"/>
                </a:cubicBezTo>
                <a:cubicBezTo>
                  <a:pt x="726" y="718"/>
                  <a:pt x="726" y="717"/>
                  <a:pt x="725" y="717"/>
                </a:cubicBezTo>
                <a:lnTo>
                  <a:pt x="725" y="716"/>
                </a:lnTo>
                <a:lnTo>
                  <a:pt x="727" y="716"/>
                </a:lnTo>
                <a:cubicBezTo>
                  <a:pt x="727" y="716"/>
                  <a:pt x="728" y="716"/>
                  <a:pt x="729" y="715"/>
                </a:cubicBezTo>
                <a:cubicBezTo>
                  <a:pt x="730" y="714"/>
                  <a:pt x="733" y="707"/>
                  <a:pt x="737" y="693"/>
                </a:cubicBezTo>
                <a:cubicBezTo>
                  <a:pt x="742" y="680"/>
                  <a:pt x="745" y="673"/>
                  <a:pt x="745" y="671"/>
                </a:cubicBezTo>
                <a:lnTo>
                  <a:pt x="745" y="671"/>
                </a:lnTo>
                <a:cubicBezTo>
                  <a:pt x="745" y="670"/>
                  <a:pt x="745" y="670"/>
                  <a:pt x="746" y="670"/>
                </a:cubicBezTo>
                <a:cubicBezTo>
                  <a:pt x="747" y="670"/>
                  <a:pt x="747" y="669"/>
                  <a:pt x="747" y="667"/>
                </a:cubicBezTo>
                <a:cubicBezTo>
                  <a:pt x="747" y="665"/>
                  <a:pt x="748" y="661"/>
                  <a:pt x="751" y="656"/>
                </a:cubicBezTo>
                <a:cubicBezTo>
                  <a:pt x="753" y="650"/>
                  <a:pt x="754" y="646"/>
                  <a:pt x="754" y="643"/>
                </a:cubicBezTo>
                <a:cubicBezTo>
                  <a:pt x="754" y="642"/>
                  <a:pt x="754" y="641"/>
                  <a:pt x="753" y="641"/>
                </a:cubicBezTo>
                <a:lnTo>
                  <a:pt x="753" y="639"/>
                </a:lnTo>
                <a:lnTo>
                  <a:pt x="753" y="639"/>
                </a:lnTo>
                <a:lnTo>
                  <a:pt x="754" y="640"/>
                </a:lnTo>
                <a:cubicBezTo>
                  <a:pt x="754" y="641"/>
                  <a:pt x="754" y="641"/>
                  <a:pt x="755" y="641"/>
                </a:cubicBezTo>
                <a:cubicBezTo>
                  <a:pt x="756" y="641"/>
                  <a:pt x="757" y="639"/>
                  <a:pt x="758" y="636"/>
                </a:cubicBezTo>
                <a:lnTo>
                  <a:pt x="759" y="631"/>
                </a:lnTo>
                <a:cubicBezTo>
                  <a:pt x="759" y="631"/>
                  <a:pt x="758" y="632"/>
                  <a:pt x="757" y="633"/>
                </a:cubicBezTo>
                <a:cubicBezTo>
                  <a:pt x="757" y="634"/>
                  <a:pt x="756" y="635"/>
                  <a:pt x="756" y="635"/>
                </a:cubicBezTo>
                <a:cubicBezTo>
                  <a:pt x="756" y="635"/>
                  <a:pt x="755" y="635"/>
                  <a:pt x="755" y="634"/>
                </a:cubicBezTo>
                <a:cubicBezTo>
                  <a:pt x="755" y="634"/>
                  <a:pt x="756" y="631"/>
                  <a:pt x="757" y="628"/>
                </a:cubicBezTo>
                <a:cubicBezTo>
                  <a:pt x="759" y="625"/>
                  <a:pt x="760" y="623"/>
                  <a:pt x="761" y="623"/>
                </a:cubicBezTo>
                <a:lnTo>
                  <a:pt x="762" y="623"/>
                </a:lnTo>
                <a:lnTo>
                  <a:pt x="762" y="622"/>
                </a:lnTo>
                <a:cubicBezTo>
                  <a:pt x="762" y="616"/>
                  <a:pt x="763" y="611"/>
                  <a:pt x="766" y="605"/>
                </a:cubicBezTo>
                <a:cubicBezTo>
                  <a:pt x="767" y="603"/>
                  <a:pt x="768" y="602"/>
                  <a:pt x="769" y="602"/>
                </a:cubicBezTo>
                <a:lnTo>
                  <a:pt x="770" y="602"/>
                </a:lnTo>
                <a:cubicBezTo>
                  <a:pt x="770" y="602"/>
                  <a:pt x="770" y="601"/>
                  <a:pt x="770" y="601"/>
                </a:cubicBezTo>
                <a:cubicBezTo>
                  <a:pt x="770" y="601"/>
                  <a:pt x="770" y="600"/>
                  <a:pt x="770" y="600"/>
                </a:cubicBezTo>
                <a:cubicBezTo>
                  <a:pt x="769" y="600"/>
                  <a:pt x="769" y="599"/>
                  <a:pt x="769" y="597"/>
                </a:cubicBezTo>
                <a:lnTo>
                  <a:pt x="772" y="598"/>
                </a:lnTo>
                <a:cubicBezTo>
                  <a:pt x="772" y="598"/>
                  <a:pt x="772" y="597"/>
                  <a:pt x="772" y="597"/>
                </a:cubicBezTo>
                <a:cubicBezTo>
                  <a:pt x="771" y="596"/>
                  <a:pt x="771" y="595"/>
                  <a:pt x="771" y="595"/>
                </a:cubicBezTo>
                <a:cubicBezTo>
                  <a:pt x="771" y="593"/>
                  <a:pt x="771" y="591"/>
                  <a:pt x="772" y="589"/>
                </a:cubicBezTo>
                <a:cubicBezTo>
                  <a:pt x="773" y="588"/>
                  <a:pt x="774" y="587"/>
                  <a:pt x="774" y="587"/>
                </a:cubicBezTo>
                <a:lnTo>
                  <a:pt x="776" y="588"/>
                </a:lnTo>
                <a:cubicBezTo>
                  <a:pt x="776" y="587"/>
                  <a:pt x="776" y="587"/>
                  <a:pt x="775" y="586"/>
                </a:cubicBezTo>
                <a:cubicBezTo>
                  <a:pt x="775" y="585"/>
                  <a:pt x="774" y="584"/>
                  <a:pt x="774" y="583"/>
                </a:cubicBezTo>
                <a:cubicBezTo>
                  <a:pt x="774" y="581"/>
                  <a:pt x="775" y="579"/>
                  <a:pt x="776" y="579"/>
                </a:cubicBezTo>
                <a:lnTo>
                  <a:pt x="778" y="580"/>
                </a:lnTo>
                <a:lnTo>
                  <a:pt x="778" y="578"/>
                </a:lnTo>
                <a:cubicBezTo>
                  <a:pt x="778" y="577"/>
                  <a:pt x="778" y="574"/>
                  <a:pt x="780" y="569"/>
                </a:cubicBezTo>
                <a:cubicBezTo>
                  <a:pt x="782" y="561"/>
                  <a:pt x="786" y="551"/>
                  <a:pt x="789" y="541"/>
                </a:cubicBezTo>
                <a:lnTo>
                  <a:pt x="792" y="535"/>
                </a:lnTo>
                <a:lnTo>
                  <a:pt x="792" y="536"/>
                </a:lnTo>
                <a:cubicBezTo>
                  <a:pt x="792" y="537"/>
                  <a:pt x="792" y="538"/>
                  <a:pt x="792" y="539"/>
                </a:cubicBezTo>
                <a:cubicBezTo>
                  <a:pt x="791" y="540"/>
                  <a:pt x="791" y="541"/>
                  <a:pt x="791" y="542"/>
                </a:cubicBezTo>
                <a:lnTo>
                  <a:pt x="791" y="544"/>
                </a:lnTo>
                <a:cubicBezTo>
                  <a:pt x="791" y="544"/>
                  <a:pt x="792" y="543"/>
                  <a:pt x="793" y="540"/>
                </a:cubicBezTo>
                <a:cubicBezTo>
                  <a:pt x="796" y="533"/>
                  <a:pt x="797" y="528"/>
                  <a:pt x="797" y="524"/>
                </a:cubicBezTo>
                <a:lnTo>
                  <a:pt x="797" y="523"/>
                </a:lnTo>
                <a:cubicBezTo>
                  <a:pt x="797" y="522"/>
                  <a:pt x="798" y="522"/>
                  <a:pt x="799" y="522"/>
                </a:cubicBezTo>
                <a:cubicBezTo>
                  <a:pt x="800" y="522"/>
                  <a:pt x="802" y="518"/>
                  <a:pt x="805" y="510"/>
                </a:cubicBezTo>
                <a:cubicBezTo>
                  <a:pt x="808" y="502"/>
                  <a:pt x="811" y="498"/>
                  <a:pt x="812" y="498"/>
                </a:cubicBezTo>
                <a:cubicBezTo>
                  <a:pt x="813" y="498"/>
                  <a:pt x="813" y="497"/>
                  <a:pt x="813" y="497"/>
                </a:cubicBezTo>
                <a:lnTo>
                  <a:pt x="812" y="493"/>
                </a:lnTo>
                <a:lnTo>
                  <a:pt x="813" y="493"/>
                </a:lnTo>
                <a:lnTo>
                  <a:pt x="814" y="493"/>
                </a:lnTo>
                <a:cubicBezTo>
                  <a:pt x="814" y="493"/>
                  <a:pt x="815" y="493"/>
                  <a:pt x="815" y="492"/>
                </a:cubicBezTo>
                <a:cubicBezTo>
                  <a:pt x="816" y="490"/>
                  <a:pt x="817" y="487"/>
                  <a:pt x="818" y="485"/>
                </a:cubicBezTo>
                <a:cubicBezTo>
                  <a:pt x="818" y="483"/>
                  <a:pt x="819" y="482"/>
                  <a:pt x="819" y="481"/>
                </a:cubicBezTo>
                <a:cubicBezTo>
                  <a:pt x="820" y="481"/>
                  <a:pt x="821" y="478"/>
                  <a:pt x="823" y="474"/>
                </a:cubicBezTo>
                <a:cubicBezTo>
                  <a:pt x="828" y="463"/>
                  <a:pt x="831" y="456"/>
                  <a:pt x="831" y="455"/>
                </a:cubicBezTo>
                <a:lnTo>
                  <a:pt x="831" y="453"/>
                </a:lnTo>
                <a:cubicBezTo>
                  <a:pt x="831" y="453"/>
                  <a:pt x="831" y="453"/>
                  <a:pt x="832" y="451"/>
                </a:cubicBezTo>
                <a:cubicBezTo>
                  <a:pt x="833" y="451"/>
                  <a:pt x="833" y="450"/>
                  <a:pt x="833" y="449"/>
                </a:cubicBezTo>
                <a:cubicBezTo>
                  <a:pt x="834" y="448"/>
                  <a:pt x="834" y="447"/>
                  <a:pt x="834" y="446"/>
                </a:cubicBezTo>
                <a:cubicBezTo>
                  <a:pt x="834" y="444"/>
                  <a:pt x="835" y="443"/>
                  <a:pt x="836" y="443"/>
                </a:cubicBezTo>
                <a:cubicBezTo>
                  <a:pt x="838" y="443"/>
                  <a:pt x="838" y="443"/>
                  <a:pt x="838" y="442"/>
                </a:cubicBezTo>
                <a:lnTo>
                  <a:pt x="838" y="442"/>
                </a:lnTo>
                <a:cubicBezTo>
                  <a:pt x="838" y="441"/>
                  <a:pt x="838" y="441"/>
                  <a:pt x="837" y="441"/>
                </a:cubicBezTo>
                <a:lnTo>
                  <a:pt x="835" y="441"/>
                </a:lnTo>
                <a:cubicBezTo>
                  <a:pt x="835" y="440"/>
                  <a:pt x="836" y="438"/>
                  <a:pt x="838" y="436"/>
                </a:cubicBezTo>
                <a:cubicBezTo>
                  <a:pt x="839" y="435"/>
                  <a:pt x="840" y="434"/>
                  <a:pt x="841" y="433"/>
                </a:cubicBezTo>
                <a:lnTo>
                  <a:pt x="844" y="432"/>
                </a:lnTo>
                <a:cubicBezTo>
                  <a:pt x="844" y="433"/>
                  <a:pt x="844" y="433"/>
                  <a:pt x="843" y="434"/>
                </a:cubicBezTo>
                <a:cubicBezTo>
                  <a:pt x="843" y="435"/>
                  <a:pt x="842" y="436"/>
                  <a:pt x="842" y="436"/>
                </a:cubicBezTo>
                <a:cubicBezTo>
                  <a:pt x="842" y="436"/>
                  <a:pt x="843" y="436"/>
                  <a:pt x="843" y="436"/>
                </a:cubicBezTo>
                <a:cubicBezTo>
                  <a:pt x="843" y="438"/>
                  <a:pt x="842" y="441"/>
                  <a:pt x="840" y="447"/>
                </a:cubicBezTo>
                <a:cubicBezTo>
                  <a:pt x="838" y="452"/>
                  <a:pt x="837" y="456"/>
                  <a:pt x="837" y="457"/>
                </a:cubicBezTo>
                <a:lnTo>
                  <a:pt x="837" y="459"/>
                </a:lnTo>
                <a:cubicBezTo>
                  <a:pt x="837" y="459"/>
                  <a:pt x="836" y="460"/>
                  <a:pt x="836" y="460"/>
                </a:cubicBezTo>
                <a:cubicBezTo>
                  <a:pt x="835" y="460"/>
                  <a:pt x="834" y="460"/>
                  <a:pt x="834" y="462"/>
                </a:cubicBezTo>
                <a:cubicBezTo>
                  <a:pt x="834" y="464"/>
                  <a:pt x="834" y="465"/>
                  <a:pt x="833" y="465"/>
                </a:cubicBezTo>
                <a:cubicBezTo>
                  <a:pt x="832" y="465"/>
                  <a:pt x="832" y="467"/>
                  <a:pt x="832" y="469"/>
                </a:cubicBezTo>
                <a:lnTo>
                  <a:pt x="832" y="475"/>
                </a:lnTo>
                <a:cubicBezTo>
                  <a:pt x="832" y="477"/>
                  <a:pt x="832" y="477"/>
                  <a:pt x="831" y="477"/>
                </a:cubicBezTo>
                <a:lnTo>
                  <a:pt x="831" y="477"/>
                </a:lnTo>
                <a:cubicBezTo>
                  <a:pt x="830" y="477"/>
                  <a:pt x="829" y="478"/>
                  <a:pt x="828" y="481"/>
                </a:cubicBezTo>
                <a:lnTo>
                  <a:pt x="828" y="484"/>
                </a:lnTo>
                <a:lnTo>
                  <a:pt x="829" y="483"/>
                </a:lnTo>
                <a:lnTo>
                  <a:pt x="829" y="484"/>
                </a:lnTo>
                <a:lnTo>
                  <a:pt x="829" y="485"/>
                </a:lnTo>
                <a:cubicBezTo>
                  <a:pt x="829" y="486"/>
                  <a:pt x="828" y="486"/>
                  <a:pt x="825" y="486"/>
                </a:cubicBezTo>
                <a:lnTo>
                  <a:pt x="824" y="486"/>
                </a:lnTo>
                <a:cubicBezTo>
                  <a:pt x="824" y="486"/>
                  <a:pt x="824" y="487"/>
                  <a:pt x="825" y="488"/>
                </a:cubicBezTo>
                <a:cubicBezTo>
                  <a:pt x="826" y="489"/>
                  <a:pt x="827" y="491"/>
                  <a:pt x="827" y="492"/>
                </a:cubicBezTo>
                <a:cubicBezTo>
                  <a:pt x="827" y="495"/>
                  <a:pt x="826" y="495"/>
                  <a:pt x="825" y="495"/>
                </a:cubicBezTo>
                <a:lnTo>
                  <a:pt x="823" y="495"/>
                </a:lnTo>
                <a:cubicBezTo>
                  <a:pt x="823" y="495"/>
                  <a:pt x="823" y="496"/>
                  <a:pt x="823" y="497"/>
                </a:cubicBezTo>
                <a:cubicBezTo>
                  <a:pt x="823" y="499"/>
                  <a:pt x="821" y="504"/>
                  <a:pt x="819" y="511"/>
                </a:cubicBezTo>
                <a:cubicBezTo>
                  <a:pt x="816" y="519"/>
                  <a:pt x="814" y="522"/>
                  <a:pt x="813" y="522"/>
                </a:cubicBezTo>
                <a:lnTo>
                  <a:pt x="812" y="522"/>
                </a:lnTo>
                <a:cubicBezTo>
                  <a:pt x="812" y="523"/>
                  <a:pt x="812" y="523"/>
                  <a:pt x="813" y="524"/>
                </a:cubicBezTo>
                <a:cubicBezTo>
                  <a:pt x="813" y="524"/>
                  <a:pt x="813" y="525"/>
                  <a:pt x="813" y="526"/>
                </a:cubicBezTo>
                <a:cubicBezTo>
                  <a:pt x="813" y="529"/>
                  <a:pt x="813" y="530"/>
                  <a:pt x="811" y="530"/>
                </a:cubicBezTo>
                <a:lnTo>
                  <a:pt x="810" y="530"/>
                </a:lnTo>
                <a:lnTo>
                  <a:pt x="811" y="534"/>
                </a:lnTo>
                <a:cubicBezTo>
                  <a:pt x="811" y="534"/>
                  <a:pt x="811" y="534"/>
                  <a:pt x="811" y="534"/>
                </a:cubicBezTo>
                <a:lnTo>
                  <a:pt x="808" y="533"/>
                </a:lnTo>
                <a:lnTo>
                  <a:pt x="808" y="534"/>
                </a:lnTo>
                <a:lnTo>
                  <a:pt x="808" y="534"/>
                </a:lnTo>
                <a:cubicBezTo>
                  <a:pt x="809" y="535"/>
                  <a:pt x="809" y="536"/>
                  <a:pt x="809" y="536"/>
                </a:cubicBezTo>
                <a:cubicBezTo>
                  <a:pt x="809" y="538"/>
                  <a:pt x="809" y="539"/>
                  <a:pt x="808" y="541"/>
                </a:cubicBezTo>
                <a:cubicBezTo>
                  <a:pt x="807" y="544"/>
                  <a:pt x="806" y="544"/>
                  <a:pt x="805" y="544"/>
                </a:cubicBezTo>
                <a:lnTo>
                  <a:pt x="804" y="544"/>
                </a:lnTo>
                <a:lnTo>
                  <a:pt x="805" y="545"/>
                </a:lnTo>
                <a:cubicBezTo>
                  <a:pt x="805" y="546"/>
                  <a:pt x="806" y="546"/>
                  <a:pt x="806" y="547"/>
                </a:cubicBezTo>
                <a:cubicBezTo>
                  <a:pt x="806" y="549"/>
                  <a:pt x="805" y="550"/>
                  <a:pt x="803" y="552"/>
                </a:cubicBezTo>
                <a:lnTo>
                  <a:pt x="800" y="554"/>
                </a:lnTo>
                <a:lnTo>
                  <a:pt x="802" y="554"/>
                </a:lnTo>
                <a:cubicBezTo>
                  <a:pt x="803" y="554"/>
                  <a:pt x="803" y="554"/>
                  <a:pt x="803" y="555"/>
                </a:cubicBezTo>
                <a:cubicBezTo>
                  <a:pt x="803" y="556"/>
                  <a:pt x="803" y="557"/>
                  <a:pt x="802" y="559"/>
                </a:cubicBezTo>
                <a:cubicBezTo>
                  <a:pt x="801" y="560"/>
                  <a:pt x="800" y="561"/>
                  <a:pt x="798" y="562"/>
                </a:cubicBezTo>
                <a:cubicBezTo>
                  <a:pt x="797" y="563"/>
                  <a:pt x="796" y="564"/>
                  <a:pt x="796" y="565"/>
                </a:cubicBezTo>
                <a:cubicBezTo>
                  <a:pt x="796" y="566"/>
                  <a:pt x="797" y="566"/>
                  <a:pt x="797" y="567"/>
                </a:cubicBezTo>
                <a:cubicBezTo>
                  <a:pt x="797" y="569"/>
                  <a:pt x="796" y="570"/>
                  <a:pt x="796" y="571"/>
                </a:cubicBezTo>
                <a:cubicBezTo>
                  <a:pt x="795" y="571"/>
                  <a:pt x="794" y="573"/>
                  <a:pt x="794" y="574"/>
                </a:cubicBezTo>
                <a:lnTo>
                  <a:pt x="794" y="576"/>
                </a:lnTo>
                <a:lnTo>
                  <a:pt x="794" y="575"/>
                </a:lnTo>
                <a:cubicBezTo>
                  <a:pt x="793" y="575"/>
                  <a:pt x="792" y="576"/>
                  <a:pt x="792" y="576"/>
                </a:cubicBezTo>
                <a:lnTo>
                  <a:pt x="794" y="579"/>
                </a:lnTo>
                <a:lnTo>
                  <a:pt x="793" y="579"/>
                </a:lnTo>
                <a:cubicBezTo>
                  <a:pt x="792" y="579"/>
                  <a:pt x="791" y="580"/>
                  <a:pt x="790" y="581"/>
                </a:cubicBezTo>
                <a:cubicBezTo>
                  <a:pt x="790" y="583"/>
                  <a:pt x="791" y="583"/>
                  <a:pt x="791" y="583"/>
                </a:cubicBezTo>
                <a:lnTo>
                  <a:pt x="792" y="583"/>
                </a:lnTo>
                <a:cubicBezTo>
                  <a:pt x="792" y="583"/>
                  <a:pt x="792" y="584"/>
                  <a:pt x="791" y="585"/>
                </a:cubicBezTo>
                <a:cubicBezTo>
                  <a:pt x="789" y="586"/>
                  <a:pt x="789" y="587"/>
                  <a:pt x="789" y="588"/>
                </a:cubicBezTo>
                <a:cubicBezTo>
                  <a:pt x="789" y="588"/>
                  <a:pt x="789" y="588"/>
                  <a:pt x="789" y="588"/>
                </a:cubicBezTo>
                <a:cubicBezTo>
                  <a:pt x="789" y="589"/>
                  <a:pt x="789" y="590"/>
                  <a:pt x="788" y="591"/>
                </a:cubicBezTo>
                <a:cubicBezTo>
                  <a:pt x="787" y="592"/>
                  <a:pt x="786" y="593"/>
                  <a:pt x="786" y="595"/>
                </a:cubicBezTo>
                <a:lnTo>
                  <a:pt x="787" y="596"/>
                </a:lnTo>
                <a:cubicBezTo>
                  <a:pt x="787" y="597"/>
                  <a:pt x="787" y="597"/>
                  <a:pt x="786" y="597"/>
                </a:cubicBezTo>
                <a:cubicBezTo>
                  <a:pt x="785" y="597"/>
                  <a:pt x="784" y="597"/>
                  <a:pt x="784" y="598"/>
                </a:cubicBezTo>
                <a:lnTo>
                  <a:pt x="786" y="600"/>
                </a:lnTo>
                <a:cubicBezTo>
                  <a:pt x="786" y="600"/>
                  <a:pt x="785" y="601"/>
                  <a:pt x="785" y="601"/>
                </a:cubicBezTo>
                <a:cubicBezTo>
                  <a:pt x="784" y="601"/>
                  <a:pt x="784" y="601"/>
                  <a:pt x="784" y="601"/>
                </a:cubicBezTo>
                <a:lnTo>
                  <a:pt x="784" y="603"/>
                </a:lnTo>
                <a:cubicBezTo>
                  <a:pt x="784" y="604"/>
                  <a:pt x="784" y="604"/>
                  <a:pt x="783" y="604"/>
                </a:cubicBezTo>
                <a:cubicBezTo>
                  <a:pt x="782" y="604"/>
                  <a:pt x="782" y="605"/>
                  <a:pt x="782" y="605"/>
                </a:cubicBezTo>
                <a:lnTo>
                  <a:pt x="783" y="607"/>
                </a:lnTo>
                <a:cubicBezTo>
                  <a:pt x="783" y="607"/>
                  <a:pt x="783" y="608"/>
                  <a:pt x="782" y="608"/>
                </a:cubicBezTo>
                <a:cubicBezTo>
                  <a:pt x="781" y="608"/>
                  <a:pt x="781" y="608"/>
                  <a:pt x="781" y="609"/>
                </a:cubicBezTo>
                <a:lnTo>
                  <a:pt x="781" y="610"/>
                </a:lnTo>
                <a:cubicBezTo>
                  <a:pt x="781" y="611"/>
                  <a:pt x="781" y="612"/>
                  <a:pt x="779" y="612"/>
                </a:cubicBezTo>
                <a:cubicBezTo>
                  <a:pt x="778" y="612"/>
                  <a:pt x="778" y="613"/>
                  <a:pt x="778" y="614"/>
                </a:cubicBezTo>
                <a:cubicBezTo>
                  <a:pt x="778" y="615"/>
                  <a:pt x="778" y="615"/>
                  <a:pt x="780" y="617"/>
                </a:cubicBezTo>
                <a:cubicBezTo>
                  <a:pt x="781" y="618"/>
                  <a:pt x="782" y="619"/>
                  <a:pt x="782" y="619"/>
                </a:cubicBezTo>
                <a:lnTo>
                  <a:pt x="777" y="618"/>
                </a:lnTo>
                <a:cubicBezTo>
                  <a:pt x="777" y="618"/>
                  <a:pt x="776" y="618"/>
                  <a:pt x="776" y="618"/>
                </a:cubicBezTo>
                <a:lnTo>
                  <a:pt x="778" y="622"/>
                </a:lnTo>
                <a:cubicBezTo>
                  <a:pt x="777" y="622"/>
                  <a:pt x="777" y="622"/>
                  <a:pt x="776" y="621"/>
                </a:cubicBezTo>
                <a:cubicBezTo>
                  <a:pt x="774" y="620"/>
                  <a:pt x="773" y="619"/>
                  <a:pt x="773" y="619"/>
                </a:cubicBezTo>
                <a:cubicBezTo>
                  <a:pt x="773" y="620"/>
                  <a:pt x="773" y="620"/>
                  <a:pt x="774" y="620"/>
                </a:cubicBezTo>
                <a:cubicBezTo>
                  <a:pt x="774" y="621"/>
                  <a:pt x="774" y="622"/>
                  <a:pt x="774" y="622"/>
                </a:cubicBezTo>
                <a:cubicBezTo>
                  <a:pt x="774" y="625"/>
                  <a:pt x="773" y="627"/>
                  <a:pt x="772" y="630"/>
                </a:cubicBezTo>
                <a:lnTo>
                  <a:pt x="771" y="635"/>
                </a:lnTo>
                <a:lnTo>
                  <a:pt x="772" y="635"/>
                </a:lnTo>
                <a:cubicBezTo>
                  <a:pt x="773" y="633"/>
                  <a:pt x="774" y="632"/>
                  <a:pt x="774" y="632"/>
                </a:cubicBezTo>
                <a:cubicBezTo>
                  <a:pt x="775" y="632"/>
                  <a:pt x="776" y="632"/>
                  <a:pt x="776" y="633"/>
                </a:cubicBezTo>
                <a:cubicBezTo>
                  <a:pt x="776" y="634"/>
                  <a:pt x="775" y="635"/>
                  <a:pt x="774" y="637"/>
                </a:cubicBezTo>
                <a:cubicBezTo>
                  <a:pt x="774" y="639"/>
                  <a:pt x="772" y="639"/>
                  <a:pt x="770" y="639"/>
                </a:cubicBezTo>
                <a:lnTo>
                  <a:pt x="768" y="639"/>
                </a:lnTo>
                <a:cubicBezTo>
                  <a:pt x="768" y="639"/>
                  <a:pt x="768" y="639"/>
                  <a:pt x="769" y="640"/>
                </a:cubicBezTo>
                <a:cubicBezTo>
                  <a:pt x="769" y="640"/>
                  <a:pt x="769" y="640"/>
                  <a:pt x="769" y="641"/>
                </a:cubicBezTo>
                <a:cubicBezTo>
                  <a:pt x="769" y="642"/>
                  <a:pt x="769" y="643"/>
                  <a:pt x="768" y="644"/>
                </a:cubicBezTo>
                <a:cubicBezTo>
                  <a:pt x="767" y="644"/>
                  <a:pt x="766" y="645"/>
                  <a:pt x="765" y="645"/>
                </a:cubicBezTo>
                <a:lnTo>
                  <a:pt x="764" y="644"/>
                </a:lnTo>
                <a:cubicBezTo>
                  <a:pt x="764" y="644"/>
                  <a:pt x="764" y="645"/>
                  <a:pt x="764" y="645"/>
                </a:cubicBezTo>
                <a:cubicBezTo>
                  <a:pt x="764" y="645"/>
                  <a:pt x="764" y="646"/>
                  <a:pt x="765" y="647"/>
                </a:cubicBezTo>
                <a:cubicBezTo>
                  <a:pt x="766" y="647"/>
                  <a:pt x="766" y="648"/>
                  <a:pt x="767" y="648"/>
                </a:cubicBezTo>
                <a:cubicBezTo>
                  <a:pt x="768" y="648"/>
                  <a:pt x="768" y="647"/>
                  <a:pt x="769" y="647"/>
                </a:cubicBezTo>
                <a:cubicBezTo>
                  <a:pt x="770" y="647"/>
                  <a:pt x="770" y="647"/>
                  <a:pt x="770" y="648"/>
                </a:cubicBezTo>
                <a:cubicBezTo>
                  <a:pt x="770" y="648"/>
                  <a:pt x="770" y="649"/>
                  <a:pt x="769" y="651"/>
                </a:cubicBezTo>
                <a:cubicBezTo>
                  <a:pt x="769" y="653"/>
                  <a:pt x="767" y="654"/>
                  <a:pt x="766" y="654"/>
                </a:cubicBezTo>
                <a:cubicBezTo>
                  <a:pt x="765" y="654"/>
                  <a:pt x="764" y="654"/>
                  <a:pt x="764" y="655"/>
                </a:cubicBezTo>
                <a:lnTo>
                  <a:pt x="765" y="657"/>
                </a:lnTo>
                <a:cubicBezTo>
                  <a:pt x="765" y="657"/>
                  <a:pt x="765" y="657"/>
                  <a:pt x="764" y="657"/>
                </a:cubicBezTo>
                <a:lnTo>
                  <a:pt x="761" y="656"/>
                </a:lnTo>
                <a:cubicBezTo>
                  <a:pt x="761" y="656"/>
                  <a:pt x="761" y="656"/>
                  <a:pt x="761" y="657"/>
                </a:cubicBezTo>
                <a:lnTo>
                  <a:pt x="761" y="658"/>
                </a:lnTo>
                <a:cubicBezTo>
                  <a:pt x="761" y="659"/>
                  <a:pt x="761" y="659"/>
                  <a:pt x="760" y="659"/>
                </a:cubicBezTo>
                <a:cubicBezTo>
                  <a:pt x="760" y="659"/>
                  <a:pt x="760" y="659"/>
                  <a:pt x="760" y="660"/>
                </a:cubicBezTo>
                <a:lnTo>
                  <a:pt x="761" y="664"/>
                </a:lnTo>
                <a:cubicBezTo>
                  <a:pt x="761" y="664"/>
                  <a:pt x="760" y="664"/>
                  <a:pt x="760" y="664"/>
                </a:cubicBezTo>
                <a:lnTo>
                  <a:pt x="760" y="664"/>
                </a:lnTo>
                <a:cubicBezTo>
                  <a:pt x="759" y="664"/>
                  <a:pt x="758" y="665"/>
                  <a:pt x="758" y="666"/>
                </a:cubicBezTo>
                <a:cubicBezTo>
                  <a:pt x="758" y="669"/>
                  <a:pt x="757" y="669"/>
                  <a:pt x="757" y="669"/>
                </a:cubicBezTo>
                <a:cubicBezTo>
                  <a:pt x="754" y="670"/>
                  <a:pt x="753" y="670"/>
                  <a:pt x="753" y="670"/>
                </a:cubicBezTo>
                <a:cubicBezTo>
                  <a:pt x="753" y="671"/>
                  <a:pt x="754" y="671"/>
                  <a:pt x="755" y="672"/>
                </a:cubicBezTo>
                <a:cubicBezTo>
                  <a:pt x="756" y="673"/>
                  <a:pt x="756" y="673"/>
                  <a:pt x="756" y="674"/>
                </a:cubicBezTo>
                <a:cubicBezTo>
                  <a:pt x="756" y="674"/>
                  <a:pt x="756" y="674"/>
                  <a:pt x="754" y="674"/>
                </a:cubicBezTo>
                <a:cubicBezTo>
                  <a:pt x="753" y="674"/>
                  <a:pt x="752" y="674"/>
                  <a:pt x="752" y="674"/>
                </a:cubicBezTo>
                <a:lnTo>
                  <a:pt x="753" y="675"/>
                </a:lnTo>
                <a:cubicBezTo>
                  <a:pt x="754" y="675"/>
                  <a:pt x="754" y="676"/>
                  <a:pt x="754" y="676"/>
                </a:cubicBezTo>
                <a:cubicBezTo>
                  <a:pt x="754" y="677"/>
                  <a:pt x="753" y="678"/>
                  <a:pt x="752" y="679"/>
                </a:cubicBezTo>
                <a:cubicBezTo>
                  <a:pt x="750" y="681"/>
                  <a:pt x="749" y="687"/>
                  <a:pt x="749" y="695"/>
                </a:cubicBezTo>
                <a:lnTo>
                  <a:pt x="749" y="695"/>
                </a:lnTo>
                <a:lnTo>
                  <a:pt x="747" y="695"/>
                </a:lnTo>
                <a:lnTo>
                  <a:pt x="746" y="695"/>
                </a:lnTo>
                <a:cubicBezTo>
                  <a:pt x="745" y="695"/>
                  <a:pt x="744" y="696"/>
                  <a:pt x="744" y="699"/>
                </a:cubicBezTo>
                <a:cubicBezTo>
                  <a:pt x="744" y="700"/>
                  <a:pt x="745" y="701"/>
                  <a:pt x="745" y="701"/>
                </a:cubicBezTo>
                <a:cubicBezTo>
                  <a:pt x="746" y="702"/>
                  <a:pt x="746" y="703"/>
                  <a:pt x="746" y="703"/>
                </a:cubicBezTo>
                <a:lnTo>
                  <a:pt x="745" y="702"/>
                </a:lnTo>
                <a:cubicBezTo>
                  <a:pt x="744" y="702"/>
                  <a:pt x="743" y="703"/>
                  <a:pt x="742" y="706"/>
                </a:cubicBezTo>
                <a:cubicBezTo>
                  <a:pt x="741" y="708"/>
                  <a:pt x="739" y="711"/>
                  <a:pt x="739" y="714"/>
                </a:cubicBezTo>
                <a:cubicBezTo>
                  <a:pt x="738" y="717"/>
                  <a:pt x="737" y="720"/>
                  <a:pt x="737" y="722"/>
                </a:cubicBezTo>
                <a:cubicBezTo>
                  <a:pt x="737" y="723"/>
                  <a:pt x="737" y="723"/>
                  <a:pt x="736" y="723"/>
                </a:cubicBezTo>
                <a:cubicBezTo>
                  <a:pt x="735" y="723"/>
                  <a:pt x="734" y="725"/>
                  <a:pt x="733" y="730"/>
                </a:cubicBezTo>
                <a:cubicBezTo>
                  <a:pt x="732" y="732"/>
                  <a:pt x="732" y="735"/>
                  <a:pt x="732" y="737"/>
                </a:cubicBezTo>
                <a:lnTo>
                  <a:pt x="732" y="737"/>
                </a:lnTo>
                <a:cubicBezTo>
                  <a:pt x="732" y="737"/>
                  <a:pt x="732" y="737"/>
                  <a:pt x="731" y="737"/>
                </a:cubicBezTo>
                <a:cubicBezTo>
                  <a:pt x="730" y="737"/>
                  <a:pt x="730" y="739"/>
                  <a:pt x="729" y="743"/>
                </a:cubicBezTo>
                <a:cubicBezTo>
                  <a:pt x="729" y="747"/>
                  <a:pt x="728" y="749"/>
                  <a:pt x="727" y="749"/>
                </a:cubicBezTo>
                <a:cubicBezTo>
                  <a:pt x="727" y="749"/>
                  <a:pt x="726" y="750"/>
                  <a:pt x="726" y="751"/>
                </a:cubicBezTo>
                <a:lnTo>
                  <a:pt x="723" y="761"/>
                </a:lnTo>
                <a:cubicBezTo>
                  <a:pt x="719" y="776"/>
                  <a:pt x="712" y="798"/>
                  <a:pt x="701" y="828"/>
                </a:cubicBezTo>
                <a:cubicBezTo>
                  <a:pt x="697" y="840"/>
                  <a:pt x="695" y="846"/>
                  <a:pt x="695" y="847"/>
                </a:cubicBezTo>
                <a:cubicBezTo>
                  <a:pt x="695" y="848"/>
                  <a:pt x="694" y="853"/>
                  <a:pt x="691" y="861"/>
                </a:cubicBezTo>
                <a:lnTo>
                  <a:pt x="689" y="867"/>
                </a:lnTo>
                <a:cubicBezTo>
                  <a:pt x="688" y="872"/>
                  <a:pt x="686" y="877"/>
                  <a:pt x="684" y="882"/>
                </a:cubicBezTo>
                <a:cubicBezTo>
                  <a:pt x="683" y="886"/>
                  <a:pt x="682" y="889"/>
                  <a:pt x="681" y="892"/>
                </a:cubicBezTo>
                <a:cubicBezTo>
                  <a:pt x="681" y="893"/>
                  <a:pt x="680" y="895"/>
                  <a:pt x="680" y="897"/>
                </a:cubicBezTo>
                <a:cubicBezTo>
                  <a:pt x="679" y="898"/>
                  <a:pt x="679" y="899"/>
                  <a:pt x="678" y="900"/>
                </a:cubicBezTo>
                <a:cubicBezTo>
                  <a:pt x="677" y="901"/>
                  <a:pt x="677" y="902"/>
                  <a:pt x="677" y="902"/>
                </a:cubicBezTo>
                <a:cubicBezTo>
                  <a:pt x="677" y="903"/>
                  <a:pt x="678" y="904"/>
                  <a:pt x="679" y="904"/>
                </a:cubicBezTo>
                <a:cubicBezTo>
                  <a:pt x="680" y="904"/>
                  <a:pt x="682" y="899"/>
                  <a:pt x="685" y="888"/>
                </a:cubicBezTo>
                <a:cubicBezTo>
                  <a:pt x="692" y="867"/>
                  <a:pt x="697" y="851"/>
                  <a:pt x="701" y="842"/>
                </a:cubicBezTo>
                <a:cubicBezTo>
                  <a:pt x="702" y="839"/>
                  <a:pt x="702" y="836"/>
                  <a:pt x="703" y="834"/>
                </a:cubicBezTo>
                <a:cubicBezTo>
                  <a:pt x="703" y="832"/>
                  <a:pt x="704" y="830"/>
                  <a:pt x="704" y="829"/>
                </a:cubicBezTo>
                <a:cubicBezTo>
                  <a:pt x="705" y="828"/>
                  <a:pt x="705" y="826"/>
                  <a:pt x="705" y="826"/>
                </a:cubicBezTo>
                <a:cubicBezTo>
                  <a:pt x="705" y="826"/>
                  <a:pt x="706" y="824"/>
                  <a:pt x="707" y="820"/>
                </a:cubicBezTo>
                <a:cubicBezTo>
                  <a:pt x="709" y="816"/>
                  <a:pt x="710" y="814"/>
                  <a:pt x="710" y="814"/>
                </a:cubicBezTo>
                <a:cubicBezTo>
                  <a:pt x="711" y="810"/>
                  <a:pt x="712" y="806"/>
                  <a:pt x="714" y="803"/>
                </a:cubicBezTo>
                <a:cubicBezTo>
                  <a:pt x="715" y="800"/>
                  <a:pt x="717" y="798"/>
                  <a:pt x="718" y="798"/>
                </a:cubicBezTo>
                <a:lnTo>
                  <a:pt x="721" y="800"/>
                </a:lnTo>
                <a:cubicBezTo>
                  <a:pt x="721" y="800"/>
                  <a:pt x="720" y="799"/>
                  <a:pt x="719" y="797"/>
                </a:cubicBezTo>
                <a:cubicBezTo>
                  <a:pt x="717" y="796"/>
                  <a:pt x="717" y="795"/>
                  <a:pt x="717" y="794"/>
                </a:cubicBezTo>
                <a:cubicBezTo>
                  <a:pt x="717" y="794"/>
                  <a:pt x="717" y="794"/>
                  <a:pt x="718" y="793"/>
                </a:cubicBezTo>
                <a:cubicBezTo>
                  <a:pt x="719" y="793"/>
                  <a:pt x="719" y="792"/>
                  <a:pt x="719" y="792"/>
                </a:cubicBezTo>
                <a:lnTo>
                  <a:pt x="719" y="790"/>
                </a:lnTo>
                <a:cubicBezTo>
                  <a:pt x="719" y="789"/>
                  <a:pt x="719" y="789"/>
                  <a:pt x="720" y="789"/>
                </a:cubicBezTo>
                <a:cubicBezTo>
                  <a:pt x="720" y="789"/>
                  <a:pt x="721" y="789"/>
                  <a:pt x="721" y="789"/>
                </a:cubicBezTo>
                <a:cubicBezTo>
                  <a:pt x="721" y="788"/>
                  <a:pt x="720" y="787"/>
                  <a:pt x="720" y="787"/>
                </a:cubicBezTo>
                <a:cubicBezTo>
                  <a:pt x="720" y="786"/>
                  <a:pt x="719" y="786"/>
                  <a:pt x="719" y="786"/>
                </a:cubicBezTo>
                <a:cubicBezTo>
                  <a:pt x="720" y="786"/>
                  <a:pt x="720" y="786"/>
                  <a:pt x="722" y="788"/>
                </a:cubicBezTo>
                <a:cubicBezTo>
                  <a:pt x="723" y="789"/>
                  <a:pt x="724" y="790"/>
                  <a:pt x="724" y="791"/>
                </a:cubicBezTo>
                <a:cubicBezTo>
                  <a:pt x="724" y="793"/>
                  <a:pt x="723" y="798"/>
                  <a:pt x="720" y="804"/>
                </a:cubicBezTo>
                <a:cubicBezTo>
                  <a:pt x="720" y="806"/>
                  <a:pt x="719" y="807"/>
                  <a:pt x="719" y="808"/>
                </a:cubicBezTo>
                <a:cubicBezTo>
                  <a:pt x="719" y="808"/>
                  <a:pt x="718" y="809"/>
                  <a:pt x="716" y="810"/>
                </a:cubicBezTo>
                <a:lnTo>
                  <a:pt x="715" y="809"/>
                </a:lnTo>
                <a:lnTo>
                  <a:pt x="716" y="810"/>
                </a:lnTo>
                <a:cubicBezTo>
                  <a:pt x="716" y="814"/>
                  <a:pt x="715" y="818"/>
                  <a:pt x="713" y="823"/>
                </a:cubicBezTo>
                <a:lnTo>
                  <a:pt x="711" y="831"/>
                </a:lnTo>
                <a:lnTo>
                  <a:pt x="710" y="837"/>
                </a:lnTo>
                <a:cubicBezTo>
                  <a:pt x="710" y="838"/>
                  <a:pt x="710" y="839"/>
                  <a:pt x="709" y="839"/>
                </a:cubicBezTo>
                <a:cubicBezTo>
                  <a:pt x="708" y="839"/>
                  <a:pt x="708" y="839"/>
                  <a:pt x="707" y="841"/>
                </a:cubicBezTo>
                <a:cubicBezTo>
                  <a:pt x="706" y="845"/>
                  <a:pt x="705" y="848"/>
                  <a:pt x="705" y="851"/>
                </a:cubicBezTo>
                <a:cubicBezTo>
                  <a:pt x="705" y="853"/>
                  <a:pt x="705" y="855"/>
                  <a:pt x="706" y="855"/>
                </a:cubicBezTo>
                <a:cubicBezTo>
                  <a:pt x="706" y="855"/>
                  <a:pt x="706" y="856"/>
                  <a:pt x="706" y="856"/>
                </a:cubicBezTo>
                <a:lnTo>
                  <a:pt x="705" y="856"/>
                </a:lnTo>
                <a:cubicBezTo>
                  <a:pt x="704" y="856"/>
                  <a:pt x="702" y="860"/>
                  <a:pt x="699" y="869"/>
                </a:cubicBezTo>
                <a:cubicBezTo>
                  <a:pt x="696" y="877"/>
                  <a:pt x="695" y="881"/>
                  <a:pt x="694" y="881"/>
                </a:cubicBezTo>
                <a:cubicBezTo>
                  <a:pt x="693" y="881"/>
                  <a:pt x="693" y="881"/>
                  <a:pt x="693" y="881"/>
                </a:cubicBezTo>
                <a:cubicBezTo>
                  <a:pt x="693" y="882"/>
                  <a:pt x="694" y="883"/>
                  <a:pt x="694" y="884"/>
                </a:cubicBezTo>
                <a:lnTo>
                  <a:pt x="695" y="887"/>
                </a:lnTo>
                <a:lnTo>
                  <a:pt x="694" y="887"/>
                </a:lnTo>
                <a:cubicBezTo>
                  <a:pt x="693" y="887"/>
                  <a:pt x="692" y="887"/>
                  <a:pt x="692" y="888"/>
                </a:cubicBezTo>
                <a:lnTo>
                  <a:pt x="693" y="893"/>
                </a:lnTo>
                <a:lnTo>
                  <a:pt x="692" y="894"/>
                </a:lnTo>
                <a:cubicBezTo>
                  <a:pt x="691" y="894"/>
                  <a:pt x="690" y="898"/>
                  <a:pt x="687" y="905"/>
                </a:cubicBezTo>
                <a:cubicBezTo>
                  <a:pt x="680" y="923"/>
                  <a:pt x="674" y="943"/>
                  <a:pt x="668" y="964"/>
                </a:cubicBezTo>
                <a:cubicBezTo>
                  <a:pt x="664" y="976"/>
                  <a:pt x="662" y="982"/>
                  <a:pt x="661" y="983"/>
                </a:cubicBezTo>
                <a:cubicBezTo>
                  <a:pt x="660" y="984"/>
                  <a:pt x="660" y="985"/>
                  <a:pt x="660" y="987"/>
                </a:cubicBezTo>
                <a:cubicBezTo>
                  <a:pt x="660" y="990"/>
                  <a:pt x="658" y="995"/>
                  <a:pt x="655" y="1004"/>
                </a:cubicBezTo>
                <a:cubicBezTo>
                  <a:pt x="653" y="1013"/>
                  <a:pt x="651" y="1018"/>
                  <a:pt x="650" y="1018"/>
                </a:cubicBezTo>
                <a:cubicBezTo>
                  <a:pt x="650" y="1018"/>
                  <a:pt x="650" y="1018"/>
                  <a:pt x="650" y="1019"/>
                </a:cubicBezTo>
                <a:lnTo>
                  <a:pt x="651" y="1021"/>
                </a:lnTo>
                <a:cubicBezTo>
                  <a:pt x="651" y="1021"/>
                  <a:pt x="651" y="1022"/>
                  <a:pt x="650" y="1022"/>
                </a:cubicBezTo>
                <a:cubicBezTo>
                  <a:pt x="649" y="1022"/>
                  <a:pt x="649" y="1022"/>
                  <a:pt x="649" y="1023"/>
                </a:cubicBezTo>
                <a:cubicBezTo>
                  <a:pt x="649" y="1023"/>
                  <a:pt x="649" y="1024"/>
                  <a:pt x="649" y="1024"/>
                </a:cubicBezTo>
                <a:cubicBezTo>
                  <a:pt x="650" y="1025"/>
                  <a:pt x="650" y="1026"/>
                  <a:pt x="650" y="1026"/>
                </a:cubicBezTo>
                <a:cubicBezTo>
                  <a:pt x="650" y="1027"/>
                  <a:pt x="650" y="1027"/>
                  <a:pt x="649" y="1027"/>
                </a:cubicBezTo>
                <a:cubicBezTo>
                  <a:pt x="648" y="1027"/>
                  <a:pt x="648" y="1028"/>
                  <a:pt x="648" y="1031"/>
                </a:cubicBezTo>
                <a:cubicBezTo>
                  <a:pt x="648" y="1034"/>
                  <a:pt x="647" y="1035"/>
                  <a:pt x="646" y="1036"/>
                </a:cubicBezTo>
                <a:cubicBezTo>
                  <a:pt x="645" y="1037"/>
                  <a:pt x="645" y="1038"/>
                  <a:pt x="645" y="1038"/>
                </a:cubicBezTo>
                <a:lnTo>
                  <a:pt x="644" y="1045"/>
                </a:lnTo>
                <a:cubicBezTo>
                  <a:pt x="644" y="1049"/>
                  <a:pt x="644" y="1050"/>
                  <a:pt x="643" y="1051"/>
                </a:cubicBezTo>
                <a:cubicBezTo>
                  <a:pt x="642" y="1052"/>
                  <a:pt x="641" y="1052"/>
                  <a:pt x="641" y="1053"/>
                </a:cubicBezTo>
                <a:lnTo>
                  <a:pt x="642" y="1053"/>
                </a:lnTo>
                <a:cubicBezTo>
                  <a:pt x="642" y="1053"/>
                  <a:pt x="643" y="1053"/>
                  <a:pt x="643" y="1053"/>
                </a:cubicBezTo>
                <a:cubicBezTo>
                  <a:pt x="643" y="1054"/>
                  <a:pt x="642" y="1054"/>
                  <a:pt x="642" y="1055"/>
                </a:cubicBezTo>
                <a:cubicBezTo>
                  <a:pt x="641" y="1057"/>
                  <a:pt x="640" y="1058"/>
                  <a:pt x="640" y="1059"/>
                </a:cubicBezTo>
                <a:cubicBezTo>
                  <a:pt x="640" y="1061"/>
                  <a:pt x="640" y="1064"/>
                  <a:pt x="640" y="1067"/>
                </a:cubicBezTo>
                <a:cubicBezTo>
                  <a:pt x="639" y="1070"/>
                  <a:pt x="639" y="1073"/>
                  <a:pt x="639" y="1076"/>
                </a:cubicBezTo>
                <a:cubicBezTo>
                  <a:pt x="639" y="1080"/>
                  <a:pt x="639" y="1083"/>
                  <a:pt x="640" y="1087"/>
                </a:cubicBezTo>
                <a:cubicBezTo>
                  <a:pt x="640" y="1090"/>
                  <a:pt x="641" y="1092"/>
                  <a:pt x="642" y="1093"/>
                </a:cubicBezTo>
                <a:cubicBezTo>
                  <a:pt x="643" y="1094"/>
                  <a:pt x="643" y="1095"/>
                  <a:pt x="643" y="1096"/>
                </a:cubicBezTo>
                <a:cubicBezTo>
                  <a:pt x="643" y="1097"/>
                  <a:pt x="643" y="1098"/>
                  <a:pt x="642" y="1098"/>
                </a:cubicBezTo>
                <a:cubicBezTo>
                  <a:pt x="640" y="1099"/>
                  <a:pt x="639" y="1100"/>
                  <a:pt x="637" y="1100"/>
                </a:cubicBezTo>
                <a:close/>
                <a:moveTo>
                  <a:pt x="811" y="505"/>
                </a:moveTo>
                <a:cubicBezTo>
                  <a:pt x="811" y="505"/>
                  <a:pt x="812" y="505"/>
                  <a:pt x="812" y="504"/>
                </a:cubicBezTo>
                <a:lnTo>
                  <a:pt x="812" y="502"/>
                </a:lnTo>
                <a:cubicBezTo>
                  <a:pt x="812" y="502"/>
                  <a:pt x="812" y="501"/>
                  <a:pt x="811" y="501"/>
                </a:cubicBezTo>
                <a:lnTo>
                  <a:pt x="811" y="501"/>
                </a:lnTo>
                <a:cubicBezTo>
                  <a:pt x="810" y="501"/>
                  <a:pt x="810" y="502"/>
                  <a:pt x="810" y="502"/>
                </a:cubicBezTo>
                <a:cubicBezTo>
                  <a:pt x="810" y="504"/>
                  <a:pt x="811" y="505"/>
                  <a:pt x="811" y="505"/>
                </a:cubicBezTo>
                <a:close/>
                <a:moveTo>
                  <a:pt x="782" y="569"/>
                </a:moveTo>
                <a:cubicBezTo>
                  <a:pt x="782" y="569"/>
                  <a:pt x="782" y="569"/>
                  <a:pt x="783" y="568"/>
                </a:cubicBezTo>
                <a:cubicBezTo>
                  <a:pt x="783" y="566"/>
                  <a:pt x="783" y="566"/>
                  <a:pt x="783" y="565"/>
                </a:cubicBezTo>
                <a:cubicBezTo>
                  <a:pt x="783" y="565"/>
                  <a:pt x="783" y="565"/>
                  <a:pt x="782" y="565"/>
                </a:cubicBezTo>
                <a:lnTo>
                  <a:pt x="782" y="565"/>
                </a:lnTo>
                <a:cubicBezTo>
                  <a:pt x="781" y="566"/>
                  <a:pt x="781" y="566"/>
                  <a:pt x="781" y="568"/>
                </a:cubicBezTo>
                <a:cubicBezTo>
                  <a:pt x="781" y="569"/>
                  <a:pt x="781" y="569"/>
                  <a:pt x="782" y="569"/>
                </a:cubicBezTo>
                <a:close/>
                <a:moveTo>
                  <a:pt x="767" y="652"/>
                </a:moveTo>
                <a:cubicBezTo>
                  <a:pt x="767" y="652"/>
                  <a:pt x="768" y="652"/>
                  <a:pt x="768" y="651"/>
                </a:cubicBezTo>
                <a:cubicBezTo>
                  <a:pt x="768" y="650"/>
                  <a:pt x="767" y="650"/>
                  <a:pt x="765" y="649"/>
                </a:cubicBezTo>
                <a:lnTo>
                  <a:pt x="764" y="649"/>
                </a:lnTo>
                <a:cubicBezTo>
                  <a:pt x="763" y="649"/>
                  <a:pt x="763" y="649"/>
                  <a:pt x="763" y="650"/>
                </a:cubicBezTo>
                <a:lnTo>
                  <a:pt x="764" y="651"/>
                </a:lnTo>
                <a:cubicBezTo>
                  <a:pt x="765" y="652"/>
                  <a:pt x="766" y="652"/>
                  <a:pt x="767" y="652"/>
                </a:cubicBezTo>
                <a:close/>
                <a:moveTo>
                  <a:pt x="922" y="549"/>
                </a:moveTo>
                <a:cubicBezTo>
                  <a:pt x="920" y="549"/>
                  <a:pt x="920" y="549"/>
                  <a:pt x="920" y="549"/>
                </a:cubicBezTo>
                <a:lnTo>
                  <a:pt x="920" y="548"/>
                </a:lnTo>
                <a:lnTo>
                  <a:pt x="922" y="548"/>
                </a:lnTo>
                <a:cubicBezTo>
                  <a:pt x="924" y="548"/>
                  <a:pt x="925" y="548"/>
                  <a:pt x="925" y="549"/>
                </a:cubicBezTo>
                <a:cubicBezTo>
                  <a:pt x="925" y="549"/>
                  <a:pt x="924" y="549"/>
                  <a:pt x="922" y="549"/>
                </a:cubicBezTo>
                <a:close/>
                <a:moveTo>
                  <a:pt x="1068" y="761"/>
                </a:moveTo>
                <a:lnTo>
                  <a:pt x="1067" y="761"/>
                </a:lnTo>
                <a:cubicBezTo>
                  <a:pt x="1067" y="761"/>
                  <a:pt x="1068" y="760"/>
                  <a:pt x="1069" y="759"/>
                </a:cubicBezTo>
                <a:cubicBezTo>
                  <a:pt x="1069" y="758"/>
                  <a:pt x="1071" y="758"/>
                  <a:pt x="1071" y="758"/>
                </a:cubicBezTo>
                <a:lnTo>
                  <a:pt x="1072" y="758"/>
                </a:lnTo>
                <a:lnTo>
                  <a:pt x="1072" y="758"/>
                </a:lnTo>
                <a:cubicBezTo>
                  <a:pt x="1072" y="759"/>
                  <a:pt x="1072" y="759"/>
                  <a:pt x="1071" y="760"/>
                </a:cubicBezTo>
                <a:cubicBezTo>
                  <a:pt x="1070" y="761"/>
                  <a:pt x="1069" y="761"/>
                  <a:pt x="1068" y="761"/>
                </a:cubicBezTo>
                <a:close/>
                <a:moveTo>
                  <a:pt x="1057" y="714"/>
                </a:moveTo>
                <a:cubicBezTo>
                  <a:pt x="1057" y="714"/>
                  <a:pt x="1056" y="713"/>
                  <a:pt x="1056" y="712"/>
                </a:cubicBezTo>
                <a:lnTo>
                  <a:pt x="1056" y="711"/>
                </a:lnTo>
                <a:cubicBezTo>
                  <a:pt x="1056" y="710"/>
                  <a:pt x="1056" y="709"/>
                  <a:pt x="1057" y="708"/>
                </a:cubicBezTo>
                <a:cubicBezTo>
                  <a:pt x="1057" y="708"/>
                  <a:pt x="1058" y="708"/>
                  <a:pt x="1058" y="708"/>
                </a:cubicBezTo>
                <a:cubicBezTo>
                  <a:pt x="1058" y="708"/>
                  <a:pt x="1058" y="709"/>
                  <a:pt x="1058" y="710"/>
                </a:cubicBezTo>
                <a:cubicBezTo>
                  <a:pt x="1058" y="713"/>
                  <a:pt x="1058" y="714"/>
                  <a:pt x="1057" y="714"/>
                </a:cubicBezTo>
                <a:close/>
                <a:moveTo>
                  <a:pt x="1091" y="501"/>
                </a:moveTo>
                <a:lnTo>
                  <a:pt x="1091" y="499"/>
                </a:lnTo>
                <a:cubicBezTo>
                  <a:pt x="1091" y="498"/>
                  <a:pt x="1092" y="497"/>
                  <a:pt x="1092" y="496"/>
                </a:cubicBezTo>
                <a:cubicBezTo>
                  <a:pt x="1092" y="495"/>
                  <a:pt x="1093" y="494"/>
                  <a:pt x="1093" y="493"/>
                </a:cubicBezTo>
                <a:cubicBezTo>
                  <a:pt x="1093" y="492"/>
                  <a:pt x="1094" y="492"/>
                  <a:pt x="1094" y="492"/>
                </a:cubicBezTo>
                <a:cubicBezTo>
                  <a:pt x="1094" y="492"/>
                  <a:pt x="1094" y="492"/>
                  <a:pt x="1094" y="493"/>
                </a:cubicBezTo>
                <a:lnTo>
                  <a:pt x="1094" y="496"/>
                </a:lnTo>
                <a:cubicBezTo>
                  <a:pt x="1093" y="499"/>
                  <a:pt x="1092" y="501"/>
                  <a:pt x="1091" y="501"/>
                </a:cubicBezTo>
                <a:close/>
                <a:moveTo>
                  <a:pt x="1087" y="512"/>
                </a:moveTo>
                <a:lnTo>
                  <a:pt x="1087" y="512"/>
                </a:lnTo>
                <a:cubicBezTo>
                  <a:pt x="1087" y="511"/>
                  <a:pt x="1087" y="510"/>
                  <a:pt x="1087" y="509"/>
                </a:cubicBezTo>
                <a:cubicBezTo>
                  <a:pt x="1087" y="507"/>
                  <a:pt x="1088" y="506"/>
                  <a:pt x="1089" y="506"/>
                </a:cubicBezTo>
                <a:lnTo>
                  <a:pt x="1089" y="506"/>
                </a:lnTo>
                <a:lnTo>
                  <a:pt x="1090" y="507"/>
                </a:lnTo>
                <a:cubicBezTo>
                  <a:pt x="1090" y="508"/>
                  <a:pt x="1089" y="509"/>
                  <a:pt x="1089" y="510"/>
                </a:cubicBezTo>
                <a:lnTo>
                  <a:pt x="1087" y="512"/>
                </a:lnTo>
                <a:close/>
                <a:moveTo>
                  <a:pt x="1054" y="812"/>
                </a:moveTo>
                <a:cubicBezTo>
                  <a:pt x="1052" y="812"/>
                  <a:pt x="1050" y="811"/>
                  <a:pt x="1047" y="807"/>
                </a:cubicBezTo>
                <a:cubicBezTo>
                  <a:pt x="1044" y="804"/>
                  <a:pt x="1041" y="803"/>
                  <a:pt x="1037" y="803"/>
                </a:cubicBezTo>
                <a:cubicBezTo>
                  <a:pt x="1033" y="803"/>
                  <a:pt x="1029" y="801"/>
                  <a:pt x="1026" y="798"/>
                </a:cubicBezTo>
                <a:cubicBezTo>
                  <a:pt x="1021" y="794"/>
                  <a:pt x="1018" y="789"/>
                  <a:pt x="1017" y="783"/>
                </a:cubicBezTo>
                <a:cubicBezTo>
                  <a:pt x="1016" y="779"/>
                  <a:pt x="1016" y="773"/>
                  <a:pt x="1016" y="763"/>
                </a:cubicBezTo>
                <a:cubicBezTo>
                  <a:pt x="1017" y="748"/>
                  <a:pt x="1019" y="741"/>
                  <a:pt x="1021" y="741"/>
                </a:cubicBezTo>
                <a:lnTo>
                  <a:pt x="1022" y="741"/>
                </a:lnTo>
                <a:cubicBezTo>
                  <a:pt x="1022" y="741"/>
                  <a:pt x="1022" y="740"/>
                  <a:pt x="1022" y="740"/>
                </a:cubicBezTo>
                <a:cubicBezTo>
                  <a:pt x="1022" y="740"/>
                  <a:pt x="1022" y="739"/>
                  <a:pt x="1022" y="739"/>
                </a:cubicBezTo>
                <a:cubicBezTo>
                  <a:pt x="1022" y="738"/>
                  <a:pt x="1021" y="737"/>
                  <a:pt x="1021" y="736"/>
                </a:cubicBezTo>
                <a:cubicBezTo>
                  <a:pt x="1021" y="735"/>
                  <a:pt x="1021" y="735"/>
                  <a:pt x="1022" y="735"/>
                </a:cubicBezTo>
                <a:cubicBezTo>
                  <a:pt x="1023" y="735"/>
                  <a:pt x="1024" y="734"/>
                  <a:pt x="1024" y="734"/>
                </a:cubicBezTo>
                <a:cubicBezTo>
                  <a:pt x="1024" y="733"/>
                  <a:pt x="1023" y="733"/>
                  <a:pt x="1023" y="732"/>
                </a:cubicBezTo>
                <a:cubicBezTo>
                  <a:pt x="1023" y="732"/>
                  <a:pt x="1022" y="731"/>
                  <a:pt x="1022" y="730"/>
                </a:cubicBezTo>
                <a:lnTo>
                  <a:pt x="1023" y="724"/>
                </a:lnTo>
                <a:cubicBezTo>
                  <a:pt x="1024" y="721"/>
                  <a:pt x="1025" y="719"/>
                  <a:pt x="1025" y="719"/>
                </a:cubicBezTo>
                <a:lnTo>
                  <a:pt x="1025" y="719"/>
                </a:lnTo>
                <a:lnTo>
                  <a:pt x="1026" y="720"/>
                </a:lnTo>
                <a:cubicBezTo>
                  <a:pt x="1026" y="720"/>
                  <a:pt x="1027" y="719"/>
                  <a:pt x="1027" y="718"/>
                </a:cubicBezTo>
                <a:cubicBezTo>
                  <a:pt x="1027" y="718"/>
                  <a:pt x="1028" y="717"/>
                  <a:pt x="1028" y="716"/>
                </a:cubicBezTo>
                <a:cubicBezTo>
                  <a:pt x="1028" y="716"/>
                  <a:pt x="1028" y="715"/>
                  <a:pt x="1027" y="714"/>
                </a:cubicBezTo>
                <a:cubicBezTo>
                  <a:pt x="1027" y="713"/>
                  <a:pt x="1027" y="712"/>
                  <a:pt x="1026" y="711"/>
                </a:cubicBezTo>
                <a:cubicBezTo>
                  <a:pt x="1026" y="711"/>
                  <a:pt x="1026" y="710"/>
                  <a:pt x="1026" y="710"/>
                </a:cubicBezTo>
                <a:cubicBezTo>
                  <a:pt x="1026" y="710"/>
                  <a:pt x="1026" y="709"/>
                  <a:pt x="1027" y="709"/>
                </a:cubicBezTo>
                <a:cubicBezTo>
                  <a:pt x="1028" y="709"/>
                  <a:pt x="1028" y="709"/>
                  <a:pt x="1028" y="708"/>
                </a:cubicBezTo>
                <a:cubicBezTo>
                  <a:pt x="1027" y="707"/>
                  <a:pt x="1027" y="706"/>
                  <a:pt x="1027" y="706"/>
                </a:cubicBezTo>
                <a:lnTo>
                  <a:pt x="1027" y="705"/>
                </a:lnTo>
                <a:cubicBezTo>
                  <a:pt x="1029" y="705"/>
                  <a:pt x="1030" y="705"/>
                  <a:pt x="1030" y="704"/>
                </a:cubicBezTo>
                <a:cubicBezTo>
                  <a:pt x="1030" y="704"/>
                  <a:pt x="1029" y="704"/>
                  <a:pt x="1029" y="703"/>
                </a:cubicBezTo>
                <a:cubicBezTo>
                  <a:pt x="1029" y="703"/>
                  <a:pt x="1029" y="703"/>
                  <a:pt x="1029" y="702"/>
                </a:cubicBezTo>
                <a:cubicBezTo>
                  <a:pt x="1029" y="702"/>
                  <a:pt x="1029" y="701"/>
                  <a:pt x="1029" y="701"/>
                </a:cubicBezTo>
                <a:cubicBezTo>
                  <a:pt x="1029" y="700"/>
                  <a:pt x="1029" y="699"/>
                  <a:pt x="1030" y="698"/>
                </a:cubicBezTo>
                <a:cubicBezTo>
                  <a:pt x="1031" y="697"/>
                  <a:pt x="1031" y="696"/>
                  <a:pt x="1031" y="694"/>
                </a:cubicBezTo>
                <a:lnTo>
                  <a:pt x="1030" y="692"/>
                </a:lnTo>
                <a:cubicBezTo>
                  <a:pt x="1030" y="691"/>
                  <a:pt x="1031" y="691"/>
                  <a:pt x="1031" y="691"/>
                </a:cubicBezTo>
                <a:cubicBezTo>
                  <a:pt x="1032" y="691"/>
                  <a:pt x="1033" y="690"/>
                  <a:pt x="1034" y="686"/>
                </a:cubicBezTo>
                <a:cubicBezTo>
                  <a:pt x="1034" y="684"/>
                  <a:pt x="1034" y="683"/>
                  <a:pt x="1035" y="683"/>
                </a:cubicBezTo>
                <a:lnTo>
                  <a:pt x="1036" y="683"/>
                </a:lnTo>
                <a:cubicBezTo>
                  <a:pt x="1037" y="683"/>
                  <a:pt x="1038" y="682"/>
                  <a:pt x="1038" y="681"/>
                </a:cubicBezTo>
                <a:cubicBezTo>
                  <a:pt x="1038" y="679"/>
                  <a:pt x="1038" y="678"/>
                  <a:pt x="1038" y="678"/>
                </a:cubicBezTo>
                <a:lnTo>
                  <a:pt x="1036" y="679"/>
                </a:lnTo>
                <a:cubicBezTo>
                  <a:pt x="1036" y="679"/>
                  <a:pt x="1036" y="678"/>
                  <a:pt x="1036" y="677"/>
                </a:cubicBezTo>
                <a:lnTo>
                  <a:pt x="1036" y="676"/>
                </a:lnTo>
                <a:cubicBezTo>
                  <a:pt x="1036" y="674"/>
                  <a:pt x="1037" y="674"/>
                  <a:pt x="1039" y="674"/>
                </a:cubicBezTo>
                <a:lnTo>
                  <a:pt x="1040" y="674"/>
                </a:lnTo>
                <a:cubicBezTo>
                  <a:pt x="1040" y="674"/>
                  <a:pt x="1040" y="674"/>
                  <a:pt x="1040" y="674"/>
                </a:cubicBezTo>
                <a:lnTo>
                  <a:pt x="1038" y="670"/>
                </a:lnTo>
                <a:cubicBezTo>
                  <a:pt x="1038" y="669"/>
                  <a:pt x="1039" y="668"/>
                  <a:pt x="1040" y="667"/>
                </a:cubicBezTo>
                <a:cubicBezTo>
                  <a:pt x="1041" y="667"/>
                  <a:pt x="1042" y="666"/>
                  <a:pt x="1042" y="665"/>
                </a:cubicBezTo>
                <a:cubicBezTo>
                  <a:pt x="1042" y="664"/>
                  <a:pt x="1042" y="663"/>
                  <a:pt x="1041" y="663"/>
                </a:cubicBezTo>
                <a:cubicBezTo>
                  <a:pt x="1041" y="662"/>
                  <a:pt x="1041" y="661"/>
                  <a:pt x="1040" y="660"/>
                </a:cubicBezTo>
                <a:lnTo>
                  <a:pt x="1043" y="661"/>
                </a:lnTo>
                <a:cubicBezTo>
                  <a:pt x="1043" y="661"/>
                  <a:pt x="1044" y="661"/>
                  <a:pt x="1044" y="660"/>
                </a:cubicBezTo>
                <a:lnTo>
                  <a:pt x="1041" y="656"/>
                </a:lnTo>
                <a:cubicBezTo>
                  <a:pt x="1041" y="655"/>
                  <a:pt x="1041" y="655"/>
                  <a:pt x="1042" y="655"/>
                </a:cubicBezTo>
                <a:lnTo>
                  <a:pt x="1044" y="656"/>
                </a:lnTo>
                <a:lnTo>
                  <a:pt x="1042" y="651"/>
                </a:lnTo>
                <a:lnTo>
                  <a:pt x="1044" y="651"/>
                </a:lnTo>
                <a:cubicBezTo>
                  <a:pt x="1044" y="651"/>
                  <a:pt x="1046" y="648"/>
                  <a:pt x="1047" y="643"/>
                </a:cubicBezTo>
                <a:cubicBezTo>
                  <a:pt x="1048" y="637"/>
                  <a:pt x="1049" y="634"/>
                  <a:pt x="1050" y="634"/>
                </a:cubicBezTo>
                <a:cubicBezTo>
                  <a:pt x="1051" y="634"/>
                  <a:pt x="1052" y="633"/>
                  <a:pt x="1052" y="632"/>
                </a:cubicBezTo>
                <a:cubicBezTo>
                  <a:pt x="1052" y="632"/>
                  <a:pt x="1051" y="632"/>
                  <a:pt x="1051" y="631"/>
                </a:cubicBezTo>
                <a:cubicBezTo>
                  <a:pt x="1050" y="630"/>
                  <a:pt x="1050" y="630"/>
                  <a:pt x="1050" y="630"/>
                </a:cubicBezTo>
                <a:lnTo>
                  <a:pt x="1050" y="630"/>
                </a:lnTo>
                <a:cubicBezTo>
                  <a:pt x="1051" y="630"/>
                  <a:pt x="1052" y="630"/>
                  <a:pt x="1053" y="630"/>
                </a:cubicBezTo>
                <a:cubicBezTo>
                  <a:pt x="1054" y="631"/>
                  <a:pt x="1055" y="631"/>
                  <a:pt x="1056" y="631"/>
                </a:cubicBezTo>
                <a:cubicBezTo>
                  <a:pt x="1056" y="631"/>
                  <a:pt x="1056" y="631"/>
                  <a:pt x="1056" y="630"/>
                </a:cubicBezTo>
                <a:lnTo>
                  <a:pt x="1054" y="628"/>
                </a:lnTo>
                <a:cubicBezTo>
                  <a:pt x="1053" y="627"/>
                  <a:pt x="1052" y="626"/>
                  <a:pt x="1052" y="625"/>
                </a:cubicBezTo>
                <a:cubicBezTo>
                  <a:pt x="1052" y="625"/>
                  <a:pt x="1052" y="623"/>
                  <a:pt x="1053" y="621"/>
                </a:cubicBezTo>
                <a:cubicBezTo>
                  <a:pt x="1054" y="620"/>
                  <a:pt x="1055" y="619"/>
                  <a:pt x="1055" y="618"/>
                </a:cubicBezTo>
                <a:lnTo>
                  <a:pt x="1054" y="617"/>
                </a:lnTo>
                <a:cubicBezTo>
                  <a:pt x="1054" y="616"/>
                  <a:pt x="1056" y="614"/>
                  <a:pt x="1059" y="611"/>
                </a:cubicBezTo>
                <a:lnTo>
                  <a:pt x="1063" y="607"/>
                </a:lnTo>
                <a:cubicBezTo>
                  <a:pt x="1063" y="606"/>
                  <a:pt x="1063" y="606"/>
                  <a:pt x="1062" y="606"/>
                </a:cubicBezTo>
                <a:cubicBezTo>
                  <a:pt x="1061" y="606"/>
                  <a:pt x="1060" y="605"/>
                  <a:pt x="1060" y="603"/>
                </a:cubicBezTo>
                <a:cubicBezTo>
                  <a:pt x="1060" y="599"/>
                  <a:pt x="1061" y="596"/>
                  <a:pt x="1063" y="593"/>
                </a:cubicBezTo>
                <a:cubicBezTo>
                  <a:pt x="1064" y="592"/>
                  <a:pt x="1064" y="591"/>
                  <a:pt x="1065" y="591"/>
                </a:cubicBezTo>
                <a:lnTo>
                  <a:pt x="1066" y="591"/>
                </a:lnTo>
                <a:cubicBezTo>
                  <a:pt x="1067" y="591"/>
                  <a:pt x="1067" y="591"/>
                  <a:pt x="1067" y="590"/>
                </a:cubicBezTo>
                <a:lnTo>
                  <a:pt x="1066" y="588"/>
                </a:lnTo>
                <a:cubicBezTo>
                  <a:pt x="1066" y="586"/>
                  <a:pt x="1067" y="585"/>
                  <a:pt x="1068" y="584"/>
                </a:cubicBezTo>
                <a:cubicBezTo>
                  <a:pt x="1069" y="583"/>
                  <a:pt x="1069" y="583"/>
                  <a:pt x="1069" y="582"/>
                </a:cubicBezTo>
                <a:lnTo>
                  <a:pt x="1069" y="580"/>
                </a:lnTo>
                <a:cubicBezTo>
                  <a:pt x="1069" y="580"/>
                  <a:pt x="1068" y="580"/>
                  <a:pt x="1068" y="579"/>
                </a:cubicBezTo>
                <a:cubicBezTo>
                  <a:pt x="1068" y="579"/>
                  <a:pt x="1069" y="578"/>
                  <a:pt x="1070" y="578"/>
                </a:cubicBezTo>
                <a:cubicBezTo>
                  <a:pt x="1071" y="578"/>
                  <a:pt x="1071" y="578"/>
                  <a:pt x="1071" y="577"/>
                </a:cubicBezTo>
                <a:cubicBezTo>
                  <a:pt x="1071" y="577"/>
                  <a:pt x="1071" y="577"/>
                  <a:pt x="1071" y="576"/>
                </a:cubicBezTo>
                <a:cubicBezTo>
                  <a:pt x="1070" y="576"/>
                  <a:pt x="1070" y="575"/>
                  <a:pt x="1070" y="575"/>
                </a:cubicBezTo>
                <a:cubicBezTo>
                  <a:pt x="1070" y="574"/>
                  <a:pt x="1070" y="574"/>
                  <a:pt x="1071" y="574"/>
                </a:cubicBezTo>
                <a:cubicBezTo>
                  <a:pt x="1072" y="574"/>
                  <a:pt x="1072" y="573"/>
                  <a:pt x="1072" y="573"/>
                </a:cubicBezTo>
                <a:lnTo>
                  <a:pt x="1070" y="570"/>
                </a:lnTo>
                <a:cubicBezTo>
                  <a:pt x="1071" y="570"/>
                  <a:pt x="1071" y="570"/>
                  <a:pt x="1072" y="570"/>
                </a:cubicBezTo>
                <a:cubicBezTo>
                  <a:pt x="1072" y="571"/>
                  <a:pt x="1073" y="571"/>
                  <a:pt x="1074" y="571"/>
                </a:cubicBezTo>
                <a:cubicBezTo>
                  <a:pt x="1074" y="571"/>
                  <a:pt x="1074" y="570"/>
                  <a:pt x="1074" y="569"/>
                </a:cubicBezTo>
                <a:cubicBezTo>
                  <a:pt x="1074" y="568"/>
                  <a:pt x="1074" y="566"/>
                  <a:pt x="1074" y="565"/>
                </a:cubicBezTo>
                <a:cubicBezTo>
                  <a:pt x="1074" y="564"/>
                  <a:pt x="1074" y="564"/>
                  <a:pt x="1074" y="563"/>
                </a:cubicBezTo>
                <a:cubicBezTo>
                  <a:pt x="1075" y="562"/>
                  <a:pt x="1076" y="560"/>
                  <a:pt x="1077" y="559"/>
                </a:cubicBezTo>
                <a:cubicBezTo>
                  <a:pt x="1077" y="557"/>
                  <a:pt x="1078" y="557"/>
                  <a:pt x="1079" y="557"/>
                </a:cubicBezTo>
                <a:lnTo>
                  <a:pt x="1079" y="558"/>
                </a:lnTo>
                <a:cubicBezTo>
                  <a:pt x="1079" y="559"/>
                  <a:pt x="1078" y="563"/>
                  <a:pt x="1077" y="568"/>
                </a:cubicBezTo>
                <a:cubicBezTo>
                  <a:pt x="1076" y="573"/>
                  <a:pt x="1074" y="582"/>
                  <a:pt x="1071" y="595"/>
                </a:cubicBezTo>
                <a:cubicBezTo>
                  <a:pt x="1070" y="599"/>
                  <a:pt x="1069" y="602"/>
                  <a:pt x="1068" y="605"/>
                </a:cubicBezTo>
                <a:cubicBezTo>
                  <a:pt x="1066" y="616"/>
                  <a:pt x="1063" y="625"/>
                  <a:pt x="1062" y="633"/>
                </a:cubicBezTo>
                <a:lnTo>
                  <a:pt x="1059" y="648"/>
                </a:lnTo>
                <a:cubicBezTo>
                  <a:pt x="1060" y="649"/>
                  <a:pt x="1060" y="649"/>
                  <a:pt x="1060" y="649"/>
                </a:cubicBezTo>
                <a:cubicBezTo>
                  <a:pt x="1060" y="649"/>
                  <a:pt x="1060" y="650"/>
                  <a:pt x="1059" y="650"/>
                </a:cubicBezTo>
                <a:cubicBezTo>
                  <a:pt x="1058" y="650"/>
                  <a:pt x="1057" y="650"/>
                  <a:pt x="1057" y="651"/>
                </a:cubicBezTo>
                <a:lnTo>
                  <a:pt x="1058" y="653"/>
                </a:lnTo>
                <a:cubicBezTo>
                  <a:pt x="1058" y="654"/>
                  <a:pt x="1058" y="654"/>
                  <a:pt x="1057" y="655"/>
                </a:cubicBezTo>
                <a:cubicBezTo>
                  <a:pt x="1056" y="656"/>
                  <a:pt x="1056" y="657"/>
                  <a:pt x="1056" y="659"/>
                </a:cubicBezTo>
                <a:cubicBezTo>
                  <a:pt x="1056" y="661"/>
                  <a:pt x="1055" y="664"/>
                  <a:pt x="1054" y="668"/>
                </a:cubicBezTo>
                <a:cubicBezTo>
                  <a:pt x="1053" y="669"/>
                  <a:pt x="1053" y="671"/>
                  <a:pt x="1053" y="673"/>
                </a:cubicBezTo>
                <a:cubicBezTo>
                  <a:pt x="1053" y="674"/>
                  <a:pt x="1054" y="676"/>
                  <a:pt x="1056" y="679"/>
                </a:cubicBezTo>
                <a:lnTo>
                  <a:pt x="1056" y="681"/>
                </a:lnTo>
                <a:lnTo>
                  <a:pt x="1056" y="681"/>
                </a:lnTo>
                <a:cubicBezTo>
                  <a:pt x="1055" y="681"/>
                  <a:pt x="1055" y="681"/>
                  <a:pt x="1054" y="679"/>
                </a:cubicBezTo>
                <a:cubicBezTo>
                  <a:pt x="1054" y="678"/>
                  <a:pt x="1054" y="677"/>
                  <a:pt x="1053" y="677"/>
                </a:cubicBezTo>
                <a:cubicBezTo>
                  <a:pt x="1052" y="677"/>
                  <a:pt x="1050" y="680"/>
                  <a:pt x="1049" y="685"/>
                </a:cubicBezTo>
                <a:cubicBezTo>
                  <a:pt x="1048" y="690"/>
                  <a:pt x="1047" y="693"/>
                  <a:pt x="1047" y="694"/>
                </a:cubicBezTo>
                <a:cubicBezTo>
                  <a:pt x="1047" y="694"/>
                  <a:pt x="1048" y="695"/>
                  <a:pt x="1048" y="695"/>
                </a:cubicBezTo>
                <a:cubicBezTo>
                  <a:pt x="1049" y="695"/>
                  <a:pt x="1049" y="694"/>
                  <a:pt x="1051" y="693"/>
                </a:cubicBezTo>
                <a:cubicBezTo>
                  <a:pt x="1052" y="693"/>
                  <a:pt x="1053" y="691"/>
                  <a:pt x="1053" y="689"/>
                </a:cubicBezTo>
                <a:cubicBezTo>
                  <a:pt x="1053" y="686"/>
                  <a:pt x="1054" y="685"/>
                  <a:pt x="1056" y="685"/>
                </a:cubicBezTo>
                <a:lnTo>
                  <a:pt x="1057" y="686"/>
                </a:lnTo>
                <a:cubicBezTo>
                  <a:pt x="1059" y="686"/>
                  <a:pt x="1060" y="684"/>
                  <a:pt x="1060" y="682"/>
                </a:cubicBezTo>
                <a:cubicBezTo>
                  <a:pt x="1060" y="680"/>
                  <a:pt x="1059" y="678"/>
                  <a:pt x="1058" y="674"/>
                </a:cubicBezTo>
                <a:cubicBezTo>
                  <a:pt x="1058" y="673"/>
                  <a:pt x="1059" y="671"/>
                  <a:pt x="1061" y="668"/>
                </a:cubicBezTo>
                <a:cubicBezTo>
                  <a:pt x="1062" y="666"/>
                  <a:pt x="1062" y="664"/>
                  <a:pt x="1062" y="663"/>
                </a:cubicBezTo>
                <a:cubicBezTo>
                  <a:pt x="1062" y="661"/>
                  <a:pt x="1062" y="661"/>
                  <a:pt x="1062" y="660"/>
                </a:cubicBezTo>
                <a:cubicBezTo>
                  <a:pt x="1061" y="660"/>
                  <a:pt x="1061" y="659"/>
                  <a:pt x="1061" y="659"/>
                </a:cubicBezTo>
                <a:cubicBezTo>
                  <a:pt x="1061" y="657"/>
                  <a:pt x="1062" y="656"/>
                  <a:pt x="1063" y="656"/>
                </a:cubicBezTo>
                <a:cubicBezTo>
                  <a:pt x="1064" y="655"/>
                  <a:pt x="1065" y="654"/>
                  <a:pt x="1065" y="653"/>
                </a:cubicBezTo>
                <a:lnTo>
                  <a:pt x="1064" y="649"/>
                </a:lnTo>
                <a:cubicBezTo>
                  <a:pt x="1064" y="649"/>
                  <a:pt x="1064" y="648"/>
                  <a:pt x="1064" y="648"/>
                </a:cubicBezTo>
                <a:cubicBezTo>
                  <a:pt x="1064" y="647"/>
                  <a:pt x="1064" y="647"/>
                  <a:pt x="1065" y="647"/>
                </a:cubicBezTo>
                <a:cubicBezTo>
                  <a:pt x="1066" y="647"/>
                  <a:pt x="1066" y="647"/>
                  <a:pt x="1066" y="647"/>
                </a:cubicBezTo>
                <a:lnTo>
                  <a:pt x="1066" y="646"/>
                </a:lnTo>
                <a:cubicBezTo>
                  <a:pt x="1065" y="646"/>
                  <a:pt x="1065" y="645"/>
                  <a:pt x="1065" y="645"/>
                </a:cubicBezTo>
                <a:cubicBezTo>
                  <a:pt x="1065" y="644"/>
                  <a:pt x="1065" y="643"/>
                  <a:pt x="1066" y="642"/>
                </a:cubicBezTo>
                <a:cubicBezTo>
                  <a:pt x="1067" y="641"/>
                  <a:pt x="1067" y="640"/>
                  <a:pt x="1067" y="639"/>
                </a:cubicBezTo>
                <a:cubicBezTo>
                  <a:pt x="1067" y="637"/>
                  <a:pt x="1067" y="636"/>
                  <a:pt x="1067" y="636"/>
                </a:cubicBezTo>
                <a:cubicBezTo>
                  <a:pt x="1067" y="636"/>
                  <a:pt x="1067" y="635"/>
                  <a:pt x="1067" y="634"/>
                </a:cubicBezTo>
                <a:cubicBezTo>
                  <a:pt x="1067" y="634"/>
                  <a:pt x="1067" y="633"/>
                  <a:pt x="1067" y="633"/>
                </a:cubicBezTo>
                <a:cubicBezTo>
                  <a:pt x="1068" y="632"/>
                  <a:pt x="1068" y="631"/>
                  <a:pt x="1069" y="628"/>
                </a:cubicBezTo>
                <a:cubicBezTo>
                  <a:pt x="1070" y="626"/>
                  <a:pt x="1071" y="623"/>
                  <a:pt x="1071" y="619"/>
                </a:cubicBezTo>
                <a:cubicBezTo>
                  <a:pt x="1072" y="616"/>
                  <a:pt x="1073" y="613"/>
                  <a:pt x="1074" y="610"/>
                </a:cubicBezTo>
                <a:cubicBezTo>
                  <a:pt x="1074" y="607"/>
                  <a:pt x="1074" y="606"/>
                  <a:pt x="1074" y="605"/>
                </a:cubicBezTo>
                <a:cubicBezTo>
                  <a:pt x="1074" y="605"/>
                  <a:pt x="1075" y="602"/>
                  <a:pt x="1076" y="596"/>
                </a:cubicBezTo>
                <a:cubicBezTo>
                  <a:pt x="1077" y="590"/>
                  <a:pt x="1079" y="583"/>
                  <a:pt x="1081" y="575"/>
                </a:cubicBezTo>
                <a:cubicBezTo>
                  <a:pt x="1082" y="567"/>
                  <a:pt x="1084" y="560"/>
                  <a:pt x="1085" y="554"/>
                </a:cubicBezTo>
                <a:cubicBezTo>
                  <a:pt x="1086" y="549"/>
                  <a:pt x="1086" y="545"/>
                  <a:pt x="1086" y="544"/>
                </a:cubicBezTo>
                <a:cubicBezTo>
                  <a:pt x="1086" y="543"/>
                  <a:pt x="1086" y="543"/>
                  <a:pt x="1086" y="543"/>
                </a:cubicBezTo>
                <a:lnTo>
                  <a:pt x="1086" y="542"/>
                </a:lnTo>
                <a:cubicBezTo>
                  <a:pt x="1088" y="542"/>
                  <a:pt x="1089" y="542"/>
                  <a:pt x="1089" y="541"/>
                </a:cubicBezTo>
                <a:lnTo>
                  <a:pt x="1087" y="539"/>
                </a:lnTo>
                <a:cubicBezTo>
                  <a:pt x="1087" y="537"/>
                  <a:pt x="1088" y="536"/>
                  <a:pt x="1089" y="534"/>
                </a:cubicBezTo>
                <a:cubicBezTo>
                  <a:pt x="1091" y="532"/>
                  <a:pt x="1091" y="530"/>
                  <a:pt x="1091" y="529"/>
                </a:cubicBezTo>
                <a:lnTo>
                  <a:pt x="1091" y="529"/>
                </a:lnTo>
                <a:cubicBezTo>
                  <a:pt x="1091" y="524"/>
                  <a:pt x="1095" y="510"/>
                  <a:pt x="1103" y="487"/>
                </a:cubicBezTo>
                <a:cubicBezTo>
                  <a:pt x="1112" y="458"/>
                  <a:pt x="1118" y="443"/>
                  <a:pt x="1121" y="443"/>
                </a:cubicBezTo>
                <a:cubicBezTo>
                  <a:pt x="1122" y="443"/>
                  <a:pt x="1123" y="444"/>
                  <a:pt x="1125" y="445"/>
                </a:cubicBezTo>
                <a:cubicBezTo>
                  <a:pt x="1130" y="447"/>
                  <a:pt x="1133" y="448"/>
                  <a:pt x="1133" y="448"/>
                </a:cubicBezTo>
                <a:cubicBezTo>
                  <a:pt x="1136" y="448"/>
                  <a:pt x="1137" y="449"/>
                  <a:pt x="1138" y="451"/>
                </a:cubicBezTo>
                <a:cubicBezTo>
                  <a:pt x="1138" y="458"/>
                  <a:pt x="1135" y="471"/>
                  <a:pt x="1129" y="490"/>
                </a:cubicBezTo>
                <a:cubicBezTo>
                  <a:pt x="1126" y="498"/>
                  <a:pt x="1123" y="508"/>
                  <a:pt x="1120" y="519"/>
                </a:cubicBezTo>
                <a:cubicBezTo>
                  <a:pt x="1103" y="576"/>
                  <a:pt x="1094" y="606"/>
                  <a:pt x="1093" y="611"/>
                </a:cubicBezTo>
                <a:cubicBezTo>
                  <a:pt x="1091" y="615"/>
                  <a:pt x="1090" y="620"/>
                  <a:pt x="1089" y="626"/>
                </a:cubicBezTo>
                <a:cubicBezTo>
                  <a:pt x="1089" y="630"/>
                  <a:pt x="1088" y="632"/>
                  <a:pt x="1088" y="632"/>
                </a:cubicBezTo>
                <a:cubicBezTo>
                  <a:pt x="1087" y="632"/>
                  <a:pt x="1086" y="633"/>
                  <a:pt x="1085" y="636"/>
                </a:cubicBezTo>
                <a:cubicBezTo>
                  <a:pt x="1084" y="639"/>
                  <a:pt x="1083" y="643"/>
                  <a:pt x="1082" y="648"/>
                </a:cubicBezTo>
                <a:cubicBezTo>
                  <a:pt x="1080" y="659"/>
                  <a:pt x="1078" y="664"/>
                  <a:pt x="1077" y="665"/>
                </a:cubicBezTo>
                <a:cubicBezTo>
                  <a:pt x="1077" y="666"/>
                  <a:pt x="1076" y="666"/>
                  <a:pt x="1076" y="668"/>
                </a:cubicBezTo>
                <a:lnTo>
                  <a:pt x="1077" y="676"/>
                </a:lnTo>
                <a:cubicBezTo>
                  <a:pt x="1077" y="679"/>
                  <a:pt x="1076" y="681"/>
                  <a:pt x="1075" y="681"/>
                </a:cubicBezTo>
                <a:lnTo>
                  <a:pt x="1074" y="681"/>
                </a:lnTo>
                <a:cubicBezTo>
                  <a:pt x="1074" y="681"/>
                  <a:pt x="1073" y="681"/>
                  <a:pt x="1073" y="681"/>
                </a:cubicBezTo>
                <a:cubicBezTo>
                  <a:pt x="1074" y="682"/>
                  <a:pt x="1075" y="683"/>
                  <a:pt x="1075" y="685"/>
                </a:cubicBezTo>
                <a:cubicBezTo>
                  <a:pt x="1075" y="686"/>
                  <a:pt x="1074" y="686"/>
                  <a:pt x="1074" y="686"/>
                </a:cubicBezTo>
                <a:cubicBezTo>
                  <a:pt x="1073" y="686"/>
                  <a:pt x="1072" y="687"/>
                  <a:pt x="1072" y="688"/>
                </a:cubicBezTo>
                <a:lnTo>
                  <a:pt x="1072" y="688"/>
                </a:lnTo>
                <a:cubicBezTo>
                  <a:pt x="1073" y="690"/>
                  <a:pt x="1073" y="691"/>
                  <a:pt x="1073" y="692"/>
                </a:cubicBezTo>
                <a:cubicBezTo>
                  <a:pt x="1073" y="694"/>
                  <a:pt x="1073" y="695"/>
                  <a:pt x="1072" y="695"/>
                </a:cubicBezTo>
                <a:lnTo>
                  <a:pt x="1069" y="694"/>
                </a:lnTo>
                <a:cubicBezTo>
                  <a:pt x="1069" y="694"/>
                  <a:pt x="1069" y="694"/>
                  <a:pt x="1069" y="694"/>
                </a:cubicBezTo>
                <a:cubicBezTo>
                  <a:pt x="1069" y="694"/>
                  <a:pt x="1070" y="695"/>
                  <a:pt x="1070" y="696"/>
                </a:cubicBezTo>
                <a:cubicBezTo>
                  <a:pt x="1071" y="698"/>
                  <a:pt x="1071" y="698"/>
                  <a:pt x="1071" y="699"/>
                </a:cubicBezTo>
                <a:lnTo>
                  <a:pt x="1071" y="700"/>
                </a:lnTo>
                <a:lnTo>
                  <a:pt x="1071" y="700"/>
                </a:lnTo>
                <a:cubicBezTo>
                  <a:pt x="1071" y="700"/>
                  <a:pt x="1070" y="699"/>
                  <a:pt x="1069" y="699"/>
                </a:cubicBezTo>
                <a:cubicBezTo>
                  <a:pt x="1067" y="698"/>
                  <a:pt x="1067" y="698"/>
                  <a:pt x="1066" y="698"/>
                </a:cubicBezTo>
                <a:lnTo>
                  <a:pt x="1066" y="699"/>
                </a:lnTo>
                <a:lnTo>
                  <a:pt x="1067" y="699"/>
                </a:lnTo>
                <a:cubicBezTo>
                  <a:pt x="1067" y="700"/>
                  <a:pt x="1067" y="700"/>
                  <a:pt x="1067" y="701"/>
                </a:cubicBezTo>
                <a:cubicBezTo>
                  <a:pt x="1067" y="701"/>
                  <a:pt x="1067" y="702"/>
                  <a:pt x="1067" y="703"/>
                </a:cubicBezTo>
                <a:cubicBezTo>
                  <a:pt x="1067" y="704"/>
                  <a:pt x="1067" y="705"/>
                  <a:pt x="1067" y="706"/>
                </a:cubicBezTo>
                <a:cubicBezTo>
                  <a:pt x="1067" y="707"/>
                  <a:pt x="1067" y="709"/>
                  <a:pt x="1067" y="711"/>
                </a:cubicBezTo>
                <a:cubicBezTo>
                  <a:pt x="1067" y="718"/>
                  <a:pt x="1067" y="722"/>
                  <a:pt x="1068" y="722"/>
                </a:cubicBezTo>
                <a:lnTo>
                  <a:pt x="1069" y="721"/>
                </a:lnTo>
                <a:cubicBezTo>
                  <a:pt x="1069" y="721"/>
                  <a:pt x="1069" y="720"/>
                  <a:pt x="1071" y="718"/>
                </a:cubicBezTo>
                <a:cubicBezTo>
                  <a:pt x="1072" y="716"/>
                  <a:pt x="1073" y="713"/>
                  <a:pt x="1074" y="710"/>
                </a:cubicBezTo>
                <a:cubicBezTo>
                  <a:pt x="1076" y="707"/>
                  <a:pt x="1077" y="705"/>
                  <a:pt x="1079" y="703"/>
                </a:cubicBezTo>
                <a:cubicBezTo>
                  <a:pt x="1080" y="701"/>
                  <a:pt x="1081" y="700"/>
                  <a:pt x="1082" y="700"/>
                </a:cubicBezTo>
                <a:cubicBezTo>
                  <a:pt x="1083" y="700"/>
                  <a:pt x="1084" y="700"/>
                  <a:pt x="1085" y="698"/>
                </a:cubicBezTo>
                <a:cubicBezTo>
                  <a:pt x="1087" y="697"/>
                  <a:pt x="1088" y="696"/>
                  <a:pt x="1089" y="693"/>
                </a:cubicBezTo>
                <a:cubicBezTo>
                  <a:pt x="1090" y="691"/>
                  <a:pt x="1091" y="690"/>
                  <a:pt x="1091" y="689"/>
                </a:cubicBezTo>
                <a:cubicBezTo>
                  <a:pt x="1091" y="689"/>
                  <a:pt x="1091" y="688"/>
                  <a:pt x="1090" y="688"/>
                </a:cubicBezTo>
                <a:cubicBezTo>
                  <a:pt x="1089" y="688"/>
                  <a:pt x="1088" y="690"/>
                  <a:pt x="1087" y="693"/>
                </a:cubicBezTo>
                <a:cubicBezTo>
                  <a:pt x="1086" y="696"/>
                  <a:pt x="1084" y="698"/>
                  <a:pt x="1083" y="698"/>
                </a:cubicBezTo>
                <a:cubicBezTo>
                  <a:pt x="1082" y="698"/>
                  <a:pt x="1082" y="697"/>
                  <a:pt x="1082" y="696"/>
                </a:cubicBezTo>
                <a:cubicBezTo>
                  <a:pt x="1082" y="694"/>
                  <a:pt x="1084" y="690"/>
                  <a:pt x="1089" y="685"/>
                </a:cubicBezTo>
                <a:cubicBezTo>
                  <a:pt x="1090" y="683"/>
                  <a:pt x="1090" y="682"/>
                  <a:pt x="1090" y="681"/>
                </a:cubicBezTo>
                <a:cubicBezTo>
                  <a:pt x="1090" y="680"/>
                  <a:pt x="1090" y="679"/>
                  <a:pt x="1089" y="679"/>
                </a:cubicBezTo>
                <a:lnTo>
                  <a:pt x="1089" y="677"/>
                </a:lnTo>
                <a:lnTo>
                  <a:pt x="1092" y="679"/>
                </a:lnTo>
                <a:cubicBezTo>
                  <a:pt x="1094" y="680"/>
                  <a:pt x="1095" y="681"/>
                  <a:pt x="1095" y="681"/>
                </a:cubicBezTo>
                <a:cubicBezTo>
                  <a:pt x="1096" y="681"/>
                  <a:pt x="1097" y="680"/>
                  <a:pt x="1098" y="679"/>
                </a:cubicBezTo>
                <a:lnTo>
                  <a:pt x="1099" y="676"/>
                </a:lnTo>
                <a:cubicBezTo>
                  <a:pt x="1098" y="676"/>
                  <a:pt x="1097" y="676"/>
                  <a:pt x="1096" y="676"/>
                </a:cubicBezTo>
                <a:cubicBezTo>
                  <a:pt x="1094" y="676"/>
                  <a:pt x="1093" y="676"/>
                  <a:pt x="1093" y="676"/>
                </a:cubicBezTo>
                <a:lnTo>
                  <a:pt x="1093" y="674"/>
                </a:lnTo>
                <a:cubicBezTo>
                  <a:pt x="1093" y="674"/>
                  <a:pt x="1093" y="673"/>
                  <a:pt x="1095" y="672"/>
                </a:cubicBezTo>
                <a:cubicBezTo>
                  <a:pt x="1096" y="671"/>
                  <a:pt x="1097" y="671"/>
                  <a:pt x="1097" y="670"/>
                </a:cubicBezTo>
                <a:lnTo>
                  <a:pt x="1097" y="669"/>
                </a:lnTo>
                <a:cubicBezTo>
                  <a:pt x="1097" y="669"/>
                  <a:pt x="1096" y="667"/>
                  <a:pt x="1095" y="666"/>
                </a:cubicBezTo>
                <a:lnTo>
                  <a:pt x="1095" y="666"/>
                </a:lnTo>
                <a:cubicBezTo>
                  <a:pt x="1096" y="666"/>
                  <a:pt x="1097" y="666"/>
                  <a:pt x="1098" y="667"/>
                </a:cubicBezTo>
                <a:cubicBezTo>
                  <a:pt x="1099" y="668"/>
                  <a:pt x="1101" y="669"/>
                  <a:pt x="1101" y="669"/>
                </a:cubicBezTo>
                <a:cubicBezTo>
                  <a:pt x="1103" y="669"/>
                  <a:pt x="1104" y="668"/>
                  <a:pt x="1104" y="665"/>
                </a:cubicBezTo>
                <a:lnTo>
                  <a:pt x="1104" y="661"/>
                </a:lnTo>
                <a:lnTo>
                  <a:pt x="1103" y="660"/>
                </a:lnTo>
                <a:cubicBezTo>
                  <a:pt x="1103" y="659"/>
                  <a:pt x="1104" y="659"/>
                  <a:pt x="1104" y="658"/>
                </a:cubicBezTo>
                <a:cubicBezTo>
                  <a:pt x="1104" y="658"/>
                  <a:pt x="1105" y="658"/>
                  <a:pt x="1106" y="658"/>
                </a:cubicBezTo>
                <a:cubicBezTo>
                  <a:pt x="1106" y="658"/>
                  <a:pt x="1107" y="657"/>
                  <a:pt x="1108" y="657"/>
                </a:cubicBezTo>
                <a:cubicBezTo>
                  <a:pt x="1110" y="655"/>
                  <a:pt x="1111" y="653"/>
                  <a:pt x="1111" y="652"/>
                </a:cubicBezTo>
                <a:lnTo>
                  <a:pt x="1109" y="653"/>
                </a:lnTo>
                <a:cubicBezTo>
                  <a:pt x="1109" y="652"/>
                  <a:pt x="1110" y="650"/>
                  <a:pt x="1112" y="646"/>
                </a:cubicBezTo>
                <a:cubicBezTo>
                  <a:pt x="1119" y="634"/>
                  <a:pt x="1127" y="622"/>
                  <a:pt x="1136" y="611"/>
                </a:cubicBezTo>
                <a:cubicBezTo>
                  <a:pt x="1139" y="606"/>
                  <a:pt x="1141" y="603"/>
                  <a:pt x="1142" y="603"/>
                </a:cubicBezTo>
                <a:lnTo>
                  <a:pt x="1142" y="605"/>
                </a:lnTo>
                <a:cubicBezTo>
                  <a:pt x="1143" y="605"/>
                  <a:pt x="1144" y="603"/>
                  <a:pt x="1146" y="601"/>
                </a:cubicBezTo>
                <a:cubicBezTo>
                  <a:pt x="1148" y="599"/>
                  <a:pt x="1149" y="597"/>
                  <a:pt x="1149" y="595"/>
                </a:cubicBezTo>
                <a:lnTo>
                  <a:pt x="1149" y="593"/>
                </a:lnTo>
                <a:cubicBezTo>
                  <a:pt x="1149" y="591"/>
                  <a:pt x="1151" y="588"/>
                  <a:pt x="1154" y="581"/>
                </a:cubicBezTo>
                <a:cubicBezTo>
                  <a:pt x="1163" y="567"/>
                  <a:pt x="1171" y="554"/>
                  <a:pt x="1181" y="544"/>
                </a:cubicBezTo>
                <a:cubicBezTo>
                  <a:pt x="1187" y="536"/>
                  <a:pt x="1193" y="532"/>
                  <a:pt x="1199" y="532"/>
                </a:cubicBezTo>
                <a:cubicBezTo>
                  <a:pt x="1202" y="532"/>
                  <a:pt x="1205" y="533"/>
                  <a:pt x="1207" y="535"/>
                </a:cubicBezTo>
                <a:lnTo>
                  <a:pt x="1210" y="537"/>
                </a:lnTo>
                <a:lnTo>
                  <a:pt x="1210" y="537"/>
                </a:lnTo>
                <a:lnTo>
                  <a:pt x="1209" y="535"/>
                </a:lnTo>
                <a:lnTo>
                  <a:pt x="1209" y="535"/>
                </a:lnTo>
                <a:cubicBezTo>
                  <a:pt x="1210" y="535"/>
                  <a:pt x="1211" y="536"/>
                  <a:pt x="1213" y="537"/>
                </a:cubicBezTo>
                <a:cubicBezTo>
                  <a:pt x="1216" y="538"/>
                  <a:pt x="1218" y="539"/>
                  <a:pt x="1221" y="541"/>
                </a:cubicBezTo>
                <a:cubicBezTo>
                  <a:pt x="1224" y="542"/>
                  <a:pt x="1226" y="544"/>
                  <a:pt x="1227" y="545"/>
                </a:cubicBezTo>
                <a:cubicBezTo>
                  <a:pt x="1230" y="549"/>
                  <a:pt x="1234" y="560"/>
                  <a:pt x="1240" y="577"/>
                </a:cubicBezTo>
                <a:cubicBezTo>
                  <a:pt x="1245" y="594"/>
                  <a:pt x="1249" y="606"/>
                  <a:pt x="1252" y="612"/>
                </a:cubicBezTo>
                <a:cubicBezTo>
                  <a:pt x="1255" y="617"/>
                  <a:pt x="1258" y="620"/>
                  <a:pt x="1262" y="620"/>
                </a:cubicBezTo>
                <a:cubicBezTo>
                  <a:pt x="1266" y="620"/>
                  <a:pt x="1272" y="618"/>
                  <a:pt x="1280" y="614"/>
                </a:cubicBezTo>
                <a:cubicBezTo>
                  <a:pt x="1286" y="610"/>
                  <a:pt x="1292" y="607"/>
                  <a:pt x="1298" y="602"/>
                </a:cubicBezTo>
                <a:cubicBezTo>
                  <a:pt x="1301" y="600"/>
                  <a:pt x="1305" y="596"/>
                  <a:pt x="1311" y="593"/>
                </a:cubicBezTo>
                <a:cubicBezTo>
                  <a:pt x="1324" y="583"/>
                  <a:pt x="1332" y="578"/>
                  <a:pt x="1334" y="578"/>
                </a:cubicBezTo>
                <a:cubicBezTo>
                  <a:pt x="1338" y="578"/>
                  <a:pt x="1340" y="581"/>
                  <a:pt x="1340" y="586"/>
                </a:cubicBezTo>
                <a:cubicBezTo>
                  <a:pt x="1340" y="597"/>
                  <a:pt x="1336" y="606"/>
                  <a:pt x="1329" y="615"/>
                </a:cubicBezTo>
                <a:cubicBezTo>
                  <a:pt x="1314" y="633"/>
                  <a:pt x="1297" y="642"/>
                  <a:pt x="1278" y="642"/>
                </a:cubicBezTo>
                <a:cubicBezTo>
                  <a:pt x="1269" y="642"/>
                  <a:pt x="1260" y="640"/>
                  <a:pt x="1252" y="636"/>
                </a:cubicBezTo>
                <a:cubicBezTo>
                  <a:pt x="1235" y="630"/>
                  <a:pt x="1223" y="612"/>
                  <a:pt x="1215" y="582"/>
                </a:cubicBezTo>
                <a:cubicBezTo>
                  <a:pt x="1212" y="571"/>
                  <a:pt x="1209" y="565"/>
                  <a:pt x="1206" y="565"/>
                </a:cubicBezTo>
                <a:cubicBezTo>
                  <a:pt x="1203" y="565"/>
                  <a:pt x="1198" y="572"/>
                  <a:pt x="1190" y="584"/>
                </a:cubicBezTo>
                <a:cubicBezTo>
                  <a:pt x="1185" y="592"/>
                  <a:pt x="1179" y="600"/>
                  <a:pt x="1172" y="611"/>
                </a:cubicBezTo>
                <a:cubicBezTo>
                  <a:pt x="1165" y="621"/>
                  <a:pt x="1159" y="631"/>
                  <a:pt x="1154" y="639"/>
                </a:cubicBezTo>
                <a:cubicBezTo>
                  <a:pt x="1142" y="659"/>
                  <a:pt x="1135" y="669"/>
                  <a:pt x="1133" y="671"/>
                </a:cubicBezTo>
                <a:cubicBezTo>
                  <a:pt x="1130" y="672"/>
                  <a:pt x="1129" y="673"/>
                  <a:pt x="1129" y="674"/>
                </a:cubicBezTo>
                <a:cubicBezTo>
                  <a:pt x="1129" y="674"/>
                  <a:pt x="1129" y="674"/>
                  <a:pt x="1129" y="674"/>
                </a:cubicBezTo>
                <a:cubicBezTo>
                  <a:pt x="1130" y="674"/>
                  <a:pt x="1130" y="674"/>
                  <a:pt x="1130" y="674"/>
                </a:cubicBezTo>
                <a:lnTo>
                  <a:pt x="1133" y="673"/>
                </a:lnTo>
                <a:lnTo>
                  <a:pt x="1131" y="678"/>
                </a:lnTo>
                <a:lnTo>
                  <a:pt x="1124" y="692"/>
                </a:lnTo>
                <a:cubicBezTo>
                  <a:pt x="1123" y="695"/>
                  <a:pt x="1121" y="698"/>
                  <a:pt x="1119" y="700"/>
                </a:cubicBezTo>
                <a:cubicBezTo>
                  <a:pt x="1118" y="702"/>
                  <a:pt x="1116" y="703"/>
                  <a:pt x="1116" y="703"/>
                </a:cubicBezTo>
                <a:lnTo>
                  <a:pt x="1114" y="702"/>
                </a:lnTo>
                <a:cubicBezTo>
                  <a:pt x="1114" y="703"/>
                  <a:pt x="1115" y="703"/>
                  <a:pt x="1115" y="703"/>
                </a:cubicBezTo>
                <a:cubicBezTo>
                  <a:pt x="1116" y="704"/>
                  <a:pt x="1116" y="705"/>
                  <a:pt x="1116" y="705"/>
                </a:cubicBezTo>
                <a:cubicBezTo>
                  <a:pt x="1116" y="707"/>
                  <a:pt x="1116" y="710"/>
                  <a:pt x="1115" y="712"/>
                </a:cubicBezTo>
                <a:cubicBezTo>
                  <a:pt x="1114" y="714"/>
                  <a:pt x="1113" y="715"/>
                  <a:pt x="1111" y="715"/>
                </a:cubicBezTo>
                <a:lnTo>
                  <a:pt x="1109" y="714"/>
                </a:lnTo>
                <a:lnTo>
                  <a:pt x="1110" y="717"/>
                </a:lnTo>
                <a:cubicBezTo>
                  <a:pt x="1110" y="722"/>
                  <a:pt x="1103" y="739"/>
                  <a:pt x="1089" y="766"/>
                </a:cubicBezTo>
                <a:cubicBezTo>
                  <a:pt x="1074" y="794"/>
                  <a:pt x="1065" y="808"/>
                  <a:pt x="1062" y="808"/>
                </a:cubicBezTo>
                <a:cubicBezTo>
                  <a:pt x="1059" y="808"/>
                  <a:pt x="1057" y="809"/>
                  <a:pt x="1056" y="810"/>
                </a:cubicBezTo>
                <a:cubicBezTo>
                  <a:pt x="1056" y="812"/>
                  <a:pt x="1055" y="812"/>
                  <a:pt x="1054" y="812"/>
                </a:cubicBezTo>
                <a:close/>
                <a:moveTo>
                  <a:pt x="1064" y="688"/>
                </a:moveTo>
                <a:cubicBezTo>
                  <a:pt x="1064" y="688"/>
                  <a:pt x="1065" y="688"/>
                  <a:pt x="1066" y="687"/>
                </a:cubicBezTo>
                <a:cubicBezTo>
                  <a:pt x="1066" y="686"/>
                  <a:pt x="1067" y="685"/>
                  <a:pt x="1067" y="684"/>
                </a:cubicBezTo>
                <a:lnTo>
                  <a:pt x="1066" y="683"/>
                </a:lnTo>
                <a:cubicBezTo>
                  <a:pt x="1065" y="683"/>
                  <a:pt x="1064" y="683"/>
                  <a:pt x="1064" y="686"/>
                </a:cubicBezTo>
                <a:lnTo>
                  <a:pt x="1064" y="688"/>
                </a:lnTo>
                <a:close/>
                <a:moveTo>
                  <a:pt x="1052" y="810"/>
                </a:moveTo>
                <a:cubicBezTo>
                  <a:pt x="1052" y="810"/>
                  <a:pt x="1053" y="809"/>
                  <a:pt x="1054" y="807"/>
                </a:cubicBezTo>
                <a:cubicBezTo>
                  <a:pt x="1055" y="806"/>
                  <a:pt x="1056" y="805"/>
                  <a:pt x="1056" y="804"/>
                </a:cubicBezTo>
                <a:lnTo>
                  <a:pt x="1055" y="804"/>
                </a:lnTo>
                <a:cubicBezTo>
                  <a:pt x="1055" y="804"/>
                  <a:pt x="1054" y="804"/>
                  <a:pt x="1052" y="805"/>
                </a:cubicBezTo>
                <a:cubicBezTo>
                  <a:pt x="1051" y="806"/>
                  <a:pt x="1050" y="806"/>
                  <a:pt x="1050" y="808"/>
                </a:cubicBezTo>
                <a:cubicBezTo>
                  <a:pt x="1050" y="809"/>
                  <a:pt x="1051" y="810"/>
                  <a:pt x="1052" y="810"/>
                </a:cubicBezTo>
                <a:close/>
                <a:moveTo>
                  <a:pt x="1051" y="800"/>
                </a:moveTo>
                <a:cubicBezTo>
                  <a:pt x="1052" y="800"/>
                  <a:pt x="1053" y="800"/>
                  <a:pt x="1054" y="799"/>
                </a:cubicBezTo>
                <a:cubicBezTo>
                  <a:pt x="1055" y="797"/>
                  <a:pt x="1056" y="796"/>
                  <a:pt x="1056" y="796"/>
                </a:cubicBezTo>
                <a:cubicBezTo>
                  <a:pt x="1056" y="796"/>
                  <a:pt x="1056" y="796"/>
                  <a:pt x="1055" y="795"/>
                </a:cubicBezTo>
                <a:cubicBezTo>
                  <a:pt x="1055" y="795"/>
                  <a:pt x="1055" y="795"/>
                  <a:pt x="1054" y="794"/>
                </a:cubicBezTo>
                <a:cubicBezTo>
                  <a:pt x="1054" y="794"/>
                  <a:pt x="1054" y="794"/>
                  <a:pt x="1054" y="794"/>
                </a:cubicBezTo>
                <a:cubicBezTo>
                  <a:pt x="1053" y="794"/>
                  <a:pt x="1052" y="795"/>
                  <a:pt x="1051" y="796"/>
                </a:cubicBezTo>
                <a:cubicBezTo>
                  <a:pt x="1051" y="796"/>
                  <a:pt x="1050" y="797"/>
                  <a:pt x="1050" y="798"/>
                </a:cubicBezTo>
                <a:cubicBezTo>
                  <a:pt x="1050" y="800"/>
                  <a:pt x="1051" y="800"/>
                  <a:pt x="1051" y="800"/>
                </a:cubicBezTo>
                <a:close/>
                <a:moveTo>
                  <a:pt x="1060" y="802"/>
                </a:moveTo>
                <a:cubicBezTo>
                  <a:pt x="1061" y="802"/>
                  <a:pt x="1064" y="801"/>
                  <a:pt x="1067" y="797"/>
                </a:cubicBezTo>
                <a:cubicBezTo>
                  <a:pt x="1069" y="795"/>
                  <a:pt x="1069" y="794"/>
                  <a:pt x="1069" y="792"/>
                </a:cubicBezTo>
                <a:lnTo>
                  <a:pt x="1068" y="790"/>
                </a:lnTo>
                <a:lnTo>
                  <a:pt x="1069" y="790"/>
                </a:lnTo>
                <a:cubicBezTo>
                  <a:pt x="1070" y="790"/>
                  <a:pt x="1071" y="790"/>
                  <a:pt x="1072" y="788"/>
                </a:cubicBezTo>
                <a:cubicBezTo>
                  <a:pt x="1074" y="787"/>
                  <a:pt x="1075" y="785"/>
                  <a:pt x="1076" y="782"/>
                </a:cubicBezTo>
                <a:cubicBezTo>
                  <a:pt x="1078" y="779"/>
                  <a:pt x="1079" y="777"/>
                  <a:pt x="1079" y="777"/>
                </a:cubicBezTo>
                <a:lnTo>
                  <a:pt x="1077" y="777"/>
                </a:lnTo>
                <a:lnTo>
                  <a:pt x="1077" y="777"/>
                </a:lnTo>
                <a:cubicBezTo>
                  <a:pt x="1077" y="776"/>
                  <a:pt x="1078" y="775"/>
                  <a:pt x="1080" y="773"/>
                </a:cubicBezTo>
                <a:cubicBezTo>
                  <a:pt x="1082" y="771"/>
                  <a:pt x="1083" y="769"/>
                  <a:pt x="1083" y="767"/>
                </a:cubicBezTo>
                <a:lnTo>
                  <a:pt x="1082" y="767"/>
                </a:lnTo>
                <a:cubicBezTo>
                  <a:pt x="1082" y="766"/>
                  <a:pt x="1082" y="766"/>
                  <a:pt x="1082" y="765"/>
                </a:cubicBezTo>
                <a:cubicBezTo>
                  <a:pt x="1082" y="765"/>
                  <a:pt x="1082" y="765"/>
                  <a:pt x="1083" y="765"/>
                </a:cubicBezTo>
                <a:cubicBezTo>
                  <a:pt x="1084" y="765"/>
                  <a:pt x="1084" y="764"/>
                  <a:pt x="1084" y="763"/>
                </a:cubicBezTo>
                <a:cubicBezTo>
                  <a:pt x="1084" y="762"/>
                  <a:pt x="1085" y="760"/>
                  <a:pt x="1087" y="758"/>
                </a:cubicBezTo>
                <a:cubicBezTo>
                  <a:pt x="1090" y="756"/>
                  <a:pt x="1091" y="754"/>
                  <a:pt x="1091" y="752"/>
                </a:cubicBezTo>
                <a:cubicBezTo>
                  <a:pt x="1091" y="750"/>
                  <a:pt x="1091" y="750"/>
                  <a:pt x="1091" y="749"/>
                </a:cubicBezTo>
                <a:cubicBezTo>
                  <a:pt x="1091" y="747"/>
                  <a:pt x="1091" y="747"/>
                  <a:pt x="1091" y="747"/>
                </a:cubicBezTo>
                <a:lnTo>
                  <a:pt x="1093" y="747"/>
                </a:lnTo>
                <a:cubicBezTo>
                  <a:pt x="1095" y="747"/>
                  <a:pt x="1096" y="745"/>
                  <a:pt x="1096" y="742"/>
                </a:cubicBezTo>
                <a:cubicBezTo>
                  <a:pt x="1096" y="740"/>
                  <a:pt x="1096" y="738"/>
                  <a:pt x="1096" y="737"/>
                </a:cubicBezTo>
                <a:cubicBezTo>
                  <a:pt x="1095" y="737"/>
                  <a:pt x="1094" y="737"/>
                  <a:pt x="1094" y="737"/>
                </a:cubicBezTo>
                <a:cubicBezTo>
                  <a:pt x="1093" y="737"/>
                  <a:pt x="1093" y="737"/>
                  <a:pt x="1093" y="738"/>
                </a:cubicBezTo>
                <a:cubicBezTo>
                  <a:pt x="1093" y="739"/>
                  <a:pt x="1093" y="740"/>
                  <a:pt x="1094" y="740"/>
                </a:cubicBezTo>
                <a:cubicBezTo>
                  <a:pt x="1094" y="741"/>
                  <a:pt x="1094" y="742"/>
                  <a:pt x="1095" y="742"/>
                </a:cubicBezTo>
                <a:cubicBezTo>
                  <a:pt x="1095" y="742"/>
                  <a:pt x="1095" y="743"/>
                  <a:pt x="1094" y="743"/>
                </a:cubicBezTo>
                <a:lnTo>
                  <a:pt x="1091" y="742"/>
                </a:lnTo>
                <a:lnTo>
                  <a:pt x="1094" y="745"/>
                </a:lnTo>
                <a:lnTo>
                  <a:pt x="1094" y="746"/>
                </a:lnTo>
                <a:cubicBezTo>
                  <a:pt x="1094" y="746"/>
                  <a:pt x="1093" y="745"/>
                  <a:pt x="1092" y="745"/>
                </a:cubicBezTo>
                <a:cubicBezTo>
                  <a:pt x="1091" y="745"/>
                  <a:pt x="1091" y="744"/>
                  <a:pt x="1090" y="744"/>
                </a:cubicBezTo>
                <a:cubicBezTo>
                  <a:pt x="1089" y="744"/>
                  <a:pt x="1088" y="745"/>
                  <a:pt x="1088" y="746"/>
                </a:cubicBezTo>
                <a:cubicBezTo>
                  <a:pt x="1087" y="747"/>
                  <a:pt x="1085" y="748"/>
                  <a:pt x="1081" y="750"/>
                </a:cubicBezTo>
                <a:cubicBezTo>
                  <a:pt x="1076" y="751"/>
                  <a:pt x="1073" y="752"/>
                  <a:pt x="1073" y="753"/>
                </a:cubicBezTo>
                <a:cubicBezTo>
                  <a:pt x="1073" y="754"/>
                  <a:pt x="1074" y="754"/>
                  <a:pt x="1074" y="755"/>
                </a:cubicBezTo>
                <a:cubicBezTo>
                  <a:pt x="1074" y="756"/>
                  <a:pt x="1075" y="756"/>
                  <a:pt x="1076" y="756"/>
                </a:cubicBezTo>
                <a:cubicBezTo>
                  <a:pt x="1077" y="756"/>
                  <a:pt x="1078" y="755"/>
                  <a:pt x="1079" y="754"/>
                </a:cubicBezTo>
                <a:cubicBezTo>
                  <a:pt x="1080" y="752"/>
                  <a:pt x="1081" y="752"/>
                  <a:pt x="1082" y="752"/>
                </a:cubicBezTo>
                <a:cubicBezTo>
                  <a:pt x="1084" y="752"/>
                  <a:pt x="1084" y="752"/>
                  <a:pt x="1084" y="753"/>
                </a:cubicBezTo>
                <a:cubicBezTo>
                  <a:pt x="1084" y="755"/>
                  <a:pt x="1084" y="755"/>
                  <a:pt x="1083" y="756"/>
                </a:cubicBezTo>
                <a:cubicBezTo>
                  <a:pt x="1082" y="756"/>
                  <a:pt x="1081" y="757"/>
                  <a:pt x="1080" y="759"/>
                </a:cubicBezTo>
                <a:cubicBezTo>
                  <a:pt x="1078" y="762"/>
                  <a:pt x="1074" y="769"/>
                  <a:pt x="1068" y="782"/>
                </a:cubicBezTo>
                <a:lnTo>
                  <a:pt x="1062" y="792"/>
                </a:lnTo>
                <a:cubicBezTo>
                  <a:pt x="1060" y="796"/>
                  <a:pt x="1058" y="799"/>
                  <a:pt x="1058" y="801"/>
                </a:cubicBezTo>
                <a:cubicBezTo>
                  <a:pt x="1058" y="802"/>
                  <a:pt x="1059" y="802"/>
                  <a:pt x="1060" y="802"/>
                </a:cubicBezTo>
                <a:close/>
                <a:moveTo>
                  <a:pt x="1058" y="792"/>
                </a:moveTo>
                <a:cubicBezTo>
                  <a:pt x="1058" y="792"/>
                  <a:pt x="1059" y="791"/>
                  <a:pt x="1059" y="791"/>
                </a:cubicBezTo>
                <a:cubicBezTo>
                  <a:pt x="1059" y="790"/>
                  <a:pt x="1060" y="789"/>
                  <a:pt x="1061" y="789"/>
                </a:cubicBezTo>
                <a:cubicBezTo>
                  <a:pt x="1061" y="788"/>
                  <a:pt x="1062" y="787"/>
                  <a:pt x="1062" y="786"/>
                </a:cubicBezTo>
                <a:cubicBezTo>
                  <a:pt x="1062" y="785"/>
                  <a:pt x="1061" y="785"/>
                  <a:pt x="1060" y="785"/>
                </a:cubicBezTo>
                <a:cubicBezTo>
                  <a:pt x="1059" y="785"/>
                  <a:pt x="1058" y="786"/>
                  <a:pt x="1058" y="788"/>
                </a:cubicBezTo>
                <a:lnTo>
                  <a:pt x="1058" y="792"/>
                </a:lnTo>
                <a:close/>
                <a:moveTo>
                  <a:pt x="1061" y="780"/>
                </a:moveTo>
                <a:cubicBezTo>
                  <a:pt x="1062" y="780"/>
                  <a:pt x="1063" y="780"/>
                  <a:pt x="1065" y="779"/>
                </a:cubicBezTo>
                <a:cubicBezTo>
                  <a:pt x="1066" y="778"/>
                  <a:pt x="1067" y="777"/>
                  <a:pt x="1068" y="776"/>
                </a:cubicBezTo>
                <a:cubicBezTo>
                  <a:pt x="1069" y="774"/>
                  <a:pt x="1069" y="773"/>
                  <a:pt x="1069" y="772"/>
                </a:cubicBezTo>
                <a:cubicBezTo>
                  <a:pt x="1069" y="772"/>
                  <a:pt x="1068" y="771"/>
                  <a:pt x="1067" y="771"/>
                </a:cubicBezTo>
                <a:cubicBezTo>
                  <a:pt x="1067" y="771"/>
                  <a:pt x="1066" y="770"/>
                  <a:pt x="1066" y="768"/>
                </a:cubicBezTo>
                <a:lnTo>
                  <a:pt x="1067" y="767"/>
                </a:lnTo>
                <a:lnTo>
                  <a:pt x="1066" y="767"/>
                </a:lnTo>
                <a:lnTo>
                  <a:pt x="1064" y="767"/>
                </a:lnTo>
                <a:cubicBezTo>
                  <a:pt x="1061" y="768"/>
                  <a:pt x="1060" y="769"/>
                  <a:pt x="1059" y="769"/>
                </a:cubicBezTo>
                <a:cubicBezTo>
                  <a:pt x="1059" y="770"/>
                  <a:pt x="1060" y="771"/>
                  <a:pt x="1063" y="772"/>
                </a:cubicBezTo>
                <a:lnTo>
                  <a:pt x="1067" y="775"/>
                </a:lnTo>
                <a:cubicBezTo>
                  <a:pt x="1067" y="776"/>
                  <a:pt x="1066" y="777"/>
                  <a:pt x="1063" y="778"/>
                </a:cubicBezTo>
                <a:cubicBezTo>
                  <a:pt x="1061" y="779"/>
                  <a:pt x="1060" y="779"/>
                  <a:pt x="1060" y="779"/>
                </a:cubicBezTo>
                <a:cubicBezTo>
                  <a:pt x="1060" y="780"/>
                  <a:pt x="1061" y="780"/>
                  <a:pt x="1061" y="780"/>
                </a:cubicBezTo>
                <a:close/>
                <a:moveTo>
                  <a:pt x="1071" y="767"/>
                </a:moveTo>
                <a:cubicBezTo>
                  <a:pt x="1072" y="767"/>
                  <a:pt x="1073" y="766"/>
                  <a:pt x="1074" y="764"/>
                </a:cubicBezTo>
                <a:cubicBezTo>
                  <a:pt x="1075" y="762"/>
                  <a:pt x="1075" y="761"/>
                  <a:pt x="1075" y="760"/>
                </a:cubicBezTo>
                <a:cubicBezTo>
                  <a:pt x="1074" y="757"/>
                  <a:pt x="1072" y="755"/>
                  <a:pt x="1069" y="755"/>
                </a:cubicBezTo>
                <a:cubicBezTo>
                  <a:pt x="1067" y="755"/>
                  <a:pt x="1066" y="756"/>
                  <a:pt x="1066" y="758"/>
                </a:cubicBezTo>
                <a:lnTo>
                  <a:pt x="1066" y="759"/>
                </a:lnTo>
                <a:cubicBezTo>
                  <a:pt x="1067" y="764"/>
                  <a:pt x="1069" y="767"/>
                  <a:pt x="1071" y="767"/>
                </a:cubicBezTo>
                <a:close/>
                <a:moveTo>
                  <a:pt x="1112" y="693"/>
                </a:moveTo>
                <a:cubicBezTo>
                  <a:pt x="1113" y="693"/>
                  <a:pt x="1113" y="693"/>
                  <a:pt x="1114" y="693"/>
                </a:cubicBezTo>
                <a:cubicBezTo>
                  <a:pt x="1114" y="692"/>
                  <a:pt x="1114" y="692"/>
                  <a:pt x="1114" y="691"/>
                </a:cubicBezTo>
                <a:cubicBezTo>
                  <a:pt x="1113" y="689"/>
                  <a:pt x="1113" y="688"/>
                  <a:pt x="1112" y="688"/>
                </a:cubicBezTo>
                <a:lnTo>
                  <a:pt x="1112" y="689"/>
                </a:lnTo>
                <a:cubicBezTo>
                  <a:pt x="1111" y="690"/>
                  <a:pt x="1111" y="691"/>
                  <a:pt x="1111" y="691"/>
                </a:cubicBezTo>
                <a:cubicBezTo>
                  <a:pt x="1111" y="691"/>
                  <a:pt x="1111" y="692"/>
                  <a:pt x="1111" y="692"/>
                </a:cubicBezTo>
                <a:lnTo>
                  <a:pt x="1112" y="693"/>
                </a:lnTo>
                <a:close/>
                <a:moveTo>
                  <a:pt x="1124" y="686"/>
                </a:moveTo>
                <a:cubicBezTo>
                  <a:pt x="1125" y="686"/>
                  <a:pt x="1126" y="685"/>
                  <a:pt x="1127" y="683"/>
                </a:cubicBezTo>
                <a:lnTo>
                  <a:pt x="1129" y="679"/>
                </a:lnTo>
                <a:lnTo>
                  <a:pt x="1128" y="679"/>
                </a:lnTo>
                <a:lnTo>
                  <a:pt x="1126" y="682"/>
                </a:lnTo>
                <a:cubicBezTo>
                  <a:pt x="1124" y="684"/>
                  <a:pt x="1123" y="685"/>
                  <a:pt x="1123" y="686"/>
                </a:cubicBezTo>
                <a:lnTo>
                  <a:pt x="1124" y="686"/>
                </a:lnTo>
                <a:close/>
                <a:moveTo>
                  <a:pt x="1077" y="732"/>
                </a:moveTo>
                <a:cubicBezTo>
                  <a:pt x="1077" y="732"/>
                  <a:pt x="1079" y="732"/>
                  <a:pt x="1081" y="731"/>
                </a:cubicBezTo>
                <a:cubicBezTo>
                  <a:pt x="1082" y="730"/>
                  <a:pt x="1083" y="729"/>
                  <a:pt x="1083" y="728"/>
                </a:cubicBezTo>
                <a:lnTo>
                  <a:pt x="1083" y="725"/>
                </a:lnTo>
                <a:cubicBezTo>
                  <a:pt x="1083" y="724"/>
                  <a:pt x="1084" y="722"/>
                  <a:pt x="1085" y="721"/>
                </a:cubicBezTo>
                <a:cubicBezTo>
                  <a:pt x="1087" y="719"/>
                  <a:pt x="1091" y="713"/>
                  <a:pt x="1097" y="701"/>
                </a:cubicBezTo>
                <a:lnTo>
                  <a:pt x="1108" y="681"/>
                </a:lnTo>
                <a:lnTo>
                  <a:pt x="1115" y="665"/>
                </a:lnTo>
                <a:cubicBezTo>
                  <a:pt x="1119" y="656"/>
                  <a:pt x="1122" y="650"/>
                  <a:pt x="1124" y="646"/>
                </a:cubicBezTo>
                <a:cubicBezTo>
                  <a:pt x="1127" y="642"/>
                  <a:pt x="1128" y="639"/>
                  <a:pt x="1129" y="636"/>
                </a:cubicBezTo>
                <a:cubicBezTo>
                  <a:pt x="1130" y="632"/>
                  <a:pt x="1132" y="627"/>
                  <a:pt x="1136" y="620"/>
                </a:cubicBezTo>
                <a:cubicBezTo>
                  <a:pt x="1138" y="615"/>
                  <a:pt x="1140" y="612"/>
                  <a:pt x="1140" y="611"/>
                </a:cubicBezTo>
                <a:cubicBezTo>
                  <a:pt x="1140" y="611"/>
                  <a:pt x="1139" y="611"/>
                  <a:pt x="1139" y="611"/>
                </a:cubicBezTo>
                <a:lnTo>
                  <a:pt x="1124" y="639"/>
                </a:lnTo>
                <a:cubicBezTo>
                  <a:pt x="1093" y="698"/>
                  <a:pt x="1077" y="729"/>
                  <a:pt x="1077" y="732"/>
                </a:cubicBezTo>
                <a:close/>
                <a:moveTo>
                  <a:pt x="1068" y="751"/>
                </a:moveTo>
                <a:cubicBezTo>
                  <a:pt x="1069" y="751"/>
                  <a:pt x="1071" y="750"/>
                  <a:pt x="1074" y="749"/>
                </a:cubicBezTo>
                <a:cubicBezTo>
                  <a:pt x="1077" y="747"/>
                  <a:pt x="1079" y="747"/>
                  <a:pt x="1081" y="747"/>
                </a:cubicBezTo>
                <a:cubicBezTo>
                  <a:pt x="1083" y="747"/>
                  <a:pt x="1086" y="745"/>
                  <a:pt x="1089" y="741"/>
                </a:cubicBezTo>
                <a:cubicBezTo>
                  <a:pt x="1091" y="737"/>
                  <a:pt x="1094" y="735"/>
                  <a:pt x="1097" y="735"/>
                </a:cubicBezTo>
                <a:lnTo>
                  <a:pt x="1099" y="736"/>
                </a:lnTo>
                <a:cubicBezTo>
                  <a:pt x="1100" y="736"/>
                  <a:pt x="1100" y="735"/>
                  <a:pt x="1100" y="735"/>
                </a:cubicBezTo>
                <a:lnTo>
                  <a:pt x="1099" y="734"/>
                </a:lnTo>
                <a:cubicBezTo>
                  <a:pt x="1099" y="732"/>
                  <a:pt x="1100" y="730"/>
                  <a:pt x="1101" y="729"/>
                </a:cubicBezTo>
                <a:cubicBezTo>
                  <a:pt x="1101" y="728"/>
                  <a:pt x="1102" y="727"/>
                  <a:pt x="1103" y="727"/>
                </a:cubicBezTo>
                <a:lnTo>
                  <a:pt x="1104" y="728"/>
                </a:lnTo>
                <a:lnTo>
                  <a:pt x="1105" y="728"/>
                </a:lnTo>
                <a:cubicBezTo>
                  <a:pt x="1105" y="727"/>
                  <a:pt x="1105" y="727"/>
                  <a:pt x="1105" y="727"/>
                </a:cubicBezTo>
                <a:cubicBezTo>
                  <a:pt x="1104" y="727"/>
                  <a:pt x="1104" y="726"/>
                  <a:pt x="1104" y="725"/>
                </a:cubicBezTo>
                <a:cubicBezTo>
                  <a:pt x="1103" y="724"/>
                  <a:pt x="1102" y="724"/>
                  <a:pt x="1101" y="724"/>
                </a:cubicBezTo>
                <a:cubicBezTo>
                  <a:pt x="1101" y="724"/>
                  <a:pt x="1099" y="725"/>
                  <a:pt x="1098" y="728"/>
                </a:cubicBezTo>
                <a:cubicBezTo>
                  <a:pt x="1097" y="730"/>
                  <a:pt x="1096" y="732"/>
                  <a:pt x="1096" y="732"/>
                </a:cubicBezTo>
                <a:lnTo>
                  <a:pt x="1097" y="728"/>
                </a:lnTo>
                <a:cubicBezTo>
                  <a:pt x="1098" y="726"/>
                  <a:pt x="1098" y="725"/>
                  <a:pt x="1099" y="724"/>
                </a:cubicBezTo>
                <a:cubicBezTo>
                  <a:pt x="1100" y="723"/>
                  <a:pt x="1100" y="723"/>
                  <a:pt x="1101" y="723"/>
                </a:cubicBezTo>
                <a:lnTo>
                  <a:pt x="1102" y="723"/>
                </a:lnTo>
                <a:cubicBezTo>
                  <a:pt x="1103" y="723"/>
                  <a:pt x="1104" y="722"/>
                  <a:pt x="1104" y="720"/>
                </a:cubicBezTo>
                <a:cubicBezTo>
                  <a:pt x="1105" y="719"/>
                  <a:pt x="1106" y="717"/>
                  <a:pt x="1106" y="715"/>
                </a:cubicBezTo>
                <a:cubicBezTo>
                  <a:pt x="1106" y="714"/>
                  <a:pt x="1106" y="714"/>
                  <a:pt x="1105" y="714"/>
                </a:cubicBezTo>
                <a:cubicBezTo>
                  <a:pt x="1105" y="714"/>
                  <a:pt x="1105" y="713"/>
                  <a:pt x="1105" y="712"/>
                </a:cubicBezTo>
                <a:cubicBezTo>
                  <a:pt x="1105" y="711"/>
                  <a:pt x="1105" y="708"/>
                  <a:pt x="1106" y="705"/>
                </a:cubicBezTo>
                <a:cubicBezTo>
                  <a:pt x="1108" y="702"/>
                  <a:pt x="1108" y="700"/>
                  <a:pt x="1108" y="699"/>
                </a:cubicBezTo>
                <a:lnTo>
                  <a:pt x="1108" y="699"/>
                </a:lnTo>
                <a:lnTo>
                  <a:pt x="1106" y="703"/>
                </a:lnTo>
                <a:cubicBezTo>
                  <a:pt x="1105" y="705"/>
                  <a:pt x="1104" y="705"/>
                  <a:pt x="1103" y="706"/>
                </a:cubicBezTo>
                <a:cubicBezTo>
                  <a:pt x="1103" y="707"/>
                  <a:pt x="1101" y="708"/>
                  <a:pt x="1099" y="708"/>
                </a:cubicBezTo>
                <a:lnTo>
                  <a:pt x="1099" y="707"/>
                </a:lnTo>
                <a:lnTo>
                  <a:pt x="1100" y="710"/>
                </a:lnTo>
                <a:cubicBezTo>
                  <a:pt x="1100" y="713"/>
                  <a:pt x="1099" y="715"/>
                  <a:pt x="1096" y="719"/>
                </a:cubicBezTo>
                <a:cubicBezTo>
                  <a:pt x="1093" y="723"/>
                  <a:pt x="1091" y="726"/>
                  <a:pt x="1091" y="728"/>
                </a:cubicBezTo>
                <a:lnTo>
                  <a:pt x="1091" y="728"/>
                </a:lnTo>
                <a:cubicBezTo>
                  <a:pt x="1091" y="729"/>
                  <a:pt x="1091" y="729"/>
                  <a:pt x="1091" y="729"/>
                </a:cubicBezTo>
                <a:lnTo>
                  <a:pt x="1087" y="728"/>
                </a:lnTo>
                <a:cubicBezTo>
                  <a:pt x="1086" y="728"/>
                  <a:pt x="1086" y="728"/>
                  <a:pt x="1086" y="728"/>
                </a:cubicBezTo>
                <a:cubicBezTo>
                  <a:pt x="1086" y="729"/>
                  <a:pt x="1086" y="729"/>
                  <a:pt x="1087" y="730"/>
                </a:cubicBezTo>
                <a:cubicBezTo>
                  <a:pt x="1087" y="731"/>
                  <a:pt x="1087" y="732"/>
                  <a:pt x="1087" y="732"/>
                </a:cubicBezTo>
                <a:cubicBezTo>
                  <a:pt x="1087" y="734"/>
                  <a:pt x="1086" y="736"/>
                  <a:pt x="1084" y="737"/>
                </a:cubicBezTo>
                <a:cubicBezTo>
                  <a:pt x="1081" y="739"/>
                  <a:pt x="1080" y="740"/>
                  <a:pt x="1080" y="742"/>
                </a:cubicBezTo>
                <a:lnTo>
                  <a:pt x="1080" y="742"/>
                </a:lnTo>
                <a:cubicBezTo>
                  <a:pt x="1080" y="743"/>
                  <a:pt x="1079" y="744"/>
                  <a:pt x="1077" y="744"/>
                </a:cubicBezTo>
                <a:cubicBezTo>
                  <a:pt x="1076" y="744"/>
                  <a:pt x="1075" y="743"/>
                  <a:pt x="1075" y="743"/>
                </a:cubicBezTo>
                <a:cubicBezTo>
                  <a:pt x="1075" y="742"/>
                  <a:pt x="1076" y="742"/>
                  <a:pt x="1078" y="740"/>
                </a:cubicBezTo>
                <a:cubicBezTo>
                  <a:pt x="1080" y="739"/>
                  <a:pt x="1081" y="737"/>
                  <a:pt x="1082" y="736"/>
                </a:cubicBezTo>
                <a:cubicBezTo>
                  <a:pt x="1082" y="735"/>
                  <a:pt x="1083" y="734"/>
                  <a:pt x="1083" y="734"/>
                </a:cubicBezTo>
                <a:cubicBezTo>
                  <a:pt x="1083" y="733"/>
                  <a:pt x="1082" y="733"/>
                  <a:pt x="1082" y="733"/>
                </a:cubicBezTo>
                <a:cubicBezTo>
                  <a:pt x="1080" y="733"/>
                  <a:pt x="1079" y="734"/>
                  <a:pt x="1077" y="736"/>
                </a:cubicBezTo>
                <a:cubicBezTo>
                  <a:pt x="1073" y="738"/>
                  <a:pt x="1071" y="740"/>
                  <a:pt x="1071" y="742"/>
                </a:cubicBezTo>
                <a:lnTo>
                  <a:pt x="1072" y="745"/>
                </a:lnTo>
                <a:cubicBezTo>
                  <a:pt x="1072" y="746"/>
                  <a:pt x="1071" y="747"/>
                  <a:pt x="1069" y="747"/>
                </a:cubicBezTo>
                <a:cubicBezTo>
                  <a:pt x="1068" y="749"/>
                  <a:pt x="1067" y="750"/>
                  <a:pt x="1067" y="751"/>
                </a:cubicBezTo>
                <a:lnTo>
                  <a:pt x="1068" y="751"/>
                </a:lnTo>
                <a:close/>
                <a:moveTo>
                  <a:pt x="1061" y="705"/>
                </a:moveTo>
                <a:cubicBezTo>
                  <a:pt x="1062" y="705"/>
                  <a:pt x="1062" y="703"/>
                  <a:pt x="1063" y="701"/>
                </a:cubicBezTo>
                <a:lnTo>
                  <a:pt x="1063" y="700"/>
                </a:lnTo>
                <a:cubicBezTo>
                  <a:pt x="1063" y="699"/>
                  <a:pt x="1062" y="699"/>
                  <a:pt x="1062" y="699"/>
                </a:cubicBezTo>
                <a:cubicBezTo>
                  <a:pt x="1062" y="699"/>
                  <a:pt x="1061" y="699"/>
                  <a:pt x="1061" y="699"/>
                </a:cubicBezTo>
                <a:cubicBezTo>
                  <a:pt x="1061" y="700"/>
                  <a:pt x="1060" y="701"/>
                  <a:pt x="1060" y="702"/>
                </a:cubicBezTo>
                <a:cubicBezTo>
                  <a:pt x="1060" y="702"/>
                  <a:pt x="1060" y="703"/>
                  <a:pt x="1061" y="703"/>
                </a:cubicBezTo>
                <a:cubicBezTo>
                  <a:pt x="1061" y="704"/>
                  <a:pt x="1061" y="705"/>
                  <a:pt x="1061" y="705"/>
                </a:cubicBezTo>
                <a:close/>
                <a:moveTo>
                  <a:pt x="1051" y="751"/>
                </a:moveTo>
                <a:cubicBezTo>
                  <a:pt x="1052" y="751"/>
                  <a:pt x="1054" y="747"/>
                  <a:pt x="1056" y="739"/>
                </a:cubicBezTo>
                <a:lnTo>
                  <a:pt x="1058" y="732"/>
                </a:lnTo>
                <a:lnTo>
                  <a:pt x="1059" y="729"/>
                </a:lnTo>
                <a:lnTo>
                  <a:pt x="1060" y="730"/>
                </a:lnTo>
                <a:cubicBezTo>
                  <a:pt x="1061" y="730"/>
                  <a:pt x="1062" y="729"/>
                  <a:pt x="1063" y="728"/>
                </a:cubicBezTo>
                <a:cubicBezTo>
                  <a:pt x="1064" y="727"/>
                  <a:pt x="1065" y="726"/>
                  <a:pt x="1065" y="724"/>
                </a:cubicBezTo>
                <a:lnTo>
                  <a:pt x="1065" y="723"/>
                </a:lnTo>
                <a:cubicBezTo>
                  <a:pt x="1065" y="722"/>
                  <a:pt x="1064" y="722"/>
                  <a:pt x="1064" y="722"/>
                </a:cubicBezTo>
                <a:cubicBezTo>
                  <a:pt x="1064" y="722"/>
                  <a:pt x="1063" y="723"/>
                  <a:pt x="1062" y="724"/>
                </a:cubicBezTo>
                <a:cubicBezTo>
                  <a:pt x="1061" y="726"/>
                  <a:pt x="1061" y="727"/>
                  <a:pt x="1060" y="727"/>
                </a:cubicBezTo>
                <a:cubicBezTo>
                  <a:pt x="1059" y="727"/>
                  <a:pt x="1059" y="726"/>
                  <a:pt x="1059" y="725"/>
                </a:cubicBezTo>
                <a:cubicBezTo>
                  <a:pt x="1059" y="723"/>
                  <a:pt x="1060" y="721"/>
                  <a:pt x="1061" y="718"/>
                </a:cubicBezTo>
                <a:lnTo>
                  <a:pt x="1061" y="714"/>
                </a:lnTo>
                <a:cubicBezTo>
                  <a:pt x="1061" y="710"/>
                  <a:pt x="1061" y="708"/>
                  <a:pt x="1060" y="706"/>
                </a:cubicBezTo>
                <a:cubicBezTo>
                  <a:pt x="1059" y="704"/>
                  <a:pt x="1059" y="702"/>
                  <a:pt x="1059" y="700"/>
                </a:cubicBezTo>
                <a:cubicBezTo>
                  <a:pt x="1059" y="695"/>
                  <a:pt x="1060" y="693"/>
                  <a:pt x="1061" y="693"/>
                </a:cubicBezTo>
                <a:cubicBezTo>
                  <a:pt x="1062" y="693"/>
                  <a:pt x="1062" y="693"/>
                  <a:pt x="1063" y="694"/>
                </a:cubicBezTo>
                <a:lnTo>
                  <a:pt x="1065" y="696"/>
                </a:lnTo>
                <a:lnTo>
                  <a:pt x="1065" y="695"/>
                </a:lnTo>
                <a:cubicBezTo>
                  <a:pt x="1065" y="693"/>
                  <a:pt x="1062" y="691"/>
                  <a:pt x="1058" y="690"/>
                </a:cubicBezTo>
                <a:lnTo>
                  <a:pt x="1056" y="690"/>
                </a:lnTo>
                <a:lnTo>
                  <a:pt x="1056" y="692"/>
                </a:lnTo>
                <a:cubicBezTo>
                  <a:pt x="1056" y="693"/>
                  <a:pt x="1056" y="694"/>
                  <a:pt x="1055" y="695"/>
                </a:cubicBezTo>
                <a:cubicBezTo>
                  <a:pt x="1054" y="696"/>
                  <a:pt x="1054" y="697"/>
                  <a:pt x="1054" y="698"/>
                </a:cubicBezTo>
                <a:cubicBezTo>
                  <a:pt x="1054" y="699"/>
                  <a:pt x="1054" y="700"/>
                  <a:pt x="1055" y="701"/>
                </a:cubicBezTo>
                <a:cubicBezTo>
                  <a:pt x="1055" y="702"/>
                  <a:pt x="1056" y="703"/>
                  <a:pt x="1056" y="703"/>
                </a:cubicBezTo>
                <a:cubicBezTo>
                  <a:pt x="1056" y="704"/>
                  <a:pt x="1055" y="705"/>
                  <a:pt x="1055" y="705"/>
                </a:cubicBezTo>
                <a:cubicBezTo>
                  <a:pt x="1053" y="705"/>
                  <a:pt x="1052" y="707"/>
                  <a:pt x="1052" y="713"/>
                </a:cubicBezTo>
                <a:cubicBezTo>
                  <a:pt x="1052" y="718"/>
                  <a:pt x="1052" y="722"/>
                  <a:pt x="1054" y="723"/>
                </a:cubicBezTo>
                <a:lnTo>
                  <a:pt x="1056" y="725"/>
                </a:lnTo>
                <a:lnTo>
                  <a:pt x="1054" y="725"/>
                </a:lnTo>
                <a:cubicBezTo>
                  <a:pt x="1052" y="725"/>
                  <a:pt x="1050" y="725"/>
                  <a:pt x="1049" y="725"/>
                </a:cubicBezTo>
                <a:cubicBezTo>
                  <a:pt x="1049" y="726"/>
                  <a:pt x="1049" y="727"/>
                  <a:pt x="1048" y="727"/>
                </a:cubicBezTo>
                <a:cubicBezTo>
                  <a:pt x="1047" y="727"/>
                  <a:pt x="1046" y="726"/>
                  <a:pt x="1045" y="725"/>
                </a:cubicBezTo>
                <a:lnTo>
                  <a:pt x="1043" y="723"/>
                </a:lnTo>
                <a:cubicBezTo>
                  <a:pt x="1043" y="722"/>
                  <a:pt x="1044" y="722"/>
                  <a:pt x="1044" y="721"/>
                </a:cubicBezTo>
                <a:cubicBezTo>
                  <a:pt x="1046" y="720"/>
                  <a:pt x="1046" y="720"/>
                  <a:pt x="1046" y="719"/>
                </a:cubicBezTo>
                <a:cubicBezTo>
                  <a:pt x="1046" y="719"/>
                  <a:pt x="1046" y="719"/>
                  <a:pt x="1045" y="718"/>
                </a:cubicBezTo>
                <a:cubicBezTo>
                  <a:pt x="1045" y="718"/>
                  <a:pt x="1045" y="718"/>
                  <a:pt x="1044" y="718"/>
                </a:cubicBezTo>
                <a:cubicBezTo>
                  <a:pt x="1044" y="717"/>
                  <a:pt x="1045" y="716"/>
                  <a:pt x="1046" y="716"/>
                </a:cubicBezTo>
                <a:cubicBezTo>
                  <a:pt x="1046" y="716"/>
                  <a:pt x="1047" y="716"/>
                  <a:pt x="1047" y="716"/>
                </a:cubicBezTo>
                <a:cubicBezTo>
                  <a:pt x="1047" y="715"/>
                  <a:pt x="1047" y="715"/>
                  <a:pt x="1047" y="715"/>
                </a:cubicBezTo>
                <a:cubicBezTo>
                  <a:pt x="1047" y="715"/>
                  <a:pt x="1047" y="715"/>
                  <a:pt x="1046" y="714"/>
                </a:cubicBezTo>
                <a:cubicBezTo>
                  <a:pt x="1046" y="714"/>
                  <a:pt x="1046" y="713"/>
                  <a:pt x="1046" y="713"/>
                </a:cubicBezTo>
                <a:cubicBezTo>
                  <a:pt x="1046" y="712"/>
                  <a:pt x="1046" y="712"/>
                  <a:pt x="1047" y="712"/>
                </a:cubicBezTo>
                <a:cubicBezTo>
                  <a:pt x="1048" y="712"/>
                  <a:pt x="1048" y="712"/>
                  <a:pt x="1048" y="711"/>
                </a:cubicBezTo>
                <a:lnTo>
                  <a:pt x="1047" y="708"/>
                </a:lnTo>
                <a:cubicBezTo>
                  <a:pt x="1047" y="707"/>
                  <a:pt x="1047" y="707"/>
                  <a:pt x="1048" y="707"/>
                </a:cubicBezTo>
                <a:cubicBezTo>
                  <a:pt x="1049" y="707"/>
                  <a:pt x="1049" y="706"/>
                  <a:pt x="1049" y="706"/>
                </a:cubicBezTo>
                <a:lnTo>
                  <a:pt x="1048" y="704"/>
                </a:lnTo>
                <a:cubicBezTo>
                  <a:pt x="1048" y="703"/>
                  <a:pt x="1049" y="702"/>
                  <a:pt x="1049" y="702"/>
                </a:cubicBezTo>
                <a:cubicBezTo>
                  <a:pt x="1050" y="701"/>
                  <a:pt x="1051" y="701"/>
                  <a:pt x="1051" y="701"/>
                </a:cubicBezTo>
                <a:cubicBezTo>
                  <a:pt x="1051" y="701"/>
                  <a:pt x="1050" y="700"/>
                  <a:pt x="1049" y="699"/>
                </a:cubicBezTo>
                <a:lnTo>
                  <a:pt x="1049" y="699"/>
                </a:lnTo>
                <a:cubicBezTo>
                  <a:pt x="1047" y="699"/>
                  <a:pt x="1046" y="706"/>
                  <a:pt x="1042" y="718"/>
                </a:cubicBezTo>
                <a:cubicBezTo>
                  <a:pt x="1042" y="719"/>
                  <a:pt x="1042" y="720"/>
                  <a:pt x="1042" y="722"/>
                </a:cubicBezTo>
                <a:cubicBezTo>
                  <a:pt x="1040" y="732"/>
                  <a:pt x="1039" y="738"/>
                  <a:pt x="1039" y="740"/>
                </a:cubicBezTo>
                <a:cubicBezTo>
                  <a:pt x="1039" y="740"/>
                  <a:pt x="1039" y="741"/>
                  <a:pt x="1040" y="741"/>
                </a:cubicBezTo>
                <a:lnTo>
                  <a:pt x="1041" y="741"/>
                </a:lnTo>
                <a:cubicBezTo>
                  <a:pt x="1042" y="741"/>
                  <a:pt x="1042" y="741"/>
                  <a:pt x="1042" y="740"/>
                </a:cubicBezTo>
                <a:cubicBezTo>
                  <a:pt x="1042" y="740"/>
                  <a:pt x="1042" y="739"/>
                  <a:pt x="1041" y="737"/>
                </a:cubicBezTo>
                <a:cubicBezTo>
                  <a:pt x="1041" y="737"/>
                  <a:pt x="1041" y="737"/>
                  <a:pt x="1042" y="737"/>
                </a:cubicBezTo>
                <a:cubicBezTo>
                  <a:pt x="1043" y="737"/>
                  <a:pt x="1044" y="736"/>
                  <a:pt x="1044" y="736"/>
                </a:cubicBezTo>
                <a:lnTo>
                  <a:pt x="1043" y="735"/>
                </a:lnTo>
                <a:cubicBezTo>
                  <a:pt x="1042" y="734"/>
                  <a:pt x="1042" y="733"/>
                  <a:pt x="1042" y="732"/>
                </a:cubicBezTo>
                <a:cubicBezTo>
                  <a:pt x="1042" y="730"/>
                  <a:pt x="1043" y="728"/>
                  <a:pt x="1045" y="728"/>
                </a:cubicBezTo>
                <a:cubicBezTo>
                  <a:pt x="1046" y="728"/>
                  <a:pt x="1047" y="729"/>
                  <a:pt x="1047" y="730"/>
                </a:cubicBezTo>
                <a:cubicBezTo>
                  <a:pt x="1048" y="730"/>
                  <a:pt x="1049" y="731"/>
                  <a:pt x="1050" y="731"/>
                </a:cubicBezTo>
                <a:cubicBezTo>
                  <a:pt x="1051" y="731"/>
                  <a:pt x="1052" y="731"/>
                  <a:pt x="1052" y="730"/>
                </a:cubicBezTo>
                <a:cubicBezTo>
                  <a:pt x="1053" y="729"/>
                  <a:pt x="1053" y="729"/>
                  <a:pt x="1054" y="729"/>
                </a:cubicBezTo>
                <a:lnTo>
                  <a:pt x="1054" y="730"/>
                </a:lnTo>
                <a:cubicBezTo>
                  <a:pt x="1054" y="731"/>
                  <a:pt x="1054" y="734"/>
                  <a:pt x="1053" y="739"/>
                </a:cubicBezTo>
                <a:cubicBezTo>
                  <a:pt x="1051" y="744"/>
                  <a:pt x="1051" y="748"/>
                  <a:pt x="1051" y="750"/>
                </a:cubicBezTo>
                <a:lnTo>
                  <a:pt x="1051" y="751"/>
                </a:lnTo>
                <a:close/>
                <a:moveTo>
                  <a:pt x="1041" y="753"/>
                </a:moveTo>
                <a:lnTo>
                  <a:pt x="1040" y="751"/>
                </a:lnTo>
                <a:lnTo>
                  <a:pt x="1039" y="749"/>
                </a:lnTo>
                <a:cubicBezTo>
                  <a:pt x="1039" y="749"/>
                  <a:pt x="1039" y="748"/>
                  <a:pt x="1040" y="748"/>
                </a:cubicBezTo>
                <a:cubicBezTo>
                  <a:pt x="1041" y="748"/>
                  <a:pt x="1042" y="748"/>
                  <a:pt x="1042" y="747"/>
                </a:cubicBezTo>
                <a:cubicBezTo>
                  <a:pt x="1042" y="747"/>
                  <a:pt x="1041" y="746"/>
                  <a:pt x="1041" y="746"/>
                </a:cubicBezTo>
                <a:cubicBezTo>
                  <a:pt x="1040" y="745"/>
                  <a:pt x="1039" y="745"/>
                  <a:pt x="1039" y="745"/>
                </a:cubicBezTo>
                <a:cubicBezTo>
                  <a:pt x="1039" y="745"/>
                  <a:pt x="1038" y="745"/>
                  <a:pt x="1038" y="746"/>
                </a:cubicBezTo>
                <a:lnTo>
                  <a:pt x="1037" y="749"/>
                </a:lnTo>
                <a:cubicBezTo>
                  <a:pt x="1038" y="752"/>
                  <a:pt x="1039" y="753"/>
                  <a:pt x="1041" y="753"/>
                </a:cubicBezTo>
                <a:close/>
                <a:moveTo>
                  <a:pt x="1039" y="764"/>
                </a:moveTo>
                <a:lnTo>
                  <a:pt x="1039" y="764"/>
                </a:lnTo>
                <a:lnTo>
                  <a:pt x="1038" y="761"/>
                </a:lnTo>
                <a:cubicBezTo>
                  <a:pt x="1038" y="760"/>
                  <a:pt x="1038" y="760"/>
                  <a:pt x="1039" y="760"/>
                </a:cubicBezTo>
                <a:cubicBezTo>
                  <a:pt x="1040" y="760"/>
                  <a:pt x="1041" y="759"/>
                  <a:pt x="1041" y="759"/>
                </a:cubicBezTo>
                <a:lnTo>
                  <a:pt x="1040" y="758"/>
                </a:lnTo>
                <a:lnTo>
                  <a:pt x="1039" y="758"/>
                </a:lnTo>
                <a:cubicBezTo>
                  <a:pt x="1037" y="758"/>
                  <a:pt x="1036" y="759"/>
                  <a:pt x="1036" y="760"/>
                </a:cubicBezTo>
                <a:cubicBezTo>
                  <a:pt x="1036" y="761"/>
                  <a:pt x="1036" y="762"/>
                  <a:pt x="1037" y="763"/>
                </a:cubicBezTo>
                <a:cubicBezTo>
                  <a:pt x="1038" y="764"/>
                  <a:pt x="1039" y="764"/>
                  <a:pt x="1039" y="764"/>
                </a:cubicBezTo>
                <a:close/>
                <a:moveTo>
                  <a:pt x="1068" y="715"/>
                </a:moveTo>
                <a:cubicBezTo>
                  <a:pt x="1068" y="715"/>
                  <a:pt x="1067" y="715"/>
                  <a:pt x="1067" y="715"/>
                </a:cubicBezTo>
                <a:lnTo>
                  <a:pt x="1068" y="707"/>
                </a:lnTo>
                <a:cubicBezTo>
                  <a:pt x="1069" y="704"/>
                  <a:pt x="1070" y="703"/>
                  <a:pt x="1070" y="703"/>
                </a:cubicBezTo>
                <a:cubicBezTo>
                  <a:pt x="1071" y="703"/>
                  <a:pt x="1071" y="703"/>
                  <a:pt x="1071" y="704"/>
                </a:cubicBezTo>
                <a:cubicBezTo>
                  <a:pt x="1071" y="705"/>
                  <a:pt x="1071" y="706"/>
                  <a:pt x="1071" y="707"/>
                </a:cubicBezTo>
                <a:cubicBezTo>
                  <a:pt x="1071" y="709"/>
                  <a:pt x="1070" y="710"/>
                  <a:pt x="1069" y="712"/>
                </a:cubicBezTo>
                <a:cubicBezTo>
                  <a:pt x="1069" y="714"/>
                  <a:pt x="1069" y="715"/>
                  <a:pt x="1068" y="715"/>
                </a:cubicBezTo>
                <a:close/>
                <a:moveTo>
                  <a:pt x="1445" y="667"/>
                </a:moveTo>
                <a:lnTo>
                  <a:pt x="1444" y="666"/>
                </a:lnTo>
                <a:lnTo>
                  <a:pt x="1445" y="664"/>
                </a:lnTo>
                <a:cubicBezTo>
                  <a:pt x="1446" y="662"/>
                  <a:pt x="1447" y="661"/>
                  <a:pt x="1448" y="661"/>
                </a:cubicBezTo>
                <a:lnTo>
                  <a:pt x="1448" y="662"/>
                </a:lnTo>
                <a:cubicBezTo>
                  <a:pt x="1448" y="663"/>
                  <a:pt x="1448" y="664"/>
                  <a:pt x="1447" y="665"/>
                </a:cubicBezTo>
                <a:lnTo>
                  <a:pt x="1445" y="667"/>
                </a:lnTo>
                <a:close/>
                <a:moveTo>
                  <a:pt x="1376" y="759"/>
                </a:moveTo>
                <a:cubicBezTo>
                  <a:pt x="1373" y="759"/>
                  <a:pt x="1372" y="759"/>
                  <a:pt x="1370" y="758"/>
                </a:cubicBezTo>
                <a:cubicBezTo>
                  <a:pt x="1369" y="757"/>
                  <a:pt x="1368" y="757"/>
                  <a:pt x="1368" y="756"/>
                </a:cubicBezTo>
                <a:cubicBezTo>
                  <a:pt x="1368" y="755"/>
                  <a:pt x="1368" y="754"/>
                  <a:pt x="1367" y="754"/>
                </a:cubicBezTo>
                <a:lnTo>
                  <a:pt x="1367" y="755"/>
                </a:lnTo>
                <a:cubicBezTo>
                  <a:pt x="1367" y="755"/>
                  <a:pt x="1366" y="755"/>
                  <a:pt x="1366" y="755"/>
                </a:cubicBezTo>
                <a:cubicBezTo>
                  <a:pt x="1364" y="755"/>
                  <a:pt x="1361" y="754"/>
                  <a:pt x="1357" y="753"/>
                </a:cubicBezTo>
                <a:cubicBezTo>
                  <a:pt x="1349" y="750"/>
                  <a:pt x="1344" y="746"/>
                  <a:pt x="1342" y="742"/>
                </a:cubicBezTo>
                <a:cubicBezTo>
                  <a:pt x="1338" y="736"/>
                  <a:pt x="1336" y="732"/>
                  <a:pt x="1336" y="730"/>
                </a:cubicBezTo>
                <a:cubicBezTo>
                  <a:pt x="1336" y="730"/>
                  <a:pt x="1336" y="730"/>
                  <a:pt x="1337" y="730"/>
                </a:cubicBezTo>
                <a:lnTo>
                  <a:pt x="1338" y="730"/>
                </a:lnTo>
                <a:cubicBezTo>
                  <a:pt x="1339" y="730"/>
                  <a:pt x="1339" y="730"/>
                  <a:pt x="1339" y="728"/>
                </a:cubicBezTo>
                <a:lnTo>
                  <a:pt x="1337" y="707"/>
                </a:lnTo>
                <a:lnTo>
                  <a:pt x="1336" y="699"/>
                </a:lnTo>
                <a:cubicBezTo>
                  <a:pt x="1337" y="699"/>
                  <a:pt x="1337" y="701"/>
                  <a:pt x="1337" y="703"/>
                </a:cubicBezTo>
                <a:cubicBezTo>
                  <a:pt x="1338" y="706"/>
                  <a:pt x="1338" y="708"/>
                  <a:pt x="1339" y="708"/>
                </a:cubicBezTo>
                <a:cubicBezTo>
                  <a:pt x="1339" y="708"/>
                  <a:pt x="1340" y="703"/>
                  <a:pt x="1341" y="694"/>
                </a:cubicBezTo>
                <a:cubicBezTo>
                  <a:pt x="1342" y="681"/>
                  <a:pt x="1343" y="674"/>
                  <a:pt x="1344" y="674"/>
                </a:cubicBezTo>
                <a:cubicBezTo>
                  <a:pt x="1345" y="673"/>
                  <a:pt x="1345" y="671"/>
                  <a:pt x="1345" y="669"/>
                </a:cubicBezTo>
                <a:cubicBezTo>
                  <a:pt x="1345" y="666"/>
                  <a:pt x="1346" y="665"/>
                  <a:pt x="1346" y="665"/>
                </a:cubicBezTo>
                <a:cubicBezTo>
                  <a:pt x="1347" y="665"/>
                  <a:pt x="1348" y="664"/>
                  <a:pt x="1348" y="663"/>
                </a:cubicBezTo>
                <a:lnTo>
                  <a:pt x="1347" y="662"/>
                </a:lnTo>
                <a:cubicBezTo>
                  <a:pt x="1347" y="661"/>
                  <a:pt x="1348" y="660"/>
                  <a:pt x="1349" y="659"/>
                </a:cubicBezTo>
                <a:cubicBezTo>
                  <a:pt x="1350" y="659"/>
                  <a:pt x="1351" y="659"/>
                  <a:pt x="1351" y="658"/>
                </a:cubicBezTo>
                <a:lnTo>
                  <a:pt x="1349" y="658"/>
                </a:lnTo>
                <a:cubicBezTo>
                  <a:pt x="1348" y="658"/>
                  <a:pt x="1347" y="657"/>
                  <a:pt x="1347" y="657"/>
                </a:cubicBezTo>
                <a:lnTo>
                  <a:pt x="1348" y="654"/>
                </a:lnTo>
                <a:cubicBezTo>
                  <a:pt x="1348" y="654"/>
                  <a:pt x="1347" y="653"/>
                  <a:pt x="1347" y="653"/>
                </a:cubicBezTo>
                <a:cubicBezTo>
                  <a:pt x="1345" y="653"/>
                  <a:pt x="1344" y="656"/>
                  <a:pt x="1343" y="662"/>
                </a:cubicBezTo>
                <a:cubicBezTo>
                  <a:pt x="1342" y="665"/>
                  <a:pt x="1342" y="667"/>
                  <a:pt x="1342" y="670"/>
                </a:cubicBezTo>
                <a:cubicBezTo>
                  <a:pt x="1342" y="671"/>
                  <a:pt x="1341" y="671"/>
                  <a:pt x="1340" y="671"/>
                </a:cubicBezTo>
                <a:cubicBezTo>
                  <a:pt x="1339" y="671"/>
                  <a:pt x="1339" y="672"/>
                  <a:pt x="1339" y="674"/>
                </a:cubicBezTo>
                <a:lnTo>
                  <a:pt x="1340" y="678"/>
                </a:lnTo>
                <a:cubicBezTo>
                  <a:pt x="1339" y="678"/>
                  <a:pt x="1339" y="677"/>
                  <a:pt x="1338" y="676"/>
                </a:cubicBezTo>
                <a:cubicBezTo>
                  <a:pt x="1337" y="674"/>
                  <a:pt x="1337" y="672"/>
                  <a:pt x="1337" y="668"/>
                </a:cubicBezTo>
                <a:cubicBezTo>
                  <a:pt x="1337" y="665"/>
                  <a:pt x="1337" y="663"/>
                  <a:pt x="1337" y="663"/>
                </a:cubicBezTo>
                <a:cubicBezTo>
                  <a:pt x="1338" y="663"/>
                  <a:pt x="1339" y="661"/>
                  <a:pt x="1339" y="656"/>
                </a:cubicBezTo>
                <a:cubicBezTo>
                  <a:pt x="1339" y="654"/>
                  <a:pt x="1338" y="653"/>
                  <a:pt x="1337" y="653"/>
                </a:cubicBezTo>
                <a:cubicBezTo>
                  <a:pt x="1337" y="653"/>
                  <a:pt x="1336" y="652"/>
                  <a:pt x="1336" y="650"/>
                </a:cubicBezTo>
                <a:cubicBezTo>
                  <a:pt x="1336" y="647"/>
                  <a:pt x="1337" y="646"/>
                  <a:pt x="1339" y="646"/>
                </a:cubicBezTo>
                <a:cubicBezTo>
                  <a:pt x="1341" y="646"/>
                  <a:pt x="1342" y="646"/>
                  <a:pt x="1342" y="646"/>
                </a:cubicBezTo>
                <a:cubicBezTo>
                  <a:pt x="1342" y="645"/>
                  <a:pt x="1341" y="645"/>
                  <a:pt x="1340" y="644"/>
                </a:cubicBezTo>
                <a:cubicBezTo>
                  <a:pt x="1339" y="643"/>
                  <a:pt x="1339" y="642"/>
                  <a:pt x="1339" y="641"/>
                </a:cubicBezTo>
                <a:cubicBezTo>
                  <a:pt x="1339" y="639"/>
                  <a:pt x="1339" y="636"/>
                  <a:pt x="1340" y="633"/>
                </a:cubicBezTo>
                <a:cubicBezTo>
                  <a:pt x="1341" y="630"/>
                  <a:pt x="1341" y="627"/>
                  <a:pt x="1342" y="625"/>
                </a:cubicBezTo>
                <a:cubicBezTo>
                  <a:pt x="1343" y="622"/>
                  <a:pt x="1343" y="621"/>
                  <a:pt x="1343" y="620"/>
                </a:cubicBezTo>
                <a:cubicBezTo>
                  <a:pt x="1343" y="620"/>
                  <a:pt x="1343" y="619"/>
                  <a:pt x="1344" y="618"/>
                </a:cubicBezTo>
                <a:cubicBezTo>
                  <a:pt x="1344" y="617"/>
                  <a:pt x="1344" y="616"/>
                  <a:pt x="1344" y="615"/>
                </a:cubicBezTo>
                <a:cubicBezTo>
                  <a:pt x="1345" y="613"/>
                  <a:pt x="1346" y="611"/>
                  <a:pt x="1347" y="608"/>
                </a:cubicBezTo>
                <a:cubicBezTo>
                  <a:pt x="1348" y="605"/>
                  <a:pt x="1349" y="601"/>
                  <a:pt x="1351" y="596"/>
                </a:cubicBezTo>
                <a:cubicBezTo>
                  <a:pt x="1357" y="576"/>
                  <a:pt x="1364" y="560"/>
                  <a:pt x="1372" y="547"/>
                </a:cubicBezTo>
                <a:cubicBezTo>
                  <a:pt x="1375" y="541"/>
                  <a:pt x="1376" y="538"/>
                  <a:pt x="1376" y="537"/>
                </a:cubicBezTo>
                <a:cubicBezTo>
                  <a:pt x="1376" y="537"/>
                  <a:pt x="1375" y="538"/>
                  <a:pt x="1374" y="539"/>
                </a:cubicBezTo>
                <a:cubicBezTo>
                  <a:pt x="1372" y="540"/>
                  <a:pt x="1371" y="541"/>
                  <a:pt x="1371" y="541"/>
                </a:cubicBezTo>
                <a:cubicBezTo>
                  <a:pt x="1371" y="541"/>
                  <a:pt x="1371" y="540"/>
                  <a:pt x="1371" y="540"/>
                </a:cubicBezTo>
                <a:lnTo>
                  <a:pt x="1372" y="538"/>
                </a:lnTo>
                <a:cubicBezTo>
                  <a:pt x="1372" y="535"/>
                  <a:pt x="1374" y="534"/>
                  <a:pt x="1376" y="534"/>
                </a:cubicBezTo>
                <a:cubicBezTo>
                  <a:pt x="1379" y="534"/>
                  <a:pt x="1381" y="533"/>
                  <a:pt x="1383" y="531"/>
                </a:cubicBezTo>
                <a:cubicBezTo>
                  <a:pt x="1385" y="530"/>
                  <a:pt x="1386" y="528"/>
                  <a:pt x="1386" y="527"/>
                </a:cubicBezTo>
                <a:cubicBezTo>
                  <a:pt x="1386" y="527"/>
                  <a:pt x="1386" y="526"/>
                  <a:pt x="1386" y="526"/>
                </a:cubicBezTo>
                <a:cubicBezTo>
                  <a:pt x="1383" y="526"/>
                  <a:pt x="1381" y="527"/>
                  <a:pt x="1380" y="527"/>
                </a:cubicBezTo>
                <a:cubicBezTo>
                  <a:pt x="1379" y="528"/>
                  <a:pt x="1378" y="529"/>
                  <a:pt x="1377" y="529"/>
                </a:cubicBezTo>
                <a:cubicBezTo>
                  <a:pt x="1377" y="529"/>
                  <a:pt x="1377" y="528"/>
                  <a:pt x="1377" y="527"/>
                </a:cubicBezTo>
                <a:cubicBezTo>
                  <a:pt x="1377" y="525"/>
                  <a:pt x="1378" y="524"/>
                  <a:pt x="1381" y="523"/>
                </a:cubicBezTo>
                <a:cubicBezTo>
                  <a:pt x="1383" y="523"/>
                  <a:pt x="1385" y="522"/>
                  <a:pt x="1385" y="521"/>
                </a:cubicBezTo>
                <a:lnTo>
                  <a:pt x="1384" y="520"/>
                </a:lnTo>
                <a:cubicBezTo>
                  <a:pt x="1384" y="520"/>
                  <a:pt x="1384" y="519"/>
                  <a:pt x="1384" y="519"/>
                </a:cubicBezTo>
                <a:cubicBezTo>
                  <a:pt x="1384" y="517"/>
                  <a:pt x="1385" y="516"/>
                  <a:pt x="1387" y="516"/>
                </a:cubicBezTo>
                <a:cubicBezTo>
                  <a:pt x="1388" y="516"/>
                  <a:pt x="1389" y="517"/>
                  <a:pt x="1390" y="517"/>
                </a:cubicBezTo>
                <a:cubicBezTo>
                  <a:pt x="1391" y="517"/>
                  <a:pt x="1391" y="518"/>
                  <a:pt x="1391" y="519"/>
                </a:cubicBezTo>
                <a:cubicBezTo>
                  <a:pt x="1391" y="519"/>
                  <a:pt x="1391" y="520"/>
                  <a:pt x="1389" y="522"/>
                </a:cubicBezTo>
                <a:cubicBezTo>
                  <a:pt x="1387" y="523"/>
                  <a:pt x="1386" y="524"/>
                  <a:pt x="1386" y="524"/>
                </a:cubicBezTo>
                <a:cubicBezTo>
                  <a:pt x="1386" y="525"/>
                  <a:pt x="1387" y="525"/>
                  <a:pt x="1388" y="525"/>
                </a:cubicBezTo>
                <a:cubicBezTo>
                  <a:pt x="1389" y="525"/>
                  <a:pt x="1390" y="524"/>
                  <a:pt x="1391" y="524"/>
                </a:cubicBezTo>
                <a:cubicBezTo>
                  <a:pt x="1392" y="524"/>
                  <a:pt x="1393" y="523"/>
                  <a:pt x="1394" y="522"/>
                </a:cubicBezTo>
                <a:cubicBezTo>
                  <a:pt x="1394" y="522"/>
                  <a:pt x="1395" y="521"/>
                  <a:pt x="1396" y="521"/>
                </a:cubicBezTo>
                <a:cubicBezTo>
                  <a:pt x="1397" y="521"/>
                  <a:pt x="1399" y="522"/>
                  <a:pt x="1400" y="524"/>
                </a:cubicBezTo>
                <a:cubicBezTo>
                  <a:pt x="1401" y="526"/>
                  <a:pt x="1402" y="529"/>
                  <a:pt x="1402" y="532"/>
                </a:cubicBezTo>
                <a:cubicBezTo>
                  <a:pt x="1402" y="534"/>
                  <a:pt x="1403" y="535"/>
                  <a:pt x="1403" y="535"/>
                </a:cubicBezTo>
                <a:lnTo>
                  <a:pt x="1404" y="535"/>
                </a:lnTo>
                <a:cubicBezTo>
                  <a:pt x="1406" y="535"/>
                  <a:pt x="1409" y="537"/>
                  <a:pt x="1413" y="541"/>
                </a:cubicBezTo>
                <a:cubicBezTo>
                  <a:pt x="1417" y="543"/>
                  <a:pt x="1419" y="545"/>
                  <a:pt x="1419" y="548"/>
                </a:cubicBezTo>
                <a:cubicBezTo>
                  <a:pt x="1419" y="551"/>
                  <a:pt x="1417" y="556"/>
                  <a:pt x="1413" y="563"/>
                </a:cubicBezTo>
                <a:cubicBezTo>
                  <a:pt x="1408" y="575"/>
                  <a:pt x="1404" y="580"/>
                  <a:pt x="1402" y="580"/>
                </a:cubicBezTo>
                <a:cubicBezTo>
                  <a:pt x="1401" y="580"/>
                  <a:pt x="1401" y="579"/>
                  <a:pt x="1401" y="577"/>
                </a:cubicBezTo>
                <a:cubicBezTo>
                  <a:pt x="1401" y="576"/>
                  <a:pt x="1401" y="576"/>
                  <a:pt x="1401" y="576"/>
                </a:cubicBezTo>
                <a:lnTo>
                  <a:pt x="1403" y="576"/>
                </a:lnTo>
                <a:cubicBezTo>
                  <a:pt x="1403" y="576"/>
                  <a:pt x="1404" y="576"/>
                  <a:pt x="1404" y="574"/>
                </a:cubicBezTo>
                <a:cubicBezTo>
                  <a:pt x="1404" y="572"/>
                  <a:pt x="1404" y="571"/>
                  <a:pt x="1404" y="571"/>
                </a:cubicBezTo>
                <a:cubicBezTo>
                  <a:pt x="1403" y="571"/>
                  <a:pt x="1402" y="572"/>
                  <a:pt x="1401" y="573"/>
                </a:cubicBezTo>
                <a:cubicBezTo>
                  <a:pt x="1399" y="575"/>
                  <a:pt x="1399" y="576"/>
                  <a:pt x="1399" y="577"/>
                </a:cubicBezTo>
                <a:cubicBezTo>
                  <a:pt x="1399" y="578"/>
                  <a:pt x="1399" y="580"/>
                  <a:pt x="1400" y="581"/>
                </a:cubicBezTo>
                <a:cubicBezTo>
                  <a:pt x="1401" y="582"/>
                  <a:pt x="1401" y="583"/>
                  <a:pt x="1401" y="584"/>
                </a:cubicBezTo>
                <a:cubicBezTo>
                  <a:pt x="1401" y="586"/>
                  <a:pt x="1401" y="588"/>
                  <a:pt x="1400" y="590"/>
                </a:cubicBezTo>
                <a:cubicBezTo>
                  <a:pt x="1399" y="593"/>
                  <a:pt x="1398" y="593"/>
                  <a:pt x="1397" y="593"/>
                </a:cubicBezTo>
                <a:lnTo>
                  <a:pt x="1397" y="593"/>
                </a:lnTo>
                <a:cubicBezTo>
                  <a:pt x="1397" y="592"/>
                  <a:pt x="1398" y="591"/>
                  <a:pt x="1399" y="588"/>
                </a:cubicBezTo>
                <a:cubicBezTo>
                  <a:pt x="1400" y="586"/>
                  <a:pt x="1401" y="584"/>
                  <a:pt x="1401" y="583"/>
                </a:cubicBezTo>
                <a:cubicBezTo>
                  <a:pt x="1401" y="583"/>
                  <a:pt x="1400" y="582"/>
                  <a:pt x="1399" y="582"/>
                </a:cubicBezTo>
                <a:cubicBezTo>
                  <a:pt x="1398" y="582"/>
                  <a:pt x="1396" y="583"/>
                  <a:pt x="1395" y="587"/>
                </a:cubicBezTo>
                <a:cubicBezTo>
                  <a:pt x="1394" y="590"/>
                  <a:pt x="1393" y="592"/>
                  <a:pt x="1393" y="593"/>
                </a:cubicBezTo>
                <a:cubicBezTo>
                  <a:pt x="1393" y="594"/>
                  <a:pt x="1392" y="595"/>
                  <a:pt x="1392" y="595"/>
                </a:cubicBezTo>
                <a:cubicBezTo>
                  <a:pt x="1391" y="599"/>
                  <a:pt x="1391" y="601"/>
                  <a:pt x="1391" y="602"/>
                </a:cubicBezTo>
                <a:cubicBezTo>
                  <a:pt x="1391" y="603"/>
                  <a:pt x="1391" y="604"/>
                  <a:pt x="1391" y="605"/>
                </a:cubicBezTo>
                <a:cubicBezTo>
                  <a:pt x="1392" y="606"/>
                  <a:pt x="1392" y="606"/>
                  <a:pt x="1392" y="607"/>
                </a:cubicBezTo>
                <a:cubicBezTo>
                  <a:pt x="1392" y="607"/>
                  <a:pt x="1392" y="607"/>
                  <a:pt x="1391" y="607"/>
                </a:cubicBezTo>
                <a:lnTo>
                  <a:pt x="1390" y="606"/>
                </a:lnTo>
                <a:cubicBezTo>
                  <a:pt x="1389" y="606"/>
                  <a:pt x="1388" y="608"/>
                  <a:pt x="1388" y="611"/>
                </a:cubicBezTo>
                <a:cubicBezTo>
                  <a:pt x="1388" y="614"/>
                  <a:pt x="1387" y="618"/>
                  <a:pt x="1386" y="623"/>
                </a:cubicBezTo>
                <a:cubicBezTo>
                  <a:pt x="1381" y="637"/>
                  <a:pt x="1377" y="657"/>
                  <a:pt x="1373" y="683"/>
                </a:cubicBezTo>
                <a:cubicBezTo>
                  <a:pt x="1371" y="695"/>
                  <a:pt x="1370" y="703"/>
                  <a:pt x="1370" y="708"/>
                </a:cubicBezTo>
                <a:lnTo>
                  <a:pt x="1371" y="712"/>
                </a:lnTo>
                <a:cubicBezTo>
                  <a:pt x="1372" y="712"/>
                  <a:pt x="1372" y="711"/>
                  <a:pt x="1372" y="710"/>
                </a:cubicBezTo>
                <a:cubicBezTo>
                  <a:pt x="1372" y="708"/>
                  <a:pt x="1373" y="708"/>
                  <a:pt x="1374" y="708"/>
                </a:cubicBezTo>
                <a:cubicBezTo>
                  <a:pt x="1375" y="707"/>
                  <a:pt x="1377" y="705"/>
                  <a:pt x="1382" y="701"/>
                </a:cubicBezTo>
                <a:cubicBezTo>
                  <a:pt x="1383" y="699"/>
                  <a:pt x="1385" y="698"/>
                  <a:pt x="1386" y="697"/>
                </a:cubicBezTo>
                <a:lnTo>
                  <a:pt x="1390" y="696"/>
                </a:lnTo>
                <a:lnTo>
                  <a:pt x="1391" y="696"/>
                </a:lnTo>
                <a:cubicBezTo>
                  <a:pt x="1392" y="696"/>
                  <a:pt x="1394" y="694"/>
                  <a:pt x="1397" y="691"/>
                </a:cubicBezTo>
                <a:cubicBezTo>
                  <a:pt x="1399" y="688"/>
                  <a:pt x="1400" y="686"/>
                  <a:pt x="1400" y="685"/>
                </a:cubicBezTo>
                <a:cubicBezTo>
                  <a:pt x="1400" y="684"/>
                  <a:pt x="1400" y="684"/>
                  <a:pt x="1400" y="684"/>
                </a:cubicBezTo>
                <a:cubicBezTo>
                  <a:pt x="1399" y="684"/>
                  <a:pt x="1397" y="685"/>
                  <a:pt x="1395" y="688"/>
                </a:cubicBezTo>
                <a:lnTo>
                  <a:pt x="1390" y="692"/>
                </a:lnTo>
                <a:lnTo>
                  <a:pt x="1394" y="687"/>
                </a:lnTo>
                <a:cubicBezTo>
                  <a:pt x="1397" y="684"/>
                  <a:pt x="1399" y="683"/>
                  <a:pt x="1402" y="683"/>
                </a:cubicBezTo>
                <a:cubicBezTo>
                  <a:pt x="1404" y="683"/>
                  <a:pt x="1405" y="682"/>
                  <a:pt x="1405" y="681"/>
                </a:cubicBezTo>
                <a:cubicBezTo>
                  <a:pt x="1405" y="679"/>
                  <a:pt x="1405" y="679"/>
                  <a:pt x="1403" y="679"/>
                </a:cubicBezTo>
                <a:cubicBezTo>
                  <a:pt x="1402" y="679"/>
                  <a:pt x="1401" y="678"/>
                  <a:pt x="1401" y="677"/>
                </a:cubicBezTo>
                <a:cubicBezTo>
                  <a:pt x="1401" y="677"/>
                  <a:pt x="1402" y="677"/>
                  <a:pt x="1403" y="676"/>
                </a:cubicBezTo>
                <a:cubicBezTo>
                  <a:pt x="1403" y="675"/>
                  <a:pt x="1405" y="675"/>
                  <a:pt x="1408" y="675"/>
                </a:cubicBezTo>
                <a:lnTo>
                  <a:pt x="1410" y="676"/>
                </a:lnTo>
                <a:lnTo>
                  <a:pt x="1411" y="674"/>
                </a:lnTo>
                <a:cubicBezTo>
                  <a:pt x="1411" y="674"/>
                  <a:pt x="1414" y="668"/>
                  <a:pt x="1421" y="657"/>
                </a:cubicBezTo>
                <a:lnTo>
                  <a:pt x="1424" y="651"/>
                </a:lnTo>
                <a:cubicBezTo>
                  <a:pt x="1430" y="642"/>
                  <a:pt x="1433" y="637"/>
                  <a:pt x="1433" y="636"/>
                </a:cubicBezTo>
                <a:lnTo>
                  <a:pt x="1429" y="639"/>
                </a:lnTo>
                <a:cubicBezTo>
                  <a:pt x="1426" y="642"/>
                  <a:pt x="1425" y="644"/>
                  <a:pt x="1425" y="646"/>
                </a:cubicBezTo>
                <a:cubicBezTo>
                  <a:pt x="1423" y="649"/>
                  <a:pt x="1421" y="652"/>
                  <a:pt x="1419" y="655"/>
                </a:cubicBezTo>
                <a:cubicBezTo>
                  <a:pt x="1416" y="658"/>
                  <a:pt x="1415" y="659"/>
                  <a:pt x="1415" y="659"/>
                </a:cubicBezTo>
                <a:cubicBezTo>
                  <a:pt x="1415" y="659"/>
                  <a:pt x="1416" y="656"/>
                  <a:pt x="1419" y="651"/>
                </a:cubicBezTo>
                <a:cubicBezTo>
                  <a:pt x="1423" y="644"/>
                  <a:pt x="1425" y="639"/>
                  <a:pt x="1426" y="635"/>
                </a:cubicBezTo>
                <a:lnTo>
                  <a:pt x="1430" y="623"/>
                </a:lnTo>
                <a:cubicBezTo>
                  <a:pt x="1432" y="618"/>
                  <a:pt x="1433" y="615"/>
                  <a:pt x="1433" y="612"/>
                </a:cubicBezTo>
                <a:lnTo>
                  <a:pt x="1432" y="611"/>
                </a:lnTo>
                <a:cubicBezTo>
                  <a:pt x="1432" y="610"/>
                  <a:pt x="1432" y="610"/>
                  <a:pt x="1433" y="610"/>
                </a:cubicBezTo>
                <a:cubicBezTo>
                  <a:pt x="1433" y="610"/>
                  <a:pt x="1433" y="610"/>
                  <a:pt x="1434" y="609"/>
                </a:cubicBezTo>
                <a:cubicBezTo>
                  <a:pt x="1434" y="608"/>
                  <a:pt x="1435" y="606"/>
                  <a:pt x="1436" y="602"/>
                </a:cubicBezTo>
                <a:cubicBezTo>
                  <a:pt x="1436" y="598"/>
                  <a:pt x="1437" y="594"/>
                  <a:pt x="1437" y="589"/>
                </a:cubicBezTo>
                <a:lnTo>
                  <a:pt x="1436" y="574"/>
                </a:lnTo>
                <a:cubicBezTo>
                  <a:pt x="1435" y="563"/>
                  <a:pt x="1432" y="552"/>
                  <a:pt x="1427" y="541"/>
                </a:cubicBezTo>
                <a:cubicBezTo>
                  <a:pt x="1424" y="536"/>
                  <a:pt x="1422" y="533"/>
                  <a:pt x="1421" y="533"/>
                </a:cubicBezTo>
                <a:cubicBezTo>
                  <a:pt x="1420" y="533"/>
                  <a:pt x="1419" y="533"/>
                  <a:pt x="1419" y="532"/>
                </a:cubicBezTo>
                <a:lnTo>
                  <a:pt x="1419" y="530"/>
                </a:lnTo>
                <a:cubicBezTo>
                  <a:pt x="1419" y="529"/>
                  <a:pt x="1417" y="526"/>
                  <a:pt x="1413" y="520"/>
                </a:cubicBezTo>
                <a:cubicBezTo>
                  <a:pt x="1408" y="516"/>
                  <a:pt x="1405" y="512"/>
                  <a:pt x="1405" y="511"/>
                </a:cubicBezTo>
                <a:cubicBezTo>
                  <a:pt x="1405" y="509"/>
                  <a:pt x="1407" y="508"/>
                  <a:pt x="1411" y="508"/>
                </a:cubicBezTo>
                <a:cubicBezTo>
                  <a:pt x="1414" y="507"/>
                  <a:pt x="1416" y="507"/>
                  <a:pt x="1416" y="506"/>
                </a:cubicBezTo>
                <a:cubicBezTo>
                  <a:pt x="1416" y="505"/>
                  <a:pt x="1414" y="504"/>
                  <a:pt x="1412" y="502"/>
                </a:cubicBezTo>
                <a:cubicBezTo>
                  <a:pt x="1410" y="500"/>
                  <a:pt x="1409" y="499"/>
                  <a:pt x="1409" y="498"/>
                </a:cubicBezTo>
                <a:cubicBezTo>
                  <a:pt x="1409" y="498"/>
                  <a:pt x="1409" y="497"/>
                  <a:pt x="1409" y="497"/>
                </a:cubicBezTo>
                <a:cubicBezTo>
                  <a:pt x="1410" y="497"/>
                  <a:pt x="1411" y="498"/>
                  <a:pt x="1413" y="499"/>
                </a:cubicBezTo>
                <a:cubicBezTo>
                  <a:pt x="1413" y="500"/>
                  <a:pt x="1414" y="501"/>
                  <a:pt x="1415" y="501"/>
                </a:cubicBezTo>
                <a:lnTo>
                  <a:pt x="1416" y="501"/>
                </a:lnTo>
                <a:cubicBezTo>
                  <a:pt x="1418" y="501"/>
                  <a:pt x="1421" y="504"/>
                  <a:pt x="1426" y="509"/>
                </a:cubicBezTo>
                <a:cubicBezTo>
                  <a:pt x="1428" y="512"/>
                  <a:pt x="1431" y="514"/>
                  <a:pt x="1434" y="517"/>
                </a:cubicBezTo>
                <a:cubicBezTo>
                  <a:pt x="1441" y="523"/>
                  <a:pt x="1444" y="526"/>
                  <a:pt x="1446" y="526"/>
                </a:cubicBezTo>
                <a:lnTo>
                  <a:pt x="1441" y="521"/>
                </a:lnTo>
                <a:cubicBezTo>
                  <a:pt x="1439" y="520"/>
                  <a:pt x="1438" y="518"/>
                  <a:pt x="1437" y="516"/>
                </a:cubicBezTo>
                <a:lnTo>
                  <a:pt x="1435" y="512"/>
                </a:lnTo>
                <a:cubicBezTo>
                  <a:pt x="1435" y="512"/>
                  <a:pt x="1435" y="512"/>
                  <a:pt x="1434" y="512"/>
                </a:cubicBezTo>
                <a:lnTo>
                  <a:pt x="1431" y="513"/>
                </a:lnTo>
                <a:lnTo>
                  <a:pt x="1433" y="511"/>
                </a:lnTo>
                <a:cubicBezTo>
                  <a:pt x="1433" y="510"/>
                  <a:pt x="1433" y="510"/>
                  <a:pt x="1435" y="510"/>
                </a:cubicBezTo>
                <a:cubicBezTo>
                  <a:pt x="1439" y="510"/>
                  <a:pt x="1446" y="515"/>
                  <a:pt x="1455" y="524"/>
                </a:cubicBezTo>
                <a:cubicBezTo>
                  <a:pt x="1460" y="529"/>
                  <a:pt x="1464" y="535"/>
                  <a:pt x="1468" y="540"/>
                </a:cubicBezTo>
                <a:cubicBezTo>
                  <a:pt x="1472" y="546"/>
                  <a:pt x="1474" y="550"/>
                  <a:pt x="1474" y="552"/>
                </a:cubicBezTo>
                <a:cubicBezTo>
                  <a:pt x="1474" y="552"/>
                  <a:pt x="1473" y="552"/>
                  <a:pt x="1473" y="552"/>
                </a:cubicBezTo>
                <a:lnTo>
                  <a:pt x="1473" y="553"/>
                </a:lnTo>
                <a:cubicBezTo>
                  <a:pt x="1473" y="554"/>
                  <a:pt x="1474" y="554"/>
                  <a:pt x="1475" y="555"/>
                </a:cubicBezTo>
                <a:cubicBezTo>
                  <a:pt x="1475" y="556"/>
                  <a:pt x="1476" y="557"/>
                  <a:pt x="1476" y="557"/>
                </a:cubicBezTo>
                <a:cubicBezTo>
                  <a:pt x="1476" y="557"/>
                  <a:pt x="1476" y="559"/>
                  <a:pt x="1476" y="561"/>
                </a:cubicBezTo>
                <a:cubicBezTo>
                  <a:pt x="1476" y="561"/>
                  <a:pt x="1476" y="561"/>
                  <a:pt x="1476" y="562"/>
                </a:cubicBezTo>
                <a:cubicBezTo>
                  <a:pt x="1476" y="563"/>
                  <a:pt x="1476" y="564"/>
                  <a:pt x="1477" y="566"/>
                </a:cubicBezTo>
                <a:cubicBezTo>
                  <a:pt x="1478" y="567"/>
                  <a:pt x="1479" y="568"/>
                  <a:pt x="1479" y="568"/>
                </a:cubicBezTo>
                <a:lnTo>
                  <a:pt x="1475" y="566"/>
                </a:lnTo>
                <a:cubicBezTo>
                  <a:pt x="1475" y="566"/>
                  <a:pt x="1475" y="567"/>
                  <a:pt x="1476" y="568"/>
                </a:cubicBezTo>
                <a:cubicBezTo>
                  <a:pt x="1477" y="569"/>
                  <a:pt x="1477" y="571"/>
                  <a:pt x="1478" y="572"/>
                </a:cubicBezTo>
                <a:cubicBezTo>
                  <a:pt x="1478" y="573"/>
                  <a:pt x="1478" y="574"/>
                  <a:pt x="1478" y="575"/>
                </a:cubicBezTo>
                <a:cubicBezTo>
                  <a:pt x="1478" y="576"/>
                  <a:pt x="1479" y="578"/>
                  <a:pt x="1479" y="582"/>
                </a:cubicBezTo>
                <a:cubicBezTo>
                  <a:pt x="1479" y="585"/>
                  <a:pt x="1480" y="588"/>
                  <a:pt x="1480" y="593"/>
                </a:cubicBezTo>
                <a:cubicBezTo>
                  <a:pt x="1481" y="597"/>
                  <a:pt x="1481" y="600"/>
                  <a:pt x="1481" y="603"/>
                </a:cubicBezTo>
                <a:cubicBezTo>
                  <a:pt x="1481" y="606"/>
                  <a:pt x="1481" y="610"/>
                  <a:pt x="1480" y="614"/>
                </a:cubicBezTo>
                <a:cubicBezTo>
                  <a:pt x="1475" y="633"/>
                  <a:pt x="1470" y="647"/>
                  <a:pt x="1465" y="656"/>
                </a:cubicBezTo>
                <a:cubicBezTo>
                  <a:pt x="1461" y="662"/>
                  <a:pt x="1459" y="666"/>
                  <a:pt x="1457" y="666"/>
                </a:cubicBezTo>
                <a:cubicBezTo>
                  <a:pt x="1455" y="666"/>
                  <a:pt x="1454" y="666"/>
                  <a:pt x="1454" y="667"/>
                </a:cubicBezTo>
                <a:lnTo>
                  <a:pt x="1453" y="668"/>
                </a:lnTo>
                <a:cubicBezTo>
                  <a:pt x="1453" y="669"/>
                  <a:pt x="1453" y="669"/>
                  <a:pt x="1454" y="669"/>
                </a:cubicBezTo>
                <a:lnTo>
                  <a:pt x="1456" y="667"/>
                </a:lnTo>
                <a:cubicBezTo>
                  <a:pt x="1457" y="667"/>
                  <a:pt x="1457" y="668"/>
                  <a:pt x="1457" y="668"/>
                </a:cubicBezTo>
                <a:cubicBezTo>
                  <a:pt x="1457" y="670"/>
                  <a:pt x="1456" y="672"/>
                  <a:pt x="1454" y="675"/>
                </a:cubicBezTo>
                <a:cubicBezTo>
                  <a:pt x="1453" y="678"/>
                  <a:pt x="1451" y="679"/>
                  <a:pt x="1448" y="679"/>
                </a:cubicBezTo>
                <a:lnTo>
                  <a:pt x="1447" y="679"/>
                </a:lnTo>
                <a:lnTo>
                  <a:pt x="1447" y="681"/>
                </a:lnTo>
                <a:cubicBezTo>
                  <a:pt x="1447" y="682"/>
                  <a:pt x="1445" y="685"/>
                  <a:pt x="1442" y="690"/>
                </a:cubicBezTo>
                <a:cubicBezTo>
                  <a:pt x="1439" y="695"/>
                  <a:pt x="1435" y="700"/>
                  <a:pt x="1430" y="706"/>
                </a:cubicBezTo>
                <a:cubicBezTo>
                  <a:pt x="1429" y="707"/>
                  <a:pt x="1428" y="709"/>
                  <a:pt x="1426" y="711"/>
                </a:cubicBezTo>
                <a:cubicBezTo>
                  <a:pt x="1424" y="714"/>
                  <a:pt x="1423" y="718"/>
                  <a:pt x="1421" y="721"/>
                </a:cubicBezTo>
                <a:cubicBezTo>
                  <a:pt x="1414" y="731"/>
                  <a:pt x="1407" y="740"/>
                  <a:pt x="1398" y="748"/>
                </a:cubicBezTo>
                <a:cubicBezTo>
                  <a:pt x="1389" y="755"/>
                  <a:pt x="1382" y="759"/>
                  <a:pt x="1376" y="759"/>
                </a:cubicBezTo>
                <a:close/>
                <a:moveTo>
                  <a:pt x="1411" y="555"/>
                </a:moveTo>
                <a:cubicBezTo>
                  <a:pt x="1413" y="555"/>
                  <a:pt x="1414" y="554"/>
                  <a:pt x="1414" y="552"/>
                </a:cubicBezTo>
                <a:cubicBezTo>
                  <a:pt x="1414" y="551"/>
                  <a:pt x="1414" y="550"/>
                  <a:pt x="1413" y="550"/>
                </a:cubicBezTo>
                <a:cubicBezTo>
                  <a:pt x="1412" y="550"/>
                  <a:pt x="1411" y="551"/>
                  <a:pt x="1411" y="552"/>
                </a:cubicBezTo>
                <a:lnTo>
                  <a:pt x="1410" y="554"/>
                </a:lnTo>
                <a:cubicBezTo>
                  <a:pt x="1410" y="554"/>
                  <a:pt x="1411" y="555"/>
                  <a:pt x="1411" y="555"/>
                </a:cubicBezTo>
                <a:close/>
                <a:moveTo>
                  <a:pt x="1406" y="564"/>
                </a:moveTo>
                <a:lnTo>
                  <a:pt x="1409" y="562"/>
                </a:lnTo>
                <a:cubicBezTo>
                  <a:pt x="1410" y="560"/>
                  <a:pt x="1411" y="558"/>
                  <a:pt x="1411" y="558"/>
                </a:cubicBezTo>
                <a:cubicBezTo>
                  <a:pt x="1411" y="557"/>
                  <a:pt x="1410" y="557"/>
                  <a:pt x="1410" y="557"/>
                </a:cubicBezTo>
                <a:cubicBezTo>
                  <a:pt x="1408" y="557"/>
                  <a:pt x="1407" y="558"/>
                  <a:pt x="1407" y="560"/>
                </a:cubicBezTo>
                <a:lnTo>
                  <a:pt x="1406" y="563"/>
                </a:lnTo>
                <a:lnTo>
                  <a:pt x="1406" y="564"/>
                </a:lnTo>
                <a:close/>
                <a:moveTo>
                  <a:pt x="1454" y="660"/>
                </a:moveTo>
                <a:cubicBezTo>
                  <a:pt x="1454" y="659"/>
                  <a:pt x="1454" y="658"/>
                  <a:pt x="1453" y="656"/>
                </a:cubicBezTo>
                <a:cubicBezTo>
                  <a:pt x="1451" y="655"/>
                  <a:pt x="1451" y="654"/>
                  <a:pt x="1451" y="653"/>
                </a:cubicBezTo>
                <a:lnTo>
                  <a:pt x="1456" y="655"/>
                </a:lnTo>
                <a:cubicBezTo>
                  <a:pt x="1456" y="654"/>
                  <a:pt x="1456" y="653"/>
                  <a:pt x="1455" y="652"/>
                </a:cubicBezTo>
                <a:cubicBezTo>
                  <a:pt x="1454" y="650"/>
                  <a:pt x="1453" y="650"/>
                  <a:pt x="1452" y="650"/>
                </a:cubicBezTo>
                <a:cubicBezTo>
                  <a:pt x="1452" y="650"/>
                  <a:pt x="1451" y="650"/>
                  <a:pt x="1451" y="651"/>
                </a:cubicBezTo>
                <a:cubicBezTo>
                  <a:pt x="1451" y="652"/>
                  <a:pt x="1450" y="652"/>
                  <a:pt x="1449" y="652"/>
                </a:cubicBezTo>
                <a:lnTo>
                  <a:pt x="1447" y="651"/>
                </a:lnTo>
                <a:lnTo>
                  <a:pt x="1447" y="652"/>
                </a:lnTo>
                <a:lnTo>
                  <a:pt x="1449" y="655"/>
                </a:lnTo>
                <a:cubicBezTo>
                  <a:pt x="1452" y="658"/>
                  <a:pt x="1454" y="660"/>
                  <a:pt x="1454" y="660"/>
                </a:cubicBezTo>
                <a:close/>
                <a:moveTo>
                  <a:pt x="1452" y="646"/>
                </a:moveTo>
                <a:cubicBezTo>
                  <a:pt x="1453" y="646"/>
                  <a:pt x="1454" y="645"/>
                  <a:pt x="1456" y="643"/>
                </a:cubicBezTo>
                <a:cubicBezTo>
                  <a:pt x="1457" y="641"/>
                  <a:pt x="1457" y="640"/>
                  <a:pt x="1457" y="639"/>
                </a:cubicBezTo>
                <a:cubicBezTo>
                  <a:pt x="1457" y="639"/>
                  <a:pt x="1457" y="639"/>
                  <a:pt x="1456" y="639"/>
                </a:cubicBezTo>
                <a:cubicBezTo>
                  <a:pt x="1456" y="639"/>
                  <a:pt x="1454" y="639"/>
                  <a:pt x="1453" y="642"/>
                </a:cubicBezTo>
                <a:cubicBezTo>
                  <a:pt x="1451" y="644"/>
                  <a:pt x="1450" y="645"/>
                  <a:pt x="1450" y="645"/>
                </a:cubicBezTo>
                <a:cubicBezTo>
                  <a:pt x="1450" y="646"/>
                  <a:pt x="1450" y="646"/>
                  <a:pt x="1452" y="646"/>
                </a:cubicBezTo>
                <a:close/>
                <a:moveTo>
                  <a:pt x="1456" y="634"/>
                </a:moveTo>
                <a:lnTo>
                  <a:pt x="1458" y="632"/>
                </a:lnTo>
                <a:cubicBezTo>
                  <a:pt x="1460" y="632"/>
                  <a:pt x="1461" y="631"/>
                  <a:pt x="1463" y="631"/>
                </a:cubicBezTo>
                <a:lnTo>
                  <a:pt x="1464" y="631"/>
                </a:lnTo>
                <a:cubicBezTo>
                  <a:pt x="1464" y="631"/>
                  <a:pt x="1465" y="631"/>
                  <a:pt x="1466" y="630"/>
                </a:cubicBezTo>
                <a:cubicBezTo>
                  <a:pt x="1467" y="629"/>
                  <a:pt x="1468" y="628"/>
                  <a:pt x="1468" y="626"/>
                </a:cubicBezTo>
                <a:cubicBezTo>
                  <a:pt x="1468" y="626"/>
                  <a:pt x="1467" y="627"/>
                  <a:pt x="1466" y="628"/>
                </a:cubicBezTo>
                <a:cubicBezTo>
                  <a:pt x="1466" y="630"/>
                  <a:pt x="1465" y="630"/>
                  <a:pt x="1465" y="630"/>
                </a:cubicBezTo>
                <a:cubicBezTo>
                  <a:pt x="1464" y="630"/>
                  <a:pt x="1463" y="629"/>
                  <a:pt x="1463" y="628"/>
                </a:cubicBezTo>
                <a:cubicBezTo>
                  <a:pt x="1462" y="626"/>
                  <a:pt x="1461" y="625"/>
                  <a:pt x="1460" y="625"/>
                </a:cubicBezTo>
                <a:cubicBezTo>
                  <a:pt x="1459" y="625"/>
                  <a:pt x="1459" y="627"/>
                  <a:pt x="1458" y="629"/>
                </a:cubicBezTo>
                <a:cubicBezTo>
                  <a:pt x="1457" y="631"/>
                  <a:pt x="1456" y="633"/>
                  <a:pt x="1456" y="634"/>
                </a:cubicBezTo>
                <a:close/>
                <a:moveTo>
                  <a:pt x="1460" y="658"/>
                </a:moveTo>
                <a:cubicBezTo>
                  <a:pt x="1461" y="658"/>
                  <a:pt x="1465" y="650"/>
                  <a:pt x="1471" y="635"/>
                </a:cubicBezTo>
                <a:cubicBezTo>
                  <a:pt x="1475" y="624"/>
                  <a:pt x="1478" y="612"/>
                  <a:pt x="1478" y="599"/>
                </a:cubicBezTo>
                <a:cubicBezTo>
                  <a:pt x="1478" y="590"/>
                  <a:pt x="1476" y="582"/>
                  <a:pt x="1474" y="575"/>
                </a:cubicBezTo>
                <a:cubicBezTo>
                  <a:pt x="1472" y="572"/>
                  <a:pt x="1471" y="571"/>
                  <a:pt x="1470" y="571"/>
                </a:cubicBezTo>
                <a:cubicBezTo>
                  <a:pt x="1470" y="571"/>
                  <a:pt x="1469" y="572"/>
                  <a:pt x="1469" y="575"/>
                </a:cubicBezTo>
                <a:cubicBezTo>
                  <a:pt x="1469" y="577"/>
                  <a:pt x="1470" y="578"/>
                  <a:pt x="1470" y="578"/>
                </a:cubicBezTo>
                <a:lnTo>
                  <a:pt x="1471" y="578"/>
                </a:lnTo>
                <a:cubicBezTo>
                  <a:pt x="1473" y="578"/>
                  <a:pt x="1473" y="586"/>
                  <a:pt x="1473" y="601"/>
                </a:cubicBezTo>
                <a:cubicBezTo>
                  <a:pt x="1473" y="606"/>
                  <a:pt x="1473" y="609"/>
                  <a:pt x="1472" y="610"/>
                </a:cubicBezTo>
                <a:cubicBezTo>
                  <a:pt x="1471" y="610"/>
                  <a:pt x="1470" y="611"/>
                  <a:pt x="1470" y="612"/>
                </a:cubicBezTo>
                <a:cubicBezTo>
                  <a:pt x="1470" y="613"/>
                  <a:pt x="1471" y="613"/>
                  <a:pt x="1471" y="613"/>
                </a:cubicBezTo>
                <a:lnTo>
                  <a:pt x="1474" y="612"/>
                </a:lnTo>
                <a:cubicBezTo>
                  <a:pt x="1474" y="612"/>
                  <a:pt x="1474" y="614"/>
                  <a:pt x="1473" y="615"/>
                </a:cubicBezTo>
                <a:cubicBezTo>
                  <a:pt x="1471" y="617"/>
                  <a:pt x="1471" y="618"/>
                  <a:pt x="1471" y="619"/>
                </a:cubicBezTo>
                <a:lnTo>
                  <a:pt x="1471" y="621"/>
                </a:lnTo>
                <a:cubicBezTo>
                  <a:pt x="1471" y="624"/>
                  <a:pt x="1468" y="635"/>
                  <a:pt x="1460" y="654"/>
                </a:cubicBezTo>
                <a:lnTo>
                  <a:pt x="1459" y="657"/>
                </a:lnTo>
                <a:lnTo>
                  <a:pt x="1460" y="658"/>
                </a:lnTo>
                <a:close/>
                <a:moveTo>
                  <a:pt x="1470" y="568"/>
                </a:moveTo>
                <a:cubicBezTo>
                  <a:pt x="1472" y="568"/>
                  <a:pt x="1472" y="568"/>
                  <a:pt x="1472" y="567"/>
                </a:cubicBezTo>
                <a:cubicBezTo>
                  <a:pt x="1472" y="566"/>
                  <a:pt x="1471" y="563"/>
                  <a:pt x="1470" y="559"/>
                </a:cubicBezTo>
                <a:cubicBezTo>
                  <a:pt x="1465" y="550"/>
                  <a:pt x="1462" y="543"/>
                  <a:pt x="1459" y="540"/>
                </a:cubicBezTo>
                <a:cubicBezTo>
                  <a:pt x="1456" y="537"/>
                  <a:pt x="1454" y="535"/>
                  <a:pt x="1454" y="534"/>
                </a:cubicBezTo>
                <a:cubicBezTo>
                  <a:pt x="1454" y="534"/>
                  <a:pt x="1454" y="534"/>
                  <a:pt x="1454" y="534"/>
                </a:cubicBezTo>
                <a:lnTo>
                  <a:pt x="1454" y="533"/>
                </a:lnTo>
                <a:cubicBezTo>
                  <a:pt x="1454" y="532"/>
                  <a:pt x="1454" y="531"/>
                  <a:pt x="1453" y="531"/>
                </a:cubicBezTo>
                <a:lnTo>
                  <a:pt x="1452" y="530"/>
                </a:lnTo>
                <a:cubicBezTo>
                  <a:pt x="1451" y="530"/>
                  <a:pt x="1451" y="531"/>
                  <a:pt x="1451" y="531"/>
                </a:cubicBezTo>
                <a:cubicBezTo>
                  <a:pt x="1451" y="534"/>
                  <a:pt x="1453" y="537"/>
                  <a:pt x="1455" y="539"/>
                </a:cubicBezTo>
                <a:cubicBezTo>
                  <a:pt x="1456" y="540"/>
                  <a:pt x="1458" y="542"/>
                  <a:pt x="1459" y="545"/>
                </a:cubicBezTo>
                <a:cubicBezTo>
                  <a:pt x="1459" y="547"/>
                  <a:pt x="1460" y="549"/>
                  <a:pt x="1461" y="549"/>
                </a:cubicBezTo>
                <a:cubicBezTo>
                  <a:pt x="1462" y="550"/>
                  <a:pt x="1463" y="551"/>
                  <a:pt x="1463" y="553"/>
                </a:cubicBezTo>
                <a:lnTo>
                  <a:pt x="1462" y="554"/>
                </a:lnTo>
                <a:cubicBezTo>
                  <a:pt x="1462" y="554"/>
                  <a:pt x="1463" y="555"/>
                  <a:pt x="1464" y="555"/>
                </a:cubicBezTo>
                <a:cubicBezTo>
                  <a:pt x="1465" y="555"/>
                  <a:pt x="1466" y="556"/>
                  <a:pt x="1466" y="557"/>
                </a:cubicBezTo>
                <a:lnTo>
                  <a:pt x="1465" y="563"/>
                </a:lnTo>
                <a:lnTo>
                  <a:pt x="1466" y="565"/>
                </a:lnTo>
                <a:lnTo>
                  <a:pt x="1467" y="565"/>
                </a:lnTo>
                <a:cubicBezTo>
                  <a:pt x="1468" y="565"/>
                  <a:pt x="1468" y="565"/>
                  <a:pt x="1468" y="566"/>
                </a:cubicBezTo>
                <a:cubicBezTo>
                  <a:pt x="1468" y="567"/>
                  <a:pt x="1469" y="568"/>
                  <a:pt x="1470" y="568"/>
                </a:cubicBezTo>
                <a:close/>
                <a:moveTo>
                  <a:pt x="1436" y="627"/>
                </a:moveTo>
                <a:cubicBezTo>
                  <a:pt x="1436" y="627"/>
                  <a:pt x="1437" y="627"/>
                  <a:pt x="1438" y="626"/>
                </a:cubicBezTo>
                <a:cubicBezTo>
                  <a:pt x="1438" y="625"/>
                  <a:pt x="1439" y="624"/>
                  <a:pt x="1439" y="623"/>
                </a:cubicBezTo>
                <a:cubicBezTo>
                  <a:pt x="1439" y="622"/>
                  <a:pt x="1440" y="621"/>
                  <a:pt x="1440" y="620"/>
                </a:cubicBezTo>
                <a:cubicBezTo>
                  <a:pt x="1440" y="620"/>
                  <a:pt x="1439" y="619"/>
                  <a:pt x="1439" y="619"/>
                </a:cubicBezTo>
                <a:cubicBezTo>
                  <a:pt x="1439" y="619"/>
                  <a:pt x="1438" y="620"/>
                  <a:pt x="1438" y="621"/>
                </a:cubicBezTo>
                <a:cubicBezTo>
                  <a:pt x="1436" y="623"/>
                  <a:pt x="1435" y="625"/>
                  <a:pt x="1435" y="627"/>
                </a:cubicBezTo>
                <a:cubicBezTo>
                  <a:pt x="1435" y="627"/>
                  <a:pt x="1436" y="627"/>
                  <a:pt x="1436" y="627"/>
                </a:cubicBezTo>
                <a:close/>
                <a:moveTo>
                  <a:pt x="1390" y="579"/>
                </a:moveTo>
                <a:cubicBezTo>
                  <a:pt x="1391" y="579"/>
                  <a:pt x="1393" y="576"/>
                  <a:pt x="1397" y="569"/>
                </a:cubicBezTo>
                <a:lnTo>
                  <a:pt x="1398" y="567"/>
                </a:lnTo>
                <a:cubicBezTo>
                  <a:pt x="1397" y="567"/>
                  <a:pt x="1396" y="568"/>
                  <a:pt x="1394" y="571"/>
                </a:cubicBezTo>
                <a:cubicBezTo>
                  <a:pt x="1391" y="575"/>
                  <a:pt x="1390" y="577"/>
                  <a:pt x="1390" y="579"/>
                </a:cubicBezTo>
                <a:cubicBezTo>
                  <a:pt x="1390" y="579"/>
                  <a:pt x="1390" y="579"/>
                  <a:pt x="1390" y="579"/>
                </a:cubicBezTo>
                <a:close/>
                <a:moveTo>
                  <a:pt x="1387" y="590"/>
                </a:moveTo>
                <a:cubicBezTo>
                  <a:pt x="1389" y="590"/>
                  <a:pt x="1390" y="590"/>
                  <a:pt x="1390" y="588"/>
                </a:cubicBezTo>
                <a:lnTo>
                  <a:pt x="1390" y="588"/>
                </a:lnTo>
                <a:cubicBezTo>
                  <a:pt x="1390" y="588"/>
                  <a:pt x="1390" y="587"/>
                  <a:pt x="1390" y="586"/>
                </a:cubicBezTo>
                <a:cubicBezTo>
                  <a:pt x="1390" y="585"/>
                  <a:pt x="1390" y="585"/>
                  <a:pt x="1390" y="584"/>
                </a:cubicBezTo>
                <a:cubicBezTo>
                  <a:pt x="1390" y="583"/>
                  <a:pt x="1390" y="583"/>
                  <a:pt x="1389" y="583"/>
                </a:cubicBezTo>
                <a:cubicBezTo>
                  <a:pt x="1389" y="583"/>
                  <a:pt x="1388" y="584"/>
                  <a:pt x="1387" y="585"/>
                </a:cubicBezTo>
                <a:cubicBezTo>
                  <a:pt x="1386" y="587"/>
                  <a:pt x="1385" y="588"/>
                  <a:pt x="1384" y="588"/>
                </a:cubicBezTo>
                <a:lnTo>
                  <a:pt x="1382" y="587"/>
                </a:lnTo>
                <a:lnTo>
                  <a:pt x="1382" y="588"/>
                </a:lnTo>
                <a:cubicBezTo>
                  <a:pt x="1382" y="588"/>
                  <a:pt x="1382" y="588"/>
                  <a:pt x="1382" y="589"/>
                </a:cubicBezTo>
                <a:cubicBezTo>
                  <a:pt x="1383" y="590"/>
                  <a:pt x="1384" y="590"/>
                  <a:pt x="1387" y="590"/>
                </a:cubicBezTo>
                <a:close/>
                <a:moveTo>
                  <a:pt x="1361" y="740"/>
                </a:moveTo>
                <a:cubicBezTo>
                  <a:pt x="1361" y="740"/>
                  <a:pt x="1361" y="739"/>
                  <a:pt x="1361" y="737"/>
                </a:cubicBezTo>
                <a:lnTo>
                  <a:pt x="1361" y="734"/>
                </a:lnTo>
                <a:cubicBezTo>
                  <a:pt x="1361" y="729"/>
                  <a:pt x="1360" y="727"/>
                  <a:pt x="1358" y="727"/>
                </a:cubicBezTo>
                <a:cubicBezTo>
                  <a:pt x="1356" y="727"/>
                  <a:pt x="1355" y="728"/>
                  <a:pt x="1355" y="731"/>
                </a:cubicBezTo>
                <a:cubicBezTo>
                  <a:pt x="1355" y="733"/>
                  <a:pt x="1356" y="735"/>
                  <a:pt x="1357" y="737"/>
                </a:cubicBezTo>
                <a:cubicBezTo>
                  <a:pt x="1359" y="739"/>
                  <a:pt x="1360" y="740"/>
                  <a:pt x="1361" y="740"/>
                </a:cubicBezTo>
                <a:close/>
                <a:moveTo>
                  <a:pt x="1364" y="690"/>
                </a:moveTo>
                <a:cubicBezTo>
                  <a:pt x="1365" y="690"/>
                  <a:pt x="1366" y="688"/>
                  <a:pt x="1366" y="686"/>
                </a:cubicBezTo>
                <a:cubicBezTo>
                  <a:pt x="1366" y="684"/>
                  <a:pt x="1365" y="683"/>
                  <a:pt x="1364" y="683"/>
                </a:cubicBezTo>
                <a:cubicBezTo>
                  <a:pt x="1362" y="683"/>
                  <a:pt x="1362" y="683"/>
                  <a:pt x="1362" y="685"/>
                </a:cubicBezTo>
                <a:cubicBezTo>
                  <a:pt x="1362" y="686"/>
                  <a:pt x="1362" y="687"/>
                  <a:pt x="1363" y="688"/>
                </a:cubicBezTo>
                <a:cubicBezTo>
                  <a:pt x="1364" y="689"/>
                  <a:pt x="1364" y="690"/>
                  <a:pt x="1364" y="690"/>
                </a:cubicBezTo>
                <a:close/>
                <a:moveTo>
                  <a:pt x="1366" y="676"/>
                </a:moveTo>
                <a:cubicBezTo>
                  <a:pt x="1367" y="676"/>
                  <a:pt x="1367" y="675"/>
                  <a:pt x="1368" y="674"/>
                </a:cubicBezTo>
                <a:lnTo>
                  <a:pt x="1368" y="672"/>
                </a:lnTo>
                <a:cubicBezTo>
                  <a:pt x="1368" y="671"/>
                  <a:pt x="1368" y="670"/>
                  <a:pt x="1367" y="670"/>
                </a:cubicBezTo>
                <a:lnTo>
                  <a:pt x="1366" y="669"/>
                </a:lnTo>
                <a:cubicBezTo>
                  <a:pt x="1365" y="669"/>
                  <a:pt x="1364" y="670"/>
                  <a:pt x="1364" y="671"/>
                </a:cubicBezTo>
                <a:cubicBezTo>
                  <a:pt x="1364" y="672"/>
                  <a:pt x="1364" y="673"/>
                  <a:pt x="1365" y="674"/>
                </a:cubicBezTo>
                <a:cubicBezTo>
                  <a:pt x="1366" y="675"/>
                  <a:pt x="1366" y="676"/>
                  <a:pt x="1366" y="676"/>
                </a:cubicBezTo>
                <a:close/>
                <a:moveTo>
                  <a:pt x="1354" y="721"/>
                </a:moveTo>
                <a:cubicBezTo>
                  <a:pt x="1355" y="721"/>
                  <a:pt x="1357" y="720"/>
                  <a:pt x="1358" y="718"/>
                </a:cubicBezTo>
                <a:cubicBezTo>
                  <a:pt x="1360" y="718"/>
                  <a:pt x="1361" y="715"/>
                  <a:pt x="1361" y="713"/>
                </a:cubicBezTo>
                <a:cubicBezTo>
                  <a:pt x="1361" y="712"/>
                  <a:pt x="1361" y="712"/>
                  <a:pt x="1360" y="711"/>
                </a:cubicBezTo>
                <a:lnTo>
                  <a:pt x="1359" y="712"/>
                </a:lnTo>
                <a:cubicBezTo>
                  <a:pt x="1358" y="712"/>
                  <a:pt x="1357" y="710"/>
                  <a:pt x="1357" y="705"/>
                </a:cubicBezTo>
                <a:cubicBezTo>
                  <a:pt x="1357" y="701"/>
                  <a:pt x="1357" y="700"/>
                  <a:pt x="1358" y="700"/>
                </a:cubicBezTo>
                <a:cubicBezTo>
                  <a:pt x="1358" y="700"/>
                  <a:pt x="1359" y="701"/>
                  <a:pt x="1359" y="704"/>
                </a:cubicBezTo>
                <a:cubicBezTo>
                  <a:pt x="1360" y="707"/>
                  <a:pt x="1361" y="708"/>
                  <a:pt x="1361" y="708"/>
                </a:cubicBezTo>
                <a:cubicBezTo>
                  <a:pt x="1362" y="708"/>
                  <a:pt x="1362" y="706"/>
                  <a:pt x="1362" y="701"/>
                </a:cubicBezTo>
                <a:lnTo>
                  <a:pt x="1362" y="699"/>
                </a:lnTo>
                <a:cubicBezTo>
                  <a:pt x="1362" y="696"/>
                  <a:pt x="1362" y="695"/>
                  <a:pt x="1361" y="695"/>
                </a:cubicBezTo>
                <a:cubicBezTo>
                  <a:pt x="1360" y="695"/>
                  <a:pt x="1359" y="693"/>
                  <a:pt x="1359" y="691"/>
                </a:cubicBezTo>
                <a:cubicBezTo>
                  <a:pt x="1359" y="686"/>
                  <a:pt x="1360" y="682"/>
                  <a:pt x="1362" y="681"/>
                </a:cubicBezTo>
                <a:cubicBezTo>
                  <a:pt x="1364" y="680"/>
                  <a:pt x="1366" y="679"/>
                  <a:pt x="1366" y="679"/>
                </a:cubicBezTo>
                <a:cubicBezTo>
                  <a:pt x="1366" y="679"/>
                  <a:pt x="1365" y="679"/>
                  <a:pt x="1364" y="679"/>
                </a:cubicBezTo>
                <a:cubicBezTo>
                  <a:pt x="1363" y="679"/>
                  <a:pt x="1362" y="676"/>
                  <a:pt x="1362" y="670"/>
                </a:cubicBezTo>
                <a:cubicBezTo>
                  <a:pt x="1362" y="665"/>
                  <a:pt x="1363" y="663"/>
                  <a:pt x="1364" y="663"/>
                </a:cubicBezTo>
                <a:cubicBezTo>
                  <a:pt x="1365" y="663"/>
                  <a:pt x="1366" y="664"/>
                  <a:pt x="1368" y="665"/>
                </a:cubicBezTo>
                <a:lnTo>
                  <a:pt x="1370" y="667"/>
                </a:lnTo>
                <a:cubicBezTo>
                  <a:pt x="1370" y="666"/>
                  <a:pt x="1370" y="666"/>
                  <a:pt x="1370" y="666"/>
                </a:cubicBezTo>
                <a:cubicBezTo>
                  <a:pt x="1369" y="666"/>
                  <a:pt x="1369" y="665"/>
                  <a:pt x="1369" y="664"/>
                </a:cubicBezTo>
                <a:cubicBezTo>
                  <a:pt x="1369" y="663"/>
                  <a:pt x="1370" y="662"/>
                  <a:pt x="1371" y="661"/>
                </a:cubicBezTo>
                <a:cubicBezTo>
                  <a:pt x="1372" y="659"/>
                  <a:pt x="1372" y="658"/>
                  <a:pt x="1373" y="656"/>
                </a:cubicBezTo>
                <a:cubicBezTo>
                  <a:pt x="1374" y="654"/>
                  <a:pt x="1374" y="652"/>
                  <a:pt x="1374" y="650"/>
                </a:cubicBezTo>
                <a:cubicBezTo>
                  <a:pt x="1374" y="649"/>
                  <a:pt x="1374" y="648"/>
                  <a:pt x="1373" y="648"/>
                </a:cubicBezTo>
                <a:cubicBezTo>
                  <a:pt x="1372" y="648"/>
                  <a:pt x="1371" y="649"/>
                  <a:pt x="1370" y="650"/>
                </a:cubicBezTo>
                <a:cubicBezTo>
                  <a:pt x="1369" y="652"/>
                  <a:pt x="1369" y="654"/>
                  <a:pt x="1369" y="655"/>
                </a:cubicBezTo>
                <a:cubicBezTo>
                  <a:pt x="1369" y="657"/>
                  <a:pt x="1368" y="658"/>
                  <a:pt x="1366" y="659"/>
                </a:cubicBezTo>
                <a:cubicBezTo>
                  <a:pt x="1366" y="659"/>
                  <a:pt x="1365" y="659"/>
                  <a:pt x="1365" y="658"/>
                </a:cubicBezTo>
                <a:cubicBezTo>
                  <a:pt x="1365" y="657"/>
                  <a:pt x="1365" y="656"/>
                  <a:pt x="1366" y="653"/>
                </a:cubicBezTo>
                <a:lnTo>
                  <a:pt x="1367" y="644"/>
                </a:lnTo>
                <a:cubicBezTo>
                  <a:pt x="1367" y="642"/>
                  <a:pt x="1369" y="641"/>
                  <a:pt x="1372" y="641"/>
                </a:cubicBezTo>
                <a:lnTo>
                  <a:pt x="1372" y="641"/>
                </a:lnTo>
                <a:cubicBezTo>
                  <a:pt x="1375" y="641"/>
                  <a:pt x="1376" y="639"/>
                  <a:pt x="1376" y="637"/>
                </a:cubicBezTo>
                <a:cubicBezTo>
                  <a:pt x="1376" y="635"/>
                  <a:pt x="1375" y="634"/>
                  <a:pt x="1372" y="633"/>
                </a:cubicBezTo>
                <a:lnTo>
                  <a:pt x="1371" y="633"/>
                </a:lnTo>
                <a:cubicBezTo>
                  <a:pt x="1371" y="632"/>
                  <a:pt x="1373" y="632"/>
                  <a:pt x="1375" y="632"/>
                </a:cubicBezTo>
                <a:cubicBezTo>
                  <a:pt x="1377" y="632"/>
                  <a:pt x="1377" y="631"/>
                  <a:pt x="1377" y="630"/>
                </a:cubicBezTo>
                <a:lnTo>
                  <a:pt x="1377" y="629"/>
                </a:lnTo>
                <a:cubicBezTo>
                  <a:pt x="1377" y="627"/>
                  <a:pt x="1376" y="627"/>
                  <a:pt x="1375" y="627"/>
                </a:cubicBezTo>
                <a:cubicBezTo>
                  <a:pt x="1374" y="627"/>
                  <a:pt x="1374" y="627"/>
                  <a:pt x="1374" y="627"/>
                </a:cubicBezTo>
                <a:cubicBezTo>
                  <a:pt x="1371" y="627"/>
                  <a:pt x="1370" y="627"/>
                  <a:pt x="1370" y="626"/>
                </a:cubicBezTo>
                <a:cubicBezTo>
                  <a:pt x="1370" y="625"/>
                  <a:pt x="1371" y="624"/>
                  <a:pt x="1372" y="624"/>
                </a:cubicBezTo>
                <a:lnTo>
                  <a:pt x="1376" y="624"/>
                </a:lnTo>
                <a:cubicBezTo>
                  <a:pt x="1378" y="624"/>
                  <a:pt x="1380" y="622"/>
                  <a:pt x="1382" y="620"/>
                </a:cubicBezTo>
                <a:cubicBezTo>
                  <a:pt x="1383" y="617"/>
                  <a:pt x="1384" y="614"/>
                  <a:pt x="1384" y="610"/>
                </a:cubicBezTo>
                <a:cubicBezTo>
                  <a:pt x="1384" y="608"/>
                  <a:pt x="1384" y="606"/>
                  <a:pt x="1383" y="605"/>
                </a:cubicBezTo>
                <a:lnTo>
                  <a:pt x="1381" y="603"/>
                </a:lnTo>
                <a:lnTo>
                  <a:pt x="1382" y="608"/>
                </a:lnTo>
                <a:cubicBezTo>
                  <a:pt x="1382" y="609"/>
                  <a:pt x="1382" y="609"/>
                  <a:pt x="1381" y="610"/>
                </a:cubicBezTo>
                <a:cubicBezTo>
                  <a:pt x="1380" y="610"/>
                  <a:pt x="1380" y="611"/>
                  <a:pt x="1380" y="614"/>
                </a:cubicBezTo>
                <a:cubicBezTo>
                  <a:pt x="1380" y="618"/>
                  <a:pt x="1379" y="620"/>
                  <a:pt x="1376" y="620"/>
                </a:cubicBezTo>
                <a:cubicBezTo>
                  <a:pt x="1375" y="620"/>
                  <a:pt x="1374" y="619"/>
                  <a:pt x="1374" y="618"/>
                </a:cubicBezTo>
                <a:lnTo>
                  <a:pt x="1372" y="617"/>
                </a:lnTo>
                <a:cubicBezTo>
                  <a:pt x="1372" y="617"/>
                  <a:pt x="1373" y="617"/>
                  <a:pt x="1373" y="617"/>
                </a:cubicBezTo>
                <a:lnTo>
                  <a:pt x="1376" y="618"/>
                </a:lnTo>
                <a:cubicBezTo>
                  <a:pt x="1376" y="618"/>
                  <a:pt x="1376" y="618"/>
                  <a:pt x="1376" y="617"/>
                </a:cubicBezTo>
                <a:cubicBezTo>
                  <a:pt x="1376" y="617"/>
                  <a:pt x="1376" y="615"/>
                  <a:pt x="1375" y="613"/>
                </a:cubicBezTo>
                <a:cubicBezTo>
                  <a:pt x="1374" y="612"/>
                  <a:pt x="1373" y="611"/>
                  <a:pt x="1372" y="611"/>
                </a:cubicBezTo>
                <a:lnTo>
                  <a:pt x="1371" y="611"/>
                </a:lnTo>
                <a:cubicBezTo>
                  <a:pt x="1371" y="611"/>
                  <a:pt x="1372" y="610"/>
                  <a:pt x="1374" y="608"/>
                </a:cubicBezTo>
                <a:cubicBezTo>
                  <a:pt x="1376" y="607"/>
                  <a:pt x="1376" y="605"/>
                  <a:pt x="1376" y="604"/>
                </a:cubicBezTo>
                <a:cubicBezTo>
                  <a:pt x="1376" y="604"/>
                  <a:pt x="1376" y="604"/>
                  <a:pt x="1376" y="604"/>
                </a:cubicBezTo>
                <a:lnTo>
                  <a:pt x="1376" y="603"/>
                </a:lnTo>
                <a:cubicBezTo>
                  <a:pt x="1376" y="602"/>
                  <a:pt x="1377" y="600"/>
                  <a:pt x="1378" y="598"/>
                </a:cubicBezTo>
                <a:cubicBezTo>
                  <a:pt x="1380" y="596"/>
                  <a:pt x="1380" y="595"/>
                  <a:pt x="1380" y="594"/>
                </a:cubicBezTo>
                <a:cubicBezTo>
                  <a:pt x="1380" y="594"/>
                  <a:pt x="1380" y="593"/>
                  <a:pt x="1380" y="593"/>
                </a:cubicBezTo>
                <a:cubicBezTo>
                  <a:pt x="1378" y="593"/>
                  <a:pt x="1376" y="594"/>
                  <a:pt x="1375" y="596"/>
                </a:cubicBezTo>
                <a:cubicBezTo>
                  <a:pt x="1373" y="598"/>
                  <a:pt x="1371" y="599"/>
                  <a:pt x="1369" y="599"/>
                </a:cubicBezTo>
                <a:lnTo>
                  <a:pt x="1368" y="599"/>
                </a:lnTo>
                <a:cubicBezTo>
                  <a:pt x="1366" y="599"/>
                  <a:pt x="1366" y="600"/>
                  <a:pt x="1366" y="602"/>
                </a:cubicBezTo>
                <a:cubicBezTo>
                  <a:pt x="1366" y="604"/>
                  <a:pt x="1365" y="607"/>
                  <a:pt x="1363" y="610"/>
                </a:cubicBezTo>
                <a:cubicBezTo>
                  <a:pt x="1362" y="611"/>
                  <a:pt x="1362" y="612"/>
                  <a:pt x="1362" y="612"/>
                </a:cubicBezTo>
                <a:lnTo>
                  <a:pt x="1366" y="610"/>
                </a:lnTo>
                <a:cubicBezTo>
                  <a:pt x="1366" y="610"/>
                  <a:pt x="1365" y="611"/>
                  <a:pt x="1364" y="612"/>
                </a:cubicBezTo>
                <a:cubicBezTo>
                  <a:pt x="1363" y="614"/>
                  <a:pt x="1362" y="615"/>
                  <a:pt x="1362" y="616"/>
                </a:cubicBezTo>
                <a:lnTo>
                  <a:pt x="1364" y="618"/>
                </a:lnTo>
                <a:cubicBezTo>
                  <a:pt x="1364" y="619"/>
                  <a:pt x="1363" y="619"/>
                  <a:pt x="1362" y="619"/>
                </a:cubicBezTo>
                <a:cubicBezTo>
                  <a:pt x="1361" y="619"/>
                  <a:pt x="1360" y="621"/>
                  <a:pt x="1360" y="626"/>
                </a:cubicBezTo>
                <a:lnTo>
                  <a:pt x="1359" y="629"/>
                </a:lnTo>
                <a:lnTo>
                  <a:pt x="1359" y="629"/>
                </a:lnTo>
                <a:cubicBezTo>
                  <a:pt x="1357" y="629"/>
                  <a:pt x="1357" y="631"/>
                  <a:pt x="1356" y="634"/>
                </a:cubicBezTo>
                <a:cubicBezTo>
                  <a:pt x="1355" y="638"/>
                  <a:pt x="1354" y="639"/>
                  <a:pt x="1352" y="639"/>
                </a:cubicBezTo>
                <a:cubicBezTo>
                  <a:pt x="1352" y="639"/>
                  <a:pt x="1352" y="639"/>
                  <a:pt x="1352" y="639"/>
                </a:cubicBezTo>
                <a:cubicBezTo>
                  <a:pt x="1352" y="638"/>
                  <a:pt x="1352" y="637"/>
                  <a:pt x="1352" y="637"/>
                </a:cubicBezTo>
                <a:cubicBezTo>
                  <a:pt x="1352" y="636"/>
                  <a:pt x="1352" y="636"/>
                  <a:pt x="1352" y="635"/>
                </a:cubicBezTo>
                <a:cubicBezTo>
                  <a:pt x="1352" y="635"/>
                  <a:pt x="1352" y="635"/>
                  <a:pt x="1352" y="635"/>
                </a:cubicBezTo>
                <a:lnTo>
                  <a:pt x="1351" y="636"/>
                </a:lnTo>
                <a:cubicBezTo>
                  <a:pt x="1350" y="637"/>
                  <a:pt x="1349" y="639"/>
                  <a:pt x="1347" y="641"/>
                </a:cubicBezTo>
                <a:cubicBezTo>
                  <a:pt x="1346" y="644"/>
                  <a:pt x="1346" y="646"/>
                  <a:pt x="1346" y="648"/>
                </a:cubicBezTo>
                <a:cubicBezTo>
                  <a:pt x="1346" y="649"/>
                  <a:pt x="1346" y="650"/>
                  <a:pt x="1347" y="651"/>
                </a:cubicBezTo>
                <a:cubicBezTo>
                  <a:pt x="1350" y="651"/>
                  <a:pt x="1352" y="654"/>
                  <a:pt x="1352" y="659"/>
                </a:cubicBezTo>
                <a:cubicBezTo>
                  <a:pt x="1352" y="664"/>
                  <a:pt x="1351" y="671"/>
                  <a:pt x="1350" y="681"/>
                </a:cubicBezTo>
                <a:lnTo>
                  <a:pt x="1349" y="685"/>
                </a:lnTo>
                <a:cubicBezTo>
                  <a:pt x="1349" y="685"/>
                  <a:pt x="1350" y="684"/>
                  <a:pt x="1351" y="683"/>
                </a:cubicBezTo>
                <a:cubicBezTo>
                  <a:pt x="1351" y="682"/>
                  <a:pt x="1352" y="681"/>
                  <a:pt x="1352" y="681"/>
                </a:cubicBezTo>
                <a:cubicBezTo>
                  <a:pt x="1352" y="681"/>
                  <a:pt x="1352" y="683"/>
                  <a:pt x="1352" y="685"/>
                </a:cubicBezTo>
                <a:cubicBezTo>
                  <a:pt x="1352" y="687"/>
                  <a:pt x="1351" y="688"/>
                  <a:pt x="1350" y="688"/>
                </a:cubicBezTo>
                <a:cubicBezTo>
                  <a:pt x="1349" y="688"/>
                  <a:pt x="1349" y="689"/>
                  <a:pt x="1349" y="691"/>
                </a:cubicBezTo>
                <a:cubicBezTo>
                  <a:pt x="1349" y="692"/>
                  <a:pt x="1349" y="692"/>
                  <a:pt x="1349" y="693"/>
                </a:cubicBezTo>
                <a:cubicBezTo>
                  <a:pt x="1350" y="694"/>
                  <a:pt x="1350" y="695"/>
                  <a:pt x="1351" y="695"/>
                </a:cubicBezTo>
                <a:cubicBezTo>
                  <a:pt x="1352" y="695"/>
                  <a:pt x="1352" y="698"/>
                  <a:pt x="1352" y="704"/>
                </a:cubicBezTo>
                <a:cubicBezTo>
                  <a:pt x="1352" y="715"/>
                  <a:pt x="1353" y="721"/>
                  <a:pt x="1354" y="721"/>
                </a:cubicBezTo>
                <a:close/>
                <a:moveTo>
                  <a:pt x="1369" y="732"/>
                </a:moveTo>
                <a:cubicBezTo>
                  <a:pt x="1371" y="732"/>
                  <a:pt x="1374" y="729"/>
                  <a:pt x="1379" y="722"/>
                </a:cubicBezTo>
                <a:cubicBezTo>
                  <a:pt x="1382" y="718"/>
                  <a:pt x="1385" y="715"/>
                  <a:pt x="1387" y="713"/>
                </a:cubicBezTo>
                <a:lnTo>
                  <a:pt x="1392" y="710"/>
                </a:lnTo>
                <a:lnTo>
                  <a:pt x="1393" y="710"/>
                </a:lnTo>
                <a:cubicBezTo>
                  <a:pt x="1394" y="710"/>
                  <a:pt x="1394" y="710"/>
                  <a:pt x="1394" y="709"/>
                </a:cubicBezTo>
                <a:lnTo>
                  <a:pt x="1393" y="708"/>
                </a:lnTo>
                <a:cubicBezTo>
                  <a:pt x="1393" y="707"/>
                  <a:pt x="1395" y="705"/>
                  <a:pt x="1398" y="702"/>
                </a:cubicBezTo>
                <a:cubicBezTo>
                  <a:pt x="1400" y="700"/>
                  <a:pt x="1403" y="697"/>
                  <a:pt x="1406" y="695"/>
                </a:cubicBezTo>
                <a:cubicBezTo>
                  <a:pt x="1409" y="692"/>
                  <a:pt x="1412" y="691"/>
                  <a:pt x="1413" y="691"/>
                </a:cubicBezTo>
                <a:lnTo>
                  <a:pt x="1415" y="692"/>
                </a:lnTo>
                <a:cubicBezTo>
                  <a:pt x="1417" y="692"/>
                  <a:pt x="1418" y="691"/>
                  <a:pt x="1420" y="690"/>
                </a:cubicBezTo>
                <a:cubicBezTo>
                  <a:pt x="1421" y="688"/>
                  <a:pt x="1422" y="688"/>
                  <a:pt x="1423" y="688"/>
                </a:cubicBezTo>
                <a:lnTo>
                  <a:pt x="1421" y="691"/>
                </a:lnTo>
                <a:lnTo>
                  <a:pt x="1421" y="691"/>
                </a:lnTo>
                <a:lnTo>
                  <a:pt x="1425" y="687"/>
                </a:lnTo>
                <a:cubicBezTo>
                  <a:pt x="1429" y="683"/>
                  <a:pt x="1431" y="680"/>
                  <a:pt x="1431" y="679"/>
                </a:cubicBezTo>
                <a:cubicBezTo>
                  <a:pt x="1431" y="679"/>
                  <a:pt x="1431" y="679"/>
                  <a:pt x="1431" y="679"/>
                </a:cubicBezTo>
                <a:lnTo>
                  <a:pt x="1428" y="680"/>
                </a:lnTo>
                <a:cubicBezTo>
                  <a:pt x="1428" y="679"/>
                  <a:pt x="1428" y="678"/>
                  <a:pt x="1429" y="676"/>
                </a:cubicBezTo>
                <a:cubicBezTo>
                  <a:pt x="1430" y="675"/>
                  <a:pt x="1430" y="674"/>
                  <a:pt x="1431" y="673"/>
                </a:cubicBezTo>
                <a:cubicBezTo>
                  <a:pt x="1432" y="672"/>
                  <a:pt x="1432" y="671"/>
                  <a:pt x="1433" y="671"/>
                </a:cubicBezTo>
                <a:lnTo>
                  <a:pt x="1433" y="672"/>
                </a:lnTo>
                <a:lnTo>
                  <a:pt x="1432" y="676"/>
                </a:lnTo>
                <a:cubicBezTo>
                  <a:pt x="1432" y="676"/>
                  <a:pt x="1433" y="674"/>
                  <a:pt x="1434" y="672"/>
                </a:cubicBezTo>
                <a:cubicBezTo>
                  <a:pt x="1436" y="670"/>
                  <a:pt x="1436" y="669"/>
                  <a:pt x="1436" y="667"/>
                </a:cubicBezTo>
                <a:lnTo>
                  <a:pt x="1436" y="665"/>
                </a:lnTo>
                <a:lnTo>
                  <a:pt x="1439" y="666"/>
                </a:lnTo>
                <a:cubicBezTo>
                  <a:pt x="1439" y="666"/>
                  <a:pt x="1440" y="666"/>
                  <a:pt x="1440" y="666"/>
                </a:cubicBezTo>
                <a:lnTo>
                  <a:pt x="1439" y="664"/>
                </a:lnTo>
                <a:cubicBezTo>
                  <a:pt x="1439" y="662"/>
                  <a:pt x="1441" y="656"/>
                  <a:pt x="1445" y="648"/>
                </a:cubicBezTo>
                <a:cubicBezTo>
                  <a:pt x="1450" y="638"/>
                  <a:pt x="1453" y="631"/>
                  <a:pt x="1454" y="626"/>
                </a:cubicBezTo>
                <a:cubicBezTo>
                  <a:pt x="1455" y="622"/>
                  <a:pt x="1456" y="619"/>
                  <a:pt x="1456" y="618"/>
                </a:cubicBezTo>
                <a:cubicBezTo>
                  <a:pt x="1459" y="608"/>
                  <a:pt x="1460" y="600"/>
                  <a:pt x="1460" y="591"/>
                </a:cubicBezTo>
                <a:cubicBezTo>
                  <a:pt x="1460" y="584"/>
                  <a:pt x="1459" y="579"/>
                  <a:pt x="1457" y="577"/>
                </a:cubicBezTo>
                <a:lnTo>
                  <a:pt x="1457" y="577"/>
                </a:lnTo>
                <a:cubicBezTo>
                  <a:pt x="1456" y="577"/>
                  <a:pt x="1455" y="580"/>
                  <a:pt x="1454" y="587"/>
                </a:cubicBezTo>
                <a:cubicBezTo>
                  <a:pt x="1453" y="593"/>
                  <a:pt x="1452" y="600"/>
                  <a:pt x="1449" y="608"/>
                </a:cubicBezTo>
                <a:cubicBezTo>
                  <a:pt x="1447" y="615"/>
                  <a:pt x="1445" y="620"/>
                  <a:pt x="1445" y="621"/>
                </a:cubicBezTo>
                <a:cubicBezTo>
                  <a:pt x="1445" y="623"/>
                  <a:pt x="1445" y="624"/>
                  <a:pt x="1444" y="625"/>
                </a:cubicBezTo>
                <a:cubicBezTo>
                  <a:pt x="1444" y="626"/>
                  <a:pt x="1444" y="626"/>
                  <a:pt x="1444" y="626"/>
                </a:cubicBezTo>
                <a:cubicBezTo>
                  <a:pt x="1444" y="627"/>
                  <a:pt x="1444" y="627"/>
                  <a:pt x="1444" y="627"/>
                </a:cubicBezTo>
                <a:lnTo>
                  <a:pt x="1444" y="628"/>
                </a:lnTo>
                <a:cubicBezTo>
                  <a:pt x="1444" y="630"/>
                  <a:pt x="1443" y="630"/>
                  <a:pt x="1443" y="630"/>
                </a:cubicBezTo>
                <a:cubicBezTo>
                  <a:pt x="1442" y="630"/>
                  <a:pt x="1441" y="631"/>
                  <a:pt x="1440" y="632"/>
                </a:cubicBezTo>
                <a:cubicBezTo>
                  <a:pt x="1438" y="636"/>
                  <a:pt x="1437" y="638"/>
                  <a:pt x="1437" y="641"/>
                </a:cubicBezTo>
                <a:lnTo>
                  <a:pt x="1437" y="643"/>
                </a:lnTo>
                <a:cubicBezTo>
                  <a:pt x="1437" y="643"/>
                  <a:pt x="1437" y="644"/>
                  <a:pt x="1437" y="644"/>
                </a:cubicBezTo>
                <a:lnTo>
                  <a:pt x="1434" y="642"/>
                </a:lnTo>
                <a:cubicBezTo>
                  <a:pt x="1433" y="642"/>
                  <a:pt x="1433" y="645"/>
                  <a:pt x="1432" y="650"/>
                </a:cubicBezTo>
                <a:cubicBezTo>
                  <a:pt x="1432" y="652"/>
                  <a:pt x="1432" y="653"/>
                  <a:pt x="1431" y="655"/>
                </a:cubicBezTo>
                <a:cubicBezTo>
                  <a:pt x="1431" y="657"/>
                  <a:pt x="1430" y="658"/>
                  <a:pt x="1429" y="658"/>
                </a:cubicBezTo>
                <a:lnTo>
                  <a:pt x="1429" y="657"/>
                </a:lnTo>
                <a:lnTo>
                  <a:pt x="1430" y="652"/>
                </a:lnTo>
                <a:cubicBezTo>
                  <a:pt x="1429" y="652"/>
                  <a:pt x="1427" y="655"/>
                  <a:pt x="1423" y="662"/>
                </a:cubicBezTo>
                <a:cubicBezTo>
                  <a:pt x="1418" y="669"/>
                  <a:pt x="1411" y="679"/>
                  <a:pt x="1401" y="690"/>
                </a:cubicBezTo>
                <a:cubicBezTo>
                  <a:pt x="1391" y="701"/>
                  <a:pt x="1386" y="708"/>
                  <a:pt x="1385" y="710"/>
                </a:cubicBezTo>
                <a:cubicBezTo>
                  <a:pt x="1384" y="712"/>
                  <a:pt x="1383" y="713"/>
                  <a:pt x="1381" y="713"/>
                </a:cubicBezTo>
                <a:cubicBezTo>
                  <a:pt x="1381" y="713"/>
                  <a:pt x="1380" y="713"/>
                  <a:pt x="1380" y="712"/>
                </a:cubicBezTo>
                <a:cubicBezTo>
                  <a:pt x="1380" y="711"/>
                  <a:pt x="1381" y="710"/>
                  <a:pt x="1383" y="708"/>
                </a:cubicBezTo>
                <a:cubicBezTo>
                  <a:pt x="1387" y="703"/>
                  <a:pt x="1389" y="700"/>
                  <a:pt x="1389" y="699"/>
                </a:cubicBezTo>
                <a:lnTo>
                  <a:pt x="1388" y="699"/>
                </a:lnTo>
                <a:cubicBezTo>
                  <a:pt x="1388" y="699"/>
                  <a:pt x="1386" y="700"/>
                  <a:pt x="1383" y="703"/>
                </a:cubicBezTo>
                <a:cubicBezTo>
                  <a:pt x="1379" y="707"/>
                  <a:pt x="1376" y="709"/>
                  <a:pt x="1374" y="709"/>
                </a:cubicBezTo>
                <a:lnTo>
                  <a:pt x="1373" y="709"/>
                </a:lnTo>
                <a:lnTo>
                  <a:pt x="1374" y="710"/>
                </a:lnTo>
                <a:cubicBezTo>
                  <a:pt x="1374" y="712"/>
                  <a:pt x="1373" y="713"/>
                  <a:pt x="1372" y="714"/>
                </a:cubicBezTo>
                <a:cubicBezTo>
                  <a:pt x="1371" y="717"/>
                  <a:pt x="1369" y="720"/>
                  <a:pt x="1369" y="726"/>
                </a:cubicBezTo>
                <a:lnTo>
                  <a:pt x="1369" y="730"/>
                </a:lnTo>
                <a:cubicBezTo>
                  <a:pt x="1369" y="731"/>
                  <a:pt x="1369" y="732"/>
                  <a:pt x="1369" y="732"/>
                </a:cubicBezTo>
                <a:close/>
                <a:moveTo>
                  <a:pt x="1420" y="704"/>
                </a:moveTo>
                <a:cubicBezTo>
                  <a:pt x="1421" y="704"/>
                  <a:pt x="1421" y="704"/>
                  <a:pt x="1423" y="703"/>
                </a:cubicBezTo>
                <a:lnTo>
                  <a:pt x="1419" y="702"/>
                </a:lnTo>
                <a:lnTo>
                  <a:pt x="1419" y="704"/>
                </a:lnTo>
                <a:lnTo>
                  <a:pt x="1420" y="704"/>
                </a:lnTo>
                <a:close/>
                <a:moveTo>
                  <a:pt x="1381" y="747"/>
                </a:moveTo>
                <a:cubicBezTo>
                  <a:pt x="1381" y="747"/>
                  <a:pt x="1381" y="747"/>
                  <a:pt x="1382" y="746"/>
                </a:cubicBezTo>
                <a:cubicBezTo>
                  <a:pt x="1382" y="746"/>
                  <a:pt x="1383" y="746"/>
                  <a:pt x="1383" y="746"/>
                </a:cubicBezTo>
                <a:cubicBezTo>
                  <a:pt x="1388" y="742"/>
                  <a:pt x="1391" y="740"/>
                  <a:pt x="1392" y="738"/>
                </a:cubicBezTo>
                <a:cubicBezTo>
                  <a:pt x="1394" y="735"/>
                  <a:pt x="1399" y="730"/>
                  <a:pt x="1407" y="723"/>
                </a:cubicBezTo>
                <a:cubicBezTo>
                  <a:pt x="1415" y="715"/>
                  <a:pt x="1419" y="711"/>
                  <a:pt x="1419" y="710"/>
                </a:cubicBezTo>
                <a:lnTo>
                  <a:pt x="1418" y="710"/>
                </a:lnTo>
                <a:cubicBezTo>
                  <a:pt x="1418" y="710"/>
                  <a:pt x="1417" y="709"/>
                  <a:pt x="1417" y="706"/>
                </a:cubicBezTo>
                <a:lnTo>
                  <a:pt x="1418" y="705"/>
                </a:lnTo>
                <a:lnTo>
                  <a:pt x="1417" y="705"/>
                </a:lnTo>
                <a:cubicBezTo>
                  <a:pt x="1416" y="705"/>
                  <a:pt x="1415" y="706"/>
                  <a:pt x="1413" y="709"/>
                </a:cubicBezTo>
                <a:cubicBezTo>
                  <a:pt x="1410" y="712"/>
                  <a:pt x="1408" y="714"/>
                  <a:pt x="1407" y="714"/>
                </a:cubicBezTo>
                <a:lnTo>
                  <a:pt x="1406" y="713"/>
                </a:lnTo>
                <a:cubicBezTo>
                  <a:pt x="1406" y="712"/>
                  <a:pt x="1408" y="710"/>
                  <a:pt x="1411" y="706"/>
                </a:cubicBezTo>
                <a:cubicBezTo>
                  <a:pt x="1413" y="705"/>
                  <a:pt x="1414" y="704"/>
                  <a:pt x="1415" y="702"/>
                </a:cubicBezTo>
                <a:lnTo>
                  <a:pt x="1416" y="699"/>
                </a:lnTo>
                <a:lnTo>
                  <a:pt x="1416" y="697"/>
                </a:lnTo>
                <a:cubicBezTo>
                  <a:pt x="1416" y="697"/>
                  <a:pt x="1417" y="697"/>
                  <a:pt x="1417" y="697"/>
                </a:cubicBezTo>
                <a:cubicBezTo>
                  <a:pt x="1418" y="697"/>
                  <a:pt x="1419" y="698"/>
                  <a:pt x="1421" y="701"/>
                </a:cubicBezTo>
                <a:lnTo>
                  <a:pt x="1423" y="703"/>
                </a:lnTo>
                <a:cubicBezTo>
                  <a:pt x="1425" y="702"/>
                  <a:pt x="1427" y="700"/>
                  <a:pt x="1429" y="696"/>
                </a:cubicBezTo>
                <a:cubicBezTo>
                  <a:pt x="1431" y="693"/>
                  <a:pt x="1431" y="691"/>
                  <a:pt x="1431" y="688"/>
                </a:cubicBezTo>
                <a:lnTo>
                  <a:pt x="1431" y="686"/>
                </a:lnTo>
                <a:cubicBezTo>
                  <a:pt x="1431" y="686"/>
                  <a:pt x="1431" y="686"/>
                  <a:pt x="1432" y="686"/>
                </a:cubicBezTo>
                <a:lnTo>
                  <a:pt x="1434" y="686"/>
                </a:lnTo>
                <a:cubicBezTo>
                  <a:pt x="1435" y="686"/>
                  <a:pt x="1437" y="685"/>
                  <a:pt x="1438" y="682"/>
                </a:cubicBezTo>
                <a:cubicBezTo>
                  <a:pt x="1439" y="679"/>
                  <a:pt x="1440" y="676"/>
                  <a:pt x="1441" y="673"/>
                </a:cubicBezTo>
                <a:lnTo>
                  <a:pt x="1442" y="670"/>
                </a:lnTo>
                <a:cubicBezTo>
                  <a:pt x="1442" y="670"/>
                  <a:pt x="1441" y="670"/>
                  <a:pt x="1441" y="670"/>
                </a:cubicBezTo>
                <a:cubicBezTo>
                  <a:pt x="1441" y="670"/>
                  <a:pt x="1439" y="671"/>
                  <a:pt x="1438" y="674"/>
                </a:cubicBezTo>
                <a:cubicBezTo>
                  <a:pt x="1436" y="677"/>
                  <a:pt x="1434" y="680"/>
                  <a:pt x="1434" y="682"/>
                </a:cubicBezTo>
                <a:lnTo>
                  <a:pt x="1434" y="683"/>
                </a:lnTo>
                <a:cubicBezTo>
                  <a:pt x="1434" y="684"/>
                  <a:pt x="1434" y="685"/>
                  <a:pt x="1434" y="685"/>
                </a:cubicBezTo>
                <a:lnTo>
                  <a:pt x="1433" y="684"/>
                </a:lnTo>
                <a:cubicBezTo>
                  <a:pt x="1432" y="684"/>
                  <a:pt x="1431" y="685"/>
                  <a:pt x="1429" y="686"/>
                </a:cubicBezTo>
                <a:cubicBezTo>
                  <a:pt x="1428" y="687"/>
                  <a:pt x="1428" y="688"/>
                  <a:pt x="1427" y="690"/>
                </a:cubicBezTo>
                <a:cubicBezTo>
                  <a:pt x="1426" y="691"/>
                  <a:pt x="1425" y="692"/>
                  <a:pt x="1425" y="693"/>
                </a:cubicBezTo>
                <a:cubicBezTo>
                  <a:pt x="1425" y="694"/>
                  <a:pt x="1426" y="694"/>
                  <a:pt x="1426" y="695"/>
                </a:cubicBezTo>
                <a:cubicBezTo>
                  <a:pt x="1426" y="695"/>
                  <a:pt x="1426" y="696"/>
                  <a:pt x="1426" y="696"/>
                </a:cubicBezTo>
                <a:lnTo>
                  <a:pt x="1423" y="695"/>
                </a:lnTo>
                <a:lnTo>
                  <a:pt x="1424" y="699"/>
                </a:lnTo>
                <a:lnTo>
                  <a:pt x="1422" y="697"/>
                </a:lnTo>
                <a:cubicBezTo>
                  <a:pt x="1419" y="694"/>
                  <a:pt x="1417" y="693"/>
                  <a:pt x="1415" y="693"/>
                </a:cubicBezTo>
                <a:cubicBezTo>
                  <a:pt x="1412" y="693"/>
                  <a:pt x="1410" y="695"/>
                  <a:pt x="1409" y="700"/>
                </a:cubicBezTo>
                <a:lnTo>
                  <a:pt x="1409" y="703"/>
                </a:lnTo>
                <a:cubicBezTo>
                  <a:pt x="1409" y="703"/>
                  <a:pt x="1409" y="703"/>
                  <a:pt x="1409" y="703"/>
                </a:cubicBezTo>
                <a:lnTo>
                  <a:pt x="1408" y="703"/>
                </a:lnTo>
                <a:cubicBezTo>
                  <a:pt x="1406" y="703"/>
                  <a:pt x="1405" y="703"/>
                  <a:pt x="1404" y="705"/>
                </a:cubicBezTo>
                <a:cubicBezTo>
                  <a:pt x="1401" y="708"/>
                  <a:pt x="1400" y="712"/>
                  <a:pt x="1400" y="715"/>
                </a:cubicBezTo>
                <a:cubicBezTo>
                  <a:pt x="1399" y="717"/>
                  <a:pt x="1398" y="718"/>
                  <a:pt x="1397" y="718"/>
                </a:cubicBezTo>
                <a:lnTo>
                  <a:pt x="1397" y="718"/>
                </a:lnTo>
                <a:cubicBezTo>
                  <a:pt x="1395" y="718"/>
                  <a:pt x="1394" y="718"/>
                  <a:pt x="1394" y="718"/>
                </a:cubicBezTo>
                <a:lnTo>
                  <a:pt x="1395" y="719"/>
                </a:lnTo>
                <a:cubicBezTo>
                  <a:pt x="1395" y="719"/>
                  <a:pt x="1395" y="720"/>
                  <a:pt x="1395" y="720"/>
                </a:cubicBezTo>
                <a:cubicBezTo>
                  <a:pt x="1395" y="721"/>
                  <a:pt x="1394" y="723"/>
                  <a:pt x="1393" y="725"/>
                </a:cubicBezTo>
                <a:lnTo>
                  <a:pt x="1392" y="727"/>
                </a:lnTo>
                <a:cubicBezTo>
                  <a:pt x="1392" y="727"/>
                  <a:pt x="1394" y="725"/>
                  <a:pt x="1397" y="721"/>
                </a:cubicBezTo>
                <a:lnTo>
                  <a:pt x="1402" y="716"/>
                </a:lnTo>
                <a:lnTo>
                  <a:pt x="1406" y="715"/>
                </a:lnTo>
                <a:cubicBezTo>
                  <a:pt x="1406" y="716"/>
                  <a:pt x="1401" y="723"/>
                  <a:pt x="1391" y="734"/>
                </a:cubicBezTo>
                <a:cubicBezTo>
                  <a:pt x="1384" y="741"/>
                  <a:pt x="1381" y="746"/>
                  <a:pt x="1381" y="747"/>
                </a:cubicBezTo>
                <a:close/>
                <a:moveTo>
                  <a:pt x="1445" y="674"/>
                </a:moveTo>
                <a:lnTo>
                  <a:pt x="1446" y="672"/>
                </a:lnTo>
                <a:cubicBezTo>
                  <a:pt x="1447" y="672"/>
                  <a:pt x="1447" y="671"/>
                  <a:pt x="1447" y="670"/>
                </a:cubicBezTo>
                <a:lnTo>
                  <a:pt x="1447" y="669"/>
                </a:lnTo>
                <a:lnTo>
                  <a:pt x="1447" y="668"/>
                </a:lnTo>
                <a:cubicBezTo>
                  <a:pt x="1447" y="667"/>
                  <a:pt x="1448" y="666"/>
                  <a:pt x="1449" y="666"/>
                </a:cubicBezTo>
                <a:cubicBezTo>
                  <a:pt x="1450" y="665"/>
                  <a:pt x="1451" y="664"/>
                  <a:pt x="1451" y="663"/>
                </a:cubicBezTo>
                <a:cubicBezTo>
                  <a:pt x="1451" y="662"/>
                  <a:pt x="1451" y="661"/>
                  <a:pt x="1450" y="659"/>
                </a:cubicBezTo>
                <a:cubicBezTo>
                  <a:pt x="1449" y="658"/>
                  <a:pt x="1448" y="658"/>
                  <a:pt x="1446" y="658"/>
                </a:cubicBezTo>
                <a:cubicBezTo>
                  <a:pt x="1446" y="658"/>
                  <a:pt x="1445" y="659"/>
                  <a:pt x="1444" y="660"/>
                </a:cubicBezTo>
                <a:cubicBezTo>
                  <a:pt x="1444" y="662"/>
                  <a:pt x="1443" y="663"/>
                  <a:pt x="1443" y="665"/>
                </a:cubicBezTo>
                <a:cubicBezTo>
                  <a:pt x="1443" y="666"/>
                  <a:pt x="1444" y="668"/>
                  <a:pt x="1444" y="668"/>
                </a:cubicBezTo>
                <a:cubicBezTo>
                  <a:pt x="1445" y="669"/>
                  <a:pt x="1445" y="669"/>
                  <a:pt x="1445" y="670"/>
                </a:cubicBezTo>
                <a:cubicBezTo>
                  <a:pt x="1445" y="671"/>
                  <a:pt x="1445" y="671"/>
                  <a:pt x="1445" y="672"/>
                </a:cubicBezTo>
                <a:lnTo>
                  <a:pt x="1444" y="673"/>
                </a:lnTo>
                <a:cubicBezTo>
                  <a:pt x="1444" y="673"/>
                  <a:pt x="1445" y="674"/>
                  <a:pt x="1445" y="674"/>
                </a:cubicBezTo>
                <a:close/>
                <a:moveTo>
                  <a:pt x="1420" y="543"/>
                </a:moveTo>
                <a:cubicBezTo>
                  <a:pt x="1419" y="543"/>
                  <a:pt x="1418" y="542"/>
                  <a:pt x="1416" y="540"/>
                </a:cubicBezTo>
                <a:cubicBezTo>
                  <a:pt x="1416" y="539"/>
                  <a:pt x="1415" y="539"/>
                  <a:pt x="1415" y="538"/>
                </a:cubicBezTo>
                <a:cubicBezTo>
                  <a:pt x="1415" y="537"/>
                  <a:pt x="1416" y="537"/>
                  <a:pt x="1418" y="537"/>
                </a:cubicBezTo>
                <a:cubicBezTo>
                  <a:pt x="1420" y="537"/>
                  <a:pt x="1421" y="538"/>
                  <a:pt x="1421" y="540"/>
                </a:cubicBezTo>
                <a:cubicBezTo>
                  <a:pt x="1421" y="542"/>
                  <a:pt x="1421" y="543"/>
                  <a:pt x="1420" y="543"/>
                </a:cubicBezTo>
                <a:close/>
                <a:moveTo>
                  <a:pt x="1374" y="637"/>
                </a:moveTo>
                <a:lnTo>
                  <a:pt x="1372" y="637"/>
                </a:lnTo>
                <a:cubicBezTo>
                  <a:pt x="1371" y="636"/>
                  <a:pt x="1370" y="635"/>
                  <a:pt x="1370" y="634"/>
                </a:cubicBezTo>
                <a:lnTo>
                  <a:pt x="1371" y="633"/>
                </a:lnTo>
                <a:cubicBezTo>
                  <a:pt x="1371" y="633"/>
                  <a:pt x="1371" y="634"/>
                  <a:pt x="1372" y="635"/>
                </a:cubicBezTo>
                <a:cubicBezTo>
                  <a:pt x="1374" y="636"/>
                  <a:pt x="1374" y="636"/>
                  <a:pt x="1374" y="637"/>
                </a:cubicBezTo>
                <a:close/>
                <a:moveTo>
                  <a:pt x="1401" y="713"/>
                </a:moveTo>
                <a:cubicBezTo>
                  <a:pt x="1401" y="713"/>
                  <a:pt x="1401" y="713"/>
                  <a:pt x="1401" y="712"/>
                </a:cubicBezTo>
                <a:cubicBezTo>
                  <a:pt x="1401" y="711"/>
                  <a:pt x="1402" y="710"/>
                  <a:pt x="1405" y="708"/>
                </a:cubicBezTo>
                <a:lnTo>
                  <a:pt x="1407" y="706"/>
                </a:lnTo>
                <a:cubicBezTo>
                  <a:pt x="1407" y="706"/>
                  <a:pt x="1406" y="708"/>
                  <a:pt x="1405" y="710"/>
                </a:cubicBezTo>
                <a:cubicBezTo>
                  <a:pt x="1403" y="712"/>
                  <a:pt x="1402" y="713"/>
                  <a:pt x="1401" y="713"/>
                </a:cubicBezTo>
                <a:close/>
                <a:moveTo>
                  <a:pt x="1354" y="649"/>
                </a:moveTo>
                <a:cubicBezTo>
                  <a:pt x="1351" y="649"/>
                  <a:pt x="1349" y="647"/>
                  <a:pt x="1349" y="645"/>
                </a:cubicBezTo>
                <a:cubicBezTo>
                  <a:pt x="1349" y="644"/>
                  <a:pt x="1349" y="643"/>
                  <a:pt x="1349" y="643"/>
                </a:cubicBezTo>
                <a:cubicBezTo>
                  <a:pt x="1350" y="643"/>
                  <a:pt x="1350" y="642"/>
                  <a:pt x="1350" y="642"/>
                </a:cubicBezTo>
                <a:cubicBezTo>
                  <a:pt x="1350" y="642"/>
                  <a:pt x="1351" y="642"/>
                  <a:pt x="1352" y="642"/>
                </a:cubicBezTo>
                <a:cubicBezTo>
                  <a:pt x="1352" y="643"/>
                  <a:pt x="1354" y="644"/>
                  <a:pt x="1355" y="645"/>
                </a:cubicBezTo>
                <a:cubicBezTo>
                  <a:pt x="1356" y="647"/>
                  <a:pt x="1356" y="647"/>
                  <a:pt x="1356" y="648"/>
                </a:cubicBezTo>
                <a:cubicBezTo>
                  <a:pt x="1356" y="649"/>
                  <a:pt x="1356" y="649"/>
                  <a:pt x="1354" y="649"/>
                </a:cubicBezTo>
                <a:close/>
                <a:moveTo>
                  <a:pt x="1408" y="720"/>
                </a:moveTo>
                <a:cubicBezTo>
                  <a:pt x="1408" y="718"/>
                  <a:pt x="1409" y="717"/>
                  <a:pt x="1411" y="714"/>
                </a:cubicBezTo>
                <a:cubicBezTo>
                  <a:pt x="1414" y="711"/>
                  <a:pt x="1415" y="710"/>
                  <a:pt x="1415" y="710"/>
                </a:cubicBezTo>
                <a:lnTo>
                  <a:pt x="1416" y="711"/>
                </a:lnTo>
                <a:lnTo>
                  <a:pt x="1413" y="715"/>
                </a:lnTo>
                <a:cubicBezTo>
                  <a:pt x="1410" y="718"/>
                  <a:pt x="1408" y="720"/>
                  <a:pt x="1408" y="720"/>
                </a:cubicBezTo>
                <a:close/>
                <a:moveTo>
                  <a:pt x="1406" y="671"/>
                </a:moveTo>
                <a:lnTo>
                  <a:pt x="1405" y="671"/>
                </a:lnTo>
                <a:lnTo>
                  <a:pt x="1408" y="667"/>
                </a:lnTo>
                <a:cubicBezTo>
                  <a:pt x="1411" y="664"/>
                  <a:pt x="1413" y="662"/>
                  <a:pt x="1413" y="662"/>
                </a:cubicBezTo>
                <a:cubicBezTo>
                  <a:pt x="1413" y="663"/>
                  <a:pt x="1412" y="665"/>
                  <a:pt x="1410" y="667"/>
                </a:cubicBezTo>
                <a:cubicBezTo>
                  <a:pt x="1407" y="670"/>
                  <a:pt x="1406" y="671"/>
                  <a:pt x="1406" y="671"/>
                </a:cubicBezTo>
                <a:close/>
                <a:moveTo>
                  <a:pt x="1371" y="633"/>
                </a:moveTo>
                <a:lnTo>
                  <a:pt x="1370" y="633"/>
                </a:lnTo>
                <a:lnTo>
                  <a:pt x="1371" y="633"/>
                </a:lnTo>
                <a:close/>
                <a:moveTo>
                  <a:pt x="1531" y="753"/>
                </a:moveTo>
                <a:cubicBezTo>
                  <a:pt x="1529" y="753"/>
                  <a:pt x="1528" y="753"/>
                  <a:pt x="1528" y="753"/>
                </a:cubicBezTo>
                <a:cubicBezTo>
                  <a:pt x="1528" y="752"/>
                  <a:pt x="1529" y="752"/>
                  <a:pt x="1530" y="751"/>
                </a:cubicBezTo>
                <a:cubicBezTo>
                  <a:pt x="1531" y="750"/>
                  <a:pt x="1532" y="750"/>
                  <a:pt x="1532" y="749"/>
                </a:cubicBezTo>
                <a:cubicBezTo>
                  <a:pt x="1532" y="749"/>
                  <a:pt x="1532" y="748"/>
                  <a:pt x="1530" y="748"/>
                </a:cubicBezTo>
                <a:cubicBezTo>
                  <a:pt x="1529" y="747"/>
                  <a:pt x="1528" y="747"/>
                  <a:pt x="1528" y="747"/>
                </a:cubicBezTo>
                <a:lnTo>
                  <a:pt x="1531" y="746"/>
                </a:lnTo>
                <a:cubicBezTo>
                  <a:pt x="1532" y="746"/>
                  <a:pt x="1532" y="746"/>
                  <a:pt x="1532" y="746"/>
                </a:cubicBezTo>
                <a:cubicBezTo>
                  <a:pt x="1532" y="745"/>
                  <a:pt x="1532" y="745"/>
                  <a:pt x="1530" y="744"/>
                </a:cubicBezTo>
                <a:cubicBezTo>
                  <a:pt x="1529" y="743"/>
                  <a:pt x="1528" y="742"/>
                  <a:pt x="1528" y="742"/>
                </a:cubicBezTo>
                <a:lnTo>
                  <a:pt x="1531" y="742"/>
                </a:lnTo>
                <a:cubicBezTo>
                  <a:pt x="1533" y="742"/>
                  <a:pt x="1534" y="743"/>
                  <a:pt x="1534" y="746"/>
                </a:cubicBezTo>
                <a:cubicBezTo>
                  <a:pt x="1534" y="751"/>
                  <a:pt x="1533" y="753"/>
                  <a:pt x="1531" y="753"/>
                </a:cubicBezTo>
                <a:close/>
                <a:moveTo>
                  <a:pt x="1555" y="810"/>
                </a:moveTo>
                <a:cubicBezTo>
                  <a:pt x="1551" y="810"/>
                  <a:pt x="1547" y="810"/>
                  <a:pt x="1543" y="808"/>
                </a:cubicBezTo>
                <a:cubicBezTo>
                  <a:pt x="1538" y="807"/>
                  <a:pt x="1534" y="803"/>
                  <a:pt x="1529" y="796"/>
                </a:cubicBezTo>
                <a:cubicBezTo>
                  <a:pt x="1524" y="789"/>
                  <a:pt x="1521" y="784"/>
                  <a:pt x="1519" y="778"/>
                </a:cubicBezTo>
                <a:cubicBezTo>
                  <a:pt x="1518" y="773"/>
                  <a:pt x="1517" y="765"/>
                  <a:pt x="1517" y="756"/>
                </a:cubicBezTo>
                <a:cubicBezTo>
                  <a:pt x="1517" y="735"/>
                  <a:pt x="1519" y="710"/>
                  <a:pt x="1523" y="679"/>
                </a:cubicBezTo>
                <a:cubicBezTo>
                  <a:pt x="1528" y="647"/>
                  <a:pt x="1533" y="619"/>
                  <a:pt x="1540" y="593"/>
                </a:cubicBezTo>
                <a:lnTo>
                  <a:pt x="1541" y="592"/>
                </a:lnTo>
                <a:cubicBezTo>
                  <a:pt x="1541" y="589"/>
                  <a:pt x="1542" y="586"/>
                  <a:pt x="1542" y="583"/>
                </a:cubicBezTo>
                <a:cubicBezTo>
                  <a:pt x="1542" y="580"/>
                  <a:pt x="1542" y="579"/>
                  <a:pt x="1543" y="579"/>
                </a:cubicBezTo>
                <a:cubicBezTo>
                  <a:pt x="1544" y="579"/>
                  <a:pt x="1545" y="578"/>
                  <a:pt x="1545" y="577"/>
                </a:cubicBezTo>
                <a:lnTo>
                  <a:pt x="1544" y="573"/>
                </a:lnTo>
                <a:cubicBezTo>
                  <a:pt x="1544" y="571"/>
                  <a:pt x="1544" y="570"/>
                  <a:pt x="1545" y="570"/>
                </a:cubicBezTo>
                <a:cubicBezTo>
                  <a:pt x="1546" y="570"/>
                  <a:pt x="1546" y="569"/>
                  <a:pt x="1546" y="568"/>
                </a:cubicBezTo>
                <a:lnTo>
                  <a:pt x="1546" y="566"/>
                </a:lnTo>
                <a:cubicBezTo>
                  <a:pt x="1546" y="564"/>
                  <a:pt x="1547" y="563"/>
                  <a:pt x="1549" y="563"/>
                </a:cubicBezTo>
                <a:cubicBezTo>
                  <a:pt x="1550" y="563"/>
                  <a:pt x="1551" y="562"/>
                  <a:pt x="1551" y="562"/>
                </a:cubicBezTo>
                <a:lnTo>
                  <a:pt x="1550" y="561"/>
                </a:lnTo>
                <a:cubicBezTo>
                  <a:pt x="1550" y="561"/>
                  <a:pt x="1549" y="560"/>
                  <a:pt x="1548" y="559"/>
                </a:cubicBezTo>
                <a:cubicBezTo>
                  <a:pt x="1548" y="558"/>
                  <a:pt x="1547" y="558"/>
                  <a:pt x="1547" y="557"/>
                </a:cubicBezTo>
                <a:cubicBezTo>
                  <a:pt x="1547" y="555"/>
                  <a:pt x="1548" y="554"/>
                  <a:pt x="1550" y="554"/>
                </a:cubicBezTo>
                <a:cubicBezTo>
                  <a:pt x="1552" y="555"/>
                  <a:pt x="1553" y="556"/>
                  <a:pt x="1553" y="558"/>
                </a:cubicBezTo>
                <a:cubicBezTo>
                  <a:pt x="1553" y="562"/>
                  <a:pt x="1550" y="573"/>
                  <a:pt x="1545" y="590"/>
                </a:cubicBezTo>
                <a:cubicBezTo>
                  <a:pt x="1538" y="618"/>
                  <a:pt x="1533" y="646"/>
                  <a:pt x="1528" y="674"/>
                </a:cubicBezTo>
                <a:cubicBezTo>
                  <a:pt x="1524" y="703"/>
                  <a:pt x="1522" y="726"/>
                  <a:pt x="1522" y="744"/>
                </a:cubicBezTo>
                <a:cubicBezTo>
                  <a:pt x="1522" y="750"/>
                  <a:pt x="1523" y="755"/>
                  <a:pt x="1523" y="760"/>
                </a:cubicBezTo>
                <a:cubicBezTo>
                  <a:pt x="1525" y="772"/>
                  <a:pt x="1526" y="778"/>
                  <a:pt x="1527" y="778"/>
                </a:cubicBezTo>
                <a:cubicBezTo>
                  <a:pt x="1528" y="778"/>
                  <a:pt x="1528" y="777"/>
                  <a:pt x="1528" y="774"/>
                </a:cubicBezTo>
                <a:cubicBezTo>
                  <a:pt x="1528" y="772"/>
                  <a:pt x="1529" y="770"/>
                  <a:pt x="1530" y="767"/>
                </a:cubicBezTo>
                <a:lnTo>
                  <a:pt x="1530" y="765"/>
                </a:lnTo>
                <a:lnTo>
                  <a:pt x="1531" y="768"/>
                </a:lnTo>
                <a:cubicBezTo>
                  <a:pt x="1532" y="770"/>
                  <a:pt x="1532" y="773"/>
                  <a:pt x="1533" y="776"/>
                </a:cubicBezTo>
                <a:cubicBezTo>
                  <a:pt x="1534" y="779"/>
                  <a:pt x="1535" y="782"/>
                  <a:pt x="1536" y="785"/>
                </a:cubicBezTo>
                <a:cubicBezTo>
                  <a:pt x="1537" y="787"/>
                  <a:pt x="1538" y="789"/>
                  <a:pt x="1538" y="789"/>
                </a:cubicBezTo>
                <a:cubicBezTo>
                  <a:pt x="1540" y="789"/>
                  <a:pt x="1540" y="789"/>
                  <a:pt x="1540" y="788"/>
                </a:cubicBezTo>
                <a:lnTo>
                  <a:pt x="1540" y="784"/>
                </a:lnTo>
                <a:cubicBezTo>
                  <a:pt x="1538" y="780"/>
                  <a:pt x="1538" y="768"/>
                  <a:pt x="1538" y="749"/>
                </a:cubicBezTo>
                <a:cubicBezTo>
                  <a:pt x="1538" y="730"/>
                  <a:pt x="1537" y="721"/>
                  <a:pt x="1536" y="721"/>
                </a:cubicBezTo>
                <a:cubicBezTo>
                  <a:pt x="1535" y="721"/>
                  <a:pt x="1534" y="726"/>
                  <a:pt x="1534" y="735"/>
                </a:cubicBezTo>
                <a:cubicBezTo>
                  <a:pt x="1534" y="736"/>
                  <a:pt x="1534" y="737"/>
                  <a:pt x="1533" y="737"/>
                </a:cubicBezTo>
                <a:cubicBezTo>
                  <a:pt x="1532" y="738"/>
                  <a:pt x="1532" y="739"/>
                  <a:pt x="1531" y="739"/>
                </a:cubicBezTo>
                <a:cubicBezTo>
                  <a:pt x="1530" y="739"/>
                  <a:pt x="1529" y="738"/>
                  <a:pt x="1529" y="736"/>
                </a:cubicBezTo>
                <a:cubicBezTo>
                  <a:pt x="1529" y="733"/>
                  <a:pt x="1531" y="719"/>
                  <a:pt x="1534" y="693"/>
                </a:cubicBezTo>
                <a:cubicBezTo>
                  <a:pt x="1538" y="665"/>
                  <a:pt x="1540" y="650"/>
                  <a:pt x="1541" y="648"/>
                </a:cubicBezTo>
                <a:cubicBezTo>
                  <a:pt x="1542" y="647"/>
                  <a:pt x="1542" y="644"/>
                  <a:pt x="1542" y="641"/>
                </a:cubicBezTo>
                <a:cubicBezTo>
                  <a:pt x="1543" y="631"/>
                  <a:pt x="1545" y="616"/>
                  <a:pt x="1550" y="597"/>
                </a:cubicBezTo>
                <a:cubicBezTo>
                  <a:pt x="1555" y="577"/>
                  <a:pt x="1560" y="559"/>
                  <a:pt x="1567" y="542"/>
                </a:cubicBezTo>
                <a:cubicBezTo>
                  <a:pt x="1572" y="528"/>
                  <a:pt x="1574" y="519"/>
                  <a:pt x="1574" y="514"/>
                </a:cubicBezTo>
                <a:cubicBezTo>
                  <a:pt x="1574" y="510"/>
                  <a:pt x="1575" y="508"/>
                  <a:pt x="1576" y="508"/>
                </a:cubicBezTo>
                <a:cubicBezTo>
                  <a:pt x="1577" y="508"/>
                  <a:pt x="1578" y="508"/>
                  <a:pt x="1578" y="509"/>
                </a:cubicBezTo>
                <a:cubicBezTo>
                  <a:pt x="1578" y="511"/>
                  <a:pt x="1578" y="512"/>
                  <a:pt x="1579" y="512"/>
                </a:cubicBezTo>
                <a:cubicBezTo>
                  <a:pt x="1579" y="512"/>
                  <a:pt x="1580" y="511"/>
                  <a:pt x="1580" y="510"/>
                </a:cubicBezTo>
                <a:cubicBezTo>
                  <a:pt x="1581" y="509"/>
                  <a:pt x="1584" y="509"/>
                  <a:pt x="1587" y="509"/>
                </a:cubicBezTo>
                <a:cubicBezTo>
                  <a:pt x="1589" y="509"/>
                  <a:pt x="1590" y="509"/>
                  <a:pt x="1590" y="509"/>
                </a:cubicBezTo>
                <a:cubicBezTo>
                  <a:pt x="1590" y="508"/>
                  <a:pt x="1589" y="507"/>
                  <a:pt x="1589" y="506"/>
                </a:cubicBezTo>
                <a:cubicBezTo>
                  <a:pt x="1588" y="505"/>
                  <a:pt x="1587" y="504"/>
                  <a:pt x="1587" y="503"/>
                </a:cubicBezTo>
                <a:cubicBezTo>
                  <a:pt x="1587" y="502"/>
                  <a:pt x="1588" y="502"/>
                  <a:pt x="1589" y="502"/>
                </a:cubicBezTo>
                <a:cubicBezTo>
                  <a:pt x="1592" y="502"/>
                  <a:pt x="1597" y="505"/>
                  <a:pt x="1601" y="509"/>
                </a:cubicBezTo>
                <a:cubicBezTo>
                  <a:pt x="1602" y="510"/>
                  <a:pt x="1603" y="511"/>
                  <a:pt x="1603" y="512"/>
                </a:cubicBezTo>
                <a:cubicBezTo>
                  <a:pt x="1605" y="513"/>
                  <a:pt x="1607" y="514"/>
                  <a:pt x="1608" y="515"/>
                </a:cubicBezTo>
                <a:cubicBezTo>
                  <a:pt x="1608" y="515"/>
                  <a:pt x="1609" y="516"/>
                  <a:pt x="1609" y="517"/>
                </a:cubicBezTo>
                <a:cubicBezTo>
                  <a:pt x="1609" y="521"/>
                  <a:pt x="1603" y="538"/>
                  <a:pt x="1592" y="570"/>
                </a:cubicBezTo>
                <a:cubicBezTo>
                  <a:pt x="1590" y="577"/>
                  <a:pt x="1588" y="581"/>
                  <a:pt x="1587" y="584"/>
                </a:cubicBezTo>
                <a:cubicBezTo>
                  <a:pt x="1587" y="588"/>
                  <a:pt x="1585" y="593"/>
                  <a:pt x="1585" y="600"/>
                </a:cubicBezTo>
                <a:cubicBezTo>
                  <a:pt x="1584" y="603"/>
                  <a:pt x="1584" y="604"/>
                  <a:pt x="1584" y="606"/>
                </a:cubicBezTo>
                <a:cubicBezTo>
                  <a:pt x="1583" y="607"/>
                  <a:pt x="1583" y="609"/>
                  <a:pt x="1582" y="610"/>
                </a:cubicBezTo>
                <a:cubicBezTo>
                  <a:pt x="1582" y="612"/>
                  <a:pt x="1582" y="614"/>
                  <a:pt x="1581" y="617"/>
                </a:cubicBezTo>
                <a:cubicBezTo>
                  <a:pt x="1581" y="619"/>
                  <a:pt x="1580" y="622"/>
                  <a:pt x="1579" y="627"/>
                </a:cubicBezTo>
                <a:lnTo>
                  <a:pt x="1578" y="632"/>
                </a:lnTo>
                <a:cubicBezTo>
                  <a:pt x="1577" y="636"/>
                  <a:pt x="1576" y="642"/>
                  <a:pt x="1575" y="650"/>
                </a:cubicBezTo>
                <a:cubicBezTo>
                  <a:pt x="1574" y="652"/>
                  <a:pt x="1573" y="654"/>
                  <a:pt x="1573" y="656"/>
                </a:cubicBezTo>
                <a:cubicBezTo>
                  <a:pt x="1573" y="657"/>
                  <a:pt x="1573" y="659"/>
                  <a:pt x="1572" y="660"/>
                </a:cubicBezTo>
                <a:cubicBezTo>
                  <a:pt x="1572" y="662"/>
                  <a:pt x="1572" y="663"/>
                  <a:pt x="1572" y="665"/>
                </a:cubicBezTo>
                <a:cubicBezTo>
                  <a:pt x="1572" y="667"/>
                  <a:pt x="1571" y="669"/>
                  <a:pt x="1571" y="671"/>
                </a:cubicBezTo>
                <a:cubicBezTo>
                  <a:pt x="1570" y="673"/>
                  <a:pt x="1570" y="675"/>
                  <a:pt x="1569" y="677"/>
                </a:cubicBezTo>
                <a:cubicBezTo>
                  <a:pt x="1569" y="680"/>
                  <a:pt x="1568" y="682"/>
                  <a:pt x="1568" y="684"/>
                </a:cubicBezTo>
                <a:cubicBezTo>
                  <a:pt x="1568" y="687"/>
                  <a:pt x="1567" y="691"/>
                  <a:pt x="1567" y="695"/>
                </a:cubicBezTo>
                <a:cubicBezTo>
                  <a:pt x="1563" y="721"/>
                  <a:pt x="1561" y="744"/>
                  <a:pt x="1561" y="763"/>
                </a:cubicBezTo>
                <a:cubicBezTo>
                  <a:pt x="1561" y="770"/>
                  <a:pt x="1562" y="773"/>
                  <a:pt x="1563" y="773"/>
                </a:cubicBezTo>
                <a:cubicBezTo>
                  <a:pt x="1565" y="773"/>
                  <a:pt x="1570" y="768"/>
                  <a:pt x="1577" y="758"/>
                </a:cubicBezTo>
                <a:cubicBezTo>
                  <a:pt x="1587" y="744"/>
                  <a:pt x="1599" y="726"/>
                  <a:pt x="1612" y="705"/>
                </a:cubicBezTo>
                <a:cubicBezTo>
                  <a:pt x="1623" y="688"/>
                  <a:pt x="1629" y="681"/>
                  <a:pt x="1629" y="681"/>
                </a:cubicBezTo>
                <a:lnTo>
                  <a:pt x="1625" y="688"/>
                </a:lnTo>
                <a:cubicBezTo>
                  <a:pt x="1620" y="698"/>
                  <a:pt x="1612" y="711"/>
                  <a:pt x="1601" y="727"/>
                </a:cubicBezTo>
                <a:cubicBezTo>
                  <a:pt x="1590" y="743"/>
                  <a:pt x="1582" y="756"/>
                  <a:pt x="1574" y="765"/>
                </a:cubicBezTo>
                <a:cubicBezTo>
                  <a:pt x="1565" y="777"/>
                  <a:pt x="1560" y="784"/>
                  <a:pt x="1560" y="785"/>
                </a:cubicBezTo>
                <a:cubicBezTo>
                  <a:pt x="1560" y="786"/>
                  <a:pt x="1560" y="787"/>
                  <a:pt x="1559" y="787"/>
                </a:cubicBezTo>
                <a:lnTo>
                  <a:pt x="1558" y="786"/>
                </a:lnTo>
                <a:cubicBezTo>
                  <a:pt x="1557" y="786"/>
                  <a:pt x="1556" y="788"/>
                  <a:pt x="1556" y="791"/>
                </a:cubicBezTo>
                <a:cubicBezTo>
                  <a:pt x="1556" y="794"/>
                  <a:pt x="1557" y="795"/>
                  <a:pt x="1558" y="795"/>
                </a:cubicBezTo>
                <a:cubicBezTo>
                  <a:pt x="1558" y="795"/>
                  <a:pt x="1560" y="795"/>
                  <a:pt x="1561" y="795"/>
                </a:cubicBezTo>
                <a:cubicBezTo>
                  <a:pt x="1563" y="794"/>
                  <a:pt x="1563" y="794"/>
                  <a:pt x="1563" y="793"/>
                </a:cubicBezTo>
                <a:cubicBezTo>
                  <a:pt x="1563" y="793"/>
                  <a:pt x="1563" y="792"/>
                  <a:pt x="1562" y="792"/>
                </a:cubicBezTo>
                <a:cubicBezTo>
                  <a:pt x="1561" y="791"/>
                  <a:pt x="1560" y="790"/>
                  <a:pt x="1560" y="790"/>
                </a:cubicBezTo>
                <a:cubicBezTo>
                  <a:pt x="1560" y="789"/>
                  <a:pt x="1561" y="788"/>
                  <a:pt x="1562" y="787"/>
                </a:cubicBezTo>
                <a:cubicBezTo>
                  <a:pt x="1563" y="786"/>
                  <a:pt x="1564" y="785"/>
                  <a:pt x="1564" y="785"/>
                </a:cubicBezTo>
                <a:cubicBezTo>
                  <a:pt x="1564" y="785"/>
                  <a:pt x="1565" y="786"/>
                  <a:pt x="1565" y="787"/>
                </a:cubicBezTo>
                <a:cubicBezTo>
                  <a:pt x="1565" y="789"/>
                  <a:pt x="1565" y="789"/>
                  <a:pt x="1565" y="789"/>
                </a:cubicBezTo>
                <a:cubicBezTo>
                  <a:pt x="1566" y="789"/>
                  <a:pt x="1567" y="789"/>
                  <a:pt x="1568" y="788"/>
                </a:cubicBezTo>
                <a:cubicBezTo>
                  <a:pt x="1569" y="787"/>
                  <a:pt x="1570" y="787"/>
                  <a:pt x="1570" y="787"/>
                </a:cubicBezTo>
                <a:cubicBezTo>
                  <a:pt x="1571" y="787"/>
                  <a:pt x="1572" y="787"/>
                  <a:pt x="1572" y="787"/>
                </a:cubicBezTo>
                <a:lnTo>
                  <a:pt x="1573" y="787"/>
                </a:lnTo>
                <a:lnTo>
                  <a:pt x="1572" y="785"/>
                </a:lnTo>
                <a:cubicBezTo>
                  <a:pt x="1572" y="783"/>
                  <a:pt x="1573" y="782"/>
                  <a:pt x="1577" y="780"/>
                </a:cubicBezTo>
                <a:cubicBezTo>
                  <a:pt x="1578" y="779"/>
                  <a:pt x="1580" y="779"/>
                  <a:pt x="1581" y="778"/>
                </a:cubicBezTo>
                <a:cubicBezTo>
                  <a:pt x="1582" y="777"/>
                  <a:pt x="1582" y="776"/>
                  <a:pt x="1582" y="776"/>
                </a:cubicBezTo>
                <a:cubicBezTo>
                  <a:pt x="1582" y="775"/>
                  <a:pt x="1582" y="774"/>
                  <a:pt x="1581" y="774"/>
                </a:cubicBezTo>
                <a:lnTo>
                  <a:pt x="1579" y="776"/>
                </a:lnTo>
                <a:lnTo>
                  <a:pt x="1579" y="775"/>
                </a:lnTo>
                <a:lnTo>
                  <a:pt x="1581" y="772"/>
                </a:lnTo>
                <a:cubicBezTo>
                  <a:pt x="1583" y="771"/>
                  <a:pt x="1584" y="769"/>
                  <a:pt x="1587" y="767"/>
                </a:cubicBezTo>
                <a:cubicBezTo>
                  <a:pt x="1589" y="765"/>
                  <a:pt x="1591" y="764"/>
                  <a:pt x="1593" y="763"/>
                </a:cubicBezTo>
                <a:cubicBezTo>
                  <a:pt x="1594" y="762"/>
                  <a:pt x="1595" y="761"/>
                  <a:pt x="1595" y="761"/>
                </a:cubicBezTo>
                <a:lnTo>
                  <a:pt x="1589" y="762"/>
                </a:lnTo>
                <a:lnTo>
                  <a:pt x="1589" y="761"/>
                </a:lnTo>
                <a:cubicBezTo>
                  <a:pt x="1589" y="761"/>
                  <a:pt x="1590" y="760"/>
                  <a:pt x="1592" y="758"/>
                </a:cubicBezTo>
                <a:cubicBezTo>
                  <a:pt x="1594" y="756"/>
                  <a:pt x="1596" y="754"/>
                  <a:pt x="1597" y="753"/>
                </a:cubicBezTo>
                <a:cubicBezTo>
                  <a:pt x="1598" y="752"/>
                  <a:pt x="1599" y="750"/>
                  <a:pt x="1599" y="750"/>
                </a:cubicBezTo>
                <a:cubicBezTo>
                  <a:pt x="1599" y="749"/>
                  <a:pt x="1599" y="748"/>
                  <a:pt x="1600" y="748"/>
                </a:cubicBezTo>
                <a:cubicBezTo>
                  <a:pt x="1600" y="747"/>
                  <a:pt x="1601" y="747"/>
                  <a:pt x="1602" y="747"/>
                </a:cubicBezTo>
                <a:cubicBezTo>
                  <a:pt x="1603" y="747"/>
                  <a:pt x="1603" y="747"/>
                  <a:pt x="1604" y="746"/>
                </a:cubicBezTo>
                <a:cubicBezTo>
                  <a:pt x="1605" y="745"/>
                  <a:pt x="1605" y="745"/>
                  <a:pt x="1606" y="744"/>
                </a:cubicBezTo>
                <a:lnTo>
                  <a:pt x="1606" y="743"/>
                </a:lnTo>
                <a:cubicBezTo>
                  <a:pt x="1606" y="742"/>
                  <a:pt x="1605" y="742"/>
                  <a:pt x="1605" y="742"/>
                </a:cubicBezTo>
                <a:lnTo>
                  <a:pt x="1604" y="743"/>
                </a:lnTo>
                <a:cubicBezTo>
                  <a:pt x="1604" y="743"/>
                  <a:pt x="1603" y="743"/>
                  <a:pt x="1602" y="743"/>
                </a:cubicBezTo>
                <a:cubicBezTo>
                  <a:pt x="1602" y="743"/>
                  <a:pt x="1602" y="743"/>
                  <a:pt x="1602" y="743"/>
                </a:cubicBezTo>
                <a:cubicBezTo>
                  <a:pt x="1602" y="742"/>
                  <a:pt x="1602" y="742"/>
                  <a:pt x="1604" y="741"/>
                </a:cubicBezTo>
                <a:cubicBezTo>
                  <a:pt x="1605" y="740"/>
                  <a:pt x="1606" y="740"/>
                  <a:pt x="1609" y="739"/>
                </a:cubicBezTo>
                <a:cubicBezTo>
                  <a:pt x="1610" y="738"/>
                  <a:pt x="1612" y="737"/>
                  <a:pt x="1612" y="736"/>
                </a:cubicBezTo>
                <a:cubicBezTo>
                  <a:pt x="1612" y="736"/>
                  <a:pt x="1611" y="736"/>
                  <a:pt x="1610" y="735"/>
                </a:cubicBezTo>
                <a:cubicBezTo>
                  <a:pt x="1610" y="735"/>
                  <a:pt x="1609" y="735"/>
                  <a:pt x="1609" y="734"/>
                </a:cubicBezTo>
                <a:cubicBezTo>
                  <a:pt x="1609" y="732"/>
                  <a:pt x="1610" y="731"/>
                  <a:pt x="1612" y="729"/>
                </a:cubicBezTo>
                <a:cubicBezTo>
                  <a:pt x="1613" y="727"/>
                  <a:pt x="1614" y="725"/>
                  <a:pt x="1614" y="724"/>
                </a:cubicBezTo>
                <a:cubicBezTo>
                  <a:pt x="1614" y="724"/>
                  <a:pt x="1614" y="723"/>
                  <a:pt x="1614" y="723"/>
                </a:cubicBezTo>
                <a:cubicBezTo>
                  <a:pt x="1613" y="723"/>
                  <a:pt x="1613" y="723"/>
                  <a:pt x="1613" y="723"/>
                </a:cubicBezTo>
                <a:cubicBezTo>
                  <a:pt x="1613" y="723"/>
                  <a:pt x="1614" y="722"/>
                  <a:pt x="1615" y="720"/>
                </a:cubicBezTo>
                <a:cubicBezTo>
                  <a:pt x="1617" y="718"/>
                  <a:pt x="1618" y="718"/>
                  <a:pt x="1619" y="718"/>
                </a:cubicBezTo>
                <a:cubicBezTo>
                  <a:pt x="1619" y="718"/>
                  <a:pt x="1619" y="718"/>
                  <a:pt x="1620" y="718"/>
                </a:cubicBezTo>
                <a:cubicBezTo>
                  <a:pt x="1620" y="718"/>
                  <a:pt x="1620" y="719"/>
                  <a:pt x="1620" y="719"/>
                </a:cubicBezTo>
                <a:cubicBezTo>
                  <a:pt x="1620" y="720"/>
                  <a:pt x="1620" y="720"/>
                  <a:pt x="1618" y="721"/>
                </a:cubicBezTo>
                <a:lnTo>
                  <a:pt x="1615" y="723"/>
                </a:lnTo>
                <a:cubicBezTo>
                  <a:pt x="1615" y="723"/>
                  <a:pt x="1616" y="723"/>
                  <a:pt x="1617" y="723"/>
                </a:cubicBezTo>
                <a:cubicBezTo>
                  <a:pt x="1620" y="723"/>
                  <a:pt x="1622" y="721"/>
                  <a:pt x="1623" y="719"/>
                </a:cubicBezTo>
                <a:cubicBezTo>
                  <a:pt x="1625" y="716"/>
                  <a:pt x="1625" y="714"/>
                  <a:pt x="1625" y="713"/>
                </a:cubicBezTo>
                <a:cubicBezTo>
                  <a:pt x="1625" y="713"/>
                  <a:pt x="1625" y="712"/>
                  <a:pt x="1624" y="712"/>
                </a:cubicBezTo>
                <a:lnTo>
                  <a:pt x="1622" y="713"/>
                </a:lnTo>
                <a:cubicBezTo>
                  <a:pt x="1620" y="713"/>
                  <a:pt x="1619" y="713"/>
                  <a:pt x="1619" y="712"/>
                </a:cubicBezTo>
                <a:cubicBezTo>
                  <a:pt x="1619" y="711"/>
                  <a:pt x="1620" y="710"/>
                  <a:pt x="1621" y="710"/>
                </a:cubicBezTo>
                <a:cubicBezTo>
                  <a:pt x="1622" y="710"/>
                  <a:pt x="1623" y="709"/>
                  <a:pt x="1624" y="709"/>
                </a:cubicBezTo>
                <a:cubicBezTo>
                  <a:pt x="1625" y="709"/>
                  <a:pt x="1626" y="709"/>
                  <a:pt x="1627" y="708"/>
                </a:cubicBezTo>
                <a:cubicBezTo>
                  <a:pt x="1630" y="707"/>
                  <a:pt x="1633" y="703"/>
                  <a:pt x="1638" y="696"/>
                </a:cubicBezTo>
                <a:cubicBezTo>
                  <a:pt x="1642" y="688"/>
                  <a:pt x="1650" y="675"/>
                  <a:pt x="1661" y="655"/>
                </a:cubicBezTo>
                <a:cubicBezTo>
                  <a:pt x="1672" y="636"/>
                  <a:pt x="1677" y="626"/>
                  <a:pt x="1677" y="625"/>
                </a:cubicBezTo>
                <a:cubicBezTo>
                  <a:pt x="1677" y="623"/>
                  <a:pt x="1677" y="622"/>
                  <a:pt x="1677" y="622"/>
                </a:cubicBezTo>
                <a:lnTo>
                  <a:pt x="1677" y="622"/>
                </a:lnTo>
                <a:cubicBezTo>
                  <a:pt x="1675" y="622"/>
                  <a:pt x="1674" y="624"/>
                  <a:pt x="1672" y="628"/>
                </a:cubicBezTo>
                <a:cubicBezTo>
                  <a:pt x="1672" y="632"/>
                  <a:pt x="1671" y="634"/>
                  <a:pt x="1670" y="634"/>
                </a:cubicBezTo>
                <a:cubicBezTo>
                  <a:pt x="1669" y="634"/>
                  <a:pt x="1668" y="634"/>
                  <a:pt x="1668" y="635"/>
                </a:cubicBezTo>
                <a:cubicBezTo>
                  <a:pt x="1667" y="636"/>
                  <a:pt x="1667" y="636"/>
                  <a:pt x="1667" y="637"/>
                </a:cubicBezTo>
                <a:cubicBezTo>
                  <a:pt x="1667" y="639"/>
                  <a:pt x="1666" y="641"/>
                  <a:pt x="1664" y="644"/>
                </a:cubicBezTo>
                <a:cubicBezTo>
                  <a:pt x="1663" y="644"/>
                  <a:pt x="1662" y="647"/>
                  <a:pt x="1659" y="652"/>
                </a:cubicBezTo>
                <a:cubicBezTo>
                  <a:pt x="1658" y="655"/>
                  <a:pt x="1657" y="657"/>
                  <a:pt x="1656" y="657"/>
                </a:cubicBezTo>
                <a:cubicBezTo>
                  <a:pt x="1654" y="657"/>
                  <a:pt x="1654" y="658"/>
                  <a:pt x="1654" y="660"/>
                </a:cubicBezTo>
                <a:cubicBezTo>
                  <a:pt x="1654" y="663"/>
                  <a:pt x="1653" y="664"/>
                  <a:pt x="1652" y="664"/>
                </a:cubicBezTo>
                <a:cubicBezTo>
                  <a:pt x="1651" y="664"/>
                  <a:pt x="1650" y="664"/>
                  <a:pt x="1650" y="665"/>
                </a:cubicBezTo>
                <a:lnTo>
                  <a:pt x="1651" y="666"/>
                </a:lnTo>
                <a:cubicBezTo>
                  <a:pt x="1651" y="667"/>
                  <a:pt x="1650" y="668"/>
                  <a:pt x="1649" y="668"/>
                </a:cubicBezTo>
                <a:cubicBezTo>
                  <a:pt x="1648" y="668"/>
                  <a:pt x="1647" y="669"/>
                  <a:pt x="1647" y="672"/>
                </a:cubicBezTo>
                <a:cubicBezTo>
                  <a:pt x="1647" y="673"/>
                  <a:pt x="1647" y="673"/>
                  <a:pt x="1647" y="674"/>
                </a:cubicBezTo>
                <a:cubicBezTo>
                  <a:pt x="1646" y="675"/>
                  <a:pt x="1646" y="675"/>
                  <a:pt x="1646" y="675"/>
                </a:cubicBezTo>
                <a:cubicBezTo>
                  <a:pt x="1645" y="675"/>
                  <a:pt x="1644" y="675"/>
                  <a:pt x="1644" y="676"/>
                </a:cubicBezTo>
                <a:cubicBezTo>
                  <a:pt x="1643" y="677"/>
                  <a:pt x="1643" y="677"/>
                  <a:pt x="1643" y="678"/>
                </a:cubicBezTo>
                <a:cubicBezTo>
                  <a:pt x="1643" y="679"/>
                  <a:pt x="1643" y="680"/>
                  <a:pt x="1642" y="681"/>
                </a:cubicBezTo>
                <a:cubicBezTo>
                  <a:pt x="1642" y="682"/>
                  <a:pt x="1639" y="685"/>
                  <a:pt x="1636" y="690"/>
                </a:cubicBezTo>
                <a:cubicBezTo>
                  <a:pt x="1634" y="692"/>
                  <a:pt x="1633" y="694"/>
                  <a:pt x="1632" y="695"/>
                </a:cubicBezTo>
                <a:cubicBezTo>
                  <a:pt x="1631" y="697"/>
                  <a:pt x="1631" y="697"/>
                  <a:pt x="1631" y="698"/>
                </a:cubicBezTo>
                <a:cubicBezTo>
                  <a:pt x="1630" y="698"/>
                  <a:pt x="1630" y="699"/>
                  <a:pt x="1628" y="700"/>
                </a:cubicBezTo>
                <a:lnTo>
                  <a:pt x="1628" y="699"/>
                </a:lnTo>
                <a:cubicBezTo>
                  <a:pt x="1628" y="697"/>
                  <a:pt x="1630" y="693"/>
                  <a:pt x="1634" y="688"/>
                </a:cubicBezTo>
                <a:lnTo>
                  <a:pt x="1636" y="683"/>
                </a:lnTo>
                <a:cubicBezTo>
                  <a:pt x="1639" y="679"/>
                  <a:pt x="1641" y="676"/>
                  <a:pt x="1641" y="675"/>
                </a:cubicBezTo>
                <a:cubicBezTo>
                  <a:pt x="1642" y="674"/>
                  <a:pt x="1644" y="670"/>
                  <a:pt x="1647" y="665"/>
                </a:cubicBezTo>
                <a:cubicBezTo>
                  <a:pt x="1649" y="663"/>
                  <a:pt x="1651" y="659"/>
                  <a:pt x="1653" y="654"/>
                </a:cubicBezTo>
                <a:cubicBezTo>
                  <a:pt x="1654" y="651"/>
                  <a:pt x="1655" y="650"/>
                  <a:pt x="1656" y="650"/>
                </a:cubicBezTo>
                <a:cubicBezTo>
                  <a:pt x="1657" y="650"/>
                  <a:pt x="1657" y="649"/>
                  <a:pt x="1657" y="648"/>
                </a:cubicBezTo>
                <a:lnTo>
                  <a:pt x="1657" y="647"/>
                </a:lnTo>
                <a:cubicBezTo>
                  <a:pt x="1657" y="646"/>
                  <a:pt x="1658" y="645"/>
                  <a:pt x="1659" y="644"/>
                </a:cubicBezTo>
                <a:cubicBezTo>
                  <a:pt x="1661" y="644"/>
                  <a:pt x="1662" y="643"/>
                  <a:pt x="1662" y="642"/>
                </a:cubicBezTo>
                <a:lnTo>
                  <a:pt x="1661" y="640"/>
                </a:lnTo>
                <a:cubicBezTo>
                  <a:pt x="1661" y="639"/>
                  <a:pt x="1662" y="639"/>
                  <a:pt x="1662" y="639"/>
                </a:cubicBezTo>
                <a:cubicBezTo>
                  <a:pt x="1663" y="639"/>
                  <a:pt x="1664" y="638"/>
                  <a:pt x="1664" y="638"/>
                </a:cubicBezTo>
                <a:lnTo>
                  <a:pt x="1664" y="636"/>
                </a:lnTo>
                <a:cubicBezTo>
                  <a:pt x="1664" y="635"/>
                  <a:pt x="1664" y="634"/>
                  <a:pt x="1666" y="633"/>
                </a:cubicBezTo>
                <a:cubicBezTo>
                  <a:pt x="1668" y="632"/>
                  <a:pt x="1669" y="629"/>
                  <a:pt x="1670" y="626"/>
                </a:cubicBezTo>
                <a:cubicBezTo>
                  <a:pt x="1671" y="624"/>
                  <a:pt x="1672" y="622"/>
                  <a:pt x="1674" y="620"/>
                </a:cubicBezTo>
                <a:cubicBezTo>
                  <a:pt x="1675" y="618"/>
                  <a:pt x="1676" y="616"/>
                  <a:pt x="1677" y="614"/>
                </a:cubicBezTo>
                <a:cubicBezTo>
                  <a:pt x="1677" y="612"/>
                  <a:pt x="1678" y="610"/>
                  <a:pt x="1679" y="608"/>
                </a:cubicBezTo>
                <a:cubicBezTo>
                  <a:pt x="1681" y="607"/>
                  <a:pt x="1681" y="605"/>
                  <a:pt x="1681" y="605"/>
                </a:cubicBezTo>
                <a:cubicBezTo>
                  <a:pt x="1681" y="604"/>
                  <a:pt x="1681" y="604"/>
                  <a:pt x="1681" y="604"/>
                </a:cubicBezTo>
                <a:cubicBezTo>
                  <a:pt x="1681" y="604"/>
                  <a:pt x="1681" y="604"/>
                  <a:pt x="1681" y="604"/>
                </a:cubicBezTo>
                <a:cubicBezTo>
                  <a:pt x="1681" y="603"/>
                  <a:pt x="1682" y="602"/>
                  <a:pt x="1684" y="599"/>
                </a:cubicBezTo>
                <a:cubicBezTo>
                  <a:pt x="1687" y="596"/>
                  <a:pt x="1688" y="595"/>
                  <a:pt x="1688" y="593"/>
                </a:cubicBezTo>
                <a:lnTo>
                  <a:pt x="1688" y="593"/>
                </a:lnTo>
                <a:cubicBezTo>
                  <a:pt x="1688" y="592"/>
                  <a:pt x="1689" y="590"/>
                  <a:pt x="1691" y="588"/>
                </a:cubicBezTo>
                <a:cubicBezTo>
                  <a:pt x="1693" y="585"/>
                  <a:pt x="1694" y="584"/>
                  <a:pt x="1695" y="584"/>
                </a:cubicBezTo>
                <a:cubicBezTo>
                  <a:pt x="1695" y="584"/>
                  <a:pt x="1695" y="584"/>
                  <a:pt x="1695" y="584"/>
                </a:cubicBezTo>
                <a:cubicBezTo>
                  <a:pt x="1695" y="585"/>
                  <a:pt x="1695" y="587"/>
                  <a:pt x="1694" y="589"/>
                </a:cubicBezTo>
                <a:cubicBezTo>
                  <a:pt x="1691" y="595"/>
                  <a:pt x="1689" y="600"/>
                  <a:pt x="1687" y="602"/>
                </a:cubicBezTo>
                <a:cubicBezTo>
                  <a:pt x="1685" y="603"/>
                  <a:pt x="1684" y="606"/>
                  <a:pt x="1681" y="611"/>
                </a:cubicBezTo>
                <a:lnTo>
                  <a:pt x="1678" y="621"/>
                </a:lnTo>
                <a:cubicBezTo>
                  <a:pt x="1679" y="621"/>
                  <a:pt x="1682" y="617"/>
                  <a:pt x="1687" y="608"/>
                </a:cubicBezTo>
                <a:cubicBezTo>
                  <a:pt x="1692" y="600"/>
                  <a:pt x="1695" y="595"/>
                  <a:pt x="1695" y="595"/>
                </a:cubicBezTo>
                <a:cubicBezTo>
                  <a:pt x="1696" y="595"/>
                  <a:pt x="1696" y="595"/>
                  <a:pt x="1696" y="595"/>
                </a:cubicBezTo>
                <a:cubicBezTo>
                  <a:pt x="1696" y="597"/>
                  <a:pt x="1695" y="600"/>
                  <a:pt x="1692" y="605"/>
                </a:cubicBezTo>
                <a:cubicBezTo>
                  <a:pt x="1680" y="631"/>
                  <a:pt x="1662" y="663"/>
                  <a:pt x="1638" y="700"/>
                </a:cubicBezTo>
                <a:cubicBezTo>
                  <a:pt x="1612" y="742"/>
                  <a:pt x="1592" y="771"/>
                  <a:pt x="1577" y="786"/>
                </a:cubicBezTo>
                <a:cubicBezTo>
                  <a:pt x="1572" y="791"/>
                  <a:pt x="1570" y="794"/>
                  <a:pt x="1570" y="795"/>
                </a:cubicBezTo>
                <a:cubicBezTo>
                  <a:pt x="1570" y="796"/>
                  <a:pt x="1571" y="797"/>
                  <a:pt x="1574" y="797"/>
                </a:cubicBezTo>
                <a:lnTo>
                  <a:pt x="1576" y="797"/>
                </a:lnTo>
                <a:cubicBezTo>
                  <a:pt x="1579" y="797"/>
                  <a:pt x="1581" y="797"/>
                  <a:pt x="1581" y="796"/>
                </a:cubicBezTo>
                <a:lnTo>
                  <a:pt x="1581" y="795"/>
                </a:lnTo>
                <a:cubicBezTo>
                  <a:pt x="1581" y="794"/>
                  <a:pt x="1581" y="794"/>
                  <a:pt x="1582" y="794"/>
                </a:cubicBezTo>
                <a:cubicBezTo>
                  <a:pt x="1584" y="794"/>
                  <a:pt x="1587" y="791"/>
                  <a:pt x="1592" y="786"/>
                </a:cubicBezTo>
                <a:lnTo>
                  <a:pt x="1594" y="781"/>
                </a:lnTo>
                <a:lnTo>
                  <a:pt x="1594" y="780"/>
                </a:lnTo>
                <a:cubicBezTo>
                  <a:pt x="1594" y="779"/>
                  <a:pt x="1594" y="778"/>
                  <a:pt x="1595" y="777"/>
                </a:cubicBezTo>
                <a:cubicBezTo>
                  <a:pt x="1597" y="775"/>
                  <a:pt x="1598" y="774"/>
                  <a:pt x="1599" y="774"/>
                </a:cubicBezTo>
                <a:lnTo>
                  <a:pt x="1600" y="775"/>
                </a:lnTo>
                <a:cubicBezTo>
                  <a:pt x="1601" y="775"/>
                  <a:pt x="1605" y="771"/>
                  <a:pt x="1611" y="762"/>
                </a:cubicBezTo>
                <a:cubicBezTo>
                  <a:pt x="1613" y="760"/>
                  <a:pt x="1614" y="758"/>
                  <a:pt x="1615" y="757"/>
                </a:cubicBezTo>
                <a:cubicBezTo>
                  <a:pt x="1618" y="755"/>
                  <a:pt x="1619" y="752"/>
                  <a:pt x="1619" y="751"/>
                </a:cubicBezTo>
                <a:cubicBezTo>
                  <a:pt x="1619" y="750"/>
                  <a:pt x="1620" y="748"/>
                  <a:pt x="1622" y="747"/>
                </a:cubicBezTo>
                <a:cubicBezTo>
                  <a:pt x="1624" y="745"/>
                  <a:pt x="1625" y="743"/>
                  <a:pt x="1625" y="739"/>
                </a:cubicBezTo>
                <a:cubicBezTo>
                  <a:pt x="1625" y="736"/>
                  <a:pt x="1625" y="734"/>
                  <a:pt x="1627" y="734"/>
                </a:cubicBezTo>
                <a:cubicBezTo>
                  <a:pt x="1628" y="734"/>
                  <a:pt x="1630" y="732"/>
                  <a:pt x="1632" y="730"/>
                </a:cubicBezTo>
                <a:cubicBezTo>
                  <a:pt x="1638" y="723"/>
                  <a:pt x="1641" y="718"/>
                  <a:pt x="1641" y="716"/>
                </a:cubicBezTo>
                <a:lnTo>
                  <a:pt x="1637" y="720"/>
                </a:lnTo>
                <a:cubicBezTo>
                  <a:pt x="1637" y="721"/>
                  <a:pt x="1636" y="722"/>
                  <a:pt x="1635" y="722"/>
                </a:cubicBezTo>
                <a:cubicBezTo>
                  <a:pt x="1635" y="722"/>
                  <a:pt x="1634" y="722"/>
                  <a:pt x="1634" y="721"/>
                </a:cubicBezTo>
                <a:cubicBezTo>
                  <a:pt x="1634" y="721"/>
                  <a:pt x="1635" y="720"/>
                  <a:pt x="1636" y="718"/>
                </a:cubicBezTo>
                <a:cubicBezTo>
                  <a:pt x="1637" y="717"/>
                  <a:pt x="1638" y="715"/>
                  <a:pt x="1639" y="713"/>
                </a:cubicBezTo>
                <a:cubicBezTo>
                  <a:pt x="1641" y="712"/>
                  <a:pt x="1641" y="710"/>
                  <a:pt x="1641" y="710"/>
                </a:cubicBezTo>
                <a:cubicBezTo>
                  <a:pt x="1641" y="710"/>
                  <a:pt x="1641" y="709"/>
                  <a:pt x="1641" y="709"/>
                </a:cubicBezTo>
                <a:cubicBezTo>
                  <a:pt x="1641" y="709"/>
                  <a:pt x="1640" y="709"/>
                  <a:pt x="1640" y="709"/>
                </a:cubicBezTo>
                <a:cubicBezTo>
                  <a:pt x="1640" y="708"/>
                  <a:pt x="1641" y="707"/>
                  <a:pt x="1643" y="705"/>
                </a:cubicBezTo>
                <a:cubicBezTo>
                  <a:pt x="1646" y="702"/>
                  <a:pt x="1647" y="699"/>
                  <a:pt x="1647" y="698"/>
                </a:cubicBezTo>
                <a:cubicBezTo>
                  <a:pt x="1647" y="696"/>
                  <a:pt x="1649" y="695"/>
                  <a:pt x="1651" y="693"/>
                </a:cubicBezTo>
                <a:cubicBezTo>
                  <a:pt x="1653" y="691"/>
                  <a:pt x="1654" y="689"/>
                  <a:pt x="1654" y="686"/>
                </a:cubicBezTo>
                <a:cubicBezTo>
                  <a:pt x="1655" y="684"/>
                  <a:pt x="1656" y="682"/>
                  <a:pt x="1659" y="680"/>
                </a:cubicBezTo>
                <a:cubicBezTo>
                  <a:pt x="1661" y="679"/>
                  <a:pt x="1662" y="674"/>
                  <a:pt x="1662" y="667"/>
                </a:cubicBezTo>
                <a:cubicBezTo>
                  <a:pt x="1662" y="667"/>
                  <a:pt x="1662" y="666"/>
                  <a:pt x="1663" y="666"/>
                </a:cubicBezTo>
                <a:lnTo>
                  <a:pt x="1665" y="667"/>
                </a:lnTo>
                <a:cubicBezTo>
                  <a:pt x="1666" y="667"/>
                  <a:pt x="1666" y="667"/>
                  <a:pt x="1666" y="666"/>
                </a:cubicBezTo>
                <a:lnTo>
                  <a:pt x="1665" y="664"/>
                </a:lnTo>
                <a:cubicBezTo>
                  <a:pt x="1665" y="661"/>
                  <a:pt x="1666" y="660"/>
                  <a:pt x="1667" y="659"/>
                </a:cubicBezTo>
                <a:cubicBezTo>
                  <a:pt x="1668" y="659"/>
                  <a:pt x="1669" y="657"/>
                  <a:pt x="1671" y="653"/>
                </a:cubicBezTo>
                <a:cubicBezTo>
                  <a:pt x="1672" y="648"/>
                  <a:pt x="1675" y="644"/>
                  <a:pt x="1678" y="639"/>
                </a:cubicBezTo>
                <a:cubicBezTo>
                  <a:pt x="1681" y="634"/>
                  <a:pt x="1683" y="630"/>
                  <a:pt x="1685" y="627"/>
                </a:cubicBezTo>
                <a:cubicBezTo>
                  <a:pt x="1686" y="624"/>
                  <a:pt x="1687" y="622"/>
                  <a:pt x="1688" y="622"/>
                </a:cubicBezTo>
                <a:cubicBezTo>
                  <a:pt x="1689" y="622"/>
                  <a:pt x="1690" y="622"/>
                  <a:pt x="1690" y="621"/>
                </a:cubicBezTo>
                <a:lnTo>
                  <a:pt x="1689" y="619"/>
                </a:lnTo>
                <a:cubicBezTo>
                  <a:pt x="1689" y="618"/>
                  <a:pt x="1690" y="617"/>
                  <a:pt x="1691" y="615"/>
                </a:cubicBezTo>
                <a:cubicBezTo>
                  <a:pt x="1692" y="614"/>
                  <a:pt x="1693" y="612"/>
                  <a:pt x="1694" y="609"/>
                </a:cubicBezTo>
                <a:cubicBezTo>
                  <a:pt x="1696" y="606"/>
                  <a:pt x="1697" y="604"/>
                  <a:pt x="1698" y="603"/>
                </a:cubicBezTo>
                <a:cubicBezTo>
                  <a:pt x="1699" y="602"/>
                  <a:pt x="1700" y="601"/>
                  <a:pt x="1700" y="599"/>
                </a:cubicBezTo>
                <a:lnTo>
                  <a:pt x="1700" y="597"/>
                </a:lnTo>
                <a:cubicBezTo>
                  <a:pt x="1700" y="595"/>
                  <a:pt x="1701" y="594"/>
                  <a:pt x="1703" y="593"/>
                </a:cubicBezTo>
                <a:cubicBezTo>
                  <a:pt x="1704" y="592"/>
                  <a:pt x="1705" y="591"/>
                  <a:pt x="1705" y="590"/>
                </a:cubicBezTo>
                <a:cubicBezTo>
                  <a:pt x="1705" y="590"/>
                  <a:pt x="1705" y="589"/>
                  <a:pt x="1704" y="589"/>
                </a:cubicBezTo>
                <a:cubicBezTo>
                  <a:pt x="1704" y="587"/>
                  <a:pt x="1705" y="585"/>
                  <a:pt x="1707" y="584"/>
                </a:cubicBezTo>
                <a:cubicBezTo>
                  <a:pt x="1708" y="583"/>
                  <a:pt x="1709" y="582"/>
                  <a:pt x="1709" y="581"/>
                </a:cubicBezTo>
                <a:lnTo>
                  <a:pt x="1709" y="581"/>
                </a:lnTo>
                <a:cubicBezTo>
                  <a:pt x="1709" y="580"/>
                  <a:pt x="1708" y="579"/>
                  <a:pt x="1706" y="579"/>
                </a:cubicBezTo>
                <a:lnTo>
                  <a:pt x="1704" y="580"/>
                </a:lnTo>
                <a:cubicBezTo>
                  <a:pt x="1703" y="580"/>
                  <a:pt x="1703" y="580"/>
                  <a:pt x="1703" y="579"/>
                </a:cubicBezTo>
                <a:lnTo>
                  <a:pt x="1703" y="578"/>
                </a:lnTo>
                <a:cubicBezTo>
                  <a:pt x="1703" y="577"/>
                  <a:pt x="1703" y="576"/>
                  <a:pt x="1702" y="576"/>
                </a:cubicBezTo>
                <a:cubicBezTo>
                  <a:pt x="1701" y="575"/>
                  <a:pt x="1701" y="575"/>
                  <a:pt x="1701" y="575"/>
                </a:cubicBezTo>
                <a:cubicBezTo>
                  <a:pt x="1700" y="575"/>
                  <a:pt x="1700" y="576"/>
                  <a:pt x="1700" y="577"/>
                </a:cubicBezTo>
                <a:cubicBezTo>
                  <a:pt x="1700" y="578"/>
                  <a:pt x="1699" y="579"/>
                  <a:pt x="1699" y="580"/>
                </a:cubicBezTo>
                <a:cubicBezTo>
                  <a:pt x="1698" y="580"/>
                  <a:pt x="1697" y="581"/>
                  <a:pt x="1696" y="581"/>
                </a:cubicBezTo>
                <a:cubicBezTo>
                  <a:pt x="1695" y="581"/>
                  <a:pt x="1694" y="581"/>
                  <a:pt x="1694" y="580"/>
                </a:cubicBezTo>
                <a:cubicBezTo>
                  <a:pt x="1694" y="580"/>
                  <a:pt x="1695" y="579"/>
                  <a:pt x="1696" y="577"/>
                </a:cubicBezTo>
                <a:cubicBezTo>
                  <a:pt x="1698" y="576"/>
                  <a:pt x="1699" y="574"/>
                  <a:pt x="1699" y="573"/>
                </a:cubicBezTo>
                <a:lnTo>
                  <a:pt x="1698" y="570"/>
                </a:lnTo>
                <a:cubicBezTo>
                  <a:pt x="1698" y="570"/>
                  <a:pt x="1698" y="570"/>
                  <a:pt x="1699" y="570"/>
                </a:cubicBezTo>
                <a:cubicBezTo>
                  <a:pt x="1701" y="570"/>
                  <a:pt x="1703" y="571"/>
                  <a:pt x="1704" y="573"/>
                </a:cubicBezTo>
                <a:cubicBezTo>
                  <a:pt x="1706" y="575"/>
                  <a:pt x="1708" y="576"/>
                  <a:pt x="1708" y="576"/>
                </a:cubicBezTo>
                <a:cubicBezTo>
                  <a:pt x="1709" y="576"/>
                  <a:pt x="1710" y="576"/>
                  <a:pt x="1712" y="574"/>
                </a:cubicBezTo>
                <a:cubicBezTo>
                  <a:pt x="1713" y="572"/>
                  <a:pt x="1714" y="571"/>
                  <a:pt x="1714" y="571"/>
                </a:cubicBezTo>
                <a:cubicBezTo>
                  <a:pt x="1714" y="571"/>
                  <a:pt x="1714" y="570"/>
                  <a:pt x="1714" y="570"/>
                </a:cubicBezTo>
                <a:cubicBezTo>
                  <a:pt x="1714" y="570"/>
                  <a:pt x="1713" y="570"/>
                  <a:pt x="1713" y="570"/>
                </a:cubicBezTo>
                <a:cubicBezTo>
                  <a:pt x="1712" y="570"/>
                  <a:pt x="1711" y="571"/>
                  <a:pt x="1709" y="572"/>
                </a:cubicBezTo>
                <a:cubicBezTo>
                  <a:pt x="1708" y="573"/>
                  <a:pt x="1707" y="574"/>
                  <a:pt x="1706" y="574"/>
                </a:cubicBezTo>
                <a:cubicBezTo>
                  <a:pt x="1706" y="574"/>
                  <a:pt x="1706" y="574"/>
                  <a:pt x="1706" y="573"/>
                </a:cubicBezTo>
                <a:cubicBezTo>
                  <a:pt x="1706" y="573"/>
                  <a:pt x="1706" y="572"/>
                  <a:pt x="1706" y="571"/>
                </a:cubicBezTo>
                <a:cubicBezTo>
                  <a:pt x="1707" y="571"/>
                  <a:pt x="1707" y="570"/>
                  <a:pt x="1707" y="569"/>
                </a:cubicBezTo>
                <a:cubicBezTo>
                  <a:pt x="1707" y="568"/>
                  <a:pt x="1707" y="567"/>
                  <a:pt x="1706" y="566"/>
                </a:cubicBezTo>
                <a:cubicBezTo>
                  <a:pt x="1705" y="566"/>
                  <a:pt x="1705" y="565"/>
                  <a:pt x="1705" y="564"/>
                </a:cubicBezTo>
                <a:cubicBezTo>
                  <a:pt x="1705" y="563"/>
                  <a:pt x="1705" y="563"/>
                  <a:pt x="1706" y="561"/>
                </a:cubicBezTo>
                <a:cubicBezTo>
                  <a:pt x="1707" y="560"/>
                  <a:pt x="1708" y="559"/>
                  <a:pt x="1710" y="559"/>
                </a:cubicBezTo>
                <a:lnTo>
                  <a:pt x="1711" y="560"/>
                </a:lnTo>
                <a:cubicBezTo>
                  <a:pt x="1711" y="560"/>
                  <a:pt x="1712" y="559"/>
                  <a:pt x="1712" y="559"/>
                </a:cubicBezTo>
                <a:cubicBezTo>
                  <a:pt x="1712" y="558"/>
                  <a:pt x="1711" y="558"/>
                  <a:pt x="1711" y="557"/>
                </a:cubicBezTo>
                <a:cubicBezTo>
                  <a:pt x="1711" y="556"/>
                  <a:pt x="1711" y="555"/>
                  <a:pt x="1711" y="554"/>
                </a:cubicBezTo>
                <a:cubicBezTo>
                  <a:pt x="1711" y="552"/>
                  <a:pt x="1711" y="550"/>
                  <a:pt x="1713" y="550"/>
                </a:cubicBezTo>
                <a:cubicBezTo>
                  <a:pt x="1714" y="550"/>
                  <a:pt x="1715" y="551"/>
                  <a:pt x="1716" y="551"/>
                </a:cubicBezTo>
                <a:cubicBezTo>
                  <a:pt x="1717" y="553"/>
                  <a:pt x="1718" y="553"/>
                  <a:pt x="1719" y="553"/>
                </a:cubicBezTo>
                <a:cubicBezTo>
                  <a:pt x="1720" y="553"/>
                  <a:pt x="1720" y="553"/>
                  <a:pt x="1721" y="553"/>
                </a:cubicBezTo>
                <a:lnTo>
                  <a:pt x="1721" y="552"/>
                </a:lnTo>
                <a:cubicBezTo>
                  <a:pt x="1721" y="551"/>
                  <a:pt x="1720" y="551"/>
                  <a:pt x="1719" y="551"/>
                </a:cubicBezTo>
                <a:cubicBezTo>
                  <a:pt x="1718" y="551"/>
                  <a:pt x="1718" y="551"/>
                  <a:pt x="1718" y="550"/>
                </a:cubicBezTo>
                <a:lnTo>
                  <a:pt x="1719" y="548"/>
                </a:lnTo>
                <a:cubicBezTo>
                  <a:pt x="1719" y="547"/>
                  <a:pt x="1719" y="547"/>
                  <a:pt x="1718" y="547"/>
                </a:cubicBezTo>
                <a:lnTo>
                  <a:pt x="1716" y="548"/>
                </a:lnTo>
                <a:cubicBezTo>
                  <a:pt x="1715" y="548"/>
                  <a:pt x="1714" y="547"/>
                  <a:pt x="1714" y="546"/>
                </a:cubicBezTo>
                <a:cubicBezTo>
                  <a:pt x="1714" y="544"/>
                  <a:pt x="1715" y="543"/>
                  <a:pt x="1716" y="542"/>
                </a:cubicBezTo>
                <a:cubicBezTo>
                  <a:pt x="1717" y="541"/>
                  <a:pt x="1718" y="541"/>
                  <a:pt x="1718" y="541"/>
                </a:cubicBezTo>
                <a:cubicBezTo>
                  <a:pt x="1719" y="541"/>
                  <a:pt x="1720" y="541"/>
                  <a:pt x="1721" y="542"/>
                </a:cubicBezTo>
                <a:cubicBezTo>
                  <a:pt x="1721" y="544"/>
                  <a:pt x="1723" y="544"/>
                  <a:pt x="1724" y="544"/>
                </a:cubicBezTo>
                <a:cubicBezTo>
                  <a:pt x="1724" y="544"/>
                  <a:pt x="1724" y="544"/>
                  <a:pt x="1724" y="544"/>
                </a:cubicBezTo>
                <a:cubicBezTo>
                  <a:pt x="1724" y="543"/>
                  <a:pt x="1724" y="542"/>
                  <a:pt x="1723" y="541"/>
                </a:cubicBezTo>
                <a:cubicBezTo>
                  <a:pt x="1721" y="539"/>
                  <a:pt x="1720" y="537"/>
                  <a:pt x="1720" y="534"/>
                </a:cubicBezTo>
                <a:cubicBezTo>
                  <a:pt x="1720" y="532"/>
                  <a:pt x="1721" y="530"/>
                  <a:pt x="1721" y="528"/>
                </a:cubicBezTo>
                <a:cubicBezTo>
                  <a:pt x="1722" y="526"/>
                  <a:pt x="1723" y="525"/>
                  <a:pt x="1724" y="525"/>
                </a:cubicBezTo>
                <a:lnTo>
                  <a:pt x="1726" y="525"/>
                </a:lnTo>
                <a:cubicBezTo>
                  <a:pt x="1727" y="525"/>
                  <a:pt x="1728" y="524"/>
                  <a:pt x="1730" y="522"/>
                </a:cubicBezTo>
                <a:lnTo>
                  <a:pt x="1732" y="519"/>
                </a:lnTo>
                <a:cubicBezTo>
                  <a:pt x="1732" y="519"/>
                  <a:pt x="1731" y="520"/>
                  <a:pt x="1730" y="521"/>
                </a:cubicBezTo>
                <a:cubicBezTo>
                  <a:pt x="1728" y="522"/>
                  <a:pt x="1727" y="523"/>
                  <a:pt x="1726" y="523"/>
                </a:cubicBezTo>
                <a:cubicBezTo>
                  <a:pt x="1726" y="523"/>
                  <a:pt x="1726" y="522"/>
                  <a:pt x="1726" y="521"/>
                </a:cubicBezTo>
                <a:cubicBezTo>
                  <a:pt x="1726" y="518"/>
                  <a:pt x="1727" y="516"/>
                  <a:pt x="1729" y="513"/>
                </a:cubicBezTo>
                <a:cubicBezTo>
                  <a:pt x="1729" y="512"/>
                  <a:pt x="1730" y="512"/>
                  <a:pt x="1730" y="512"/>
                </a:cubicBezTo>
                <a:cubicBezTo>
                  <a:pt x="1731" y="512"/>
                  <a:pt x="1731" y="513"/>
                  <a:pt x="1731" y="514"/>
                </a:cubicBezTo>
                <a:lnTo>
                  <a:pt x="1730" y="517"/>
                </a:lnTo>
                <a:cubicBezTo>
                  <a:pt x="1731" y="517"/>
                  <a:pt x="1731" y="517"/>
                  <a:pt x="1732" y="516"/>
                </a:cubicBezTo>
                <a:cubicBezTo>
                  <a:pt x="1733" y="515"/>
                  <a:pt x="1733" y="514"/>
                  <a:pt x="1733" y="514"/>
                </a:cubicBezTo>
                <a:cubicBezTo>
                  <a:pt x="1733" y="513"/>
                  <a:pt x="1733" y="512"/>
                  <a:pt x="1733" y="512"/>
                </a:cubicBezTo>
                <a:cubicBezTo>
                  <a:pt x="1733" y="512"/>
                  <a:pt x="1732" y="511"/>
                  <a:pt x="1732" y="509"/>
                </a:cubicBezTo>
                <a:cubicBezTo>
                  <a:pt x="1732" y="507"/>
                  <a:pt x="1733" y="505"/>
                  <a:pt x="1733" y="502"/>
                </a:cubicBezTo>
                <a:cubicBezTo>
                  <a:pt x="1734" y="499"/>
                  <a:pt x="1735" y="497"/>
                  <a:pt x="1736" y="495"/>
                </a:cubicBezTo>
                <a:cubicBezTo>
                  <a:pt x="1737" y="493"/>
                  <a:pt x="1738" y="492"/>
                  <a:pt x="1739" y="492"/>
                </a:cubicBezTo>
                <a:cubicBezTo>
                  <a:pt x="1740" y="492"/>
                  <a:pt x="1740" y="491"/>
                  <a:pt x="1740" y="491"/>
                </a:cubicBezTo>
                <a:lnTo>
                  <a:pt x="1740" y="488"/>
                </a:lnTo>
                <a:cubicBezTo>
                  <a:pt x="1740" y="485"/>
                  <a:pt x="1742" y="479"/>
                  <a:pt x="1746" y="470"/>
                </a:cubicBezTo>
                <a:cubicBezTo>
                  <a:pt x="1752" y="455"/>
                  <a:pt x="1756" y="446"/>
                  <a:pt x="1757" y="441"/>
                </a:cubicBezTo>
                <a:cubicBezTo>
                  <a:pt x="1758" y="438"/>
                  <a:pt x="1759" y="435"/>
                  <a:pt x="1761" y="433"/>
                </a:cubicBezTo>
                <a:cubicBezTo>
                  <a:pt x="1762" y="431"/>
                  <a:pt x="1763" y="430"/>
                  <a:pt x="1763" y="430"/>
                </a:cubicBezTo>
                <a:cubicBezTo>
                  <a:pt x="1763" y="430"/>
                  <a:pt x="1764" y="429"/>
                  <a:pt x="1764" y="429"/>
                </a:cubicBezTo>
                <a:lnTo>
                  <a:pt x="1764" y="427"/>
                </a:lnTo>
                <a:cubicBezTo>
                  <a:pt x="1764" y="421"/>
                  <a:pt x="1767" y="409"/>
                  <a:pt x="1775" y="391"/>
                </a:cubicBezTo>
                <a:cubicBezTo>
                  <a:pt x="1782" y="372"/>
                  <a:pt x="1787" y="363"/>
                  <a:pt x="1788" y="363"/>
                </a:cubicBezTo>
                <a:cubicBezTo>
                  <a:pt x="1790" y="363"/>
                  <a:pt x="1791" y="362"/>
                  <a:pt x="1791" y="360"/>
                </a:cubicBezTo>
                <a:cubicBezTo>
                  <a:pt x="1791" y="358"/>
                  <a:pt x="1792" y="357"/>
                  <a:pt x="1794" y="357"/>
                </a:cubicBezTo>
                <a:cubicBezTo>
                  <a:pt x="1796" y="357"/>
                  <a:pt x="1797" y="356"/>
                  <a:pt x="1797" y="354"/>
                </a:cubicBezTo>
                <a:cubicBezTo>
                  <a:pt x="1797" y="353"/>
                  <a:pt x="1797" y="353"/>
                  <a:pt x="1796" y="353"/>
                </a:cubicBezTo>
                <a:lnTo>
                  <a:pt x="1793" y="353"/>
                </a:lnTo>
                <a:cubicBezTo>
                  <a:pt x="1793" y="353"/>
                  <a:pt x="1794" y="353"/>
                  <a:pt x="1796" y="351"/>
                </a:cubicBezTo>
                <a:cubicBezTo>
                  <a:pt x="1797" y="350"/>
                  <a:pt x="1798" y="349"/>
                  <a:pt x="1800" y="348"/>
                </a:cubicBezTo>
                <a:cubicBezTo>
                  <a:pt x="1801" y="348"/>
                  <a:pt x="1802" y="348"/>
                  <a:pt x="1803" y="348"/>
                </a:cubicBezTo>
                <a:cubicBezTo>
                  <a:pt x="1803" y="348"/>
                  <a:pt x="1803" y="347"/>
                  <a:pt x="1803" y="346"/>
                </a:cubicBezTo>
                <a:cubicBezTo>
                  <a:pt x="1803" y="346"/>
                  <a:pt x="1803" y="345"/>
                  <a:pt x="1803" y="344"/>
                </a:cubicBezTo>
                <a:cubicBezTo>
                  <a:pt x="1802" y="344"/>
                  <a:pt x="1802" y="343"/>
                  <a:pt x="1802" y="343"/>
                </a:cubicBezTo>
                <a:cubicBezTo>
                  <a:pt x="1802" y="343"/>
                  <a:pt x="1803" y="343"/>
                  <a:pt x="1804" y="344"/>
                </a:cubicBezTo>
                <a:cubicBezTo>
                  <a:pt x="1805" y="345"/>
                  <a:pt x="1805" y="345"/>
                  <a:pt x="1805" y="346"/>
                </a:cubicBezTo>
                <a:cubicBezTo>
                  <a:pt x="1805" y="347"/>
                  <a:pt x="1805" y="347"/>
                  <a:pt x="1805" y="348"/>
                </a:cubicBezTo>
                <a:lnTo>
                  <a:pt x="1805" y="348"/>
                </a:lnTo>
                <a:cubicBezTo>
                  <a:pt x="1805" y="349"/>
                  <a:pt x="1805" y="350"/>
                  <a:pt x="1806" y="350"/>
                </a:cubicBezTo>
                <a:cubicBezTo>
                  <a:pt x="1807" y="350"/>
                  <a:pt x="1807" y="354"/>
                  <a:pt x="1807" y="362"/>
                </a:cubicBezTo>
                <a:cubicBezTo>
                  <a:pt x="1807" y="376"/>
                  <a:pt x="1806" y="386"/>
                  <a:pt x="1805" y="392"/>
                </a:cubicBezTo>
                <a:cubicBezTo>
                  <a:pt x="1803" y="403"/>
                  <a:pt x="1795" y="426"/>
                  <a:pt x="1781" y="462"/>
                </a:cubicBezTo>
                <a:cubicBezTo>
                  <a:pt x="1768" y="497"/>
                  <a:pt x="1760" y="517"/>
                  <a:pt x="1757" y="520"/>
                </a:cubicBezTo>
                <a:cubicBezTo>
                  <a:pt x="1756" y="522"/>
                  <a:pt x="1755" y="523"/>
                  <a:pt x="1755" y="524"/>
                </a:cubicBezTo>
                <a:cubicBezTo>
                  <a:pt x="1755" y="524"/>
                  <a:pt x="1755" y="524"/>
                  <a:pt x="1755" y="524"/>
                </a:cubicBezTo>
                <a:cubicBezTo>
                  <a:pt x="1756" y="525"/>
                  <a:pt x="1756" y="525"/>
                  <a:pt x="1756" y="525"/>
                </a:cubicBezTo>
                <a:cubicBezTo>
                  <a:pt x="1756" y="526"/>
                  <a:pt x="1755" y="528"/>
                  <a:pt x="1755" y="529"/>
                </a:cubicBezTo>
                <a:cubicBezTo>
                  <a:pt x="1753" y="534"/>
                  <a:pt x="1751" y="536"/>
                  <a:pt x="1750" y="536"/>
                </a:cubicBezTo>
                <a:lnTo>
                  <a:pt x="1749" y="536"/>
                </a:lnTo>
                <a:cubicBezTo>
                  <a:pt x="1747" y="536"/>
                  <a:pt x="1746" y="538"/>
                  <a:pt x="1746" y="542"/>
                </a:cubicBezTo>
                <a:lnTo>
                  <a:pt x="1747" y="546"/>
                </a:lnTo>
                <a:cubicBezTo>
                  <a:pt x="1747" y="546"/>
                  <a:pt x="1747" y="546"/>
                  <a:pt x="1746" y="546"/>
                </a:cubicBezTo>
                <a:lnTo>
                  <a:pt x="1745" y="546"/>
                </a:lnTo>
                <a:cubicBezTo>
                  <a:pt x="1744" y="546"/>
                  <a:pt x="1743" y="546"/>
                  <a:pt x="1742" y="548"/>
                </a:cubicBezTo>
                <a:cubicBezTo>
                  <a:pt x="1742" y="549"/>
                  <a:pt x="1741" y="550"/>
                  <a:pt x="1741" y="552"/>
                </a:cubicBezTo>
                <a:lnTo>
                  <a:pt x="1742" y="555"/>
                </a:lnTo>
                <a:cubicBezTo>
                  <a:pt x="1742" y="555"/>
                  <a:pt x="1742" y="556"/>
                  <a:pt x="1741" y="556"/>
                </a:cubicBezTo>
                <a:cubicBezTo>
                  <a:pt x="1740" y="556"/>
                  <a:pt x="1739" y="556"/>
                  <a:pt x="1739" y="557"/>
                </a:cubicBezTo>
                <a:lnTo>
                  <a:pt x="1740" y="558"/>
                </a:lnTo>
                <a:cubicBezTo>
                  <a:pt x="1740" y="560"/>
                  <a:pt x="1739" y="561"/>
                  <a:pt x="1738" y="561"/>
                </a:cubicBezTo>
                <a:cubicBezTo>
                  <a:pt x="1738" y="561"/>
                  <a:pt x="1737" y="561"/>
                  <a:pt x="1737" y="562"/>
                </a:cubicBezTo>
                <a:lnTo>
                  <a:pt x="1738" y="564"/>
                </a:lnTo>
                <a:cubicBezTo>
                  <a:pt x="1738" y="565"/>
                  <a:pt x="1737" y="565"/>
                  <a:pt x="1736" y="565"/>
                </a:cubicBezTo>
                <a:cubicBezTo>
                  <a:pt x="1736" y="565"/>
                  <a:pt x="1735" y="566"/>
                  <a:pt x="1735" y="567"/>
                </a:cubicBezTo>
                <a:lnTo>
                  <a:pt x="1736" y="569"/>
                </a:lnTo>
                <a:cubicBezTo>
                  <a:pt x="1736" y="570"/>
                  <a:pt x="1735" y="570"/>
                  <a:pt x="1734" y="570"/>
                </a:cubicBezTo>
                <a:cubicBezTo>
                  <a:pt x="1733" y="570"/>
                  <a:pt x="1733" y="570"/>
                  <a:pt x="1733" y="571"/>
                </a:cubicBezTo>
                <a:lnTo>
                  <a:pt x="1733" y="572"/>
                </a:lnTo>
                <a:cubicBezTo>
                  <a:pt x="1733" y="573"/>
                  <a:pt x="1733" y="574"/>
                  <a:pt x="1732" y="574"/>
                </a:cubicBezTo>
                <a:cubicBezTo>
                  <a:pt x="1731" y="574"/>
                  <a:pt x="1731" y="575"/>
                  <a:pt x="1731" y="576"/>
                </a:cubicBezTo>
                <a:lnTo>
                  <a:pt x="1731" y="578"/>
                </a:lnTo>
                <a:cubicBezTo>
                  <a:pt x="1731" y="579"/>
                  <a:pt x="1731" y="579"/>
                  <a:pt x="1730" y="579"/>
                </a:cubicBezTo>
                <a:cubicBezTo>
                  <a:pt x="1729" y="579"/>
                  <a:pt x="1729" y="580"/>
                  <a:pt x="1728" y="581"/>
                </a:cubicBezTo>
                <a:cubicBezTo>
                  <a:pt x="1726" y="582"/>
                  <a:pt x="1725" y="584"/>
                  <a:pt x="1724" y="587"/>
                </a:cubicBezTo>
                <a:cubicBezTo>
                  <a:pt x="1723" y="589"/>
                  <a:pt x="1723" y="591"/>
                  <a:pt x="1723" y="592"/>
                </a:cubicBezTo>
                <a:lnTo>
                  <a:pt x="1725" y="590"/>
                </a:lnTo>
                <a:cubicBezTo>
                  <a:pt x="1725" y="590"/>
                  <a:pt x="1726" y="591"/>
                  <a:pt x="1726" y="591"/>
                </a:cubicBezTo>
                <a:cubicBezTo>
                  <a:pt x="1726" y="592"/>
                  <a:pt x="1724" y="594"/>
                  <a:pt x="1721" y="598"/>
                </a:cubicBezTo>
                <a:lnTo>
                  <a:pt x="1718" y="601"/>
                </a:lnTo>
                <a:lnTo>
                  <a:pt x="1720" y="600"/>
                </a:lnTo>
                <a:cubicBezTo>
                  <a:pt x="1721" y="600"/>
                  <a:pt x="1721" y="600"/>
                  <a:pt x="1721" y="600"/>
                </a:cubicBezTo>
                <a:cubicBezTo>
                  <a:pt x="1721" y="600"/>
                  <a:pt x="1720" y="602"/>
                  <a:pt x="1719" y="603"/>
                </a:cubicBezTo>
                <a:cubicBezTo>
                  <a:pt x="1718" y="605"/>
                  <a:pt x="1717" y="606"/>
                  <a:pt x="1716" y="607"/>
                </a:cubicBezTo>
                <a:cubicBezTo>
                  <a:pt x="1715" y="608"/>
                  <a:pt x="1715" y="609"/>
                  <a:pt x="1714" y="609"/>
                </a:cubicBezTo>
                <a:cubicBezTo>
                  <a:pt x="1713" y="609"/>
                  <a:pt x="1713" y="609"/>
                  <a:pt x="1713" y="610"/>
                </a:cubicBezTo>
                <a:lnTo>
                  <a:pt x="1714" y="611"/>
                </a:lnTo>
                <a:cubicBezTo>
                  <a:pt x="1714" y="613"/>
                  <a:pt x="1713" y="615"/>
                  <a:pt x="1711" y="617"/>
                </a:cubicBezTo>
                <a:cubicBezTo>
                  <a:pt x="1708" y="620"/>
                  <a:pt x="1707" y="622"/>
                  <a:pt x="1707" y="622"/>
                </a:cubicBezTo>
                <a:lnTo>
                  <a:pt x="1708" y="625"/>
                </a:lnTo>
                <a:cubicBezTo>
                  <a:pt x="1708" y="625"/>
                  <a:pt x="1707" y="627"/>
                  <a:pt x="1706" y="628"/>
                </a:cubicBezTo>
                <a:cubicBezTo>
                  <a:pt x="1704" y="630"/>
                  <a:pt x="1703" y="631"/>
                  <a:pt x="1703" y="632"/>
                </a:cubicBezTo>
                <a:cubicBezTo>
                  <a:pt x="1702" y="632"/>
                  <a:pt x="1702" y="634"/>
                  <a:pt x="1702" y="635"/>
                </a:cubicBezTo>
                <a:cubicBezTo>
                  <a:pt x="1702" y="637"/>
                  <a:pt x="1701" y="637"/>
                  <a:pt x="1700" y="637"/>
                </a:cubicBezTo>
                <a:lnTo>
                  <a:pt x="1699" y="637"/>
                </a:lnTo>
                <a:cubicBezTo>
                  <a:pt x="1698" y="637"/>
                  <a:pt x="1698" y="638"/>
                  <a:pt x="1697" y="639"/>
                </a:cubicBezTo>
                <a:cubicBezTo>
                  <a:pt x="1696" y="640"/>
                  <a:pt x="1696" y="641"/>
                  <a:pt x="1696" y="642"/>
                </a:cubicBezTo>
                <a:cubicBezTo>
                  <a:pt x="1696" y="642"/>
                  <a:pt x="1696" y="642"/>
                  <a:pt x="1696" y="642"/>
                </a:cubicBezTo>
                <a:lnTo>
                  <a:pt x="1698" y="642"/>
                </a:lnTo>
                <a:cubicBezTo>
                  <a:pt x="1698" y="642"/>
                  <a:pt x="1698" y="642"/>
                  <a:pt x="1698" y="642"/>
                </a:cubicBezTo>
                <a:cubicBezTo>
                  <a:pt x="1698" y="644"/>
                  <a:pt x="1697" y="645"/>
                  <a:pt x="1695" y="648"/>
                </a:cubicBezTo>
                <a:lnTo>
                  <a:pt x="1693" y="649"/>
                </a:lnTo>
                <a:cubicBezTo>
                  <a:pt x="1691" y="649"/>
                  <a:pt x="1689" y="650"/>
                  <a:pt x="1689" y="653"/>
                </a:cubicBezTo>
                <a:cubicBezTo>
                  <a:pt x="1689" y="654"/>
                  <a:pt x="1690" y="654"/>
                  <a:pt x="1690" y="654"/>
                </a:cubicBezTo>
                <a:lnTo>
                  <a:pt x="1691" y="653"/>
                </a:lnTo>
                <a:cubicBezTo>
                  <a:pt x="1691" y="653"/>
                  <a:pt x="1692" y="653"/>
                  <a:pt x="1692" y="653"/>
                </a:cubicBezTo>
                <a:cubicBezTo>
                  <a:pt x="1693" y="653"/>
                  <a:pt x="1693" y="653"/>
                  <a:pt x="1693" y="653"/>
                </a:cubicBezTo>
                <a:cubicBezTo>
                  <a:pt x="1693" y="655"/>
                  <a:pt x="1692" y="657"/>
                  <a:pt x="1689" y="659"/>
                </a:cubicBezTo>
                <a:lnTo>
                  <a:pt x="1686" y="660"/>
                </a:lnTo>
                <a:cubicBezTo>
                  <a:pt x="1686" y="660"/>
                  <a:pt x="1686" y="660"/>
                  <a:pt x="1685" y="660"/>
                </a:cubicBezTo>
                <a:cubicBezTo>
                  <a:pt x="1685" y="660"/>
                  <a:pt x="1684" y="660"/>
                  <a:pt x="1682" y="662"/>
                </a:cubicBezTo>
                <a:cubicBezTo>
                  <a:pt x="1681" y="663"/>
                  <a:pt x="1681" y="664"/>
                  <a:pt x="1681" y="665"/>
                </a:cubicBezTo>
                <a:cubicBezTo>
                  <a:pt x="1681" y="666"/>
                  <a:pt x="1681" y="666"/>
                  <a:pt x="1683" y="666"/>
                </a:cubicBezTo>
                <a:lnTo>
                  <a:pt x="1686" y="666"/>
                </a:lnTo>
                <a:cubicBezTo>
                  <a:pt x="1686" y="667"/>
                  <a:pt x="1684" y="667"/>
                  <a:pt x="1682" y="669"/>
                </a:cubicBezTo>
                <a:cubicBezTo>
                  <a:pt x="1679" y="670"/>
                  <a:pt x="1677" y="672"/>
                  <a:pt x="1676" y="675"/>
                </a:cubicBezTo>
                <a:cubicBezTo>
                  <a:pt x="1675" y="679"/>
                  <a:pt x="1673" y="681"/>
                  <a:pt x="1670" y="683"/>
                </a:cubicBezTo>
                <a:cubicBezTo>
                  <a:pt x="1668" y="684"/>
                  <a:pt x="1667" y="685"/>
                  <a:pt x="1667" y="686"/>
                </a:cubicBezTo>
                <a:lnTo>
                  <a:pt x="1667" y="687"/>
                </a:lnTo>
                <a:cubicBezTo>
                  <a:pt x="1667" y="689"/>
                  <a:pt x="1666" y="693"/>
                  <a:pt x="1662" y="699"/>
                </a:cubicBezTo>
                <a:cubicBezTo>
                  <a:pt x="1658" y="708"/>
                  <a:pt x="1656" y="713"/>
                  <a:pt x="1656" y="714"/>
                </a:cubicBezTo>
                <a:cubicBezTo>
                  <a:pt x="1656" y="715"/>
                  <a:pt x="1655" y="716"/>
                  <a:pt x="1655" y="716"/>
                </a:cubicBezTo>
                <a:lnTo>
                  <a:pt x="1654" y="715"/>
                </a:lnTo>
                <a:cubicBezTo>
                  <a:pt x="1652" y="715"/>
                  <a:pt x="1651" y="717"/>
                  <a:pt x="1649" y="720"/>
                </a:cubicBezTo>
                <a:cubicBezTo>
                  <a:pt x="1647" y="723"/>
                  <a:pt x="1646" y="725"/>
                  <a:pt x="1646" y="725"/>
                </a:cubicBezTo>
                <a:cubicBezTo>
                  <a:pt x="1646" y="726"/>
                  <a:pt x="1643" y="730"/>
                  <a:pt x="1637" y="737"/>
                </a:cubicBezTo>
                <a:cubicBezTo>
                  <a:pt x="1618" y="764"/>
                  <a:pt x="1608" y="777"/>
                  <a:pt x="1606" y="777"/>
                </a:cubicBezTo>
                <a:cubicBezTo>
                  <a:pt x="1605" y="777"/>
                  <a:pt x="1605" y="777"/>
                  <a:pt x="1605" y="778"/>
                </a:cubicBezTo>
                <a:lnTo>
                  <a:pt x="1606" y="781"/>
                </a:lnTo>
                <a:cubicBezTo>
                  <a:pt x="1606" y="782"/>
                  <a:pt x="1605" y="783"/>
                  <a:pt x="1604" y="783"/>
                </a:cubicBezTo>
                <a:cubicBezTo>
                  <a:pt x="1603" y="783"/>
                  <a:pt x="1599" y="786"/>
                  <a:pt x="1593" y="792"/>
                </a:cubicBezTo>
                <a:cubicBezTo>
                  <a:pt x="1580" y="804"/>
                  <a:pt x="1568" y="810"/>
                  <a:pt x="1555" y="810"/>
                </a:cubicBezTo>
                <a:close/>
                <a:moveTo>
                  <a:pt x="1614" y="732"/>
                </a:moveTo>
                <a:cubicBezTo>
                  <a:pt x="1614" y="732"/>
                  <a:pt x="1614" y="731"/>
                  <a:pt x="1615" y="731"/>
                </a:cubicBezTo>
                <a:cubicBezTo>
                  <a:pt x="1616" y="730"/>
                  <a:pt x="1617" y="729"/>
                  <a:pt x="1617" y="728"/>
                </a:cubicBezTo>
                <a:cubicBezTo>
                  <a:pt x="1617" y="727"/>
                  <a:pt x="1617" y="727"/>
                  <a:pt x="1616" y="727"/>
                </a:cubicBezTo>
                <a:lnTo>
                  <a:pt x="1615" y="727"/>
                </a:lnTo>
                <a:cubicBezTo>
                  <a:pt x="1613" y="728"/>
                  <a:pt x="1612" y="729"/>
                  <a:pt x="1612" y="730"/>
                </a:cubicBezTo>
                <a:cubicBezTo>
                  <a:pt x="1612" y="731"/>
                  <a:pt x="1613" y="732"/>
                  <a:pt x="1614" y="732"/>
                </a:cubicBezTo>
                <a:close/>
                <a:moveTo>
                  <a:pt x="1590" y="521"/>
                </a:moveTo>
                <a:cubicBezTo>
                  <a:pt x="1592" y="521"/>
                  <a:pt x="1593" y="520"/>
                  <a:pt x="1594" y="518"/>
                </a:cubicBezTo>
                <a:lnTo>
                  <a:pt x="1594" y="517"/>
                </a:lnTo>
                <a:cubicBezTo>
                  <a:pt x="1594" y="515"/>
                  <a:pt x="1594" y="514"/>
                  <a:pt x="1593" y="514"/>
                </a:cubicBezTo>
                <a:cubicBezTo>
                  <a:pt x="1592" y="513"/>
                  <a:pt x="1591" y="513"/>
                  <a:pt x="1591" y="513"/>
                </a:cubicBezTo>
                <a:lnTo>
                  <a:pt x="1591" y="514"/>
                </a:lnTo>
                <a:cubicBezTo>
                  <a:pt x="1592" y="514"/>
                  <a:pt x="1592" y="514"/>
                  <a:pt x="1592" y="515"/>
                </a:cubicBezTo>
                <a:cubicBezTo>
                  <a:pt x="1592" y="516"/>
                  <a:pt x="1591" y="517"/>
                  <a:pt x="1590" y="518"/>
                </a:cubicBezTo>
                <a:lnTo>
                  <a:pt x="1589" y="520"/>
                </a:lnTo>
                <a:cubicBezTo>
                  <a:pt x="1589" y="521"/>
                  <a:pt x="1590" y="521"/>
                  <a:pt x="1590" y="521"/>
                </a:cubicBezTo>
                <a:close/>
                <a:moveTo>
                  <a:pt x="1584" y="546"/>
                </a:moveTo>
                <a:lnTo>
                  <a:pt x="1583" y="544"/>
                </a:lnTo>
                <a:cubicBezTo>
                  <a:pt x="1583" y="543"/>
                  <a:pt x="1584" y="542"/>
                  <a:pt x="1585" y="541"/>
                </a:cubicBezTo>
                <a:cubicBezTo>
                  <a:pt x="1587" y="541"/>
                  <a:pt x="1588" y="539"/>
                  <a:pt x="1588" y="536"/>
                </a:cubicBezTo>
                <a:lnTo>
                  <a:pt x="1588" y="535"/>
                </a:lnTo>
                <a:cubicBezTo>
                  <a:pt x="1587" y="531"/>
                  <a:pt x="1587" y="528"/>
                  <a:pt x="1586" y="528"/>
                </a:cubicBezTo>
                <a:cubicBezTo>
                  <a:pt x="1586" y="528"/>
                  <a:pt x="1585" y="529"/>
                  <a:pt x="1585" y="530"/>
                </a:cubicBezTo>
                <a:cubicBezTo>
                  <a:pt x="1584" y="531"/>
                  <a:pt x="1584" y="532"/>
                  <a:pt x="1584" y="534"/>
                </a:cubicBezTo>
                <a:cubicBezTo>
                  <a:pt x="1584" y="535"/>
                  <a:pt x="1584" y="536"/>
                  <a:pt x="1585" y="537"/>
                </a:cubicBezTo>
                <a:cubicBezTo>
                  <a:pt x="1586" y="538"/>
                  <a:pt x="1587" y="539"/>
                  <a:pt x="1587" y="539"/>
                </a:cubicBezTo>
                <a:lnTo>
                  <a:pt x="1586" y="540"/>
                </a:lnTo>
                <a:lnTo>
                  <a:pt x="1582" y="539"/>
                </a:lnTo>
                <a:cubicBezTo>
                  <a:pt x="1581" y="539"/>
                  <a:pt x="1580" y="540"/>
                  <a:pt x="1580" y="541"/>
                </a:cubicBezTo>
                <a:cubicBezTo>
                  <a:pt x="1580" y="542"/>
                  <a:pt x="1580" y="544"/>
                  <a:pt x="1581" y="545"/>
                </a:cubicBezTo>
                <a:cubicBezTo>
                  <a:pt x="1582" y="546"/>
                  <a:pt x="1583" y="546"/>
                  <a:pt x="1584" y="546"/>
                </a:cubicBezTo>
                <a:close/>
                <a:moveTo>
                  <a:pt x="1569" y="558"/>
                </a:moveTo>
                <a:cubicBezTo>
                  <a:pt x="1570" y="558"/>
                  <a:pt x="1571" y="557"/>
                  <a:pt x="1571" y="556"/>
                </a:cubicBezTo>
                <a:cubicBezTo>
                  <a:pt x="1571" y="554"/>
                  <a:pt x="1571" y="554"/>
                  <a:pt x="1570" y="554"/>
                </a:cubicBezTo>
                <a:cubicBezTo>
                  <a:pt x="1570" y="554"/>
                  <a:pt x="1569" y="554"/>
                  <a:pt x="1568" y="556"/>
                </a:cubicBezTo>
                <a:lnTo>
                  <a:pt x="1568" y="557"/>
                </a:lnTo>
                <a:cubicBezTo>
                  <a:pt x="1568" y="558"/>
                  <a:pt x="1568" y="558"/>
                  <a:pt x="1569" y="558"/>
                </a:cubicBezTo>
                <a:close/>
                <a:moveTo>
                  <a:pt x="1563" y="579"/>
                </a:moveTo>
                <a:cubicBezTo>
                  <a:pt x="1564" y="579"/>
                  <a:pt x="1565" y="578"/>
                  <a:pt x="1565" y="574"/>
                </a:cubicBezTo>
                <a:lnTo>
                  <a:pt x="1565" y="572"/>
                </a:lnTo>
                <a:cubicBezTo>
                  <a:pt x="1565" y="571"/>
                  <a:pt x="1565" y="571"/>
                  <a:pt x="1565" y="571"/>
                </a:cubicBezTo>
                <a:lnTo>
                  <a:pt x="1565" y="571"/>
                </a:lnTo>
                <a:cubicBezTo>
                  <a:pt x="1563" y="572"/>
                  <a:pt x="1563" y="574"/>
                  <a:pt x="1563" y="575"/>
                </a:cubicBezTo>
                <a:cubicBezTo>
                  <a:pt x="1563" y="578"/>
                  <a:pt x="1563" y="579"/>
                  <a:pt x="1563" y="579"/>
                </a:cubicBezTo>
                <a:close/>
                <a:moveTo>
                  <a:pt x="1559" y="595"/>
                </a:moveTo>
                <a:cubicBezTo>
                  <a:pt x="1560" y="595"/>
                  <a:pt x="1560" y="594"/>
                  <a:pt x="1560" y="593"/>
                </a:cubicBezTo>
                <a:lnTo>
                  <a:pt x="1560" y="590"/>
                </a:lnTo>
                <a:cubicBezTo>
                  <a:pt x="1560" y="589"/>
                  <a:pt x="1559" y="589"/>
                  <a:pt x="1559" y="589"/>
                </a:cubicBezTo>
                <a:cubicBezTo>
                  <a:pt x="1558" y="589"/>
                  <a:pt x="1558" y="590"/>
                  <a:pt x="1558" y="591"/>
                </a:cubicBezTo>
                <a:cubicBezTo>
                  <a:pt x="1558" y="593"/>
                  <a:pt x="1559" y="594"/>
                  <a:pt x="1559" y="595"/>
                </a:cubicBezTo>
                <a:close/>
                <a:moveTo>
                  <a:pt x="1552" y="622"/>
                </a:moveTo>
                <a:cubicBezTo>
                  <a:pt x="1553" y="622"/>
                  <a:pt x="1554" y="621"/>
                  <a:pt x="1554" y="617"/>
                </a:cubicBezTo>
                <a:cubicBezTo>
                  <a:pt x="1554" y="615"/>
                  <a:pt x="1554" y="614"/>
                  <a:pt x="1553" y="614"/>
                </a:cubicBezTo>
                <a:cubicBezTo>
                  <a:pt x="1553" y="614"/>
                  <a:pt x="1552" y="614"/>
                  <a:pt x="1552" y="615"/>
                </a:cubicBezTo>
                <a:cubicBezTo>
                  <a:pt x="1550" y="618"/>
                  <a:pt x="1550" y="620"/>
                  <a:pt x="1550" y="620"/>
                </a:cubicBezTo>
                <a:cubicBezTo>
                  <a:pt x="1550" y="622"/>
                  <a:pt x="1550" y="622"/>
                  <a:pt x="1552" y="622"/>
                </a:cubicBezTo>
                <a:close/>
                <a:moveTo>
                  <a:pt x="1550" y="632"/>
                </a:moveTo>
                <a:cubicBezTo>
                  <a:pt x="1551" y="632"/>
                  <a:pt x="1552" y="631"/>
                  <a:pt x="1552" y="630"/>
                </a:cubicBezTo>
                <a:cubicBezTo>
                  <a:pt x="1552" y="628"/>
                  <a:pt x="1551" y="627"/>
                  <a:pt x="1550" y="627"/>
                </a:cubicBezTo>
                <a:cubicBezTo>
                  <a:pt x="1548" y="627"/>
                  <a:pt x="1547" y="628"/>
                  <a:pt x="1547" y="630"/>
                </a:cubicBezTo>
                <a:cubicBezTo>
                  <a:pt x="1547" y="631"/>
                  <a:pt x="1548" y="632"/>
                  <a:pt x="1550" y="632"/>
                </a:cubicBezTo>
                <a:close/>
                <a:moveTo>
                  <a:pt x="1547" y="644"/>
                </a:moveTo>
                <a:cubicBezTo>
                  <a:pt x="1549" y="643"/>
                  <a:pt x="1550" y="642"/>
                  <a:pt x="1550" y="639"/>
                </a:cubicBezTo>
                <a:cubicBezTo>
                  <a:pt x="1550" y="637"/>
                  <a:pt x="1549" y="636"/>
                  <a:pt x="1548" y="636"/>
                </a:cubicBezTo>
                <a:cubicBezTo>
                  <a:pt x="1547" y="636"/>
                  <a:pt x="1547" y="637"/>
                  <a:pt x="1546" y="641"/>
                </a:cubicBezTo>
                <a:lnTo>
                  <a:pt x="1546" y="642"/>
                </a:lnTo>
                <a:cubicBezTo>
                  <a:pt x="1546" y="644"/>
                  <a:pt x="1546" y="644"/>
                  <a:pt x="1547" y="644"/>
                </a:cubicBezTo>
                <a:close/>
                <a:moveTo>
                  <a:pt x="1545" y="655"/>
                </a:moveTo>
                <a:cubicBezTo>
                  <a:pt x="1547" y="655"/>
                  <a:pt x="1547" y="654"/>
                  <a:pt x="1547" y="652"/>
                </a:cubicBezTo>
                <a:cubicBezTo>
                  <a:pt x="1547" y="651"/>
                  <a:pt x="1547" y="650"/>
                  <a:pt x="1545" y="650"/>
                </a:cubicBezTo>
                <a:cubicBezTo>
                  <a:pt x="1544" y="650"/>
                  <a:pt x="1543" y="651"/>
                  <a:pt x="1543" y="652"/>
                </a:cubicBezTo>
                <a:cubicBezTo>
                  <a:pt x="1543" y="654"/>
                  <a:pt x="1544" y="655"/>
                  <a:pt x="1545" y="655"/>
                </a:cubicBezTo>
                <a:close/>
                <a:moveTo>
                  <a:pt x="1543" y="668"/>
                </a:moveTo>
                <a:cubicBezTo>
                  <a:pt x="1545" y="668"/>
                  <a:pt x="1545" y="667"/>
                  <a:pt x="1545" y="666"/>
                </a:cubicBezTo>
                <a:cubicBezTo>
                  <a:pt x="1545" y="664"/>
                  <a:pt x="1545" y="664"/>
                  <a:pt x="1543" y="664"/>
                </a:cubicBezTo>
                <a:cubicBezTo>
                  <a:pt x="1542" y="664"/>
                  <a:pt x="1541" y="664"/>
                  <a:pt x="1541" y="666"/>
                </a:cubicBezTo>
                <a:cubicBezTo>
                  <a:pt x="1541" y="667"/>
                  <a:pt x="1542" y="668"/>
                  <a:pt x="1543" y="668"/>
                </a:cubicBezTo>
                <a:close/>
                <a:moveTo>
                  <a:pt x="1540" y="685"/>
                </a:moveTo>
                <a:cubicBezTo>
                  <a:pt x="1540" y="685"/>
                  <a:pt x="1541" y="684"/>
                  <a:pt x="1542" y="683"/>
                </a:cubicBezTo>
                <a:cubicBezTo>
                  <a:pt x="1543" y="681"/>
                  <a:pt x="1543" y="680"/>
                  <a:pt x="1543" y="678"/>
                </a:cubicBezTo>
                <a:cubicBezTo>
                  <a:pt x="1543" y="676"/>
                  <a:pt x="1543" y="676"/>
                  <a:pt x="1542" y="676"/>
                </a:cubicBezTo>
                <a:lnTo>
                  <a:pt x="1541" y="676"/>
                </a:lnTo>
                <a:cubicBezTo>
                  <a:pt x="1540" y="677"/>
                  <a:pt x="1539" y="679"/>
                  <a:pt x="1539" y="683"/>
                </a:cubicBezTo>
                <a:cubicBezTo>
                  <a:pt x="1539" y="684"/>
                  <a:pt x="1539" y="685"/>
                  <a:pt x="1539" y="685"/>
                </a:cubicBezTo>
                <a:lnTo>
                  <a:pt x="1540" y="685"/>
                </a:lnTo>
                <a:close/>
                <a:moveTo>
                  <a:pt x="1537" y="719"/>
                </a:moveTo>
                <a:cubicBezTo>
                  <a:pt x="1538" y="719"/>
                  <a:pt x="1539" y="716"/>
                  <a:pt x="1539" y="710"/>
                </a:cubicBezTo>
                <a:cubicBezTo>
                  <a:pt x="1539" y="705"/>
                  <a:pt x="1538" y="703"/>
                  <a:pt x="1538" y="703"/>
                </a:cubicBezTo>
                <a:cubicBezTo>
                  <a:pt x="1537" y="703"/>
                  <a:pt x="1537" y="706"/>
                  <a:pt x="1536" y="711"/>
                </a:cubicBezTo>
                <a:lnTo>
                  <a:pt x="1536" y="714"/>
                </a:lnTo>
                <a:cubicBezTo>
                  <a:pt x="1536" y="716"/>
                  <a:pt x="1536" y="717"/>
                  <a:pt x="1536" y="717"/>
                </a:cubicBezTo>
                <a:cubicBezTo>
                  <a:pt x="1536" y="717"/>
                  <a:pt x="1536" y="718"/>
                  <a:pt x="1537" y="719"/>
                </a:cubicBezTo>
                <a:close/>
                <a:moveTo>
                  <a:pt x="1539" y="700"/>
                </a:moveTo>
                <a:cubicBezTo>
                  <a:pt x="1541" y="700"/>
                  <a:pt x="1541" y="698"/>
                  <a:pt x="1541" y="694"/>
                </a:cubicBezTo>
                <a:cubicBezTo>
                  <a:pt x="1541" y="691"/>
                  <a:pt x="1541" y="689"/>
                  <a:pt x="1540" y="689"/>
                </a:cubicBezTo>
                <a:lnTo>
                  <a:pt x="1539" y="690"/>
                </a:lnTo>
                <a:cubicBezTo>
                  <a:pt x="1538" y="691"/>
                  <a:pt x="1538" y="691"/>
                  <a:pt x="1538" y="693"/>
                </a:cubicBezTo>
                <a:cubicBezTo>
                  <a:pt x="1538" y="694"/>
                  <a:pt x="1538" y="695"/>
                  <a:pt x="1538" y="696"/>
                </a:cubicBezTo>
                <a:cubicBezTo>
                  <a:pt x="1538" y="697"/>
                  <a:pt x="1538" y="698"/>
                  <a:pt x="1538" y="698"/>
                </a:cubicBezTo>
                <a:cubicBezTo>
                  <a:pt x="1538" y="699"/>
                  <a:pt x="1538" y="700"/>
                  <a:pt x="1539" y="700"/>
                </a:cubicBezTo>
                <a:close/>
                <a:moveTo>
                  <a:pt x="1543" y="803"/>
                </a:moveTo>
                <a:cubicBezTo>
                  <a:pt x="1545" y="803"/>
                  <a:pt x="1546" y="803"/>
                  <a:pt x="1546" y="803"/>
                </a:cubicBezTo>
                <a:lnTo>
                  <a:pt x="1546" y="802"/>
                </a:lnTo>
                <a:cubicBezTo>
                  <a:pt x="1545" y="801"/>
                  <a:pt x="1544" y="801"/>
                  <a:pt x="1544" y="800"/>
                </a:cubicBezTo>
                <a:cubicBezTo>
                  <a:pt x="1544" y="800"/>
                  <a:pt x="1545" y="799"/>
                  <a:pt x="1546" y="797"/>
                </a:cubicBezTo>
                <a:cubicBezTo>
                  <a:pt x="1547" y="796"/>
                  <a:pt x="1547" y="795"/>
                  <a:pt x="1547" y="795"/>
                </a:cubicBezTo>
                <a:cubicBezTo>
                  <a:pt x="1547" y="795"/>
                  <a:pt x="1545" y="795"/>
                  <a:pt x="1544" y="796"/>
                </a:cubicBezTo>
                <a:cubicBezTo>
                  <a:pt x="1542" y="798"/>
                  <a:pt x="1541" y="799"/>
                  <a:pt x="1540" y="800"/>
                </a:cubicBezTo>
                <a:cubicBezTo>
                  <a:pt x="1539" y="801"/>
                  <a:pt x="1539" y="801"/>
                  <a:pt x="1539" y="802"/>
                </a:cubicBezTo>
                <a:cubicBezTo>
                  <a:pt x="1539" y="803"/>
                  <a:pt x="1540" y="803"/>
                  <a:pt x="1543" y="803"/>
                </a:cubicBezTo>
                <a:close/>
                <a:moveTo>
                  <a:pt x="1543" y="776"/>
                </a:moveTo>
                <a:cubicBezTo>
                  <a:pt x="1543" y="776"/>
                  <a:pt x="1544" y="774"/>
                  <a:pt x="1544" y="771"/>
                </a:cubicBezTo>
                <a:lnTo>
                  <a:pt x="1544" y="769"/>
                </a:lnTo>
                <a:cubicBezTo>
                  <a:pt x="1544" y="764"/>
                  <a:pt x="1545" y="762"/>
                  <a:pt x="1545" y="762"/>
                </a:cubicBezTo>
                <a:cubicBezTo>
                  <a:pt x="1546" y="762"/>
                  <a:pt x="1547" y="762"/>
                  <a:pt x="1547" y="762"/>
                </a:cubicBezTo>
                <a:cubicBezTo>
                  <a:pt x="1547" y="762"/>
                  <a:pt x="1546" y="761"/>
                  <a:pt x="1545" y="760"/>
                </a:cubicBezTo>
                <a:cubicBezTo>
                  <a:pt x="1544" y="759"/>
                  <a:pt x="1543" y="759"/>
                  <a:pt x="1543" y="758"/>
                </a:cubicBezTo>
                <a:cubicBezTo>
                  <a:pt x="1543" y="758"/>
                  <a:pt x="1545" y="758"/>
                  <a:pt x="1547" y="757"/>
                </a:cubicBezTo>
                <a:cubicBezTo>
                  <a:pt x="1549" y="757"/>
                  <a:pt x="1550" y="757"/>
                  <a:pt x="1550" y="757"/>
                </a:cubicBezTo>
                <a:lnTo>
                  <a:pt x="1546" y="755"/>
                </a:lnTo>
                <a:cubicBezTo>
                  <a:pt x="1545" y="754"/>
                  <a:pt x="1544" y="754"/>
                  <a:pt x="1544" y="754"/>
                </a:cubicBezTo>
                <a:cubicBezTo>
                  <a:pt x="1544" y="754"/>
                  <a:pt x="1545" y="753"/>
                  <a:pt x="1547" y="753"/>
                </a:cubicBezTo>
                <a:cubicBezTo>
                  <a:pt x="1548" y="753"/>
                  <a:pt x="1549" y="750"/>
                  <a:pt x="1549" y="742"/>
                </a:cubicBezTo>
                <a:cubicBezTo>
                  <a:pt x="1549" y="734"/>
                  <a:pt x="1550" y="726"/>
                  <a:pt x="1552" y="717"/>
                </a:cubicBezTo>
                <a:lnTo>
                  <a:pt x="1557" y="684"/>
                </a:lnTo>
                <a:cubicBezTo>
                  <a:pt x="1557" y="680"/>
                  <a:pt x="1558" y="679"/>
                  <a:pt x="1558" y="679"/>
                </a:cubicBezTo>
                <a:cubicBezTo>
                  <a:pt x="1558" y="679"/>
                  <a:pt x="1559" y="678"/>
                  <a:pt x="1559" y="676"/>
                </a:cubicBezTo>
                <a:cubicBezTo>
                  <a:pt x="1559" y="675"/>
                  <a:pt x="1559" y="674"/>
                  <a:pt x="1559" y="672"/>
                </a:cubicBezTo>
                <a:lnTo>
                  <a:pt x="1560" y="665"/>
                </a:lnTo>
                <a:cubicBezTo>
                  <a:pt x="1560" y="665"/>
                  <a:pt x="1561" y="662"/>
                  <a:pt x="1562" y="656"/>
                </a:cubicBezTo>
                <a:cubicBezTo>
                  <a:pt x="1562" y="650"/>
                  <a:pt x="1563" y="646"/>
                  <a:pt x="1564" y="644"/>
                </a:cubicBezTo>
                <a:cubicBezTo>
                  <a:pt x="1565" y="640"/>
                  <a:pt x="1565" y="637"/>
                  <a:pt x="1565" y="634"/>
                </a:cubicBezTo>
                <a:lnTo>
                  <a:pt x="1565" y="633"/>
                </a:lnTo>
                <a:cubicBezTo>
                  <a:pt x="1565" y="631"/>
                  <a:pt x="1566" y="630"/>
                  <a:pt x="1567" y="630"/>
                </a:cubicBezTo>
                <a:cubicBezTo>
                  <a:pt x="1568" y="630"/>
                  <a:pt x="1568" y="629"/>
                  <a:pt x="1568" y="628"/>
                </a:cubicBezTo>
                <a:cubicBezTo>
                  <a:pt x="1568" y="628"/>
                  <a:pt x="1568" y="627"/>
                  <a:pt x="1568" y="627"/>
                </a:cubicBezTo>
                <a:cubicBezTo>
                  <a:pt x="1568" y="626"/>
                  <a:pt x="1567" y="625"/>
                  <a:pt x="1566" y="625"/>
                </a:cubicBezTo>
                <a:lnTo>
                  <a:pt x="1564" y="626"/>
                </a:lnTo>
                <a:cubicBezTo>
                  <a:pt x="1564" y="626"/>
                  <a:pt x="1563" y="626"/>
                  <a:pt x="1563" y="625"/>
                </a:cubicBezTo>
                <a:cubicBezTo>
                  <a:pt x="1563" y="624"/>
                  <a:pt x="1564" y="622"/>
                  <a:pt x="1565" y="621"/>
                </a:cubicBezTo>
                <a:cubicBezTo>
                  <a:pt x="1567" y="620"/>
                  <a:pt x="1568" y="620"/>
                  <a:pt x="1569" y="620"/>
                </a:cubicBezTo>
                <a:cubicBezTo>
                  <a:pt x="1570" y="620"/>
                  <a:pt x="1571" y="620"/>
                  <a:pt x="1571" y="619"/>
                </a:cubicBezTo>
                <a:cubicBezTo>
                  <a:pt x="1571" y="619"/>
                  <a:pt x="1570" y="619"/>
                  <a:pt x="1569" y="618"/>
                </a:cubicBezTo>
                <a:cubicBezTo>
                  <a:pt x="1568" y="617"/>
                  <a:pt x="1568" y="615"/>
                  <a:pt x="1568" y="611"/>
                </a:cubicBezTo>
                <a:cubicBezTo>
                  <a:pt x="1568" y="605"/>
                  <a:pt x="1569" y="603"/>
                  <a:pt x="1570" y="603"/>
                </a:cubicBezTo>
                <a:lnTo>
                  <a:pt x="1572" y="603"/>
                </a:lnTo>
                <a:lnTo>
                  <a:pt x="1573" y="603"/>
                </a:lnTo>
                <a:cubicBezTo>
                  <a:pt x="1573" y="602"/>
                  <a:pt x="1572" y="601"/>
                  <a:pt x="1572" y="599"/>
                </a:cubicBezTo>
                <a:cubicBezTo>
                  <a:pt x="1571" y="598"/>
                  <a:pt x="1570" y="597"/>
                  <a:pt x="1570" y="596"/>
                </a:cubicBezTo>
                <a:cubicBezTo>
                  <a:pt x="1570" y="595"/>
                  <a:pt x="1571" y="595"/>
                  <a:pt x="1572" y="595"/>
                </a:cubicBezTo>
                <a:cubicBezTo>
                  <a:pt x="1573" y="595"/>
                  <a:pt x="1573" y="594"/>
                  <a:pt x="1573" y="593"/>
                </a:cubicBezTo>
                <a:lnTo>
                  <a:pt x="1573" y="588"/>
                </a:lnTo>
                <a:cubicBezTo>
                  <a:pt x="1573" y="586"/>
                  <a:pt x="1573" y="585"/>
                  <a:pt x="1574" y="585"/>
                </a:cubicBezTo>
                <a:cubicBezTo>
                  <a:pt x="1575" y="585"/>
                  <a:pt x="1575" y="585"/>
                  <a:pt x="1575" y="583"/>
                </a:cubicBezTo>
                <a:cubicBezTo>
                  <a:pt x="1575" y="582"/>
                  <a:pt x="1575" y="580"/>
                  <a:pt x="1575" y="579"/>
                </a:cubicBezTo>
                <a:cubicBezTo>
                  <a:pt x="1574" y="577"/>
                  <a:pt x="1574" y="576"/>
                  <a:pt x="1574" y="575"/>
                </a:cubicBezTo>
                <a:lnTo>
                  <a:pt x="1574" y="575"/>
                </a:lnTo>
                <a:cubicBezTo>
                  <a:pt x="1575" y="575"/>
                  <a:pt x="1576" y="576"/>
                  <a:pt x="1577" y="577"/>
                </a:cubicBezTo>
                <a:lnTo>
                  <a:pt x="1580" y="579"/>
                </a:lnTo>
                <a:cubicBezTo>
                  <a:pt x="1580" y="579"/>
                  <a:pt x="1579" y="578"/>
                  <a:pt x="1579" y="576"/>
                </a:cubicBezTo>
                <a:cubicBezTo>
                  <a:pt x="1578" y="575"/>
                  <a:pt x="1577" y="573"/>
                  <a:pt x="1577" y="571"/>
                </a:cubicBezTo>
                <a:cubicBezTo>
                  <a:pt x="1577" y="569"/>
                  <a:pt x="1578" y="566"/>
                  <a:pt x="1579" y="561"/>
                </a:cubicBezTo>
                <a:cubicBezTo>
                  <a:pt x="1580" y="557"/>
                  <a:pt x="1580" y="554"/>
                  <a:pt x="1580" y="552"/>
                </a:cubicBezTo>
                <a:cubicBezTo>
                  <a:pt x="1580" y="551"/>
                  <a:pt x="1580" y="550"/>
                  <a:pt x="1579" y="550"/>
                </a:cubicBezTo>
                <a:cubicBezTo>
                  <a:pt x="1579" y="550"/>
                  <a:pt x="1578" y="550"/>
                  <a:pt x="1578" y="551"/>
                </a:cubicBezTo>
                <a:cubicBezTo>
                  <a:pt x="1577" y="553"/>
                  <a:pt x="1577" y="554"/>
                  <a:pt x="1576" y="556"/>
                </a:cubicBezTo>
                <a:cubicBezTo>
                  <a:pt x="1576" y="557"/>
                  <a:pt x="1576" y="559"/>
                  <a:pt x="1575" y="560"/>
                </a:cubicBezTo>
                <a:cubicBezTo>
                  <a:pt x="1575" y="561"/>
                  <a:pt x="1574" y="562"/>
                  <a:pt x="1574" y="563"/>
                </a:cubicBezTo>
                <a:cubicBezTo>
                  <a:pt x="1570" y="566"/>
                  <a:pt x="1565" y="581"/>
                  <a:pt x="1560" y="607"/>
                </a:cubicBezTo>
                <a:cubicBezTo>
                  <a:pt x="1555" y="634"/>
                  <a:pt x="1551" y="663"/>
                  <a:pt x="1547" y="694"/>
                </a:cubicBezTo>
                <a:cubicBezTo>
                  <a:pt x="1542" y="725"/>
                  <a:pt x="1540" y="748"/>
                  <a:pt x="1540" y="763"/>
                </a:cubicBezTo>
                <a:cubicBezTo>
                  <a:pt x="1540" y="772"/>
                  <a:pt x="1541" y="776"/>
                  <a:pt x="1543" y="776"/>
                </a:cubicBezTo>
                <a:close/>
                <a:moveTo>
                  <a:pt x="1555" y="783"/>
                </a:moveTo>
                <a:cubicBezTo>
                  <a:pt x="1556" y="783"/>
                  <a:pt x="1556" y="780"/>
                  <a:pt x="1556" y="774"/>
                </a:cubicBezTo>
                <a:lnTo>
                  <a:pt x="1556" y="770"/>
                </a:lnTo>
                <a:cubicBezTo>
                  <a:pt x="1556" y="767"/>
                  <a:pt x="1556" y="764"/>
                  <a:pt x="1557" y="763"/>
                </a:cubicBezTo>
                <a:cubicBezTo>
                  <a:pt x="1557" y="762"/>
                  <a:pt x="1557" y="762"/>
                  <a:pt x="1557" y="761"/>
                </a:cubicBezTo>
                <a:cubicBezTo>
                  <a:pt x="1557" y="760"/>
                  <a:pt x="1557" y="760"/>
                  <a:pt x="1556" y="760"/>
                </a:cubicBezTo>
                <a:cubicBezTo>
                  <a:pt x="1555" y="760"/>
                  <a:pt x="1554" y="758"/>
                  <a:pt x="1553" y="755"/>
                </a:cubicBezTo>
                <a:lnTo>
                  <a:pt x="1553" y="753"/>
                </a:lnTo>
                <a:cubicBezTo>
                  <a:pt x="1552" y="753"/>
                  <a:pt x="1552" y="756"/>
                  <a:pt x="1552" y="762"/>
                </a:cubicBezTo>
                <a:cubicBezTo>
                  <a:pt x="1552" y="769"/>
                  <a:pt x="1553" y="775"/>
                  <a:pt x="1554" y="780"/>
                </a:cubicBezTo>
                <a:lnTo>
                  <a:pt x="1555" y="783"/>
                </a:lnTo>
                <a:close/>
                <a:moveTo>
                  <a:pt x="1567" y="805"/>
                </a:moveTo>
                <a:lnTo>
                  <a:pt x="1576" y="804"/>
                </a:lnTo>
                <a:lnTo>
                  <a:pt x="1576" y="803"/>
                </a:lnTo>
                <a:cubicBezTo>
                  <a:pt x="1576" y="803"/>
                  <a:pt x="1575" y="802"/>
                  <a:pt x="1573" y="800"/>
                </a:cubicBezTo>
                <a:cubicBezTo>
                  <a:pt x="1571" y="799"/>
                  <a:pt x="1570" y="798"/>
                  <a:pt x="1568" y="798"/>
                </a:cubicBezTo>
                <a:cubicBezTo>
                  <a:pt x="1567" y="798"/>
                  <a:pt x="1566" y="799"/>
                  <a:pt x="1565" y="799"/>
                </a:cubicBezTo>
                <a:cubicBezTo>
                  <a:pt x="1562" y="801"/>
                  <a:pt x="1561" y="802"/>
                  <a:pt x="1561" y="803"/>
                </a:cubicBezTo>
                <a:cubicBezTo>
                  <a:pt x="1561" y="804"/>
                  <a:pt x="1563" y="805"/>
                  <a:pt x="1567" y="805"/>
                </a:cubicBezTo>
                <a:close/>
                <a:moveTo>
                  <a:pt x="1714" y="565"/>
                </a:moveTo>
                <a:cubicBezTo>
                  <a:pt x="1716" y="565"/>
                  <a:pt x="1717" y="564"/>
                  <a:pt x="1717" y="563"/>
                </a:cubicBezTo>
                <a:cubicBezTo>
                  <a:pt x="1717" y="561"/>
                  <a:pt x="1717" y="561"/>
                  <a:pt x="1716" y="561"/>
                </a:cubicBezTo>
                <a:cubicBezTo>
                  <a:pt x="1715" y="561"/>
                  <a:pt x="1715" y="561"/>
                  <a:pt x="1714" y="562"/>
                </a:cubicBezTo>
                <a:cubicBezTo>
                  <a:pt x="1714" y="563"/>
                  <a:pt x="1714" y="563"/>
                  <a:pt x="1714" y="564"/>
                </a:cubicBezTo>
                <a:cubicBezTo>
                  <a:pt x="1714" y="565"/>
                  <a:pt x="1714" y="565"/>
                  <a:pt x="1714" y="565"/>
                </a:cubicBezTo>
                <a:close/>
                <a:moveTo>
                  <a:pt x="1744" y="491"/>
                </a:moveTo>
                <a:lnTo>
                  <a:pt x="1745" y="490"/>
                </a:lnTo>
                <a:cubicBezTo>
                  <a:pt x="1745" y="489"/>
                  <a:pt x="1744" y="488"/>
                  <a:pt x="1743" y="487"/>
                </a:cubicBezTo>
                <a:cubicBezTo>
                  <a:pt x="1742" y="485"/>
                  <a:pt x="1742" y="485"/>
                  <a:pt x="1741" y="485"/>
                </a:cubicBezTo>
                <a:lnTo>
                  <a:pt x="1741" y="485"/>
                </a:lnTo>
                <a:cubicBezTo>
                  <a:pt x="1741" y="486"/>
                  <a:pt x="1742" y="487"/>
                  <a:pt x="1742" y="488"/>
                </a:cubicBezTo>
                <a:cubicBezTo>
                  <a:pt x="1743" y="490"/>
                  <a:pt x="1743" y="491"/>
                  <a:pt x="1744" y="491"/>
                </a:cubicBezTo>
                <a:close/>
                <a:moveTo>
                  <a:pt x="1750" y="533"/>
                </a:moveTo>
                <a:cubicBezTo>
                  <a:pt x="1751" y="533"/>
                  <a:pt x="1751" y="532"/>
                  <a:pt x="1752" y="529"/>
                </a:cubicBezTo>
                <a:lnTo>
                  <a:pt x="1753" y="527"/>
                </a:lnTo>
                <a:cubicBezTo>
                  <a:pt x="1753" y="527"/>
                  <a:pt x="1753" y="527"/>
                  <a:pt x="1752" y="527"/>
                </a:cubicBezTo>
                <a:lnTo>
                  <a:pt x="1752" y="527"/>
                </a:lnTo>
                <a:cubicBezTo>
                  <a:pt x="1751" y="528"/>
                  <a:pt x="1751" y="528"/>
                  <a:pt x="1750" y="529"/>
                </a:cubicBezTo>
                <a:cubicBezTo>
                  <a:pt x="1750" y="529"/>
                  <a:pt x="1749" y="530"/>
                  <a:pt x="1749" y="531"/>
                </a:cubicBezTo>
                <a:cubicBezTo>
                  <a:pt x="1749" y="532"/>
                  <a:pt x="1750" y="533"/>
                  <a:pt x="1750" y="533"/>
                </a:cubicBezTo>
                <a:close/>
                <a:moveTo>
                  <a:pt x="1752" y="501"/>
                </a:moveTo>
                <a:lnTo>
                  <a:pt x="1755" y="497"/>
                </a:lnTo>
                <a:cubicBezTo>
                  <a:pt x="1757" y="495"/>
                  <a:pt x="1758" y="492"/>
                  <a:pt x="1758" y="491"/>
                </a:cubicBezTo>
                <a:cubicBezTo>
                  <a:pt x="1758" y="490"/>
                  <a:pt x="1758" y="490"/>
                  <a:pt x="1758" y="490"/>
                </a:cubicBezTo>
                <a:cubicBezTo>
                  <a:pt x="1757" y="490"/>
                  <a:pt x="1756" y="492"/>
                  <a:pt x="1754" y="497"/>
                </a:cubicBezTo>
                <a:lnTo>
                  <a:pt x="1752" y="500"/>
                </a:lnTo>
                <a:lnTo>
                  <a:pt x="1752" y="501"/>
                </a:lnTo>
                <a:close/>
                <a:moveTo>
                  <a:pt x="1757" y="516"/>
                </a:moveTo>
                <a:cubicBezTo>
                  <a:pt x="1758" y="516"/>
                  <a:pt x="1758" y="515"/>
                  <a:pt x="1759" y="512"/>
                </a:cubicBezTo>
                <a:cubicBezTo>
                  <a:pt x="1759" y="510"/>
                  <a:pt x="1760" y="508"/>
                  <a:pt x="1761" y="506"/>
                </a:cubicBezTo>
                <a:cubicBezTo>
                  <a:pt x="1762" y="504"/>
                  <a:pt x="1765" y="497"/>
                  <a:pt x="1769" y="486"/>
                </a:cubicBezTo>
                <a:cubicBezTo>
                  <a:pt x="1779" y="459"/>
                  <a:pt x="1788" y="435"/>
                  <a:pt x="1794" y="414"/>
                </a:cubicBezTo>
                <a:cubicBezTo>
                  <a:pt x="1798" y="402"/>
                  <a:pt x="1800" y="392"/>
                  <a:pt x="1803" y="382"/>
                </a:cubicBezTo>
                <a:cubicBezTo>
                  <a:pt x="1805" y="372"/>
                  <a:pt x="1806" y="365"/>
                  <a:pt x="1806" y="362"/>
                </a:cubicBezTo>
                <a:cubicBezTo>
                  <a:pt x="1806" y="360"/>
                  <a:pt x="1806" y="360"/>
                  <a:pt x="1805" y="360"/>
                </a:cubicBezTo>
                <a:cubicBezTo>
                  <a:pt x="1805" y="360"/>
                  <a:pt x="1804" y="360"/>
                  <a:pt x="1803" y="362"/>
                </a:cubicBezTo>
                <a:cubicBezTo>
                  <a:pt x="1803" y="363"/>
                  <a:pt x="1802" y="365"/>
                  <a:pt x="1802" y="367"/>
                </a:cubicBezTo>
                <a:lnTo>
                  <a:pt x="1803" y="371"/>
                </a:lnTo>
                <a:cubicBezTo>
                  <a:pt x="1803" y="372"/>
                  <a:pt x="1802" y="373"/>
                  <a:pt x="1801" y="374"/>
                </a:cubicBezTo>
                <a:cubicBezTo>
                  <a:pt x="1801" y="375"/>
                  <a:pt x="1800" y="375"/>
                  <a:pt x="1800" y="376"/>
                </a:cubicBezTo>
                <a:lnTo>
                  <a:pt x="1801" y="378"/>
                </a:lnTo>
                <a:cubicBezTo>
                  <a:pt x="1801" y="379"/>
                  <a:pt x="1800" y="379"/>
                  <a:pt x="1799" y="379"/>
                </a:cubicBezTo>
                <a:cubicBezTo>
                  <a:pt x="1798" y="379"/>
                  <a:pt x="1798" y="380"/>
                  <a:pt x="1798" y="382"/>
                </a:cubicBezTo>
                <a:lnTo>
                  <a:pt x="1798" y="387"/>
                </a:lnTo>
                <a:cubicBezTo>
                  <a:pt x="1798" y="388"/>
                  <a:pt x="1798" y="389"/>
                  <a:pt x="1797" y="390"/>
                </a:cubicBezTo>
                <a:cubicBezTo>
                  <a:pt x="1796" y="391"/>
                  <a:pt x="1795" y="393"/>
                  <a:pt x="1794" y="397"/>
                </a:cubicBezTo>
                <a:cubicBezTo>
                  <a:pt x="1793" y="401"/>
                  <a:pt x="1791" y="407"/>
                  <a:pt x="1788" y="416"/>
                </a:cubicBezTo>
                <a:cubicBezTo>
                  <a:pt x="1780" y="438"/>
                  <a:pt x="1775" y="452"/>
                  <a:pt x="1772" y="456"/>
                </a:cubicBezTo>
                <a:cubicBezTo>
                  <a:pt x="1771" y="457"/>
                  <a:pt x="1770" y="458"/>
                  <a:pt x="1770" y="459"/>
                </a:cubicBezTo>
                <a:cubicBezTo>
                  <a:pt x="1770" y="460"/>
                  <a:pt x="1771" y="460"/>
                  <a:pt x="1772" y="461"/>
                </a:cubicBezTo>
                <a:cubicBezTo>
                  <a:pt x="1773" y="462"/>
                  <a:pt x="1773" y="463"/>
                  <a:pt x="1773" y="464"/>
                </a:cubicBezTo>
                <a:cubicBezTo>
                  <a:pt x="1773" y="465"/>
                  <a:pt x="1773" y="465"/>
                  <a:pt x="1771" y="466"/>
                </a:cubicBezTo>
                <a:cubicBezTo>
                  <a:pt x="1771" y="466"/>
                  <a:pt x="1771" y="465"/>
                  <a:pt x="1770" y="465"/>
                </a:cubicBezTo>
                <a:cubicBezTo>
                  <a:pt x="1769" y="465"/>
                  <a:pt x="1769" y="465"/>
                  <a:pt x="1768" y="465"/>
                </a:cubicBezTo>
                <a:cubicBezTo>
                  <a:pt x="1767" y="465"/>
                  <a:pt x="1767" y="465"/>
                  <a:pt x="1767" y="466"/>
                </a:cubicBezTo>
                <a:cubicBezTo>
                  <a:pt x="1766" y="472"/>
                  <a:pt x="1765" y="477"/>
                  <a:pt x="1761" y="480"/>
                </a:cubicBezTo>
                <a:cubicBezTo>
                  <a:pt x="1760" y="482"/>
                  <a:pt x="1759" y="484"/>
                  <a:pt x="1759" y="485"/>
                </a:cubicBezTo>
                <a:cubicBezTo>
                  <a:pt x="1759" y="486"/>
                  <a:pt x="1759" y="487"/>
                  <a:pt x="1760" y="487"/>
                </a:cubicBezTo>
                <a:cubicBezTo>
                  <a:pt x="1760" y="487"/>
                  <a:pt x="1760" y="486"/>
                  <a:pt x="1760" y="485"/>
                </a:cubicBezTo>
                <a:cubicBezTo>
                  <a:pt x="1760" y="484"/>
                  <a:pt x="1761" y="483"/>
                  <a:pt x="1761" y="483"/>
                </a:cubicBezTo>
                <a:lnTo>
                  <a:pt x="1764" y="484"/>
                </a:lnTo>
                <a:lnTo>
                  <a:pt x="1764" y="482"/>
                </a:lnTo>
                <a:cubicBezTo>
                  <a:pt x="1764" y="481"/>
                  <a:pt x="1765" y="480"/>
                  <a:pt x="1766" y="478"/>
                </a:cubicBezTo>
                <a:cubicBezTo>
                  <a:pt x="1767" y="477"/>
                  <a:pt x="1768" y="476"/>
                  <a:pt x="1769" y="476"/>
                </a:cubicBezTo>
                <a:lnTo>
                  <a:pt x="1769" y="477"/>
                </a:lnTo>
                <a:cubicBezTo>
                  <a:pt x="1769" y="478"/>
                  <a:pt x="1768" y="480"/>
                  <a:pt x="1766" y="485"/>
                </a:cubicBezTo>
                <a:cubicBezTo>
                  <a:pt x="1765" y="489"/>
                  <a:pt x="1764" y="491"/>
                  <a:pt x="1763" y="491"/>
                </a:cubicBezTo>
                <a:cubicBezTo>
                  <a:pt x="1762" y="491"/>
                  <a:pt x="1761" y="493"/>
                  <a:pt x="1761" y="498"/>
                </a:cubicBezTo>
                <a:cubicBezTo>
                  <a:pt x="1760" y="502"/>
                  <a:pt x="1760" y="505"/>
                  <a:pt x="1758" y="507"/>
                </a:cubicBezTo>
                <a:cubicBezTo>
                  <a:pt x="1757" y="508"/>
                  <a:pt x="1756" y="511"/>
                  <a:pt x="1756" y="513"/>
                </a:cubicBezTo>
                <a:cubicBezTo>
                  <a:pt x="1756" y="515"/>
                  <a:pt x="1756" y="516"/>
                  <a:pt x="1757" y="516"/>
                </a:cubicBezTo>
                <a:close/>
                <a:moveTo>
                  <a:pt x="1531" y="757"/>
                </a:moveTo>
                <a:cubicBezTo>
                  <a:pt x="1530" y="757"/>
                  <a:pt x="1529" y="757"/>
                  <a:pt x="1529" y="757"/>
                </a:cubicBezTo>
                <a:lnTo>
                  <a:pt x="1530" y="756"/>
                </a:lnTo>
                <a:lnTo>
                  <a:pt x="1532" y="755"/>
                </a:lnTo>
                <a:cubicBezTo>
                  <a:pt x="1533" y="755"/>
                  <a:pt x="1534" y="756"/>
                  <a:pt x="1534" y="756"/>
                </a:cubicBezTo>
                <a:cubicBezTo>
                  <a:pt x="1534" y="757"/>
                  <a:pt x="1533" y="757"/>
                  <a:pt x="1531" y="757"/>
                </a:cubicBezTo>
                <a:close/>
                <a:moveTo>
                  <a:pt x="1626" y="707"/>
                </a:moveTo>
                <a:cubicBezTo>
                  <a:pt x="1624" y="707"/>
                  <a:pt x="1624" y="706"/>
                  <a:pt x="1624" y="705"/>
                </a:cubicBezTo>
                <a:cubicBezTo>
                  <a:pt x="1624" y="703"/>
                  <a:pt x="1624" y="703"/>
                  <a:pt x="1626" y="703"/>
                </a:cubicBezTo>
                <a:cubicBezTo>
                  <a:pt x="1627" y="703"/>
                  <a:pt x="1628" y="703"/>
                  <a:pt x="1628" y="705"/>
                </a:cubicBezTo>
                <a:cubicBezTo>
                  <a:pt x="1628" y="706"/>
                  <a:pt x="1627" y="707"/>
                  <a:pt x="1626" y="707"/>
                </a:cubicBezTo>
                <a:close/>
                <a:moveTo>
                  <a:pt x="1632" y="677"/>
                </a:moveTo>
                <a:lnTo>
                  <a:pt x="1631" y="676"/>
                </a:lnTo>
                <a:cubicBezTo>
                  <a:pt x="1631" y="675"/>
                  <a:pt x="1633" y="672"/>
                  <a:pt x="1636" y="667"/>
                </a:cubicBezTo>
                <a:lnTo>
                  <a:pt x="1638" y="666"/>
                </a:lnTo>
                <a:lnTo>
                  <a:pt x="1638" y="666"/>
                </a:lnTo>
                <a:cubicBezTo>
                  <a:pt x="1638" y="668"/>
                  <a:pt x="1637" y="670"/>
                  <a:pt x="1634" y="674"/>
                </a:cubicBezTo>
                <a:cubicBezTo>
                  <a:pt x="1633" y="676"/>
                  <a:pt x="1632" y="677"/>
                  <a:pt x="1632" y="677"/>
                </a:cubicBezTo>
                <a:close/>
                <a:moveTo>
                  <a:pt x="1716" y="515"/>
                </a:moveTo>
                <a:lnTo>
                  <a:pt x="1716" y="511"/>
                </a:lnTo>
                <a:cubicBezTo>
                  <a:pt x="1717" y="509"/>
                  <a:pt x="1718" y="508"/>
                  <a:pt x="1720" y="508"/>
                </a:cubicBezTo>
                <a:cubicBezTo>
                  <a:pt x="1720" y="508"/>
                  <a:pt x="1720" y="508"/>
                  <a:pt x="1720" y="509"/>
                </a:cubicBezTo>
                <a:cubicBezTo>
                  <a:pt x="1720" y="509"/>
                  <a:pt x="1720" y="510"/>
                  <a:pt x="1719" y="511"/>
                </a:cubicBezTo>
                <a:cubicBezTo>
                  <a:pt x="1717" y="514"/>
                  <a:pt x="1716" y="515"/>
                  <a:pt x="1716" y="515"/>
                </a:cubicBezTo>
                <a:close/>
                <a:moveTo>
                  <a:pt x="1727" y="494"/>
                </a:moveTo>
                <a:cubicBezTo>
                  <a:pt x="1726" y="494"/>
                  <a:pt x="1726" y="493"/>
                  <a:pt x="1726" y="490"/>
                </a:cubicBezTo>
                <a:cubicBezTo>
                  <a:pt x="1726" y="489"/>
                  <a:pt x="1726" y="488"/>
                  <a:pt x="1727" y="488"/>
                </a:cubicBezTo>
                <a:cubicBezTo>
                  <a:pt x="1728" y="488"/>
                  <a:pt x="1729" y="489"/>
                  <a:pt x="1729" y="491"/>
                </a:cubicBezTo>
                <a:lnTo>
                  <a:pt x="1729" y="492"/>
                </a:lnTo>
                <a:cubicBezTo>
                  <a:pt x="1728" y="493"/>
                  <a:pt x="1727" y="494"/>
                  <a:pt x="1727" y="494"/>
                </a:cubicBezTo>
                <a:close/>
                <a:moveTo>
                  <a:pt x="1712" y="531"/>
                </a:moveTo>
                <a:cubicBezTo>
                  <a:pt x="1711" y="531"/>
                  <a:pt x="1711" y="531"/>
                  <a:pt x="1711" y="530"/>
                </a:cubicBezTo>
                <a:cubicBezTo>
                  <a:pt x="1710" y="529"/>
                  <a:pt x="1710" y="529"/>
                  <a:pt x="1709" y="528"/>
                </a:cubicBezTo>
                <a:cubicBezTo>
                  <a:pt x="1709" y="528"/>
                  <a:pt x="1709" y="528"/>
                  <a:pt x="1709" y="527"/>
                </a:cubicBezTo>
                <a:cubicBezTo>
                  <a:pt x="1709" y="527"/>
                  <a:pt x="1709" y="526"/>
                  <a:pt x="1710" y="526"/>
                </a:cubicBezTo>
                <a:cubicBezTo>
                  <a:pt x="1712" y="526"/>
                  <a:pt x="1713" y="527"/>
                  <a:pt x="1713" y="528"/>
                </a:cubicBezTo>
                <a:cubicBezTo>
                  <a:pt x="1713" y="530"/>
                  <a:pt x="1712" y="531"/>
                  <a:pt x="1712" y="531"/>
                </a:cubicBezTo>
                <a:close/>
                <a:moveTo>
                  <a:pt x="1735" y="470"/>
                </a:moveTo>
                <a:cubicBezTo>
                  <a:pt x="1734" y="470"/>
                  <a:pt x="1734" y="470"/>
                  <a:pt x="1734" y="469"/>
                </a:cubicBezTo>
                <a:cubicBezTo>
                  <a:pt x="1734" y="468"/>
                  <a:pt x="1735" y="467"/>
                  <a:pt x="1736" y="466"/>
                </a:cubicBezTo>
                <a:cubicBezTo>
                  <a:pt x="1737" y="465"/>
                  <a:pt x="1738" y="464"/>
                  <a:pt x="1739" y="464"/>
                </a:cubicBezTo>
                <a:cubicBezTo>
                  <a:pt x="1739" y="464"/>
                  <a:pt x="1740" y="465"/>
                  <a:pt x="1740" y="465"/>
                </a:cubicBezTo>
                <a:cubicBezTo>
                  <a:pt x="1740" y="465"/>
                  <a:pt x="1740" y="466"/>
                  <a:pt x="1739" y="467"/>
                </a:cubicBezTo>
                <a:cubicBezTo>
                  <a:pt x="1739" y="468"/>
                  <a:pt x="1738" y="468"/>
                  <a:pt x="1738" y="469"/>
                </a:cubicBezTo>
                <a:cubicBezTo>
                  <a:pt x="1737" y="470"/>
                  <a:pt x="1736" y="470"/>
                  <a:pt x="1735" y="470"/>
                </a:cubicBezTo>
                <a:close/>
                <a:moveTo>
                  <a:pt x="1739" y="462"/>
                </a:moveTo>
                <a:cubicBezTo>
                  <a:pt x="1739" y="462"/>
                  <a:pt x="1738" y="461"/>
                  <a:pt x="1738" y="460"/>
                </a:cubicBezTo>
                <a:cubicBezTo>
                  <a:pt x="1738" y="458"/>
                  <a:pt x="1739" y="457"/>
                  <a:pt x="1741" y="457"/>
                </a:cubicBezTo>
                <a:cubicBezTo>
                  <a:pt x="1742" y="457"/>
                  <a:pt x="1742" y="457"/>
                  <a:pt x="1742" y="458"/>
                </a:cubicBezTo>
                <a:lnTo>
                  <a:pt x="1742" y="460"/>
                </a:lnTo>
                <a:cubicBezTo>
                  <a:pt x="1741" y="461"/>
                  <a:pt x="1740" y="462"/>
                  <a:pt x="1739" y="462"/>
                </a:cubicBezTo>
                <a:close/>
                <a:moveTo>
                  <a:pt x="1554" y="554"/>
                </a:moveTo>
                <a:cubicBezTo>
                  <a:pt x="1553" y="554"/>
                  <a:pt x="1552" y="553"/>
                  <a:pt x="1551" y="552"/>
                </a:cubicBezTo>
                <a:lnTo>
                  <a:pt x="1551" y="551"/>
                </a:lnTo>
                <a:cubicBezTo>
                  <a:pt x="1551" y="549"/>
                  <a:pt x="1552" y="544"/>
                  <a:pt x="1555" y="535"/>
                </a:cubicBezTo>
                <a:cubicBezTo>
                  <a:pt x="1558" y="527"/>
                  <a:pt x="1559" y="523"/>
                  <a:pt x="1559" y="521"/>
                </a:cubicBezTo>
                <a:cubicBezTo>
                  <a:pt x="1559" y="521"/>
                  <a:pt x="1560" y="519"/>
                  <a:pt x="1561" y="515"/>
                </a:cubicBezTo>
                <a:cubicBezTo>
                  <a:pt x="1570" y="497"/>
                  <a:pt x="1575" y="487"/>
                  <a:pt x="1577" y="487"/>
                </a:cubicBezTo>
                <a:cubicBezTo>
                  <a:pt x="1580" y="487"/>
                  <a:pt x="1582" y="491"/>
                  <a:pt x="1582" y="497"/>
                </a:cubicBezTo>
                <a:cubicBezTo>
                  <a:pt x="1582" y="501"/>
                  <a:pt x="1581" y="504"/>
                  <a:pt x="1580" y="508"/>
                </a:cubicBezTo>
                <a:lnTo>
                  <a:pt x="1577" y="506"/>
                </a:lnTo>
                <a:cubicBezTo>
                  <a:pt x="1575" y="506"/>
                  <a:pt x="1571" y="512"/>
                  <a:pt x="1565" y="526"/>
                </a:cubicBezTo>
                <a:cubicBezTo>
                  <a:pt x="1558" y="539"/>
                  <a:pt x="1555" y="547"/>
                  <a:pt x="1555" y="551"/>
                </a:cubicBezTo>
                <a:lnTo>
                  <a:pt x="1555" y="553"/>
                </a:lnTo>
                <a:cubicBezTo>
                  <a:pt x="1555" y="553"/>
                  <a:pt x="1555" y="554"/>
                  <a:pt x="1554" y="554"/>
                </a:cubicBezTo>
                <a:close/>
                <a:moveTo>
                  <a:pt x="2155" y="589"/>
                </a:moveTo>
                <a:cubicBezTo>
                  <a:pt x="2154" y="589"/>
                  <a:pt x="2154" y="589"/>
                  <a:pt x="2153" y="588"/>
                </a:cubicBezTo>
                <a:cubicBezTo>
                  <a:pt x="2153" y="587"/>
                  <a:pt x="2152" y="586"/>
                  <a:pt x="2152" y="585"/>
                </a:cubicBezTo>
                <a:cubicBezTo>
                  <a:pt x="2152" y="585"/>
                  <a:pt x="2151" y="584"/>
                  <a:pt x="2151" y="583"/>
                </a:cubicBezTo>
                <a:lnTo>
                  <a:pt x="2152" y="583"/>
                </a:lnTo>
                <a:lnTo>
                  <a:pt x="2154" y="585"/>
                </a:lnTo>
                <a:cubicBezTo>
                  <a:pt x="2155" y="586"/>
                  <a:pt x="2155" y="587"/>
                  <a:pt x="2155" y="588"/>
                </a:cubicBezTo>
                <a:lnTo>
                  <a:pt x="2155" y="589"/>
                </a:lnTo>
                <a:close/>
                <a:moveTo>
                  <a:pt x="1841" y="595"/>
                </a:moveTo>
                <a:cubicBezTo>
                  <a:pt x="1840" y="595"/>
                  <a:pt x="1840" y="595"/>
                  <a:pt x="1839" y="594"/>
                </a:cubicBezTo>
                <a:cubicBezTo>
                  <a:pt x="1838" y="593"/>
                  <a:pt x="1838" y="592"/>
                  <a:pt x="1838" y="591"/>
                </a:cubicBezTo>
                <a:cubicBezTo>
                  <a:pt x="1838" y="589"/>
                  <a:pt x="1838" y="587"/>
                  <a:pt x="1840" y="584"/>
                </a:cubicBezTo>
                <a:cubicBezTo>
                  <a:pt x="1841" y="582"/>
                  <a:pt x="1842" y="580"/>
                  <a:pt x="1842" y="580"/>
                </a:cubicBezTo>
                <a:lnTo>
                  <a:pt x="1844" y="586"/>
                </a:lnTo>
                <a:lnTo>
                  <a:pt x="1844" y="588"/>
                </a:lnTo>
                <a:cubicBezTo>
                  <a:pt x="1844" y="593"/>
                  <a:pt x="1843" y="595"/>
                  <a:pt x="1841" y="595"/>
                </a:cubicBezTo>
                <a:close/>
                <a:moveTo>
                  <a:pt x="1857" y="565"/>
                </a:moveTo>
                <a:cubicBezTo>
                  <a:pt x="1857" y="565"/>
                  <a:pt x="1856" y="564"/>
                  <a:pt x="1856" y="563"/>
                </a:cubicBezTo>
                <a:cubicBezTo>
                  <a:pt x="1855" y="563"/>
                  <a:pt x="1855" y="563"/>
                  <a:pt x="1854" y="562"/>
                </a:cubicBezTo>
                <a:lnTo>
                  <a:pt x="1854" y="561"/>
                </a:lnTo>
                <a:cubicBezTo>
                  <a:pt x="1854" y="560"/>
                  <a:pt x="1854" y="560"/>
                  <a:pt x="1855" y="560"/>
                </a:cubicBezTo>
                <a:cubicBezTo>
                  <a:pt x="1857" y="560"/>
                  <a:pt x="1858" y="561"/>
                  <a:pt x="1858" y="562"/>
                </a:cubicBezTo>
                <a:cubicBezTo>
                  <a:pt x="1858" y="564"/>
                  <a:pt x="1857" y="565"/>
                  <a:pt x="1857" y="565"/>
                </a:cubicBezTo>
                <a:close/>
                <a:moveTo>
                  <a:pt x="1862" y="747"/>
                </a:moveTo>
                <a:cubicBezTo>
                  <a:pt x="1858" y="747"/>
                  <a:pt x="1854" y="747"/>
                  <a:pt x="1850" y="746"/>
                </a:cubicBezTo>
                <a:cubicBezTo>
                  <a:pt x="1838" y="743"/>
                  <a:pt x="1830" y="738"/>
                  <a:pt x="1825" y="732"/>
                </a:cubicBezTo>
                <a:cubicBezTo>
                  <a:pt x="1823" y="729"/>
                  <a:pt x="1821" y="728"/>
                  <a:pt x="1819" y="728"/>
                </a:cubicBezTo>
                <a:cubicBezTo>
                  <a:pt x="1817" y="728"/>
                  <a:pt x="1815" y="726"/>
                  <a:pt x="1812" y="722"/>
                </a:cubicBezTo>
                <a:cubicBezTo>
                  <a:pt x="1809" y="718"/>
                  <a:pt x="1806" y="714"/>
                  <a:pt x="1803" y="710"/>
                </a:cubicBezTo>
                <a:cubicBezTo>
                  <a:pt x="1801" y="705"/>
                  <a:pt x="1800" y="702"/>
                  <a:pt x="1800" y="699"/>
                </a:cubicBezTo>
                <a:lnTo>
                  <a:pt x="1801" y="696"/>
                </a:lnTo>
                <a:cubicBezTo>
                  <a:pt x="1801" y="696"/>
                  <a:pt x="1800" y="695"/>
                  <a:pt x="1799" y="695"/>
                </a:cubicBezTo>
                <a:cubicBezTo>
                  <a:pt x="1798" y="695"/>
                  <a:pt x="1797" y="689"/>
                  <a:pt x="1797" y="678"/>
                </a:cubicBezTo>
                <a:cubicBezTo>
                  <a:pt x="1797" y="667"/>
                  <a:pt x="1798" y="654"/>
                  <a:pt x="1799" y="638"/>
                </a:cubicBezTo>
                <a:cubicBezTo>
                  <a:pt x="1801" y="623"/>
                  <a:pt x="1803" y="612"/>
                  <a:pt x="1805" y="604"/>
                </a:cubicBezTo>
                <a:cubicBezTo>
                  <a:pt x="1806" y="599"/>
                  <a:pt x="1807" y="595"/>
                  <a:pt x="1807" y="592"/>
                </a:cubicBezTo>
                <a:lnTo>
                  <a:pt x="1806" y="589"/>
                </a:lnTo>
                <a:cubicBezTo>
                  <a:pt x="1806" y="588"/>
                  <a:pt x="1807" y="586"/>
                  <a:pt x="1808" y="585"/>
                </a:cubicBezTo>
                <a:cubicBezTo>
                  <a:pt x="1810" y="583"/>
                  <a:pt x="1810" y="581"/>
                  <a:pt x="1810" y="579"/>
                </a:cubicBezTo>
                <a:lnTo>
                  <a:pt x="1810" y="577"/>
                </a:lnTo>
                <a:cubicBezTo>
                  <a:pt x="1810" y="577"/>
                  <a:pt x="1810" y="576"/>
                  <a:pt x="1811" y="576"/>
                </a:cubicBezTo>
                <a:lnTo>
                  <a:pt x="1813" y="577"/>
                </a:lnTo>
                <a:cubicBezTo>
                  <a:pt x="1813" y="577"/>
                  <a:pt x="1813" y="577"/>
                  <a:pt x="1813" y="576"/>
                </a:cubicBezTo>
                <a:lnTo>
                  <a:pt x="1813" y="574"/>
                </a:lnTo>
                <a:cubicBezTo>
                  <a:pt x="1813" y="572"/>
                  <a:pt x="1815" y="566"/>
                  <a:pt x="1820" y="557"/>
                </a:cubicBezTo>
                <a:cubicBezTo>
                  <a:pt x="1824" y="549"/>
                  <a:pt x="1829" y="541"/>
                  <a:pt x="1834" y="533"/>
                </a:cubicBezTo>
                <a:cubicBezTo>
                  <a:pt x="1843" y="521"/>
                  <a:pt x="1850" y="515"/>
                  <a:pt x="1856" y="515"/>
                </a:cubicBezTo>
                <a:cubicBezTo>
                  <a:pt x="1858" y="515"/>
                  <a:pt x="1859" y="516"/>
                  <a:pt x="1860" y="516"/>
                </a:cubicBezTo>
                <a:cubicBezTo>
                  <a:pt x="1863" y="517"/>
                  <a:pt x="1867" y="518"/>
                  <a:pt x="1871" y="519"/>
                </a:cubicBezTo>
                <a:cubicBezTo>
                  <a:pt x="1875" y="520"/>
                  <a:pt x="1877" y="522"/>
                  <a:pt x="1877" y="523"/>
                </a:cubicBezTo>
                <a:lnTo>
                  <a:pt x="1876" y="529"/>
                </a:lnTo>
                <a:cubicBezTo>
                  <a:pt x="1876" y="531"/>
                  <a:pt x="1877" y="533"/>
                  <a:pt x="1879" y="533"/>
                </a:cubicBezTo>
                <a:cubicBezTo>
                  <a:pt x="1880" y="534"/>
                  <a:pt x="1881" y="535"/>
                  <a:pt x="1881" y="537"/>
                </a:cubicBezTo>
                <a:lnTo>
                  <a:pt x="1881" y="541"/>
                </a:lnTo>
                <a:cubicBezTo>
                  <a:pt x="1881" y="541"/>
                  <a:pt x="1880" y="540"/>
                  <a:pt x="1880" y="538"/>
                </a:cubicBezTo>
                <a:cubicBezTo>
                  <a:pt x="1879" y="536"/>
                  <a:pt x="1879" y="535"/>
                  <a:pt x="1878" y="535"/>
                </a:cubicBezTo>
                <a:cubicBezTo>
                  <a:pt x="1876" y="535"/>
                  <a:pt x="1875" y="537"/>
                  <a:pt x="1874" y="541"/>
                </a:cubicBezTo>
                <a:cubicBezTo>
                  <a:pt x="1873" y="546"/>
                  <a:pt x="1872" y="548"/>
                  <a:pt x="1872" y="548"/>
                </a:cubicBezTo>
                <a:lnTo>
                  <a:pt x="1870" y="547"/>
                </a:lnTo>
                <a:cubicBezTo>
                  <a:pt x="1869" y="547"/>
                  <a:pt x="1869" y="547"/>
                  <a:pt x="1868" y="548"/>
                </a:cubicBezTo>
                <a:cubicBezTo>
                  <a:pt x="1867" y="548"/>
                  <a:pt x="1867" y="549"/>
                  <a:pt x="1867" y="550"/>
                </a:cubicBezTo>
                <a:cubicBezTo>
                  <a:pt x="1867" y="550"/>
                  <a:pt x="1867" y="551"/>
                  <a:pt x="1867" y="551"/>
                </a:cubicBezTo>
                <a:lnTo>
                  <a:pt x="1870" y="550"/>
                </a:lnTo>
                <a:cubicBezTo>
                  <a:pt x="1870" y="550"/>
                  <a:pt x="1870" y="550"/>
                  <a:pt x="1870" y="551"/>
                </a:cubicBezTo>
                <a:cubicBezTo>
                  <a:pt x="1870" y="553"/>
                  <a:pt x="1870" y="555"/>
                  <a:pt x="1868" y="558"/>
                </a:cubicBezTo>
                <a:lnTo>
                  <a:pt x="1867" y="560"/>
                </a:lnTo>
                <a:lnTo>
                  <a:pt x="1868" y="554"/>
                </a:lnTo>
                <a:lnTo>
                  <a:pt x="1868" y="553"/>
                </a:lnTo>
                <a:cubicBezTo>
                  <a:pt x="1867" y="553"/>
                  <a:pt x="1866" y="554"/>
                  <a:pt x="1865" y="556"/>
                </a:cubicBezTo>
                <a:cubicBezTo>
                  <a:pt x="1863" y="558"/>
                  <a:pt x="1862" y="560"/>
                  <a:pt x="1860" y="560"/>
                </a:cubicBezTo>
                <a:cubicBezTo>
                  <a:pt x="1857" y="560"/>
                  <a:pt x="1855" y="556"/>
                  <a:pt x="1855" y="550"/>
                </a:cubicBezTo>
                <a:lnTo>
                  <a:pt x="1855" y="544"/>
                </a:lnTo>
                <a:cubicBezTo>
                  <a:pt x="1855" y="542"/>
                  <a:pt x="1855" y="541"/>
                  <a:pt x="1854" y="541"/>
                </a:cubicBezTo>
                <a:cubicBezTo>
                  <a:pt x="1853" y="541"/>
                  <a:pt x="1853" y="541"/>
                  <a:pt x="1853" y="541"/>
                </a:cubicBezTo>
                <a:cubicBezTo>
                  <a:pt x="1852" y="542"/>
                  <a:pt x="1852" y="543"/>
                  <a:pt x="1852" y="544"/>
                </a:cubicBezTo>
                <a:lnTo>
                  <a:pt x="1852" y="548"/>
                </a:lnTo>
                <a:cubicBezTo>
                  <a:pt x="1852" y="549"/>
                  <a:pt x="1852" y="551"/>
                  <a:pt x="1851" y="553"/>
                </a:cubicBezTo>
                <a:cubicBezTo>
                  <a:pt x="1850" y="556"/>
                  <a:pt x="1849" y="557"/>
                  <a:pt x="1848" y="559"/>
                </a:cubicBezTo>
                <a:cubicBezTo>
                  <a:pt x="1847" y="560"/>
                  <a:pt x="1846" y="561"/>
                  <a:pt x="1845" y="561"/>
                </a:cubicBezTo>
                <a:cubicBezTo>
                  <a:pt x="1845" y="561"/>
                  <a:pt x="1845" y="561"/>
                  <a:pt x="1844" y="561"/>
                </a:cubicBezTo>
                <a:lnTo>
                  <a:pt x="1844" y="560"/>
                </a:lnTo>
                <a:lnTo>
                  <a:pt x="1844" y="562"/>
                </a:lnTo>
                <a:cubicBezTo>
                  <a:pt x="1844" y="564"/>
                  <a:pt x="1841" y="571"/>
                  <a:pt x="1836" y="583"/>
                </a:cubicBezTo>
                <a:cubicBezTo>
                  <a:pt x="1829" y="598"/>
                  <a:pt x="1826" y="607"/>
                  <a:pt x="1826" y="611"/>
                </a:cubicBezTo>
                <a:lnTo>
                  <a:pt x="1826" y="612"/>
                </a:lnTo>
                <a:cubicBezTo>
                  <a:pt x="1826" y="612"/>
                  <a:pt x="1827" y="611"/>
                  <a:pt x="1827" y="610"/>
                </a:cubicBezTo>
                <a:cubicBezTo>
                  <a:pt x="1827" y="610"/>
                  <a:pt x="1828" y="609"/>
                  <a:pt x="1828" y="609"/>
                </a:cubicBezTo>
                <a:lnTo>
                  <a:pt x="1830" y="610"/>
                </a:lnTo>
                <a:lnTo>
                  <a:pt x="1831" y="609"/>
                </a:lnTo>
                <a:cubicBezTo>
                  <a:pt x="1831" y="608"/>
                  <a:pt x="1831" y="608"/>
                  <a:pt x="1830" y="607"/>
                </a:cubicBezTo>
                <a:cubicBezTo>
                  <a:pt x="1830" y="606"/>
                  <a:pt x="1830" y="605"/>
                  <a:pt x="1830" y="604"/>
                </a:cubicBezTo>
                <a:cubicBezTo>
                  <a:pt x="1830" y="602"/>
                  <a:pt x="1830" y="600"/>
                  <a:pt x="1832" y="598"/>
                </a:cubicBezTo>
                <a:cubicBezTo>
                  <a:pt x="1833" y="597"/>
                  <a:pt x="1834" y="596"/>
                  <a:pt x="1835" y="596"/>
                </a:cubicBezTo>
                <a:cubicBezTo>
                  <a:pt x="1836" y="596"/>
                  <a:pt x="1837" y="596"/>
                  <a:pt x="1837" y="597"/>
                </a:cubicBezTo>
                <a:cubicBezTo>
                  <a:pt x="1838" y="597"/>
                  <a:pt x="1839" y="598"/>
                  <a:pt x="1840" y="599"/>
                </a:cubicBezTo>
                <a:cubicBezTo>
                  <a:pt x="1840" y="600"/>
                  <a:pt x="1840" y="601"/>
                  <a:pt x="1840" y="602"/>
                </a:cubicBezTo>
                <a:cubicBezTo>
                  <a:pt x="1840" y="603"/>
                  <a:pt x="1840" y="603"/>
                  <a:pt x="1840" y="603"/>
                </a:cubicBezTo>
                <a:cubicBezTo>
                  <a:pt x="1840" y="603"/>
                  <a:pt x="1839" y="602"/>
                  <a:pt x="1837" y="600"/>
                </a:cubicBezTo>
                <a:lnTo>
                  <a:pt x="1835" y="597"/>
                </a:lnTo>
                <a:lnTo>
                  <a:pt x="1834" y="597"/>
                </a:lnTo>
                <a:cubicBezTo>
                  <a:pt x="1834" y="598"/>
                  <a:pt x="1835" y="599"/>
                  <a:pt x="1836" y="602"/>
                </a:cubicBezTo>
                <a:cubicBezTo>
                  <a:pt x="1837" y="604"/>
                  <a:pt x="1837" y="605"/>
                  <a:pt x="1837" y="606"/>
                </a:cubicBezTo>
                <a:cubicBezTo>
                  <a:pt x="1837" y="607"/>
                  <a:pt x="1837" y="607"/>
                  <a:pt x="1837" y="607"/>
                </a:cubicBezTo>
                <a:lnTo>
                  <a:pt x="1835" y="606"/>
                </a:lnTo>
                <a:cubicBezTo>
                  <a:pt x="1834" y="606"/>
                  <a:pt x="1834" y="607"/>
                  <a:pt x="1834" y="607"/>
                </a:cubicBezTo>
                <a:lnTo>
                  <a:pt x="1836" y="614"/>
                </a:lnTo>
                <a:cubicBezTo>
                  <a:pt x="1836" y="614"/>
                  <a:pt x="1835" y="614"/>
                  <a:pt x="1835" y="614"/>
                </a:cubicBezTo>
                <a:lnTo>
                  <a:pt x="1832" y="613"/>
                </a:lnTo>
                <a:cubicBezTo>
                  <a:pt x="1832" y="613"/>
                  <a:pt x="1832" y="614"/>
                  <a:pt x="1832" y="614"/>
                </a:cubicBezTo>
                <a:cubicBezTo>
                  <a:pt x="1832" y="615"/>
                  <a:pt x="1832" y="616"/>
                  <a:pt x="1832" y="617"/>
                </a:cubicBezTo>
                <a:cubicBezTo>
                  <a:pt x="1833" y="618"/>
                  <a:pt x="1833" y="619"/>
                  <a:pt x="1833" y="620"/>
                </a:cubicBezTo>
                <a:cubicBezTo>
                  <a:pt x="1833" y="622"/>
                  <a:pt x="1832" y="623"/>
                  <a:pt x="1832" y="623"/>
                </a:cubicBezTo>
                <a:cubicBezTo>
                  <a:pt x="1831" y="624"/>
                  <a:pt x="1830" y="625"/>
                  <a:pt x="1830" y="625"/>
                </a:cubicBezTo>
                <a:lnTo>
                  <a:pt x="1831" y="628"/>
                </a:lnTo>
                <a:cubicBezTo>
                  <a:pt x="1831" y="628"/>
                  <a:pt x="1831" y="628"/>
                  <a:pt x="1831" y="628"/>
                </a:cubicBezTo>
                <a:lnTo>
                  <a:pt x="1828" y="627"/>
                </a:lnTo>
                <a:cubicBezTo>
                  <a:pt x="1828" y="627"/>
                  <a:pt x="1827" y="628"/>
                  <a:pt x="1827" y="629"/>
                </a:cubicBezTo>
                <a:lnTo>
                  <a:pt x="1827" y="634"/>
                </a:lnTo>
                <a:cubicBezTo>
                  <a:pt x="1827" y="636"/>
                  <a:pt x="1827" y="638"/>
                  <a:pt x="1827" y="639"/>
                </a:cubicBezTo>
                <a:cubicBezTo>
                  <a:pt x="1825" y="642"/>
                  <a:pt x="1824" y="648"/>
                  <a:pt x="1823" y="657"/>
                </a:cubicBezTo>
                <a:cubicBezTo>
                  <a:pt x="1823" y="666"/>
                  <a:pt x="1822" y="674"/>
                  <a:pt x="1822" y="683"/>
                </a:cubicBezTo>
                <a:cubicBezTo>
                  <a:pt x="1822" y="690"/>
                  <a:pt x="1823" y="696"/>
                  <a:pt x="1823" y="701"/>
                </a:cubicBezTo>
                <a:cubicBezTo>
                  <a:pt x="1825" y="711"/>
                  <a:pt x="1832" y="716"/>
                  <a:pt x="1845" y="716"/>
                </a:cubicBezTo>
                <a:cubicBezTo>
                  <a:pt x="1873" y="716"/>
                  <a:pt x="1933" y="689"/>
                  <a:pt x="2024" y="637"/>
                </a:cubicBezTo>
                <a:lnTo>
                  <a:pt x="2124" y="578"/>
                </a:lnTo>
                <a:cubicBezTo>
                  <a:pt x="2149" y="563"/>
                  <a:pt x="2163" y="555"/>
                  <a:pt x="2167" y="555"/>
                </a:cubicBezTo>
                <a:lnTo>
                  <a:pt x="2167" y="555"/>
                </a:lnTo>
                <a:cubicBezTo>
                  <a:pt x="2168" y="555"/>
                  <a:pt x="2168" y="555"/>
                  <a:pt x="2168" y="554"/>
                </a:cubicBezTo>
                <a:cubicBezTo>
                  <a:pt x="2168" y="553"/>
                  <a:pt x="2169" y="552"/>
                  <a:pt x="2170" y="551"/>
                </a:cubicBezTo>
                <a:cubicBezTo>
                  <a:pt x="2170" y="551"/>
                  <a:pt x="2171" y="551"/>
                  <a:pt x="2171" y="551"/>
                </a:cubicBezTo>
                <a:cubicBezTo>
                  <a:pt x="2173" y="551"/>
                  <a:pt x="2175" y="550"/>
                  <a:pt x="2175" y="549"/>
                </a:cubicBezTo>
                <a:cubicBezTo>
                  <a:pt x="2175" y="548"/>
                  <a:pt x="2175" y="547"/>
                  <a:pt x="2176" y="547"/>
                </a:cubicBezTo>
                <a:lnTo>
                  <a:pt x="2178" y="548"/>
                </a:lnTo>
                <a:cubicBezTo>
                  <a:pt x="2179" y="548"/>
                  <a:pt x="2179" y="547"/>
                  <a:pt x="2179" y="546"/>
                </a:cubicBezTo>
                <a:cubicBezTo>
                  <a:pt x="2179" y="545"/>
                  <a:pt x="2180" y="545"/>
                  <a:pt x="2182" y="545"/>
                </a:cubicBezTo>
                <a:lnTo>
                  <a:pt x="2183" y="545"/>
                </a:lnTo>
                <a:cubicBezTo>
                  <a:pt x="2185" y="545"/>
                  <a:pt x="2188" y="543"/>
                  <a:pt x="2192" y="540"/>
                </a:cubicBezTo>
                <a:lnTo>
                  <a:pt x="2192" y="539"/>
                </a:lnTo>
                <a:cubicBezTo>
                  <a:pt x="2194" y="539"/>
                  <a:pt x="2195" y="540"/>
                  <a:pt x="2197" y="542"/>
                </a:cubicBezTo>
                <a:cubicBezTo>
                  <a:pt x="2199" y="544"/>
                  <a:pt x="2201" y="546"/>
                  <a:pt x="2203" y="548"/>
                </a:cubicBezTo>
                <a:cubicBezTo>
                  <a:pt x="2205" y="550"/>
                  <a:pt x="2205" y="551"/>
                  <a:pt x="2205" y="552"/>
                </a:cubicBezTo>
                <a:cubicBezTo>
                  <a:pt x="2205" y="555"/>
                  <a:pt x="2200" y="560"/>
                  <a:pt x="2188" y="568"/>
                </a:cubicBezTo>
                <a:cubicBezTo>
                  <a:pt x="2185" y="570"/>
                  <a:pt x="2182" y="571"/>
                  <a:pt x="2181" y="571"/>
                </a:cubicBezTo>
                <a:cubicBezTo>
                  <a:pt x="2180" y="571"/>
                  <a:pt x="2180" y="571"/>
                  <a:pt x="2180" y="570"/>
                </a:cubicBezTo>
                <a:cubicBezTo>
                  <a:pt x="2180" y="569"/>
                  <a:pt x="2180" y="568"/>
                  <a:pt x="2181" y="568"/>
                </a:cubicBezTo>
                <a:lnTo>
                  <a:pt x="2182" y="568"/>
                </a:lnTo>
                <a:cubicBezTo>
                  <a:pt x="2183" y="568"/>
                  <a:pt x="2183" y="568"/>
                  <a:pt x="2183" y="567"/>
                </a:cubicBezTo>
                <a:cubicBezTo>
                  <a:pt x="2183" y="566"/>
                  <a:pt x="2184" y="566"/>
                  <a:pt x="2185" y="565"/>
                </a:cubicBezTo>
                <a:cubicBezTo>
                  <a:pt x="2187" y="564"/>
                  <a:pt x="2189" y="563"/>
                  <a:pt x="2191" y="562"/>
                </a:cubicBezTo>
                <a:cubicBezTo>
                  <a:pt x="2193" y="561"/>
                  <a:pt x="2195" y="561"/>
                  <a:pt x="2196" y="559"/>
                </a:cubicBezTo>
                <a:cubicBezTo>
                  <a:pt x="2197" y="558"/>
                  <a:pt x="2198" y="557"/>
                  <a:pt x="2198" y="556"/>
                </a:cubicBezTo>
                <a:cubicBezTo>
                  <a:pt x="2198" y="554"/>
                  <a:pt x="2198" y="553"/>
                  <a:pt x="2197" y="553"/>
                </a:cubicBezTo>
                <a:cubicBezTo>
                  <a:pt x="2196" y="553"/>
                  <a:pt x="2195" y="554"/>
                  <a:pt x="2192" y="557"/>
                </a:cubicBezTo>
                <a:cubicBezTo>
                  <a:pt x="2190" y="560"/>
                  <a:pt x="2188" y="561"/>
                  <a:pt x="2186" y="561"/>
                </a:cubicBezTo>
                <a:lnTo>
                  <a:pt x="2185" y="561"/>
                </a:lnTo>
                <a:cubicBezTo>
                  <a:pt x="2184" y="561"/>
                  <a:pt x="2182" y="562"/>
                  <a:pt x="2181" y="564"/>
                </a:cubicBezTo>
                <a:cubicBezTo>
                  <a:pt x="2179" y="566"/>
                  <a:pt x="2176" y="568"/>
                  <a:pt x="2173" y="569"/>
                </a:cubicBezTo>
                <a:cubicBezTo>
                  <a:pt x="2170" y="571"/>
                  <a:pt x="2168" y="571"/>
                  <a:pt x="2166" y="571"/>
                </a:cubicBezTo>
                <a:lnTo>
                  <a:pt x="2164" y="571"/>
                </a:lnTo>
                <a:cubicBezTo>
                  <a:pt x="2163" y="571"/>
                  <a:pt x="2163" y="571"/>
                  <a:pt x="2162" y="573"/>
                </a:cubicBezTo>
                <a:cubicBezTo>
                  <a:pt x="2161" y="574"/>
                  <a:pt x="2160" y="576"/>
                  <a:pt x="2160" y="578"/>
                </a:cubicBezTo>
                <a:cubicBezTo>
                  <a:pt x="2159" y="580"/>
                  <a:pt x="2159" y="581"/>
                  <a:pt x="2159" y="583"/>
                </a:cubicBezTo>
                <a:lnTo>
                  <a:pt x="2159" y="586"/>
                </a:lnTo>
                <a:lnTo>
                  <a:pt x="2158" y="585"/>
                </a:lnTo>
                <a:cubicBezTo>
                  <a:pt x="2157" y="582"/>
                  <a:pt x="2155" y="580"/>
                  <a:pt x="2153" y="580"/>
                </a:cubicBezTo>
                <a:cubicBezTo>
                  <a:pt x="2152" y="580"/>
                  <a:pt x="2151" y="581"/>
                  <a:pt x="2150" y="583"/>
                </a:cubicBezTo>
                <a:cubicBezTo>
                  <a:pt x="2148" y="585"/>
                  <a:pt x="2148" y="586"/>
                  <a:pt x="2148" y="588"/>
                </a:cubicBezTo>
                <a:lnTo>
                  <a:pt x="2148" y="588"/>
                </a:lnTo>
                <a:cubicBezTo>
                  <a:pt x="2148" y="589"/>
                  <a:pt x="2148" y="589"/>
                  <a:pt x="2147" y="589"/>
                </a:cubicBezTo>
                <a:lnTo>
                  <a:pt x="2144" y="588"/>
                </a:lnTo>
                <a:cubicBezTo>
                  <a:pt x="2143" y="588"/>
                  <a:pt x="2142" y="590"/>
                  <a:pt x="2142" y="593"/>
                </a:cubicBezTo>
                <a:cubicBezTo>
                  <a:pt x="2142" y="596"/>
                  <a:pt x="2141" y="598"/>
                  <a:pt x="2140" y="598"/>
                </a:cubicBezTo>
                <a:cubicBezTo>
                  <a:pt x="2138" y="599"/>
                  <a:pt x="2137" y="600"/>
                  <a:pt x="2137" y="601"/>
                </a:cubicBezTo>
                <a:lnTo>
                  <a:pt x="2138" y="603"/>
                </a:lnTo>
                <a:lnTo>
                  <a:pt x="2137" y="604"/>
                </a:lnTo>
                <a:lnTo>
                  <a:pt x="2137" y="603"/>
                </a:lnTo>
                <a:cubicBezTo>
                  <a:pt x="2137" y="603"/>
                  <a:pt x="2136" y="603"/>
                  <a:pt x="2135" y="603"/>
                </a:cubicBezTo>
                <a:cubicBezTo>
                  <a:pt x="2134" y="603"/>
                  <a:pt x="2133" y="603"/>
                  <a:pt x="2132" y="604"/>
                </a:cubicBezTo>
                <a:cubicBezTo>
                  <a:pt x="2131" y="605"/>
                  <a:pt x="2130" y="605"/>
                  <a:pt x="2130" y="605"/>
                </a:cubicBezTo>
                <a:cubicBezTo>
                  <a:pt x="2129" y="605"/>
                  <a:pt x="2129" y="605"/>
                  <a:pt x="2129" y="604"/>
                </a:cubicBezTo>
                <a:cubicBezTo>
                  <a:pt x="2129" y="603"/>
                  <a:pt x="2130" y="601"/>
                  <a:pt x="2131" y="601"/>
                </a:cubicBezTo>
                <a:cubicBezTo>
                  <a:pt x="2132" y="600"/>
                  <a:pt x="2133" y="600"/>
                  <a:pt x="2133" y="599"/>
                </a:cubicBezTo>
                <a:cubicBezTo>
                  <a:pt x="2133" y="598"/>
                  <a:pt x="2133" y="596"/>
                  <a:pt x="2132" y="595"/>
                </a:cubicBezTo>
                <a:cubicBezTo>
                  <a:pt x="2132" y="593"/>
                  <a:pt x="2131" y="593"/>
                  <a:pt x="2131" y="593"/>
                </a:cubicBezTo>
                <a:cubicBezTo>
                  <a:pt x="2130" y="593"/>
                  <a:pt x="2130" y="593"/>
                  <a:pt x="2129" y="595"/>
                </a:cubicBezTo>
                <a:cubicBezTo>
                  <a:pt x="2126" y="598"/>
                  <a:pt x="2116" y="603"/>
                  <a:pt x="2100" y="612"/>
                </a:cubicBezTo>
                <a:cubicBezTo>
                  <a:pt x="2084" y="620"/>
                  <a:pt x="2076" y="625"/>
                  <a:pt x="2076" y="627"/>
                </a:cubicBezTo>
                <a:cubicBezTo>
                  <a:pt x="2076" y="628"/>
                  <a:pt x="2075" y="628"/>
                  <a:pt x="2073" y="628"/>
                </a:cubicBezTo>
                <a:cubicBezTo>
                  <a:pt x="2071" y="628"/>
                  <a:pt x="2070" y="629"/>
                  <a:pt x="2070" y="630"/>
                </a:cubicBezTo>
                <a:lnTo>
                  <a:pt x="2070" y="635"/>
                </a:lnTo>
                <a:cubicBezTo>
                  <a:pt x="2070" y="635"/>
                  <a:pt x="2070" y="634"/>
                  <a:pt x="2069" y="634"/>
                </a:cubicBezTo>
                <a:cubicBezTo>
                  <a:pt x="2068" y="633"/>
                  <a:pt x="2067" y="632"/>
                  <a:pt x="2066" y="632"/>
                </a:cubicBezTo>
                <a:cubicBezTo>
                  <a:pt x="2064" y="632"/>
                  <a:pt x="2062" y="633"/>
                  <a:pt x="2060" y="634"/>
                </a:cubicBezTo>
                <a:cubicBezTo>
                  <a:pt x="2057" y="635"/>
                  <a:pt x="2055" y="636"/>
                  <a:pt x="2053" y="638"/>
                </a:cubicBezTo>
                <a:cubicBezTo>
                  <a:pt x="2051" y="639"/>
                  <a:pt x="2051" y="641"/>
                  <a:pt x="2051" y="642"/>
                </a:cubicBezTo>
                <a:lnTo>
                  <a:pt x="2051" y="643"/>
                </a:lnTo>
                <a:lnTo>
                  <a:pt x="2050" y="646"/>
                </a:lnTo>
                <a:cubicBezTo>
                  <a:pt x="2048" y="648"/>
                  <a:pt x="2046" y="650"/>
                  <a:pt x="2044" y="650"/>
                </a:cubicBezTo>
                <a:cubicBezTo>
                  <a:pt x="2043" y="650"/>
                  <a:pt x="2043" y="649"/>
                  <a:pt x="2043" y="649"/>
                </a:cubicBezTo>
                <a:cubicBezTo>
                  <a:pt x="2043" y="648"/>
                  <a:pt x="2044" y="647"/>
                  <a:pt x="2045" y="646"/>
                </a:cubicBezTo>
                <a:cubicBezTo>
                  <a:pt x="2046" y="644"/>
                  <a:pt x="2046" y="643"/>
                  <a:pt x="2046" y="643"/>
                </a:cubicBezTo>
                <a:lnTo>
                  <a:pt x="2046" y="643"/>
                </a:lnTo>
                <a:cubicBezTo>
                  <a:pt x="2045" y="643"/>
                  <a:pt x="2042" y="644"/>
                  <a:pt x="2036" y="648"/>
                </a:cubicBezTo>
                <a:cubicBezTo>
                  <a:pt x="2031" y="652"/>
                  <a:pt x="2028" y="654"/>
                  <a:pt x="2028" y="655"/>
                </a:cubicBezTo>
                <a:cubicBezTo>
                  <a:pt x="2028" y="657"/>
                  <a:pt x="2028" y="658"/>
                  <a:pt x="2027" y="659"/>
                </a:cubicBezTo>
                <a:cubicBezTo>
                  <a:pt x="2026" y="660"/>
                  <a:pt x="2025" y="661"/>
                  <a:pt x="2023" y="661"/>
                </a:cubicBezTo>
                <a:cubicBezTo>
                  <a:pt x="2023" y="661"/>
                  <a:pt x="2023" y="660"/>
                  <a:pt x="2025" y="659"/>
                </a:cubicBezTo>
                <a:cubicBezTo>
                  <a:pt x="2026" y="658"/>
                  <a:pt x="2027" y="657"/>
                  <a:pt x="2027" y="656"/>
                </a:cubicBezTo>
                <a:cubicBezTo>
                  <a:pt x="2027" y="655"/>
                  <a:pt x="2026" y="655"/>
                  <a:pt x="2026" y="655"/>
                </a:cubicBezTo>
                <a:cubicBezTo>
                  <a:pt x="2024" y="655"/>
                  <a:pt x="2023" y="655"/>
                  <a:pt x="2021" y="657"/>
                </a:cubicBezTo>
                <a:cubicBezTo>
                  <a:pt x="2019" y="658"/>
                  <a:pt x="2018" y="659"/>
                  <a:pt x="2018" y="660"/>
                </a:cubicBezTo>
                <a:cubicBezTo>
                  <a:pt x="2018" y="661"/>
                  <a:pt x="2018" y="661"/>
                  <a:pt x="2019" y="661"/>
                </a:cubicBezTo>
                <a:cubicBezTo>
                  <a:pt x="2019" y="661"/>
                  <a:pt x="2019" y="661"/>
                  <a:pt x="2019" y="662"/>
                </a:cubicBezTo>
                <a:lnTo>
                  <a:pt x="2019" y="665"/>
                </a:lnTo>
                <a:cubicBezTo>
                  <a:pt x="2019" y="666"/>
                  <a:pt x="2020" y="668"/>
                  <a:pt x="2021" y="669"/>
                </a:cubicBezTo>
                <a:cubicBezTo>
                  <a:pt x="2023" y="671"/>
                  <a:pt x="2023" y="672"/>
                  <a:pt x="2023" y="673"/>
                </a:cubicBezTo>
                <a:cubicBezTo>
                  <a:pt x="2023" y="674"/>
                  <a:pt x="2022" y="674"/>
                  <a:pt x="2020" y="674"/>
                </a:cubicBezTo>
                <a:cubicBezTo>
                  <a:pt x="2018" y="674"/>
                  <a:pt x="2013" y="677"/>
                  <a:pt x="2004" y="681"/>
                </a:cubicBezTo>
                <a:cubicBezTo>
                  <a:pt x="1996" y="686"/>
                  <a:pt x="1992" y="689"/>
                  <a:pt x="1992" y="690"/>
                </a:cubicBezTo>
                <a:cubicBezTo>
                  <a:pt x="1992" y="691"/>
                  <a:pt x="1991" y="692"/>
                  <a:pt x="1989" y="692"/>
                </a:cubicBezTo>
                <a:lnTo>
                  <a:pt x="1986" y="692"/>
                </a:lnTo>
                <a:cubicBezTo>
                  <a:pt x="1982" y="692"/>
                  <a:pt x="1981" y="692"/>
                  <a:pt x="1981" y="693"/>
                </a:cubicBezTo>
                <a:cubicBezTo>
                  <a:pt x="1981" y="694"/>
                  <a:pt x="1981" y="694"/>
                  <a:pt x="1980" y="694"/>
                </a:cubicBezTo>
                <a:lnTo>
                  <a:pt x="1978" y="693"/>
                </a:lnTo>
                <a:cubicBezTo>
                  <a:pt x="1977" y="693"/>
                  <a:pt x="1977" y="693"/>
                  <a:pt x="1977" y="694"/>
                </a:cubicBezTo>
                <a:cubicBezTo>
                  <a:pt x="1977" y="695"/>
                  <a:pt x="1978" y="696"/>
                  <a:pt x="1978" y="697"/>
                </a:cubicBezTo>
                <a:cubicBezTo>
                  <a:pt x="1979" y="699"/>
                  <a:pt x="1979" y="699"/>
                  <a:pt x="1979" y="700"/>
                </a:cubicBezTo>
                <a:cubicBezTo>
                  <a:pt x="1979" y="700"/>
                  <a:pt x="1977" y="698"/>
                  <a:pt x="1976" y="696"/>
                </a:cubicBezTo>
                <a:cubicBezTo>
                  <a:pt x="1974" y="694"/>
                  <a:pt x="1973" y="693"/>
                  <a:pt x="1972" y="693"/>
                </a:cubicBezTo>
                <a:cubicBezTo>
                  <a:pt x="1972" y="693"/>
                  <a:pt x="1972" y="693"/>
                  <a:pt x="1972" y="694"/>
                </a:cubicBezTo>
                <a:cubicBezTo>
                  <a:pt x="1972" y="694"/>
                  <a:pt x="1972" y="696"/>
                  <a:pt x="1973" y="697"/>
                </a:cubicBezTo>
                <a:cubicBezTo>
                  <a:pt x="1973" y="698"/>
                  <a:pt x="1974" y="700"/>
                  <a:pt x="1974" y="701"/>
                </a:cubicBezTo>
                <a:cubicBezTo>
                  <a:pt x="1974" y="703"/>
                  <a:pt x="1972" y="704"/>
                  <a:pt x="1970" y="704"/>
                </a:cubicBezTo>
                <a:cubicBezTo>
                  <a:pt x="1969" y="704"/>
                  <a:pt x="1969" y="704"/>
                  <a:pt x="1969" y="703"/>
                </a:cubicBezTo>
                <a:lnTo>
                  <a:pt x="1970" y="700"/>
                </a:lnTo>
                <a:cubicBezTo>
                  <a:pt x="1970" y="699"/>
                  <a:pt x="1969" y="698"/>
                  <a:pt x="1967" y="698"/>
                </a:cubicBezTo>
                <a:cubicBezTo>
                  <a:pt x="1965" y="698"/>
                  <a:pt x="1964" y="700"/>
                  <a:pt x="1964" y="703"/>
                </a:cubicBezTo>
                <a:cubicBezTo>
                  <a:pt x="1964" y="706"/>
                  <a:pt x="1962" y="709"/>
                  <a:pt x="1959" y="711"/>
                </a:cubicBezTo>
                <a:cubicBezTo>
                  <a:pt x="1955" y="714"/>
                  <a:pt x="1952" y="715"/>
                  <a:pt x="1950" y="715"/>
                </a:cubicBezTo>
                <a:cubicBezTo>
                  <a:pt x="1948" y="715"/>
                  <a:pt x="1947" y="714"/>
                  <a:pt x="1946" y="713"/>
                </a:cubicBezTo>
                <a:cubicBezTo>
                  <a:pt x="1945" y="713"/>
                  <a:pt x="1945" y="712"/>
                  <a:pt x="1945" y="712"/>
                </a:cubicBezTo>
                <a:cubicBezTo>
                  <a:pt x="1944" y="713"/>
                  <a:pt x="1944" y="714"/>
                  <a:pt x="1944" y="716"/>
                </a:cubicBezTo>
                <a:lnTo>
                  <a:pt x="1944" y="716"/>
                </a:lnTo>
                <a:cubicBezTo>
                  <a:pt x="1944" y="719"/>
                  <a:pt x="1937" y="723"/>
                  <a:pt x="1924" y="729"/>
                </a:cubicBezTo>
                <a:cubicBezTo>
                  <a:pt x="1899" y="741"/>
                  <a:pt x="1879" y="747"/>
                  <a:pt x="1862" y="747"/>
                </a:cubicBezTo>
                <a:close/>
                <a:moveTo>
                  <a:pt x="1821" y="627"/>
                </a:moveTo>
                <a:cubicBezTo>
                  <a:pt x="1822" y="627"/>
                  <a:pt x="1822" y="627"/>
                  <a:pt x="1823" y="626"/>
                </a:cubicBezTo>
                <a:cubicBezTo>
                  <a:pt x="1823" y="625"/>
                  <a:pt x="1823" y="624"/>
                  <a:pt x="1824" y="622"/>
                </a:cubicBezTo>
                <a:cubicBezTo>
                  <a:pt x="1825" y="621"/>
                  <a:pt x="1825" y="620"/>
                  <a:pt x="1825" y="618"/>
                </a:cubicBezTo>
                <a:cubicBezTo>
                  <a:pt x="1825" y="618"/>
                  <a:pt x="1825" y="618"/>
                  <a:pt x="1825" y="618"/>
                </a:cubicBezTo>
                <a:cubicBezTo>
                  <a:pt x="1824" y="618"/>
                  <a:pt x="1824" y="618"/>
                  <a:pt x="1823" y="619"/>
                </a:cubicBezTo>
                <a:cubicBezTo>
                  <a:pt x="1822" y="620"/>
                  <a:pt x="1822" y="622"/>
                  <a:pt x="1821" y="623"/>
                </a:cubicBezTo>
                <a:cubicBezTo>
                  <a:pt x="1821" y="624"/>
                  <a:pt x="1821" y="625"/>
                  <a:pt x="1821" y="626"/>
                </a:cubicBezTo>
                <a:cubicBezTo>
                  <a:pt x="1821" y="627"/>
                  <a:pt x="1821" y="627"/>
                  <a:pt x="1821" y="627"/>
                </a:cubicBezTo>
                <a:close/>
                <a:moveTo>
                  <a:pt x="1846" y="734"/>
                </a:moveTo>
                <a:cubicBezTo>
                  <a:pt x="1848" y="734"/>
                  <a:pt x="1848" y="734"/>
                  <a:pt x="1848" y="733"/>
                </a:cubicBezTo>
                <a:lnTo>
                  <a:pt x="1848" y="732"/>
                </a:lnTo>
                <a:lnTo>
                  <a:pt x="1847" y="732"/>
                </a:lnTo>
                <a:cubicBezTo>
                  <a:pt x="1844" y="732"/>
                  <a:pt x="1843" y="732"/>
                  <a:pt x="1843" y="734"/>
                </a:cubicBezTo>
                <a:cubicBezTo>
                  <a:pt x="1843" y="734"/>
                  <a:pt x="1844" y="734"/>
                  <a:pt x="1846" y="734"/>
                </a:cubicBezTo>
                <a:close/>
                <a:moveTo>
                  <a:pt x="1951" y="712"/>
                </a:moveTo>
                <a:cubicBezTo>
                  <a:pt x="1953" y="712"/>
                  <a:pt x="1954" y="711"/>
                  <a:pt x="1954" y="710"/>
                </a:cubicBezTo>
                <a:cubicBezTo>
                  <a:pt x="1954" y="710"/>
                  <a:pt x="1954" y="709"/>
                  <a:pt x="1953" y="708"/>
                </a:cubicBezTo>
                <a:cubicBezTo>
                  <a:pt x="1952" y="707"/>
                  <a:pt x="1952" y="707"/>
                  <a:pt x="1951" y="707"/>
                </a:cubicBezTo>
                <a:cubicBezTo>
                  <a:pt x="1951" y="707"/>
                  <a:pt x="1950" y="708"/>
                  <a:pt x="1949" y="709"/>
                </a:cubicBezTo>
                <a:cubicBezTo>
                  <a:pt x="1948" y="710"/>
                  <a:pt x="1947" y="711"/>
                  <a:pt x="1946" y="711"/>
                </a:cubicBezTo>
                <a:lnTo>
                  <a:pt x="1951" y="712"/>
                </a:lnTo>
                <a:close/>
                <a:moveTo>
                  <a:pt x="1866" y="735"/>
                </a:moveTo>
                <a:cubicBezTo>
                  <a:pt x="1868" y="735"/>
                  <a:pt x="1873" y="733"/>
                  <a:pt x="1884" y="730"/>
                </a:cubicBezTo>
                <a:cubicBezTo>
                  <a:pt x="1887" y="730"/>
                  <a:pt x="1895" y="727"/>
                  <a:pt x="1907" y="722"/>
                </a:cubicBezTo>
                <a:cubicBezTo>
                  <a:pt x="1920" y="717"/>
                  <a:pt x="1926" y="714"/>
                  <a:pt x="1927" y="713"/>
                </a:cubicBezTo>
                <a:cubicBezTo>
                  <a:pt x="1928" y="713"/>
                  <a:pt x="1930" y="712"/>
                  <a:pt x="1933" y="712"/>
                </a:cubicBezTo>
                <a:cubicBezTo>
                  <a:pt x="1937" y="711"/>
                  <a:pt x="1941" y="709"/>
                  <a:pt x="1946" y="706"/>
                </a:cubicBezTo>
                <a:cubicBezTo>
                  <a:pt x="1951" y="704"/>
                  <a:pt x="1954" y="702"/>
                  <a:pt x="1954" y="702"/>
                </a:cubicBezTo>
                <a:cubicBezTo>
                  <a:pt x="1955" y="702"/>
                  <a:pt x="1955" y="703"/>
                  <a:pt x="1955" y="703"/>
                </a:cubicBezTo>
                <a:lnTo>
                  <a:pt x="1954" y="706"/>
                </a:lnTo>
                <a:cubicBezTo>
                  <a:pt x="1954" y="707"/>
                  <a:pt x="1955" y="708"/>
                  <a:pt x="1956" y="708"/>
                </a:cubicBezTo>
                <a:cubicBezTo>
                  <a:pt x="1957" y="708"/>
                  <a:pt x="1959" y="707"/>
                  <a:pt x="1960" y="706"/>
                </a:cubicBezTo>
                <a:cubicBezTo>
                  <a:pt x="1961" y="705"/>
                  <a:pt x="1962" y="705"/>
                  <a:pt x="1962" y="704"/>
                </a:cubicBezTo>
                <a:cubicBezTo>
                  <a:pt x="1962" y="704"/>
                  <a:pt x="1961" y="703"/>
                  <a:pt x="1960" y="702"/>
                </a:cubicBezTo>
                <a:cubicBezTo>
                  <a:pt x="1959" y="701"/>
                  <a:pt x="1958" y="701"/>
                  <a:pt x="1958" y="700"/>
                </a:cubicBezTo>
                <a:lnTo>
                  <a:pt x="1958" y="699"/>
                </a:lnTo>
                <a:cubicBezTo>
                  <a:pt x="1962" y="697"/>
                  <a:pt x="1966" y="694"/>
                  <a:pt x="1972" y="692"/>
                </a:cubicBezTo>
                <a:lnTo>
                  <a:pt x="1976" y="691"/>
                </a:lnTo>
                <a:cubicBezTo>
                  <a:pt x="1978" y="691"/>
                  <a:pt x="1979" y="690"/>
                  <a:pt x="1979" y="688"/>
                </a:cubicBezTo>
                <a:cubicBezTo>
                  <a:pt x="1979" y="687"/>
                  <a:pt x="1979" y="686"/>
                  <a:pt x="1978" y="686"/>
                </a:cubicBezTo>
                <a:cubicBezTo>
                  <a:pt x="1976" y="686"/>
                  <a:pt x="1973" y="688"/>
                  <a:pt x="1969" y="690"/>
                </a:cubicBezTo>
                <a:lnTo>
                  <a:pt x="1967" y="691"/>
                </a:lnTo>
                <a:cubicBezTo>
                  <a:pt x="1967" y="691"/>
                  <a:pt x="1966" y="690"/>
                  <a:pt x="1966" y="690"/>
                </a:cubicBezTo>
                <a:lnTo>
                  <a:pt x="1967" y="688"/>
                </a:lnTo>
                <a:cubicBezTo>
                  <a:pt x="1967" y="687"/>
                  <a:pt x="1967" y="687"/>
                  <a:pt x="1967" y="687"/>
                </a:cubicBezTo>
                <a:cubicBezTo>
                  <a:pt x="1967" y="687"/>
                  <a:pt x="1966" y="687"/>
                  <a:pt x="1965" y="688"/>
                </a:cubicBezTo>
                <a:cubicBezTo>
                  <a:pt x="1964" y="688"/>
                  <a:pt x="1964" y="688"/>
                  <a:pt x="1963" y="689"/>
                </a:cubicBezTo>
                <a:cubicBezTo>
                  <a:pt x="1963" y="690"/>
                  <a:pt x="1962" y="690"/>
                  <a:pt x="1962" y="691"/>
                </a:cubicBezTo>
                <a:lnTo>
                  <a:pt x="1962" y="691"/>
                </a:lnTo>
                <a:cubicBezTo>
                  <a:pt x="1962" y="693"/>
                  <a:pt x="1961" y="694"/>
                  <a:pt x="1958" y="694"/>
                </a:cubicBezTo>
                <a:cubicBezTo>
                  <a:pt x="1952" y="695"/>
                  <a:pt x="1942" y="699"/>
                  <a:pt x="1927" y="707"/>
                </a:cubicBezTo>
                <a:cubicBezTo>
                  <a:pt x="1915" y="713"/>
                  <a:pt x="1906" y="718"/>
                  <a:pt x="1901" y="720"/>
                </a:cubicBezTo>
                <a:cubicBezTo>
                  <a:pt x="1895" y="722"/>
                  <a:pt x="1891" y="723"/>
                  <a:pt x="1888" y="724"/>
                </a:cubicBezTo>
                <a:cubicBezTo>
                  <a:pt x="1884" y="725"/>
                  <a:pt x="1882" y="725"/>
                  <a:pt x="1882" y="727"/>
                </a:cubicBezTo>
                <a:cubicBezTo>
                  <a:pt x="1881" y="728"/>
                  <a:pt x="1880" y="728"/>
                  <a:pt x="1879" y="728"/>
                </a:cubicBezTo>
                <a:cubicBezTo>
                  <a:pt x="1878" y="728"/>
                  <a:pt x="1877" y="728"/>
                  <a:pt x="1876" y="728"/>
                </a:cubicBezTo>
                <a:cubicBezTo>
                  <a:pt x="1875" y="728"/>
                  <a:pt x="1874" y="728"/>
                  <a:pt x="1874" y="728"/>
                </a:cubicBezTo>
                <a:cubicBezTo>
                  <a:pt x="1873" y="728"/>
                  <a:pt x="1873" y="728"/>
                  <a:pt x="1873" y="728"/>
                </a:cubicBezTo>
                <a:lnTo>
                  <a:pt x="1874" y="730"/>
                </a:lnTo>
                <a:cubicBezTo>
                  <a:pt x="1874" y="731"/>
                  <a:pt x="1874" y="732"/>
                  <a:pt x="1872" y="732"/>
                </a:cubicBezTo>
                <a:lnTo>
                  <a:pt x="1864" y="730"/>
                </a:lnTo>
                <a:lnTo>
                  <a:pt x="1863" y="730"/>
                </a:lnTo>
                <a:lnTo>
                  <a:pt x="1864" y="731"/>
                </a:lnTo>
                <a:cubicBezTo>
                  <a:pt x="1865" y="732"/>
                  <a:pt x="1865" y="732"/>
                  <a:pt x="1865" y="733"/>
                </a:cubicBezTo>
                <a:lnTo>
                  <a:pt x="1865" y="735"/>
                </a:lnTo>
                <a:lnTo>
                  <a:pt x="1866" y="735"/>
                </a:lnTo>
                <a:close/>
                <a:moveTo>
                  <a:pt x="1972" y="686"/>
                </a:moveTo>
                <a:cubicBezTo>
                  <a:pt x="1974" y="686"/>
                  <a:pt x="1975" y="685"/>
                  <a:pt x="1976" y="683"/>
                </a:cubicBezTo>
                <a:lnTo>
                  <a:pt x="1976" y="683"/>
                </a:lnTo>
                <a:cubicBezTo>
                  <a:pt x="1976" y="683"/>
                  <a:pt x="1976" y="683"/>
                  <a:pt x="1976" y="683"/>
                </a:cubicBezTo>
                <a:lnTo>
                  <a:pt x="1974" y="683"/>
                </a:lnTo>
                <a:cubicBezTo>
                  <a:pt x="1972" y="684"/>
                  <a:pt x="1971" y="685"/>
                  <a:pt x="1971" y="686"/>
                </a:cubicBezTo>
                <a:cubicBezTo>
                  <a:pt x="1971" y="686"/>
                  <a:pt x="1971" y="686"/>
                  <a:pt x="1972" y="686"/>
                </a:cubicBezTo>
                <a:close/>
                <a:moveTo>
                  <a:pt x="1852" y="727"/>
                </a:moveTo>
                <a:cubicBezTo>
                  <a:pt x="1857" y="727"/>
                  <a:pt x="1861" y="726"/>
                  <a:pt x="1866" y="725"/>
                </a:cubicBezTo>
                <a:cubicBezTo>
                  <a:pt x="1869" y="724"/>
                  <a:pt x="1872" y="724"/>
                  <a:pt x="1874" y="723"/>
                </a:cubicBezTo>
                <a:cubicBezTo>
                  <a:pt x="1877" y="722"/>
                  <a:pt x="1878" y="722"/>
                  <a:pt x="1879" y="722"/>
                </a:cubicBezTo>
                <a:cubicBezTo>
                  <a:pt x="1879" y="721"/>
                  <a:pt x="1880" y="721"/>
                  <a:pt x="1881" y="721"/>
                </a:cubicBezTo>
                <a:cubicBezTo>
                  <a:pt x="1882" y="720"/>
                  <a:pt x="1882" y="720"/>
                  <a:pt x="1883" y="719"/>
                </a:cubicBezTo>
                <a:cubicBezTo>
                  <a:pt x="1884" y="718"/>
                  <a:pt x="1885" y="718"/>
                  <a:pt x="1887" y="718"/>
                </a:cubicBezTo>
                <a:cubicBezTo>
                  <a:pt x="1889" y="718"/>
                  <a:pt x="1895" y="716"/>
                  <a:pt x="1904" y="712"/>
                </a:cubicBezTo>
                <a:cubicBezTo>
                  <a:pt x="1913" y="708"/>
                  <a:pt x="1922" y="705"/>
                  <a:pt x="1931" y="700"/>
                </a:cubicBezTo>
                <a:cubicBezTo>
                  <a:pt x="1937" y="697"/>
                  <a:pt x="1942" y="695"/>
                  <a:pt x="1947" y="694"/>
                </a:cubicBezTo>
                <a:cubicBezTo>
                  <a:pt x="1948" y="694"/>
                  <a:pt x="1950" y="693"/>
                  <a:pt x="1951" y="691"/>
                </a:cubicBezTo>
                <a:cubicBezTo>
                  <a:pt x="1951" y="690"/>
                  <a:pt x="1952" y="690"/>
                  <a:pt x="1952" y="690"/>
                </a:cubicBezTo>
                <a:lnTo>
                  <a:pt x="1954" y="690"/>
                </a:lnTo>
                <a:cubicBezTo>
                  <a:pt x="1955" y="690"/>
                  <a:pt x="1955" y="689"/>
                  <a:pt x="1955" y="688"/>
                </a:cubicBezTo>
                <a:cubicBezTo>
                  <a:pt x="1955" y="687"/>
                  <a:pt x="1956" y="687"/>
                  <a:pt x="1958" y="687"/>
                </a:cubicBezTo>
                <a:cubicBezTo>
                  <a:pt x="1959" y="687"/>
                  <a:pt x="1961" y="686"/>
                  <a:pt x="1962" y="686"/>
                </a:cubicBezTo>
                <a:cubicBezTo>
                  <a:pt x="1965" y="683"/>
                  <a:pt x="1967" y="682"/>
                  <a:pt x="1969" y="681"/>
                </a:cubicBezTo>
                <a:cubicBezTo>
                  <a:pt x="1971" y="681"/>
                  <a:pt x="1972" y="680"/>
                  <a:pt x="1973" y="679"/>
                </a:cubicBezTo>
                <a:cubicBezTo>
                  <a:pt x="1974" y="678"/>
                  <a:pt x="1975" y="678"/>
                  <a:pt x="1976" y="678"/>
                </a:cubicBezTo>
                <a:cubicBezTo>
                  <a:pt x="1981" y="677"/>
                  <a:pt x="1983" y="677"/>
                  <a:pt x="1983" y="676"/>
                </a:cubicBezTo>
                <a:lnTo>
                  <a:pt x="1983" y="674"/>
                </a:lnTo>
                <a:cubicBezTo>
                  <a:pt x="1983" y="674"/>
                  <a:pt x="1984" y="674"/>
                  <a:pt x="1986" y="674"/>
                </a:cubicBezTo>
                <a:cubicBezTo>
                  <a:pt x="1988" y="674"/>
                  <a:pt x="1989" y="674"/>
                  <a:pt x="1989" y="674"/>
                </a:cubicBezTo>
                <a:cubicBezTo>
                  <a:pt x="1989" y="674"/>
                  <a:pt x="1988" y="675"/>
                  <a:pt x="1987" y="676"/>
                </a:cubicBezTo>
                <a:cubicBezTo>
                  <a:pt x="1985" y="677"/>
                  <a:pt x="1984" y="678"/>
                  <a:pt x="1984" y="679"/>
                </a:cubicBezTo>
                <a:cubicBezTo>
                  <a:pt x="1984" y="679"/>
                  <a:pt x="1985" y="680"/>
                  <a:pt x="1986" y="680"/>
                </a:cubicBezTo>
                <a:lnTo>
                  <a:pt x="1987" y="681"/>
                </a:lnTo>
                <a:cubicBezTo>
                  <a:pt x="1987" y="681"/>
                  <a:pt x="1987" y="681"/>
                  <a:pt x="1986" y="681"/>
                </a:cubicBezTo>
                <a:lnTo>
                  <a:pt x="1980" y="680"/>
                </a:lnTo>
                <a:cubicBezTo>
                  <a:pt x="1980" y="680"/>
                  <a:pt x="1981" y="681"/>
                  <a:pt x="1982" y="681"/>
                </a:cubicBezTo>
                <a:cubicBezTo>
                  <a:pt x="1982" y="681"/>
                  <a:pt x="1983" y="682"/>
                  <a:pt x="1983" y="683"/>
                </a:cubicBezTo>
                <a:lnTo>
                  <a:pt x="1982" y="685"/>
                </a:lnTo>
                <a:cubicBezTo>
                  <a:pt x="1982" y="686"/>
                  <a:pt x="1983" y="687"/>
                  <a:pt x="1984" y="687"/>
                </a:cubicBezTo>
                <a:cubicBezTo>
                  <a:pt x="1985" y="687"/>
                  <a:pt x="1987" y="685"/>
                  <a:pt x="1989" y="681"/>
                </a:cubicBezTo>
                <a:cubicBezTo>
                  <a:pt x="1990" y="679"/>
                  <a:pt x="1991" y="678"/>
                  <a:pt x="1992" y="676"/>
                </a:cubicBezTo>
                <a:cubicBezTo>
                  <a:pt x="1994" y="675"/>
                  <a:pt x="1994" y="674"/>
                  <a:pt x="1995" y="674"/>
                </a:cubicBezTo>
                <a:cubicBezTo>
                  <a:pt x="1996" y="674"/>
                  <a:pt x="1997" y="675"/>
                  <a:pt x="1997" y="675"/>
                </a:cubicBezTo>
                <a:cubicBezTo>
                  <a:pt x="1997" y="675"/>
                  <a:pt x="1996" y="676"/>
                  <a:pt x="1995" y="676"/>
                </a:cubicBezTo>
                <a:cubicBezTo>
                  <a:pt x="1994" y="677"/>
                  <a:pt x="1993" y="678"/>
                  <a:pt x="1993" y="679"/>
                </a:cubicBezTo>
                <a:cubicBezTo>
                  <a:pt x="1993" y="680"/>
                  <a:pt x="1994" y="681"/>
                  <a:pt x="1996" y="681"/>
                </a:cubicBezTo>
                <a:cubicBezTo>
                  <a:pt x="1996" y="681"/>
                  <a:pt x="1997" y="680"/>
                  <a:pt x="1997" y="679"/>
                </a:cubicBezTo>
                <a:cubicBezTo>
                  <a:pt x="1997" y="679"/>
                  <a:pt x="1997" y="678"/>
                  <a:pt x="1998" y="676"/>
                </a:cubicBezTo>
                <a:lnTo>
                  <a:pt x="1998" y="673"/>
                </a:lnTo>
                <a:cubicBezTo>
                  <a:pt x="1998" y="672"/>
                  <a:pt x="1997" y="671"/>
                  <a:pt x="1996" y="669"/>
                </a:cubicBezTo>
                <a:cubicBezTo>
                  <a:pt x="1996" y="668"/>
                  <a:pt x="1995" y="666"/>
                  <a:pt x="1995" y="666"/>
                </a:cubicBezTo>
                <a:cubicBezTo>
                  <a:pt x="1995" y="666"/>
                  <a:pt x="1995" y="665"/>
                  <a:pt x="1996" y="665"/>
                </a:cubicBezTo>
                <a:lnTo>
                  <a:pt x="1999" y="666"/>
                </a:lnTo>
                <a:cubicBezTo>
                  <a:pt x="2001" y="666"/>
                  <a:pt x="2002" y="665"/>
                  <a:pt x="2002" y="664"/>
                </a:cubicBezTo>
                <a:lnTo>
                  <a:pt x="2002" y="663"/>
                </a:lnTo>
                <a:cubicBezTo>
                  <a:pt x="2002" y="662"/>
                  <a:pt x="2005" y="661"/>
                  <a:pt x="2011" y="661"/>
                </a:cubicBezTo>
                <a:cubicBezTo>
                  <a:pt x="2011" y="662"/>
                  <a:pt x="2009" y="664"/>
                  <a:pt x="2006" y="666"/>
                </a:cubicBezTo>
                <a:cubicBezTo>
                  <a:pt x="2002" y="668"/>
                  <a:pt x="2000" y="669"/>
                  <a:pt x="2000" y="670"/>
                </a:cubicBezTo>
                <a:lnTo>
                  <a:pt x="2000" y="670"/>
                </a:lnTo>
                <a:cubicBezTo>
                  <a:pt x="2002" y="670"/>
                  <a:pt x="2003" y="671"/>
                  <a:pt x="2003" y="672"/>
                </a:cubicBezTo>
                <a:lnTo>
                  <a:pt x="2003" y="673"/>
                </a:lnTo>
                <a:cubicBezTo>
                  <a:pt x="2003" y="674"/>
                  <a:pt x="2004" y="675"/>
                  <a:pt x="2005" y="676"/>
                </a:cubicBezTo>
                <a:lnTo>
                  <a:pt x="2007" y="676"/>
                </a:lnTo>
                <a:lnTo>
                  <a:pt x="2008" y="676"/>
                </a:lnTo>
                <a:lnTo>
                  <a:pt x="2006" y="675"/>
                </a:lnTo>
                <a:cubicBezTo>
                  <a:pt x="2004" y="674"/>
                  <a:pt x="2003" y="673"/>
                  <a:pt x="2003" y="673"/>
                </a:cubicBezTo>
                <a:cubicBezTo>
                  <a:pt x="2003" y="673"/>
                  <a:pt x="2004" y="672"/>
                  <a:pt x="2004" y="672"/>
                </a:cubicBezTo>
                <a:cubicBezTo>
                  <a:pt x="2005" y="672"/>
                  <a:pt x="2006" y="672"/>
                  <a:pt x="2006" y="671"/>
                </a:cubicBezTo>
                <a:cubicBezTo>
                  <a:pt x="2007" y="671"/>
                  <a:pt x="2007" y="670"/>
                  <a:pt x="2007" y="670"/>
                </a:cubicBezTo>
                <a:cubicBezTo>
                  <a:pt x="2007" y="668"/>
                  <a:pt x="2008" y="667"/>
                  <a:pt x="2009" y="666"/>
                </a:cubicBezTo>
                <a:cubicBezTo>
                  <a:pt x="2011" y="666"/>
                  <a:pt x="2011" y="666"/>
                  <a:pt x="2011" y="667"/>
                </a:cubicBezTo>
                <a:lnTo>
                  <a:pt x="2011" y="668"/>
                </a:lnTo>
                <a:cubicBezTo>
                  <a:pt x="2011" y="668"/>
                  <a:pt x="2011" y="668"/>
                  <a:pt x="2012" y="669"/>
                </a:cubicBezTo>
                <a:cubicBezTo>
                  <a:pt x="2012" y="669"/>
                  <a:pt x="2012" y="669"/>
                  <a:pt x="2013" y="669"/>
                </a:cubicBezTo>
                <a:cubicBezTo>
                  <a:pt x="2014" y="669"/>
                  <a:pt x="2015" y="665"/>
                  <a:pt x="2015" y="660"/>
                </a:cubicBezTo>
                <a:cubicBezTo>
                  <a:pt x="2015" y="656"/>
                  <a:pt x="2014" y="654"/>
                  <a:pt x="2013" y="653"/>
                </a:cubicBezTo>
                <a:cubicBezTo>
                  <a:pt x="2011" y="653"/>
                  <a:pt x="1999" y="659"/>
                  <a:pt x="1975" y="671"/>
                </a:cubicBezTo>
                <a:cubicBezTo>
                  <a:pt x="1931" y="694"/>
                  <a:pt x="1903" y="707"/>
                  <a:pt x="1890" y="710"/>
                </a:cubicBezTo>
                <a:lnTo>
                  <a:pt x="1874" y="714"/>
                </a:lnTo>
                <a:cubicBezTo>
                  <a:pt x="1867" y="717"/>
                  <a:pt x="1857" y="718"/>
                  <a:pt x="1846" y="718"/>
                </a:cubicBezTo>
                <a:cubicBezTo>
                  <a:pt x="1836" y="718"/>
                  <a:pt x="1831" y="718"/>
                  <a:pt x="1831" y="720"/>
                </a:cubicBezTo>
                <a:cubicBezTo>
                  <a:pt x="1831" y="721"/>
                  <a:pt x="1833" y="722"/>
                  <a:pt x="1838" y="724"/>
                </a:cubicBezTo>
                <a:cubicBezTo>
                  <a:pt x="1843" y="726"/>
                  <a:pt x="1848" y="727"/>
                  <a:pt x="1852" y="727"/>
                </a:cubicBezTo>
                <a:close/>
                <a:moveTo>
                  <a:pt x="2021" y="652"/>
                </a:moveTo>
                <a:cubicBezTo>
                  <a:pt x="2022" y="652"/>
                  <a:pt x="2023" y="651"/>
                  <a:pt x="2023" y="650"/>
                </a:cubicBezTo>
                <a:cubicBezTo>
                  <a:pt x="2023" y="649"/>
                  <a:pt x="2023" y="648"/>
                  <a:pt x="2022" y="648"/>
                </a:cubicBezTo>
                <a:lnTo>
                  <a:pt x="2021" y="647"/>
                </a:lnTo>
                <a:cubicBezTo>
                  <a:pt x="2020" y="647"/>
                  <a:pt x="2019" y="647"/>
                  <a:pt x="2018" y="648"/>
                </a:cubicBezTo>
                <a:cubicBezTo>
                  <a:pt x="2017" y="649"/>
                  <a:pt x="2017" y="649"/>
                  <a:pt x="2017" y="650"/>
                </a:cubicBezTo>
                <a:cubicBezTo>
                  <a:pt x="2017" y="650"/>
                  <a:pt x="2017" y="651"/>
                  <a:pt x="2019" y="652"/>
                </a:cubicBezTo>
                <a:lnTo>
                  <a:pt x="2021" y="652"/>
                </a:lnTo>
                <a:close/>
                <a:moveTo>
                  <a:pt x="2027" y="650"/>
                </a:moveTo>
                <a:cubicBezTo>
                  <a:pt x="2027" y="650"/>
                  <a:pt x="2028" y="650"/>
                  <a:pt x="2029" y="649"/>
                </a:cubicBezTo>
                <a:cubicBezTo>
                  <a:pt x="2031" y="648"/>
                  <a:pt x="2033" y="647"/>
                  <a:pt x="2033" y="645"/>
                </a:cubicBezTo>
                <a:lnTo>
                  <a:pt x="2033" y="644"/>
                </a:lnTo>
                <a:cubicBezTo>
                  <a:pt x="2032" y="643"/>
                  <a:pt x="2031" y="643"/>
                  <a:pt x="2029" y="643"/>
                </a:cubicBezTo>
                <a:cubicBezTo>
                  <a:pt x="2029" y="643"/>
                  <a:pt x="2028" y="643"/>
                  <a:pt x="2027" y="644"/>
                </a:cubicBezTo>
                <a:cubicBezTo>
                  <a:pt x="2026" y="645"/>
                  <a:pt x="2026" y="647"/>
                  <a:pt x="2026" y="649"/>
                </a:cubicBezTo>
                <a:cubicBezTo>
                  <a:pt x="2026" y="649"/>
                  <a:pt x="2026" y="650"/>
                  <a:pt x="2027" y="650"/>
                </a:cubicBezTo>
                <a:close/>
                <a:moveTo>
                  <a:pt x="2137" y="597"/>
                </a:moveTo>
                <a:cubicBezTo>
                  <a:pt x="2139" y="597"/>
                  <a:pt x="2139" y="595"/>
                  <a:pt x="2139" y="593"/>
                </a:cubicBezTo>
                <a:cubicBezTo>
                  <a:pt x="2139" y="592"/>
                  <a:pt x="2139" y="591"/>
                  <a:pt x="2138" y="591"/>
                </a:cubicBezTo>
                <a:lnTo>
                  <a:pt x="2137" y="592"/>
                </a:lnTo>
                <a:cubicBezTo>
                  <a:pt x="2136" y="592"/>
                  <a:pt x="2136" y="593"/>
                  <a:pt x="2136" y="595"/>
                </a:cubicBezTo>
                <a:cubicBezTo>
                  <a:pt x="2136" y="595"/>
                  <a:pt x="2136" y="595"/>
                  <a:pt x="2136" y="595"/>
                </a:cubicBezTo>
                <a:cubicBezTo>
                  <a:pt x="2137" y="596"/>
                  <a:pt x="2137" y="596"/>
                  <a:pt x="2137" y="597"/>
                </a:cubicBezTo>
                <a:close/>
                <a:moveTo>
                  <a:pt x="1846" y="576"/>
                </a:moveTo>
                <a:cubicBezTo>
                  <a:pt x="1846" y="576"/>
                  <a:pt x="1846" y="576"/>
                  <a:pt x="1846" y="575"/>
                </a:cubicBezTo>
                <a:cubicBezTo>
                  <a:pt x="1846" y="575"/>
                  <a:pt x="1846" y="574"/>
                  <a:pt x="1847" y="573"/>
                </a:cubicBezTo>
                <a:cubicBezTo>
                  <a:pt x="1848" y="572"/>
                  <a:pt x="1850" y="571"/>
                  <a:pt x="1850" y="570"/>
                </a:cubicBezTo>
                <a:cubicBezTo>
                  <a:pt x="1851" y="570"/>
                  <a:pt x="1852" y="569"/>
                  <a:pt x="1852" y="569"/>
                </a:cubicBezTo>
                <a:cubicBezTo>
                  <a:pt x="1853" y="569"/>
                  <a:pt x="1853" y="570"/>
                  <a:pt x="1853" y="570"/>
                </a:cubicBezTo>
                <a:cubicBezTo>
                  <a:pt x="1853" y="570"/>
                  <a:pt x="1852" y="571"/>
                  <a:pt x="1851" y="573"/>
                </a:cubicBezTo>
                <a:cubicBezTo>
                  <a:pt x="1849" y="575"/>
                  <a:pt x="1848" y="576"/>
                  <a:pt x="1846" y="576"/>
                </a:cubicBezTo>
                <a:close/>
                <a:moveTo>
                  <a:pt x="2169" y="578"/>
                </a:moveTo>
                <a:cubicBezTo>
                  <a:pt x="2169" y="578"/>
                  <a:pt x="2169" y="578"/>
                  <a:pt x="2169" y="578"/>
                </a:cubicBezTo>
                <a:cubicBezTo>
                  <a:pt x="2169" y="577"/>
                  <a:pt x="2170" y="576"/>
                  <a:pt x="2172" y="575"/>
                </a:cubicBezTo>
                <a:cubicBezTo>
                  <a:pt x="2173" y="573"/>
                  <a:pt x="2175" y="572"/>
                  <a:pt x="2176" y="572"/>
                </a:cubicBezTo>
                <a:cubicBezTo>
                  <a:pt x="2176" y="572"/>
                  <a:pt x="2177" y="573"/>
                  <a:pt x="2177" y="573"/>
                </a:cubicBezTo>
                <a:lnTo>
                  <a:pt x="2177" y="573"/>
                </a:lnTo>
                <a:cubicBezTo>
                  <a:pt x="2177" y="574"/>
                  <a:pt x="2177" y="575"/>
                  <a:pt x="2176" y="576"/>
                </a:cubicBezTo>
                <a:cubicBezTo>
                  <a:pt x="2175" y="576"/>
                  <a:pt x="2174" y="577"/>
                  <a:pt x="2173" y="578"/>
                </a:cubicBezTo>
                <a:cubicBezTo>
                  <a:pt x="2172" y="578"/>
                  <a:pt x="2170" y="578"/>
                  <a:pt x="2169" y="578"/>
                </a:cubicBezTo>
                <a:close/>
                <a:moveTo>
                  <a:pt x="1827" y="679"/>
                </a:moveTo>
                <a:cubicBezTo>
                  <a:pt x="1826" y="679"/>
                  <a:pt x="1826" y="678"/>
                  <a:pt x="1826" y="676"/>
                </a:cubicBezTo>
                <a:cubicBezTo>
                  <a:pt x="1826" y="674"/>
                  <a:pt x="1826" y="674"/>
                  <a:pt x="1827" y="674"/>
                </a:cubicBezTo>
                <a:cubicBezTo>
                  <a:pt x="1827" y="674"/>
                  <a:pt x="1827" y="674"/>
                  <a:pt x="1828" y="674"/>
                </a:cubicBezTo>
                <a:cubicBezTo>
                  <a:pt x="1828" y="674"/>
                  <a:pt x="1828" y="675"/>
                  <a:pt x="1828" y="676"/>
                </a:cubicBezTo>
                <a:cubicBezTo>
                  <a:pt x="1828" y="676"/>
                  <a:pt x="1828" y="677"/>
                  <a:pt x="1828" y="678"/>
                </a:cubicBezTo>
                <a:cubicBezTo>
                  <a:pt x="1827" y="679"/>
                  <a:pt x="1827" y="679"/>
                  <a:pt x="1827" y="679"/>
                </a:cubicBezTo>
                <a:close/>
                <a:moveTo>
                  <a:pt x="2034" y="656"/>
                </a:moveTo>
                <a:cubicBezTo>
                  <a:pt x="2034" y="656"/>
                  <a:pt x="2033" y="656"/>
                  <a:pt x="2033" y="654"/>
                </a:cubicBezTo>
                <a:cubicBezTo>
                  <a:pt x="2033" y="654"/>
                  <a:pt x="2034" y="653"/>
                  <a:pt x="2035" y="652"/>
                </a:cubicBezTo>
                <a:cubicBezTo>
                  <a:pt x="2036" y="652"/>
                  <a:pt x="2036" y="652"/>
                  <a:pt x="2037" y="651"/>
                </a:cubicBezTo>
                <a:cubicBezTo>
                  <a:pt x="2038" y="650"/>
                  <a:pt x="2039" y="650"/>
                  <a:pt x="2039" y="650"/>
                </a:cubicBezTo>
                <a:lnTo>
                  <a:pt x="2040" y="650"/>
                </a:lnTo>
                <a:lnTo>
                  <a:pt x="2038" y="653"/>
                </a:lnTo>
                <a:cubicBezTo>
                  <a:pt x="2036" y="655"/>
                  <a:pt x="2035" y="656"/>
                  <a:pt x="2034" y="656"/>
                </a:cubicBezTo>
                <a:close/>
                <a:moveTo>
                  <a:pt x="2085" y="633"/>
                </a:moveTo>
                <a:lnTo>
                  <a:pt x="2082" y="633"/>
                </a:lnTo>
                <a:cubicBezTo>
                  <a:pt x="2082" y="633"/>
                  <a:pt x="2082" y="632"/>
                  <a:pt x="2084" y="632"/>
                </a:cubicBezTo>
                <a:cubicBezTo>
                  <a:pt x="2086" y="631"/>
                  <a:pt x="2088" y="630"/>
                  <a:pt x="2090" y="627"/>
                </a:cubicBezTo>
                <a:cubicBezTo>
                  <a:pt x="2092" y="626"/>
                  <a:pt x="2094" y="625"/>
                  <a:pt x="2096" y="625"/>
                </a:cubicBezTo>
                <a:cubicBezTo>
                  <a:pt x="2098" y="625"/>
                  <a:pt x="2098" y="625"/>
                  <a:pt x="2098" y="626"/>
                </a:cubicBezTo>
                <a:lnTo>
                  <a:pt x="2095" y="626"/>
                </a:lnTo>
                <a:cubicBezTo>
                  <a:pt x="2094" y="626"/>
                  <a:pt x="2092" y="627"/>
                  <a:pt x="2090" y="630"/>
                </a:cubicBezTo>
                <a:cubicBezTo>
                  <a:pt x="2088" y="632"/>
                  <a:pt x="2086" y="633"/>
                  <a:pt x="2085" y="633"/>
                </a:cubicBezTo>
                <a:close/>
                <a:moveTo>
                  <a:pt x="2067" y="644"/>
                </a:moveTo>
                <a:cubicBezTo>
                  <a:pt x="2066" y="644"/>
                  <a:pt x="2066" y="643"/>
                  <a:pt x="2066" y="643"/>
                </a:cubicBezTo>
                <a:cubicBezTo>
                  <a:pt x="2066" y="642"/>
                  <a:pt x="2068" y="640"/>
                  <a:pt x="2073" y="638"/>
                </a:cubicBezTo>
                <a:cubicBezTo>
                  <a:pt x="2075" y="637"/>
                  <a:pt x="2077" y="637"/>
                  <a:pt x="2078" y="637"/>
                </a:cubicBezTo>
                <a:lnTo>
                  <a:pt x="2078" y="637"/>
                </a:lnTo>
                <a:cubicBezTo>
                  <a:pt x="2078" y="637"/>
                  <a:pt x="2078" y="638"/>
                  <a:pt x="2077" y="639"/>
                </a:cubicBezTo>
                <a:cubicBezTo>
                  <a:pt x="2076" y="640"/>
                  <a:pt x="2074" y="641"/>
                  <a:pt x="2072" y="642"/>
                </a:cubicBezTo>
                <a:cubicBezTo>
                  <a:pt x="2070" y="643"/>
                  <a:pt x="2069" y="644"/>
                  <a:pt x="2067" y="644"/>
                </a:cubicBezTo>
                <a:close/>
                <a:moveTo>
                  <a:pt x="2027" y="669"/>
                </a:moveTo>
                <a:cubicBezTo>
                  <a:pt x="2026" y="669"/>
                  <a:pt x="2025" y="669"/>
                  <a:pt x="2024" y="669"/>
                </a:cubicBezTo>
                <a:cubicBezTo>
                  <a:pt x="2022" y="669"/>
                  <a:pt x="2021" y="668"/>
                  <a:pt x="2021" y="667"/>
                </a:cubicBezTo>
                <a:cubicBezTo>
                  <a:pt x="2021" y="666"/>
                  <a:pt x="2023" y="665"/>
                  <a:pt x="2026" y="665"/>
                </a:cubicBezTo>
                <a:cubicBezTo>
                  <a:pt x="2029" y="665"/>
                  <a:pt x="2030" y="665"/>
                  <a:pt x="2031" y="664"/>
                </a:cubicBezTo>
                <a:lnTo>
                  <a:pt x="2029" y="662"/>
                </a:lnTo>
                <a:cubicBezTo>
                  <a:pt x="2029" y="661"/>
                  <a:pt x="2030" y="661"/>
                  <a:pt x="2030" y="661"/>
                </a:cubicBezTo>
                <a:lnTo>
                  <a:pt x="2031" y="661"/>
                </a:lnTo>
                <a:cubicBezTo>
                  <a:pt x="2032" y="661"/>
                  <a:pt x="2034" y="660"/>
                  <a:pt x="2038" y="659"/>
                </a:cubicBezTo>
                <a:cubicBezTo>
                  <a:pt x="2042" y="657"/>
                  <a:pt x="2045" y="655"/>
                  <a:pt x="2049" y="653"/>
                </a:cubicBezTo>
                <a:cubicBezTo>
                  <a:pt x="2053" y="651"/>
                  <a:pt x="2056" y="649"/>
                  <a:pt x="2058" y="647"/>
                </a:cubicBezTo>
                <a:cubicBezTo>
                  <a:pt x="2060" y="646"/>
                  <a:pt x="2061" y="645"/>
                  <a:pt x="2062" y="645"/>
                </a:cubicBezTo>
                <a:cubicBezTo>
                  <a:pt x="2063" y="645"/>
                  <a:pt x="2064" y="646"/>
                  <a:pt x="2064" y="647"/>
                </a:cubicBezTo>
                <a:cubicBezTo>
                  <a:pt x="2064" y="649"/>
                  <a:pt x="2063" y="649"/>
                  <a:pt x="2061" y="649"/>
                </a:cubicBezTo>
                <a:cubicBezTo>
                  <a:pt x="2060" y="649"/>
                  <a:pt x="2059" y="650"/>
                  <a:pt x="2058" y="651"/>
                </a:cubicBezTo>
                <a:lnTo>
                  <a:pt x="2059" y="653"/>
                </a:lnTo>
                <a:cubicBezTo>
                  <a:pt x="2059" y="654"/>
                  <a:pt x="2059" y="654"/>
                  <a:pt x="2059" y="654"/>
                </a:cubicBezTo>
                <a:lnTo>
                  <a:pt x="2057" y="653"/>
                </a:lnTo>
                <a:cubicBezTo>
                  <a:pt x="2055" y="653"/>
                  <a:pt x="2054" y="654"/>
                  <a:pt x="2052" y="656"/>
                </a:cubicBezTo>
                <a:cubicBezTo>
                  <a:pt x="2051" y="658"/>
                  <a:pt x="2049" y="659"/>
                  <a:pt x="2048" y="659"/>
                </a:cubicBezTo>
                <a:cubicBezTo>
                  <a:pt x="2046" y="659"/>
                  <a:pt x="2044" y="660"/>
                  <a:pt x="2041" y="661"/>
                </a:cubicBezTo>
                <a:cubicBezTo>
                  <a:pt x="2035" y="665"/>
                  <a:pt x="2031" y="667"/>
                  <a:pt x="2031" y="668"/>
                </a:cubicBezTo>
                <a:cubicBezTo>
                  <a:pt x="2031" y="669"/>
                  <a:pt x="2030" y="669"/>
                  <a:pt x="2027" y="669"/>
                </a:cubicBezTo>
                <a:close/>
                <a:moveTo>
                  <a:pt x="2021" y="667"/>
                </a:moveTo>
                <a:close/>
                <a:moveTo>
                  <a:pt x="2104" y="623"/>
                </a:moveTo>
                <a:cubicBezTo>
                  <a:pt x="2103" y="623"/>
                  <a:pt x="2103" y="623"/>
                  <a:pt x="2103" y="623"/>
                </a:cubicBezTo>
                <a:cubicBezTo>
                  <a:pt x="2103" y="622"/>
                  <a:pt x="2104" y="620"/>
                  <a:pt x="2106" y="618"/>
                </a:cubicBezTo>
                <a:cubicBezTo>
                  <a:pt x="2109" y="614"/>
                  <a:pt x="2112" y="611"/>
                  <a:pt x="2113" y="611"/>
                </a:cubicBezTo>
                <a:cubicBezTo>
                  <a:pt x="2115" y="611"/>
                  <a:pt x="2117" y="610"/>
                  <a:pt x="2120" y="608"/>
                </a:cubicBezTo>
                <a:cubicBezTo>
                  <a:pt x="2123" y="606"/>
                  <a:pt x="2125" y="605"/>
                  <a:pt x="2126" y="605"/>
                </a:cubicBezTo>
                <a:cubicBezTo>
                  <a:pt x="2127" y="605"/>
                  <a:pt x="2127" y="605"/>
                  <a:pt x="2127" y="606"/>
                </a:cubicBezTo>
                <a:cubicBezTo>
                  <a:pt x="2127" y="608"/>
                  <a:pt x="2127" y="610"/>
                  <a:pt x="2126" y="610"/>
                </a:cubicBezTo>
                <a:lnTo>
                  <a:pt x="2124" y="609"/>
                </a:lnTo>
                <a:cubicBezTo>
                  <a:pt x="2123" y="609"/>
                  <a:pt x="2120" y="610"/>
                  <a:pt x="2117" y="613"/>
                </a:cubicBezTo>
                <a:cubicBezTo>
                  <a:pt x="2114" y="616"/>
                  <a:pt x="2111" y="617"/>
                  <a:pt x="2110" y="617"/>
                </a:cubicBezTo>
                <a:cubicBezTo>
                  <a:pt x="2108" y="617"/>
                  <a:pt x="2107" y="619"/>
                  <a:pt x="2105" y="621"/>
                </a:cubicBezTo>
                <a:cubicBezTo>
                  <a:pt x="2105" y="623"/>
                  <a:pt x="2104" y="623"/>
                  <a:pt x="2104" y="623"/>
                </a:cubicBezTo>
                <a:close/>
                <a:moveTo>
                  <a:pt x="1938" y="362"/>
                </a:moveTo>
                <a:close/>
                <a:moveTo>
                  <a:pt x="1923" y="383"/>
                </a:moveTo>
                <a:cubicBezTo>
                  <a:pt x="1923" y="383"/>
                  <a:pt x="1923" y="383"/>
                  <a:pt x="1923" y="382"/>
                </a:cubicBezTo>
                <a:lnTo>
                  <a:pt x="1929" y="377"/>
                </a:lnTo>
                <a:cubicBezTo>
                  <a:pt x="1929" y="377"/>
                  <a:pt x="1929" y="378"/>
                  <a:pt x="1927" y="379"/>
                </a:cubicBezTo>
                <a:cubicBezTo>
                  <a:pt x="1925" y="382"/>
                  <a:pt x="1924" y="383"/>
                  <a:pt x="1923" y="383"/>
                </a:cubicBezTo>
                <a:close/>
                <a:moveTo>
                  <a:pt x="1912" y="394"/>
                </a:moveTo>
                <a:close/>
                <a:moveTo>
                  <a:pt x="1939" y="362"/>
                </a:moveTo>
                <a:cubicBezTo>
                  <a:pt x="1938" y="362"/>
                  <a:pt x="1938" y="362"/>
                  <a:pt x="1938" y="362"/>
                </a:cubicBezTo>
                <a:cubicBezTo>
                  <a:pt x="1938" y="361"/>
                  <a:pt x="1939" y="360"/>
                  <a:pt x="1941" y="358"/>
                </a:cubicBezTo>
                <a:lnTo>
                  <a:pt x="1944" y="356"/>
                </a:lnTo>
                <a:lnTo>
                  <a:pt x="1942" y="359"/>
                </a:lnTo>
                <a:cubicBezTo>
                  <a:pt x="1941" y="361"/>
                  <a:pt x="1939" y="362"/>
                  <a:pt x="1939" y="362"/>
                </a:cubicBezTo>
                <a:close/>
                <a:moveTo>
                  <a:pt x="1923" y="382"/>
                </a:moveTo>
                <a:close/>
                <a:moveTo>
                  <a:pt x="1887" y="458"/>
                </a:moveTo>
                <a:cubicBezTo>
                  <a:pt x="1886" y="458"/>
                  <a:pt x="1885" y="457"/>
                  <a:pt x="1884" y="455"/>
                </a:cubicBezTo>
                <a:lnTo>
                  <a:pt x="1884" y="455"/>
                </a:lnTo>
                <a:cubicBezTo>
                  <a:pt x="1884" y="453"/>
                  <a:pt x="1885" y="451"/>
                  <a:pt x="1886" y="451"/>
                </a:cubicBezTo>
                <a:cubicBezTo>
                  <a:pt x="1886" y="451"/>
                  <a:pt x="1887" y="452"/>
                  <a:pt x="1887" y="452"/>
                </a:cubicBezTo>
                <a:cubicBezTo>
                  <a:pt x="1888" y="453"/>
                  <a:pt x="1889" y="453"/>
                  <a:pt x="1889" y="453"/>
                </a:cubicBezTo>
                <a:cubicBezTo>
                  <a:pt x="1890" y="453"/>
                  <a:pt x="1891" y="453"/>
                  <a:pt x="1892" y="451"/>
                </a:cubicBezTo>
                <a:cubicBezTo>
                  <a:pt x="1893" y="451"/>
                  <a:pt x="1894" y="450"/>
                  <a:pt x="1894" y="450"/>
                </a:cubicBezTo>
                <a:lnTo>
                  <a:pt x="1894" y="453"/>
                </a:lnTo>
                <a:cubicBezTo>
                  <a:pt x="1892" y="456"/>
                  <a:pt x="1890" y="458"/>
                  <a:pt x="1887" y="458"/>
                </a:cubicBezTo>
                <a:close/>
                <a:moveTo>
                  <a:pt x="1912" y="394"/>
                </a:moveTo>
                <a:cubicBezTo>
                  <a:pt x="1912" y="394"/>
                  <a:pt x="1912" y="394"/>
                  <a:pt x="1912" y="394"/>
                </a:cubicBezTo>
                <a:cubicBezTo>
                  <a:pt x="1912" y="394"/>
                  <a:pt x="1912" y="393"/>
                  <a:pt x="1914" y="392"/>
                </a:cubicBezTo>
                <a:cubicBezTo>
                  <a:pt x="1915" y="391"/>
                  <a:pt x="1916" y="390"/>
                  <a:pt x="1918" y="389"/>
                </a:cubicBezTo>
                <a:cubicBezTo>
                  <a:pt x="1920" y="387"/>
                  <a:pt x="1921" y="387"/>
                  <a:pt x="1922" y="387"/>
                </a:cubicBezTo>
                <a:lnTo>
                  <a:pt x="1922" y="387"/>
                </a:lnTo>
                <a:cubicBezTo>
                  <a:pt x="1922" y="388"/>
                  <a:pt x="1921" y="389"/>
                  <a:pt x="1919" y="390"/>
                </a:cubicBezTo>
                <a:cubicBezTo>
                  <a:pt x="1916" y="393"/>
                  <a:pt x="1914" y="394"/>
                  <a:pt x="1912" y="394"/>
                </a:cubicBezTo>
                <a:close/>
                <a:moveTo>
                  <a:pt x="1872" y="482"/>
                </a:moveTo>
                <a:cubicBezTo>
                  <a:pt x="1872" y="482"/>
                  <a:pt x="1871" y="481"/>
                  <a:pt x="1869" y="479"/>
                </a:cubicBezTo>
                <a:cubicBezTo>
                  <a:pt x="1868" y="478"/>
                  <a:pt x="1867" y="474"/>
                  <a:pt x="1865" y="468"/>
                </a:cubicBezTo>
                <a:cubicBezTo>
                  <a:pt x="1864" y="463"/>
                  <a:pt x="1863" y="459"/>
                  <a:pt x="1861" y="457"/>
                </a:cubicBezTo>
                <a:lnTo>
                  <a:pt x="1860" y="455"/>
                </a:lnTo>
                <a:lnTo>
                  <a:pt x="1863" y="457"/>
                </a:lnTo>
                <a:cubicBezTo>
                  <a:pt x="1864" y="457"/>
                  <a:pt x="1864" y="456"/>
                  <a:pt x="1864" y="456"/>
                </a:cubicBezTo>
                <a:lnTo>
                  <a:pt x="1863" y="453"/>
                </a:lnTo>
                <a:cubicBezTo>
                  <a:pt x="1863" y="453"/>
                  <a:pt x="1863" y="452"/>
                  <a:pt x="1865" y="452"/>
                </a:cubicBezTo>
                <a:cubicBezTo>
                  <a:pt x="1866" y="452"/>
                  <a:pt x="1866" y="451"/>
                  <a:pt x="1866" y="449"/>
                </a:cubicBezTo>
                <a:cubicBezTo>
                  <a:pt x="1866" y="447"/>
                  <a:pt x="1868" y="442"/>
                  <a:pt x="1872" y="434"/>
                </a:cubicBezTo>
                <a:cubicBezTo>
                  <a:pt x="1874" y="428"/>
                  <a:pt x="1876" y="424"/>
                  <a:pt x="1876" y="423"/>
                </a:cubicBezTo>
                <a:cubicBezTo>
                  <a:pt x="1876" y="422"/>
                  <a:pt x="1876" y="422"/>
                  <a:pt x="1875" y="422"/>
                </a:cubicBezTo>
                <a:cubicBezTo>
                  <a:pt x="1875" y="422"/>
                  <a:pt x="1873" y="424"/>
                  <a:pt x="1872" y="427"/>
                </a:cubicBezTo>
                <a:cubicBezTo>
                  <a:pt x="1870" y="431"/>
                  <a:pt x="1868" y="434"/>
                  <a:pt x="1867" y="438"/>
                </a:cubicBezTo>
                <a:cubicBezTo>
                  <a:pt x="1865" y="442"/>
                  <a:pt x="1864" y="444"/>
                  <a:pt x="1864" y="445"/>
                </a:cubicBezTo>
                <a:cubicBezTo>
                  <a:pt x="1864" y="446"/>
                  <a:pt x="1864" y="448"/>
                  <a:pt x="1862" y="450"/>
                </a:cubicBezTo>
                <a:cubicBezTo>
                  <a:pt x="1861" y="452"/>
                  <a:pt x="1860" y="453"/>
                  <a:pt x="1858" y="455"/>
                </a:cubicBezTo>
                <a:cubicBezTo>
                  <a:pt x="1857" y="456"/>
                  <a:pt x="1855" y="457"/>
                  <a:pt x="1854" y="457"/>
                </a:cubicBezTo>
                <a:cubicBezTo>
                  <a:pt x="1853" y="457"/>
                  <a:pt x="1853" y="456"/>
                  <a:pt x="1853" y="453"/>
                </a:cubicBezTo>
                <a:cubicBezTo>
                  <a:pt x="1853" y="441"/>
                  <a:pt x="1862" y="421"/>
                  <a:pt x="1879" y="394"/>
                </a:cubicBezTo>
                <a:cubicBezTo>
                  <a:pt x="1896" y="366"/>
                  <a:pt x="1908" y="349"/>
                  <a:pt x="1914" y="342"/>
                </a:cubicBezTo>
                <a:cubicBezTo>
                  <a:pt x="1914" y="341"/>
                  <a:pt x="1917" y="338"/>
                  <a:pt x="1921" y="333"/>
                </a:cubicBezTo>
                <a:cubicBezTo>
                  <a:pt x="1928" y="322"/>
                  <a:pt x="1934" y="317"/>
                  <a:pt x="1937" y="317"/>
                </a:cubicBezTo>
                <a:cubicBezTo>
                  <a:pt x="1940" y="317"/>
                  <a:pt x="1941" y="319"/>
                  <a:pt x="1941" y="322"/>
                </a:cubicBezTo>
                <a:cubicBezTo>
                  <a:pt x="1941" y="324"/>
                  <a:pt x="1941" y="326"/>
                  <a:pt x="1939" y="329"/>
                </a:cubicBezTo>
                <a:cubicBezTo>
                  <a:pt x="1938" y="332"/>
                  <a:pt x="1937" y="333"/>
                  <a:pt x="1937" y="334"/>
                </a:cubicBezTo>
                <a:cubicBezTo>
                  <a:pt x="1937" y="335"/>
                  <a:pt x="1938" y="335"/>
                  <a:pt x="1939" y="335"/>
                </a:cubicBezTo>
                <a:cubicBezTo>
                  <a:pt x="1941" y="335"/>
                  <a:pt x="1941" y="337"/>
                  <a:pt x="1941" y="341"/>
                </a:cubicBezTo>
                <a:cubicBezTo>
                  <a:pt x="1941" y="348"/>
                  <a:pt x="1940" y="352"/>
                  <a:pt x="1938" y="355"/>
                </a:cubicBezTo>
                <a:cubicBezTo>
                  <a:pt x="1932" y="360"/>
                  <a:pt x="1924" y="372"/>
                  <a:pt x="1914" y="390"/>
                </a:cubicBezTo>
                <a:cubicBezTo>
                  <a:pt x="1910" y="397"/>
                  <a:pt x="1907" y="401"/>
                  <a:pt x="1907" y="403"/>
                </a:cubicBezTo>
                <a:lnTo>
                  <a:pt x="1907" y="404"/>
                </a:lnTo>
                <a:cubicBezTo>
                  <a:pt x="1907" y="405"/>
                  <a:pt x="1907" y="406"/>
                  <a:pt x="1907" y="406"/>
                </a:cubicBezTo>
                <a:lnTo>
                  <a:pt x="1905" y="405"/>
                </a:lnTo>
                <a:cubicBezTo>
                  <a:pt x="1904" y="405"/>
                  <a:pt x="1903" y="406"/>
                  <a:pt x="1901" y="408"/>
                </a:cubicBezTo>
                <a:lnTo>
                  <a:pt x="1899" y="411"/>
                </a:lnTo>
                <a:cubicBezTo>
                  <a:pt x="1900" y="411"/>
                  <a:pt x="1901" y="411"/>
                  <a:pt x="1902" y="410"/>
                </a:cubicBezTo>
                <a:lnTo>
                  <a:pt x="1905" y="409"/>
                </a:lnTo>
                <a:cubicBezTo>
                  <a:pt x="1905" y="410"/>
                  <a:pt x="1904" y="411"/>
                  <a:pt x="1903" y="411"/>
                </a:cubicBezTo>
                <a:cubicBezTo>
                  <a:pt x="1902" y="413"/>
                  <a:pt x="1900" y="415"/>
                  <a:pt x="1899" y="419"/>
                </a:cubicBezTo>
                <a:cubicBezTo>
                  <a:pt x="1898" y="422"/>
                  <a:pt x="1896" y="426"/>
                  <a:pt x="1894" y="429"/>
                </a:cubicBezTo>
                <a:cubicBezTo>
                  <a:pt x="1883" y="447"/>
                  <a:pt x="1877" y="456"/>
                  <a:pt x="1877" y="458"/>
                </a:cubicBezTo>
                <a:cubicBezTo>
                  <a:pt x="1877" y="458"/>
                  <a:pt x="1877" y="459"/>
                  <a:pt x="1878" y="459"/>
                </a:cubicBezTo>
                <a:lnTo>
                  <a:pt x="1879" y="458"/>
                </a:lnTo>
                <a:cubicBezTo>
                  <a:pt x="1880" y="458"/>
                  <a:pt x="1882" y="459"/>
                  <a:pt x="1883" y="460"/>
                </a:cubicBezTo>
                <a:cubicBezTo>
                  <a:pt x="1884" y="461"/>
                  <a:pt x="1884" y="462"/>
                  <a:pt x="1884" y="463"/>
                </a:cubicBezTo>
                <a:cubicBezTo>
                  <a:pt x="1884" y="464"/>
                  <a:pt x="1884" y="464"/>
                  <a:pt x="1884" y="465"/>
                </a:cubicBezTo>
                <a:cubicBezTo>
                  <a:pt x="1883" y="465"/>
                  <a:pt x="1883" y="465"/>
                  <a:pt x="1883" y="465"/>
                </a:cubicBezTo>
                <a:cubicBezTo>
                  <a:pt x="1882" y="465"/>
                  <a:pt x="1882" y="465"/>
                  <a:pt x="1882" y="464"/>
                </a:cubicBezTo>
                <a:cubicBezTo>
                  <a:pt x="1882" y="463"/>
                  <a:pt x="1880" y="462"/>
                  <a:pt x="1878" y="462"/>
                </a:cubicBezTo>
                <a:cubicBezTo>
                  <a:pt x="1877" y="462"/>
                  <a:pt x="1876" y="463"/>
                  <a:pt x="1876" y="463"/>
                </a:cubicBezTo>
                <a:cubicBezTo>
                  <a:pt x="1876" y="463"/>
                  <a:pt x="1877" y="464"/>
                  <a:pt x="1877" y="464"/>
                </a:cubicBezTo>
                <a:cubicBezTo>
                  <a:pt x="1877" y="465"/>
                  <a:pt x="1878" y="466"/>
                  <a:pt x="1878" y="467"/>
                </a:cubicBezTo>
                <a:cubicBezTo>
                  <a:pt x="1878" y="469"/>
                  <a:pt x="1877" y="471"/>
                  <a:pt x="1877" y="473"/>
                </a:cubicBezTo>
                <a:cubicBezTo>
                  <a:pt x="1876" y="476"/>
                  <a:pt x="1875" y="478"/>
                  <a:pt x="1875" y="479"/>
                </a:cubicBezTo>
                <a:cubicBezTo>
                  <a:pt x="1874" y="481"/>
                  <a:pt x="1873" y="482"/>
                  <a:pt x="1872" y="482"/>
                </a:cubicBezTo>
                <a:close/>
                <a:moveTo>
                  <a:pt x="1921" y="353"/>
                </a:moveTo>
                <a:cubicBezTo>
                  <a:pt x="1922" y="353"/>
                  <a:pt x="1923" y="352"/>
                  <a:pt x="1925" y="349"/>
                </a:cubicBezTo>
                <a:cubicBezTo>
                  <a:pt x="1928" y="346"/>
                  <a:pt x="1929" y="345"/>
                  <a:pt x="1929" y="344"/>
                </a:cubicBezTo>
                <a:cubicBezTo>
                  <a:pt x="1928" y="344"/>
                  <a:pt x="1927" y="346"/>
                  <a:pt x="1924" y="349"/>
                </a:cubicBezTo>
                <a:cubicBezTo>
                  <a:pt x="1922" y="352"/>
                  <a:pt x="1921" y="353"/>
                  <a:pt x="1921" y="353"/>
                </a:cubicBezTo>
                <a:close/>
                <a:moveTo>
                  <a:pt x="1912" y="365"/>
                </a:moveTo>
                <a:cubicBezTo>
                  <a:pt x="1913" y="365"/>
                  <a:pt x="1914" y="364"/>
                  <a:pt x="1917" y="361"/>
                </a:cubicBezTo>
                <a:cubicBezTo>
                  <a:pt x="1919" y="358"/>
                  <a:pt x="1920" y="356"/>
                  <a:pt x="1920" y="356"/>
                </a:cubicBezTo>
                <a:cubicBezTo>
                  <a:pt x="1920" y="356"/>
                  <a:pt x="1918" y="357"/>
                  <a:pt x="1915" y="360"/>
                </a:cubicBezTo>
                <a:cubicBezTo>
                  <a:pt x="1913" y="363"/>
                  <a:pt x="1912" y="365"/>
                  <a:pt x="1912" y="365"/>
                </a:cubicBezTo>
                <a:close/>
                <a:moveTo>
                  <a:pt x="1884" y="408"/>
                </a:moveTo>
                <a:cubicBezTo>
                  <a:pt x="1885" y="408"/>
                  <a:pt x="1890" y="401"/>
                  <a:pt x="1900" y="386"/>
                </a:cubicBezTo>
                <a:cubicBezTo>
                  <a:pt x="1907" y="375"/>
                  <a:pt x="1911" y="368"/>
                  <a:pt x="1911" y="368"/>
                </a:cubicBezTo>
                <a:cubicBezTo>
                  <a:pt x="1910" y="368"/>
                  <a:pt x="1907" y="372"/>
                  <a:pt x="1902" y="379"/>
                </a:cubicBezTo>
                <a:cubicBezTo>
                  <a:pt x="1897" y="387"/>
                  <a:pt x="1893" y="392"/>
                  <a:pt x="1892" y="392"/>
                </a:cubicBezTo>
                <a:cubicBezTo>
                  <a:pt x="1891" y="392"/>
                  <a:pt x="1891" y="393"/>
                  <a:pt x="1891" y="394"/>
                </a:cubicBezTo>
                <a:cubicBezTo>
                  <a:pt x="1890" y="394"/>
                  <a:pt x="1890" y="395"/>
                  <a:pt x="1890" y="396"/>
                </a:cubicBezTo>
                <a:cubicBezTo>
                  <a:pt x="1890" y="397"/>
                  <a:pt x="1890" y="398"/>
                  <a:pt x="1889" y="398"/>
                </a:cubicBezTo>
                <a:cubicBezTo>
                  <a:pt x="1889" y="399"/>
                  <a:pt x="1888" y="399"/>
                  <a:pt x="1886" y="399"/>
                </a:cubicBezTo>
                <a:cubicBezTo>
                  <a:pt x="1885" y="399"/>
                  <a:pt x="1884" y="401"/>
                  <a:pt x="1884" y="404"/>
                </a:cubicBezTo>
                <a:lnTo>
                  <a:pt x="1884" y="408"/>
                </a:lnTo>
                <a:close/>
                <a:moveTo>
                  <a:pt x="1877" y="420"/>
                </a:moveTo>
                <a:cubicBezTo>
                  <a:pt x="1879" y="420"/>
                  <a:pt x="1880" y="419"/>
                  <a:pt x="1882" y="416"/>
                </a:cubicBezTo>
                <a:cubicBezTo>
                  <a:pt x="1882" y="414"/>
                  <a:pt x="1883" y="413"/>
                  <a:pt x="1883" y="412"/>
                </a:cubicBezTo>
                <a:cubicBezTo>
                  <a:pt x="1883" y="411"/>
                  <a:pt x="1882" y="411"/>
                  <a:pt x="1882" y="411"/>
                </a:cubicBezTo>
                <a:cubicBezTo>
                  <a:pt x="1881" y="411"/>
                  <a:pt x="1879" y="413"/>
                  <a:pt x="1878" y="416"/>
                </a:cubicBezTo>
                <a:cubicBezTo>
                  <a:pt x="1877" y="417"/>
                  <a:pt x="1876" y="419"/>
                  <a:pt x="1876" y="419"/>
                </a:cubicBezTo>
                <a:cubicBezTo>
                  <a:pt x="1876" y="420"/>
                  <a:pt x="1877" y="420"/>
                  <a:pt x="1877" y="420"/>
                </a:cubicBezTo>
                <a:close/>
                <a:moveTo>
                  <a:pt x="1890" y="449"/>
                </a:moveTo>
                <a:cubicBezTo>
                  <a:pt x="1889" y="449"/>
                  <a:pt x="1889" y="449"/>
                  <a:pt x="1888" y="448"/>
                </a:cubicBezTo>
                <a:lnTo>
                  <a:pt x="1889" y="447"/>
                </a:lnTo>
                <a:cubicBezTo>
                  <a:pt x="1889" y="446"/>
                  <a:pt x="1890" y="445"/>
                  <a:pt x="1891" y="445"/>
                </a:cubicBezTo>
                <a:lnTo>
                  <a:pt x="1892" y="445"/>
                </a:lnTo>
                <a:cubicBezTo>
                  <a:pt x="1893" y="445"/>
                  <a:pt x="1894" y="445"/>
                  <a:pt x="1894" y="444"/>
                </a:cubicBezTo>
                <a:lnTo>
                  <a:pt x="1893" y="441"/>
                </a:lnTo>
                <a:cubicBezTo>
                  <a:pt x="1893" y="439"/>
                  <a:pt x="1894" y="438"/>
                  <a:pt x="1895" y="436"/>
                </a:cubicBezTo>
                <a:cubicBezTo>
                  <a:pt x="1896" y="434"/>
                  <a:pt x="1897" y="433"/>
                  <a:pt x="1898" y="433"/>
                </a:cubicBezTo>
                <a:lnTo>
                  <a:pt x="1900" y="433"/>
                </a:lnTo>
                <a:cubicBezTo>
                  <a:pt x="1900" y="433"/>
                  <a:pt x="1901" y="433"/>
                  <a:pt x="1901" y="433"/>
                </a:cubicBezTo>
                <a:lnTo>
                  <a:pt x="1900" y="430"/>
                </a:lnTo>
                <a:cubicBezTo>
                  <a:pt x="1900" y="429"/>
                  <a:pt x="1900" y="427"/>
                  <a:pt x="1901" y="425"/>
                </a:cubicBezTo>
                <a:cubicBezTo>
                  <a:pt x="1902" y="424"/>
                  <a:pt x="1903" y="422"/>
                  <a:pt x="1904" y="421"/>
                </a:cubicBezTo>
                <a:cubicBezTo>
                  <a:pt x="1905" y="419"/>
                  <a:pt x="1906" y="419"/>
                  <a:pt x="1907" y="419"/>
                </a:cubicBezTo>
                <a:lnTo>
                  <a:pt x="1909" y="419"/>
                </a:lnTo>
                <a:cubicBezTo>
                  <a:pt x="1910" y="419"/>
                  <a:pt x="1910" y="419"/>
                  <a:pt x="1911" y="418"/>
                </a:cubicBezTo>
                <a:cubicBezTo>
                  <a:pt x="1912" y="417"/>
                  <a:pt x="1912" y="416"/>
                  <a:pt x="1912" y="416"/>
                </a:cubicBezTo>
                <a:lnTo>
                  <a:pt x="1909" y="417"/>
                </a:lnTo>
                <a:cubicBezTo>
                  <a:pt x="1908" y="417"/>
                  <a:pt x="1908" y="417"/>
                  <a:pt x="1908" y="417"/>
                </a:cubicBezTo>
                <a:cubicBezTo>
                  <a:pt x="1908" y="415"/>
                  <a:pt x="1910" y="410"/>
                  <a:pt x="1915" y="403"/>
                </a:cubicBezTo>
                <a:cubicBezTo>
                  <a:pt x="1920" y="397"/>
                  <a:pt x="1923" y="393"/>
                  <a:pt x="1924" y="393"/>
                </a:cubicBezTo>
                <a:cubicBezTo>
                  <a:pt x="1924" y="394"/>
                  <a:pt x="1925" y="394"/>
                  <a:pt x="1926" y="394"/>
                </a:cubicBezTo>
                <a:cubicBezTo>
                  <a:pt x="1927" y="394"/>
                  <a:pt x="1928" y="393"/>
                  <a:pt x="1929" y="392"/>
                </a:cubicBezTo>
                <a:cubicBezTo>
                  <a:pt x="1930" y="392"/>
                  <a:pt x="1931" y="391"/>
                  <a:pt x="1931" y="391"/>
                </a:cubicBezTo>
                <a:cubicBezTo>
                  <a:pt x="1931" y="391"/>
                  <a:pt x="1931" y="391"/>
                  <a:pt x="1931" y="391"/>
                </a:cubicBezTo>
                <a:cubicBezTo>
                  <a:pt x="1931" y="393"/>
                  <a:pt x="1930" y="395"/>
                  <a:pt x="1927" y="399"/>
                </a:cubicBezTo>
                <a:cubicBezTo>
                  <a:pt x="1925" y="400"/>
                  <a:pt x="1924" y="400"/>
                  <a:pt x="1924" y="400"/>
                </a:cubicBezTo>
                <a:lnTo>
                  <a:pt x="1923" y="400"/>
                </a:lnTo>
                <a:lnTo>
                  <a:pt x="1925" y="398"/>
                </a:lnTo>
                <a:cubicBezTo>
                  <a:pt x="1925" y="398"/>
                  <a:pt x="1924" y="397"/>
                  <a:pt x="1924" y="397"/>
                </a:cubicBezTo>
                <a:lnTo>
                  <a:pt x="1923" y="399"/>
                </a:lnTo>
                <a:cubicBezTo>
                  <a:pt x="1922" y="399"/>
                  <a:pt x="1922" y="400"/>
                  <a:pt x="1922" y="401"/>
                </a:cubicBezTo>
                <a:lnTo>
                  <a:pt x="1922" y="404"/>
                </a:lnTo>
                <a:cubicBezTo>
                  <a:pt x="1922" y="405"/>
                  <a:pt x="1922" y="406"/>
                  <a:pt x="1920" y="407"/>
                </a:cubicBezTo>
                <a:cubicBezTo>
                  <a:pt x="1919" y="409"/>
                  <a:pt x="1918" y="409"/>
                  <a:pt x="1917" y="409"/>
                </a:cubicBezTo>
                <a:lnTo>
                  <a:pt x="1915" y="409"/>
                </a:lnTo>
                <a:lnTo>
                  <a:pt x="1915" y="411"/>
                </a:lnTo>
                <a:cubicBezTo>
                  <a:pt x="1915" y="413"/>
                  <a:pt x="1915" y="414"/>
                  <a:pt x="1914" y="417"/>
                </a:cubicBezTo>
                <a:cubicBezTo>
                  <a:pt x="1912" y="419"/>
                  <a:pt x="1911" y="422"/>
                  <a:pt x="1909" y="425"/>
                </a:cubicBezTo>
                <a:cubicBezTo>
                  <a:pt x="1907" y="429"/>
                  <a:pt x="1905" y="432"/>
                  <a:pt x="1903" y="435"/>
                </a:cubicBezTo>
                <a:cubicBezTo>
                  <a:pt x="1901" y="438"/>
                  <a:pt x="1900" y="441"/>
                  <a:pt x="1899" y="442"/>
                </a:cubicBezTo>
                <a:cubicBezTo>
                  <a:pt x="1898" y="444"/>
                  <a:pt x="1897" y="446"/>
                  <a:pt x="1895" y="447"/>
                </a:cubicBezTo>
                <a:cubicBezTo>
                  <a:pt x="1893" y="448"/>
                  <a:pt x="1891" y="449"/>
                  <a:pt x="1890" y="449"/>
                </a:cubicBezTo>
                <a:close/>
                <a:moveTo>
                  <a:pt x="1926" y="391"/>
                </a:moveTo>
                <a:cubicBezTo>
                  <a:pt x="1925" y="391"/>
                  <a:pt x="1925" y="391"/>
                  <a:pt x="1925" y="391"/>
                </a:cubicBezTo>
                <a:cubicBezTo>
                  <a:pt x="1925" y="389"/>
                  <a:pt x="1929" y="384"/>
                  <a:pt x="1937" y="373"/>
                </a:cubicBezTo>
                <a:cubicBezTo>
                  <a:pt x="1943" y="365"/>
                  <a:pt x="1947" y="359"/>
                  <a:pt x="1947" y="356"/>
                </a:cubicBezTo>
                <a:cubicBezTo>
                  <a:pt x="1947" y="355"/>
                  <a:pt x="1946" y="355"/>
                  <a:pt x="1946" y="354"/>
                </a:cubicBezTo>
                <a:cubicBezTo>
                  <a:pt x="1946" y="353"/>
                  <a:pt x="1945" y="353"/>
                  <a:pt x="1945" y="351"/>
                </a:cubicBezTo>
                <a:cubicBezTo>
                  <a:pt x="1945" y="350"/>
                  <a:pt x="1946" y="349"/>
                  <a:pt x="1948" y="347"/>
                </a:cubicBezTo>
                <a:cubicBezTo>
                  <a:pt x="1949" y="345"/>
                  <a:pt x="1950" y="344"/>
                  <a:pt x="1951" y="344"/>
                </a:cubicBezTo>
                <a:lnTo>
                  <a:pt x="1951" y="345"/>
                </a:lnTo>
                <a:lnTo>
                  <a:pt x="1948" y="353"/>
                </a:lnTo>
                <a:cubicBezTo>
                  <a:pt x="1948" y="353"/>
                  <a:pt x="1949" y="352"/>
                  <a:pt x="1952" y="348"/>
                </a:cubicBezTo>
                <a:cubicBezTo>
                  <a:pt x="1954" y="346"/>
                  <a:pt x="1956" y="345"/>
                  <a:pt x="1956" y="345"/>
                </a:cubicBezTo>
                <a:cubicBezTo>
                  <a:pt x="1957" y="345"/>
                  <a:pt x="1957" y="345"/>
                  <a:pt x="1957" y="346"/>
                </a:cubicBezTo>
                <a:cubicBezTo>
                  <a:pt x="1957" y="348"/>
                  <a:pt x="1956" y="350"/>
                  <a:pt x="1954" y="353"/>
                </a:cubicBezTo>
                <a:lnTo>
                  <a:pt x="1953" y="355"/>
                </a:lnTo>
                <a:lnTo>
                  <a:pt x="1956" y="354"/>
                </a:lnTo>
                <a:cubicBezTo>
                  <a:pt x="1957" y="354"/>
                  <a:pt x="1957" y="354"/>
                  <a:pt x="1957" y="355"/>
                </a:cubicBezTo>
                <a:cubicBezTo>
                  <a:pt x="1957" y="356"/>
                  <a:pt x="1953" y="362"/>
                  <a:pt x="1946" y="372"/>
                </a:cubicBezTo>
                <a:cubicBezTo>
                  <a:pt x="1938" y="384"/>
                  <a:pt x="1933" y="389"/>
                  <a:pt x="1932" y="389"/>
                </a:cubicBezTo>
                <a:cubicBezTo>
                  <a:pt x="1930" y="389"/>
                  <a:pt x="1929" y="390"/>
                  <a:pt x="1928" y="390"/>
                </a:cubicBezTo>
                <a:cubicBezTo>
                  <a:pt x="1927" y="391"/>
                  <a:pt x="1926" y="391"/>
                  <a:pt x="1926" y="391"/>
                </a:cubicBezTo>
                <a:close/>
                <a:moveTo>
                  <a:pt x="1941" y="374"/>
                </a:moveTo>
                <a:cubicBezTo>
                  <a:pt x="1941" y="374"/>
                  <a:pt x="1943" y="373"/>
                  <a:pt x="1945" y="370"/>
                </a:cubicBezTo>
                <a:lnTo>
                  <a:pt x="1947" y="368"/>
                </a:lnTo>
                <a:lnTo>
                  <a:pt x="1947" y="367"/>
                </a:lnTo>
                <a:cubicBezTo>
                  <a:pt x="1946" y="367"/>
                  <a:pt x="1946" y="368"/>
                  <a:pt x="1945" y="369"/>
                </a:cubicBezTo>
                <a:cubicBezTo>
                  <a:pt x="1944" y="370"/>
                  <a:pt x="1942" y="370"/>
                  <a:pt x="1942" y="371"/>
                </a:cubicBezTo>
                <a:cubicBezTo>
                  <a:pt x="1941" y="372"/>
                  <a:pt x="1940" y="373"/>
                  <a:pt x="1940" y="373"/>
                </a:cubicBezTo>
                <a:cubicBezTo>
                  <a:pt x="1940" y="374"/>
                  <a:pt x="1940" y="374"/>
                  <a:pt x="1941" y="374"/>
                </a:cubicBezTo>
                <a:close/>
                <a:moveTo>
                  <a:pt x="1948" y="365"/>
                </a:moveTo>
                <a:cubicBezTo>
                  <a:pt x="1948" y="365"/>
                  <a:pt x="1949" y="365"/>
                  <a:pt x="1949" y="364"/>
                </a:cubicBezTo>
                <a:cubicBezTo>
                  <a:pt x="1950" y="363"/>
                  <a:pt x="1951" y="362"/>
                  <a:pt x="1952" y="361"/>
                </a:cubicBezTo>
                <a:lnTo>
                  <a:pt x="1953" y="359"/>
                </a:lnTo>
                <a:lnTo>
                  <a:pt x="1953" y="358"/>
                </a:lnTo>
                <a:lnTo>
                  <a:pt x="1951" y="360"/>
                </a:lnTo>
                <a:cubicBezTo>
                  <a:pt x="1948" y="362"/>
                  <a:pt x="1947" y="364"/>
                  <a:pt x="1947" y="365"/>
                </a:cubicBezTo>
                <a:cubicBezTo>
                  <a:pt x="1947" y="365"/>
                  <a:pt x="1947" y="365"/>
                  <a:pt x="1948" y="365"/>
                </a:cubicBezTo>
                <a:close/>
                <a:moveTo>
                  <a:pt x="1880" y="475"/>
                </a:moveTo>
                <a:cubicBezTo>
                  <a:pt x="1879" y="475"/>
                  <a:pt x="1879" y="474"/>
                  <a:pt x="1879" y="472"/>
                </a:cubicBezTo>
                <a:cubicBezTo>
                  <a:pt x="1879" y="469"/>
                  <a:pt x="1880" y="468"/>
                  <a:pt x="1882" y="468"/>
                </a:cubicBezTo>
                <a:cubicBezTo>
                  <a:pt x="1882" y="468"/>
                  <a:pt x="1883" y="469"/>
                  <a:pt x="1883" y="470"/>
                </a:cubicBezTo>
                <a:cubicBezTo>
                  <a:pt x="1883" y="470"/>
                  <a:pt x="1882" y="471"/>
                  <a:pt x="1882" y="472"/>
                </a:cubicBezTo>
                <a:cubicBezTo>
                  <a:pt x="1882" y="473"/>
                  <a:pt x="1882" y="474"/>
                  <a:pt x="1881" y="474"/>
                </a:cubicBezTo>
                <a:cubicBezTo>
                  <a:pt x="1881" y="475"/>
                  <a:pt x="1880" y="475"/>
                  <a:pt x="1880" y="475"/>
                </a:cubicBezTo>
                <a:close/>
                <a:moveTo>
                  <a:pt x="2192" y="588"/>
                </a:moveTo>
                <a:cubicBezTo>
                  <a:pt x="2192" y="588"/>
                  <a:pt x="2191" y="587"/>
                  <a:pt x="2191" y="586"/>
                </a:cubicBezTo>
                <a:cubicBezTo>
                  <a:pt x="2190" y="585"/>
                  <a:pt x="2190" y="584"/>
                  <a:pt x="2190" y="584"/>
                </a:cubicBezTo>
                <a:cubicBezTo>
                  <a:pt x="2190" y="583"/>
                  <a:pt x="2190" y="583"/>
                  <a:pt x="2192" y="583"/>
                </a:cubicBezTo>
                <a:cubicBezTo>
                  <a:pt x="2193" y="583"/>
                  <a:pt x="2193" y="583"/>
                  <a:pt x="2193" y="585"/>
                </a:cubicBezTo>
                <a:cubicBezTo>
                  <a:pt x="2193" y="587"/>
                  <a:pt x="2193" y="588"/>
                  <a:pt x="2192" y="588"/>
                </a:cubicBezTo>
                <a:close/>
                <a:moveTo>
                  <a:pt x="2295" y="608"/>
                </a:moveTo>
                <a:cubicBezTo>
                  <a:pt x="2294" y="608"/>
                  <a:pt x="2294" y="608"/>
                  <a:pt x="2294" y="607"/>
                </a:cubicBezTo>
                <a:cubicBezTo>
                  <a:pt x="2294" y="606"/>
                  <a:pt x="2295" y="605"/>
                  <a:pt x="2296" y="604"/>
                </a:cubicBezTo>
                <a:lnTo>
                  <a:pt x="2298" y="604"/>
                </a:lnTo>
                <a:cubicBezTo>
                  <a:pt x="2299" y="604"/>
                  <a:pt x="2299" y="604"/>
                  <a:pt x="2299" y="605"/>
                </a:cubicBezTo>
                <a:cubicBezTo>
                  <a:pt x="2299" y="605"/>
                  <a:pt x="2299" y="606"/>
                  <a:pt x="2299" y="607"/>
                </a:cubicBezTo>
                <a:cubicBezTo>
                  <a:pt x="2298" y="607"/>
                  <a:pt x="2297" y="608"/>
                  <a:pt x="2295" y="608"/>
                </a:cubicBezTo>
                <a:close/>
                <a:moveTo>
                  <a:pt x="2318" y="591"/>
                </a:moveTo>
                <a:lnTo>
                  <a:pt x="2316" y="591"/>
                </a:lnTo>
                <a:cubicBezTo>
                  <a:pt x="2316" y="591"/>
                  <a:pt x="2315" y="591"/>
                  <a:pt x="2315" y="590"/>
                </a:cubicBezTo>
                <a:cubicBezTo>
                  <a:pt x="2314" y="590"/>
                  <a:pt x="2314" y="589"/>
                  <a:pt x="2314" y="589"/>
                </a:cubicBezTo>
                <a:cubicBezTo>
                  <a:pt x="2314" y="587"/>
                  <a:pt x="2315" y="586"/>
                  <a:pt x="2316" y="586"/>
                </a:cubicBezTo>
                <a:cubicBezTo>
                  <a:pt x="2318" y="586"/>
                  <a:pt x="2319" y="587"/>
                  <a:pt x="2319" y="588"/>
                </a:cubicBezTo>
                <a:cubicBezTo>
                  <a:pt x="2319" y="589"/>
                  <a:pt x="2318" y="590"/>
                  <a:pt x="2318" y="591"/>
                </a:cubicBezTo>
                <a:close/>
                <a:moveTo>
                  <a:pt x="2272" y="630"/>
                </a:moveTo>
                <a:lnTo>
                  <a:pt x="2275" y="626"/>
                </a:lnTo>
                <a:cubicBezTo>
                  <a:pt x="2277" y="623"/>
                  <a:pt x="2279" y="621"/>
                  <a:pt x="2280" y="621"/>
                </a:cubicBezTo>
                <a:cubicBezTo>
                  <a:pt x="2280" y="621"/>
                  <a:pt x="2280" y="621"/>
                  <a:pt x="2280" y="621"/>
                </a:cubicBezTo>
                <a:cubicBezTo>
                  <a:pt x="2280" y="623"/>
                  <a:pt x="2279" y="625"/>
                  <a:pt x="2276" y="627"/>
                </a:cubicBezTo>
                <a:cubicBezTo>
                  <a:pt x="2274" y="629"/>
                  <a:pt x="2273" y="630"/>
                  <a:pt x="2272" y="630"/>
                </a:cubicBezTo>
                <a:close/>
                <a:moveTo>
                  <a:pt x="2345" y="593"/>
                </a:moveTo>
                <a:lnTo>
                  <a:pt x="2344" y="593"/>
                </a:lnTo>
                <a:lnTo>
                  <a:pt x="2344" y="593"/>
                </a:lnTo>
                <a:cubicBezTo>
                  <a:pt x="2345" y="592"/>
                  <a:pt x="2346" y="590"/>
                  <a:pt x="2347" y="590"/>
                </a:cubicBezTo>
                <a:cubicBezTo>
                  <a:pt x="2348" y="589"/>
                  <a:pt x="2350" y="588"/>
                  <a:pt x="2351" y="587"/>
                </a:cubicBezTo>
                <a:cubicBezTo>
                  <a:pt x="2353" y="586"/>
                  <a:pt x="2354" y="585"/>
                  <a:pt x="2354" y="585"/>
                </a:cubicBezTo>
                <a:lnTo>
                  <a:pt x="2354" y="586"/>
                </a:lnTo>
                <a:cubicBezTo>
                  <a:pt x="2354" y="586"/>
                  <a:pt x="2354" y="587"/>
                  <a:pt x="2353" y="588"/>
                </a:cubicBezTo>
                <a:cubicBezTo>
                  <a:pt x="2351" y="588"/>
                  <a:pt x="2350" y="590"/>
                  <a:pt x="2348" y="591"/>
                </a:cubicBezTo>
                <a:cubicBezTo>
                  <a:pt x="2346" y="593"/>
                  <a:pt x="2345" y="593"/>
                  <a:pt x="2345" y="593"/>
                </a:cubicBezTo>
                <a:close/>
                <a:moveTo>
                  <a:pt x="2358" y="583"/>
                </a:moveTo>
                <a:lnTo>
                  <a:pt x="2358" y="583"/>
                </a:lnTo>
                <a:cubicBezTo>
                  <a:pt x="2358" y="582"/>
                  <a:pt x="2359" y="581"/>
                  <a:pt x="2361" y="580"/>
                </a:cubicBezTo>
                <a:cubicBezTo>
                  <a:pt x="2363" y="578"/>
                  <a:pt x="2365" y="577"/>
                  <a:pt x="2367" y="576"/>
                </a:cubicBezTo>
                <a:cubicBezTo>
                  <a:pt x="2369" y="575"/>
                  <a:pt x="2370" y="574"/>
                  <a:pt x="2371" y="574"/>
                </a:cubicBezTo>
                <a:lnTo>
                  <a:pt x="2371" y="575"/>
                </a:lnTo>
                <a:cubicBezTo>
                  <a:pt x="2371" y="576"/>
                  <a:pt x="2369" y="577"/>
                  <a:pt x="2364" y="580"/>
                </a:cubicBezTo>
                <a:cubicBezTo>
                  <a:pt x="2360" y="583"/>
                  <a:pt x="2358" y="583"/>
                  <a:pt x="2358" y="583"/>
                </a:cubicBezTo>
                <a:close/>
                <a:moveTo>
                  <a:pt x="2304" y="602"/>
                </a:moveTo>
                <a:lnTo>
                  <a:pt x="2304" y="602"/>
                </a:lnTo>
                <a:cubicBezTo>
                  <a:pt x="2303" y="602"/>
                  <a:pt x="2303" y="602"/>
                  <a:pt x="2303" y="600"/>
                </a:cubicBezTo>
                <a:cubicBezTo>
                  <a:pt x="2303" y="598"/>
                  <a:pt x="2304" y="596"/>
                  <a:pt x="2306" y="594"/>
                </a:cubicBezTo>
                <a:cubicBezTo>
                  <a:pt x="2308" y="592"/>
                  <a:pt x="2309" y="591"/>
                  <a:pt x="2311" y="591"/>
                </a:cubicBezTo>
                <a:cubicBezTo>
                  <a:pt x="2312" y="591"/>
                  <a:pt x="2312" y="592"/>
                  <a:pt x="2312" y="593"/>
                </a:cubicBezTo>
                <a:cubicBezTo>
                  <a:pt x="2312" y="594"/>
                  <a:pt x="2311" y="595"/>
                  <a:pt x="2309" y="596"/>
                </a:cubicBezTo>
                <a:cubicBezTo>
                  <a:pt x="2307" y="597"/>
                  <a:pt x="2306" y="598"/>
                  <a:pt x="2306" y="599"/>
                </a:cubicBezTo>
                <a:lnTo>
                  <a:pt x="2306" y="600"/>
                </a:lnTo>
                <a:cubicBezTo>
                  <a:pt x="2306" y="601"/>
                  <a:pt x="2305" y="602"/>
                  <a:pt x="2304" y="602"/>
                </a:cubicBezTo>
                <a:close/>
                <a:moveTo>
                  <a:pt x="2213" y="690"/>
                </a:moveTo>
                <a:close/>
                <a:moveTo>
                  <a:pt x="2214" y="691"/>
                </a:moveTo>
                <a:cubicBezTo>
                  <a:pt x="2213" y="691"/>
                  <a:pt x="2213" y="690"/>
                  <a:pt x="2213" y="690"/>
                </a:cubicBezTo>
                <a:cubicBezTo>
                  <a:pt x="2213" y="689"/>
                  <a:pt x="2214" y="688"/>
                  <a:pt x="2214" y="688"/>
                </a:cubicBezTo>
                <a:cubicBezTo>
                  <a:pt x="2215" y="687"/>
                  <a:pt x="2216" y="686"/>
                  <a:pt x="2218" y="685"/>
                </a:cubicBezTo>
                <a:lnTo>
                  <a:pt x="2219" y="683"/>
                </a:lnTo>
                <a:lnTo>
                  <a:pt x="2220" y="684"/>
                </a:lnTo>
                <a:lnTo>
                  <a:pt x="2218" y="686"/>
                </a:lnTo>
                <a:cubicBezTo>
                  <a:pt x="2216" y="689"/>
                  <a:pt x="2214" y="691"/>
                  <a:pt x="2214" y="691"/>
                </a:cubicBezTo>
                <a:close/>
                <a:moveTo>
                  <a:pt x="2165" y="766"/>
                </a:moveTo>
                <a:cubicBezTo>
                  <a:pt x="2162" y="766"/>
                  <a:pt x="2160" y="764"/>
                  <a:pt x="2157" y="762"/>
                </a:cubicBezTo>
                <a:cubicBezTo>
                  <a:pt x="2155" y="759"/>
                  <a:pt x="2154" y="758"/>
                  <a:pt x="2152" y="758"/>
                </a:cubicBezTo>
                <a:cubicBezTo>
                  <a:pt x="2152" y="759"/>
                  <a:pt x="2152" y="759"/>
                  <a:pt x="2152" y="759"/>
                </a:cubicBezTo>
                <a:cubicBezTo>
                  <a:pt x="2151" y="759"/>
                  <a:pt x="2149" y="758"/>
                  <a:pt x="2146" y="756"/>
                </a:cubicBezTo>
                <a:cubicBezTo>
                  <a:pt x="2144" y="754"/>
                  <a:pt x="2142" y="753"/>
                  <a:pt x="2140" y="753"/>
                </a:cubicBezTo>
                <a:lnTo>
                  <a:pt x="2139" y="754"/>
                </a:lnTo>
                <a:cubicBezTo>
                  <a:pt x="2138" y="754"/>
                  <a:pt x="2138" y="753"/>
                  <a:pt x="2137" y="752"/>
                </a:cubicBezTo>
                <a:cubicBezTo>
                  <a:pt x="2136" y="752"/>
                  <a:pt x="2135" y="750"/>
                  <a:pt x="2134" y="749"/>
                </a:cubicBezTo>
                <a:cubicBezTo>
                  <a:pt x="2133" y="747"/>
                  <a:pt x="2132" y="743"/>
                  <a:pt x="2132" y="736"/>
                </a:cubicBezTo>
                <a:cubicBezTo>
                  <a:pt x="2131" y="729"/>
                  <a:pt x="2131" y="722"/>
                  <a:pt x="2131" y="715"/>
                </a:cubicBezTo>
                <a:cubicBezTo>
                  <a:pt x="2131" y="703"/>
                  <a:pt x="2131" y="697"/>
                  <a:pt x="2133" y="697"/>
                </a:cubicBezTo>
                <a:lnTo>
                  <a:pt x="2133" y="697"/>
                </a:lnTo>
                <a:cubicBezTo>
                  <a:pt x="2134" y="697"/>
                  <a:pt x="2135" y="693"/>
                  <a:pt x="2137" y="685"/>
                </a:cubicBezTo>
                <a:cubicBezTo>
                  <a:pt x="2138" y="682"/>
                  <a:pt x="2139" y="679"/>
                  <a:pt x="2140" y="677"/>
                </a:cubicBezTo>
                <a:lnTo>
                  <a:pt x="2142" y="674"/>
                </a:lnTo>
                <a:lnTo>
                  <a:pt x="2142" y="674"/>
                </a:lnTo>
                <a:cubicBezTo>
                  <a:pt x="2143" y="674"/>
                  <a:pt x="2143" y="673"/>
                  <a:pt x="2143" y="672"/>
                </a:cubicBezTo>
                <a:lnTo>
                  <a:pt x="2143" y="667"/>
                </a:lnTo>
                <a:cubicBezTo>
                  <a:pt x="2143" y="662"/>
                  <a:pt x="2144" y="659"/>
                  <a:pt x="2147" y="659"/>
                </a:cubicBezTo>
                <a:cubicBezTo>
                  <a:pt x="2148" y="659"/>
                  <a:pt x="2149" y="659"/>
                  <a:pt x="2149" y="660"/>
                </a:cubicBezTo>
                <a:cubicBezTo>
                  <a:pt x="2149" y="661"/>
                  <a:pt x="2149" y="661"/>
                  <a:pt x="2148" y="662"/>
                </a:cubicBezTo>
                <a:cubicBezTo>
                  <a:pt x="2148" y="662"/>
                  <a:pt x="2147" y="665"/>
                  <a:pt x="2146" y="670"/>
                </a:cubicBezTo>
                <a:cubicBezTo>
                  <a:pt x="2146" y="673"/>
                  <a:pt x="2145" y="675"/>
                  <a:pt x="2144" y="676"/>
                </a:cubicBezTo>
                <a:cubicBezTo>
                  <a:pt x="2143" y="677"/>
                  <a:pt x="2143" y="678"/>
                  <a:pt x="2143" y="681"/>
                </a:cubicBezTo>
                <a:cubicBezTo>
                  <a:pt x="2143" y="681"/>
                  <a:pt x="2143" y="681"/>
                  <a:pt x="2143" y="682"/>
                </a:cubicBezTo>
                <a:cubicBezTo>
                  <a:pt x="2143" y="683"/>
                  <a:pt x="2143" y="684"/>
                  <a:pt x="2142" y="684"/>
                </a:cubicBezTo>
                <a:cubicBezTo>
                  <a:pt x="2141" y="685"/>
                  <a:pt x="2140" y="686"/>
                  <a:pt x="2140" y="688"/>
                </a:cubicBezTo>
                <a:lnTo>
                  <a:pt x="2141" y="690"/>
                </a:lnTo>
                <a:cubicBezTo>
                  <a:pt x="2141" y="690"/>
                  <a:pt x="2140" y="691"/>
                  <a:pt x="2139" y="691"/>
                </a:cubicBezTo>
                <a:cubicBezTo>
                  <a:pt x="2138" y="691"/>
                  <a:pt x="2137" y="691"/>
                  <a:pt x="2137" y="693"/>
                </a:cubicBezTo>
                <a:lnTo>
                  <a:pt x="2137" y="693"/>
                </a:lnTo>
                <a:cubicBezTo>
                  <a:pt x="2137" y="696"/>
                  <a:pt x="2137" y="699"/>
                  <a:pt x="2135" y="703"/>
                </a:cubicBezTo>
                <a:cubicBezTo>
                  <a:pt x="2134" y="710"/>
                  <a:pt x="2133" y="718"/>
                  <a:pt x="2133" y="726"/>
                </a:cubicBezTo>
                <a:cubicBezTo>
                  <a:pt x="2133" y="736"/>
                  <a:pt x="2134" y="742"/>
                  <a:pt x="2137" y="742"/>
                </a:cubicBezTo>
                <a:cubicBezTo>
                  <a:pt x="2139" y="742"/>
                  <a:pt x="2140" y="737"/>
                  <a:pt x="2141" y="728"/>
                </a:cubicBezTo>
                <a:cubicBezTo>
                  <a:pt x="2141" y="718"/>
                  <a:pt x="2143" y="705"/>
                  <a:pt x="2147" y="688"/>
                </a:cubicBezTo>
                <a:cubicBezTo>
                  <a:pt x="2152" y="670"/>
                  <a:pt x="2156" y="656"/>
                  <a:pt x="2160" y="645"/>
                </a:cubicBezTo>
                <a:cubicBezTo>
                  <a:pt x="2163" y="636"/>
                  <a:pt x="2165" y="630"/>
                  <a:pt x="2165" y="628"/>
                </a:cubicBezTo>
                <a:cubicBezTo>
                  <a:pt x="2165" y="627"/>
                  <a:pt x="2165" y="626"/>
                  <a:pt x="2164" y="626"/>
                </a:cubicBezTo>
                <a:cubicBezTo>
                  <a:pt x="2163" y="626"/>
                  <a:pt x="2162" y="627"/>
                  <a:pt x="2161" y="629"/>
                </a:cubicBezTo>
                <a:cubicBezTo>
                  <a:pt x="2158" y="634"/>
                  <a:pt x="2157" y="638"/>
                  <a:pt x="2157" y="641"/>
                </a:cubicBezTo>
                <a:cubicBezTo>
                  <a:pt x="2157" y="641"/>
                  <a:pt x="2157" y="642"/>
                  <a:pt x="2157" y="642"/>
                </a:cubicBezTo>
                <a:cubicBezTo>
                  <a:pt x="2158" y="642"/>
                  <a:pt x="2158" y="643"/>
                  <a:pt x="2158" y="643"/>
                </a:cubicBezTo>
                <a:cubicBezTo>
                  <a:pt x="2158" y="643"/>
                  <a:pt x="2157" y="644"/>
                  <a:pt x="2157" y="644"/>
                </a:cubicBezTo>
                <a:cubicBezTo>
                  <a:pt x="2156" y="644"/>
                  <a:pt x="2155" y="643"/>
                  <a:pt x="2154" y="643"/>
                </a:cubicBezTo>
                <a:cubicBezTo>
                  <a:pt x="2153" y="643"/>
                  <a:pt x="2152" y="643"/>
                  <a:pt x="2151" y="642"/>
                </a:cubicBezTo>
                <a:cubicBezTo>
                  <a:pt x="2150" y="642"/>
                  <a:pt x="2150" y="642"/>
                  <a:pt x="2150" y="642"/>
                </a:cubicBezTo>
                <a:cubicBezTo>
                  <a:pt x="2150" y="641"/>
                  <a:pt x="2151" y="639"/>
                  <a:pt x="2152" y="637"/>
                </a:cubicBezTo>
                <a:cubicBezTo>
                  <a:pt x="2154" y="631"/>
                  <a:pt x="2156" y="627"/>
                  <a:pt x="2157" y="624"/>
                </a:cubicBezTo>
                <a:lnTo>
                  <a:pt x="2159" y="621"/>
                </a:lnTo>
                <a:lnTo>
                  <a:pt x="2160" y="622"/>
                </a:lnTo>
                <a:cubicBezTo>
                  <a:pt x="2160" y="622"/>
                  <a:pt x="2160" y="622"/>
                  <a:pt x="2160" y="621"/>
                </a:cubicBezTo>
                <a:lnTo>
                  <a:pt x="2159" y="617"/>
                </a:lnTo>
                <a:cubicBezTo>
                  <a:pt x="2159" y="616"/>
                  <a:pt x="2160" y="615"/>
                  <a:pt x="2161" y="615"/>
                </a:cubicBezTo>
                <a:cubicBezTo>
                  <a:pt x="2162" y="615"/>
                  <a:pt x="2162" y="614"/>
                  <a:pt x="2162" y="611"/>
                </a:cubicBezTo>
                <a:lnTo>
                  <a:pt x="2161" y="609"/>
                </a:lnTo>
                <a:cubicBezTo>
                  <a:pt x="2161" y="609"/>
                  <a:pt x="2162" y="609"/>
                  <a:pt x="2163" y="609"/>
                </a:cubicBezTo>
                <a:cubicBezTo>
                  <a:pt x="2164" y="609"/>
                  <a:pt x="2165" y="606"/>
                  <a:pt x="2165" y="601"/>
                </a:cubicBezTo>
                <a:cubicBezTo>
                  <a:pt x="2165" y="595"/>
                  <a:pt x="2164" y="593"/>
                  <a:pt x="2163" y="592"/>
                </a:cubicBezTo>
                <a:cubicBezTo>
                  <a:pt x="2163" y="592"/>
                  <a:pt x="2162" y="592"/>
                  <a:pt x="2162" y="591"/>
                </a:cubicBezTo>
                <a:cubicBezTo>
                  <a:pt x="2162" y="590"/>
                  <a:pt x="2163" y="588"/>
                  <a:pt x="2164" y="586"/>
                </a:cubicBezTo>
                <a:cubicBezTo>
                  <a:pt x="2165" y="583"/>
                  <a:pt x="2167" y="581"/>
                  <a:pt x="2168" y="581"/>
                </a:cubicBezTo>
                <a:cubicBezTo>
                  <a:pt x="2169" y="581"/>
                  <a:pt x="2169" y="582"/>
                  <a:pt x="2170" y="582"/>
                </a:cubicBezTo>
                <a:cubicBezTo>
                  <a:pt x="2170" y="582"/>
                  <a:pt x="2171" y="583"/>
                  <a:pt x="2171" y="583"/>
                </a:cubicBezTo>
                <a:cubicBezTo>
                  <a:pt x="2171" y="583"/>
                  <a:pt x="2171" y="582"/>
                  <a:pt x="2171" y="582"/>
                </a:cubicBezTo>
                <a:cubicBezTo>
                  <a:pt x="2171" y="582"/>
                  <a:pt x="2171" y="581"/>
                  <a:pt x="2170" y="580"/>
                </a:cubicBezTo>
                <a:cubicBezTo>
                  <a:pt x="2168" y="578"/>
                  <a:pt x="2168" y="577"/>
                  <a:pt x="2168" y="576"/>
                </a:cubicBezTo>
                <a:cubicBezTo>
                  <a:pt x="2168" y="574"/>
                  <a:pt x="2169" y="572"/>
                  <a:pt x="2171" y="569"/>
                </a:cubicBezTo>
                <a:cubicBezTo>
                  <a:pt x="2174" y="564"/>
                  <a:pt x="2177" y="558"/>
                  <a:pt x="2179" y="552"/>
                </a:cubicBezTo>
                <a:cubicBezTo>
                  <a:pt x="2181" y="545"/>
                  <a:pt x="2185" y="537"/>
                  <a:pt x="2190" y="526"/>
                </a:cubicBezTo>
                <a:cubicBezTo>
                  <a:pt x="2194" y="518"/>
                  <a:pt x="2196" y="513"/>
                  <a:pt x="2196" y="511"/>
                </a:cubicBezTo>
                <a:lnTo>
                  <a:pt x="2195" y="511"/>
                </a:lnTo>
                <a:cubicBezTo>
                  <a:pt x="2195" y="510"/>
                  <a:pt x="2201" y="497"/>
                  <a:pt x="2214" y="474"/>
                </a:cubicBezTo>
                <a:cubicBezTo>
                  <a:pt x="2222" y="460"/>
                  <a:pt x="2226" y="452"/>
                  <a:pt x="2228" y="450"/>
                </a:cubicBezTo>
                <a:cubicBezTo>
                  <a:pt x="2239" y="435"/>
                  <a:pt x="2247" y="428"/>
                  <a:pt x="2253" y="428"/>
                </a:cubicBezTo>
                <a:cubicBezTo>
                  <a:pt x="2256" y="428"/>
                  <a:pt x="2257" y="430"/>
                  <a:pt x="2257" y="434"/>
                </a:cubicBezTo>
                <a:lnTo>
                  <a:pt x="2257" y="437"/>
                </a:lnTo>
                <a:cubicBezTo>
                  <a:pt x="2257" y="438"/>
                  <a:pt x="2259" y="439"/>
                  <a:pt x="2262" y="441"/>
                </a:cubicBezTo>
                <a:cubicBezTo>
                  <a:pt x="2266" y="442"/>
                  <a:pt x="2268" y="445"/>
                  <a:pt x="2269" y="450"/>
                </a:cubicBezTo>
                <a:cubicBezTo>
                  <a:pt x="2269" y="451"/>
                  <a:pt x="2270" y="452"/>
                  <a:pt x="2271" y="453"/>
                </a:cubicBezTo>
                <a:cubicBezTo>
                  <a:pt x="2272" y="454"/>
                  <a:pt x="2273" y="454"/>
                  <a:pt x="2276" y="454"/>
                </a:cubicBezTo>
                <a:cubicBezTo>
                  <a:pt x="2279" y="454"/>
                  <a:pt x="2281" y="455"/>
                  <a:pt x="2281" y="456"/>
                </a:cubicBezTo>
                <a:cubicBezTo>
                  <a:pt x="2281" y="456"/>
                  <a:pt x="2281" y="460"/>
                  <a:pt x="2281" y="465"/>
                </a:cubicBezTo>
                <a:cubicBezTo>
                  <a:pt x="2281" y="469"/>
                  <a:pt x="2281" y="471"/>
                  <a:pt x="2280" y="471"/>
                </a:cubicBezTo>
                <a:cubicBezTo>
                  <a:pt x="2279" y="471"/>
                  <a:pt x="2279" y="471"/>
                  <a:pt x="2279" y="472"/>
                </a:cubicBezTo>
                <a:lnTo>
                  <a:pt x="2279" y="474"/>
                </a:lnTo>
                <a:cubicBezTo>
                  <a:pt x="2279" y="476"/>
                  <a:pt x="2279" y="478"/>
                  <a:pt x="2278" y="478"/>
                </a:cubicBezTo>
                <a:cubicBezTo>
                  <a:pt x="2277" y="478"/>
                  <a:pt x="2276" y="480"/>
                  <a:pt x="2276" y="482"/>
                </a:cubicBezTo>
                <a:cubicBezTo>
                  <a:pt x="2275" y="485"/>
                  <a:pt x="2274" y="487"/>
                  <a:pt x="2274" y="487"/>
                </a:cubicBezTo>
                <a:cubicBezTo>
                  <a:pt x="2273" y="488"/>
                  <a:pt x="2273" y="490"/>
                  <a:pt x="2273" y="490"/>
                </a:cubicBezTo>
                <a:lnTo>
                  <a:pt x="2273" y="493"/>
                </a:lnTo>
                <a:cubicBezTo>
                  <a:pt x="2273" y="495"/>
                  <a:pt x="2272" y="498"/>
                  <a:pt x="2271" y="501"/>
                </a:cubicBezTo>
                <a:cubicBezTo>
                  <a:pt x="2269" y="504"/>
                  <a:pt x="2268" y="506"/>
                  <a:pt x="2268" y="507"/>
                </a:cubicBezTo>
                <a:cubicBezTo>
                  <a:pt x="2268" y="507"/>
                  <a:pt x="2268" y="507"/>
                  <a:pt x="2269" y="507"/>
                </a:cubicBezTo>
                <a:cubicBezTo>
                  <a:pt x="2269" y="507"/>
                  <a:pt x="2269" y="507"/>
                  <a:pt x="2269" y="508"/>
                </a:cubicBezTo>
                <a:cubicBezTo>
                  <a:pt x="2269" y="508"/>
                  <a:pt x="2269" y="509"/>
                  <a:pt x="2267" y="511"/>
                </a:cubicBezTo>
                <a:cubicBezTo>
                  <a:pt x="2265" y="513"/>
                  <a:pt x="2263" y="514"/>
                  <a:pt x="2261" y="514"/>
                </a:cubicBezTo>
                <a:cubicBezTo>
                  <a:pt x="2260" y="514"/>
                  <a:pt x="2259" y="514"/>
                  <a:pt x="2259" y="513"/>
                </a:cubicBezTo>
                <a:lnTo>
                  <a:pt x="2262" y="507"/>
                </a:lnTo>
                <a:cubicBezTo>
                  <a:pt x="2262" y="506"/>
                  <a:pt x="2261" y="506"/>
                  <a:pt x="2261" y="505"/>
                </a:cubicBezTo>
                <a:cubicBezTo>
                  <a:pt x="2261" y="503"/>
                  <a:pt x="2262" y="501"/>
                  <a:pt x="2264" y="497"/>
                </a:cubicBezTo>
                <a:cubicBezTo>
                  <a:pt x="2266" y="493"/>
                  <a:pt x="2267" y="489"/>
                  <a:pt x="2267" y="484"/>
                </a:cubicBezTo>
                <a:cubicBezTo>
                  <a:pt x="2267" y="482"/>
                  <a:pt x="2267" y="480"/>
                  <a:pt x="2268" y="480"/>
                </a:cubicBezTo>
                <a:cubicBezTo>
                  <a:pt x="2269" y="479"/>
                  <a:pt x="2269" y="478"/>
                  <a:pt x="2269" y="478"/>
                </a:cubicBezTo>
                <a:cubicBezTo>
                  <a:pt x="2269" y="478"/>
                  <a:pt x="2269" y="477"/>
                  <a:pt x="2268" y="477"/>
                </a:cubicBezTo>
                <a:cubicBezTo>
                  <a:pt x="2265" y="477"/>
                  <a:pt x="2263" y="480"/>
                  <a:pt x="2262" y="486"/>
                </a:cubicBezTo>
                <a:lnTo>
                  <a:pt x="2259" y="497"/>
                </a:lnTo>
                <a:cubicBezTo>
                  <a:pt x="2257" y="501"/>
                  <a:pt x="2256" y="504"/>
                  <a:pt x="2256" y="506"/>
                </a:cubicBezTo>
                <a:lnTo>
                  <a:pt x="2255" y="506"/>
                </a:lnTo>
                <a:lnTo>
                  <a:pt x="2253" y="506"/>
                </a:lnTo>
                <a:cubicBezTo>
                  <a:pt x="2252" y="506"/>
                  <a:pt x="2251" y="507"/>
                  <a:pt x="2250" y="508"/>
                </a:cubicBezTo>
                <a:cubicBezTo>
                  <a:pt x="2248" y="511"/>
                  <a:pt x="2243" y="521"/>
                  <a:pt x="2235" y="539"/>
                </a:cubicBezTo>
                <a:cubicBezTo>
                  <a:pt x="2220" y="572"/>
                  <a:pt x="2210" y="596"/>
                  <a:pt x="2205" y="610"/>
                </a:cubicBezTo>
                <a:cubicBezTo>
                  <a:pt x="2201" y="622"/>
                  <a:pt x="2195" y="640"/>
                  <a:pt x="2188" y="663"/>
                </a:cubicBezTo>
                <a:lnTo>
                  <a:pt x="2188" y="664"/>
                </a:lnTo>
                <a:cubicBezTo>
                  <a:pt x="2180" y="688"/>
                  <a:pt x="2177" y="701"/>
                  <a:pt x="2177" y="705"/>
                </a:cubicBezTo>
                <a:cubicBezTo>
                  <a:pt x="2177" y="705"/>
                  <a:pt x="2177" y="706"/>
                  <a:pt x="2177" y="706"/>
                </a:cubicBezTo>
                <a:cubicBezTo>
                  <a:pt x="2178" y="706"/>
                  <a:pt x="2178" y="705"/>
                  <a:pt x="2180" y="704"/>
                </a:cubicBezTo>
                <a:cubicBezTo>
                  <a:pt x="2182" y="702"/>
                  <a:pt x="2184" y="701"/>
                  <a:pt x="2185" y="701"/>
                </a:cubicBezTo>
                <a:cubicBezTo>
                  <a:pt x="2185" y="701"/>
                  <a:pt x="2185" y="701"/>
                  <a:pt x="2185" y="699"/>
                </a:cubicBezTo>
                <a:cubicBezTo>
                  <a:pt x="2185" y="698"/>
                  <a:pt x="2186" y="698"/>
                  <a:pt x="2188" y="698"/>
                </a:cubicBezTo>
                <a:cubicBezTo>
                  <a:pt x="2190" y="698"/>
                  <a:pt x="2191" y="697"/>
                  <a:pt x="2192" y="696"/>
                </a:cubicBezTo>
                <a:cubicBezTo>
                  <a:pt x="2192" y="695"/>
                  <a:pt x="2194" y="693"/>
                  <a:pt x="2197" y="690"/>
                </a:cubicBezTo>
                <a:cubicBezTo>
                  <a:pt x="2206" y="681"/>
                  <a:pt x="2213" y="676"/>
                  <a:pt x="2217" y="672"/>
                </a:cubicBezTo>
                <a:lnTo>
                  <a:pt x="2222" y="669"/>
                </a:lnTo>
                <a:cubicBezTo>
                  <a:pt x="2222" y="669"/>
                  <a:pt x="2222" y="669"/>
                  <a:pt x="2222" y="669"/>
                </a:cubicBezTo>
                <a:cubicBezTo>
                  <a:pt x="2223" y="669"/>
                  <a:pt x="2224" y="669"/>
                  <a:pt x="2225" y="667"/>
                </a:cubicBezTo>
                <a:cubicBezTo>
                  <a:pt x="2227" y="666"/>
                  <a:pt x="2227" y="665"/>
                  <a:pt x="2227" y="664"/>
                </a:cubicBezTo>
                <a:lnTo>
                  <a:pt x="2227" y="663"/>
                </a:lnTo>
                <a:cubicBezTo>
                  <a:pt x="2227" y="661"/>
                  <a:pt x="2231" y="656"/>
                  <a:pt x="2239" y="649"/>
                </a:cubicBezTo>
                <a:cubicBezTo>
                  <a:pt x="2247" y="642"/>
                  <a:pt x="2252" y="638"/>
                  <a:pt x="2254" y="638"/>
                </a:cubicBezTo>
                <a:cubicBezTo>
                  <a:pt x="2256" y="638"/>
                  <a:pt x="2258" y="636"/>
                  <a:pt x="2260" y="631"/>
                </a:cubicBezTo>
                <a:cubicBezTo>
                  <a:pt x="2263" y="627"/>
                  <a:pt x="2264" y="625"/>
                  <a:pt x="2265" y="625"/>
                </a:cubicBezTo>
                <a:cubicBezTo>
                  <a:pt x="2266" y="625"/>
                  <a:pt x="2269" y="622"/>
                  <a:pt x="2275" y="616"/>
                </a:cubicBezTo>
                <a:cubicBezTo>
                  <a:pt x="2295" y="597"/>
                  <a:pt x="2308" y="585"/>
                  <a:pt x="2313" y="582"/>
                </a:cubicBezTo>
                <a:cubicBezTo>
                  <a:pt x="2316" y="580"/>
                  <a:pt x="2318" y="579"/>
                  <a:pt x="2318" y="578"/>
                </a:cubicBezTo>
                <a:cubicBezTo>
                  <a:pt x="2318" y="578"/>
                  <a:pt x="2318" y="577"/>
                  <a:pt x="2319" y="576"/>
                </a:cubicBezTo>
                <a:cubicBezTo>
                  <a:pt x="2320" y="575"/>
                  <a:pt x="2321" y="575"/>
                  <a:pt x="2323" y="575"/>
                </a:cubicBezTo>
                <a:cubicBezTo>
                  <a:pt x="2323" y="575"/>
                  <a:pt x="2323" y="575"/>
                  <a:pt x="2323" y="575"/>
                </a:cubicBezTo>
                <a:cubicBezTo>
                  <a:pt x="2323" y="576"/>
                  <a:pt x="2323" y="576"/>
                  <a:pt x="2322" y="577"/>
                </a:cubicBezTo>
                <a:cubicBezTo>
                  <a:pt x="2321" y="579"/>
                  <a:pt x="2320" y="581"/>
                  <a:pt x="2320" y="583"/>
                </a:cubicBezTo>
                <a:cubicBezTo>
                  <a:pt x="2320" y="585"/>
                  <a:pt x="2321" y="586"/>
                  <a:pt x="2324" y="586"/>
                </a:cubicBezTo>
                <a:cubicBezTo>
                  <a:pt x="2325" y="586"/>
                  <a:pt x="2327" y="585"/>
                  <a:pt x="2329" y="583"/>
                </a:cubicBezTo>
                <a:cubicBezTo>
                  <a:pt x="2331" y="581"/>
                  <a:pt x="2331" y="580"/>
                  <a:pt x="2331" y="579"/>
                </a:cubicBezTo>
                <a:cubicBezTo>
                  <a:pt x="2331" y="577"/>
                  <a:pt x="2331" y="576"/>
                  <a:pt x="2329" y="576"/>
                </a:cubicBezTo>
                <a:cubicBezTo>
                  <a:pt x="2329" y="576"/>
                  <a:pt x="2328" y="577"/>
                  <a:pt x="2328" y="577"/>
                </a:cubicBezTo>
                <a:lnTo>
                  <a:pt x="2330" y="580"/>
                </a:lnTo>
                <a:lnTo>
                  <a:pt x="2326" y="579"/>
                </a:lnTo>
                <a:lnTo>
                  <a:pt x="2328" y="582"/>
                </a:lnTo>
                <a:cubicBezTo>
                  <a:pt x="2328" y="582"/>
                  <a:pt x="2328" y="583"/>
                  <a:pt x="2328" y="583"/>
                </a:cubicBezTo>
                <a:cubicBezTo>
                  <a:pt x="2327" y="583"/>
                  <a:pt x="2327" y="582"/>
                  <a:pt x="2326" y="582"/>
                </a:cubicBezTo>
                <a:cubicBezTo>
                  <a:pt x="2325" y="581"/>
                  <a:pt x="2324" y="580"/>
                  <a:pt x="2324" y="580"/>
                </a:cubicBezTo>
                <a:cubicBezTo>
                  <a:pt x="2324" y="579"/>
                  <a:pt x="2325" y="578"/>
                  <a:pt x="2326" y="578"/>
                </a:cubicBezTo>
                <a:cubicBezTo>
                  <a:pt x="2326" y="577"/>
                  <a:pt x="2326" y="576"/>
                  <a:pt x="2327" y="576"/>
                </a:cubicBezTo>
                <a:cubicBezTo>
                  <a:pt x="2327" y="576"/>
                  <a:pt x="2327" y="575"/>
                  <a:pt x="2327" y="573"/>
                </a:cubicBezTo>
                <a:lnTo>
                  <a:pt x="2327" y="573"/>
                </a:lnTo>
                <a:cubicBezTo>
                  <a:pt x="2327" y="572"/>
                  <a:pt x="2329" y="570"/>
                  <a:pt x="2333" y="567"/>
                </a:cubicBezTo>
                <a:lnTo>
                  <a:pt x="2338" y="563"/>
                </a:lnTo>
                <a:lnTo>
                  <a:pt x="2334" y="567"/>
                </a:lnTo>
                <a:cubicBezTo>
                  <a:pt x="2331" y="569"/>
                  <a:pt x="2330" y="571"/>
                  <a:pt x="2330" y="572"/>
                </a:cubicBezTo>
                <a:cubicBezTo>
                  <a:pt x="2330" y="573"/>
                  <a:pt x="2332" y="573"/>
                  <a:pt x="2336" y="573"/>
                </a:cubicBezTo>
                <a:cubicBezTo>
                  <a:pt x="2342" y="573"/>
                  <a:pt x="2345" y="572"/>
                  <a:pt x="2345" y="570"/>
                </a:cubicBezTo>
                <a:cubicBezTo>
                  <a:pt x="2345" y="570"/>
                  <a:pt x="2345" y="569"/>
                  <a:pt x="2344" y="568"/>
                </a:cubicBezTo>
                <a:cubicBezTo>
                  <a:pt x="2343" y="568"/>
                  <a:pt x="2342" y="567"/>
                  <a:pt x="2342" y="567"/>
                </a:cubicBezTo>
                <a:lnTo>
                  <a:pt x="2343" y="571"/>
                </a:lnTo>
                <a:cubicBezTo>
                  <a:pt x="2343" y="571"/>
                  <a:pt x="2342" y="571"/>
                  <a:pt x="2341" y="570"/>
                </a:cubicBezTo>
                <a:cubicBezTo>
                  <a:pt x="2340" y="570"/>
                  <a:pt x="2339" y="569"/>
                  <a:pt x="2339" y="568"/>
                </a:cubicBezTo>
                <a:cubicBezTo>
                  <a:pt x="2339" y="567"/>
                  <a:pt x="2342" y="566"/>
                  <a:pt x="2348" y="566"/>
                </a:cubicBezTo>
                <a:cubicBezTo>
                  <a:pt x="2352" y="566"/>
                  <a:pt x="2354" y="565"/>
                  <a:pt x="2354" y="564"/>
                </a:cubicBezTo>
                <a:cubicBezTo>
                  <a:pt x="2354" y="563"/>
                  <a:pt x="2356" y="562"/>
                  <a:pt x="2358" y="561"/>
                </a:cubicBezTo>
                <a:cubicBezTo>
                  <a:pt x="2361" y="561"/>
                  <a:pt x="2363" y="560"/>
                  <a:pt x="2363" y="559"/>
                </a:cubicBezTo>
                <a:lnTo>
                  <a:pt x="2361" y="556"/>
                </a:lnTo>
                <a:cubicBezTo>
                  <a:pt x="2361" y="555"/>
                  <a:pt x="2362" y="555"/>
                  <a:pt x="2364" y="555"/>
                </a:cubicBezTo>
                <a:cubicBezTo>
                  <a:pt x="2368" y="555"/>
                  <a:pt x="2373" y="556"/>
                  <a:pt x="2381" y="560"/>
                </a:cubicBezTo>
                <a:cubicBezTo>
                  <a:pt x="2388" y="563"/>
                  <a:pt x="2394" y="567"/>
                  <a:pt x="2398" y="571"/>
                </a:cubicBezTo>
                <a:lnTo>
                  <a:pt x="2403" y="577"/>
                </a:lnTo>
                <a:lnTo>
                  <a:pt x="2401" y="577"/>
                </a:lnTo>
                <a:cubicBezTo>
                  <a:pt x="2400" y="577"/>
                  <a:pt x="2400" y="577"/>
                  <a:pt x="2399" y="578"/>
                </a:cubicBezTo>
                <a:lnTo>
                  <a:pt x="2399" y="578"/>
                </a:lnTo>
                <a:cubicBezTo>
                  <a:pt x="2399" y="579"/>
                  <a:pt x="2400" y="579"/>
                  <a:pt x="2401" y="579"/>
                </a:cubicBezTo>
                <a:cubicBezTo>
                  <a:pt x="2407" y="579"/>
                  <a:pt x="2410" y="580"/>
                  <a:pt x="2410" y="583"/>
                </a:cubicBezTo>
                <a:lnTo>
                  <a:pt x="2408" y="581"/>
                </a:lnTo>
                <a:lnTo>
                  <a:pt x="2407" y="581"/>
                </a:lnTo>
                <a:cubicBezTo>
                  <a:pt x="2407" y="582"/>
                  <a:pt x="2409" y="584"/>
                  <a:pt x="2412" y="587"/>
                </a:cubicBezTo>
                <a:cubicBezTo>
                  <a:pt x="2419" y="594"/>
                  <a:pt x="2426" y="610"/>
                  <a:pt x="2432" y="634"/>
                </a:cubicBezTo>
                <a:cubicBezTo>
                  <a:pt x="2434" y="643"/>
                  <a:pt x="2437" y="652"/>
                  <a:pt x="2440" y="661"/>
                </a:cubicBezTo>
                <a:cubicBezTo>
                  <a:pt x="2447" y="676"/>
                  <a:pt x="2452" y="683"/>
                  <a:pt x="2456" y="683"/>
                </a:cubicBezTo>
                <a:cubicBezTo>
                  <a:pt x="2457" y="683"/>
                  <a:pt x="2457" y="683"/>
                  <a:pt x="2457" y="683"/>
                </a:cubicBezTo>
                <a:cubicBezTo>
                  <a:pt x="2457" y="681"/>
                  <a:pt x="2456" y="679"/>
                  <a:pt x="2453" y="676"/>
                </a:cubicBezTo>
                <a:cubicBezTo>
                  <a:pt x="2450" y="672"/>
                  <a:pt x="2448" y="667"/>
                  <a:pt x="2445" y="662"/>
                </a:cubicBezTo>
                <a:cubicBezTo>
                  <a:pt x="2443" y="658"/>
                  <a:pt x="2442" y="655"/>
                  <a:pt x="2442" y="653"/>
                </a:cubicBezTo>
                <a:lnTo>
                  <a:pt x="2442" y="653"/>
                </a:lnTo>
                <a:cubicBezTo>
                  <a:pt x="2443" y="653"/>
                  <a:pt x="2445" y="656"/>
                  <a:pt x="2448" y="662"/>
                </a:cubicBezTo>
                <a:cubicBezTo>
                  <a:pt x="2450" y="665"/>
                  <a:pt x="2451" y="668"/>
                  <a:pt x="2453" y="670"/>
                </a:cubicBezTo>
                <a:lnTo>
                  <a:pt x="2456" y="673"/>
                </a:lnTo>
                <a:lnTo>
                  <a:pt x="2456" y="673"/>
                </a:lnTo>
                <a:cubicBezTo>
                  <a:pt x="2457" y="673"/>
                  <a:pt x="2457" y="674"/>
                  <a:pt x="2457" y="676"/>
                </a:cubicBezTo>
                <a:cubicBezTo>
                  <a:pt x="2457" y="679"/>
                  <a:pt x="2460" y="681"/>
                  <a:pt x="2465" y="684"/>
                </a:cubicBezTo>
                <a:cubicBezTo>
                  <a:pt x="2471" y="687"/>
                  <a:pt x="2477" y="689"/>
                  <a:pt x="2483" y="690"/>
                </a:cubicBezTo>
                <a:cubicBezTo>
                  <a:pt x="2490" y="690"/>
                  <a:pt x="2493" y="689"/>
                  <a:pt x="2493" y="688"/>
                </a:cubicBezTo>
                <a:cubicBezTo>
                  <a:pt x="2493" y="687"/>
                  <a:pt x="2495" y="687"/>
                  <a:pt x="2497" y="687"/>
                </a:cubicBezTo>
                <a:lnTo>
                  <a:pt x="2500" y="688"/>
                </a:lnTo>
                <a:cubicBezTo>
                  <a:pt x="2501" y="688"/>
                  <a:pt x="2502" y="687"/>
                  <a:pt x="2502" y="686"/>
                </a:cubicBezTo>
                <a:cubicBezTo>
                  <a:pt x="2502" y="685"/>
                  <a:pt x="2503" y="685"/>
                  <a:pt x="2505" y="685"/>
                </a:cubicBezTo>
                <a:lnTo>
                  <a:pt x="2507" y="686"/>
                </a:lnTo>
                <a:cubicBezTo>
                  <a:pt x="2508" y="686"/>
                  <a:pt x="2509" y="685"/>
                  <a:pt x="2509" y="684"/>
                </a:cubicBezTo>
                <a:cubicBezTo>
                  <a:pt x="2509" y="683"/>
                  <a:pt x="2509" y="683"/>
                  <a:pt x="2511" y="683"/>
                </a:cubicBezTo>
                <a:lnTo>
                  <a:pt x="2512" y="683"/>
                </a:lnTo>
                <a:cubicBezTo>
                  <a:pt x="2512" y="683"/>
                  <a:pt x="2513" y="682"/>
                  <a:pt x="2513" y="681"/>
                </a:cubicBezTo>
                <a:cubicBezTo>
                  <a:pt x="2513" y="681"/>
                  <a:pt x="2514" y="680"/>
                  <a:pt x="2517" y="680"/>
                </a:cubicBezTo>
                <a:lnTo>
                  <a:pt x="2518" y="681"/>
                </a:lnTo>
                <a:cubicBezTo>
                  <a:pt x="2520" y="681"/>
                  <a:pt x="2522" y="679"/>
                  <a:pt x="2524" y="677"/>
                </a:cubicBezTo>
                <a:cubicBezTo>
                  <a:pt x="2525" y="674"/>
                  <a:pt x="2528" y="673"/>
                  <a:pt x="2530" y="673"/>
                </a:cubicBezTo>
                <a:lnTo>
                  <a:pt x="2532" y="674"/>
                </a:lnTo>
                <a:cubicBezTo>
                  <a:pt x="2533" y="674"/>
                  <a:pt x="2534" y="673"/>
                  <a:pt x="2534" y="672"/>
                </a:cubicBezTo>
                <a:lnTo>
                  <a:pt x="2534" y="671"/>
                </a:lnTo>
                <a:cubicBezTo>
                  <a:pt x="2534" y="670"/>
                  <a:pt x="2535" y="669"/>
                  <a:pt x="2538" y="669"/>
                </a:cubicBezTo>
                <a:cubicBezTo>
                  <a:pt x="2540" y="669"/>
                  <a:pt x="2542" y="669"/>
                  <a:pt x="2542" y="668"/>
                </a:cubicBezTo>
                <a:lnTo>
                  <a:pt x="2542" y="667"/>
                </a:lnTo>
                <a:cubicBezTo>
                  <a:pt x="2542" y="666"/>
                  <a:pt x="2543" y="666"/>
                  <a:pt x="2545" y="666"/>
                </a:cubicBezTo>
                <a:cubicBezTo>
                  <a:pt x="2546" y="665"/>
                  <a:pt x="2547" y="665"/>
                  <a:pt x="2547" y="665"/>
                </a:cubicBezTo>
                <a:cubicBezTo>
                  <a:pt x="2547" y="664"/>
                  <a:pt x="2547" y="664"/>
                  <a:pt x="2545" y="663"/>
                </a:cubicBezTo>
                <a:cubicBezTo>
                  <a:pt x="2544" y="662"/>
                  <a:pt x="2544" y="661"/>
                  <a:pt x="2544" y="661"/>
                </a:cubicBezTo>
                <a:lnTo>
                  <a:pt x="2548" y="661"/>
                </a:lnTo>
                <a:lnTo>
                  <a:pt x="2551" y="662"/>
                </a:lnTo>
                <a:cubicBezTo>
                  <a:pt x="2552" y="662"/>
                  <a:pt x="2553" y="661"/>
                  <a:pt x="2553" y="661"/>
                </a:cubicBezTo>
                <a:lnTo>
                  <a:pt x="2552" y="659"/>
                </a:lnTo>
                <a:cubicBezTo>
                  <a:pt x="2552" y="656"/>
                  <a:pt x="2554" y="655"/>
                  <a:pt x="2556" y="655"/>
                </a:cubicBezTo>
                <a:cubicBezTo>
                  <a:pt x="2556" y="655"/>
                  <a:pt x="2556" y="655"/>
                  <a:pt x="2556" y="656"/>
                </a:cubicBezTo>
                <a:cubicBezTo>
                  <a:pt x="2556" y="657"/>
                  <a:pt x="2557" y="657"/>
                  <a:pt x="2557" y="657"/>
                </a:cubicBezTo>
                <a:cubicBezTo>
                  <a:pt x="2557" y="657"/>
                  <a:pt x="2558" y="657"/>
                  <a:pt x="2560" y="655"/>
                </a:cubicBezTo>
                <a:cubicBezTo>
                  <a:pt x="2561" y="654"/>
                  <a:pt x="2562" y="653"/>
                  <a:pt x="2562" y="652"/>
                </a:cubicBezTo>
                <a:lnTo>
                  <a:pt x="2561" y="651"/>
                </a:lnTo>
                <a:cubicBezTo>
                  <a:pt x="2561" y="650"/>
                  <a:pt x="2563" y="649"/>
                  <a:pt x="2568" y="649"/>
                </a:cubicBezTo>
                <a:cubicBezTo>
                  <a:pt x="2569" y="649"/>
                  <a:pt x="2570" y="648"/>
                  <a:pt x="2571" y="645"/>
                </a:cubicBezTo>
                <a:cubicBezTo>
                  <a:pt x="2572" y="643"/>
                  <a:pt x="2574" y="642"/>
                  <a:pt x="2575" y="642"/>
                </a:cubicBezTo>
                <a:cubicBezTo>
                  <a:pt x="2575" y="642"/>
                  <a:pt x="2576" y="642"/>
                  <a:pt x="2577" y="643"/>
                </a:cubicBezTo>
                <a:cubicBezTo>
                  <a:pt x="2578" y="644"/>
                  <a:pt x="2579" y="646"/>
                  <a:pt x="2579" y="648"/>
                </a:cubicBezTo>
                <a:lnTo>
                  <a:pt x="2578" y="649"/>
                </a:lnTo>
                <a:cubicBezTo>
                  <a:pt x="2579" y="649"/>
                  <a:pt x="2579" y="649"/>
                  <a:pt x="2581" y="647"/>
                </a:cubicBezTo>
                <a:cubicBezTo>
                  <a:pt x="2582" y="646"/>
                  <a:pt x="2583" y="646"/>
                  <a:pt x="2585" y="646"/>
                </a:cubicBezTo>
                <a:lnTo>
                  <a:pt x="2587" y="646"/>
                </a:lnTo>
                <a:lnTo>
                  <a:pt x="2586" y="645"/>
                </a:lnTo>
                <a:cubicBezTo>
                  <a:pt x="2585" y="644"/>
                  <a:pt x="2584" y="644"/>
                  <a:pt x="2584" y="643"/>
                </a:cubicBezTo>
                <a:cubicBezTo>
                  <a:pt x="2584" y="641"/>
                  <a:pt x="2585" y="639"/>
                  <a:pt x="2587" y="639"/>
                </a:cubicBezTo>
                <a:cubicBezTo>
                  <a:pt x="2588" y="639"/>
                  <a:pt x="2588" y="639"/>
                  <a:pt x="2589" y="640"/>
                </a:cubicBezTo>
                <a:cubicBezTo>
                  <a:pt x="2589" y="640"/>
                  <a:pt x="2590" y="641"/>
                  <a:pt x="2593" y="642"/>
                </a:cubicBezTo>
                <a:cubicBezTo>
                  <a:pt x="2593" y="641"/>
                  <a:pt x="2593" y="641"/>
                  <a:pt x="2592" y="640"/>
                </a:cubicBezTo>
                <a:cubicBezTo>
                  <a:pt x="2591" y="639"/>
                  <a:pt x="2590" y="639"/>
                  <a:pt x="2589" y="638"/>
                </a:cubicBezTo>
                <a:cubicBezTo>
                  <a:pt x="2587" y="637"/>
                  <a:pt x="2586" y="637"/>
                  <a:pt x="2586" y="637"/>
                </a:cubicBezTo>
                <a:cubicBezTo>
                  <a:pt x="2584" y="637"/>
                  <a:pt x="2583" y="638"/>
                  <a:pt x="2582" y="641"/>
                </a:cubicBezTo>
                <a:cubicBezTo>
                  <a:pt x="2582" y="643"/>
                  <a:pt x="2581" y="644"/>
                  <a:pt x="2581" y="644"/>
                </a:cubicBezTo>
                <a:cubicBezTo>
                  <a:pt x="2581" y="644"/>
                  <a:pt x="2580" y="643"/>
                  <a:pt x="2580" y="641"/>
                </a:cubicBezTo>
                <a:cubicBezTo>
                  <a:pt x="2580" y="640"/>
                  <a:pt x="2581" y="638"/>
                  <a:pt x="2582" y="637"/>
                </a:cubicBezTo>
                <a:cubicBezTo>
                  <a:pt x="2582" y="635"/>
                  <a:pt x="2584" y="633"/>
                  <a:pt x="2585" y="632"/>
                </a:cubicBezTo>
                <a:cubicBezTo>
                  <a:pt x="2587" y="630"/>
                  <a:pt x="2588" y="630"/>
                  <a:pt x="2588" y="630"/>
                </a:cubicBezTo>
                <a:cubicBezTo>
                  <a:pt x="2588" y="630"/>
                  <a:pt x="2589" y="630"/>
                  <a:pt x="2589" y="630"/>
                </a:cubicBezTo>
                <a:lnTo>
                  <a:pt x="2588" y="631"/>
                </a:lnTo>
                <a:cubicBezTo>
                  <a:pt x="2587" y="632"/>
                  <a:pt x="2587" y="632"/>
                  <a:pt x="2587" y="632"/>
                </a:cubicBezTo>
                <a:cubicBezTo>
                  <a:pt x="2587" y="633"/>
                  <a:pt x="2587" y="633"/>
                  <a:pt x="2587" y="633"/>
                </a:cubicBezTo>
                <a:cubicBezTo>
                  <a:pt x="2588" y="633"/>
                  <a:pt x="2590" y="632"/>
                  <a:pt x="2593" y="629"/>
                </a:cubicBezTo>
                <a:cubicBezTo>
                  <a:pt x="2596" y="626"/>
                  <a:pt x="2598" y="623"/>
                  <a:pt x="2601" y="619"/>
                </a:cubicBezTo>
                <a:cubicBezTo>
                  <a:pt x="2605" y="613"/>
                  <a:pt x="2609" y="609"/>
                  <a:pt x="2611" y="607"/>
                </a:cubicBezTo>
                <a:cubicBezTo>
                  <a:pt x="2614" y="606"/>
                  <a:pt x="2616" y="604"/>
                  <a:pt x="2617" y="601"/>
                </a:cubicBezTo>
                <a:cubicBezTo>
                  <a:pt x="2618" y="598"/>
                  <a:pt x="2619" y="597"/>
                  <a:pt x="2620" y="596"/>
                </a:cubicBezTo>
                <a:lnTo>
                  <a:pt x="2621" y="595"/>
                </a:lnTo>
                <a:lnTo>
                  <a:pt x="2619" y="599"/>
                </a:lnTo>
                <a:cubicBezTo>
                  <a:pt x="2619" y="599"/>
                  <a:pt x="2619" y="599"/>
                  <a:pt x="2620" y="599"/>
                </a:cubicBezTo>
                <a:cubicBezTo>
                  <a:pt x="2621" y="599"/>
                  <a:pt x="2622" y="598"/>
                  <a:pt x="2624" y="595"/>
                </a:cubicBezTo>
                <a:lnTo>
                  <a:pt x="2625" y="592"/>
                </a:lnTo>
                <a:cubicBezTo>
                  <a:pt x="2625" y="590"/>
                  <a:pt x="2626" y="589"/>
                  <a:pt x="2629" y="587"/>
                </a:cubicBezTo>
                <a:cubicBezTo>
                  <a:pt x="2632" y="585"/>
                  <a:pt x="2634" y="582"/>
                  <a:pt x="2636" y="577"/>
                </a:cubicBezTo>
                <a:cubicBezTo>
                  <a:pt x="2636" y="576"/>
                  <a:pt x="2637" y="575"/>
                  <a:pt x="2637" y="574"/>
                </a:cubicBezTo>
                <a:cubicBezTo>
                  <a:pt x="2637" y="574"/>
                  <a:pt x="2638" y="573"/>
                  <a:pt x="2639" y="572"/>
                </a:cubicBezTo>
                <a:lnTo>
                  <a:pt x="2639" y="572"/>
                </a:lnTo>
                <a:cubicBezTo>
                  <a:pt x="2640" y="572"/>
                  <a:pt x="2641" y="572"/>
                  <a:pt x="2643" y="570"/>
                </a:cubicBezTo>
                <a:cubicBezTo>
                  <a:pt x="2644" y="569"/>
                  <a:pt x="2644" y="568"/>
                  <a:pt x="2644" y="567"/>
                </a:cubicBezTo>
                <a:lnTo>
                  <a:pt x="2644" y="567"/>
                </a:lnTo>
                <a:cubicBezTo>
                  <a:pt x="2644" y="566"/>
                  <a:pt x="2645" y="565"/>
                  <a:pt x="2647" y="564"/>
                </a:cubicBezTo>
                <a:cubicBezTo>
                  <a:pt x="2649" y="562"/>
                  <a:pt x="2650" y="561"/>
                  <a:pt x="2650" y="559"/>
                </a:cubicBezTo>
                <a:cubicBezTo>
                  <a:pt x="2650" y="557"/>
                  <a:pt x="2650" y="556"/>
                  <a:pt x="2651" y="556"/>
                </a:cubicBezTo>
                <a:lnTo>
                  <a:pt x="2654" y="557"/>
                </a:lnTo>
                <a:cubicBezTo>
                  <a:pt x="2656" y="557"/>
                  <a:pt x="2656" y="556"/>
                  <a:pt x="2656" y="554"/>
                </a:cubicBezTo>
                <a:cubicBezTo>
                  <a:pt x="2656" y="553"/>
                  <a:pt x="2657" y="552"/>
                  <a:pt x="2658" y="552"/>
                </a:cubicBezTo>
                <a:lnTo>
                  <a:pt x="2659" y="552"/>
                </a:lnTo>
                <a:cubicBezTo>
                  <a:pt x="2659" y="552"/>
                  <a:pt x="2659" y="551"/>
                  <a:pt x="2659" y="551"/>
                </a:cubicBezTo>
                <a:lnTo>
                  <a:pt x="2659" y="549"/>
                </a:lnTo>
                <a:cubicBezTo>
                  <a:pt x="2659" y="546"/>
                  <a:pt x="2661" y="544"/>
                  <a:pt x="2663" y="542"/>
                </a:cubicBezTo>
                <a:cubicBezTo>
                  <a:pt x="2666" y="540"/>
                  <a:pt x="2668" y="539"/>
                  <a:pt x="2670" y="539"/>
                </a:cubicBezTo>
                <a:lnTo>
                  <a:pt x="2670" y="541"/>
                </a:lnTo>
                <a:cubicBezTo>
                  <a:pt x="2670" y="543"/>
                  <a:pt x="2669" y="547"/>
                  <a:pt x="2669" y="553"/>
                </a:cubicBezTo>
                <a:cubicBezTo>
                  <a:pt x="2664" y="579"/>
                  <a:pt x="2646" y="608"/>
                  <a:pt x="2613" y="639"/>
                </a:cubicBezTo>
                <a:cubicBezTo>
                  <a:pt x="2581" y="669"/>
                  <a:pt x="2547" y="691"/>
                  <a:pt x="2512" y="703"/>
                </a:cubicBezTo>
                <a:cubicBezTo>
                  <a:pt x="2505" y="705"/>
                  <a:pt x="2498" y="706"/>
                  <a:pt x="2490" y="706"/>
                </a:cubicBezTo>
                <a:cubicBezTo>
                  <a:pt x="2481" y="706"/>
                  <a:pt x="2472" y="705"/>
                  <a:pt x="2464" y="703"/>
                </a:cubicBezTo>
                <a:cubicBezTo>
                  <a:pt x="2455" y="701"/>
                  <a:pt x="2449" y="697"/>
                  <a:pt x="2446" y="693"/>
                </a:cubicBezTo>
                <a:lnTo>
                  <a:pt x="2439" y="688"/>
                </a:lnTo>
                <a:cubicBezTo>
                  <a:pt x="2435" y="686"/>
                  <a:pt x="2432" y="683"/>
                  <a:pt x="2430" y="679"/>
                </a:cubicBezTo>
                <a:cubicBezTo>
                  <a:pt x="2428" y="676"/>
                  <a:pt x="2425" y="674"/>
                  <a:pt x="2423" y="674"/>
                </a:cubicBezTo>
                <a:lnTo>
                  <a:pt x="2422" y="674"/>
                </a:lnTo>
                <a:cubicBezTo>
                  <a:pt x="2422" y="674"/>
                  <a:pt x="2422" y="674"/>
                  <a:pt x="2422" y="674"/>
                </a:cubicBezTo>
                <a:lnTo>
                  <a:pt x="2423" y="671"/>
                </a:lnTo>
                <a:cubicBezTo>
                  <a:pt x="2423" y="670"/>
                  <a:pt x="2422" y="669"/>
                  <a:pt x="2421" y="668"/>
                </a:cubicBezTo>
                <a:cubicBezTo>
                  <a:pt x="2419" y="667"/>
                  <a:pt x="2417" y="664"/>
                  <a:pt x="2415" y="661"/>
                </a:cubicBezTo>
                <a:cubicBezTo>
                  <a:pt x="2413" y="657"/>
                  <a:pt x="2412" y="654"/>
                  <a:pt x="2412" y="652"/>
                </a:cubicBezTo>
                <a:cubicBezTo>
                  <a:pt x="2412" y="650"/>
                  <a:pt x="2413" y="649"/>
                  <a:pt x="2413" y="649"/>
                </a:cubicBezTo>
                <a:cubicBezTo>
                  <a:pt x="2414" y="649"/>
                  <a:pt x="2415" y="648"/>
                  <a:pt x="2415" y="648"/>
                </a:cubicBezTo>
                <a:cubicBezTo>
                  <a:pt x="2415" y="647"/>
                  <a:pt x="2414" y="647"/>
                  <a:pt x="2412" y="647"/>
                </a:cubicBezTo>
                <a:lnTo>
                  <a:pt x="2410" y="647"/>
                </a:lnTo>
                <a:cubicBezTo>
                  <a:pt x="2409" y="647"/>
                  <a:pt x="2408" y="646"/>
                  <a:pt x="2408" y="644"/>
                </a:cubicBezTo>
                <a:cubicBezTo>
                  <a:pt x="2408" y="643"/>
                  <a:pt x="2409" y="643"/>
                  <a:pt x="2411" y="643"/>
                </a:cubicBezTo>
                <a:cubicBezTo>
                  <a:pt x="2413" y="643"/>
                  <a:pt x="2414" y="642"/>
                  <a:pt x="2414" y="641"/>
                </a:cubicBezTo>
                <a:cubicBezTo>
                  <a:pt x="2414" y="640"/>
                  <a:pt x="2414" y="639"/>
                  <a:pt x="2413" y="638"/>
                </a:cubicBezTo>
                <a:cubicBezTo>
                  <a:pt x="2413" y="637"/>
                  <a:pt x="2413" y="637"/>
                  <a:pt x="2412" y="637"/>
                </a:cubicBezTo>
                <a:cubicBezTo>
                  <a:pt x="2412" y="637"/>
                  <a:pt x="2411" y="637"/>
                  <a:pt x="2411" y="638"/>
                </a:cubicBezTo>
                <a:cubicBezTo>
                  <a:pt x="2411" y="639"/>
                  <a:pt x="2410" y="640"/>
                  <a:pt x="2409" y="640"/>
                </a:cubicBezTo>
                <a:cubicBezTo>
                  <a:pt x="2407" y="640"/>
                  <a:pt x="2405" y="634"/>
                  <a:pt x="2402" y="624"/>
                </a:cubicBezTo>
                <a:cubicBezTo>
                  <a:pt x="2399" y="613"/>
                  <a:pt x="2396" y="607"/>
                  <a:pt x="2395" y="607"/>
                </a:cubicBezTo>
                <a:lnTo>
                  <a:pt x="2394" y="608"/>
                </a:lnTo>
                <a:cubicBezTo>
                  <a:pt x="2394" y="607"/>
                  <a:pt x="2394" y="607"/>
                  <a:pt x="2395" y="606"/>
                </a:cubicBezTo>
                <a:cubicBezTo>
                  <a:pt x="2395" y="605"/>
                  <a:pt x="2395" y="604"/>
                  <a:pt x="2395" y="603"/>
                </a:cubicBezTo>
                <a:lnTo>
                  <a:pt x="2395" y="597"/>
                </a:lnTo>
                <a:cubicBezTo>
                  <a:pt x="2394" y="593"/>
                  <a:pt x="2393" y="591"/>
                  <a:pt x="2392" y="591"/>
                </a:cubicBezTo>
                <a:lnTo>
                  <a:pt x="2391" y="591"/>
                </a:lnTo>
                <a:cubicBezTo>
                  <a:pt x="2390" y="591"/>
                  <a:pt x="2390" y="590"/>
                  <a:pt x="2390" y="589"/>
                </a:cubicBezTo>
                <a:lnTo>
                  <a:pt x="2391" y="586"/>
                </a:lnTo>
                <a:cubicBezTo>
                  <a:pt x="2391" y="585"/>
                  <a:pt x="2390" y="585"/>
                  <a:pt x="2389" y="585"/>
                </a:cubicBezTo>
                <a:cubicBezTo>
                  <a:pt x="2385" y="585"/>
                  <a:pt x="2373" y="593"/>
                  <a:pt x="2353" y="609"/>
                </a:cubicBezTo>
                <a:cubicBezTo>
                  <a:pt x="2333" y="626"/>
                  <a:pt x="2311" y="647"/>
                  <a:pt x="2286" y="672"/>
                </a:cubicBezTo>
                <a:cubicBezTo>
                  <a:pt x="2259" y="699"/>
                  <a:pt x="2244" y="714"/>
                  <a:pt x="2240" y="717"/>
                </a:cubicBezTo>
                <a:cubicBezTo>
                  <a:pt x="2219" y="736"/>
                  <a:pt x="2208" y="746"/>
                  <a:pt x="2205" y="746"/>
                </a:cubicBezTo>
                <a:cubicBezTo>
                  <a:pt x="2203" y="746"/>
                  <a:pt x="2202" y="746"/>
                  <a:pt x="2202" y="747"/>
                </a:cubicBezTo>
                <a:cubicBezTo>
                  <a:pt x="2202" y="749"/>
                  <a:pt x="2200" y="750"/>
                  <a:pt x="2196" y="753"/>
                </a:cubicBezTo>
                <a:cubicBezTo>
                  <a:pt x="2192" y="755"/>
                  <a:pt x="2190" y="756"/>
                  <a:pt x="2189" y="756"/>
                </a:cubicBezTo>
                <a:cubicBezTo>
                  <a:pt x="2189" y="756"/>
                  <a:pt x="2189" y="756"/>
                  <a:pt x="2189" y="756"/>
                </a:cubicBezTo>
                <a:cubicBezTo>
                  <a:pt x="2188" y="756"/>
                  <a:pt x="2184" y="757"/>
                  <a:pt x="2179" y="761"/>
                </a:cubicBezTo>
                <a:cubicBezTo>
                  <a:pt x="2173" y="764"/>
                  <a:pt x="2169" y="766"/>
                  <a:pt x="2165" y="766"/>
                </a:cubicBezTo>
                <a:close/>
                <a:moveTo>
                  <a:pt x="2368" y="560"/>
                </a:moveTo>
                <a:lnTo>
                  <a:pt x="2371" y="559"/>
                </a:lnTo>
                <a:lnTo>
                  <a:pt x="2371" y="559"/>
                </a:lnTo>
                <a:cubicBezTo>
                  <a:pt x="2371" y="558"/>
                  <a:pt x="2370" y="558"/>
                  <a:pt x="2370" y="558"/>
                </a:cubicBezTo>
                <a:lnTo>
                  <a:pt x="2367" y="559"/>
                </a:lnTo>
                <a:lnTo>
                  <a:pt x="2366" y="559"/>
                </a:lnTo>
                <a:cubicBezTo>
                  <a:pt x="2366" y="559"/>
                  <a:pt x="2367" y="560"/>
                  <a:pt x="2368" y="560"/>
                </a:cubicBezTo>
                <a:close/>
                <a:moveTo>
                  <a:pt x="2183" y="619"/>
                </a:moveTo>
                <a:cubicBezTo>
                  <a:pt x="2183" y="619"/>
                  <a:pt x="2184" y="618"/>
                  <a:pt x="2185" y="617"/>
                </a:cubicBezTo>
                <a:cubicBezTo>
                  <a:pt x="2186" y="615"/>
                  <a:pt x="2186" y="614"/>
                  <a:pt x="2186" y="612"/>
                </a:cubicBezTo>
                <a:lnTo>
                  <a:pt x="2186" y="610"/>
                </a:lnTo>
                <a:cubicBezTo>
                  <a:pt x="2185" y="609"/>
                  <a:pt x="2184" y="608"/>
                  <a:pt x="2182" y="608"/>
                </a:cubicBezTo>
                <a:cubicBezTo>
                  <a:pt x="2181" y="608"/>
                  <a:pt x="2181" y="608"/>
                  <a:pt x="2181" y="609"/>
                </a:cubicBezTo>
                <a:cubicBezTo>
                  <a:pt x="2181" y="609"/>
                  <a:pt x="2181" y="610"/>
                  <a:pt x="2182" y="611"/>
                </a:cubicBezTo>
                <a:cubicBezTo>
                  <a:pt x="2183" y="612"/>
                  <a:pt x="2183" y="614"/>
                  <a:pt x="2183" y="615"/>
                </a:cubicBezTo>
                <a:lnTo>
                  <a:pt x="2183" y="619"/>
                </a:lnTo>
                <a:close/>
                <a:moveTo>
                  <a:pt x="2240" y="442"/>
                </a:moveTo>
                <a:cubicBezTo>
                  <a:pt x="2240" y="442"/>
                  <a:pt x="2242" y="441"/>
                  <a:pt x="2246" y="439"/>
                </a:cubicBezTo>
                <a:cubicBezTo>
                  <a:pt x="2251" y="436"/>
                  <a:pt x="2254" y="433"/>
                  <a:pt x="2254" y="432"/>
                </a:cubicBezTo>
                <a:cubicBezTo>
                  <a:pt x="2254" y="431"/>
                  <a:pt x="2254" y="431"/>
                  <a:pt x="2254" y="430"/>
                </a:cubicBezTo>
                <a:cubicBezTo>
                  <a:pt x="2254" y="429"/>
                  <a:pt x="2254" y="429"/>
                  <a:pt x="2253" y="429"/>
                </a:cubicBezTo>
                <a:cubicBezTo>
                  <a:pt x="2252" y="429"/>
                  <a:pt x="2249" y="432"/>
                  <a:pt x="2245" y="436"/>
                </a:cubicBezTo>
                <a:cubicBezTo>
                  <a:pt x="2242" y="440"/>
                  <a:pt x="2240" y="442"/>
                  <a:pt x="2240" y="442"/>
                </a:cubicBezTo>
                <a:close/>
                <a:moveTo>
                  <a:pt x="2196" y="539"/>
                </a:moveTo>
                <a:cubicBezTo>
                  <a:pt x="2198" y="539"/>
                  <a:pt x="2200" y="535"/>
                  <a:pt x="2204" y="528"/>
                </a:cubicBezTo>
                <a:cubicBezTo>
                  <a:pt x="2205" y="523"/>
                  <a:pt x="2206" y="520"/>
                  <a:pt x="2206" y="519"/>
                </a:cubicBezTo>
                <a:cubicBezTo>
                  <a:pt x="2206" y="518"/>
                  <a:pt x="2206" y="518"/>
                  <a:pt x="2206" y="518"/>
                </a:cubicBezTo>
                <a:cubicBezTo>
                  <a:pt x="2205" y="518"/>
                  <a:pt x="2205" y="518"/>
                  <a:pt x="2205" y="518"/>
                </a:cubicBezTo>
                <a:cubicBezTo>
                  <a:pt x="2205" y="518"/>
                  <a:pt x="2204" y="519"/>
                  <a:pt x="2204" y="519"/>
                </a:cubicBezTo>
                <a:cubicBezTo>
                  <a:pt x="2203" y="519"/>
                  <a:pt x="2203" y="520"/>
                  <a:pt x="2203" y="520"/>
                </a:cubicBezTo>
                <a:lnTo>
                  <a:pt x="2203" y="521"/>
                </a:lnTo>
                <a:cubicBezTo>
                  <a:pt x="2203" y="523"/>
                  <a:pt x="2203" y="524"/>
                  <a:pt x="2202" y="526"/>
                </a:cubicBezTo>
                <a:cubicBezTo>
                  <a:pt x="2201" y="527"/>
                  <a:pt x="2201" y="529"/>
                  <a:pt x="2200" y="530"/>
                </a:cubicBezTo>
                <a:cubicBezTo>
                  <a:pt x="2199" y="532"/>
                  <a:pt x="2198" y="532"/>
                  <a:pt x="2197" y="532"/>
                </a:cubicBezTo>
                <a:cubicBezTo>
                  <a:pt x="2197" y="532"/>
                  <a:pt x="2196" y="533"/>
                  <a:pt x="2196" y="534"/>
                </a:cubicBezTo>
                <a:lnTo>
                  <a:pt x="2197" y="535"/>
                </a:lnTo>
                <a:cubicBezTo>
                  <a:pt x="2197" y="536"/>
                  <a:pt x="2196" y="537"/>
                  <a:pt x="2195" y="538"/>
                </a:cubicBezTo>
                <a:lnTo>
                  <a:pt x="2194" y="539"/>
                </a:lnTo>
                <a:cubicBezTo>
                  <a:pt x="2194" y="539"/>
                  <a:pt x="2194" y="539"/>
                  <a:pt x="2196" y="539"/>
                </a:cubicBezTo>
                <a:close/>
                <a:moveTo>
                  <a:pt x="2191" y="553"/>
                </a:moveTo>
                <a:cubicBezTo>
                  <a:pt x="2192" y="553"/>
                  <a:pt x="2194" y="552"/>
                  <a:pt x="2194" y="550"/>
                </a:cubicBezTo>
                <a:lnTo>
                  <a:pt x="2195" y="547"/>
                </a:lnTo>
                <a:lnTo>
                  <a:pt x="2195" y="546"/>
                </a:lnTo>
                <a:lnTo>
                  <a:pt x="2192" y="549"/>
                </a:lnTo>
                <a:cubicBezTo>
                  <a:pt x="2190" y="550"/>
                  <a:pt x="2189" y="551"/>
                  <a:pt x="2189" y="552"/>
                </a:cubicBezTo>
                <a:cubicBezTo>
                  <a:pt x="2189" y="553"/>
                  <a:pt x="2190" y="553"/>
                  <a:pt x="2191" y="553"/>
                </a:cubicBezTo>
                <a:close/>
                <a:moveTo>
                  <a:pt x="2186" y="608"/>
                </a:moveTo>
                <a:cubicBezTo>
                  <a:pt x="2188" y="608"/>
                  <a:pt x="2191" y="602"/>
                  <a:pt x="2195" y="589"/>
                </a:cubicBezTo>
                <a:cubicBezTo>
                  <a:pt x="2208" y="557"/>
                  <a:pt x="2221" y="529"/>
                  <a:pt x="2235" y="506"/>
                </a:cubicBezTo>
                <a:cubicBezTo>
                  <a:pt x="2241" y="495"/>
                  <a:pt x="2244" y="488"/>
                  <a:pt x="2244" y="486"/>
                </a:cubicBezTo>
                <a:cubicBezTo>
                  <a:pt x="2244" y="484"/>
                  <a:pt x="2245" y="482"/>
                  <a:pt x="2246" y="480"/>
                </a:cubicBezTo>
                <a:cubicBezTo>
                  <a:pt x="2247" y="478"/>
                  <a:pt x="2247" y="476"/>
                  <a:pt x="2247" y="475"/>
                </a:cubicBezTo>
                <a:lnTo>
                  <a:pt x="2247" y="474"/>
                </a:lnTo>
                <a:cubicBezTo>
                  <a:pt x="2246" y="474"/>
                  <a:pt x="2242" y="480"/>
                  <a:pt x="2237" y="490"/>
                </a:cubicBezTo>
                <a:cubicBezTo>
                  <a:pt x="2231" y="501"/>
                  <a:pt x="2228" y="508"/>
                  <a:pt x="2228" y="510"/>
                </a:cubicBezTo>
                <a:cubicBezTo>
                  <a:pt x="2228" y="512"/>
                  <a:pt x="2227" y="513"/>
                  <a:pt x="2226" y="513"/>
                </a:cubicBezTo>
                <a:lnTo>
                  <a:pt x="2224" y="512"/>
                </a:lnTo>
                <a:lnTo>
                  <a:pt x="2225" y="514"/>
                </a:lnTo>
                <a:cubicBezTo>
                  <a:pt x="2225" y="515"/>
                  <a:pt x="2224" y="517"/>
                  <a:pt x="2222" y="518"/>
                </a:cubicBezTo>
                <a:cubicBezTo>
                  <a:pt x="2220" y="520"/>
                  <a:pt x="2219" y="522"/>
                  <a:pt x="2218" y="526"/>
                </a:cubicBezTo>
                <a:cubicBezTo>
                  <a:pt x="2218" y="531"/>
                  <a:pt x="2217" y="534"/>
                  <a:pt x="2217" y="534"/>
                </a:cubicBezTo>
                <a:lnTo>
                  <a:pt x="2215" y="534"/>
                </a:lnTo>
                <a:cubicBezTo>
                  <a:pt x="2214" y="534"/>
                  <a:pt x="2214" y="534"/>
                  <a:pt x="2214" y="534"/>
                </a:cubicBezTo>
                <a:lnTo>
                  <a:pt x="2215" y="539"/>
                </a:lnTo>
                <a:lnTo>
                  <a:pt x="2212" y="538"/>
                </a:lnTo>
                <a:lnTo>
                  <a:pt x="2213" y="543"/>
                </a:lnTo>
                <a:cubicBezTo>
                  <a:pt x="2213" y="543"/>
                  <a:pt x="2213" y="544"/>
                  <a:pt x="2212" y="544"/>
                </a:cubicBezTo>
                <a:lnTo>
                  <a:pt x="2210" y="542"/>
                </a:lnTo>
                <a:cubicBezTo>
                  <a:pt x="2209" y="542"/>
                  <a:pt x="2209" y="542"/>
                  <a:pt x="2209" y="543"/>
                </a:cubicBezTo>
                <a:lnTo>
                  <a:pt x="2210" y="545"/>
                </a:lnTo>
                <a:cubicBezTo>
                  <a:pt x="2210" y="546"/>
                  <a:pt x="2210" y="546"/>
                  <a:pt x="2209" y="546"/>
                </a:cubicBezTo>
                <a:cubicBezTo>
                  <a:pt x="2208" y="546"/>
                  <a:pt x="2207" y="546"/>
                  <a:pt x="2207" y="547"/>
                </a:cubicBezTo>
                <a:lnTo>
                  <a:pt x="2208" y="550"/>
                </a:lnTo>
                <a:cubicBezTo>
                  <a:pt x="2208" y="550"/>
                  <a:pt x="2207" y="551"/>
                  <a:pt x="2207" y="551"/>
                </a:cubicBezTo>
                <a:cubicBezTo>
                  <a:pt x="2206" y="551"/>
                  <a:pt x="2205" y="551"/>
                  <a:pt x="2205" y="552"/>
                </a:cubicBezTo>
                <a:lnTo>
                  <a:pt x="2206" y="556"/>
                </a:lnTo>
                <a:cubicBezTo>
                  <a:pt x="2206" y="556"/>
                  <a:pt x="2205" y="558"/>
                  <a:pt x="2205" y="559"/>
                </a:cubicBezTo>
                <a:cubicBezTo>
                  <a:pt x="2204" y="561"/>
                  <a:pt x="2203" y="561"/>
                  <a:pt x="2202" y="561"/>
                </a:cubicBezTo>
                <a:lnTo>
                  <a:pt x="2202" y="561"/>
                </a:lnTo>
                <a:cubicBezTo>
                  <a:pt x="2201" y="561"/>
                  <a:pt x="2201" y="561"/>
                  <a:pt x="2201" y="562"/>
                </a:cubicBezTo>
                <a:lnTo>
                  <a:pt x="2202" y="566"/>
                </a:lnTo>
                <a:cubicBezTo>
                  <a:pt x="2202" y="566"/>
                  <a:pt x="2202" y="567"/>
                  <a:pt x="2202" y="567"/>
                </a:cubicBezTo>
                <a:lnTo>
                  <a:pt x="2198" y="565"/>
                </a:lnTo>
                <a:lnTo>
                  <a:pt x="2198" y="565"/>
                </a:lnTo>
                <a:lnTo>
                  <a:pt x="2199" y="570"/>
                </a:lnTo>
                <a:cubicBezTo>
                  <a:pt x="2199" y="571"/>
                  <a:pt x="2199" y="571"/>
                  <a:pt x="2198" y="571"/>
                </a:cubicBezTo>
                <a:cubicBezTo>
                  <a:pt x="2196" y="571"/>
                  <a:pt x="2196" y="571"/>
                  <a:pt x="2196" y="569"/>
                </a:cubicBezTo>
                <a:cubicBezTo>
                  <a:pt x="2196" y="568"/>
                  <a:pt x="2195" y="567"/>
                  <a:pt x="2195" y="567"/>
                </a:cubicBezTo>
                <a:cubicBezTo>
                  <a:pt x="2194" y="567"/>
                  <a:pt x="2194" y="568"/>
                  <a:pt x="2194" y="569"/>
                </a:cubicBezTo>
                <a:cubicBezTo>
                  <a:pt x="2194" y="570"/>
                  <a:pt x="2194" y="571"/>
                  <a:pt x="2196" y="573"/>
                </a:cubicBezTo>
                <a:cubicBezTo>
                  <a:pt x="2197" y="574"/>
                  <a:pt x="2198" y="576"/>
                  <a:pt x="2198" y="576"/>
                </a:cubicBezTo>
                <a:lnTo>
                  <a:pt x="2198" y="576"/>
                </a:lnTo>
                <a:lnTo>
                  <a:pt x="2192" y="574"/>
                </a:lnTo>
                <a:cubicBezTo>
                  <a:pt x="2192" y="575"/>
                  <a:pt x="2192" y="576"/>
                  <a:pt x="2194" y="577"/>
                </a:cubicBezTo>
                <a:cubicBezTo>
                  <a:pt x="2195" y="579"/>
                  <a:pt x="2196" y="580"/>
                  <a:pt x="2196" y="580"/>
                </a:cubicBezTo>
                <a:cubicBezTo>
                  <a:pt x="2195" y="580"/>
                  <a:pt x="2195" y="580"/>
                  <a:pt x="2194" y="580"/>
                </a:cubicBezTo>
                <a:cubicBezTo>
                  <a:pt x="2193" y="579"/>
                  <a:pt x="2193" y="579"/>
                  <a:pt x="2192" y="579"/>
                </a:cubicBezTo>
                <a:cubicBezTo>
                  <a:pt x="2190" y="579"/>
                  <a:pt x="2189" y="581"/>
                  <a:pt x="2189" y="584"/>
                </a:cubicBezTo>
                <a:cubicBezTo>
                  <a:pt x="2189" y="585"/>
                  <a:pt x="2189" y="587"/>
                  <a:pt x="2190" y="588"/>
                </a:cubicBezTo>
                <a:cubicBezTo>
                  <a:pt x="2190" y="589"/>
                  <a:pt x="2190" y="590"/>
                  <a:pt x="2190" y="591"/>
                </a:cubicBezTo>
                <a:cubicBezTo>
                  <a:pt x="2190" y="592"/>
                  <a:pt x="2190" y="592"/>
                  <a:pt x="2189" y="592"/>
                </a:cubicBezTo>
                <a:cubicBezTo>
                  <a:pt x="2188" y="592"/>
                  <a:pt x="2188" y="592"/>
                  <a:pt x="2188" y="593"/>
                </a:cubicBezTo>
                <a:lnTo>
                  <a:pt x="2189" y="596"/>
                </a:lnTo>
                <a:cubicBezTo>
                  <a:pt x="2189" y="596"/>
                  <a:pt x="2189" y="597"/>
                  <a:pt x="2188" y="597"/>
                </a:cubicBezTo>
                <a:lnTo>
                  <a:pt x="2184" y="595"/>
                </a:lnTo>
                <a:lnTo>
                  <a:pt x="2183" y="595"/>
                </a:lnTo>
                <a:lnTo>
                  <a:pt x="2187" y="603"/>
                </a:lnTo>
                <a:lnTo>
                  <a:pt x="2187" y="604"/>
                </a:lnTo>
                <a:cubicBezTo>
                  <a:pt x="2186" y="604"/>
                  <a:pt x="2185" y="603"/>
                  <a:pt x="2184" y="601"/>
                </a:cubicBezTo>
                <a:cubicBezTo>
                  <a:pt x="2182" y="600"/>
                  <a:pt x="2181" y="599"/>
                  <a:pt x="2181" y="599"/>
                </a:cubicBezTo>
                <a:cubicBezTo>
                  <a:pt x="2181" y="600"/>
                  <a:pt x="2182" y="601"/>
                  <a:pt x="2183" y="604"/>
                </a:cubicBezTo>
                <a:cubicBezTo>
                  <a:pt x="2184" y="607"/>
                  <a:pt x="2185" y="608"/>
                  <a:pt x="2186" y="608"/>
                </a:cubicBezTo>
                <a:close/>
                <a:moveTo>
                  <a:pt x="2180" y="590"/>
                </a:moveTo>
                <a:cubicBezTo>
                  <a:pt x="2180" y="590"/>
                  <a:pt x="2180" y="590"/>
                  <a:pt x="2180" y="590"/>
                </a:cubicBezTo>
                <a:lnTo>
                  <a:pt x="2179" y="586"/>
                </a:lnTo>
                <a:cubicBezTo>
                  <a:pt x="2179" y="585"/>
                  <a:pt x="2179" y="585"/>
                  <a:pt x="2180" y="585"/>
                </a:cubicBezTo>
                <a:cubicBezTo>
                  <a:pt x="2181" y="585"/>
                  <a:pt x="2181" y="584"/>
                  <a:pt x="2181" y="583"/>
                </a:cubicBezTo>
                <a:lnTo>
                  <a:pt x="2180" y="579"/>
                </a:lnTo>
                <a:cubicBezTo>
                  <a:pt x="2180" y="579"/>
                  <a:pt x="2181" y="579"/>
                  <a:pt x="2181" y="579"/>
                </a:cubicBezTo>
                <a:lnTo>
                  <a:pt x="2183" y="580"/>
                </a:lnTo>
                <a:cubicBezTo>
                  <a:pt x="2184" y="580"/>
                  <a:pt x="2184" y="580"/>
                  <a:pt x="2184" y="579"/>
                </a:cubicBezTo>
                <a:cubicBezTo>
                  <a:pt x="2184" y="579"/>
                  <a:pt x="2184" y="578"/>
                  <a:pt x="2184" y="577"/>
                </a:cubicBezTo>
                <a:cubicBezTo>
                  <a:pt x="2183" y="576"/>
                  <a:pt x="2183" y="575"/>
                  <a:pt x="2182" y="575"/>
                </a:cubicBezTo>
                <a:cubicBezTo>
                  <a:pt x="2181" y="575"/>
                  <a:pt x="2180" y="576"/>
                  <a:pt x="2179" y="579"/>
                </a:cubicBezTo>
                <a:cubicBezTo>
                  <a:pt x="2178" y="582"/>
                  <a:pt x="2177" y="584"/>
                  <a:pt x="2177" y="586"/>
                </a:cubicBezTo>
                <a:cubicBezTo>
                  <a:pt x="2177" y="588"/>
                  <a:pt x="2178" y="590"/>
                  <a:pt x="2180" y="590"/>
                </a:cubicBezTo>
                <a:close/>
                <a:moveTo>
                  <a:pt x="2177" y="644"/>
                </a:moveTo>
                <a:cubicBezTo>
                  <a:pt x="2178" y="643"/>
                  <a:pt x="2179" y="641"/>
                  <a:pt x="2179" y="638"/>
                </a:cubicBezTo>
                <a:lnTo>
                  <a:pt x="2179" y="637"/>
                </a:lnTo>
                <a:cubicBezTo>
                  <a:pt x="2179" y="634"/>
                  <a:pt x="2180" y="634"/>
                  <a:pt x="2180" y="634"/>
                </a:cubicBezTo>
                <a:cubicBezTo>
                  <a:pt x="2181" y="634"/>
                  <a:pt x="2182" y="633"/>
                  <a:pt x="2182" y="632"/>
                </a:cubicBezTo>
                <a:lnTo>
                  <a:pt x="2181" y="631"/>
                </a:lnTo>
                <a:cubicBezTo>
                  <a:pt x="2181" y="630"/>
                  <a:pt x="2180" y="630"/>
                  <a:pt x="2180" y="630"/>
                </a:cubicBezTo>
                <a:cubicBezTo>
                  <a:pt x="2179" y="630"/>
                  <a:pt x="2178" y="631"/>
                  <a:pt x="2178" y="632"/>
                </a:cubicBezTo>
                <a:cubicBezTo>
                  <a:pt x="2177" y="633"/>
                  <a:pt x="2177" y="634"/>
                  <a:pt x="2177" y="636"/>
                </a:cubicBezTo>
                <a:lnTo>
                  <a:pt x="2178" y="641"/>
                </a:lnTo>
                <a:cubicBezTo>
                  <a:pt x="2178" y="642"/>
                  <a:pt x="2178" y="642"/>
                  <a:pt x="2178" y="642"/>
                </a:cubicBezTo>
                <a:lnTo>
                  <a:pt x="2175" y="641"/>
                </a:lnTo>
                <a:cubicBezTo>
                  <a:pt x="2174" y="641"/>
                  <a:pt x="2174" y="642"/>
                  <a:pt x="2174" y="643"/>
                </a:cubicBezTo>
                <a:cubicBezTo>
                  <a:pt x="2174" y="644"/>
                  <a:pt x="2174" y="644"/>
                  <a:pt x="2176" y="644"/>
                </a:cubicBezTo>
                <a:lnTo>
                  <a:pt x="2177" y="644"/>
                </a:lnTo>
                <a:close/>
                <a:moveTo>
                  <a:pt x="2169" y="663"/>
                </a:moveTo>
                <a:cubicBezTo>
                  <a:pt x="2170" y="663"/>
                  <a:pt x="2171" y="661"/>
                  <a:pt x="2173" y="658"/>
                </a:cubicBezTo>
                <a:lnTo>
                  <a:pt x="2175" y="655"/>
                </a:lnTo>
                <a:lnTo>
                  <a:pt x="2175" y="654"/>
                </a:lnTo>
                <a:lnTo>
                  <a:pt x="2173" y="655"/>
                </a:lnTo>
                <a:cubicBezTo>
                  <a:pt x="2172" y="655"/>
                  <a:pt x="2172" y="655"/>
                  <a:pt x="2172" y="654"/>
                </a:cubicBezTo>
                <a:cubicBezTo>
                  <a:pt x="2171" y="653"/>
                  <a:pt x="2171" y="653"/>
                  <a:pt x="2171" y="653"/>
                </a:cubicBezTo>
                <a:cubicBezTo>
                  <a:pt x="2171" y="653"/>
                  <a:pt x="2170" y="654"/>
                  <a:pt x="2170" y="657"/>
                </a:cubicBezTo>
                <a:cubicBezTo>
                  <a:pt x="2169" y="659"/>
                  <a:pt x="2168" y="661"/>
                  <a:pt x="2168" y="662"/>
                </a:cubicBezTo>
                <a:lnTo>
                  <a:pt x="2169" y="663"/>
                </a:lnTo>
                <a:close/>
                <a:moveTo>
                  <a:pt x="2170" y="613"/>
                </a:moveTo>
                <a:cubicBezTo>
                  <a:pt x="2171" y="613"/>
                  <a:pt x="2171" y="612"/>
                  <a:pt x="2171" y="612"/>
                </a:cubicBezTo>
                <a:lnTo>
                  <a:pt x="2170" y="607"/>
                </a:lnTo>
                <a:cubicBezTo>
                  <a:pt x="2170" y="606"/>
                  <a:pt x="2170" y="606"/>
                  <a:pt x="2170" y="606"/>
                </a:cubicBezTo>
                <a:lnTo>
                  <a:pt x="2171" y="607"/>
                </a:lnTo>
                <a:cubicBezTo>
                  <a:pt x="2172" y="607"/>
                  <a:pt x="2173" y="606"/>
                  <a:pt x="2174" y="605"/>
                </a:cubicBezTo>
                <a:cubicBezTo>
                  <a:pt x="2175" y="603"/>
                  <a:pt x="2175" y="602"/>
                  <a:pt x="2176" y="600"/>
                </a:cubicBezTo>
                <a:cubicBezTo>
                  <a:pt x="2176" y="598"/>
                  <a:pt x="2177" y="596"/>
                  <a:pt x="2177" y="595"/>
                </a:cubicBezTo>
                <a:cubicBezTo>
                  <a:pt x="2177" y="594"/>
                  <a:pt x="2176" y="593"/>
                  <a:pt x="2176" y="592"/>
                </a:cubicBezTo>
                <a:lnTo>
                  <a:pt x="2176" y="592"/>
                </a:lnTo>
                <a:cubicBezTo>
                  <a:pt x="2174" y="592"/>
                  <a:pt x="2173" y="594"/>
                  <a:pt x="2171" y="599"/>
                </a:cubicBezTo>
                <a:cubicBezTo>
                  <a:pt x="2169" y="604"/>
                  <a:pt x="2168" y="607"/>
                  <a:pt x="2168" y="610"/>
                </a:cubicBezTo>
                <a:lnTo>
                  <a:pt x="2168" y="611"/>
                </a:lnTo>
                <a:cubicBezTo>
                  <a:pt x="2169" y="612"/>
                  <a:pt x="2170" y="613"/>
                  <a:pt x="2170" y="613"/>
                </a:cubicBezTo>
                <a:close/>
                <a:moveTo>
                  <a:pt x="2169" y="592"/>
                </a:moveTo>
                <a:lnTo>
                  <a:pt x="2171" y="592"/>
                </a:lnTo>
                <a:cubicBezTo>
                  <a:pt x="2171" y="591"/>
                  <a:pt x="2171" y="591"/>
                  <a:pt x="2170" y="590"/>
                </a:cubicBezTo>
                <a:cubicBezTo>
                  <a:pt x="2168" y="590"/>
                  <a:pt x="2168" y="590"/>
                  <a:pt x="2168" y="589"/>
                </a:cubicBezTo>
                <a:cubicBezTo>
                  <a:pt x="2168" y="589"/>
                  <a:pt x="2168" y="588"/>
                  <a:pt x="2170" y="587"/>
                </a:cubicBezTo>
                <a:cubicBezTo>
                  <a:pt x="2171" y="587"/>
                  <a:pt x="2171" y="586"/>
                  <a:pt x="2171" y="586"/>
                </a:cubicBezTo>
                <a:cubicBezTo>
                  <a:pt x="2171" y="586"/>
                  <a:pt x="2170" y="585"/>
                  <a:pt x="2169" y="585"/>
                </a:cubicBezTo>
                <a:cubicBezTo>
                  <a:pt x="2168" y="585"/>
                  <a:pt x="2167" y="586"/>
                  <a:pt x="2166" y="586"/>
                </a:cubicBezTo>
                <a:cubicBezTo>
                  <a:pt x="2165" y="587"/>
                  <a:pt x="2165" y="588"/>
                  <a:pt x="2165" y="588"/>
                </a:cubicBezTo>
                <a:cubicBezTo>
                  <a:pt x="2165" y="589"/>
                  <a:pt x="2165" y="590"/>
                  <a:pt x="2166" y="591"/>
                </a:cubicBezTo>
                <a:cubicBezTo>
                  <a:pt x="2167" y="592"/>
                  <a:pt x="2168" y="592"/>
                  <a:pt x="2169" y="592"/>
                </a:cubicBezTo>
                <a:close/>
                <a:moveTo>
                  <a:pt x="2165" y="625"/>
                </a:moveTo>
                <a:cubicBezTo>
                  <a:pt x="2166" y="625"/>
                  <a:pt x="2167" y="623"/>
                  <a:pt x="2168" y="620"/>
                </a:cubicBezTo>
                <a:lnTo>
                  <a:pt x="2169" y="618"/>
                </a:lnTo>
                <a:cubicBezTo>
                  <a:pt x="2169" y="615"/>
                  <a:pt x="2168" y="614"/>
                  <a:pt x="2167" y="614"/>
                </a:cubicBezTo>
                <a:cubicBezTo>
                  <a:pt x="2166" y="614"/>
                  <a:pt x="2165" y="615"/>
                  <a:pt x="2165" y="616"/>
                </a:cubicBezTo>
                <a:cubicBezTo>
                  <a:pt x="2164" y="618"/>
                  <a:pt x="2163" y="620"/>
                  <a:pt x="2163" y="621"/>
                </a:cubicBezTo>
                <a:cubicBezTo>
                  <a:pt x="2163" y="623"/>
                  <a:pt x="2164" y="624"/>
                  <a:pt x="2165" y="625"/>
                </a:cubicBezTo>
                <a:close/>
                <a:moveTo>
                  <a:pt x="2153" y="737"/>
                </a:moveTo>
                <a:lnTo>
                  <a:pt x="2153" y="735"/>
                </a:lnTo>
                <a:cubicBezTo>
                  <a:pt x="2154" y="733"/>
                  <a:pt x="2154" y="732"/>
                  <a:pt x="2155" y="732"/>
                </a:cubicBezTo>
                <a:cubicBezTo>
                  <a:pt x="2155" y="731"/>
                  <a:pt x="2156" y="730"/>
                  <a:pt x="2157" y="730"/>
                </a:cubicBezTo>
                <a:cubicBezTo>
                  <a:pt x="2158" y="730"/>
                  <a:pt x="2158" y="729"/>
                  <a:pt x="2158" y="729"/>
                </a:cubicBezTo>
                <a:cubicBezTo>
                  <a:pt x="2158" y="729"/>
                  <a:pt x="2158" y="728"/>
                  <a:pt x="2157" y="728"/>
                </a:cubicBezTo>
                <a:cubicBezTo>
                  <a:pt x="2157" y="727"/>
                  <a:pt x="2157" y="726"/>
                  <a:pt x="2157" y="724"/>
                </a:cubicBezTo>
                <a:cubicBezTo>
                  <a:pt x="2157" y="718"/>
                  <a:pt x="2160" y="706"/>
                  <a:pt x="2166" y="688"/>
                </a:cubicBezTo>
                <a:cubicBezTo>
                  <a:pt x="2167" y="686"/>
                  <a:pt x="2167" y="684"/>
                  <a:pt x="2167" y="683"/>
                </a:cubicBezTo>
                <a:cubicBezTo>
                  <a:pt x="2167" y="681"/>
                  <a:pt x="2167" y="679"/>
                  <a:pt x="2166" y="679"/>
                </a:cubicBezTo>
                <a:cubicBezTo>
                  <a:pt x="2165" y="678"/>
                  <a:pt x="2164" y="677"/>
                  <a:pt x="2164" y="677"/>
                </a:cubicBezTo>
                <a:cubicBezTo>
                  <a:pt x="2163" y="677"/>
                  <a:pt x="2163" y="678"/>
                  <a:pt x="2163" y="678"/>
                </a:cubicBezTo>
                <a:lnTo>
                  <a:pt x="2164" y="683"/>
                </a:lnTo>
                <a:cubicBezTo>
                  <a:pt x="2164" y="685"/>
                  <a:pt x="2163" y="686"/>
                  <a:pt x="2163" y="687"/>
                </a:cubicBezTo>
                <a:cubicBezTo>
                  <a:pt x="2162" y="687"/>
                  <a:pt x="2160" y="691"/>
                  <a:pt x="2159" y="696"/>
                </a:cubicBezTo>
                <a:cubicBezTo>
                  <a:pt x="2157" y="702"/>
                  <a:pt x="2156" y="708"/>
                  <a:pt x="2155" y="715"/>
                </a:cubicBezTo>
                <a:cubicBezTo>
                  <a:pt x="2153" y="722"/>
                  <a:pt x="2153" y="727"/>
                  <a:pt x="2153" y="730"/>
                </a:cubicBezTo>
                <a:cubicBezTo>
                  <a:pt x="2153" y="735"/>
                  <a:pt x="2153" y="737"/>
                  <a:pt x="2153" y="737"/>
                </a:cubicBezTo>
                <a:close/>
                <a:moveTo>
                  <a:pt x="2168" y="762"/>
                </a:moveTo>
                <a:cubicBezTo>
                  <a:pt x="2169" y="762"/>
                  <a:pt x="2169" y="761"/>
                  <a:pt x="2169" y="759"/>
                </a:cubicBezTo>
                <a:cubicBezTo>
                  <a:pt x="2169" y="758"/>
                  <a:pt x="2169" y="757"/>
                  <a:pt x="2167" y="757"/>
                </a:cubicBezTo>
                <a:cubicBezTo>
                  <a:pt x="2167" y="757"/>
                  <a:pt x="2166" y="758"/>
                  <a:pt x="2166" y="758"/>
                </a:cubicBezTo>
                <a:cubicBezTo>
                  <a:pt x="2166" y="759"/>
                  <a:pt x="2166" y="759"/>
                  <a:pt x="2167" y="759"/>
                </a:cubicBezTo>
                <a:cubicBezTo>
                  <a:pt x="2167" y="760"/>
                  <a:pt x="2167" y="760"/>
                  <a:pt x="2167" y="761"/>
                </a:cubicBezTo>
                <a:cubicBezTo>
                  <a:pt x="2167" y="761"/>
                  <a:pt x="2168" y="762"/>
                  <a:pt x="2168" y="762"/>
                </a:cubicBezTo>
                <a:close/>
                <a:moveTo>
                  <a:pt x="2168" y="676"/>
                </a:moveTo>
                <a:cubicBezTo>
                  <a:pt x="2171" y="676"/>
                  <a:pt x="2172" y="674"/>
                  <a:pt x="2172" y="669"/>
                </a:cubicBezTo>
                <a:cubicBezTo>
                  <a:pt x="2172" y="667"/>
                  <a:pt x="2172" y="666"/>
                  <a:pt x="2171" y="666"/>
                </a:cubicBezTo>
                <a:cubicBezTo>
                  <a:pt x="2171" y="666"/>
                  <a:pt x="2171" y="667"/>
                  <a:pt x="2170" y="670"/>
                </a:cubicBezTo>
                <a:cubicBezTo>
                  <a:pt x="2169" y="672"/>
                  <a:pt x="2168" y="674"/>
                  <a:pt x="2168" y="674"/>
                </a:cubicBezTo>
                <a:cubicBezTo>
                  <a:pt x="2168" y="674"/>
                  <a:pt x="2167" y="673"/>
                  <a:pt x="2167" y="672"/>
                </a:cubicBezTo>
                <a:cubicBezTo>
                  <a:pt x="2167" y="671"/>
                  <a:pt x="2167" y="671"/>
                  <a:pt x="2167" y="671"/>
                </a:cubicBezTo>
                <a:cubicBezTo>
                  <a:pt x="2166" y="671"/>
                  <a:pt x="2166" y="671"/>
                  <a:pt x="2165" y="671"/>
                </a:cubicBezTo>
                <a:cubicBezTo>
                  <a:pt x="2164" y="671"/>
                  <a:pt x="2164" y="672"/>
                  <a:pt x="2164" y="673"/>
                </a:cubicBezTo>
                <a:cubicBezTo>
                  <a:pt x="2164" y="674"/>
                  <a:pt x="2164" y="674"/>
                  <a:pt x="2166" y="675"/>
                </a:cubicBezTo>
                <a:cubicBezTo>
                  <a:pt x="2167" y="676"/>
                  <a:pt x="2168" y="676"/>
                  <a:pt x="2168" y="676"/>
                </a:cubicBezTo>
                <a:close/>
                <a:moveTo>
                  <a:pt x="2224" y="700"/>
                </a:moveTo>
                <a:cubicBezTo>
                  <a:pt x="2225" y="700"/>
                  <a:pt x="2226" y="698"/>
                  <a:pt x="2228" y="696"/>
                </a:cubicBezTo>
                <a:lnTo>
                  <a:pt x="2230" y="693"/>
                </a:lnTo>
                <a:lnTo>
                  <a:pt x="2227" y="695"/>
                </a:lnTo>
                <a:cubicBezTo>
                  <a:pt x="2225" y="697"/>
                  <a:pt x="2224" y="698"/>
                  <a:pt x="2224" y="699"/>
                </a:cubicBezTo>
                <a:cubicBezTo>
                  <a:pt x="2224" y="700"/>
                  <a:pt x="2224" y="700"/>
                  <a:pt x="2224" y="700"/>
                </a:cubicBezTo>
                <a:close/>
                <a:moveTo>
                  <a:pt x="2172" y="738"/>
                </a:moveTo>
                <a:cubicBezTo>
                  <a:pt x="2174" y="738"/>
                  <a:pt x="2177" y="736"/>
                  <a:pt x="2180" y="732"/>
                </a:cubicBezTo>
                <a:cubicBezTo>
                  <a:pt x="2181" y="731"/>
                  <a:pt x="2185" y="728"/>
                  <a:pt x="2192" y="723"/>
                </a:cubicBezTo>
                <a:cubicBezTo>
                  <a:pt x="2198" y="718"/>
                  <a:pt x="2202" y="714"/>
                  <a:pt x="2202" y="712"/>
                </a:cubicBezTo>
                <a:lnTo>
                  <a:pt x="2202" y="711"/>
                </a:lnTo>
                <a:cubicBezTo>
                  <a:pt x="2202" y="709"/>
                  <a:pt x="2203" y="708"/>
                  <a:pt x="2206" y="708"/>
                </a:cubicBezTo>
                <a:cubicBezTo>
                  <a:pt x="2208" y="708"/>
                  <a:pt x="2210" y="707"/>
                  <a:pt x="2210" y="706"/>
                </a:cubicBezTo>
                <a:cubicBezTo>
                  <a:pt x="2210" y="705"/>
                  <a:pt x="2210" y="704"/>
                  <a:pt x="2211" y="702"/>
                </a:cubicBezTo>
                <a:cubicBezTo>
                  <a:pt x="2211" y="701"/>
                  <a:pt x="2212" y="700"/>
                  <a:pt x="2212" y="700"/>
                </a:cubicBezTo>
                <a:lnTo>
                  <a:pt x="2212" y="703"/>
                </a:lnTo>
                <a:cubicBezTo>
                  <a:pt x="2212" y="704"/>
                  <a:pt x="2212" y="704"/>
                  <a:pt x="2212" y="704"/>
                </a:cubicBezTo>
                <a:cubicBezTo>
                  <a:pt x="2214" y="704"/>
                  <a:pt x="2215" y="703"/>
                  <a:pt x="2217" y="700"/>
                </a:cubicBezTo>
                <a:cubicBezTo>
                  <a:pt x="2220" y="698"/>
                  <a:pt x="2222" y="695"/>
                  <a:pt x="2224" y="691"/>
                </a:cubicBezTo>
                <a:cubicBezTo>
                  <a:pt x="2225" y="688"/>
                  <a:pt x="2227" y="686"/>
                  <a:pt x="2227" y="685"/>
                </a:cubicBezTo>
                <a:cubicBezTo>
                  <a:pt x="2227" y="683"/>
                  <a:pt x="2228" y="681"/>
                  <a:pt x="2230" y="679"/>
                </a:cubicBezTo>
                <a:cubicBezTo>
                  <a:pt x="2232" y="676"/>
                  <a:pt x="2234" y="674"/>
                  <a:pt x="2237" y="672"/>
                </a:cubicBezTo>
                <a:cubicBezTo>
                  <a:pt x="2239" y="670"/>
                  <a:pt x="2240" y="669"/>
                  <a:pt x="2241" y="669"/>
                </a:cubicBezTo>
                <a:cubicBezTo>
                  <a:pt x="2242" y="669"/>
                  <a:pt x="2242" y="670"/>
                  <a:pt x="2242" y="671"/>
                </a:cubicBezTo>
                <a:cubicBezTo>
                  <a:pt x="2242" y="671"/>
                  <a:pt x="2242" y="672"/>
                  <a:pt x="2241" y="674"/>
                </a:cubicBezTo>
                <a:cubicBezTo>
                  <a:pt x="2240" y="675"/>
                  <a:pt x="2239" y="676"/>
                  <a:pt x="2237" y="676"/>
                </a:cubicBezTo>
                <a:lnTo>
                  <a:pt x="2235" y="675"/>
                </a:lnTo>
                <a:cubicBezTo>
                  <a:pt x="2235" y="675"/>
                  <a:pt x="2235" y="675"/>
                  <a:pt x="2235" y="676"/>
                </a:cubicBezTo>
                <a:lnTo>
                  <a:pt x="2236" y="678"/>
                </a:lnTo>
                <a:cubicBezTo>
                  <a:pt x="2236" y="678"/>
                  <a:pt x="2236" y="679"/>
                  <a:pt x="2235" y="679"/>
                </a:cubicBezTo>
                <a:lnTo>
                  <a:pt x="2235" y="679"/>
                </a:lnTo>
                <a:cubicBezTo>
                  <a:pt x="2233" y="679"/>
                  <a:pt x="2232" y="679"/>
                  <a:pt x="2232" y="681"/>
                </a:cubicBezTo>
                <a:lnTo>
                  <a:pt x="2232" y="682"/>
                </a:lnTo>
                <a:cubicBezTo>
                  <a:pt x="2232" y="683"/>
                  <a:pt x="2232" y="683"/>
                  <a:pt x="2231" y="683"/>
                </a:cubicBezTo>
                <a:lnTo>
                  <a:pt x="2230" y="683"/>
                </a:lnTo>
                <a:cubicBezTo>
                  <a:pt x="2229" y="683"/>
                  <a:pt x="2229" y="683"/>
                  <a:pt x="2229" y="685"/>
                </a:cubicBezTo>
                <a:cubicBezTo>
                  <a:pt x="2229" y="686"/>
                  <a:pt x="2229" y="686"/>
                  <a:pt x="2230" y="686"/>
                </a:cubicBezTo>
                <a:cubicBezTo>
                  <a:pt x="2231" y="686"/>
                  <a:pt x="2232" y="685"/>
                  <a:pt x="2234" y="683"/>
                </a:cubicBezTo>
                <a:cubicBezTo>
                  <a:pt x="2239" y="679"/>
                  <a:pt x="2243" y="675"/>
                  <a:pt x="2246" y="670"/>
                </a:cubicBezTo>
                <a:cubicBezTo>
                  <a:pt x="2248" y="667"/>
                  <a:pt x="2250" y="665"/>
                  <a:pt x="2252" y="665"/>
                </a:cubicBezTo>
                <a:cubicBezTo>
                  <a:pt x="2253" y="665"/>
                  <a:pt x="2254" y="665"/>
                  <a:pt x="2254" y="664"/>
                </a:cubicBezTo>
                <a:cubicBezTo>
                  <a:pt x="2254" y="662"/>
                  <a:pt x="2256" y="660"/>
                  <a:pt x="2258" y="657"/>
                </a:cubicBezTo>
                <a:cubicBezTo>
                  <a:pt x="2265" y="648"/>
                  <a:pt x="2270" y="644"/>
                  <a:pt x="2272" y="644"/>
                </a:cubicBezTo>
                <a:cubicBezTo>
                  <a:pt x="2272" y="644"/>
                  <a:pt x="2274" y="642"/>
                  <a:pt x="2276" y="640"/>
                </a:cubicBezTo>
                <a:cubicBezTo>
                  <a:pt x="2278" y="638"/>
                  <a:pt x="2280" y="636"/>
                  <a:pt x="2282" y="633"/>
                </a:cubicBezTo>
                <a:cubicBezTo>
                  <a:pt x="2284" y="631"/>
                  <a:pt x="2284" y="629"/>
                  <a:pt x="2284" y="628"/>
                </a:cubicBezTo>
                <a:lnTo>
                  <a:pt x="2284" y="627"/>
                </a:lnTo>
                <a:cubicBezTo>
                  <a:pt x="2284" y="625"/>
                  <a:pt x="2291" y="619"/>
                  <a:pt x="2303" y="607"/>
                </a:cubicBezTo>
                <a:cubicBezTo>
                  <a:pt x="2308" y="603"/>
                  <a:pt x="2311" y="601"/>
                  <a:pt x="2312" y="601"/>
                </a:cubicBezTo>
                <a:lnTo>
                  <a:pt x="2313" y="601"/>
                </a:lnTo>
                <a:lnTo>
                  <a:pt x="2312" y="604"/>
                </a:lnTo>
                <a:cubicBezTo>
                  <a:pt x="2312" y="605"/>
                  <a:pt x="2313" y="606"/>
                  <a:pt x="2313" y="606"/>
                </a:cubicBezTo>
                <a:cubicBezTo>
                  <a:pt x="2314" y="606"/>
                  <a:pt x="2314" y="607"/>
                  <a:pt x="2314" y="607"/>
                </a:cubicBezTo>
                <a:cubicBezTo>
                  <a:pt x="2314" y="608"/>
                  <a:pt x="2314" y="609"/>
                  <a:pt x="2312" y="610"/>
                </a:cubicBezTo>
                <a:cubicBezTo>
                  <a:pt x="2311" y="611"/>
                  <a:pt x="2310" y="612"/>
                  <a:pt x="2310" y="612"/>
                </a:cubicBezTo>
                <a:lnTo>
                  <a:pt x="2309" y="612"/>
                </a:lnTo>
                <a:lnTo>
                  <a:pt x="2309" y="611"/>
                </a:lnTo>
                <a:cubicBezTo>
                  <a:pt x="2309" y="610"/>
                  <a:pt x="2309" y="608"/>
                  <a:pt x="2307" y="608"/>
                </a:cubicBezTo>
                <a:cubicBezTo>
                  <a:pt x="2306" y="608"/>
                  <a:pt x="2306" y="609"/>
                  <a:pt x="2306" y="611"/>
                </a:cubicBezTo>
                <a:cubicBezTo>
                  <a:pt x="2306" y="612"/>
                  <a:pt x="2305" y="613"/>
                  <a:pt x="2303" y="613"/>
                </a:cubicBezTo>
                <a:lnTo>
                  <a:pt x="2302" y="613"/>
                </a:lnTo>
                <a:cubicBezTo>
                  <a:pt x="2299" y="613"/>
                  <a:pt x="2297" y="615"/>
                  <a:pt x="2293" y="618"/>
                </a:cubicBezTo>
                <a:cubicBezTo>
                  <a:pt x="2291" y="621"/>
                  <a:pt x="2290" y="623"/>
                  <a:pt x="2290" y="624"/>
                </a:cubicBezTo>
                <a:cubicBezTo>
                  <a:pt x="2290" y="625"/>
                  <a:pt x="2291" y="625"/>
                  <a:pt x="2292" y="625"/>
                </a:cubicBezTo>
                <a:cubicBezTo>
                  <a:pt x="2294" y="625"/>
                  <a:pt x="2297" y="624"/>
                  <a:pt x="2302" y="620"/>
                </a:cubicBezTo>
                <a:cubicBezTo>
                  <a:pt x="2304" y="618"/>
                  <a:pt x="2306" y="617"/>
                  <a:pt x="2307" y="617"/>
                </a:cubicBezTo>
                <a:lnTo>
                  <a:pt x="2303" y="624"/>
                </a:lnTo>
                <a:lnTo>
                  <a:pt x="2304" y="625"/>
                </a:lnTo>
                <a:cubicBezTo>
                  <a:pt x="2304" y="626"/>
                  <a:pt x="2303" y="627"/>
                  <a:pt x="2301" y="629"/>
                </a:cubicBezTo>
                <a:cubicBezTo>
                  <a:pt x="2299" y="630"/>
                  <a:pt x="2299" y="631"/>
                  <a:pt x="2298" y="631"/>
                </a:cubicBezTo>
                <a:lnTo>
                  <a:pt x="2299" y="628"/>
                </a:lnTo>
                <a:cubicBezTo>
                  <a:pt x="2299" y="627"/>
                  <a:pt x="2299" y="626"/>
                  <a:pt x="2298" y="626"/>
                </a:cubicBezTo>
                <a:cubicBezTo>
                  <a:pt x="2297" y="626"/>
                  <a:pt x="2296" y="627"/>
                  <a:pt x="2294" y="629"/>
                </a:cubicBezTo>
                <a:cubicBezTo>
                  <a:pt x="2292" y="631"/>
                  <a:pt x="2290" y="633"/>
                  <a:pt x="2289" y="635"/>
                </a:cubicBezTo>
                <a:cubicBezTo>
                  <a:pt x="2287" y="638"/>
                  <a:pt x="2286" y="639"/>
                  <a:pt x="2286" y="640"/>
                </a:cubicBezTo>
                <a:lnTo>
                  <a:pt x="2286" y="642"/>
                </a:lnTo>
                <a:cubicBezTo>
                  <a:pt x="2286" y="642"/>
                  <a:pt x="2286" y="643"/>
                  <a:pt x="2285" y="644"/>
                </a:cubicBezTo>
                <a:lnTo>
                  <a:pt x="2283" y="644"/>
                </a:lnTo>
                <a:lnTo>
                  <a:pt x="2283" y="644"/>
                </a:lnTo>
                <a:lnTo>
                  <a:pt x="2284" y="641"/>
                </a:lnTo>
                <a:cubicBezTo>
                  <a:pt x="2284" y="641"/>
                  <a:pt x="2282" y="642"/>
                  <a:pt x="2279" y="645"/>
                </a:cubicBezTo>
                <a:cubicBezTo>
                  <a:pt x="2276" y="647"/>
                  <a:pt x="2272" y="650"/>
                  <a:pt x="2269" y="654"/>
                </a:cubicBezTo>
                <a:cubicBezTo>
                  <a:pt x="2265" y="658"/>
                  <a:pt x="2261" y="662"/>
                  <a:pt x="2257" y="666"/>
                </a:cubicBezTo>
                <a:lnTo>
                  <a:pt x="2249" y="676"/>
                </a:lnTo>
                <a:cubicBezTo>
                  <a:pt x="2249" y="676"/>
                  <a:pt x="2252" y="673"/>
                  <a:pt x="2257" y="669"/>
                </a:cubicBezTo>
                <a:cubicBezTo>
                  <a:pt x="2270" y="656"/>
                  <a:pt x="2276" y="650"/>
                  <a:pt x="2277" y="650"/>
                </a:cubicBezTo>
                <a:cubicBezTo>
                  <a:pt x="2277" y="650"/>
                  <a:pt x="2276" y="653"/>
                  <a:pt x="2272" y="657"/>
                </a:cubicBezTo>
                <a:cubicBezTo>
                  <a:pt x="2267" y="663"/>
                  <a:pt x="2264" y="667"/>
                  <a:pt x="2264" y="668"/>
                </a:cubicBezTo>
                <a:cubicBezTo>
                  <a:pt x="2265" y="668"/>
                  <a:pt x="2270" y="663"/>
                  <a:pt x="2279" y="654"/>
                </a:cubicBezTo>
                <a:cubicBezTo>
                  <a:pt x="2288" y="645"/>
                  <a:pt x="2292" y="639"/>
                  <a:pt x="2292" y="638"/>
                </a:cubicBezTo>
                <a:lnTo>
                  <a:pt x="2292" y="637"/>
                </a:lnTo>
                <a:cubicBezTo>
                  <a:pt x="2292" y="636"/>
                  <a:pt x="2292" y="636"/>
                  <a:pt x="2293" y="635"/>
                </a:cubicBezTo>
                <a:cubicBezTo>
                  <a:pt x="2294" y="634"/>
                  <a:pt x="2294" y="634"/>
                  <a:pt x="2295" y="634"/>
                </a:cubicBezTo>
                <a:lnTo>
                  <a:pt x="2294" y="637"/>
                </a:lnTo>
                <a:cubicBezTo>
                  <a:pt x="2294" y="638"/>
                  <a:pt x="2295" y="638"/>
                  <a:pt x="2295" y="638"/>
                </a:cubicBezTo>
                <a:cubicBezTo>
                  <a:pt x="2296" y="638"/>
                  <a:pt x="2297" y="637"/>
                  <a:pt x="2300" y="634"/>
                </a:cubicBezTo>
                <a:cubicBezTo>
                  <a:pt x="2302" y="632"/>
                  <a:pt x="2305" y="630"/>
                  <a:pt x="2307" y="627"/>
                </a:cubicBezTo>
                <a:cubicBezTo>
                  <a:pt x="2309" y="624"/>
                  <a:pt x="2310" y="622"/>
                  <a:pt x="2310" y="622"/>
                </a:cubicBezTo>
                <a:lnTo>
                  <a:pt x="2309" y="621"/>
                </a:lnTo>
                <a:cubicBezTo>
                  <a:pt x="2309" y="621"/>
                  <a:pt x="2309" y="620"/>
                  <a:pt x="2310" y="619"/>
                </a:cubicBezTo>
                <a:cubicBezTo>
                  <a:pt x="2311" y="618"/>
                  <a:pt x="2312" y="618"/>
                  <a:pt x="2313" y="618"/>
                </a:cubicBezTo>
                <a:lnTo>
                  <a:pt x="2311" y="621"/>
                </a:lnTo>
                <a:cubicBezTo>
                  <a:pt x="2311" y="622"/>
                  <a:pt x="2311" y="622"/>
                  <a:pt x="2312" y="622"/>
                </a:cubicBezTo>
                <a:cubicBezTo>
                  <a:pt x="2314" y="622"/>
                  <a:pt x="2316" y="620"/>
                  <a:pt x="2319" y="617"/>
                </a:cubicBezTo>
                <a:cubicBezTo>
                  <a:pt x="2322" y="615"/>
                  <a:pt x="2323" y="613"/>
                  <a:pt x="2323" y="611"/>
                </a:cubicBezTo>
                <a:lnTo>
                  <a:pt x="2323" y="610"/>
                </a:lnTo>
                <a:cubicBezTo>
                  <a:pt x="2323" y="608"/>
                  <a:pt x="2323" y="607"/>
                  <a:pt x="2324" y="607"/>
                </a:cubicBezTo>
                <a:cubicBezTo>
                  <a:pt x="2325" y="607"/>
                  <a:pt x="2325" y="606"/>
                  <a:pt x="2326" y="606"/>
                </a:cubicBezTo>
                <a:lnTo>
                  <a:pt x="2326" y="607"/>
                </a:lnTo>
                <a:lnTo>
                  <a:pt x="2324" y="610"/>
                </a:lnTo>
                <a:cubicBezTo>
                  <a:pt x="2324" y="610"/>
                  <a:pt x="2324" y="610"/>
                  <a:pt x="2325" y="610"/>
                </a:cubicBezTo>
                <a:cubicBezTo>
                  <a:pt x="2325" y="610"/>
                  <a:pt x="2326" y="610"/>
                  <a:pt x="2328" y="609"/>
                </a:cubicBezTo>
                <a:cubicBezTo>
                  <a:pt x="2329" y="608"/>
                  <a:pt x="2330" y="608"/>
                  <a:pt x="2332" y="608"/>
                </a:cubicBezTo>
                <a:cubicBezTo>
                  <a:pt x="2333" y="608"/>
                  <a:pt x="2334" y="607"/>
                  <a:pt x="2334" y="607"/>
                </a:cubicBezTo>
                <a:lnTo>
                  <a:pt x="2333" y="604"/>
                </a:lnTo>
                <a:cubicBezTo>
                  <a:pt x="2333" y="602"/>
                  <a:pt x="2334" y="601"/>
                  <a:pt x="2335" y="600"/>
                </a:cubicBezTo>
                <a:cubicBezTo>
                  <a:pt x="2336" y="600"/>
                  <a:pt x="2336" y="600"/>
                  <a:pt x="2337" y="600"/>
                </a:cubicBezTo>
                <a:cubicBezTo>
                  <a:pt x="2337" y="600"/>
                  <a:pt x="2336" y="600"/>
                  <a:pt x="2336" y="601"/>
                </a:cubicBezTo>
                <a:cubicBezTo>
                  <a:pt x="2336" y="601"/>
                  <a:pt x="2336" y="602"/>
                  <a:pt x="2336" y="603"/>
                </a:cubicBezTo>
                <a:cubicBezTo>
                  <a:pt x="2336" y="603"/>
                  <a:pt x="2336" y="604"/>
                  <a:pt x="2337" y="604"/>
                </a:cubicBezTo>
                <a:cubicBezTo>
                  <a:pt x="2338" y="604"/>
                  <a:pt x="2339" y="603"/>
                  <a:pt x="2339" y="601"/>
                </a:cubicBezTo>
                <a:cubicBezTo>
                  <a:pt x="2339" y="600"/>
                  <a:pt x="2340" y="599"/>
                  <a:pt x="2341" y="599"/>
                </a:cubicBezTo>
                <a:cubicBezTo>
                  <a:pt x="2343" y="599"/>
                  <a:pt x="2346" y="597"/>
                  <a:pt x="2353" y="593"/>
                </a:cubicBezTo>
                <a:cubicBezTo>
                  <a:pt x="2368" y="582"/>
                  <a:pt x="2378" y="577"/>
                  <a:pt x="2383" y="577"/>
                </a:cubicBezTo>
                <a:lnTo>
                  <a:pt x="2384" y="577"/>
                </a:lnTo>
                <a:lnTo>
                  <a:pt x="2386" y="578"/>
                </a:lnTo>
                <a:lnTo>
                  <a:pt x="2386" y="577"/>
                </a:lnTo>
                <a:cubicBezTo>
                  <a:pt x="2386" y="577"/>
                  <a:pt x="2386" y="576"/>
                  <a:pt x="2385" y="575"/>
                </a:cubicBezTo>
                <a:cubicBezTo>
                  <a:pt x="2383" y="573"/>
                  <a:pt x="2382" y="572"/>
                  <a:pt x="2380" y="572"/>
                </a:cubicBezTo>
                <a:lnTo>
                  <a:pt x="2375" y="573"/>
                </a:lnTo>
                <a:cubicBezTo>
                  <a:pt x="2375" y="573"/>
                  <a:pt x="2375" y="573"/>
                  <a:pt x="2375" y="572"/>
                </a:cubicBezTo>
                <a:lnTo>
                  <a:pt x="2375" y="571"/>
                </a:lnTo>
                <a:cubicBezTo>
                  <a:pt x="2375" y="571"/>
                  <a:pt x="2374" y="570"/>
                  <a:pt x="2371" y="570"/>
                </a:cubicBezTo>
                <a:cubicBezTo>
                  <a:pt x="2363" y="570"/>
                  <a:pt x="2359" y="571"/>
                  <a:pt x="2359" y="573"/>
                </a:cubicBezTo>
                <a:lnTo>
                  <a:pt x="2361" y="575"/>
                </a:lnTo>
                <a:cubicBezTo>
                  <a:pt x="2361" y="576"/>
                  <a:pt x="2360" y="576"/>
                  <a:pt x="2359" y="576"/>
                </a:cubicBezTo>
                <a:lnTo>
                  <a:pt x="2357" y="575"/>
                </a:lnTo>
                <a:cubicBezTo>
                  <a:pt x="2353" y="575"/>
                  <a:pt x="2351" y="576"/>
                  <a:pt x="2351" y="578"/>
                </a:cubicBezTo>
                <a:lnTo>
                  <a:pt x="2351" y="579"/>
                </a:lnTo>
                <a:cubicBezTo>
                  <a:pt x="2351" y="580"/>
                  <a:pt x="2351" y="581"/>
                  <a:pt x="2350" y="581"/>
                </a:cubicBezTo>
                <a:cubicBezTo>
                  <a:pt x="2349" y="582"/>
                  <a:pt x="2348" y="583"/>
                  <a:pt x="2348" y="583"/>
                </a:cubicBezTo>
                <a:lnTo>
                  <a:pt x="2349" y="580"/>
                </a:lnTo>
                <a:cubicBezTo>
                  <a:pt x="2349" y="578"/>
                  <a:pt x="2348" y="577"/>
                  <a:pt x="2345" y="577"/>
                </a:cubicBezTo>
                <a:cubicBezTo>
                  <a:pt x="2344" y="577"/>
                  <a:pt x="2342" y="578"/>
                  <a:pt x="2340" y="579"/>
                </a:cubicBezTo>
                <a:cubicBezTo>
                  <a:pt x="2338" y="581"/>
                  <a:pt x="2338" y="582"/>
                  <a:pt x="2338" y="583"/>
                </a:cubicBezTo>
                <a:cubicBezTo>
                  <a:pt x="2338" y="583"/>
                  <a:pt x="2338" y="583"/>
                  <a:pt x="2338" y="583"/>
                </a:cubicBezTo>
                <a:cubicBezTo>
                  <a:pt x="2339" y="583"/>
                  <a:pt x="2341" y="582"/>
                  <a:pt x="2342" y="581"/>
                </a:cubicBezTo>
                <a:cubicBezTo>
                  <a:pt x="2344" y="580"/>
                  <a:pt x="2344" y="579"/>
                  <a:pt x="2345" y="579"/>
                </a:cubicBezTo>
                <a:cubicBezTo>
                  <a:pt x="2346" y="579"/>
                  <a:pt x="2346" y="579"/>
                  <a:pt x="2346" y="580"/>
                </a:cubicBezTo>
                <a:cubicBezTo>
                  <a:pt x="2346" y="580"/>
                  <a:pt x="2345" y="581"/>
                  <a:pt x="2344" y="583"/>
                </a:cubicBezTo>
                <a:cubicBezTo>
                  <a:pt x="2343" y="584"/>
                  <a:pt x="2342" y="585"/>
                  <a:pt x="2340" y="586"/>
                </a:cubicBezTo>
                <a:cubicBezTo>
                  <a:pt x="2338" y="588"/>
                  <a:pt x="2336" y="588"/>
                  <a:pt x="2336" y="588"/>
                </a:cubicBezTo>
                <a:cubicBezTo>
                  <a:pt x="2335" y="588"/>
                  <a:pt x="2335" y="588"/>
                  <a:pt x="2335" y="586"/>
                </a:cubicBezTo>
                <a:cubicBezTo>
                  <a:pt x="2335" y="585"/>
                  <a:pt x="2334" y="585"/>
                  <a:pt x="2332" y="585"/>
                </a:cubicBezTo>
                <a:cubicBezTo>
                  <a:pt x="2332" y="585"/>
                  <a:pt x="2331" y="585"/>
                  <a:pt x="2331" y="586"/>
                </a:cubicBezTo>
                <a:lnTo>
                  <a:pt x="2331" y="588"/>
                </a:lnTo>
                <a:cubicBezTo>
                  <a:pt x="2331" y="589"/>
                  <a:pt x="2331" y="590"/>
                  <a:pt x="2330" y="593"/>
                </a:cubicBezTo>
                <a:cubicBezTo>
                  <a:pt x="2329" y="595"/>
                  <a:pt x="2328" y="596"/>
                  <a:pt x="2326" y="598"/>
                </a:cubicBezTo>
                <a:cubicBezTo>
                  <a:pt x="2325" y="599"/>
                  <a:pt x="2324" y="600"/>
                  <a:pt x="2323" y="600"/>
                </a:cubicBezTo>
                <a:lnTo>
                  <a:pt x="2322" y="600"/>
                </a:lnTo>
                <a:cubicBezTo>
                  <a:pt x="2320" y="600"/>
                  <a:pt x="2319" y="601"/>
                  <a:pt x="2318" y="602"/>
                </a:cubicBezTo>
                <a:cubicBezTo>
                  <a:pt x="2316" y="603"/>
                  <a:pt x="2316" y="604"/>
                  <a:pt x="2316" y="604"/>
                </a:cubicBezTo>
                <a:lnTo>
                  <a:pt x="2315" y="603"/>
                </a:lnTo>
                <a:lnTo>
                  <a:pt x="2316" y="600"/>
                </a:lnTo>
                <a:cubicBezTo>
                  <a:pt x="2316" y="599"/>
                  <a:pt x="2316" y="599"/>
                  <a:pt x="2316" y="599"/>
                </a:cubicBezTo>
                <a:cubicBezTo>
                  <a:pt x="2315" y="599"/>
                  <a:pt x="2314" y="599"/>
                  <a:pt x="2314" y="599"/>
                </a:cubicBezTo>
                <a:cubicBezTo>
                  <a:pt x="2314" y="598"/>
                  <a:pt x="2316" y="596"/>
                  <a:pt x="2318" y="593"/>
                </a:cubicBezTo>
                <a:cubicBezTo>
                  <a:pt x="2319" y="591"/>
                  <a:pt x="2320" y="589"/>
                  <a:pt x="2320" y="588"/>
                </a:cubicBezTo>
                <a:cubicBezTo>
                  <a:pt x="2320" y="587"/>
                  <a:pt x="2320" y="587"/>
                  <a:pt x="2319" y="586"/>
                </a:cubicBezTo>
                <a:cubicBezTo>
                  <a:pt x="2319" y="586"/>
                  <a:pt x="2318" y="585"/>
                  <a:pt x="2318" y="584"/>
                </a:cubicBezTo>
                <a:lnTo>
                  <a:pt x="2319" y="582"/>
                </a:lnTo>
                <a:lnTo>
                  <a:pt x="2319" y="581"/>
                </a:lnTo>
                <a:cubicBezTo>
                  <a:pt x="2317" y="581"/>
                  <a:pt x="2313" y="584"/>
                  <a:pt x="2307" y="589"/>
                </a:cubicBezTo>
                <a:cubicBezTo>
                  <a:pt x="2305" y="591"/>
                  <a:pt x="2298" y="598"/>
                  <a:pt x="2286" y="609"/>
                </a:cubicBezTo>
                <a:cubicBezTo>
                  <a:pt x="2274" y="620"/>
                  <a:pt x="2266" y="629"/>
                  <a:pt x="2262" y="634"/>
                </a:cubicBezTo>
                <a:lnTo>
                  <a:pt x="2251" y="646"/>
                </a:lnTo>
                <a:cubicBezTo>
                  <a:pt x="2240" y="657"/>
                  <a:pt x="2233" y="663"/>
                  <a:pt x="2232" y="663"/>
                </a:cubicBezTo>
                <a:cubicBezTo>
                  <a:pt x="2231" y="663"/>
                  <a:pt x="2231" y="663"/>
                  <a:pt x="2231" y="663"/>
                </a:cubicBezTo>
                <a:cubicBezTo>
                  <a:pt x="2231" y="662"/>
                  <a:pt x="2232" y="660"/>
                  <a:pt x="2234" y="658"/>
                </a:cubicBezTo>
                <a:lnTo>
                  <a:pt x="2237" y="654"/>
                </a:lnTo>
                <a:cubicBezTo>
                  <a:pt x="2237" y="654"/>
                  <a:pt x="2235" y="655"/>
                  <a:pt x="2233" y="658"/>
                </a:cubicBezTo>
                <a:cubicBezTo>
                  <a:pt x="2230" y="660"/>
                  <a:pt x="2229" y="662"/>
                  <a:pt x="2229" y="663"/>
                </a:cubicBezTo>
                <a:lnTo>
                  <a:pt x="2229" y="664"/>
                </a:lnTo>
                <a:cubicBezTo>
                  <a:pt x="2229" y="665"/>
                  <a:pt x="2228" y="667"/>
                  <a:pt x="2226" y="669"/>
                </a:cubicBezTo>
                <a:cubicBezTo>
                  <a:pt x="2224" y="671"/>
                  <a:pt x="2223" y="671"/>
                  <a:pt x="2222" y="671"/>
                </a:cubicBezTo>
                <a:cubicBezTo>
                  <a:pt x="2222" y="671"/>
                  <a:pt x="2222" y="671"/>
                  <a:pt x="2222" y="671"/>
                </a:cubicBezTo>
                <a:lnTo>
                  <a:pt x="2222" y="671"/>
                </a:lnTo>
                <a:cubicBezTo>
                  <a:pt x="2220" y="671"/>
                  <a:pt x="2217" y="674"/>
                  <a:pt x="2212" y="680"/>
                </a:cubicBezTo>
                <a:cubicBezTo>
                  <a:pt x="2207" y="686"/>
                  <a:pt x="2204" y="689"/>
                  <a:pt x="2202" y="689"/>
                </a:cubicBezTo>
                <a:lnTo>
                  <a:pt x="2200" y="688"/>
                </a:lnTo>
                <a:lnTo>
                  <a:pt x="2201" y="691"/>
                </a:lnTo>
                <a:cubicBezTo>
                  <a:pt x="2201" y="692"/>
                  <a:pt x="2198" y="695"/>
                  <a:pt x="2193" y="699"/>
                </a:cubicBezTo>
                <a:cubicBezTo>
                  <a:pt x="2187" y="704"/>
                  <a:pt x="2184" y="706"/>
                  <a:pt x="2183" y="706"/>
                </a:cubicBezTo>
                <a:lnTo>
                  <a:pt x="2183" y="705"/>
                </a:lnTo>
                <a:cubicBezTo>
                  <a:pt x="2183" y="705"/>
                  <a:pt x="2183" y="705"/>
                  <a:pt x="2182" y="705"/>
                </a:cubicBezTo>
                <a:cubicBezTo>
                  <a:pt x="2181" y="705"/>
                  <a:pt x="2179" y="708"/>
                  <a:pt x="2175" y="714"/>
                </a:cubicBezTo>
                <a:cubicBezTo>
                  <a:pt x="2173" y="719"/>
                  <a:pt x="2172" y="723"/>
                  <a:pt x="2172" y="727"/>
                </a:cubicBezTo>
                <a:cubicBezTo>
                  <a:pt x="2172" y="727"/>
                  <a:pt x="2172" y="727"/>
                  <a:pt x="2172" y="727"/>
                </a:cubicBezTo>
                <a:cubicBezTo>
                  <a:pt x="2173" y="727"/>
                  <a:pt x="2174" y="726"/>
                  <a:pt x="2176" y="725"/>
                </a:cubicBezTo>
                <a:cubicBezTo>
                  <a:pt x="2179" y="722"/>
                  <a:pt x="2181" y="720"/>
                  <a:pt x="2182" y="720"/>
                </a:cubicBezTo>
                <a:cubicBezTo>
                  <a:pt x="2182" y="720"/>
                  <a:pt x="2185" y="717"/>
                  <a:pt x="2192" y="711"/>
                </a:cubicBezTo>
                <a:cubicBezTo>
                  <a:pt x="2196" y="706"/>
                  <a:pt x="2199" y="703"/>
                  <a:pt x="2200" y="703"/>
                </a:cubicBezTo>
                <a:cubicBezTo>
                  <a:pt x="2200" y="703"/>
                  <a:pt x="2200" y="703"/>
                  <a:pt x="2200" y="704"/>
                </a:cubicBezTo>
                <a:cubicBezTo>
                  <a:pt x="2200" y="705"/>
                  <a:pt x="2199" y="707"/>
                  <a:pt x="2196" y="710"/>
                </a:cubicBezTo>
                <a:cubicBezTo>
                  <a:pt x="2194" y="712"/>
                  <a:pt x="2192" y="715"/>
                  <a:pt x="2190" y="718"/>
                </a:cubicBezTo>
                <a:cubicBezTo>
                  <a:pt x="2189" y="721"/>
                  <a:pt x="2188" y="723"/>
                  <a:pt x="2185" y="723"/>
                </a:cubicBezTo>
                <a:cubicBezTo>
                  <a:pt x="2184" y="723"/>
                  <a:pt x="2182" y="724"/>
                  <a:pt x="2180" y="726"/>
                </a:cubicBezTo>
                <a:cubicBezTo>
                  <a:pt x="2175" y="731"/>
                  <a:pt x="2172" y="735"/>
                  <a:pt x="2172" y="737"/>
                </a:cubicBezTo>
                <a:lnTo>
                  <a:pt x="2172" y="738"/>
                </a:lnTo>
                <a:close/>
                <a:moveTo>
                  <a:pt x="2259" y="659"/>
                </a:moveTo>
                <a:cubicBezTo>
                  <a:pt x="2260" y="659"/>
                  <a:pt x="2261" y="658"/>
                  <a:pt x="2262" y="656"/>
                </a:cubicBezTo>
                <a:cubicBezTo>
                  <a:pt x="2264" y="654"/>
                  <a:pt x="2265" y="653"/>
                  <a:pt x="2267" y="651"/>
                </a:cubicBezTo>
                <a:lnTo>
                  <a:pt x="2271" y="646"/>
                </a:lnTo>
                <a:cubicBezTo>
                  <a:pt x="2271" y="646"/>
                  <a:pt x="2269" y="647"/>
                  <a:pt x="2266" y="650"/>
                </a:cubicBezTo>
                <a:cubicBezTo>
                  <a:pt x="2261" y="654"/>
                  <a:pt x="2259" y="657"/>
                  <a:pt x="2259" y="658"/>
                </a:cubicBezTo>
                <a:cubicBezTo>
                  <a:pt x="2259" y="659"/>
                  <a:pt x="2259" y="659"/>
                  <a:pt x="2259" y="659"/>
                </a:cubicBezTo>
                <a:close/>
                <a:moveTo>
                  <a:pt x="2281" y="637"/>
                </a:moveTo>
                <a:cubicBezTo>
                  <a:pt x="2281" y="637"/>
                  <a:pt x="2282" y="637"/>
                  <a:pt x="2284" y="635"/>
                </a:cubicBezTo>
                <a:cubicBezTo>
                  <a:pt x="2287" y="633"/>
                  <a:pt x="2288" y="632"/>
                  <a:pt x="2289" y="631"/>
                </a:cubicBezTo>
                <a:cubicBezTo>
                  <a:pt x="2291" y="630"/>
                  <a:pt x="2291" y="629"/>
                  <a:pt x="2291" y="628"/>
                </a:cubicBezTo>
                <a:cubicBezTo>
                  <a:pt x="2291" y="628"/>
                  <a:pt x="2291" y="627"/>
                  <a:pt x="2290" y="626"/>
                </a:cubicBezTo>
                <a:cubicBezTo>
                  <a:pt x="2289" y="625"/>
                  <a:pt x="2289" y="625"/>
                  <a:pt x="2287" y="625"/>
                </a:cubicBezTo>
                <a:lnTo>
                  <a:pt x="2288" y="626"/>
                </a:lnTo>
                <a:cubicBezTo>
                  <a:pt x="2288" y="627"/>
                  <a:pt x="2287" y="630"/>
                  <a:pt x="2284" y="633"/>
                </a:cubicBezTo>
                <a:cubicBezTo>
                  <a:pt x="2282" y="636"/>
                  <a:pt x="2281" y="637"/>
                  <a:pt x="2281" y="637"/>
                </a:cubicBezTo>
                <a:close/>
                <a:moveTo>
                  <a:pt x="2402" y="606"/>
                </a:moveTo>
                <a:cubicBezTo>
                  <a:pt x="2402" y="606"/>
                  <a:pt x="2403" y="605"/>
                  <a:pt x="2404" y="605"/>
                </a:cubicBezTo>
                <a:cubicBezTo>
                  <a:pt x="2405" y="605"/>
                  <a:pt x="2406" y="604"/>
                  <a:pt x="2406" y="603"/>
                </a:cubicBezTo>
                <a:cubicBezTo>
                  <a:pt x="2406" y="602"/>
                  <a:pt x="2405" y="601"/>
                  <a:pt x="2404" y="601"/>
                </a:cubicBezTo>
                <a:cubicBezTo>
                  <a:pt x="2403" y="601"/>
                  <a:pt x="2403" y="600"/>
                  <a:pt x="2403" y="599"/>
                </a:cubicBezTo>
                <a:lnTo>
                  <a:pt x="2403" y="596"/>
                </a:lnTo>
                <a:cubicBezTo>
                  <a:pt x="2403" y="595"/>
                  <a:pt x="2402" y="595"/>
                  <a:pt x="2401" y="595"/>
                </a:cubicBezTo>
                <a:cubicBezTo>
                  <a:pt x="2399" y="595"/>
                  <a:pt x="2399" y="595"/>
                  <a:pt x="2399" y="595"/>
                </a:cubicBezTo>
                <a:cubicBezTo>
                  <a:pt x="2399" y="596"/>
                  <a:pt x="2399" y="598"/>
                  <a:pt x="2400" y="599"/>
                </a:cubicBezTo>
                <a:cubicBezTo>
                  <a:pt x="2400" y="601"/>
                  <a:pt x="2401" y="602"/>
                  <a:pt x="2401" y="603"/>
                </a:cubicBezTo>
                <a:lnTo>
                  <a:pt x="2400" y="605"/>
                </a:lnTo>
                <a:cubicBezTo>
                  <a:pt x="2400" y="605"/>
                  <a:pt x="2401" y="606"/>
                  <a:pt x="2402" y="606"/>
                </a:cubicBezTo>
                <a:close/>
                <a:moveTo>
                  <a:pt x="2410" y="632"/>
                </a:moveTo>
                <a:cubicBezTo>
                  <a:pt x="2410" y="632"/>
                  <a:pt x="2410" y="632"/>
                  <a:pt x="2410" y="631"/>
                </a:cubicBezTo>
                <a:cubicBezTo>
                  <a:pt x="2410" y="629"/>
                  <a:pt x="2410" y="626"/>
                  <a:pt x="2409" y="623"/>
                </a:cubicBezTo>
                <a:cubicBezTo>
                  <a:pt x="2408" y="620"/>
                  <a:pt x="2407" y="617"/>
                  <a:pt x="2407" y="614"/>
                </a:cubicBezTo>
                <a:lnTo>
                  <a:pt x="2408" y="611"/>
                </a:lnTo>
                <a:cubicBezTo>
                  <a:pt x="2408" y="609"/>
                  <a:pt x="2407" y="609"/>
                  <a:pt x="2406" y="609"/>
                </a:cubicBezTo>
                <a:cubicBezTo>
                  <a:pt x="2404" y="609"/>
                  <a:pt x="2403" y="610"/>
                  <a:pt x="2403" y="611"/>
                </a:cubicBezTo>
                <a:cubicBezTo>
                  <a:pt x="2403" y="612"/>
                  <a:pt x="2403" y="612"/>
                  <a:pt x="2404" y="614"/>
                </a:cubicBezTo>
                <a:cubicBezTo>
                  <a:pt x="2404" y="615"/>
                  <a:pt x="2405" y="617"/>
                  <a:pt x="2406" y="620"/>
                </a:cubicBezTo>
                <a:cubicBezTo>
                  <a:pt x="2407" y="628"/>
                  <a:pt x="2408" y="632"/>
                  <a:pt x="2409" y="632"/>
                </a:cubicBezTo>
                <a:lnTo>
                  <a:pt x="2410" y="632"/>
                </a:lnTo>
                <a:close/>
                <a:moveTo>
                  <a:pt x="2418" y="661"/>
                </a:moveTo>
                <a:cubicBezTo>
                  <a:pt x="2419" y="661"/>
                  <a:pt x="2420" y="660"/>
                  <a:pt x="2420" y="659"/>
                </a:cubicBezTo>
                <a:cubicBezTo>
                  <a:pt x="2420" y="657"/>
                  <a:pt x="2419" y="656"/>
                  <a:pt x="2417" y="656"/>
                </a:cubicBezTo>
                <a:cubicBezTo>
                  <a:pt x="2416" y="656"/>
                  <a:pt x="2416" y="657"/>
                  <a:pt x="2416" y="658"/>
                </a:cubicBezTo>
                <a:cubicBezTo>
                  <a:pt x="2416" y="658"/>
                  <a:pt x="2416" y="659"/>
                  <a:pt x="2416" y="659"/>
                </a:cubicBezTo>
                <a:cubicBezTo>
                  <a:pt x="2417" y="659"/>
                  <a:pt x="2417" y="660"/>
                  <a:pt x="2417" y="660"/>
                </a:cubicBezTo>
                <a:cubicBezTo>
                  <a:pt x="2418" y="660"/>
                  <a:pt x="2418" y="661"/>
                  <a:pt x="2418" y="661"/>
                </a:cubicBezTo>
                <a:close/>
                <a:moveTo>
                  <a:pt x="2463" y="692"/>
                </a:moveTo>
                <a:lnTo>
                  <a:pt x="2463" y="691"/>
                </a:lnTo>
                <a:cubicBezTo>
                  <a:pt x="2464" y="691"/>
                  <a:pt x="2464" y="691"/>
                  <a:pt x="2464" y="690"/>
                </a:cubicBezTo>
                <a:cubicBezTo>
                  <a:pt x="2464" y="689"/>
                  <a:pt x="2464" y="689"/>
                  <a:pt x="2463" y="688"/>
                </a:cubicBezTo>
                <a:cubicBezTo>
                  <a:pt x="2461" y="687"/>
                  <a:pt x="2459" y="686"/>
                  <a:pt x="2458" y="686"/>
                </a:cubicBezTo>
                <a:cubicBezTo>
                  <a:pt x="2458" y="686"/>
                  <a:pt x="2458" y="686"/>
                  <a:pt x="2458" y="686"/>
                </a:cubicBezTo>
                <a:cubicBezTo>
                  <a:pt x="2458" y="687"/>
                  <a:pt x="2458" y="688"/>
                  <a:pt x="2459" y="690"/>
                </a:cubicBezTo>
                <a:cubicBezTo>
                  <a:pt x="2460" y="691"/>
                  <a:pt x="2462" y="692"/>
                  <a:pt x="2463" y="692"/>
                </a:cubicBezTo>
                <a:close/>
                <a:moveTo>
                  <a:pt x="2469" y="695"/>
                </a:moveTo>
                <a:cubicBezTo>
                  <a:pt x="2472" y="695"/>
                  <a:pt x="2473" y="695"/>
                  <a:pt x="2473" y="694"/>
                </a:cubicBezTo>
                <a:cubicBezTo>
                  <a:pt x="2473" y="693"/>
                  <a:pt x="2472" y="693"/>
                  <a:pt x="2470" y="693"/>
                </a:cubicBezTo>
                <a:cubicBezTo>
                  <a:pt x="2467" y="693"/>
                  <a:pt x="2466" y="693"/>
                  <a:pt x="2466" y="694"/>
                </a:cubicBezTo>
                <a:cubicBezTo>
                  <a:pt x="2466" y="695"/>
                  <a:pt x="2467" y="695"/>
                  <a:pt x="2469" y="695"/>
                </a:cubicBezTo>
                <a:close/>
                <a:moveTo>
                  <a:pt x="2603" y="632"/>
                </a:moveTo>
                <a:cubicBezTo>
                  <a:pt x="2605" y="632"/>
                  <a:pt x="2607" y="631"/>
                  <a:pt x="2609" y="628"/>
                </a:cubicBezTo>
                <a:cubicBezTo>
                  <a:pt x="2610" y="627"/>
                  <a:pt x="2611" y="625"/>
                  <a:pt x="2611" y="625"/>
                </a:cubicBezTo>
                <a:cubicBezTo>
                  <a:pt x="2611" y="623"/>
                  <a:pt x="2609" y="623"/>
                  <a:pt x="2608" y="623"/>
                </a:cubicBezTo>
                <a:cubicBezTo>
                  <a:pt x="2607" y="623"/>
                  <a:pt x="2606" y="623"/>
                  <a:pt x="2605" y="624"/>
                </a:cubicBezTo>
                <a:cubicBezTo>
                  <a:pt x="2604" y="625"/>
                  <a:pt x="2604" y="626"/>
                  <a:pt x="2603" y="627"/>
                </a:cubicBezTo>
                <a:cubicBezTo>
                  <a:pt x="2602" y="629"/>
                  <a:pt x="2602" y="630"/>
                  <a:pt x="2602" y="630"/>
                </a:cubicBezTo>
                <a:cubicBezTo>
                  <a:pt x="2602" y="631"/>
                  <a:pt x="2602" y="632"/>
                  <a:pt x="2603" y="632"/>
                </a:cubicBezTo>
                <a:close/>
                <a:moveTo>
                  <a:pt x="2656" y="567"/>
                </a:moveTo>
                <a:cubicBezTo>
                  <a:pt x="2658" y="567"/>
                  <a:pt x="2659" y="565"/>
                  <a:pt x="2660" y="562"/>
                </a:cubicBezTo>
                <a:cubicBezTo>
                  <a:pt x="2662" y="560"/>
                  <a:pt x="2663" y="558"/>
                  <a:pt x="2663" y="557"/>
                </a:cubicBezTo>
                <a:cubicBezTo>
                  <a:pt x="2663" y="557"/>
                  <a:pt x="2663" y="557"/>
                  <a:pt x="2662" y="557"/>
                </a:cubicBezTo>
                <a:cubicBezTo>
                  <a:pt x="2661" y="557"/>
                  <a:pt x="2660" y="557"/>
                  <a:pt x="2658" y="558"/>
                </a:cubicBezTo>
                <a:cubicBezTo>
                  <a:pt x="2656" y="560"/>
                  <a:pt x="2654" y="562"/>
                  <a:pt x="2654" y="565"/>
                </a:cubicBezTo>
                <a:cubicBezTo>
                  <a:pt x="2654" y="566"/>
                  <a:pt x="2655" y="567"/>
                  <a:pt x="2656" y="567"/>
                </a:cubicBezTo>
                <a:close/>
                <a:moveTo>
                  <a:pt x="2651" y="574"/>
                </a:moveTo>
                <a:cubicBezTo>
                  <a:pt x="2653" y="574"/>
                  <a:pt x="2654" y="573"/>
                  <a:pt x="2656" y="571"/>
                </a:cubicBezTo>
                <a:lnTo>
                  <a:pt x="2656" y="569"/>
                </a:lnTo>
                <a:lnTo>
                  <a:pt x="2656" y="569"/>
                </a:lnTo>
                <a:lnTo>
                  <a:pt x="2655" y="570"/>
                </a:lnTo>
                <a:cubicBezTo>
                  <a:pt x="2655" y="570"/>
                  <a:pt x="2654" y="570"/>
                  <a:pt x="2654" y="570"/>
                </a:cubicBezTo>
                <a:cubicBezTo>
                  <a:pt x="2653" y="570"/>
                  <a:pt x="2652" y="570"/>
                  <a:pt x="2651" y="569"/>
                </a:cubicBezTo>
                <a:cubicBezTo>
                  <a:pt x="2650" y="568"/>
                  <a:pt x="2649" y="568"/>
                  <a:pt x="2649" y="568"/>
                </a:cubicBezTo>
                <a:cubicBezTo>
                  <a:pt x="2649" y="568"/>
                  <a:pt x="2648" y="569"/>
                  <a:pt x="2648" y="570"/>
                </a:cubicBezTo>
                <a:cubicBezTo>
                  <a:pt x="2648" y="573"/>
                  <a:pt x="2649" y="574"/>
                  <a:pt x="2651" y="574"/>
                </a:cubicBezTo>
                <a:close/>
                <a:moveTo>
                  <a:pt x="2636" y="599"/>
                </a:moveTo>
                <a:cubicBezTo>
                  <a:pt x="2637" y="599"/>
                  <a:pt x="2639" y="597"/>
                  <a:pt x="2642" y="592"/>
                </a:cubicBezTo>
                <a:cubicBezTo>
                  <a:pt x="2644" y="588"/>
                  <a:pt x="2646" y="584"/>
                  <a:pt x="2646" y="581"/>
                </a:cubicBezTo>
                <a:lnTo>
                  <a:pt x="2646" y="580"/>
                </a:lnTo>
                <a:cubicBezTo>
                  <a:pt x="2646" y="579"/>
                  <a:pt x="2646" y="579"/>
                  <a:pt x="2646" y="579"/>
                </a:cubicBezTo>
                <a:lnTo>
                  <a:pt x="2649" y="580"/>
                </a:lnTo>
                <a:cubicBezTo>
                  <a:pt x="2649" y="580"/>
                  <a:pt x="2650" y="580"/>
                  <a:pt x="2650" y="579"/>
                </a:cubicBezTo>
                <a:lnTo>
                  <a:pt x="2651" y="578"/>
                </a:lnTo>
                <a:cubicBezTo>
                  <a:pt x="2651" y="578"/>
                  <a:pt x="2650" y="577"/>
                  <a:pt x="2648" y="577"/>
                </a:cubicBezTo>
                <a:cubicBezTo>
                  <a:pt x="2646" y="577"/>
                  <a:pt x="2644" y="578"/>
                  <a:pt x="2643" y="582"/>
                </a:cubicBezTo>
                <a:cubicBezTo>
                  <a:pt x="2642" y="585"/>
                  <a:pt x="2640" y="588"/>
                  <a:pt x="2638" y="590"/>
                </a:cubicBezTo>
                <a:cubicBezTo>
                  <a:pt x="2636" y="592"/>
                  <a:pt x="2634" y="594"/>
                  <a:pt x="2634" y="597"/>
                </a:cubicBezTo>
                <a:cubicBezTo>
                  <a:pt x="2634" y="598"/>
                  <a:pt x="2635" y="599"/>
                  <a:pt x="2636" y="599"/>
                </a:cubicBezTo>
                <a:close/>
                <a:moveTo>
                  <a:pt x="2615" y="622"/>
                </a:moveTo>
                <a:cubicBezTo>
                  <a:pt x="2616" y="622"/>
                  <a:pt x="2619" y="619"/>
                  <a:pt x="2623" y="614"/>
                </a:cubicBezTo>
                <a:cubicBezTo>
                  <a:pt x="2628" y="610"/>
                  <a:pt x="2630" y="607"/>
                  <a:pt x="2630" y="605"/>
                </a:cubicBezTo>
                <a:lnTo>
                  <a:pt x="2629" y="603"/>
                </a:lnTo>
                <a:cubicBezTo>
                  <a:pt x="2629" y="602"/>
                  <a:pt x="2630" y="601"/>
                  <a:pt x="2631" y="600"/>
                </a:cubicBezTo>
                <a:cubicBezTo>
                  <a:pt x="2631" y="599"/>
                  <a:pt x="2632" y="598"/>
                  <a:pt x="2632" y="598"/>
                </a:cubicBezTo>
                <a:cubicBezTo>
                  <a:pt x="2631" y="598"/>
                  <a:pt x="2630" y="598"/>
                  <a:pt x="2629" y="600"/>
                </a:cubicBezTo>
                <a:cubicBezTo>
                  <a:pt x="2627" y="601"/>
                  <a:pt x="2626" y="603"/>
                  <a:pt x="2625" y="604"/>
                </a:cubicBezTo>
                <a:cubicBezTo>
                  <a:pt x="2624" y="605"/>
                  <a:pt x="2623" y="607"/>
                  <a:pt x="2623" y="607"/>
                </a:cubicBezTo>
                <a:cubicBezTo>
                  <a:pt x="2623" y="608"/>
                  <a:pt x="2623" y="609"/>
                  <a:pt x="2623" y="610"/>
                </a:cubicBezTo>
                <a:cubicBezTo>
                  <a:pt x="2622" y="611"/>
                  <a:pt x="2621" y="612"/>
                  <a:pt x="2620" y="613"/>
                </a:cubicBezTo>
                <a:cubicBezTo>
                  <a:pt x="2619" y="614"/>
                  <a:pt x="2618" y="614"/>
                  <a:pt x="2618" y="614"/>
                </a:cubicBezTo>
                <a:lnTo>
                  <a:pt x="2617" y="614"/>
                </a:lnTo>
                <a:lnTo>
                  <a:pt x="2618" y="612"/>
                </a:lnTo>
                <a:cubicBezTo>
                  <a:pt x="2618" y="611"/>
                  <a:pt x="2618" y="610"/>
                  <a:pt x="2617" y="609"/>
                </a:cubicBezTo>
                <a:cubicBezTo>
                  <a:pt x="2616" y="609"/>
                  <a:pt x="2616" y="609"/>
                  <a:pt x="2615" y="609"/>
                </a:cubicBezTo>
                <a:lnTo>
                  <a:pt x="2616" y="611"/>
                </a:lnTo>
                <a:cubicBezTo>
                  <a:pt x="2616" y="613"/>
                  <a:pt x="2616" y="614"/>
                  <a:pt x="2614" y="614"/>
                </a:cubicBezTo>
                <a:cubicBezTo>
                  <a:pt x="2613" y="615"/>
                  <a:pt x="2612" y="616"/>
                  <a:pt x="2612" y="618"/>
                </a:cubicBezTo>
                <a:cubicBezTo>
                  <a:pt x="2612" y="619"/>
                  <a:pt x="2612" y="620"/>
                  <a:pt x="2613" y="620"/>
                </a:cubicBezTo>
                <a:cubicBezTo>
                  <a:pt x="2613" y="621"/>
                  <a:pt x="2613" y="621"/>
                  <a:pt x="2615" y="622"/>
                </a:cubicBezTo>
                <a:close/>
                <a:moveTo>
                  <a:pt x="2148" y="626"/>
                </a:moveTo>
                <a:cubicBezTo>
                  <a:pt x="2148" y="626"/>
                  <a:pt x="2148" y="626"/>
                  <a:pt x="2148" y="625"/>
                </a:cubicBezTo>
                <a:cubicBezTo>
                  <a:pt x="2148" y="624"/>
                  <a:pt x="2149" y="621"/>
                  <a:pt x="2151" y="616"/>
                </a:cubicBezTo>
                <a:cubicBezTo>
                  <a:pt x="2153" y="611"/>
                  <a:pt x="2154" y="608"/>
                  <a:pt x="2155" y="608"/>
                </a:cubicBezTo>
                <a:cubicBezTo>
                  <a:pt x="2155" y="608"/>
                  <a:pt x="2155" y="608"/>
                  <a:pt x="2155" y="609"/>
                </a:cubicBezTo>
                <a:cubicBezTo>
                  <a:pt x="2155" y="610"/>
                  <a:pt x="2155" y="613"/>
                  <a:pt x="2153" y="617"/>
                </a:cubicBezTo>
                <a:cubicBezTo>
                  <a:pt x="2150" y="623"/>
                  <a:pt x="2149" y="626"/>
                  <a:pt x="2148" y="626"/>
                </a:cubicBezTo>
                <a:close/>
                <a:moveTo>
                  <a:pt x="2155" y="606"/>
                </a:moveTo>
                <a:cubicBezTo>
                  <a:pt x="2155" y="606"/>
                  <a:pt x="2155" y="605"/>
                  <a:pt x="2155" y="605"/>
                </a:cubicBezTo>
                <a:cubicBezTo>
                  <a:pt x="2155" y="604"/>
                  <a:pt x="2155" y="603"/>
                  <a:pt x="2156" y="601"/>
                </a:cubicBezTo>
                <a:cubicBezTo>
                  <a:pt x="2157" y="600"/>
                  <a:pt x="2158" y="599"/>
                  <a:pt x="2158" y="598"/>
                </a:cubicBezTo>
                <a:cubicBezTo>
                  <a:pt x="2159" y="597"/>
                  <a:pt x="2160" y="597"/>
                  <a:pt x="2160" y="597"/>
                </a:cubicBezTo>
                <a:cubicBezTo>
                  <a:pt x="2160" y="597"/>
                  <a:pt x="2160" y="597"/>
                  <a:pt x="2160" y="597"/>
                </a:cubicBezTo>
                <a:lnTo>
                  <a:pt x="2159" y="601"/>
                </a:lnTo>
                <a:cubicBezTo>
                  <a:pt x="2157" y="604"/>
                  <a:pt x="2156" y="606"/>
                  <a:pt x="2155" y="606"/>
                </a:cubicBezTo>
                <a:close/>
                <a:moveTo>
                  <a:pt x="2147" y="635"/>
                </a:moveTo>
                <a:cubicBezTo>
                  <a:pt x="2146" y="635"/>
                  <a:pt x="2146" y="634"/>
                  <a:pt x="2146" y="632"/>
                </a:cubicBezTo>
                <a:cubicBezTo>
                  <a:pt x="2146" y="630"/>
                  <a:pt x="2146" y="630"/>
                  <a:pt x="2147" y="630"/>
                </a:cubicBezTo>
                <a:cubicBezTo>
                  <a:pt x="2147" y="630"/>
                  <a:pt x="2148" y="631"/>
                  <a:pt x="2148" y="633"/>
                </a:cubicBezTo>
                <a:cubicBezTo>
                  <a:pt x="2148" y="634"/>
                  <a:pt x="2148" y="634"/>
                  <a:pt x="2147" y="635"/>
                </a:cubicBezTo>
                <a:cubicBezTo>
                  <a:pt x="2147" y="635"/>
                  <a:pt x="2147" y="635"/>
                  <a:pt x="2147" y="635"/>
                </a:cubicBezTo>
                <a:close/>
                <a:moveTo>
                  <a:pt x="2147" y="656"/>
                </a:moveTo>
                <a:cubicBezTo>
                  <a:pt x="2147" y="656"/>
                  <a:pt x="2146" y="656"/>
                  <a:pt x="2146" y="655"/>
                </a:cubicBezTo>
                <a:lnTo>
                  <a:pt x="2147" y="653"/>
                </a:lnTo>
                <a:cubicBezTo>
                  <a:pt x="2147" y="651"/>
                  <a:pt x="2148" y="649"/>
                  <a:pt x="2148" y="647"/>
                </a:cubicBezTo>
                <a:cubicBezTo>
                  <a:pt x="2148" y="645"/>
                  <a:pt x="2149" y="644"/>
                  <a:pt x="2151" y="644"/>
                </a:cubicBezTo>
                <a:cubicBezTo>
                  <a:pt x="2153" y="644"/>
                  <a:pt x="2154" y="645"/>
                  <a:pt x="2154" y="646"/>
                </a:cubicBezTo>
                <a:cubicBezTo>
                  <a:pt x="2154" y="648"/>
                  <a:pt x="2153" y="649"/>
                  <a:pt x="2152" y="652"/>
                </a:cubicBezTo>
                <a:cubicBezTo>
                  <a:pt x="2150" y="655"/>
                  <a:pt x="2149" y="656"/>
                  <a:pt x="2147" y="656"/>
                </a:cubicBezTo>
                <a:close/>
                <a:moveTo>
                  <a:pt x="2618" y="590"/>
                </a:moveTo>
                <a:cubicBezTo>
                  <a:pt x="2618" y="590"/>
                  <a:pt x="2617" y="590"/>
                  <a:pt x="2617" y="589"/>
                </a:cubicBezTo>
                <a:cubicBezTo>
                  <a:pt x="2617" y="588"/>
                  <a:pt x="2618" y="587"/>
                  <a:pt x="2621" y="585"/>
                </a:cubicBezTo>
                <a:lnTo>
                  <a:pt x="2623" y="583"/>
                </a:lnTo>
                <a:lnTo>
                  <a:pt x="2624" y="583"/>
                </a:lnTo>
                <a:lnTo>
                  <a:pt x="2622" y="586"/>
                </a:lnTo>
                <a:cubicBezTo>
                  <a:pt x="2620" y="589"/>
                  <a:pt x="2618" y="590"/>
                  <a:pt x="2618" y="590"/>
                </a:cubicBezTo>
                <a:close/>
                <a:moveTo>
                  <a:pt x="2143" y="651"/>
                </a:moveTo>
                <a:cubicBezTo>
                  <a:pt x="2142" y="651"/>
                  <a:pt x="2142" y="650"/>
                  <a:pt x="2142" y="648"/>
                </a:cubicBezTo>
                <a:cubicBezTo>
                  <a:pt x="2142" y="647"/>
                  <a:pt x="2142" y="646"/>
                  <a:pt x="2142" y="646"/>
                </a:cubicBezTo>
                <a:cubicBezTo>
                  <a:pt x="2143" y="646"/>
                  <a:pt x="2143" y="647"/>
                  <a:pt x="2143" y="649"/>
                </a:cubicBezTo>
                <a:cubicBezTo>
                  <a:pt x="2143" y="649"/>
                  <a:pt x="2143" y="650"/>
                  <a:pt x="2143" y="651"/>
                </a:cubicBezTo>
                <a:close/>
                <a:moveTo>
                  <a:pt x="2344" y="560"/>
                </a:moveTo>
                <a:cubicBezTo>
                  <a:pt x="2344" y="560"/>
                  <a:pt x="2343" y="559"/>
                  <a:pt x="2343" y="559"/>
                </a:cubicBezTo>
                <a:cubicBezTo>
                  <a:pt x="2343" y="559"/>
                  <a:pt x="2344" y="558"/>
                  <a:pt x="2345" y="558"/>
                </a:cubicBezTo>
                <a:cubicBezTo>
                  <a:pt x="2346" y="557"/>
                  <a:pt x="2347" y="557"/>
                  <a:pt x="2348" y="557"/>
                </a:cubicBezTo>
                <a:cubicBezTo>
                  <a:pt x="2349" y="557"/>
                  <a:pt x="2349" y="557"/>
                  <a:pt x="2349" y="557"/>
                </a:cubicBezTo>
                <a:lnTo>
                  <a:pt x="2349" y="558"/>
                </a:lnTo>
                <a:cubicBezTo>
                  <a:pt x="2348" y="559"/>
                  <a:pt x="2346" y="560"/>
                  <a:pt x="2344" y="560"/>
                </a:cubicBezTo>
                <a:close/>
                <a:moveTo>
                  <a:pt x="2443" y="649"/>
                </a:moveTo>
                <a:lnTo>
                  <a:pt x="2441" y="649"/>
                </a:lnTo>
                <a:cubicBezTo>
                  <a:pt x="2440" y="649"/>
                  <a:pt x="2439" y="649"/>
                  <a:pt x="2439" y="647"/>
                </a:cubicBezTo>
                <a:cubicBezTo>
                  <a:pt x="2439" y="646"/>
                  <a:pt x="2439" y="646"/>
                  <a:pt x="2440" y="646"/>
                </a:cubicBezTo>
                <a:cubicBezTo>
                  <a:pt x="2440" y="646"/>
                  <a:pt x="2441" y="646"/>
                  <a:pt x="2442" y="646"/>
                </a:cubicBezTo>
                <a:cubicBezTo>
                  <a:pt x="2443" y="647"/>
                  <a:pt x="2443" y="647"/>
                  <a:pt x="2443" y="648"/>
                </a:cubicBezTo>
                <a:lnTo>
                  <a:pt x="2443" y="649"/>
                </a:lnTo>
                <a:close/>
                <a:moveTo>
                  <a:pt x="2438" y="643"/>
                </a:moveTo>
                <a:cubicBezTo>
                  <a:pt x="2437" y="643"/>
                  <a:pt x="2437" y="642"/>
                  <a:pt x="2437" y="641"/>
                </a:cubicBezTo>
                <a:cubicBezTo>
                  <a:pt x="2437" y="639"/>
                  <a:pt x="2436" y="637"/>
                  <a:pt x="2435" y="634"/>
                </a:cubicBezTo>
                <a:lnTo>
                  <a:pt x="2435" y="632"/>
                </a:lnTo>
                <a:cubicBezTo>
                  <a:pt x="2435" y="632"/>
                  <a:pt x="2435" y="632"/>
                  <a:pt x="2435" y="632"/>
                </a:cubicBezTo>
                <a:lnTo>
                  <a:pt x="2436" y="632"/>
                </a:lnTo>
                <a:cubicBezTo>
                  <a:pt x="2437" y="633"/>
                  <a:pt x="2438" y="634"/>
                  <a:pt x="2439" y="636"/>
                </a:cubicBezTo>
                <a:cubicBezTo>
                  <a:pt x="2440" y="638"/>
                  <a:pt x="2440" y="639"/>
                  <a:pt x="2440" y="641"/>
                </a:cubicBezTo>
                <a:cubicBezTo>
                  <a:pt x="2440" y="642"/>
                  <a:pt x="2440" y="643"/>
                  <a:pt x="2438" y="643"/>
                </a:cubicBezTo>
                <a:close/>
                <a:moveTo>
                  <a:pt x="2617" y="589"/>
                </a:moveTo>
                <a:close/>
                <a:moveTo>
                  <a:pt x="2715" y="639"/>
                </a:moveTo>
                <a:lnTo>
                  <a:pt x="2714" y="639"/>
                </a:lnTo>
                <a:lnTo>
                  <a:pt x="2714" y="638"/>
                </a:lnTo>
                <a:cubicBezTo>
                  <a:pt x="2714" y="637"/>
                  <a:pt x="2715" y="637"/>
                  <a:pt x="2716" y="635"/>
                </a:cubicBezTo>
                <a:cubicBezTo>
                  <a:pt x="2716" y="634"/>
                  <a:pt x="2718" y="633"/>
                  <a:pt x="2719" y="632"/>
                </a:cubicBezTo>
                <a:cubicBezTo>
                  <a:pt x="2720" y="631"/>
                  <a:pt x="2721" y="630"/>
                  <a:pt x="2721" y="630"/>
                </a:cubicBezTo>
                <a:cubicBezTo>
                  <a:pt x="2721" y="631"/>
                  <a:pt x="2721" y="632"/>
                  <a:pt x="2720" y="633"/>
                </a:cubicBezTo>
                <a:cubicBezTo>
                  <a:pt x="2718" y="635"/>
                  <a:pt x="2717" y="637"/>
                  <a:pt x="2716" y="637"/>
                </a:cubicBezTo>
                <a:cubicBezTo>
                  <a:pt x="2716" y="639"/>
                  <a:pt x="2715" y="639"/>
                  <a:pt x="2715" y="639"/>
                </a:cubicBezTo>
                <a:close/>
                <a:moveTo>
                  <a:pt x="2604" y="954"/>
                </a:moveTo>
                <a:cubicBezTo>
                  <a:pt x="2604" y="954"/>
                  <a:pt x="2606" y="951"/>
                  <a:pt x="2612" y="945"/>
                </a:cubicBezTo>
                <a:cubicBezTo>
                  <a:pt x="2619" y="938"/>
                  <a:pt x="2624" y="935"/>
                  <a:pt x="2625" y="935"/>
                </a:cubicBezTo>
                <a:cubicBezTo>
                  <a:pt x="2625" y="935"/>
                  <a:pt x="2624" y="936"/>
                  <a:pt x="2623" y="938"/>
                </a:cubicBezTo>
                <a:cubicBezTo>
                  <a:pt x="2621" y="941"/>
                  <a:pt x="2620" y="942"/>
                  <a:pt x="2619" y="943"/>
                </a:cubicBezTo>
                <a:cubicBezTo>
                  <a:pt x="2619" y="945"/>
                  <a:pt x="2619" y="946"/>
                  <a:pt x="2618" y="946"/>
                </a:cubicBezTo>
                <a:cubicBezTo>
                  <a:pt x="2617" y="946"/>
                  <a:pt x="2613" y="948"/>
                  <a:pt x="2608" y="951"/>
                </a:cubicBezTo>
                <a:lnTo>
                  <a:pt x="2604" y="954"/>
                </a:lnTo>
                <a:close/>
                <a:moveTo>
                  <a:pt x="2660" y="612"/>
                </a:moveTo>
                <a:cubicBezTo>
                  <a:pt x="2659" y="612"/>
                  <a:pt x="2659" y="612"/>
                  <a:pt x="2659" y="612"/>
                </a:cubicBezTo>
                <a:cubicBezTo>
                  <a:pt x="2659" y="611"/>
                  <a:pt x="2660" y="610"/>
                  <a:pt x="2661" y="609"/>
                </a:cubicBezTo>
                <a:cubicBezTo>
                  <a:pt x="2664" y="606"/>
                  <a:pt x="2666" y="603"/>
                  <a:pt x="2667" y="600"/>
                </a:cubicBezTo>
                <a:cubicBezTo>
                  <a:pt x="2668" y="596"/>
                  <a:pt x="2669" y="594"/>
                  <a:pt x="2670" y="594"/>
                </a:cubicBezTo>
                <a:cubicBezTo>
                  <a:pt x="2671" y="594"/>
                  <a:pt x="2671" y="594"/>
                  <a:pt x="2671" y="595"/>
                </a:cubicBezTo>
                <a:cubicBezTo>
                  <a:pt x="2671" y="597"/>
                  <a:pt x="2670" y="599"/>
                  <a:pt x="2667" y="603"/>
                </a:cubicBezTo>
                <a:cubicBezTo>
                  <a:pt x="2664" y="609"/>
                  <a:pt x="2661" y="612"/>
                  <a:pt x="2660" y="612"/>
                </a:cubicBezTo>
                <a:close/>
                <a:moveTo>
                  <a:pt x="2780" y="846"/>
                </a:moveTo>
                <a:cubicBezTo>
                  <a:pt x="2778" y="846"/>
                  <a:pt x="2778" y="845"/>
                  <a:pt x="2778" y="845"/>
                </a:cubicBezTo>
                <a:cubicBezTo>
                  <a:pt x="2778" y="844"/>
                  <a:pt x="2778" y="843"/>
                  <a:pt x="2780" y="842"/>
                </a:cubicBezTo>
                <a:lnTo>
                  <a:pt x="2781" y="841"/>
                </a:lnTo>
                <a:cubicBezTo>
                  <a:pt x="2782" y="841"/>
                  <a:pt x="2782" y="842"/>
                  <a:pt x="2782" y="843"/>
                </a:cubicBezTo>
                <a:cubicBezTo>
                  <a:pt x="2782" y="845"/>
                  <a:pt x="2781" y="846"/>
                  <a:pt x="2780" y="846"/>
                </a:cubicBezTo>
                <a:close/>
                <a:moveTo>
                  <a:pt x="2833" y="682"/>
                </a:moveTo>
                <a:lnTo>
                  <a:pt x="2833" y="679"/>
                </a:lnTo>
                <a:cubicBezTo>
                  <a:pt x="2833" y="676"/>
                  <a:pt x="2833" y="676"/>
                  <a:pt x="2834" y="676"/>
                </a:cubicBezTo>
                <a:cubicBezTo>
                  <a:pt x="2834" y="676"/>
                  <a:pt x="2835" y="676"/>
                  <a:pt x="2835" y="678"/>
                </a:cubicBezTo>
                <a:cubicBezTo>
                  <a:pt x="2835" y="679"/>
                  <a:pt x="2834" y="680"/>
                  <a:pt x="2834" y="681"/>
                </a:cubicBezTo>
                <a:cubicBezTo>
                  <a:pt x="2834" y="682"/>
                  <a:pt x="2833" y="682"/>
                  <a:pt x="2833" y="682"/>
                </a:cubicBezTo>
                <a:close/>
                <a:moveTo>
                  <a:pt x="2648" y="635"/>
                </a:moveTo>
                <a:lnTo>
                  <a:pt x="2648" y="634"/>
                </a:lnTo>
                <a:lnTo>
                  <a:pt x="2649" y="632"/>
                </a:lnTo>
                <a:cubicBezTo>
                  <a:pt x="2649" y="630"/>
                  <a:pt x="2650" y="629"/>
                  <a:pt x="2651" y="629"/>
                </a:cubicBezTo>
                <a:cubicBezTo>
                  <a:pt x="2651" y="629"/>
                  <a:pt x="2652" y="629"/>
                  <a:pt x="2652" y="630"/>
                </a:cubicBezTo>
                <a:cubicBezTo>
                  <a:pt x="2652" y="631"/>
                  <a:pt x="2651" y="632"/>
                  <a:pt x="2650" y="633"/>
                </a:cubicBezTo>
                <a:cubicBezTo>
                  <a:pt x="2649" y="634"/>
                  <a:pt x="2648" y="635"/>
                  <a:pt x="2648" y="635"/>
                </a:cubicBezTo>
                <a:close/>
                <a:moveTo>
                  <a:pt x="2790" y="828"/>
                </a:moveTo>
                <a:close/>
                <a:moveTo>
                  <a:pt x="2794" y="829"/>
                </a:moveTo>
                <a:cubicBezTo>
                  <a:pt x="2792" y="829"/>
                  <a:pt x="2790" y="828"/>
                  <a:pt x="2790" y="828"/>
                </a:cubicBezTo>
                <a:cubicBezTo>
                  <a:pt x="2790" y="827"/>
                  <a:pt x="2793" y="825"/>
                  <a:pt x="2799" y="821"/>
                </a:cubicBezTo>
                <a:cubicBezTo>
                  <a:pt x="2805" y="816"/>
                  <a:pt x="2808" y="814"/>
                  <a:pt x="2810" y="814"/>
                </a:cubicBezTo>
                <a:cubicBezTo>
                  <a:pt x="2810" y="814"/>
                  <a:pt x="2808" y="816"/>
                  <a:pt x="2804" y="820"/>
                </a:cubicBezTo>
                <a:cubicBezTo>
                  <a:pt x="2799" y="823"/>
                  <a:pt x="2797" y="826"/>
                  <a:pt x="2797" y="827"/>
                </a:cubicBezTo>
                <a:lnTo>
                  <a:pt x="2797" y="828"/>
                </a:lnTo>
                <a:cubicBezTo>
                  <a:pt x="2797" y="828"/>
                  <a:pt x="2796" y="829"/>
                  <a:pt x="2794" y="829"/>
                </a:cubicBezTo>
                <a:close/>
                <a:moveTo>
                  <a:pt x="2837" y="670"/>
                </a:moveTo>
                <a:cubicBezTo>
                  <a:pt x="2836" y="670"/>
                  <a:pt x="2836" y="669"/>
                  <a:pt x="2836" y="667"/>
                </a:cubicBezTo>
                <a:cubicBezTo>
                  <a:pt x="2836" y="665"/>
                  <a:pt x="2837" y="664"/>
                  <a:pt x="2837" y="664"/>
                </a:cubicBezTo>
                <a:cubicBezTo>
                  <a:pt x="2838" y="664"/>
                  <a:pt x="2838" y="665"/>
                  <a:pt x="2838" y="666"/>
                </a:cubicBezTo>
                <a:cubicBezTo>
                  <a:pt x="2838" y="668"/>
                  <a:pt x="2838" y="669"/>
                  <a:pt x="2837" y="669"/>
                </a:cubicBezTo>
                <a:lnTo>
                  <a:pt x="2837" y="670"/>
                </a:lnTo>
                <a:close/>
                <a:moveTo>
                  <a:pt x="2840" y="655"/>
                </a:moveTo>
                <a:lnTo>
                  <a:pt x="2840" y="655"/>
                </a:lnTo>
                <a:cubicBezTo>
                  <a:pt x="2840" y="655"/>
                  <a:pt x="2839" y="655"/>
                  <a:pt x="2839" y="654"/>
                </a:cubicBezTo>
                <a:lnTo>
                  <a:pt x="2839" y="652"/>
                </a:lnTo>
                <a:cubicBezTo>
                  <a:pt x="2840" y="651"/>
                  <a:pt x="2840" y="650"/>
                  <a:pt x="2840" y="650"/>
                </a:cubicBezTo>
                <a:cubicBezTo>
                  <a:pt x="2841" y="650"/>
                  <a:pt x="2841" y="651"/>
                  <a:pt x="2841" y="653"/>
                </a:cubicBezTo>
                <a:cubicBezTo>
                  <a:pt x="2841" y="654"/>
                  <a:pt x="2841" y="654"/>
                  <a:pt x="2840" y="655"/>
                </a:cubicBezTo>
                <a:close/>
                <a:moveTo>
                  <a:pt x="2650" y="926"/>
                </a:moveTo>
                <a:cubicBezTo>
                  <a:pt x="2649" y="926"/>
                  <a:pt x="2649" y="925"/>
                  <a:pt x="2649" y="925"/>
                </a:cubicBezTo>
                <a:cubicBezTo>
                  <a:pt x="2649" y="923"/>
                  <a:pt x="2650" y="922"/>
                  <a:pt x="2651" y="921"/>
                </a:cubicBezTo>
                <a:cubicBezTo>
                  <a:pt x="2653" y="920"/>
                  <a:pt x="2654" y="920"/>
                  <a:pt x="2654" y="920"/>
                </a:cubicBezTo>
                <a:cubicBezTo>
                  <a:pt x="2655" y="920"/>
                  <a:pt x="2655" y="920"/>
                  <a:pt x="2655" y="920"/>
                </a:cubicBezTo>
                <a:cubicBezTo>
                  <a:pt x="2655" y="921"/>
                  <a:pt x="2654" y="922"/>
                  <a:pt x="2653" y="924"/>
                </a:cubicBezTo>
                <a:cubicBezTo>
                  <a:pt x="2651" y="925"/>
                  <a:pt x="2650" y="926"/>
                  <a:pt x="2650" y="926"/>
                </a:cubicBezTo>
                <a:close/>
                <a:moveTo>
                  <a:pt x="2552" y="1151"/>
                </a:moveTo>
                <a:cubicBezTo>
                  <a:pt x="2550" y="1151"/>
                  <a:pt x="2550" y="1151"/>
                  <a:pt x="2550" y="1150"/>
                </a:cubicBezTo>
                <a:cubicBezTo>
                  <a:pt x="2550" y="1150"/>
                  <a:pt x="2550" y="1149"/>
                  <a:pt x="2551" y="1149"/>
                </a:cubicBezTo>
                <a:cubicBezTo>
                  <a:pt x="2551" y="1149"/>
                  <a:pt x="2553" y="1149"/>
                  <a:pt x="2555" y="1148"/>
                </a:cubicBezTo>
                <a:lnTo>
                  <a:pt x="2557" y="1147"/>
                </a:lnTo>
                <a:lnTo>
                  <a:pt x="2558" y="1148"/>
                </a:lnTo>
                <a:cubicBezTo>
                  <a:pt x="2558" y="1148"/>
                  <a:pt x="2558" y="1149"/>
                  <a:pt x="2557" y="1149"/>
                </a:cubicBezTo>
                <a:cubicBezTo>
                  <a:pt x="2557" y="1150"/>
                  <a:pt x="2556" y="1150"/>
                  <a:pt x="2555" y="1151"/>
                </a:cubicBezTo>
                <a:cubicBezTo>
                  <a:pt x="2554" y="1151"/>
                  <a:pt x="2553" y="1151"/>
                  <a:pt x="2552" y="1151"/>
                </a:cubicBezTo>
                <a:close/>
                <a:moveTo>
                  <a:pt x="2598" y="1123"/>
                </a:moveTo>
                <a:close/>
                <a:moveTo>
                  <a:pt x="2598" y="1123"/>
                </a:moveTo>
                <a:cubicBezTo>
                  <a:pt x="2598" y="1123"/>
                  <a:pt x="2598" y="1123"/>
                  <a:pt x="2598" y="1123"/>
                </a:cubicBezTo>
                <a:cubicBezTo>
                  <a:pt x="2598" y="1122"/>
                  <a:pt x="2599" y="1121"/>
                  <a:pt x="2602" y="1119"/>
                </a:cubicBezTo>
                <a:lnTo>
                  <a:pt x="2605" y="1117"/>
                </a:lnTo>
                <a:lnTo>
                  <a:pt x="2603" y="1119"/>
                </a:lnTo>
                <a:cubicBezTo>
                  <a:pt x="2601" y="1122"/>
                  <a:pt x="2599" y="1123"/>
                  <a:pt x="2598" y="1123"/>
                </a:cubicBezTo>
                <a:close/>
                <a:moveTo>
                  <a:pt x="2522" y="1054"/>
                </a:moveTo>
                <a:lnTo>
                  <a:pt x="2524" y="1050"/>
                </a:lnTo>
                <a:cubicBezTo>
                  <a:pt x="2526" y="1046"/>
                  <a:pt x="2528" y="1044"/>
                  <a:pt x="2529" y="1044"/>
                </a:cubicBezTo>
                <a:lnTo>
                  <a:pt x="2529" y="1044"/>
                </a:lnTo>
                <a:cubicBezTo>
                  <a:pt x="2529" y="1045"/>
                  <a:pt x="2528" y="1046"/>
                  <a:pt x="2527" y="1047"/>
                </a:cubicBezTo>
                <a:cubicBezTo>
                  <a:pt x="2525" y="1052"/>
                  <a:pt x="2523" y="1054"/>
                  <a:pt x="2522" y="1054"/>
                </a:cubicBezTo>
                <a:close/>
                <a:moveTo>
                  <a:pt x="2795" y="803"/>
                </a:moveTo>
                <a:cubicBezTo>
                  <a:pt x="2795" y="803"/>
                  <a:pt x="2794" y="803"/>
                  <a:pt x="2794" y="802"/>
                </a:cubicBezTo>
                <a:lnTo>
                  <a:pt x="2798" y="791"/>
                </a:lnTo>
                <a:cubicBezTo>
                  <a:pt x="2800" y="787"/>
                  <a:pt x="2801" y="786"/>
                  <a:pt x="2802" y="786"/>
                </a:cubicBezTo>
                <a:lnTo>
                  <a:pt x="2802" y="786"/>
                </a:lnTo>
                <a:cubicBezTo>
                  <a:pt x="2802" y="787"/>
                  <a:pt x="2801" y="789"/>
                  <a:pt x="2800" y="791"/>
                </a:cubicBezTo>
                <a:cubicBezTo>
                  <a:pt x="2797" y="799"/>
                  <a:pt x="2795" y="803"/>
                  <a:pt x="2795" y="803"/>
                </a:cubicBezTo>
                <a:close/>
                <a:moveTo>
                  <a:pt x="2512" y="1073"/>
                </a:moveTo>
                <a:lnTo>
                  <a:pt x="2511" y="1073"/>
                </a:lnTo>
                <a:lnTo>
                  <a:pt x="2516" y="1063"/>
                </a:lnTo>
                <a:cubicBezTo>
                  <a:pt x="2518" y="1059"/>
                  <a:pt x="2519" y="1058"/>
                  <a:pt x="2520" y="1058"/>
                </a:cubicBezTo>
                <a:lnTo>
                  <a:pt x="2520" y="1058"/>
                </a:lnTo>
                <a:cubicBezTo>
                  <a:pt x="2520" y="1059"/>
                  <a:pt x="2519" y="1061"/>
                  <a:pt x="2518" y="1063"/>
                </a:cubicBezTo>
                <a:cubicBezTo>
                  <a:pt x="2517" y="1066"/>
                  <a:pt x="2516" y="1068"/>
                  <a:pt x="2515" y="1070"/>
                </a:cubicBezTo>
                <a:cubicBezTo>
                  <a:pt x="2513" y="1072"/>
                  <a:pt x="2512" y="1073"/>
                  <a:pt x="2512" y="1073"/>
                </a:cubicBezTo>
                <a:close/>
                <a:moveTo>
                  <a:pt x="2544" y="1168"/>
                </a:moveTo>
                <a:cubicBezTo>
                  <a:pt x="2531" y="1168"/>
                  <a:pt x="2525" y="1168"/>
                  <a:pt x="2525" y="1166"/>
                </a:cubicBezTo>
                <a:cubicBezTo>
                  <a:pt x="2525" y="1166"/>
                  <a:pt x="2524" y="1165"/>
                  <a:pt x="2523" y="1165"/>
                </a:cubicBezTo>
                <a:lnTo>
                  <a:pt x="2519" y="1166"/>
                </a:lnTo>
                <a:cubicBezTo>
                  <a:pt x="2517" y="1166"/>
                  <a:pt x="2514" y="1164"/>
                  <a:pt x="2511" y="1160"/>
                </a:cubicBezTo>
                <a:cubicBezTo>
                  <a:pt x="2508" y="1156"/>
                  <a:pt x="2503" y="1154"/>
                  <a:pt x="2497" y="1153"/>
                </a:cubicBezTo>
                <a:cubicBezTo>
                  <a:pt x="2489" y="1151"/>
                  <a:pt x="2482" y="1147"/>
                  <a:pt x="2477" y="1140"/>
                </a:cubicBezTo>
                <a:cubicBezTo>
                  <a:pt x="2473" y="1133"/>
                  <a:pt x="2470" y="1125"/>
                  <a:pt x="2470" y="1115"/>
                </a:cubicBezTo>
                <a:lnTo>
                  <a:pt x="2470" y="1109"/>
                </a:lnTo>
                <a:cubicBezTo>
                  <a:pt x="2472" y="1089"/>
                  <a:pt x="2474" y="1079"/>
                  <a:pt x="2476" y="1079"/>
                </a:cubicBezTo>
                <a:lnTo>
                  <a:pt x="2476" y="1079"/>
                </a:lnTo>
                <a:cubicBezTo>
                  <a:pt x="2477" y="1079"/>
                  <a:pt x="2478" y="1078"/>
                  <a:pt x="2479" y="1076"/>
                </a:cubicBezTo>
                <a:cubicBezTo>
                  <a:pt x="2480" y="1073"/>
                  <a:pt x="2480" y="1071"/>
                  <a:pt x="2481" y="1068"/>
                </a:cubicBezTo>
                <a:cubicBezTo>
                  <a:pt x="2482" y="1066"/>
                  <a:pt x="2482" y="1064"/>
                  <a:pt x="2482" y="1062"/>
                </a:cubicBezTo>
                <a:lnTo>
                  <a:pt x="2482" y="1060"/>
                </a:lnTo>
                <a:lnTo>
                  <a:pt x="2484" y="1061"/>
                </a:lnTo>
                <a:cubicBezTo>
                  <a:pt x="2485" y="1061"/>
                  <a:pt x="2487" y="1060"/>
                  <a:pt x="2487" y="1058"/>
                </a:cubicBezTo>
                <a:cubicBezTo>
                  <a:pt x="2488" y="1056"/>
                  <a:pt x="2489" y="1054"/>
                  <a:pt x="2489" y="1053"/>
                </a:cubicBezTo>
                <a:cubicBezTo>
                  <a:pt x="2489" y="1053"/>
                  <a:pt x="2488" y="1053"/>
                  <a:pt x="2488" y="1053"/>
                </a:cubicBezTo>
                <a:cubicBezTo>
                  <a:pt x="2488" y="1053"/>
                  <a:pt x="2487" y="1053"/>
                  <a:pt x="2486" y="1053"/>
                </a:cubicBezTo>
                <a:cubicBezTo>
                  <a:pt x="2486" y="1054"/>
                  <a:pt x="2485" y="1054"/>
                  <a:pt x="2485" y="1054"/>
                </a:cubicBezTo>
                <a:cubicBezTo>
                  <a:pt x="2484" y="1054"/>
                  <a:pt x="2484" y="1054"/>
                  <a:pt x="2484" y="1053"/>
                </a:cubicBezTo>
                <a:cubicBezTo>
                  <a:pt x="2484" y="1051"/>
                  <a:pt x="2487" y="1045"/>
                  <a:pt x="2494" y="1035"/>
                </a:cubicBezTo>
                <a:cubicBezTo>
                  <a:pt x="2500" y="1025"/>
                  <a:pt x="2508" y="1014"/>
                  <a:pt x="2517" y="1001"/>
                </a:cubicBezTo>
                <a:cubicBezTo>
                  <a:pt x="2551" y="954"/>
                  <a:pt x="2595" y="911"/>
                  <a:pt x="2648" y="874"/>
                </a:cubicBezTo>
                <a:cubicBezTo>
                  <a:pt x="2657" y="868"/>
                  <a:pt x="2662" y="865"/>
                  <a:pt x="2664" y="865"/>
                </a:cubicBezTo>
                <a:lnTo>
                  <a:pt x="2664" y="865"/>
                </a:lnTo>
                <a:cubicBezTo>
                  <a:pt x="2664" y="866"/>
                  <a:pt x="2664" y="867"/>
                  <a:pt x="2663" y="869"/>
                </a:cubicBezTo>
                <a:lnTo>
                  <a:pt x="2661" y="871"/>
                </a:lnTo>
                <a:lnTo>
                  <a:pt x="2663" y="869"/>
                </a:lnTo>
                <a:cubicBezTo>
                  <a:pt x="2665" y="867"/>
                  <a:pt x="2666" y="866"/>
                  <a:pt x="2666" y="864"/>
                </a:cubicBezTo>
                <a:cubicBezTo>
                  <a:pt x="2666" y="862"/>
                  <a:pt x="2671" y="859"/>
                  <a:pt x="2681" y="853"/>
                </a:cubicBezTo>
                <a:cubicBezTo>
                  <a:pt x="2691" y="848"/>
                  <a:pt x="2698" y="845"/>
                  <a:pt x="2700" y="845"/>
                </a:cubicBezTo>
                <a:lnTo>
                  <a:pt x="2702" y="845"/>
                </a:lnTo>
                <a:cubicBezTo>
                  <a:pt x="2703" y="845"/>
                  <a:pt x="2703" y="844"/>
                  <a:pt x="2703" y="843"/>
                </a:cubicBezTo>
                <a:cubicBezTo>
                  <a:pt x="2703" y="842"/>
                  <a:pt x="2708" y="838"/>
                  <a:pt x="2717" y="834"/>
                </a:cubicBezTo>
                <a:cubicBezTo>
                  <a:pt x="2726" y="829"/>
                  <a:pt x="2732" y="827"/>
                  <a:pt x="2735" y="827"/>
                </a:cubicBezTo>
                <a:lnTo>
                  <a:pt x="2736" y="827"/>
                </a:lnTo>
                <a:cubicBezTo>
                  <a:pt x="2737" y="827"/>
                  <a:pt x="2737" y="826"/>
                  <a:pt x="2737" y="826"/>
                </a:cubicBezTo>
                <a:lnTo>
                  <a:pt x="2737" y="825"/>
                </a:lnTo>
                <a:cubicBezTo>
                  <a:pt x="2737" y="824"/>
                  <a:pt x="2738" y="823"/>
                  <a:pt x="2740" y="823"/>
                </a:cubicBezTo>
                <a:cubicBezTo>
                  <a:pt x="2743" y="822"/>
                  <a:pt x="2745" y="820"/>
                  <a:pt x="2747" y="818"/>
                </a:cubicBezTo>
                <a:cubicBezTo>
                  <a:pt x="2748" y="815"/>
                  <a:pt x="2752" y="807"/>
                  <a:pt x="2758" y="792"/>
                </a:cubicBezTo>
                <a:cubicBezTo>
                  <a:pt x="2761" y="786"/>
                  <a:pt x="2763" y="782"/>
                  <a:pt x="2763" y="780"/>
                </a:cubicBezTo>
                <a:cubicBezTo>
                  <a:pt x="2764" y="779"/>
                  <a:pt x="2765" y="778"/>
                  <a:pt x="2765" y="777"/>
                </a:cubicBezTo>
                <a:cubicBezTo>
                  <a:pt x="2765" y="776"/>
                  <a:pt x="2770" y="766"/>
                  <a:pt x="2777" y="747"/>
                </a:cubicBezTo>
                <a:cubicBezTo>
                  <a:pt x="2783" y="732"/>
                  <a:pt x="2786" y="723"/>
                  <a:pt x="2787" y="721"/>
                </a:cubicBezTo>
                <a:cubicBezTo>
                  <a:pt x="2788" y="718"/>
                  <a:pt x="2789" y="715"/>
                  <a:pt x="2790" y="710"/>
                </a:cubicBezTo>
                <a:cubicBezTo>
                  <a:pt x="2791" y="705"/>
                  <a:pt x="2792" y="701"/>
                  <a:pt x="2793" y="697"/>
                </a:cubicBezTo>
                <a:cubicBezTo>
                  <a:pt x="2794" y="695"/>
                  <a:pt x="2795" y="693"/>
                  <a:pt x="2795" y="692"/>
                </a:cubicBezTo>
                <a:lnTo>
                  <a:pt x="2795" y="692"/>
                </a:lnTo>
                <a:cubicBezTo>
                  <a:pt x="2795" y="691"/>
                  <a:pt x="2796" y="687"/>
                  <a:pt x="2798" y="681"/>
                </a:cubicBezTo>
                <a:lnTo>
                  <a:pt x="2807" y="650"/>
                </a:lnTo>
                <a:cubicBezTo>
                  <a:pt x="2810" y="643"/>
                  <a:pt x="2812" y="636"/>
                  <a:pt x="2813" y="628"/>
                </a:cubicBezTo>
                <a:lnTo>
                  <a:pt x="2817" y="611"/>
                </a:lnTo>
                <a:cubicBezTo>
                  <a:pt x="2820" y="598"/>
                  <a:pt x="2823" y="583"/>
                  <a:pt x="2825" y="569"/>
                </a:cubicBezTo>
                <a:cubicBezTo>
                  <a:pt x="2828" y="556"/>
                  <a:pt x="2829" y="546"/>
                  <a:pt x="2829" y="539"/>
                </a:cubicBezTo>
                <a:cubicBezTo>
                  <a:pt x="2829" y="536"/>
                  <a:pt x="2829" y="535"/>
                  <a:pt x="2828" y="535"/>
                </a:cubicBezTo>
                <a:cubicBezTo>
                  <a:pt x="2827" y="535"/>
                  <a:pt x="2819" y="542"/>
                  <a:pt x="2805" y="557"/>
                </a:cubicBezTo>
                <a:cubicBezTo>
                  <a:pt x="2790" y="572"/>
                  <a:pt x="2780" y="583"/>
                  <a:pt x="2774" y="592"/>
                </a:cubicBezTo>
                <a:cubicBezTo>
                  <a:pt x="2770" y="595"/>
                  <a:pt x="2765" y="601"/>
                  <a:pt x="2757" y="608"/>
                </a:cubicBezTo>
                <a:cubicBezTo>
                  <a:pt x="2749" y="616"/>
                  <a:pt x="2745" y="620"/>
                  <a:pt x="2745" y="622"/>
                </a:cubicBezTo>
                <a:lnTo>
                  <a:pt x="2745" y="623"/>
                </a:lnTo>
                <a:cubicBezTo>
                  <a:pt x="2745" y="624"/>
                  <a:pt x="2745" y="624"/>
                  <a:pt x="2743" y="624"/>
                </a:cubicBezTo>
                <a:cubicBezTo>
                  <a:pt x="2741" y="624"/>
                  <a:pt x="2736" y="627"/>
                  <a:pt x="2730" y="634"/>
                </a:cubicBezTo>
                <a:cubicBezTo>
                  <a:pt x="2719" y="645"/>
                  <a:pt x="2708" y="655"/>
                  <a:pt x="2698" y="663"/>
                </a:cubicBezTo>
                <a:cubicBezTo>
                  <a:pt x="2687" y="671"/>
                  <a:pt x="2680" y="676"/>
                  <a:pt x="2678" y="676"/>
                </a:cubicBezTo>
                <a:lnTo>
                  <a:pt x="2676" y="675"/>
                </a:lnTo>
                <a:cubicBezTo>
                  <a:pt x="2675" y="675"/>
                  <a:pt x="2675" y="676"/>
                  <a:pt x="2675" y="676"/>
                </a:cubicBezTo>
                <a:cubicBezTo>
                  <a:pt x="2675" y="677"/>
                  <a:pt x="2673" y="679"/>
                  <a:pt x="2670" y="681"/>
                </a:cubicBezTo>
                <a:cubicBezTo>
                  <a:pt x="2667" y="684"/>
                  <a:pt x="2663" y="686"/>
                  <a:pt x="2659" y="688"/>
                </a:cubicBezTo>
                <a:cubicBezTo>
                  <a:pt x="2656" y="690"/>
                  <a:pt x="2653" y="691"/>
                  <a:pt x="2651" y="691"/>
                </a:cubicBezTo>
                <a:lnTo>
                  <a:pt x="2650" y="691"/>
                </a:lnTo>
                <a:cubicBezTo>
                  <a:pt x="2649" y="691"/>
                  <a:pt x="2649" y="692"/>
                  <a:pt x="2649" y="693"/>
                </a:cubicBezTo>
                <a:cubicBezTo>
                  <a:pt x="2649" y="693"/>
                  <a:pt x="2647" y="695"/>
                  <a:pt x="2644" y="696"/>
                </a:cubicBezTo>
                <a:cubicBezTo>
                  <a:pt x="2638" y="700"/>
                  <a:pt x="2632" y="702"/>
                  <a:pt x="2627" y="702"/>
                </a:cubicBezTo>
                <a:cubicBezTo>
                  <a:pt x="2619" y="701"/>
                  <a:pt x="2612" y="698"/>
                  <a:pt x="2606" y="691"/>
                </a:cubicBezTo>
                <a:cubicBezTo>
                  <a:pt x="2600" y="684"/>
                  <a:pt x="2597" y="677"/>
                  <a:pt x="2597" y="669"/>
                </a:cubicBezTo>
                <a:lnTo>
                  <a:pt x="2597" y="667"/>
                </a:lnTo>
                <a:cubicBezTo>
                  <a:pt x="2599" y="651"/>
                  <a:pt x="2606" y="631"/>
                  <a:pt x="2620" y="607"/>
                </a:cubicBezTo>
                <a:cubicBezTo>
                  <a:pt x="2634" y="583"/>
                  <a:pt x="2651" y="561"/>
                  <a:pt x="2670" y="540"/>
                </a:cubicBezTo>
                <a:cubicBezTo>
                  <a:pt x="2689" y="518"/>
                  <a:pt x="2706" y="503"/>
                  <a:pt x="2722" y="495"/>
                </a:cubicBezTo>
                <a:cubicBezTo>
                  <a:pt x="2740" y="486"/>
                  <a:pt x="2757" y="481"/>
                  <a:pt x="2772" y="481"/>
                </a:cubicBezTo>
                <a:cubicBezTo>
                  <a:pt x="2783" y="481"/>
                  <a:pt x="2792" y="483"/>
                  <a:pt x="2800" y="487"/>
                </a:cubicBezTo>
                <a:cubicBezTo>
                  <a:pt x="2807" y="491"/>
                  <a:pt x="2812" y="497"/>
                  <a:pt x="2815" y="504"/>
                </a:cubicBezTo>
                <a:cubicBezTo>
                  <a:pt x="2817" y="508"/>
                  <a:pt x="2818" y="510"/>
                  <a:pt x="2819" y="512"/>
                </a:cubicBezTo>
                <a:cubicBezTo>
                  <a:pt x="2820" y="513"/>
                  <a:pt x="2821" y="513"/>
                  <a:pt x="2823" y="513"/>
                </a:cubicBezTo>
                <a:lnTo>
                  <a:pt x="2831" y="512"/>
                </a:lnTo>
                <a:cubicBezTo>
                  <a:pt x="2835" y="512"/>
                  <a:pt x="2839" y="513"/>
                  <a:pt x="2843" y="515"/>
                </a:cubicBezTo>
                <a:cubicBezTo>
                  <a:pt x="2846" y="517"/>
                  <a:pt x="2849" y="520"/>
                  <a:pt x="2850" y="523"/>
                </a:cubicBezTo>
                <a:cubicBezTo>
                  <a:pt x="2851" y="526"/>
                  <a:pt x="2852" y="531"/>
                  <a:pt x="2852" y="539"/>
                </a:cubicBezTo>
                <a:cubicBezTo>
                  <a:pt x="2852" y="556"/>
                  <a:pt x="2849" y="583"/>
                  <a:pt x="2843" y="617"/>
                </a:cubicBezTo>
                <a:cubicBezTo>
                  <a:pt x="2837" y="652"/>
                  <a:pt x="2830" y="685"/>
                  <a:pt x="2821" y="715"/>
                </a:cubicBezTo>
                <a:cubicBezTo>
                  <a:pt x="2817" y="728"/>
                  <a:pt x="2815" y="735"/>
                  <a:pt x="2815" y="737"/>
                </a:cubicBezTo>
                <a:lnTo>
                  <a:pt x="2815" y="737"/>
                </a:lnTo>
                <a:cubicBezTo>
                  <a:pt x="2816" y="737"/>
                  <a:pt x="2819" y="729"/>
                  <a:pt x="2823" y="714"/>
                </a:cubicBezTo>
                <a:cubicBezTo>
                  <a:pt x="2827" y="698"/>
                  <a:pt x="2830" y="690"/>
                  <a:pt x="2831" y="690"/>
                </a:cubicBezTo>
                <a:lnTo>
                  <a:pt x="2831" y="691"/>
                </a:lnTo>
                <a:cubicBezTo>
                  <a:pt x="2831" y="695"/>
                  <a:pt x="2827" y="712"/>
                  <a:pt x="2817" y="742"/>
                </a:cubicBezTo>
                <a:cubicBezTo>
                  <a:pt x="2809" y="766"/>
                  <a:pt x="2805" y="778"/>
                  <a:pt x="2804" y="778"/>
                </a:cubicBezTo>
                <a:lnTo>
                  <a:pt x="2804" y="778"/>
                </a:lnTo>
                <a:cubicBezTo>
                  <a:pt x="2804" y="776"/>
                  <a:pt x="2805" y="769"/>
                  <a:pt x="2810" y="757"/>
                </a:cubicBezTo>
                <a:cubicBezTo>
                  <a:pt x="2813" y="749"/>
                  <a:pt x="2814" y="744"/>
                  <a:pt x="2814" y="742"/>
                </a:cubicBezTo>
                <a:lnTo>
                  <a:pt x="2814" y="742"/>
                </a:lnTo>
                <a:cubicBezTo>
                  <a:pt x="2813" y="742"/>
                  <a:pt x="2808" y="754"/>
                  <a:pt x="2800" y="778"/>
                </a:cubicBezTo>
                <a:cubicBezTo>
                  <a:pt x="2793" y="796"/>
                  <a:pt x="2790" y="807"/>
                  <a:pt x="2790" y="810"/>
                </a:cubicBezTo>
                <a:lnTo>
                  <a:pt x="2790" y="811"/>
                </a:lnTo>
                <a:lnTo>
                  <a:pt x="2790" y="810"/>
                </a:lnTo>
                <a:cubicBezTo>
                  <a:pt x="2792" y="809"/>
                  <a:pt x="2793" y="808"/>
                  <a:pt x="2793" y="808"/>
                </a:cubicBezTo>
                <a:lnTo>
                  <a:pt x="2793" y="809"/>
                </a:lnTo>
                <a:cubicBezTo>
                  <a:pt x="2793" y="810"/>
                  <a:pt x="2794" y="811"/>
                  <a:pt x="2795" y="811"/>
                </a:cubicBezTo>
                <a:lnTo>
                  <a:pt x="2800" y="810"/>
                </a:lnTo>
                <a:cubicBezTo>
                  <a:pt x="2801" y="810"/>
                  <a:pt x="2802" y="811"/>
                  <a:pt x="2802" y="812"/>
                </a:cubicBezTo>
                <a:cubicBezTo>
                  <a:pt x="2802" y="813"/>
                  <a:pt x="2801" y="814"/>
                  <a:pt x="2800" y="816"/>
                </a:cubicBezTo>
                <a:cubicBezTo>
                  <a:pt x="2799" y="817"/>
                  <a:pt x="2798" y="818"/>
                  <a:pt x="2796" y="819"/>
                </a:cubicBezTo>
                <a:cubicBezTo>
                  <a:pt x="2794" y="820"/>
                  <a:pt x="2792" y="821"/>
                  <a:pt x="2790" y="823"/>
                </a:cubicBezTo>
                <a:cubicBezTo>
                  <a:pt x="2788" y="825"/>
                  <a:pt x="2786" y="826"/>
                  <a:pt x="2784" y="828"/>
                </a:cubicBezTo>
                <a:lnTo>
                  <a:pt x="2781" y="832"/>
                </a:lnTo>
                <a:cubicBezTo>
                  <a:pt x="2782" y="832"/>
                  <a:pt x="2783" y="831"/>
                  <a:pt x="2784" y="830"/>
                </a:cubicBezTo>
                <a:cubicBezTo>
                  <a:pt x="2785" y="829"/>
                  <a:pt x="2787" y="828"/>
                  <a:pt x="2787" y="828"/>
                </a:cubicBezTo>
                <a:cubicBezTo>
                  <a:pt x="2787" y="828"/>
                  <a:pt x="2788" y="828"/>
                  <a:pt x="2788" y="829"/>
                </a:cubicBezTo>
                <a:lnTo>
                  <a:pt x="2787" y="833"/>
                </a:lnTo>
                <a:cubicBezTo>
                  <a:pt x="2787" y="836"/>
                  <a:pt x="2785" y="837"/>
                  <a:pt x="2783" y="837"/>
                </a:cubicBezTo>
                <a:lnTo>
                  <a:pt x="2782" y="837"/>
                </a:lnTo>
                <a:cubicBezTo>
                  <a:pt x="2780" y="837"/>
                  <a:pt x="2779" y="838"/>
                  <a:pt x="2778" y="839"/>
                </a:cubicBezTo>
                <a:cubicBezTo>
                  <a:pt x="2777" y="841"/>
                  <a:pt x="2777" y="842"/>
                  <a:pt x="2777" y="844"/>
                </a:cubicBezTo>
                <a:cubicBezTo>
                  <a:pt x="2777" y="845"/>
                  <a:pt x="2777" y="846"/>
                  <a:pt x="2778" y="848"/>
                </a:cubicBezTo>
                <a:cubicBezTo>
                  <a:pt x="2779" y="849"/>
                  <a:pt x="2779" y="850"/>
                  <a:pt x="2779" y="850"/>
                </a:cubicBezTo>
                <a:lnTo>
                  <a:pt x="2777" y="850"/>
                </a:lnTo>
                <a:cubicBezTo>
                  <a:pt x="2775" y="850"/>
                  <a:pt x="2772" y="854"/>
                  <a:pt x="2770" y="860"/>
                </a:cubicBezTo>
                <a:cubicBezTo>
                  <a:pt x="2757" y="894"/>
                  <a:pt x="2743" y="926"/>
                  <a:pt x="2729" y="957"/>
                </a:cubicBezTo>
                <a:cubicBezTo>
                  <a:pt x="2715" y="988"/>
                  <a:pt x="2702" y="1013"/>
                  <a:pt x="2691" y="1031"/>
                </a:cubicBezTo>
                <a:cubicBezTo>
                  <a:pt x="2685" y="1043"/>
                  <a:pt x="2681" y="1050"/>
                  <a:pt x="2681" y="1051"/>
                </a:cubicBezTo>
                <a:lnTo>
                  <a:pt x="2681" y="1051"/>
                </a:lnTo>
                <a:cubicBezTo>
                  <a:pt x="2682" y="1051"/>
                  <a:pt x="2684" y="1050"/>
                  <a:pt x="2686" y="1046"/>
                </a:cubicBezTo>
                <a:cubicBezTo>
                  <a:pt x="2688" y="1041"/>
                  <a:pt x="2690" y="1039"/>
                  <a:pt x="2691" y="1039"/>
                </a:cubicBezTo>
                <a:cubicBezTo>
                  <a:pt x="2691" y="1040"/>
                  <a:pt x="2690" y="1041"/>
                  <a:pt x="2689" y="1044"/>
                </a:cubicBezTo>
                <a:cubicBezTo>
                  <a:pt x="2687" y="1047"/>
                  <a:pt x="2685" y="1050"/>
                  <a:pt x="2683" y="1053"/>
                </a:cubicBezTo>
                <a:cubicBezTo>
                  <a:pt x="2681" y="1056"/>
                  <a:pt x="2680" y="1059"/>
                  <a:pt x="2678" y="1062"/>
                </a:cubicBezTo>
                <a:cubicBezTo>
                  <a:pt x="2676" y="1065"/>
                  <a:pt x="2675" y="1066"/>
                  <a:pt x="2674" y="1067"/>
                </a:cubicBezTo>
                <a:lnTo>
                  <a:pt x="2673" y="1068"/>
                </a:lnTo>
                <a:lnTo>
                  <a:pt x="2674" y="1065"/>
                </a:lnTo>
                <a:lnTo>
                  <a:pt x="2674" y="1064"/>
                </a:lnTo>
                <a:cubicBezTo>
                  <a:pt x="2674" y="1064"/>
                  <a:pt x="2673" y="1064"/>
                  <a:pt x="2673" y="1065"/>
                </a:cubicBezTo>
                <a:cubicBezTo>
                  <a:pt x="2672" y="1066"/>
                  <a:pt x="2671" y="1067"/>
                  <a:pt x="2671" y="1068"/>
                </a:cubicBezTo>
                <a:lnTo>
                  <a:pt x="2671" y="1070"/>
                </a:lnTo>
                <a:cubicBezTo>
                  <a:pt x="2671" y="1073"/>
                  <a:pt x="2667" y="1080"/>
                  <a:pt x="2659" y="1090"/>
                </a:cubicBezTo>
                <a:cubicBezTo>
                  <a:pt x="2650" y="1101"/>
                  <a:pt x="2640" y="1112"/>
                  <a:pt x="2629" y="1123"/>
                </a:cubicBezTo>
                <a:cubicBezTo>
                  <a:pt x="2618" y="1134"/>
                  <a:pt x="2609" y="1142"/>
                  <a:pt x="2600" y="1149"/>
                </a:cubicBezTo>
                <a:cubicBezTo>
                  <a:pt x="2590" y="1156"/>
                  <a:pt x="2580" y="1161"/>
                  <a:pt x="2572" y="1164"/>
                </a:cubicBezTo>
                <a:cubicBezTo>
                  <a:pt x="2563" y="1167"/>
                  <a:pt x="2554" y="1168"/>
                  <a:pt x="2544" y="1168"/>
                </a:cubicBezTo>
                <a:close/>
                <a:moveTo>
                  <a:pt x="2683" y="571"/>
                </a:moveTo>
                <a:cubicBezTo>
                  <a:pt x="2684" y="571"/>
                  <a:pt x="2685" y="570"/>
                  <a:pt x="2686" y="568"/>
                </a:cubicBezTo>
                <a:cubicBezTo>
                  <a:pt x="2686" y="567"/>
                  <a:pt x="2688" y="563"/>
                  <a:pt x="2692" y="557"/>
                </a:cubicBezTo>
                <a:cubicBezTo>
                  <a:pt x="2697" y="551"/>
                  <a:pt x="2702" y="545"/>
                  <a:pt x="2708" y="538"/>
                </a:cubicBezTo>
                <a:cubicBezTo>
                  <a:pt x="2713" y="531"/>
                  <a:pt x="2718" y="526"/>
                  <a:pt x="2723" y="521"/>
                </a:cubicBezTo>
                <a:cubicBezTo>
                  <a:pt x="2730" y="514"/>
                  <a:pt x="2734" y="510"/>
                  <a:pt x="2734" y="509"/>
                </a:cubicBezTo>
                <a:lnTo>
                  <a:pt x="2733" y="509"/>
                </a:lnTo>
                <a:cubicBezTo>
                  <a:pt x="2733" y="509"/>
                  <a:pt x="2731" y="511"/>
                  <a:pt x="2727" y="513"/>
                </a:cubicBezTo>
                <a:cubicBezTo>
                  <a:pt x="2721" y="519"/>
                  <a:pt x="2714" y="525"/>
                  <a:pt x="2707" y="533"/>
                </a:cubicBezTo>
                <a:cubicBezTo>
                  <a:pt x="2700" y="540"/>
                  <a:pt x="2694" y="548"/>
                  <a:pt x="2689" y="555"/>
                </a:cubicBezTo>
                <a:cubicBezTo>
                  <a:pt x="2684" y="562"/>
                  <a:pt x="2682" y="567"/>
                  <a:pt x="2682" y="569"/>
                </a:cubicBezTo>
                <a:cubicBezTo>
                  <a:pt x="2682" y="570"/>
                  <a:pt x="2682" y="571"/>
                  <a:pt x="2683" y="571"/>
                </a:cubicBezTo>
                <a:close/>
                <a:moveTo>
                  <a:pt x="2664" y="588"/>
                </a:moveTo>
                <a:cubicBezTo>
                  <a:pt x="2664" y="588"/>
                  <a:pt x="2664" y="587"/>
                  <a:pt x="2665" y="586"/>
                </a:cubicBezTo>
                <a:cubicBezTo>
                  <a:pt x="2666" y="585"/>
                  <a:pt x="2667" y="584"/>
                  <a:pt x="2668" y="583"/>
                </a:cubicBezTo>
                <a:cubicBezTo>
                  <a:pt x="2669" y="583"/>
                  <a:pt x="2670" y="583"/>
                  <a:pt x="2671" y="583"/>
                </a:cubicBezTo>
                <a:lnTo>
                  <a:pt x="2675" y="583"/>
                </a:lnTo>
                <a:cubicBezTo>
                  <a:pt x="2676" y="583"/>
                  <a:pt x="2676" y="583"/>
                  <a:pt x="2676" y="581"/>
                </a:cubicBezTo>
                <a:cubicBezTo>
                  <a:pt x="2676" y="581"/>
                  <a:pt x="2676" y="580"/>
                  <a:pt x="2676" y="579"/>
                </a:cubicBezTo>
                <a:cubicBezTo>
                  <a:pt x="2675" y="578"/>
                  <a:pt x="2675" y="577"/>
                  <a:pt x="2675" y="576"/>
                </a:cubicBezTo>
                <a:lnTo>
                  <a:pt x="2678" y="577"/>
                </a:lnTo>
                <a:cubicBezTo>
                  <a:pt x="2681" y="577"/>
                  <a:pt x="2682" y="576"/>
                  <a:pt x="2682" y="574"/>
                </a:cubicBezTo>
                <a:cubicBezTo>
                  <a:pt x="2682" y="573"/>
                  <a:pt x="2681" y="573"/>
                  <a:pt x="2681" y="572"/>
                </a:cubicBezTo>
                <a:cubicBezTo>
                  <a:pt x="2680" y="572"/>
                  <a:pt x="2680" y="571"/>
                  <a:pt x="2680" y="570"/>
                </a:cubicBezTo>
                <a:lnTo>
                  <a:pt x="2681" y="566"/>
                </a:lnTo>
                <a:cubicBezTo>
                  <a:pt x="2679" y="566"/>
                  <a:pt x="2677" y="568"/>
                  <a:pt x="2674" y="571"/>
                </a:cubicBezTo>
                <a:cubicBezTo>
                  <a:pt x="2667" y="580"/>
                  <a:pt x="2664" y="585"/>
                  <a:pt x="2664" y="587"/>
                </a:cubicBezTo>
                <a:lnTo>
                  <a:pt x="2664" y="588"/>
                </a:lnTo>
                <a:close/>
                <a:moveTo>
                  <a:pt x="2625" y="672"/>
                </a:moveTo>
                <a:cubicBezTo>
                  <a:pt x="2626" y="672"/>
                  <a:pt x="2631" y="669"/>
                  <a:pt x="2640" y="663"/>
                </a:cubicBezTo>
                <a:cubicBezTo>
                  <a:pt x="2664" y="649"/>
                  <a:pt x="2697" y="621"/>
                  <a:pt x="2741" y="579"/>
                </a:cubicBezTo>
                <a:cubicBezTo>
                  <a:pt x="2754" y="566"/>
                  <a:pt x="2766" y="555"/>
                  <a:pt x="2775" y="546"/>
                </a:cubicBezTo>
                <a:cubicBezTo>
                  <a:pt x="2785" y="537"/>
                  <a:pt x="2791" y="532"/>
                  <a:pt x="2792" y="531"/>
                </a:cubicBezTo>
                <a:cubicBezTo>
                  <a:pt x="2794" y="530"/>
                  <a:pt x="2795" y="528"/>
                  <a:pt x="2797" y="526"/>
                </a:cubicBezTo>
                <a:cubicBezTo>
                  <a:pt x="2798" y="523"/>
                  <a:pt x="2798" y="521"/>
                  <a:pt x="2798" y="518"/>
                </a:cubicBezTo>
                <a:cubicBezTo>
                  <a:pt x="2798" y="517"/>
                  <a:pt x="2798" y="516"/>
                  <a:pt x="2798" y="515"/>
                </a:cubicBezTo>
                <a:cubicBezTo>
                  <a:pt x="2797" y="514"/>
                  <a:pt x="2797" y="513"/>
                  <a:pt x="2797" y="512"/>
                </a:cubicBezTo>
                <a:cubicBezTo>
                  <a:pt x="2797" y="512"/>
                  <a:pt x="2797" y="512"/>
                  <a:pt x="2798" y="512"/>
                </a:cubicBezTo>
                <a:lnTo>
                  <a:pt x="2799" y="512"/>
                </a:lnTo>
                <a:cubicBezTo>
                  <a:pt x="2800" y="513"/>
                  <a:pt x="2801" y="514"/>
                  <a:pt x="2801" y="517"/>
                </a:cubicBezTo>
                <a:lnTo>
                  <a:pt x="2801" y="521"/>
                </a:lnTo>
                <a:cubicBezTo>
                  <a:pt x="2801" y="523"/>
                  <a:pt x="2801" y="524"/>
                  <a:pt x="2802" y="524"/>
                </a:cubicBezTo>
                <a:cubicBezTo>
                  <a:pt x="2802" y="524"/>
                  <a:pt x="2802" y="524"/>
                  <a:pt x="2803" y="523"/>
                </a:cubicBezTo>
                <a:cubicBezTo>
                  <a:pt x="2803" y="523"/>
                  <a:pt x="2804" y="522"/>
                  <a:pt x="2804" y="520"/>
                </a:cubicBezTo>
                <a:cubicBezTo>
                  <a:pt x="2805" y="519"/>
                  <a:pt x="2805" y="517"/>
                  <a:pt x="2805" y="516"/>
                </a:cubicBezTo>
                <a:cubicBezTo>
                  <a:pt x="2805" y="513"/>
                  <a:pt x="2804" y="511"/>
                  <a:pt x="2804" y="511"/>
                </a:cubicBezTo>
                <a:cubicBezTo>
                  <a:pt x="2802" y="511"/>
                  <a:pt x="2802" y="511"/>
                  <a:pt x="2802" y="510"/>
                </a:cubicBezTo>
                <a:lnTo>
                  <a:pt x="2803" y="507"/>
                </a:lnTo>
                <a:cubicBezTo>
                  <a:pt x="2803" y="506"/>
                  <a:pt x="2803" y="505"/>
                  <a:pt x="2802" y="504"/>
                </a:cubicBezTo>
                <a:cubicBezTo>
                  <a:pt x="2802" y="503"/>
                  <a:pt x="2801" y="502"/>
                  <a:pt x="2800" y="502"/>
                </a:cubicBezTo>
                <a:cubicBezTo>
                  <a:pt x="2800" y="502"/>
                  <a:pt x="2800" y="503"/>
                  <a:pt x="2800" y="504"/>
                </a:cubicBezTo>
                <a:lnTo>
                  <a:pt x="2800" y="507"/>
                </a:lnTo>
                <a:cubicBezTo>
                  <a:pt x="2800" y="508"/>
                  <a:pt x="2800" y="509"/>
                  <a:pt x="2800" y="509"/>
                </a:cubicBezTo>
                <a:cubicBezTo>
                  <a:pt x="2798" y="509"/>
                  <a:pt x="2797" y="507"/>
                  <a:pt x="2797" y="504"/>
                </a:cubicBezTo>
                <a:lnTo>
                  <a:pt x="2797" y="499"/>
                </a:lnTo>
                <a:lnTo>
                  <a:pt x="2796" y="500"/>
                </a:lnTo>
                <a:cubicBezTo>
                  <a:pt x="2795" y="500"/>
                  <a:pt x="2795" y="501"/>
                  <a:pt x="2794" y="501"/>
                </a:cubicBezTo>
                <a:cubicBezTo>
                  <a:pt x="2793" y="501"/>
                  <a:pt x="2792" y="500"/>
                  <a:pt x="2791" y="499"/>
                </a:cubicBezTo>
                <a:cubicBezTo>
                  <a:pt x="2789" y="497"/>
                  <a:pt x="2788" y="496"/>
                  <a:pt x="2786" y="495"/>
                </a:cubicBezTo>
                <a:cubicBezTo>
                  <a:pt x="2784" y="494"/>
                  <a:pt x="2782" y="494"/>
                  <a:pt x="2780" y="494"/>
                </a:cubicBezTo>
                <a:cubicBezTo>
                  <a:pt x="2779" y="494"/>
                  <a:pt x="2778" y="495"/>
                  <a:pt x="2778" y="495"/>
                </a:cubicBezTo>
                <a:cubicBezTo>
                  <a:pt x="2778" y="496"/>
                  <a:pt x="2777" y="497"/>
                  <a:pt x="2776" y="497"/>
                </a:cubicBezTo>
                <a:lnTo>
                  <a:pt x="2771" y="496"/>
                </a:lnTo>
                <a:cubicBezTo>
                  <a:pt x="2770" y="496"/>
                  <a:pt x="2769" y="496"/>
                  <a:pt x="2769" y="497"/>
                </a:cubicBezTo>
                <a:cubicBezTo>
                  <a:pt x="2769" y="498"/>
                  <a:pt x="2768" y="499"/>
                  <a:pt x="2766" y="500"/>
                </a:cubicBezTo>
                <a:cubicBezTo>
                  <a:pt x="2764" y="502"/>
                  <a:pt x="2762" y="503"/>
                  <a:pt x="2759" y="504"/>
                </a:cubicBezTo>
                <a:cubicBezTo>
                  <a:pt x="2757" y="505"/>
                  <a:pt x="2755" y="506"/>
                  <a:pt x="2754" y="506"/>
                </a:cubicBezTo>
                <a:cubicBezTo>
                  <a:pt x="2753" y="506"/>
                  <a:pt x="2751" y="507"/>
                  <a:pt x="2748" y="510"/>
                </a:cubicBezTo>
                <a:cubicBezTo>
                  <a:pt x="2744" y="513"/>
                  <a:pt x="2738" y="518"/>
                  <a:pt x="2729" y="525"/>
                </a:cubicBezTo>
                <a:cubicBezTo>
                  <a:pt x="2716" y="537"/>
                  <a:pt x="2701" y="554"/>
                  <a:pt x="2685" y="576"/>
                </a:cubicBezTo>
                <a:cubicBezTo>
                  <a:pt x="2679" y="584"/>
                  <a:pt x="2675" y="588"/>
                  <a:pt x="2673" y="588"/>
                </a:cubicBezTo>
                <a:cubicBezTo>
                  <a:pt x="2672" y="588"/>
                  <a:pt x="2672" y="588"/>
                  <a:pt x="2672" y="587"/>
                </a:cubicBezTo>
                <a:cubicBezTo>
                  <a:pt x="2671" y="587"/>
                  <a:pt x="2671" y="586"/>
                  <a:pt x="2670" y="586"/>
                </a:cubicBezTo>
                <a:cubicBezTo>
                  <a:pt x="2668" y="586"/>
                  <a:pt x="2666" y="588"/>
                  <a:pt x="2663" y="590"/>
                </a:cubicBezTo>
                <a:cubicBezTo>
                  <a:pt x="2660" y="593"/>
                  <a:pt x="2659" y="594"/>
                  <a:pt x="2659" y="595"/>
                </a:cubicBezTo>
                <a:lnTo>
                  <a:pt x="2659" y="595"/>
                </a:lnTo>
                <a:lnTo>
                  <a:pt x="2662" y="595"/>
                </a:lnTo>
                <a:cubicBezTo>
                  <a:pt x="2663" y="595"/>
                  <a:pt x="2664" y="595"/>
                  <a:pt x="2664" y="596"/>
                </a:cubicBezTo>
                <a:cubicBezTo>
                  <a:pt x="2663" y="598"/>
                  <a:pt x="2661" y="599"/>
                  <a:pt x="2658" y="599"/>
                </a:cubicBezTo>
                <a:lnTo>
                  <a:pt x="2656" y="599"/>
                </a:lnTo>
                <a:cubicBezTo>
                  <a:pt x="2656" y="599"/>
                  <a:pt x="2655" y="599"/>
                  <a:pt x="2655" y="600"/>
                </a:cubicBezTo>
                <a:lnTo>
                  <a:pt x="2656" y="603"/>
                </a:lnTo>
                <a:cubicBezTo>
                  <a:pt x="2656" y="605"/>
                  <a:pt x="2655" y="607"/>
                  <a:pt x="2654" y="608"/>
                </a:cubicBezTo>
                <a:cubicBezTo>
                  <a:pt x="2653" y="610"/>
                  <a:pt x="2653" y="611"/>
                  <a:pt x="2653" y="612"/>
                </a:cubicBezTo>
                <a:lnTo>
                  <a:pt x="2653" y="614"/>
                </a:lnTo>
                <a:cubicBezTo>
                  <a:pt x="2653" y="614"/>
                  <a:pt x="2653" y="614"/>
                  <a:pt x="2651" y="614"/>
                </a:cubicBezTo>
                <a:cubicBezTo>
                  <a:pt x="2650" y="614"/>
                  <a:pt x="2650" y="615"/>
                  <a:pt x="2650" y="616"/>
                </a:cubicBezTo>
                <a:lnTo>
                  <a:pt x="2650" y="618"/>
                </a:lnTo>
                <a:cubicBezTo>
                  <a:pt x="2650" y="620"/>
                  <a:pt x="2649" y="621"/>
                  <a:pt x="2647" y="623"/>
                </a:cubicBezTo>
                <a:cubicBezTo>
                  <a:pt x="2642" y="628"/>
                  <a:pt x="2636" y="639"/>
                  <a:pt x="2629" y="657"/>
                </a:cubicBezTo>
                <a:cubicBezTo>
                  <a:pt x="2626" y="664"/>
                  <a:pt x="2624" y="669"/>
                  <a:pt x="2624" y="671"/>
                </a:cubicBezTo>
                <a:cubicBezTo>
                  <a:pt x="2624" y="671"/>
                  <a:pt x="2624" y="672"/>
                  <a:pt x="2625" y="672"/>
                </a:cubicBezTo>
                <a:close/>
                <a:moveTo>
                  <a:pt x="2693" y="663"/>
                </a:moveTo>
                <a:cubicBezTo>
                  <a:pt x="2694" y="663"/>
                  <a:pt x="2696" y="661"/>
                  <a:pt x="2698" y="658"/>
                </a:cubicBezTo>
                <a:cubicBezTo>
                  <a:pt x="2701" y="656"/>
                  <a:pt x="2702" y="654"/>
                  <a:pt x="2702" y="653"/>
                </a:cubicBezTo>
                <a:cubicBezTo>
                  <a:pt x="2701" y="653"/>
                  <a:pt x="2699" y="655"/>
                  <a:pt x="2697" y="657"/>
                </a:cubicBezTo>
                <a:cubicBezTo>
                  <a:pt x="2694" y="660"/>
                  <a:pt x="2693" y="662"/>
                  <a:pt x="2693" y="663"/>
                </a:cubicBezTo>
                <a:close/>
                <a:moveTo>
                  <a:pt x="2700" y="651"/>
                </a:moveTo>
                <a:cubicBezTo>
                  <a:pt x="2702" y="651"/>
                  <a:pt x="2708" y="647"/>
                  <a:pt x="2716" y="640"/>
                </a:cubicBezTo>
                <a:cubicBezTo>
                  <a:pt x="2723" y="634"/>
                  <a:pt x="2727" y="630"/>
                  <a:pt x="2727" y="628"/>
                </a:cubicBezTo>
                <a:lnTo>
                  <a:pt x="2727" y="627"/>
                </a:lnTo>
                <a:cubicBezTo>
                  <a:pt x="2727" y="627"/>
                  <a:pt x="2727" y="626"/>
                  <a:pt x="2728" y="626"/>
                </a:cubicBezTo>
                <a:lnTo>
                  <a:pt x="2729" y="626"/>
                </a:lnTo>
                <a:cubicBezTo>
                  <a:pt x="2730" y="626"/>
                  <a:pt x="2732" y="625"/>
                  <a:pt x="2735" y="622"/>
                </a:cubicBezTo>
                <a:cubicBezTo>
                  <a:pt x="2737" y="620"/>
                  <a:pt x="2740" y="617"/>
                  <a:pt x="2742" y="614"/>
                </a:cubicBezTo>
                <a:cubicBezTo>
                  <a:pt x="2744" y="611"/>
                  <a:pt x="2745" y="609"/>
                  <a:pt x="2745" y="607"/>
                </a:cubicBezTo>
                <a:cubicBezTo>
                  <a:pt x="2745" y="607"/>
                  <a:pt x="2745" y="606"/>
                  <a:pt x="2745" y="606"/>
                </a:cubicBezTo>
                <a:cubicBezTo>
                  <a:pt x="2744" y="606"/>
                  <a:pt x="2742" y="608"/>
                  <a:pt x="2736" y="612"/>
                </a:cubicBezTo>
                <a:cubicBezTo>
                  <a:pt x="2726" y="622"/>
                  <a:pt x="2715" y="631"/>
                  <a:pt x="2705" y="641"/>
                </a:cubicBezTo>
                <a:cubicBezTo>
                  <a:pt x="2701" y="646"/>
                  <a:pt x="2698" y="649"/>
                  <a:pt x="2698" y="650"/>
                </a:cubicBezTo>
                <a:cubicBezTo>
                  <a:pt x="2698" y="650"/>
                  <a:pt x="2699" y="651"/>
                  <a:pt x="2700" y="651"/>
                </a:cubicBezTo>
                <a:close/>
                <a:moveTo>
                  <a:pt x="2750" y="608"/>
                </a:moveTo>
                <a:cubicBezTo>
                  <a:pt x="2751" y="608"/>
                  <a:pt x="2752" y="607"/>
                  <a:pt x="2752" y="606"/>
                </a:cubicBezTo>
                <a:cubicBezTo>
                  <a:pt x="2752" y="605"/>
                  <a:pt x="2755" y="601"/>
                  <a:pt x="2760" y="595"/>
                </a:cubicBezTo>
                <a:cubicBezTo>
                  <a:pt x="2763" y="593"/>
                  <a:pt x="2767" y="587"/>
                  <a:pt x="2773" y="580"/>
                </a:cubicBezTo>
                <a:cubicBezTo>
                  <a:pt x="2777" y="575"/>
                  <a:pt x="2790" y="561"/>
                  <a:pt x="2814" y="538"/>
                </a:cubicBezTo>
                <a:cubicBezTo>
                  <a:pt x="2822" y="529"/>
                  <a:pt x="2826" y="524"/>
                  <a:pt x="2826" y="523"/>
                </a:cubicBezTo>
                <a:cubicBezTo>
                  <a:pt x="2826" y="523"/>
                  <a:pt x="2823" y="525"/>
                  <a:pt x="2817" y="531"/>
                </a:cubicBezTo>
                <a:cubicBezTo>
                  <a:pt x="2812" y="536"/>
                  <a:pt x="2805" y="542"/>
                  <a:pt x="2798" y="549"/>
                </a:cubicBezTo>
                <a:cubicBezTo>
                  <a:pt x="2790" y="557"/>
                  <a:pt x="2783" y="564"/>
                  <a:pt x="2777" y="571"/>
                </a:cubicBezTo>
                <a:lnTo>
                  <a:pt x="2770" y="577"/>
                </a:lnTo>
                <a:cubicBezTo>
                  <a:pt x="2766" y="581"/>
                  <a:pt x="2762" y="585"/>
                  <a:pt x="2758" y="589"/>
                </a:cubicBezTo>
                <a:cubicBezTo>
                  <a:pt x="2755" y="593"/>
                  <a:pt x="2752" y="596"/>
                  <a:pt x="2750" y="599"/>
                </a:cubicBezTo>
                <a:cubicBezTo>
                  <a:pt x="2748" y="602"/>
                  <a:pt x="2747" y="604"/>
                  <a:pt x="2747" y="605"/>
                </a:cubicBezTo>
                <a:cubicBezTo>
                  <a:pt x="2747" y="605"/>
                  <a:pt x="2747" y="605"/>
                  <a:pt x="2747" y="606"/>
                </a:cubicBezTo>
                <a:cubicBezTo>
                  <a:pt x="2747" y="606"/>
                  <a:pt x="2747" y="607"/>
                  <a:pt x="2748" y="607"/>
                </a:cubicBezTo>
                <a:cubicBezTo>
                  <a:pt x="2748" y="607"/>
                  <a:pt x="2749" y="608"/>
                  <a:pt x="2750" y="608"/>
                </a:cubicBezTo>
                <a:close/>
                <a:moveTo>
                  <a:pt x="2832" y="581"/>
                </a:moveTo>
                <a:cubicBezTo>
                  <a:pt x="2832" y="581"/>
                  <a:pt x="2833" y="578"/>
                  <a:pt x="2834" y="574"/>
                </a:cubicBezTo>
                <a:cubicBezTo>
                  <a:pt x="2835" y="569"/>
                  <a:pt x="2835" y="563"/>
                  <a:pt x="2836" y="557"/>
                </a:cubicBezTo>
                <a:cubicBezTo>
                  <a:pt x="2837" y="548"/>
                  <a:pt x="2837" y="541"/>
                  <a:pt x="2837" y="537"/>
                </a:cubicBezTo>
                <a:lnTo>
                  <a:pt x="2837" y="534"/>
                </a:lnTo>
                <a:cubicBezTo>
                  <a:pt x="2836" y="531"/>
                  <a:pt x="2836" y="529"/>
                  <a:pt x="2835" y="529"/>
                </a:cubicBezTo>
                <a:cubicBezTo>
                  <a:pt x="2834" y="529"/>
                  <a:pt x="2833" y="535"/>
                  <a:pt x="2833" y="546"/>
                </a:cubicBezTo>
                <a:lnTo>
                  <a:pt x="2831" y="577"/>
                </a:lnTo>
                <a:cubicBezTo>
                  <a:pt x="2831" y="580"/>
                  <a:pt x="2831" y="581"/>
                  <a:pt x="2832" y="581"/>
                </a:cubicBezTo>
                <a:close/>
                <a:moveTo>
                  <a:pt x="2829" y="601"/>
                </a:moveTo>
                <a:lnTo>
                  <a:pt x="2830" y="600"/>
                </a:lnTo>
                <a:cubicBezTo>
                  <a:pt x="2830" y="599"/>
                  <a:pt x="2831" y="597"/>
                  <a:pt x="2831" y="595"/>
                </a:cubicBezTo>
                <a:cubicBezTo>
                  <a:pt x="2831" y="593"/>
                  <a:pt x="2830" y="591"/>
                  <a:pt x="2830" y="591"/>
                </a:cubicBezTo>
                <a:cubicBezTo>
                  <a:pt x="2830" y="591"/>
                  <a:pt x="2830" y="593"/>
                  <a:pt x="2829" y="596"/>
                </a:cubicBezTo>
                <a:lnTo>
                  <a:pt x="2829" y="600"/>
                </a:lnTo>
                <a:lnTo>
                  <a:pt x="2829" y="601"/>
                </a:lnTo>
                <a:close/>
                <a:moveTo>
                  <a:pt x="2671" y="865"/>
                </a:moveTo>
                <a:cubicBezTo>
                  <a:pt x="2672" y="865"/>
                  <a:pt x="2673" y="864"/>
                  <a:pt x="2674" y="863"/>
                </a:cubicBezTo>
                <a:cubicBezTo>
                  <a:pt x="2675" y="862"/>
                  <a:pt x="2676" y="861"/>
                  <a:pt x="2677" y="860"/>
                </a:cubicBezTo>
                <a:cubicBezTo>
                  <a:pt x="2678" y="858"/>
                  <a:pt x="2679" y="858"/>
                  <a:pt x="2679" y="857"/>
                </a:cubicBezTo>
                <a:cubicBezTo>
                  <a:pt x="2679" y="857"/>
                  <a:pt x="2678" y="858"/>
                  <a:pt x="2676" y="860"/>
                </a:cubicBezTo>
                <a:cubicBezTo>
                  <a:pt x="2674" y="861"/>
                  <a:pt x="2673" y="862"/>
                  <a:pt x="2672" y="862"/>
                </a:cubicBezTo>
                <a:cubicBezTo>
                  <a:pt x="2671" y="863"/>
                  <a:pt x="2670" y="863"/>
                  <a:pt x="2670" y="863"/>
                </a:cubicBezTo>
                <a:lnTo>
                  <a:pt x="2670" y="864"/>
                </a:lnTo>
                <a:cubicBezTo>
                  <a:pt x="2670" y="864"/>
                  <a:pt x="2670" y="865"/>
                  <a:pt x="2671" y="865"/>
                </a:cubicBezTo>
                <a:close/>
                <a:moveTo>
                  <a:pt x="2644" y="917"/>
                </a:moveTo>
                <a:cubicBezTo>
                  <a:pt x="2645" y="917"/>
                  <a:pt x="2646" y="916"/>
                  <a:pt x="2648" y="913"/>
                </a:cubicBezTo>
                <a:lnTo>
                  <a:pt x="2651" y="911"/>
                </a:lnTo>
                <a:lnTo>
                  <a:pt x="2651" y="910"/>
                </a:lnTo>
                <a:lnTo>
                  <a:pt x="2648" y="912"/>
                </a:lnTo>
                <a:lnTo>
                  <a:pt x="2643" y="916"/>
                </a:lnTo>
                <a:cubicBezTo>
                  <a:pt x="2643" y="917"/>
                  <a:pt x="2644" y="917"/>
                  <a:pt x="2644" y="917"/>
                </a:cubicBezTo>
                <a:close/>
                <a:moveTo>
                  <a:pt x="2586" y="975"/>
                </a:moveTo>
                <a:cubicBezTo>
                  <a:pt x="2586" y="975"/>
                  <a:pt x="2588" y="974"/>
                  <a:pt x="2591" y="971"/>
                </a:cubicBezTo>
                <a:cubicBezTo>
                  <a:pt x="2594" y="968"/>
                  <a:pt x="2597" y="967"/>
                  <a:pt x="2598" y="967"/>
                </a:cubicBezTo>
                <a:lnTo>
                  <a:pt x="2599" y="967"/>
                </a:lnTo>
                <a:cubicBezTo>
                  <a:pt x="2600" y="967"/>
                  <a:pt x="2601" y="966"/>
                  <a:pt x="2602" y="964"/>
                </a:cubicBezTo>
                <a:cubicBezTo>
                  <a:pt x="2604" y="962"/>
                  <a:pt x="2604" y="960"/>
                  <a:pt x="2604" y="958"/>
                </a:cubicBezTo>
                <a:lnTo>
                  <a:pt x="2604" y="958"/>
                </a:lnTo>
                <a:cubicBezTo>
                  <a:pt x="2604" y="957"/>
                  <a:pt x="2604" y="957"/>
                  <a:pt x="2605" y="956"/>
                </a:cubicBezTo>
                <a:cubicBezTo>
                  <a:pt x="2606" y="955"/>
                  <a:pt x="2607" y="955"/>
                  <a:pt x="2608" y="954"/>
                </a:cubicBezTo>
                <a:cubicBezTo>
                  <a:pt x="2609" y="953"/>
                  <a:pt x="2611" y="953"/>
                  <a:pt x="2612" y="953"/>
                </a:cubicBezTo>
                <a:cubicBezTo>
                  <a:pt x="2612" y="953"/>
                  <a:pt x="2612" y="953"/>
                  <a:pt x="2612" y="953"/>
                </a:cubicBezTo>
                <a:cubicBezTo>
                  <a:pt x="2612" y="953"/>
                  <a:pt x="2612" y="953"/>
                  <a:pt x="2613" y="953"/>
                </a:cubicBezTo>
                <a:cubicBezTo>
                  <a:pt x="2614" y="953"/>
                  <a:pt x="2616" y="952"/>
                  <a:pt x="2619" y="948"/>
                </a:cubicBezTo>
                <a:cubicBezTo>
                  <a:pt x="2624" y="943"/>
                  <a:pt x="2626" y="941"/>
                  <a:pt x="2626" y="939"/>
                </a:cubicBezTo>
                <a:cubicBezTo>
                  <a:pt x="2627" y="937"/>
                  <a:pt x="2627" y="936"/>
                  <a:pt x="2629" y="936"/>
                </a:cubicBezTo>
                <a:lnTo>
                  <a:pt x="2631" y="936"/>
                </a:lnTo>
                <a:cubicBezTo>
                  <a:pt x="2633" y="936"/>
                  <a:pt x="2635" y="935"/>
                  <a:pt x="2637" y="933"/>
                </a:cubicBezTo>
                <a:cubicBezTo>
                  <a:pt x="2640" y="930"/>
                  <a:pt x="2642" y="929"/>
                  <a:pt x="2643" y="929"/>
                </a:cubicBezTo>
                <a:lnTo>
                  <a:pt x="2643" y="929"/>
                </a:lnTo>
                <a:cubicBezTo>
                  <a:pt x="2643" y="930"/>
                  <a:pt x="2642" y="932"/>
                  <a:pt x="2640" y="935"/>
                </a:cubicBezTo>
                <a:cubicBezTo>
                  <a:pt x="2638" y="936"/>
                  <a:pt x="2637" y="938"/>
                  <a:pt x="2637" y="938"/>
                </a:cubicBezTo>
                <a:cubicBezTo>
                  <a:pt x="2638" y="938"/>
                  <a:pt x="2639" y="937"/>
                  <a:pt x="2641" y="935"/>
                </a:cubicBezTo>
                <a:cubicBezTo>
                  <a:pt x="2643" y="932"/>
                  <a:pt x="2645" y="931"/>
                  <a:pt x="2646" y="929"/>
                </a:cubicBezTo>
                <a:cubicBezTo>
                  <a:pt x="2648" y="928"/>
                  <a:pt x="2649" y="928"/>
                  <a:pt x="2650" y="928"/>
                </a:cubicBezTo>
                <a:cubicBezTo>
                  <a:pt x="2651" y="928"/>
                  <a:pt x="2653" y="926"/>
                  <a:pt x="2656" y="923"/>
                </a:cubicBezTo>
                <a:cubicBezTo>
                  <a:pt x="2658" y="919"/>
                  <a:pt x="2660" y="918"/>
                  <a:pt x="2661" y="918"/>
                </a:cubicBezTo>
                <a:lnTo>
                  <a:pt x="2661" y="918"/>
                </a:lnTo>
                <a:cubicBezTo>
                  <a:pt x="2661" y="918"/>
                  <a:pt x="2661" y="919"/>
                  <a:pt x="2661" y="919"/>
                </a:cubicBezTo>
                <a:cubicBezTo>
                  <a:pt x="2662" y="919"/>
                  <a:pt x="2663" y="918"/>
                  <a:pt x="2664" y="917"/>
                </a:cubicBezTo>
                <a:cubicBezTo>
                  <a:pt x="2666" y="916"/>
                  <a:pt x="2666" y="914"/>
                  <a:pt x="2666" y="914"/>
                </a:cubicBezTo>
                <a:cubicBezTo>
                  <a:pt x="2666" y="913"/>
                  <a:pt x="2666" y="913"/>
                  <a:pt x="2666" y="912"/>
                </a:cubicBezTo>
                <a:cubicBezTo>
                  <a:pt x="2665" y="911"/>
                  <a:pt x="2665" y="911"/>
                  <a:pt x="2664" y="911"/>
                </a:cubicBezTo>
                <a:cubicBezTo>
                  <a:pt x="2663" y="911"/>
                  <a:pt x="2661" y="912"/>
                  <a:pt x="2659" y="914"/>
                </a:cubicBezTo>
                <a:lnTo>
                  <a:pt x="2655" y="916"/>
                </a:lnTo>
                <a:lnTo>
                  <a:pt x="2656" y="915"/>
                </a:lnTo>
                <a:cubicBezTo>
                  <a:pt x="2658" y="912"/>
                  <a:pt x="2659" y="910"/>
                  <a:pt x="2659" y="909"/>
                </a:cubicBezTo>
                <a:cubicBezTo>
                  <a:pt x="2659" y="909"/>
                  <a:pt x="2659" y="909"/>
                  <a:pt x="2658" y="909"/>
                </a:cubicBezTo>
                <a:lnTo>
                  <a:pt x="2656" y="910"/>
                </a:lnTo>
                <a:cubicBezTo>
                  <a:pt x="2656" y="910"/>
                  <a:pt x="2655" y="910"/>
                  <a:pt x="2655" y="909"/>
                </a:cubicBezTo>
                <a:lnTo>
                  <a:pt x="2656" y="909"/>
                </a:lnTo>
                <a:cubicBezTo>
                  <a:pt x="2657" y="907"/>
                  <a:pt x="2658" y="907"/>
                  <a:pt x="2660" y="907"/>
                </a:cubicBezTo>
                <a:lnTo>
                  <a:pt x="2661" y="907"/>
                </a:lnTo>
                <a:cubicBezTo>
                  <a:pt x="2663" y="907"/>
                  <a:pt x="2667" y="905"/>
                  <a:pt x="2672" y="902"/>
                </a:cubicBezTo>
                <a:lnTo>
                  <a:pt x="2678" y="896"/>
                </a:lnTo>
                <a:cubicBezTo>
                  <a:pt x="2682" y="893"/>
                  <a:pt x="2692" y="886"/>
                  <a:pt x="2710" y="875"/>
                </a:cubicBezTo>
                <a:cubicBezTo>
                  <a:pt x="2722" y="866"/>
                  <a:pt x="2728" y="861"/>
                  <a:pt x="2728" y="861"/>
                </a:cubicBezTo>
                <a:cubicBezTo>
                  <a:pt x="2728" y="861"/>
                  <a:pt x="2726" y="862"/>
                  <a:pt x="2723" y="864"/>
                </a:cubicBezTo>
                <a:cubicBezTo>
                  <a:pt x="2719" y="866"/>
                  <a:pt x="2716" y="868"/>
                  <a:pt x="2711" y="870"/>
                </a:cubicBezTo>
                <a:cubicBezTo>
                  <a:pt x="2707" y="872"/>
                  <a:pt x="2704" y="874"/>
                  <a:pt x="2702" y="876"/>
                </a:cubicBezTo>
                <a:cubicBezTo>
                  <a:pt x="2699" y="877"/>
                  <a:pt x="2695" y="880"/>
                  <a:pt x="2689" y="884"/>
                </a:cubicBezTo>
                <a:lnTo>
                  <a:pt x="2676" y="893"/>
                </a:lnTo>
                <a:cubicBezTo>
                  <a:pt x="2670" y="897"/>
                  <a:pt x="2665" y="900"/>
                  <a:pt x="2661" y="904"/>
                </a:cubicBezTo>
                <a:cubicBezTo>
                  <a:pt x="2656" y="908"/>
                  <a:pt x="2653" y="910"/>
                  <a:pt x="2651" y="912"/>
                </a:cubicBezTo>
                <a:cubicBezTo>
                  <a:pt x="2649" y="914"/>
                  <a:pt x="2648" y="916"/>
                  <a:pt x="2646" y="916"/>
                </a:cubicBezTo>
                <a:cubicBezTo>
                  <a:pt x="2645" y="917"/>
                  <a:pt x="2644" y="918"/>
                  <a:pt x="2643" y="918"/>
                </a:cubicBezTo>
                <a:lnTo>
                  <a:pt x="2642" y="918"/>
                </a:lnTo>
                <a:cubicBezTo>
                  <a:pt x="2640" y="918"/>
                  <a:pt x="2637" y="920"/>
                  <a:pt x="2633" y="925"/>
                </a:cubicBezTo>
                <a:lnTo>
                  <a:pt x="2629" y="930"/>
                </a:lnTo>
                <a:lnTo>
                  <a:pt x="2628" y="929"/>
                </a:lnTo>
                <a:lnTo>
                  <a:pt x="2629" y="928"/>
                </a:lnTo>
                <a:cubicBezTo>
                  <a:pt x="2628" y="928"/>
                  <a:pt x="2620" y="935"/>
                  <a:pt x="2606" y="948"/>
                </a:cubicBezTo>
                <a:cubicBezTo>
                  <a:pt x="2589" y="963"/>
                  <a:pt x="2581" y="971"/>
                  <a:pt x="2581" y="971"/>
                </a:cubicBezTo>
                <a:cubicBezTo>
                  <a:pt x="2581" y="971"/>
                  <a:pt x="2584" y="969"/>
                  <a:pt x="2590" y="964"/>
                </a:cubicBezTo>
                <a:cubicBezTo>
                  <a:pt x="2596" y="960"/>
                  <a:pt x="2600" y="958"/>
                  <a:pt x="2601" y="958"/>
                </a:cubicBezTo>
                <a:lnTo>
                  <a:pt x="2602" y="958"/>
                </a:lnTo>
                <a:cubicBezTo>
                  <a:pt x="2602" y="959"/>
                  <a:pt x="2599" y="962"/>
                  <a:pt x="2595" y="965"/>
                </a:cubicBezTo>
                <a:cubicBezTo>
                  <a:pt x="2592" y="967"/>
                  <a:pt x="2590" y="969"/>
                  <a:pt x="2588" y="971"/>
                </a:cubicBezTo>
                <a:cubicBezTo>
                  <a:pt x="2586" y="973"/>
                  <a:pt x="2586" y="975"/>
                  <a:pt x="2586" y="975"/>
                </a:cubicBezTo>
                <a:close/>
                <a:moveTo>
                  <a:pt x="2570" y="992"/>
                </a:moveTo>
                <a:cubicBezTo>
                  <a:pt x="2571" y="992"/>
                  <a:pt x="2572" y="991"/>
                  <a:pt x="2574" y="989"/>
                </a:cubicBezTo>
                <a:cubicBezTo>
                  <a:pt x="2577" y="986"/>
                  <a:pt x="2578" y="985"/>
                  <a:pt x="2580" y="985"/>
                </a:cubicBezTo>
                <a:lnTo>
                  <a:pt x="2581" y="986"/>
                </a:lnTo>
                <a:lnTo>
                  <a:pt x="2581" y="986"/>
                </a:lnTo>
                <a:cubicBezTo>
                  <a:pt x="2581" y="985"/>
                  <a:pt x="2581" y="985"/>
                  <a:pt x="2580" y="984"/>
                </a:cubicBezTo>
                <a:cubicBezTo>
                  <a:pt x="2580" y="984"/>
                  <a:pt x="2579" y="983"/>
                  <a:pt x="2578" y="983"/>
                </a:cubicBezTo>
                <a:cubicBezTo>
                  <a:pt x="2577" y="983"/>
                  <a:pt x="2575" y="984"/>
                  <a:pt x="2573" y="986"/>
                </a:cubicBezTo>
                <a:cubicBezTo>
                  <a:pt x="2571" y="988"/>
                  <a:pt x="2570" y="990"/>
                  <a:pt x="2570" y="992"/>
                </a:cubicBezTo>
                <a:close/>
                <a:moveTo>
                  <a:pt x="2550" y="1007"/>
                </a:moveTo>
                <a:cubicBezTo>
                  <a:pt x="2551" y="1007"/>
                  <a:pt x="2554" y="1006"/>
                  <a:pt x="2557" y="1003"/>
                </a:cubicBezTo>
                <a:cubicBezTo>
                  <a:pt x="2562" y="999"/>
                  <a:pt x="2564" y="996"/>
                  <a:pt x="2564" y="995"/>
                </a:cubicBezTo>
                <a:cubicBezTo>
                  <a:pt x="2564" y="994"/>
                  <a:pt x="2565" y="992"/>
                  <a:pt x="2566" y="990"/>
                </a:cubicBezTo>
                <a:cubicBezTo>
                  <a:pt x="2567" y="988"/>
                  <a:pt x="2569" y="986"/>
                  <a:pt x="2571" y="984"/>
                </a:cubicBezTo>
                <a:cubicBezTo>
                  <a:pt x="2573" y="981"/>
                  <a:pt x="2574" y="980"/>
                  <a:pt x="2574" y="980"/>
                </a:cubicBezTo>
                <a:lnTo>
                  <a:pt x="2567" y="987"/>
                </a:lnTo>
                <a:cubicBezTo>
                  <a:pt x="2556" y="998"/>
                  <a:pt x="2550" y="1005"/>
                  <a:pt x="2550" y="1007"/>
                </a:cubicBezTo>
                <a:close/>
                <a:moveTo>
                  <a:pt x="2532" y="991"/>
                </a:moveTo>
                <a:cubicBezTo>
                  <a:pt x="2533" y="991"/>
                  <a:pt x="2542" y="982"/>
                  <a:pt x="2560" y="963"/>
                </a:cubicBezTo>
                <a:cubicBezTo>
                  <a:pt x="2567" y="956"/>
                  <a:pt x="2572" y="950"/>
                  <a:pt x="2575" y="946"/>
                </a:cubicBezTo>
                <a:cubicBezTo>
                  <a:pt x="2577" y="943"/>
                  <a:pt x="2579" y="941"/>
                  <a:pt x="2581" y="939"/>
                </a:cubicBezTo>
                <a:lnTo>
                  <a:pt x="2601" y="922"/>
                </a:lnTo>
                <a:cubicBezTo>
                  <a:pt x="2612" y="913"/>
                  <a:pt x="2618" y="908"/>
                  <a:pt x="2620" y="908"/>
                </a:cubicBezTo>
                <a:cubicBezTo>
                  <a:pt x="2622" y="908"/>
                  <a:pt x="2623" y="906"/>
                  <a:pt x="2624" y="903"/>
                </a:cubicBezTo>
                <a:cubicBezTo>
                  <a:pt x="2625" y="900"/>
                  <a:pt x="2627" y="898"/>
                  <a:pt x="2630" y="897"/>
                </a:cubicBezTo>
                <a:cubicBezTo>
                  <a:pt x="2633" y="896"/>
                  <a:pt x="2634" y="895"/>
                  <a:pt x="2634" y="894"/>
                </a:cubicBezTo>
                <a:cubicBezTo>
                  <a:pt x="2635" y="894"/>
                  <a:pt x="2635" y="892"/>
                  <a:pt x="2635" y="890"/>
                </a:cubicBezTo>
                <a:cubicBezTo>
                  <a:pt x="2636" y="889"/>
                  <a:pt x="2636" y="889"/>
                  <a:pt x="2636" y="887"/>
                </a:cubicBezTo>
                <a:cubicBezTo>
                  <a:pt x="2636" y="887"/>
                  <a:pt x="2636" y="886"/>
                  <a:pt x="2635" y="886"/>
                </a:cubicBezTo>
                <a:lnTo>
                  <a:pt x="2635" y="886"/>
                </a:lnTo>
                <a:cubicBezTo>
                  <a:pt x="2634" y="887"/>
                  <a:pt x="2634" y="888"/>
                  <a:pt x="2634" y="890"/>
                </a:cubicBezTo>
                <a:lnTo>
                  <a:pt x="2634" y="890"/>
                </a:lnTo>
                <a:cubicBezTo>
                  <a:pt x="2634" y="891"/>
                  <a:pt x="2634" y="892"/>
                  <a:pt x="2633" y="892"/>
                </a:cubicBezTo>
                <a:cubicBezTo>
                  <a:pt x="2631" y="894"/>
                  <a:pt x="2629" y="895"/>
                  <a:pt x="2626" y="895"/>
                </a:cubicBezTo>
                <a:lnTo>
                  <a:pt x="2624" y="894"/>
                </a:lnTo>
                <a:cubicBezTo>
                  <a:pt x="2624" y="894"/>
                  <a:pt x="2624" y="895"/>
                  <a:pt x="2624" y="897"/>
                </a:cubicBezTo>
                <a:cubicBezTo>
                  <a:pt x="2624" y="899"/>
                  <a:pt x="2623" y="899"/>
                  <a:pt x="2622" y="899"/>
                </a:cubicBezTo>
                <a:lnTo>
                  <a:pt x="2621" y="899"/>
                </a:lnTo>
                <a:cubicBezTo>
                  <a:pt x="2620" y="899"/>
                  <a:pt x="2619" y="900"/>
                  <a:pt x="2619" y="900"/>
                </a:cubicBezTo>
                <a:lnTo>
                  <a:pt x="2619" y="902"/>
                </a:lnTo>
                <a:cubicBezTo>
                  <a:pt x="2619" y="903"/>
                  <a:pt x="2618" y="904"/>
                  <a:pt x="2616" y="905"/>
                </a:cubicBezTo>
                <a:cubicBezTo>
                  <a:pt x="2614" y="906"/>
                  <a:pt x="2613" y="906"/>
                  <a:pt x="2612" y="906"/>
                </a:cubicBezTo>
                <a:cubicBezTo>
                  <a:pt x="2611" y="906"/>
                  <a:pt x="2609" y="907"/>
                  <a:pt x="2607" y="909"/>
                </a:cubicBezTo>
                <a:cubicBezTo>
                  <a:pt x="2607" y="912"/>
                  <a:pt x="2603" y="916"/>
                  <a:pt x="2597" y="921"/>
                </a:cubicBezTo>
                <a:cubicBezTo>
                  <a:pt x="2587" y="930"/>
                  <a:pt x="2578" y="940"/>
                  <a:pt x="2569" y="949"/>
                </a:cubicBezTo>
                <a:cubicBezTo>
                  <a:pt x="2557" y="963"/>
                  <a:pt x="2550" y="969"/>
                  <a:pt x="2549" y="970"/>
                </a:cubicBezTo>
                <a:cubicBezTo>
                  <a:pt x="2547" y="970"/>
                  <a:pt x="2547" y="971"/>
                  <a:pt x="2546" y="972"/>
                </a:cubicBezTo>
                <a:cubicBezTo>
                  <a:pt x="2546" y="973"/>
                  <a:pt x="2545" y="975"/>
                  <a:pt x="2544" y="976"/>
                </a:cubicBezTo>
                <a:cubicBezTo>
                  <a:pt x="2539" y="982"/>
                  <a:pt x="2536" y="984"/>
                  <a:pt x="2535" y="984"/>
                </a:cubicBezTo>
                <a:lnTo>
                  <a:pt x="2534" y="984"/>
                </a:lnTo>
                <a:lnTo>
                  <a:pt x="2534" y="985"/>
                </a:lnTo>
                <a:cubicBezTo>
                  <a:pt x="2534" y="987"/>
                  <a:pt x="2534" y="989"/>
                  <a:pt x="2533" y="990"/>
                </a:cubicBezTo>
                <a:lnTo>
                  <a:pt x="2532" y="991"/>
                </a:lnTo>
                <a:close/>
                <a:moveTo>
                  <a:pt x="2524" y="1002"/>
                </a:moveTo>
                <a:cubicBezTo>
                  <a:pt x="2524" y="1002"/>
                  <a:pt x="2525" y="1002"/>
                  <a:pt x="2526" y="1001"/>
                </a:cubicBezTo>
                <a:cubicBezTo>
                  <a:pt x="2527" y="1000"/>
                  <a:pt x="2527" y="999"/>
                  <a:pt x="2528" y="999"/>
                </a:cubicBezTo>
                <a:cubicBezTo>
                  <a:pt x="2529" y="997"/>
                  <a:pt x="2529" y="997"/>
                  <a:pt x="2529" y="996"/>
                </a:cubicBezTo>
                <a:cubicBezTo>
                  <a:pt x="2529" y="995"/>
                  <a:pt x="2529" y="994"/>
                  <a:pt x="2528" y="994"/>
                </a:cubicBezTo>
                <a:cubicBezTo>
                  <a:pt x="2527" y="993"/>
                  <a:pt x="2527" y="993"/>
                  <a:pt x="2527" y="993"/>
                </a:cubicBezTo>
                <a:lnTo>
                  <a:pt x="2527" y="995"/>
                </a:lnTo>
                <a:cubicBezTo>
                  <a:pt x="2527" y="996"/>
                  <a:pt x="2527" y="997"/>
                  <a:pt x="2526" y="999"/>
                </a:cubicBezTo>
                <a:cubicBezTo>
                  <a:pt x="2524" y="1000"/>
                  <a:pt x="2524" y="1001"/>
                  <a:pt x="2524" y="1002"/>
                </a:cubicBezTo>
                <a:close/>
                <a:moveTo>
                  <a:pt x="2490" y="1049"/>
                </a:moveTo>
                <a:cubicBezTo>
                  <a:pt x="2491" y="1049"/>
                  <a:pt x="2493" y="1046"/>
                  <a:pt x="2496" y="1040"/>
                </a:cubicBezTo>
                <a:cubicBezTo>
                  <a:pt x="2497" y="1038"/>
                  <a:pt x="2498" y="1036"/>
                  <a:pt x="2498" y="1035"/>
                </a:cubicBezTo>
                <a:cubicBezTo>
                  <a:pt x="2498" y="1035"/>
                  <a:pt x="2498" y="1035"/>
                  <a:pt x="2497" y="1035"/>
                </a:cubicBezTo>
                <a:cubicBezTo>
                  <a:pt x="2497" y="1035"/>
                  <a:pt x="2496" y="1036"/>
                  <a:pt x="2495" y="1038"/>
                </a:cubicBezTo>
                <a:cubicBezTo>
                  <a:pt x="2492" y="1043"/>
                  <a:pt x="2490" y="1047"/>
                  <a:pt x="2490" y="1049"/>
                </a:cubicBezTo>
                <a:close/>
                <a:moveTo>
                  <a:pt x="2502" y="1034"/>
                </a:moveTo>
                <a:lnTo>
                  <a:pt x="2511" y="1022"/>
                </a:lnTo>
                <a:cubicBezTo>
                  <a:pt x="2514" y="1017"/>
                  <a:pt x="2516" y="1014"/>
                  <a:pt x="2516" y="1014"/>
                </a:cubicBezTo>
                <a:cubicBezTo>
                  <a:pt x="2516" y="1014"/>
                  <a:pt x="2515" y="1014"/>
                  <a:pt x="2513" y="1016"/>
                </a:cubicBezTo>
                <a:cubicBezTo>
                  <a:pt x="2512" y="1017"/>
                  <a:pt x="2510" y="1019"/>
                  <a:pt x="2509" y="1020"/>
                </a:cubicBezTo>
                <a:cubicBezTo>
                  <a:pt x="2508" y="1021"/>
                  <a:pt x="2507" y="1021"/>
                  <a:pt x="2506" y="1021"/>
                </a:cubicBezTo>
                <a:lnTo>
                  <a:pt x="2505" y="1020"/>
                </a:lnTo>
                <a:lnTo>
                  <a:pt x="2505" y="1021"/>
                </a:lnTo>
                <a:lnTo>
                  <a:pt x="2505" y="1024"/>
                </a:lnTo>
                <a:cubicBezTo>
                  <a:pt x="2505" y="1024"/>
                  <a:pt x="2505" y="1025"/>
                  <a:pt x="2504" y="1025"/>
                </a:cubicBezTo>
                <a:cubicBezTo>
                  <a:pt x="2503" y="1025"/>
                  <a:pt x="2503" y="1025"/>
                  <a:pt x="2503" y="1026"/>
                </a:cubicBezTo>
                <a:lnTo>
                  <a:pt x="2503" y="1028"/>
                </a:lnTo>
                <a:cubicBezTo>
                  <a:pt x="2503" y="1029"/>
                  <a:pt x="2503" y="1029"/>
                  <a:pt x="2502" y="1029"/>
                </a:cubicBezTo>
                <a:cubicBezTo>
                  <a:pt x="2501" y="1029"/>
                  <a:pt x="2500" y="1030"/>
                  <a:pt x="2500" y="1031"/>
                </a:cubicBezTo>
                <a:lnTo>
                  <a:pt x="2500" y="1032"/>
                </a:lnTo>
                <a:cubicBezTo>
                  <a:pt x="2501" y="1033"/>
                  <a:pt x="2502" y="1034"/>
                  <a:pt x="2502" y="1034"/>
                </a:cubicBezTo>
                <a:close/>
                <a:moveTo>
                  <a:pt x="2497" y="1128"/>
                </a:moveTo>
                <a:cubicBezTo>
                  <a:pt x="2498" y="1128"/>
                  <a:pt x="2498" y="1127"/>
                  <a:pt x="2498" y="1127"/>
                </a:cubicBezTo>
                <a:lnTo>
                  <a:pt x="2497" y="1124"/>
                </a:lnTo>
                <a:cubicBezTo>
                  <a:pt x="2497" y="1122"/>
                  <a:pt x="2498" y="1121"/>
                  <a:pt x="2499" y="1119"/>
                </a:cubicBezTo>
                <a:cubicBezTo>
                  <a:pt x="2500" y="1118"/>
                  <a:pt x="2501" y="1117"/>
                  <a:pt x="2501" y="1117"/>
                </a:cubicBezTo>
                <a:cubicBezTo>
                  <a:pt x="2501" y="1117"/>
                  <a:pt x="2500" y="1117"/>
                  <a:pt x="2499" y="1117"/>
                </a:cubicBezTo>
                <a:cubicBezTo>
                  <a:pt x="2499" y="1117"/>
                  <a:pt x="2498" y="1117"/>
                  <a:pt x="2497" y="1118"/>
                </a:cubicBezTo>
                <a:cubicBezTo>
                  <a:pt x="2495" y="1118"/>
                  <a:pt x="2495" y="1120"/>
                  <a:pt x="2495" y="1122"/>
                </a:cubicBezTo>
                <a:cubicBezTo>
                  <a:pt x="2495" y="1126"/>
                  <a:pt x="2495" y="1128"/>
                  <a:pt x="2497" y="1128"/>
                </a:cubicBezTo>
                <a:close/>
                <a:moveTo>
                  <a:pt x="2497" y="1107"/>
                </a:moveTo>
                <a:cubicBezTo>
                  <a:pt x="2498" y="1107"/>
                  <a:pt x="2499" y="1107"/>
                  <a:pt x="2499" y="1106"/>
                </a:cubicBezTo>
                <a:cubicBezTo>
                  <a:pt x="2500" y="1106"/>
                  <a:pt x="2501" y="1105"/>
                  <a:pt x="2502" y="1103"/>
                </a:cubicBezTo>
                <a:cubicBezTo>
                  <a:pt x="2503" y="1102"/>
                  <a:pt x="2504" y="1100"/>
                  <a:pt x="2504" y="1098"/>
                </a:cubicBezTo>
                <a:lnTo>
                  <a:pt x="2503" y="1093"/>
                </a:lnTo>
                <a:cubicBezTo>
                  <a:pt x="2503" y="1092"/>
                  <a:pt x="2503" y="1092"/>
                  <a:pt x="2504" y="1092"/>
                </a:cubicBezTo>
                <a:lnTo>
                  <a:pt x="2507" y="1093"/>
                </a:lnTo>
                <a:cubicBezTo>
                  <a:pt x="2507" y="1093"/>
                  <a:pt x="2507" y="1092"/>
                  <a:pt x="2507" y="1091"/>
                </a:cubicBezTo>
                <a:lnTo>
                  <a:pt x="2507" y="1087"/>
                </a:lnTo>
                <a:cubicBezTo>
                  <a:pt x="2507" y="1086"/>
                  <a:pt x="2507" y="1086"/>
                  <a:pt x="2507" y="1085"/>
                </a:cubicBezTo>
                <a:lnTo>
                  <a:pt x="2509" y="1086"/>
                </a:lnTo>
                <a:cubicBezTo>
                  <a:pt x="2509" y="1086"/>
                  <a:pt x="2509" y="1085"/>
                  <a:pt x="2509" y="1083"/>
                </a:cubicBezTo>
                <a:lnTo>
                  <a:pt x="2509" y="1077"/>
                </a:lnTo>
                <a:cubicBezTo>
                  <a:pt x="2509" y="1077"/>
                  <a:pt x="2509" y="1076"/>
                  <a:pt x="2509" y="1076"/>
                </a:cubicBezTo>
                <a:lnTo>
                  <a:pt x="2510" y="1077"/>
                </a:lnTo>
                <a:lnTo>
                  <a:pt x="2511" y="1077"/>
                </a:lnTo>
                <a:cubicBezTo>
                  <a:pt x="2512" y="1077"/>
                  <a:pt x="2516" y="1073"/>
                  <a:pt x="2520" y="1063"/>
                </a:cubicBezTo>
                <a:cubicBezTo>
                  <a:pt x="2528" y="1050"/>
                  <a:pt x="2533" y="1042"/>
                  <a:pt x="2536" y="1038"/>
                </a:cubicBezTo>
                <a:cubicBezTo>
                  <a:pt x="2541" y="1032"/>
                  <a:pt x="2543" y="1029"/>
                  <a:pt x="2543" y="1028"/>
                </a:cubicBezTo>
                <a:cubicBezTo>
                  <a:pt x="2543" y="1027"/>
                  <a:pt x="2545" y="1024"/>
                  <a:pt x="2548" y="1020"/>
                </a:cubicBezTo>
                <a:cubicBezTo>
                  <a:pt x="2556" y="1011"/>
                  <a:pt x="2560" y="1006"/>
                  <a:pt x="2560" y="1005"/>
                </a:cubicBezTo>
                <a:lnTo>
                  <a:pt x="2560" y="1004"/>
                </a:lnTo>
                <a:cubicBezTo>
                  <a:pt x="2559" y="1004"/>
                  <a:pt x="2557" y="1006"/>
                  <a:pt x="2555" y="1008"/>
                </a:cubicBezTo>
                <a:cubicBezTo>
                  <a:pt x="2551" y="1012"/>
                  <a:pt x="2549" y="1014"/>
                  <a:pt x="2547" y="1014"/>
                </a:cubicBezTo>
                <a:cubicBezTo>
                  <a:pt x="2546" y="1014"/>
                  <a:pt x="2545" y="1015"/>
                  <a:pt x="2545" y="1016"/>
                </a:cubicBezTo>
                <a:cubicBezTo>
                  <a:pt x="2545" y="1017"/>
                  <a:pt x="2544" y="1019"/>
                  <a:pt x="2544" y="1020"/>
                </a:cubicBezTo>
                <a:cubicBezTo>
                  <a:pt x="2543" y="1022"/>
                  <a:pt x="2543" y="1022"/>
                  <a:pt x="2542" y="1022"/>
                </a:cubicBezTo>
                <a:lnTo>
                  <a:pt x="2543" y="1019"/>
                </a:lnTo>
                <a:lnTo>
                  <a:pt x="2542" y="1019"/>
                </a:lnTo>
                <a:lnTo>
                  <a:pt x="2539" y="1023"/>
                </a:lnTo>
                <a:cubicBezTo>
                  <a:pt x="2537" y="1026"/>
                  <a:pt x="2536" y="1027"/>
                  <a:pt x="2536" y="1029"/>
                </a:cubicBezTo>
                <a:cubicBezTo>
                  <a:pt x="2536" y="1029"/>
                  <a:pt x="2536" y="1029"/>
                  <a:pt x="2536" y="1029"/>
                </a:cubicBezTo>
                <a:cubicBezTo>
                  <a:pt x="2537" y="1029"/>
                  <a:pt x="2538" y="1029"/>
                  <a:pt x="2539" y="1027"/>
                </a:cubicBezTo>
                <a:cubicBezTo>
                  <a:pt x="2539" y="1026"/>
                  <a:pt x="2540" y="1025"/>
                  <a:pt x="2540" y="1025"/>
                </a:cubicBezTo>
                <a:cubicBezTo>
                  <a:pt x="2541" y="1025"/>
                  <a:pt x="2541" y="1026"/>
                  <a:pt x="2541" y="1026"/>
                </a:cubicBezTo>
                <a:cubicBezTo>
                  <a:pt x="2541" y="1027"/>
                  <a:pt x="2540" y="1028"/>
                  <a:pt x="2539" y="1029"/>
                </a:cubicBezTo>
                <a:cubicBezTo>
                  <a:pt x="2538" y="1030"/>
                  <a:pt x="2537" y="1031"/>
                  <a:pt x="2537" y="1032"/>
                </a:cubicBezTo>
                <a:cubicBezTo>
                  <a:pt x="2536" y="1033"/>
                  <a:pt x="2535" y="1033"/>
                  <a:pt x="2534" y="1033"/>
                </a:cubicBezTo>
                <a:lnTo>
                  <a:pt x="2533" y="1033"/>
                </a:lnTo>
                <a:cubicBezTo>
                  <a:pt x="2530" y="1033"/>
                  <a:pt x="2525" y="1042"/>
                  <a:pt x="2515" y="1061"/>
                </a:cubicBezTo>
                <a:cubicBezTo>
                  <a:pt x="2505" y="1080"/>
                  <a:pt x="2501" y="1093"/>
                  <a:pt x="2501" y="1098"/>
                </a:cubicBezTo>
                <a:lnTo>
                  <a:pt x="2501" y="1100"/>
                </a:lnTo>
                <a:cubicBezTo>
                  <a:pt x="2501" y="1102"/>
                  <a:pt x="2500" y="1103"/>
                  <a:pt x="2498" y="1104"/>
                </a:cubicBezTo>
                <a:cubicBezTo>
                  <a:pt x="2497" y="1105"/>
                  <a:pt x="2496" y="1106"/>
                  <a:pt x="2496" y="1107"/>
                </a:cubicBezTo>
                <a:cubicBezTo>
                  <a:pt x="2496" y="1107"/>
                  <a:pt x="2496" y="1107"/>
                  <a:pt x="2497" y="1107"/>
                </a:cubicBezTo>
                <a:close/>
                <a:moveTo>
                  <a:pt x="2533" y="1137"/>
                </a:moveTo>
                <a:lnTo>
                  <a:pt x="2534" y="1137"/>
                </a:lnTo>
                <a:lnTo>
                  <a:pt x="2532" y="1133"/>
                </a:lnTo>
                <a:cubicBezTo>
                  <a:pt x="2532" y="1133"/>
                  <a:pt x="2533" y="1133"/>
                  <a:pt x="2534" y="1133"/>
                </a:cubicBezTo>
                <a:lnTo>
                  <a:pt x="2540" y="1134"/>
                </a:lnTo>
                <a:cubicBezTo>
                  <a:pt x="2541" y="1134"/>
                  <a:pt x="2541" y="1134"/>
                  <a:pt x="2541" y="1133"/>
                </a:cubicBezTo>
                <a:lnTo>
                  <a:pt x="2540" y="1129"/>
                </a:lnTo>
                <a:cubicBezTo>
                  <a:pt x="2540" y="1129"/>
                  <a:pt x="2540" y="1129"/>
                  <a:pt x="2540" y="1129"/>
                </a:cubicBezTo>
                <a:lnTo>
                  <a:pt x="2543" y="1130"/>
                </a:lnTo>
                <a:cubicBezTo>
                  <a:pt x="2548" y="1130"/>
                  <a:pt x="2555" y="1126"/>
                  <a:pt x="2566" y="1119"/>
                </a:cubicBezTo>
                <a:cubicBezTo>
                  <a:pt x="2577" y="1111"/>
                  <a:pt x="2587" y="1102"/>
                  <a:pt x="2597" y="1092"/>
                </a:cubicBezTo>
                <a:cubicBezTo>
                  <a:pt x="2606" y="1083"/>
                  <a:pt x="2613" y="1074"/>
                  <a:pt x="2619" y="1066"/>
                </a:cubicBezTo>
                <a:cubicBezTo>
                  <a:pt x="2626" y="1058"/>
                  <a:pt x="2629" y="1053"/>
                  <a:pt x="2629" y="1051"/>
                </a:cubicBezTo>
                <a:lnTo>
                  <a:pt x="2629" y="1050"/>
                </a:lnTo>
                <a:cubicBezTo>
                  <a:pt x="2629" y="1048"/>
                  <a:pt x="2632" y="1044"/>
                  <a:pt x="2637" y="1039"/>
                </a:cubicBezTo>
                <a:lnTo>
                  <a:pt x="2643" y="1033"/>
                </a:lnTo>
                <a:lnTo>
                  <a:pt x="2641" y="1034"/>
                </a:lnTo>
                <a:lnTo>
                  <a:pt x="2641" y="1033"/>
                </a:lnTo>
                <a:cubicBezTo>
                  <a:pt x="2641" y="1033"/>
                  <a:pt x="2641" y="1032"/>
                  <a:pt x="2641" y="1030"/>
                </a:cubicBezTo>
                <a:cubicBezTo>
                  <a:pt x="2642" y="1029"/>
                  <a:pt x="2643" y="1028"/>
                  <a:pt x="2644" y="1028"/>
                </a:cubicBezTo>
                <a:cubicBezTo>
                  <a:pt x="2645" y="1028"/>
                  <a:pt x="2646" y="1028"/>
                  <a:pt x="2648" y="1027"/>
                </a:cubicBezTo>
                <a:cubicBezTo>
                  <a:pt x="2649" y="1027"/>
                  <a:pt x="2650" y="1026"/>
                  <a:pt x="2650" y="1025"/>
                </a:cubicBezTo>
                <a:lnTo>
                  <a:pt x="2649" y="1025"/>
                </a:lnTo>
                <a:lnTo>
                  <a:pt x="2646" y="1027"/>
                </a:lnTo>
                <a:cubicBezTo>
                  <a:pt x="2646" y="1027"/>
                  <a:pt x="2645" y="1027"/>
                  <a:pt x="2645" y="1026"/>
                </a:cubicBezTo>
                <a:cubicBezTo>
                  <a:pt x="2645" y="1026"/>
                  <a:pt x="2646" y="1025"/>
                  <a:pt x="2646" y="1024"/>
                </a:cubicBezTo>
                <a:cubicBezTo>
                  <a:pt x="2647" y="1023"/>
                  <a:pt x="2648" y="1022"/>
                  <a:pt x="2649" y="1022"/>
                </a:cubicBezTo>
                <a:lnTo>
                  <a:pt x="2650" y="1022"/>
                </a:lnTo>
                <a:cubicBezTo>
                  <a:pt x="2651" y="1022"/>
                  <a:pt x="2652" y="1022"/>
                  <a:pt x="2652" y="1021"/>
                </a:cubicBezTo>
                <a:lnTo>
                  <a:pt x="2651" y="1021"/>
                </a:lnTo>
                <a:cubicBezTo>
                  <a:pt x="2651" y="1018"/>
                  <a:pt x="2656" y="1008"/>
                  <a:pt x="2666" y="990"/>
                </a:cubicBezTo>
                <a:cubicBezTo>
                  <a:pt x="2673" y="977"/>
                  <a:pt x="2681" y="963"/>
                  <a:pt x="2689" y="948"/>
                </a:cubicBezTo>
                <a:cubicBezTo>
                  <a:pt x="2708" y="912"/>
                  <a:pt x="2718" y="890"/>
                  <a:pt x="2721" y="881"/>
                </a:cubicBezTo>
                <a:lnTo>
                  <a:pt x="2725" y="871"/>
                </a:lnTo>
                <a:cubicBezTo>
                  <a:pt x="2725" y="871"/>
                  <a:pt x="2725" y="870"/>
                  <a:pt x="2724" y="870"/>
                </a:cubicBezTo>
                <a:cubicBezTo>
                  <a:pt x="2722" y="870"/>
                  <a:pt x="2712" y="877"/>
                  <a:pt x="2694" y="889"/>
                </a:cubicBezTo>
                <a:cubicBezTo>
                  <a:pt x="2685" y="895"/>
                  <a:pt x="2679" y="899"/>
                  <a:pt x="2678" y="899"/>
                </a:cubicBezTo>
                <a:cubicBezTo>
                  <a:pt x="2676" y="899"/>
                  <a:pt x="2674" y="901"/>
                  <a:pt x="2671" y="904"/>
                </a:cubicBezTo>
                <a:cubicBezTo>
                  <a:pt x="2668" y="907"/>
                  <a:pt x="2667" y="909"/>
                  <a:pt x="2667" y="910"/>
                </a:cubicBezTo>
                <a:cubicBezTo>
                  <a:pt x="2667" y="910"/>
                  <a:pt x="2667" y="911"/>
                  <a:pt x="2668" y="911"/>
                </a:cubicBezTo>
                <a:cubicBezTo>
                  <a:pt x="2669" y="911"/>
                  <a:pt x="2670" y="909"/>
                  <a:pt x="2672" y="907"/>
                </a:cubicBezTo>
                <a:cubicBezTo>
                  <a:pt x="2673" y="906"/>
                  <a:pt x="2674" y="906"/>
                  <a:pt x="2674" y="906"/>
                </a:cubicBezTo>
                <a:cubicBezTo>
                  <a:pt x="2675" y="906"/>
                  <a:pt x="2675" y="906"/>
                  <a:pt x="2675" y="906"/>
                </a:cubicBezTo>
                <a:lnTo>
                  <a:pt x="2675" y="906"/>
                </a:lnTo>
                <a:cubicBezTo>
                  <a:pt x="2675" y="906"/>
                  <a:pt x="2678" y="905"/>
                  <a:pt x="2682" y="901"/>
                </a:cubicBezTo>
                <a:cubicBezTo>
                  <a:pt x="2686" y="898"/>
                  <a:pt x="2689" y="896"/>
                  <a:pt x="2691" y="896"/>
                </a:cubicBezTo>
                <a:lnTo>
                  <a:pt x="2692" y="896"/>
                </a:lnTo>
                <a:cubicBezTo>
                  <a:pt x="2693" y="896"/>
                  <a:pt x="2693" y="895"/>
                  <a:pt x="2693" y="894"/>
                </a:cubicBezTo>
                <a:cubicBezTo>
                  <a:pt x="2693" y="893"/>
                  <a:pt x="2693" y="892"/>
                  <a:pt x="2694" y="892"/>
                </a:cubicBezTo>
                <a:lnTo>
                  <a:pt x="2695" y="893"/>
                </a:lnTo>
                <a:cubicBezTo>
                  <a:pt x="2696" y="893"/>
                  <a:pt x="2698" y="892"/>
                  <a:pt x="2700" y="889"/>
                </a:cubicBezTo>
                <a:cubicBezTo>
                  <a:pt x="2701" y="887"/>
                  <a:pt x="2703" y="886"/>
                  <a:pt x="2704" y="886"/>
                </a:cubicBezTo>
                <a:lnTo>
                  <a:pt x="2706" y="887"/>
                </a:lnTo>
                <a:cubicBezTo>
                  <a:pt x="2706" y="887"/>
                  <a:pt x="2707" y="886"/>
                  <a:pt x="2707" y="885"/>
                </a:cubicBezTo>
                <a:cubicBezTo>
                  <a:pt x="2707" y="884"/>
                  <a:pt x="2708" y="884"/>
                  <a:pt x="2709" y="884"/>
                </a:cubicBezTo>
                <a:lnTo>
                  <a:pt x="2710" y="884"/>
                </a:lnTo>
                <a:cubicBezTo>
                  <a:pt x="2711" y="884"/>
                  <a:pt x="2711" y="884"/>
                  <a:pt x="2711" y="883"/>
                </a:cubicBezTo>
                <a:cubicBezTo>
                  <a:pt x="2711" y="882"/>
                  <a:pt x="2712" y="882"/>
                  <a:pt x="2713" y="882"/>
                </a:cubicBezTo>
                <a:cubicBezTo>
                  <a:pt x="2714" y="882"/>
                  <a:pt x="2715" y="881"/>
                  <a:pt x="2716" y="881"/>
                </a:cubicBezTo>
                <a:lnTo>
                  <a:pt x="2716" y="881"/>
                </a:lnTo>
                <a:cubicBezTo>
                  <a:pt x="2716" y="882"/>
                  <a:pt x="2710" y="887"/>
                  <a:pt x="2698" y="895"/>
                </a:cubicBezTo>
                <a:cubicBezTo>
                  <a:pt x="2686" y="903"/>
                  <a:pt x="2674" y="911"/>
                  <a:pt x="2661" y="921"/>
                </a:cubicBezTo>
                <a:cubicBezTo>
                  <a:pt x="2649" y="931"/>
                  <a:pt x="2640" y="938"/>
                  <a:pt x="2636" y="942"/>
                </a:cubicBezTo>
                <a:cubicBezTo>
                  <a:pt x="2634" y="944"/>
                  <a:pt x="2631" y="947"/>
                  <a:pt x="2628" y="949"/>
                </a:cubicBezTo>
                <a:cubicBezTo>
                  <a:pt x="2625" y="952"/>
                  <a:pt x="2622" y="954"/>
                  <a:pt x="2619" y="956"/>
                </a:cubicBezTo>
                <a:cubicBezTo>
                  <a:pt x="2617" y="958"/>
                  <a:pt x="2615" y="959"/>
                  <a:pt x="2615" y="959"/>
                </a:cubicBezTo>
                <a:lnTo>
                  <a:pt x="2616" y="956"/>
                </a:lnTo>
                <a:lnTo>
                  <a:pt x="2614" y="958"/>
                </a:lnTo>
                <a:cubicBezTo>
                  <a:pt x="2613" y="958"/>
                  <a:pt x="2613" y="960"/>
                  <a:pt x="2613" y="960"/>
                </a:cubicBezTo>
                <a:cubicBezTo>
                  <a:pt x="2613" y="962"/>
                  <a:pt x="2612" y="963"/>
                  <a:pt x="2610" y="965"/>
                </a:cubicBezTo>
                <a:cubicBezTo>
                  <a:pt x="2609" y="967"/>
                  <a:pt x="2607" y="969"/>
                  <a:pt x="2605" y="971"/>
                </a:cubicBezTo>
                <a:cubicBezTo>
                  <a:pt x="2604" y="972"/>
                  <a:pt x="2602" y="973"/>
                  <a:pt x="2602" y="973"/>
                </a:cubicBezTo>
                <a:lnTo>
                  <a:pt x="2600" y="973"/>
                </a:lnTo>
                <a:lnTo>
                  <a:pt x="2600" y="974"/>
                </a:lnTo>
                <a:cubicBezTo>
                  <a:pt x="2600" y="975"/>
                  <a:pt x="2600" y="976"/>
                  <a:pt x="2599" y="978"/>
                </a:cubicBezTo>
                <a:cubicBezTo>
                  <a:pt x="2598" y="979"/>
                  <a:pt x="2596" y="981"/>
                  <a:pt x="2594" y="982"/>
                </a:cubicBezTo>
                <a:cubicBezTo>
                  <a:pt x="2592" y="984"/>
                  <a:pt x="2592" y="984"/>
                  <a:pt x="2591" y="984"/>
                </a:cubicBezTo>
                <a:lnTo>
                  <a:pt x="2592" y="983"/>
                </a:lnTo>
                <a:cubicBezTo>
                  <a:pt x="2594" y="981"/>
                  <a:pt x="2595" y="980"/>
                  <a:pt x="2595" y="979"/>
                </a:cubicBezTo>
                <a:lnTo>
                  <a:pt x="2594" y="979"/>
                </a:lnTo>
                <a:cubicBezTo>
                  <a:pt x="2593" y="979"/>
                  <a:pt x="2592" y="981"/>
                  <a:pt x="2589" y="984"/>
                </a:cubicBezTo>
                <a:cubicBezTo>
                  <a:pt x="2587" y="986"/>
                  <a:pt x="2586" y="987"/>
                  <a:pt x="2586" y="987"/>
                </a:cubicBezTo>
                <a:lnTo>
                  <a:pt x="2586" y="988"/>
                </a:lnTo>
                <a:lnTo>
                  <a:pt x="2587" y="987"/>
                </a:lnTo>
                <a:cubicBezTo>
                  <a:pt x="2588" y="987"/>
                  <a:pt x="2589" y="986"/>
                  <a:pt x="2589" y="986"/>
                </a:cubicBezTo>
                <a:lnTo>
                  <a:pt x="2590" y="987"/>
                </a:lnTo>
                <a:cubicBezTo>
                  <a:pt x="2590" y="987"/>
                  <a:pt x="2589" y="988"/>
                  <a:pt x="2588" y="990"/>
                </a:cubicBezTo>
                <a:cubicBezTo>
                  <a:pt x="2587" y="991"/>
                  <a:pt x="2586" y="993"/>
                  <a:pt x="2584" y="995"/>
                </a:cubicBezTo>
                <a:cubicBezTo>
                  <a:pt x="2582" y="996"/>
                  <a:pt x="2581" y="997"/>
                  <a:pt x="2581" y="997"/>
                </a:cubicBezTo>
                <a:lnTo>
                  <a:pt x="2585" y="991"/>
                </a:lnTo>
                <a:lnTo>
                  <a:pt x="2584" y="990"/>
                </a:lnTo>
                <a:cubicBezTo>
                  <a:pt x="2584" y="990"/>
                  <a:pt x="2582" y="992"/>
                  <a:pt x="2579" y="995"/>
                </a:cubicBezTo>
                <a:cubicBezTo>
                  <a:pt x="2577" y="997"/>
                  <a:pt x="2576" y="999"/>
                  <a:pt x="2576" y="999"/>
                </a:cubicBezTo>
                <a:lnTo>
                  <a:pt x="2579" y="998"/>
                </a:lnTo>
                <a:cubicBezTo>
                  <a:pt x="2580" y="998"/>
                  <a:pt x="2580" y="999"/>
                  <a:pt x="2580" y="1000"/>
                </a:cubicBezTo>
                <a:cubicBezTo>
                  <a:pt x="2580" y="1000"/>
                  <a:pt x="2579" y="1001"/>
                  <a:pt x="2579" y="1002"/>
                </a:cubicBezTo>
                <a:cubicBezTo>
                  <a:pt x="2578" y="1003"/>
                  <a:pt x="2577" y="1004"/>
                  <a:pt x="2576" y="1004"/>
                </a:cubicBezTo>
                <a:cubicBezTo>
                  <a:pt x="2575" y="1005"/>
                  <a:pt x="2574" y="1005"/>
                  <a:pt x="2574" y="1005"/>
                </a:cubicBezTo>
                <a:lnTo>
                  <a:pt x="2572" y="1005"/>
                </a:lnTo>
                <a:cubicBezTo>
                  <a:pt x="2571" y="1005"/>
                  <a:pt x="2571" y="1005"/>
                  <a:pt x="2570" y="1006"/>
                </a:cubicBezTo>
                <a:cubicBezTo>
                  <a:pt x="2569" y="1007"/>
                  <a:pt x="2569" y="1008"/>
                  <a:pt x="2569" y="1008"/>
                </a:cubicBezTo>
                <a:lnTo>
                  <a:pt x="2569" y="1009"/>
                </a:lnTo>
                <a:lnTo>
                  <a:pt x="2572" y="1007"/>
                </a:lnTo>
                <a:cubicBezTo>
                  <a:pt x="2572" y="1007"/>
                  <a:pt x="2572" y="1007"/>
                  <a:pt x="2572" y="1007"/>
                </a:cubicBezTo>
                <a:lnTo>
                  <a:pt x="2572" y="1009"/>
                </a:lnTo>
                <a:cubicBezTo>
                  <a:pt x="2571" y="1011"/>
                  <a:pt x="2571" y="1012"/>
                  <a:pt x="2569" y="1012"/>
                </a:cubicBezTo>
                <a:cubicBezTo>
                  <a:pt x="2568" y="1012"/>
                  <a:pt x="2567" y="1012"/>
                  <a:pt x="2566" y="1013"/>
                </a:cubicBezTo>
                <a:cubicBezTo>
                  <a:pt x="2564" y="1014"/>
                  <a:pt x="2564" y="1014"/>
                  <a:pt x="2564" y="1015"/>
                </a:cubicBezTo>
                <a:lnTo>
                  <a:pt x="2567" y="1014"/>
                </a:lnTo>
                <a:cubicBezTo>
                  <a:pt x="2567" y="1014"/>
                  <a:pt x="2568" y="1014"/>
                  <a:pt x="2568" y="1015"/>
                </a:cubicBezTo>
                <a:cubicBezTo>
                  <a:pt x="2568" y="1017"/>
                  <a:pt x="2567" y="1018"/>
                  <a:pt x="2565" y="1019"/>
                </a:cubicBezTo>
                <a:cubicBezTo>
                  <a:pt x="2564" y="1021"/>
                  <a:pt x="2562" y="1021"/>
                  <a:pt x="2561" y="1021"/>
                </a:cubicBezTo>
                <a:cubicBezTo>
                  <a:pt x="2561" y="1021"/>
                  <a:pt x="2560" y="1021"/>
                  <a:pt x="2560" y="1021"/>
                </a:cubicBezTo>
                <a:lnTo>
                  <a:pt x="2559" y="1020"/>
                </a:lnTo>
                <a:lnTo>
                  <a:pt x="2560" y="1022"/>
                </a:lnTo>
                <a:cubicBezTo>
                  <a:pt x="2560" y="1025"/>
                  <a:pt x="2558" y="1029"/>
                  <a:pt x="2555" y="1033"/>
                </a:cubicBezTo>
                <a:cubicBezTo>
                  <a:pt x="2544" y="1049"/>
                  <a:pt x="2536" y="1064"/>
                  <a:pt x="2529" y="1080"/>
                </a:cubicBezTo>
                <a:cubicBezTo>
                  <a:pt x="2523" y="1095"/>
                  <a:pt x="2520" y="1107"/>
                  <a:pt x="2519" y="1118"/>
                </a:cubicBezTo>
                <a:cubicBezTo>
                  <a:pt x="2519" y="1125"/>
                  <a:pt x="2520" y="1129"/>
                  <a:pt x="2520" y="1131"/>
                </a:cubicBezTo>
                <a:cubicBezTo>
                  <a:pt x="2520" y="1133"/>
                  <a:pt x="2522" y="1134"/>
                  <a:pt x="2524" y="1134"/>
                </a:cubicBezTo>
                <a:lnTo>
                  <a:pt x="2529" y="1134"/>
                </a:lnTo>
                <a:cubicBezTo>
                  <a:pt x="2530" y="1134"/>
                  <a:pt x="2531" y="1134"/>
                  <a:pt x="2531" y="1136"/>
                </a:cubicBezTo>
                <a:cubicBezTo>
                  <a:pt x="2532" y="1137"/>
                  <a:pt x="2532" y="1137"/>
                  <a:pt x="2533" y="1137"/>
                </a:cubicBezTo>
                <a:close/>
                <a:moveTo>
                  <a:pt x="2550" y="1152"/>
                </a:moveTo>
                <a:cubicBezTo>
                  <a:pt x="2553" y="1152"/>
                  <a:pt x="2557" y="1152"/>
                  <a:pt x="2561" y="1151"/>
                </a:cubicBezTo>
                <a:cubicBezTo>
                  <a:pt x="2564" y="1150"/>
                  <a:pt x="2567" y="1149"/>
                  <a:pt x="2567" y="1149"/>
                </a:cubicBezTo>
                <a:cubicBezTo>
                  <a:pt x="2567" y="1148"/>
                  <a:pt x="2568" y="1147"/>
                  <a:pt x="2569" y="1147"/>
                </a:cubicBezTo>
                <a:cubicBezTo>
                  <a:pt x="2569" y="1147"/>
                  <a:pt x="2570" y="1148"/>
                  <a:pt x="2570" y="1148"/>
                </a:cubicBezTo>
                <a:cubicBezTo>
                  <a:pt x="2571" y="1148"/>
                  <a:pt x="2571" y="1149"/>
                  <a:pt x="2572" y="1149"/>
                </a:cubicBezTo>
                <a:lnTo>
                  <a:pt x="2572" y="1148"/>
                </a:lnTo>
                <a:cubicBezTo>
                  <a:pt x="2572" y="1148"/>
                  <a:pt x="2571" y="1147"/>
                  <a:pt x="2570" y="1146"/>
                </a:cubicBezTo>
                <a:cubicBezTo>
                  <a:pt x="2569" y="1144"/>
                  <a:pt x="2569" y="1143"/>
                  <a:pt x="2569" y="1142"/>
                </a:cubicBezTo>
                <a:lnTo>
                  <a:pt x="2572" y="1143"/>
                </a:lnTo>
                <a:cubicBezTo>
                  <a:pt x="2574" y="1143"/>
                  <a:pt x="2576" y="1143"/>
                  <a:pt x="2578" y="1142"/>
                </a:cubicBezTo>
                <a:cubicBezTo>
                  <a:pt x="2582" y="1139"/>
                  <a:pt x="2585" y="1137"/>
                  <a:pt x="2585" y="1134"/>
                </a:cubicBezTo>
                <a:cubicBezTo>
                  <a:pt x="2586" y="1132"/>
                  <a:pt x="2588" y="1130"/>
                  <a:pt x="2591" y="1129"/>
                </a:cubicBezTo>
                <a:cubicBezTo>
                  <a:pt x="2594" y="1127"/>
                  <a:pt x="2595" y="1126"/>
                  <a:pt x="2596" y="1126"/>
                </a:cubicBezTo>
                <a:lnTo>
                  <a:pt x="2591" y="1130"/>
                </a:lnTo>
                <a:cubicBezTo>
                  <a:pt x="2588" y="1132"/>
                  <a:pt x="2587" y="1134"/>
                  <a:pt x="2587" y="1134"/>
                </a:cubicBezTo>
                <a:lnTo>
                  <a:pt x="2587" y="1135"/>
                </a:lnTo>
                <a:cubicBezTo>
                  <a:pt x="2590" y="1135"/>
                  <a:pt x="2599" y="1128"/>
                  <a:pt x="2614" y="1113"/>
                </a:cubicBezTo>
                <a:cubicBezTo>
                  <a:pt x="2629" y="1099"/>
                  <a:pt x="2638" y="1090"/>
                  <a:pt x="2638" y="1087"/>
                </a:cubicBezTo>
                <a:cubicBezTo>
                  <a:pt x="2637" y="1087"/>
                  <a:pt x="2632" y="1092"/>
                  <a:pt x="2623" y="1100"/>
                </a:cubicBezTo>
                <a:cubicBezTo>
                  <a:pt x="2617" y="1107"/>
                  <a:pt x="2614" y="1110"/>
                  <a:pt x="2613" y="1110"/>
                </a:cubicBezTo>
                <a:lnTo>
                  <a:pt x="2614" y="1109"/>
                </a:lnTo>
                <a:cubicBezTo>
                  <a:pt x="2616" y="1105"/>
                  <a:pt x="2621" y="1100"/>
                  <a:pt x="2629" y="1093"/>
                </a:cubicBezTo>
                <a:cubicBezTo>
                  <a:pt x="2634" y="1087"/>
                  <a:pt x="2638" y="1081"/>
                  <a:pt x="2643" y="1075"/>
                </a:cubicBezTo>
                <a:cubicBezTo>
                  <a:pt x="2646" y="1071"/>
                  <a:pt x="2647" y="1070"/>
                  <a:pt x="2648" y="1070"/>
                </a:cubicBezTo>
                <a:cubicBezTo>
                  <a:pt x="2648" y="1070"/>
                  <a:pt x="2648" y="1070"/>
                  <a:pt x="2648" y="1070"/>
                </a:cubicBezTo>
                <a:lnTo>
                  <a:pt x="2648" y="1071"/>
                </a:lnTo>
                <a:cubicBezTo>
                  <a:pt x="2648" y="1072"/>
                  <a:pt x="2649" y="1072"/>
                  <a:pt x="2649" y="1072"/>
                </a:cubicBezTo>
                <a:lnTo>
                  <a:pt x="2650" y="1072"/>
                </a:lnTo>
                <a:cubicBezTo>
                  <a:pt x="2651" y="1071"/>
                  <a:pt x="2652" y="1070"/>
                  <a:pt x="2652" y="1069"/>
                </a:cubicBezTo>
                <a:cubicBezTo>
                  <a:pt x="2652" y="1068"/>
                  <a:pt x="2651" y="1067"/>
                  <a:pt x="2651" y="1066"/>
                </a:cubicBezTo>
                <a:cubicBezTo>
                  <a:pt x="2650" y="1064"/>
                  <a:pt x="2649" y="1063"/>
                  <a:pt x="2648" y="1063"/>
                </a:cubicBezTo>
                <a:cubicBezTo>
                  <a:pt x="2647" y="1063"/>
                  <a:pt x="2645" y="1066"/>
                  <a:pt x="2643" y="1071"/>
                </a:cubicBezTo>
                <a:cubicBezTo>
                  <a:pt x="2636" y="1082"/>
                  <a:pt x="2624" y="1095"/>
                  <a:pt x="2607" y="1108"/>
                </a:cubicBezTo>
                <a:cubicBezTo>
                  <a:pt x="2590" y="1122"/>
                  <a:pt x="2572" y="1133"/>
                  <a:pt x="2554" y="1142"/>
                </a:cubicBezTo>
                <a:cubicBezTo>
                  <a:pt x="2544" y="1146"/>
                  <a:pt x="2539" y="1149"/>
                  <a:pt x="2539" y="1151"/>
                </a:cubicBezTo>
                <a:cubicBezTo>
                  <a:pt x="2539" y="1152"/>
                  <a:pt x="2543" y="1152"/>
                  <a:pt x="2550" y="1152"/>
                </a:cubicBezTo>
                <a:close/>
                <a:moveTo>
                  <a:pt x="2654" y="1066"/>
                </a:moveTo>
                <a:cubicBezTo>
                  <a:pt x="2655" y="1066"/>
                  <a:pt x="2655" y="1066"/>
                  <a:pt x="2655" y="1065"/>
                </a:cubicBezTo>
                <a:lnTo>
                  <a:pt x="2654" y="1062"/>
                </a:lnTo>
                <a:cubicBezTo>
                  <a:pt x="2654" y="1060"/>
                  <a:pt x="2655" y="1060"/>
                  <a:pt x="2657" y="1059"/>
                </a:cubicBezTo>
                <a:cubicBezTo>
                  <a:pt x="2659" y="1059"/>
                  <a:pt x="2663" y="1054"/>
                  <a:pt x="2669" y="1044"/>
                </a:cubicBezTo>
                <a:cubicBezTo>
                  <a:pt x="2675" y="1034"/>
                  <a:pt x="2679" y="1029"/>
                  <a:pt x="2680" y="1029"/>
                </a:cubicBezTo>
                <a:lnTo>
                  <a:pt x="2681" y="1029"/>
                </a:lnTo>
                <a:lnTo>
                  <a:pt x="2681" y="1026"/>
                </a:lnTo>
                <a:cubicBezTo>
                  <a:pt x="2681" y="1023"/>
                  <a:pt x="2682" y="1021"/>
                  <a:pt x="2685" y="1019"/>
                </a:cubicBezTo>
                <a:cubicBezTo>
                  <a:pt x="2687" y="1016"/>
                  <a:pt x="2688" y="1014"/>
                  <a:pt x="2688" y="1012"/>
                </a:cubicBezTo>
                <a:lnTo>
                  <a:pt x="2688" y="1009"/>
                </a:lnTo>
                <a:lnTo>
                  <a:pt x="2688" y="1009"/>
                </a:lnTo>
                <a:lnTo>
                  <a:pt x="2692" y="1011"/>
                </a:lnTo>
                <a:lnTo>
                  <a:pt x="2691" y="1009"/>
                </a:lnTo>
                <a:cubicBezTo>
                  <a:pt x="2691" y="1008"/>
                  <a:pt x="2692" y="1007"/>
                  <a:pt x="2693" y="1006"/>
                </a:cubicBezTo>
                <a:cubicBezTo>
                  <a:pt x="2694" y="1004"/>
                  <a:pt x="2695" y="1004"/>
                  <a:pt x="2696" y="1004"/>
                </a:cubicBezTo>
                <a:cubicBezTo>
                  <a:pt x="2696" y="1004"/>
                  <a:pt x="2698" y="1005"/>
                  <a:pt x="2699" y="1006"/>
                </a:cubicBezTo>
                <a:cubicBezTo>
                  <a:pt x="2700" y="1008"/>
                  <a:pt x="2700" y="1009"/>
                  <a:pt x="2700" y="1009"/>
                </a:cubicBezTo>
                <a:lnTo>
                  <a:pt x="2700" y="1003"/>
                </a:lnTo>
                <a:cubicBezTo>
                  <a:pt x="2700" y="1003"/>
                  <a:pt x="2700" y="1002"/>
                  <a:pt x="2700" y="1002"/>
                </a:cubicBezTo>
                <a:lnTo>
                  <a:pt x="2702" y="1003"/>
                </a:lnTo>
                <a:cubicBezTo>
                  <a:pt x="2703" y="1003"/>
                  <a:pt x="2703" y="1003"/>
                  <a:pt x="2703" y="1002"/>
                </a:cubicBezTo>
                <a:lnTo>
                  <a:pt x="2702" y="998"/>
                </a:lnTo>
                <a:cubicBezTo>
                  <a:pt x="2702" y="998"/>
                  <a:pt x="2702" y="998"/>
                  <a:pt x="2702" y="998"/>
                </a:cubicBezTo>
                <a:lnTo>
                  <a:pt x="2705" y="999"/>
                </a:lnTo>
                <a:cubicBezTo>
                  <a:pt x="2705" y="999"/>
                  <a:pt x="2705" y="999"/>
                  <a:pt x="2705" y="998"/>
                </a:cubicBezTo>
                <a:cubicBezTo>
                  <a:pt x="2705" y="998"/>
                  <a:pt x="2705" y="997"/>
                  <a:pt x="2705" y="996"/>
                </a:cubicBezTo>
                <a:cubicBezTo>
                  <a:pt x="2705" y="995"/>
                  <a:pt x="2705" y="994"/>
                  <a:pt x="2704" y="994"/>
                </a:cubicBezTo>
                <a:cubicBezTo>
                  <a:pt x="2703" y="994"/>
                  <a:pt x="2702" y="995"/>
                  <a:pt x="2701" y="997"/>
                </a:cubicBezTo>
                <a:cubicBezTo>
                  <a:pt x="2699" y="999"/>
                  <a:pt x="2698" y="1000"/>
                  <a:pt x="2698" y="1000"/>
                </a:cubicBezTo>
                <a:lnTo>
                  <a:pt x="2699" y="995"/>
                </a:lnTo>
                <a:cubicBezTo>
                  <a:pt x="2700" y="992"/>
                  <a:pt x="2702" y="990"/>
                  <a:pt x="2704" y="990"/>
                </a:cubicBezTo>
                <a:cubicBezTo>
                  <a:pt x="2705" y="990"/>
                  <a:pt x="2707" y="989"/>
                  <a:pt x="2708" y="986"/>
                </a:cubicBezTo>
                <a:cubicBezTo>
                  <a:pt x="2709" y="984"/>
                  <a:pt x="2710" y="982"/>
                  <a:pt x="2711" y="982"/>
                </a:cubicBezTo>
                <a:lnTo>
                  <a:pt x="2712" y="983"/>
                </a:lnTo>
                <a:cubicBezTo>
                  <a:pt x="2713" y="983"/>
                  <a:pt x="2713" y="982"/>
                  <a:pt x="2713" y="981"/>
                </a:cubicBezTo>
                <a:lnTo>
                  <a:pt x="2712" y="978"/>
                </a:lnTo>
                <a:cubicBezTo>
                  <a:pt x="2712" y="978"/>
                  <a:pt x="2713" y="977"/>
                  <a:pt x="2713" y="977"/>
                </a:cubicBezTo>
                <a:lnTo>
                  <a:pt x="2715" y="978"/>
                </a:lnTo>
                <a:cubicBezTo>
                  <a:pt x="2716" y="978"/>
                  <a:pt x="2716" y="978"/>
                  <a:pt x="2716" y="977"/>
                </a:cubicBezTo>
                <a:lnTo>
                  <a:pt x="2715" y="973"/>
                </a:lnTo>
                <a:cubicBezTo>
                  <a:pt x="2715" y="973"/>
                  <a:pt x="2715" y="973"/>
                  <a:pt x="2715" y="973"/>
                </a:cubicBezTo>
                <a:lnTo>
                  <a:pt x="2718" y="974"/>
                </a:lnTo>
                <a:cubicBezTo>
                  <a:pt x="2718" y="974"/>
                  <a:pt x="2719" y="974"/>
                  <a:pt x="2719" y="974"/>
                </a:cubicBezTo>
                <a:lnTo>
                  <a:pt x="2718" y="973"/>
                </a:lnTo>
                <a:cubicBezTo>
                  <a:pt x="2718" y="972"/>
                  <a:pt x="2718" y="971"/>
                  <a:pt x="2718" y="970"/>
                </a:cubicBezTo>
                <a:cubicBezTo>
                  <a:pt x="2718" y="968"/>
                  <a:pt x="2718" y="966"/>
                  <a:pt x="2719" y="965"/>
                </a:cubicBezTo>
                <a:cubicBezTo>
                  <a:pt x="2720" y="963"/>
                  <a:pt x="2721" y="962"/>
                  <a:pt x="2722" y="962"/>
                </a:cubicBezTo>
                <a:lnTo>
                  <a:pt x="2724" y="963"/>
                </a:lnTo>
                <a:lnTo>
                  <a:pt x="2724" y="962"/>
                </a:lnTo>
                <a:lnTo>
                  <a:pt x="2723" y="957"/>
                </a:lnTo>
                <a:cubicBezTo>
                  <a:pt x="2723" y="955"/>
                  <a:pt x="2724" y="954"/>
                  <a:pt x="2725" y="953"/>
                </a:cubicBezTo>
                <a:cubicBezTo>
                  <a:pt x="2726" y="951"/>
                  <a:pt x="2726" y="951"/>
                  <a:pt x="2727" y="951"/>
                </a:cubicBezTo>
                <a:lnTo>
                  <a:pt x="2729" y="951"/>
                </a:lnTo>
                <a:cubicBezTo>
                  <a:pt x="2729" y="951"/>
                  <a:pt x="2729" y="951"/>
                  <a:pt x="2729" y="950"/>
                </a:cubicBezTo>
                <a:lnTo>
                  <a:pt x="2729" y="945"/>
                </a:lnTo>
                <a:cubicBezTo>
                  <a:pt x="2729" y="944"/>
                  <a:pt x="2729" y="943"/>
                  <a:pt x="2729" y="943"/>
                </a:cubicBezTo>
                <a:lnTo>
                  <a:pt x="2730" y="943"/>
                </a:lnTo>
                <a:cubicBezTo>
                  <a:pt x="2731" y="943"/>
                  <a:pt x="2731" y="943"/>
                  <a:pt x="2731" y="942"/>
                </a:cubicBezTo>
                <a:lnTo>
                  <a:pt x="2731" y="938"/>
                </a:lnTo>
                <a:cubicBezTo>
                  <a:pt x="2731" y="936"/>
                  <a:pt x="2731" y="936"/>
                  <a:pt x="2731" y="936"/>
                </a:cubicBezTo>
                <a:lnTo>
                  <a:pt x="2733" y="937"/>
                </a:lnTo>
                <a:cubicBezTo>
                  <a:pt x="2734" y="937"/>
                  <a:pt x="2734" y="936"/>
                  <a:pt x="2734" y="936"/>
                </a:cubicBezTo>
                <a:lnTo>
                  <a:pt x="2734" y="933"/>
                </a:lnTo>
                <a:cubicBezTo>
                  <a:pt x="2734" y="931"/>
                  <a:pt x="2735" y="931"/>
                  <a:pt x="2736" y="931"/>
                </a:cubicBezTo>
                <a:cubicBezTo>
                  <a:pt x="2737" y="931"/>
                  <a:pt x="2737" y="930"/>
                  <a:pt x="2737" y="930"/>
                </a:cubicBezTo>
                <a:lnTo>
                  <a:pt x="2737" y="928"/>
                </a:lnTo>
                <a:cubicBezTo>
                  <a:pt x="2737" y="927"/>
                  <a:pt x="2737" y="926"/>
                  <a:pt x="2738" y="926"/>
                </a:cubicBezTo>
                <a:cubicBezTo>
                  <a:pt x="2739" y="926"/>
                  <a:pt x="2739" y="926"/>
                  <a:pt x="2739" y="924"/>
                </a:cubicBezTo>
                <a:lnTo>
                  <a:pt x="2739" y="921"/>
                </a:lnTo>
                <a:cubicBezTo>
                  <a:pt x="2739" y="921"/>
                  <a:pt x="2740" y="920"/>
                  <a:pt x="2741" y="920"/>
                </a:cubicBezTo>
                <a:cubicBezTo>
                  <a:pt x="2742" y="920"/>
                  <a:pt x="2742" y="919"/>
                  <a:pt x="2742" y="918"/>
                </a:cubicBezTo>
                <a:lnTo>
                  <a:pt x="2742" y="914"/>
                </a:lnTo>
                <a:cubicBezTo>
                  <a:pt x="2742" y="913"/>
                  <a:pt x="2743" y="912"/>
                  <a:pt x="2744" y="912"/>
                </a:cubicBezTo>
                <a:cubicBezTo>
                  <a:pt x="2745" y="912"/>
                  <a:pt x="2745" y="911"/>
                  <a:pt x="2745" y="910"/>
                </a:cubicBezTo>
                <a:lnTo>
                  <a:pt x="2745" y="907"/>
                </a:lnTo>
                <a:cubicBezTo>
                  <a:pt x="2745" y="906"/>
                  <a:pt x="2745" y="905"/>
                  <a:pt x="2746" y="905"/>
                </a:cubicBezTo>
                <a:cubicBezTo>
                  <a:pt x="2747" y="905"/>
                  <a:pt x="2747" y="905"/>
                  <a:pt x="2747" y="903"/>
                </a:cubicBezTo>
                <a:lnTo>
                  <a:pt x="2747" y="902"/>
                </a:lnTo>
                <a:cubicBezTo>
                  <a:pt x="2747" y="900"/>
                  <a:pt x="2748" y="899"/>
                  <a:pt x="2749" y="899"/>
                </a:cubicBezTo>
                <a:cubicBezTo>
                  <a:pt x="2750" y="899"/>
                  <a:pt x="2750" y="898"/>
                  <a:pt x="2751" y="897"/>
                </a:cubicBezTo>
                <a:lnTo>
                  <a:pt x="2750" y="896"/>
                </a:lnTo>
                <a:cubicBezTo>
                  <a:pt x="2750" y="895"/>
                  <a:pt x="2751" y="894"/>
                  <a:pt x="2752" y="894"/>
                </a:cubicBezTo>
                <a:cubicBezTo>
                  <a:pt x="2753" y="894"/>
                  <a:pt x="2754" y="893"/>
                  <a:pt x="2754" y="892"/>
                </a:cubicBezTo>
                <a:lnTo>
                  <a:pt x="2754" y="889"/>
                </a:lnTo>
                <a:cubicBezTo>
                  <a:pt x="2754" y="888"/>
                  <a:pt x="2754" y="887"/>
                  <a:pt x="2755" y="887"/>
                </a:cubicBezTo>
                <a:cubicBezTo>
                  <a:pt x="2756" y="887"/>
                  <a:pt x="2756" y="887"/>
                  <a:pt x="2756" y="885"/>
                </a:cubicBezTo>
                <a:lnTo>
                  <a:pt x="2756" y="883"/>
                </a:lnTo>
                <a:cubicBezTo>
                  <a:pt x="2756" y="881"/>
                  <a:pt x="2757" y="880"/>
                  <a:pt x="2758" y="880"/>
                </a:cubicBezTo>
                <a:cubicBezTo>
                  <a:pt x="2759" y="879"/>
                  <a:pt x="2762" y="873"/>
                  <a:pt x="2766" y="860"/>
                </a:cubicBezTo>
                <a:cubicBezTo>
                  <a:pt x="2770" y="851"/>
                  <a:pt x="2771" y="846"/>
                  <a:pt x="2771" y="844"/>
                </a:cubicBezTo>
                <a:lnTo>
                  <a:pt x="2771" y="844"/>
                </a:lnTo>
                <a:cubicBezTo>
                  <a:pt x="2771" y="844"/>
                  <a:pt x="2770" y="844"/>
                  <a:pt x="2770" y="845"/>
                </a:cubicBezTo>
                <a:cubicBezTo>
                  <a:pt x="2769" y="846"/>
                  <a:pt x="2768" y="847"/>
                  <a:pt x="2767" y="848"/>
                </a:cubicBezTo>
                <a:cubicBezTo>
                  <a:pt x="2767" y="848"/>
                  <a:pt x="2766" y="849"/>
                  <a:pt x="2765" y="849"/>
                </a:cubicBezTo>
                <a:lnTo>
                  <a:pt x="2763" y="848"/>
                </a:lnTo>
                <a:cubicBezTo>
                  <a:pt x="2762" y="848"/>
                  <a:pt x="2761" y="849"/>
                  <a:pt x="2761" y="850"/>
                </a:cubicBezTo>
                <a:lnTo>
                  <a:pt x="2761" y="852"/>
                </a:lnTo>
                <a:cubicBezTo>
                  <a:pt x="2761" y="853"/>
                  <a:pt x="2760" y="853"/>
                  <a:pt x="2759" y="853"/>
                </a:cubicBezTo>
                <a:cubicBezTo>
                  <a:pt x="2758" y="853"/>
                  <a:pt x="2758" y="854"/>
                  <a:pt x="2757" y="855"/>
                </a:cubicBezTo>
                <a:cubicBezTo>
                  <a:pt x="2757" y="856"/>
                  <a:pt x="2758" y="857"/>
                  <a:pt x="2758" y="857"/>
                </a:cubicBezTo>
                <a:lnTo>
                  <a:pt x="2761" y="856"/>
                </a:lnTo>
                <a:lnTo>
                  <a:pt x="2759" y="858"/>
                </a:lnTo>
                <a:cubicBezTo>
                  <a:pt x="2756" y="860"/>
                  <a:pt x="2752" y="868"/>
                  <a:pt x="2747" y="881"/>
                </a:cubicBezTo>
                <a:cubicBezTo>
                  <a:pt x="2729" y="923"/>
                  <a:pt x="2718" y="948"/>
                  <a:pt x="2715" y="955"/>
                </a:cubicBezTo>
                <a:cubicBezTo>
                  <a:pt x="2711" y="962"/>
                  <a:pt x="2709" y="965"/>
                  <a:pt x="2709" y="966"/>
                </a:cubicBezTo>
                <a:cubicBezTo>
                  <a:pt x="2709" y="966"/>
                  <a:pt x="2708" y="968"/>
                  <a:pt x="2707" y="971"/>
                </a:cubicBezTo>
                <a:cubicBezTo>
                  <a:pt x="2705" y="973"/>
                  <a:pt x="2704" y="976"/>
                  <a:pt x="2702" y="980"/>
                </a:cubicBezTo>
                <a:cubicBezTo>
                  <a:pt x="2698" y="988"/>
                  <a:pt x="2696" y="993"/>
                  <a:pt x="2696" y="995"/>
                </a:cubicBezTo>
                <a:cubicBezTo>
                  <a:pt x="2696" y="997"/>
                  <a:pt x="2695" y="997"/>
                  <a:pt x="2694" y="997"/>
                </a:cubicBezTo>
                <a:cubicBezTo>
                  <a:pt x="2692" y="997"/>
                  <a:pt x="2688" y="1004"/>
                  <a:pt x="2682" y="1017"/>
                </a:cubicBezTo>
                <a:cubicBezTo>
                  <a:pt x="2676" y="1029"/>
                  <a:pt x="2671" y="1035"/>
                  <a:pt x="2669" y="1035"/>
                </a:cubicBezTo>
                <a:lnTo>
                  <a:pt x="2668" y="1035"/>
                </a:lnTo>
                <a:cubicBezTo>
                  <a:pt x="2667" y="1035"/>
                  <a:pt x="2666" y="1036"/>
                  <a:pt x="2666" y="1036"/>
                </a:cubicBezTo>
                <a:cubicBezTo>
                  <a:pt x="2666" y="1038"/>
                  <a:pt x="2666" y="1038"/>
                  <a:pt x="2668" y="1039"/>
                </a:cubicBezTo>
                <a:cubicBezTo>
                  <a:pt x="2669" y="1039"/>
                  <a:pt x="2669" y="1039"/>
                  <a:pt x="2669" y="1039"/>
                </a:cubicBezTo>
                <a:cubicBezTo>
                  <a:pt x="2669" y="1040"/>
                  <a:pt x="2669" y="1041"/>
                  <a:pt x="2667" y="1042"/>
                </a:cubicBezTo>
                <a:cubicBezTo>
                  <a:pt x="2665" y="1046"/>
                  <a:pt x="2663" y="1049"/>
                  <a:pt x="2662" y="1052"/>
                </a:cubicBezTo>
                <a:cubicBezTo>
                  <a:pt x="2660" y="1055"/>
                  <a:pt x="2659" y="1056"/>
                  <a:pt x="2658" y="1056"/>
                </a:cubicBezTo>
                <a:lnTo>
                  <a:pt x="2655" y="1056"/>
                </a:lnTo>
                <a:cubicBezTo>
                  <a:pt x="2653" y="1056"/>
                  <a:pt x="2652" y="1057"/>
                  <a:pt x="2652" y="1060"/>
                </a:cubicBezTo>
                <a:cubicBezTo>
                  <a:pt x="2652" y="1061"/>
                  <a:pt x="2652" y="1063"/>
                  <a:pt x="2653" y="1064"/>
                </a:cubicBezTo>
                <a:cubicBezTo>
                  <a:pt x="2653" y="1066"/>
                  <a:pt x="2654" y="1066"/>
                  <a:pt x="2654" y="1066"/>
                </a:cubicBezTo>
                <a:close/>
                <a:moveTo>
                  <a:pt x="2765" y="841"/>
                </a:moveTo>
                <a:lnTo>
                  <a:pt x="2770" y="839"/>
                </a:lnTo>
                <a:cubicBezTo>
                  <a:pt x="2774" y="837"/>
                  <a:pt x="2776" y="836"/>
                  <a:pt x="2776" y="835"/>
                </a:cubicBezTo>
                <a:lnTo>
                  <a:pt x="2776" y="834"/>
                </a:lnTo>
                <a:cubicBezTo>
                  <a:pt x="2776" y="834"/>
                  <a:pt x="2776" y="834"/>
                  <a:pt x="2776" y="834"/>
                </a:cubicBezTo>
                <a:cubicBezTo>
                  <a:pt x="2775" y="834"/>
                  <a:pt x="2773" y="835"/>
                  <a:pt x="2771" y="836"/>
                </a:cubicBezTo>
                <a:cubicBezTo>
                  <a:pt x="2767" y="838"/>
                  <a:pt x="2765" y="840"/>
                  <a:pt x="2765" y="841"/>
                </a:cubicBezTo>
                <a:close/>
                <a:moveTo>
                  <a:pt x="2780" y="811"/>
                </a:moveTo>
                <a:cubicBezTo>
                  <a:pt x="2781" y="811"/>
                  <a:pt x="2782" y="811"/>
                  <a:pt x="2783" y="810"/>
                </a:cubicBezTo>
                <a:cubicBezTo>
                  <a:pt x="2785" y="809"/>
                  <a:pt x="2787" y="804"/>
                  <a:pt x="2790" y="796"/>
                </a:cubicBezTo>
                <a:cubicBezTo>
                  <a:pt x="2804" y="755"/>
                  <a:pt x="2813" y="729"/>
                  <a:pt x="2815" y="718"/>
                </a:cubicBezTo>
                <a:cubicBezTo>
                  <a:pt x="2817" y="710"/>
                  <a:pt x="2818" y="705"/>
                  <a:pt x="2819" y="705"/>
                </a:cubicBezTo>
                <a:cubicBezTo>
                  <a:pt x="2820" y="705"/>
                  <a:pt x="2821" y="704"/>
                  <a:pt x="2821" y="703"/>
                </a:cubicBezTo>
                <a:lnTo>
                  <a:pt x="2821" y="701"/>
                </a:lnTo>
                <a:cubicBezTo>
                  <a:pt x="2821" y="699"/>
                  <a:pt x="2823" y="691"/>
                  <a:pt x="2826" y="677"/>
                </a:cubicBezTo>
                <a:cubicBezTo>
                  <a:pt x="2832" y="653"/>
                  <a:pt x="2838" y="628"/>
                  <a:pt x="2842" y="601"/>
                </a:cubicBezTo>
                <a:cubicBezTo>
                  <a:pt x="2846" y="575"/>
                  <a:pt x="2849" y="555"/>
                  <a:pt x="2849" y="542"/>
                </a:cubicBezTo>
                <a:cubicBezTo>
                  <a:pt x="2849" y="536"/>
                  <a:pt x="2848" y="534"/>
                  <a:pt x="2848" y="534"/>
                </a:cubicBezTo>
                <a:cubicBezTo>
                  <a:pt x="2848" y="534"/>
                  <a:pt x="2847" y="538"/>
                  <a:pt x="2846" y="547"/>
                </a:cubicBezTo>
                <a:cubicBezTo>
                  <a:pt x="2843" y="573"/>
                  <a:pt x="2840" y="592"/>
                  <a:pt x="2838" y="603"/>
                </a:cubicBezTo>
                <a:lnTo>
                  <a:pt x="2837" y="611"/>
                </a:lnTo>
                <a:cubicBezTo>
                  <a:pt x="2834" y="621"/>
                  <a:pt x="2832" y="628"/>
                  <a:pt x="2831" y="632"/>
                </a:cubicBezTo>
                <a:cubicBezTo>
                  <a:pt x="2827" y="654"/>
                  <a:pt x="2823" y="668"/>
                  <a:pt x="2820" y="671"/>
                </a:cubicBezTo>
                <a:lnTo>
                  <a:pt x="2817" y="680"/>
                </a:lnTo>
                <a:cubicBezTo>
                  <a:pt x="2814" y="691"/>
                  <a:pt x="2812" y="698"/>
                  <a:pt x="2812" y="701"/>
                </a:cubicBezTo>
                <a:cubicBezTo>
                  <a:pt x="2812" y="703"/>
                  <a:pt x="2812" y="703"/>
                  <a:pt x="2811" y="703"/>
                </a:cubicBezTo>
                <a:cubicBezTo>
                  <a:pt x="2810" y="704"/>
                  <a:pt x="2809" y="706"/>
                  <a:pt x="2809" y="710"/>
                </a:cubicBezTo>
                <a:cubicBezTo>
                  <a:pt x="2809" y="713"/>
                  <a:pt x="2808" y="716"/>
                  <a:pt x="2807" y="716"/>
                </a:cubicBezTo>
                <a:cubicBezTo>
                  <a:pt x="2805" y="717"/>
                  <a:pt x="2804" y="719"/>
                  <a:pt x="2804" y="722"/>
                </a:cubicBezTo>
                <a:lnTo>
                  <a:pt x="2804" y="723"/>
                </a:lnTo>
                <a:cubicBezTo>
                  <a:pt x="2804" y="727"/>
                  <a:pt x="2803" y="729"/>
                  <a:pt x="2802" y="729"/>
                </a:cubicBezTo>
                <a:cubicBezTo>
                  <a:pt x="2802" y="729"/>
                  <a:pt x="2801" y="731"/>
                  <a:pt x="2801" y="735"/>
                </a:cubicBezTo>
                <a:cubicBezTo>
                  <a:pt x="2800" y="739"/>
                  <a:pt x="2799" y="741"/>
                  <a:pt x="2798" y="742"/>
                </a:cubicBezTo>
                <a:cubicBezTo>
                  <a:pt x="2796" y="744"/>
                  <a:pt x="2795" y="745"/>
                  <a:pt x="2795" y="746"/>
                </a:cubicBezTo>
                <a:lnTo>
                  <a:pt x="2795" y="747"/>
                </a:lnTo>
                <a:cubicBezTo>
                  <a:pt x="2795" y="749"/>
                  <a:pt x="2795" y="751"/>
                  <a:pt x="2794" y="754"/>
                </a:cubicBezTo>
                <a:cubicBezTo>
                  <a:pt x="2793" y="758"/>
                  <a:pt x="2792" y="761"/>
                  <a:pt x="2791" y="764"/>
                </a:cubicBezTo>
                <a:cubicBezTo>
                  <a:pt x="2790" y="767"/>
                  <a:pt x="2788" y="769"/>
                  <a:pt x="2788" y="770"/>
                </a:cubicBezTo>
                <a:cubicBezTo>
                  <a:pt x="2787" y="772"/>
                  <a:pt x="2786" y="772"/>
                  <a:pt x="2786" y="772"/>
                </a:cubicBezTo>
                <a:lnTo>
                  <a:pt x="2786" y="773"/>
                </a:lnTo>
                <a:cubicBezTo>
                  <a:pt x="2786" y="776"/>
                  <a:pt x="2785" y="782"/>
                  <a:pt x="2781" y="791"/>
                </a:cubicBezTo>
                <a:cubicBezTo>
                  <a:pt x="2778" y="801"/>
                  <a:pt x="2776" y="807"/>
                  <a:pt x="2776" y="809"/>
                </a:cubicBezTo>
                <a:cubicBezTo>
                  <a:pt x="2776" y="811"/>
                  <a:pt x="2777" y="811"/>
                  <a:pt x="2780" y="811"/>
                </a:cubicBezTo>
                <a:close/>
                <a:moveTo>
                  <a:pt x="3135" y="633"/>
                </a:moveTo>
                <a:lnTo>
                  <a:pt x="3135" y="609"/>
                </a:lnTo>
                <a:cubicBezTo>
                  <a:pt x="3135" y="609"/>
                  <a:pt x="3136" y="613"/>
                  <a:pt x="3136" y="621"/>
                </a:cubicBezTo>
                <a:lnTo>
                  <a:pt x="3135" y="631"/>
                </a:lnTo>
                <a:cubicBezTo>
                  <a:pt x="3135" y="632"/>
                  <a:pt x="3135" y="633"/>
                  <a:pt x="3135" y="633"/>
                </a:cubicBezTo>
                <a:close/>
                <a:moveTo>
                  <a:pt x="3144" y="676"/>
                </a:moveTo>
                <a:cubicBezTo>
                  <a:pt x="3143" y="676"/>
                  <a:pt x="3142" y="675"/>
                  <a:pt x="3142" y="674"/>
                </a:cubicBezTo>
                <a:lnTo>
                  <a:pt x="3141" y="671"/>
                </a:lnTo>
                <a:cubicBezTo>
                  <a:pt x="3141" y="671"/>
                  <a:pt x="3141" y="670"/>
                  <a:pt x="3142" y="670"/>
                </a:cubicBezTo>
                <a:cubicBezTo>
                  <a:pt x="3142" y="670"/>
                  <a:pt x="3142" y="671"/>
                  <a:pt x="3143" y="671"/>
                </a:cubicBezTo>
                <a:cubicBezTo>
                  <a:pt x="3144" y="672"/>
                  <a:pt x="3144" y="674"/>
                  <a:pt x="3144" y="675"/>
                </a:cubicBezTo>
                <a:cubicBezTo>
                  <a:pt x="3144" y="676"/>
                  <a:pt x="3144" y="676"/>
                  <a:pt x="3144" y="676"/>
                </a:cubicBezTo>
                <a:close/>
                <a:moveTo>
                  <a:pt x="3137" y="654"/>
                </a:moveTo>
                <a:cubicBezTo>
                  <a:pt x="3137" y="654"/>
                  <a:pt x="3136" y="653"/>
                  <a:pt x="3136" y="651"/>
                </a:cubicBezTo>
                <a:cubicBezTo>
                  <a:pt x="3136" y="649"/>
                  <a:pt x="3137" y="648"/>
                  <a:pt x="3137" y="648"/>
                </a:cubicBezTo>
                <a:cubicBezTo>
                  <a:pt x="3138" y="648"/>
                  <a:pt x="3138" y="649"/>
                  <a:pt x="3138" y="651"/>
                </a:cubicBezTo>
                <a:lnTo>
                  <a:pt x="3138" y="654"/>
                </a:lnTo>
                <a:lnTo>
                  <a:pt x="3137" y="654"/>
                </a:lnTo>
                <a:close/>
                <a:moveTo>
                  <a:pt x="3252" y="485"/>
                </a:moveTo>
                <a:lnTo>
                  <a:pt x="3251" y="485"/>
                </a:lnTo>
                <a:cubicBezTo>
                  <a:pt x="3251" y="484"/>
                  <a:pt x="3253" y="483"/>
                  <a:pt x="3255" y="482"/>
                </a:cubicBezTo>
                <a:cubicBezTo>
                  <a:pt x="3257" y="480"/>
                  <a:pt x="3259" y="480"/>
                  <a:pt x="3259" y="480"/>
                </a:cubicBezTo>
                <a:lnTo>
                  <a:pt x="3260" y="480"/>
                </a:lnTo>
                <a:cubicBezTo>
                  <a:pt x="3260" y="481"/>
                  <a:pt x="3259" y="482"/>
                  <a:pt x="3256" y="483"/>
                </a:cubicBezTo>
                <a:cubicBezTo>
                  <a:pt x="3254" y="484"/>
                  <a:pt x="3253" y="485"/>
                  <a:pt x="3252" y="485"/>
                </a:cubicBezTo>
                <a:close/>
                <a:moveTo>
                  <a:pt x="3230" y="497"/>
                </a:moveTo>
                <a:lnTo>
                  <a:pt x="3230" y="497"/>
                </a:lnTo>
                <a:lnTo>
                  <a:pt x="3230" y="497"/>
                </a:lnTo>
                <a:cubicBezTo>
                  <a:pt x="3231" y="496"/>
                  <a:pt x="3233" y="495"/>
                  <a:pt x="3235" y="493"/>
                </a:cubicBezTo>
                <a:cubicBezTo>
                  <a:pt x="3238" y="492"/>
                  <a:pt x="3241" y="490"/>
                  <a:pt x="3244" y="489"/>
                </a:cubicBezTo>
                <a:cubicBezTo>
                  <a:pt x="3247" y="487"/>
                  <a:pt x="3248" y="487"/>
                  <a:pt x="3249" y="487"/>
                </a:cubicBezTo>
                <a:cubicBezTo>
                  <a:pt x="3249" y="487"/>
                  <a:pt x="3246" y="489"/>
                  <a:pt x="3241" y="492"/>
                </a:cubicBezTo>
                <a:cubicBezTo>
                  <a:pt x="3235" y="495"/>
                  <a:pt x="3232" y="497"/>
                  <a:pt x="3230" y="497"/>
                </a:cubicBezTo>
                <a:close/>
                <a:moveTo>
                  <a:pt x="3291" y="456"/>
                </a:moveTo>
                <a:cubicBezTo>
                  <a:pt x="3291" y="456"/>
                  <a:pt x="3292" y="454"/>
                  <a:pt x="3294" y="451"/>
                </a:cubicBezTo>
                <a:cubicBezTo>
                  <a:pt x="3297" y="448"/>
                  <a:pt x="3298" y="447"/>
                  <a:pt x="3299" y="447"/>
                </a:cubicBezTo>
                <a:cubicBezTo>
                  <a:pt x="3299" y="447"/>
                  <a:pt x="3298" y="449"/>
                  <a:pt x="3296" y="451"/>
                </a:cubicBezTo>
                <a:cubicBezTo>
                  <a:pt x="3293" y="455"/>
                  <a:pt x="3291" y="456"/>
                  <a:pt x="3291" y="456"/>
                </a:cubicBezTo>
                <a:close/>
                <a:moveTo>
                  <a:pt x="3306" y="442"/>
                </a:moveTo>
                <a:cubicBezTo>
                  <a:pt x="3306" y="441"/>
                  <a:pt x="3308" y="438"/>
                  <a:pt x="3312" y="433"/>
                </a:cubicBezTo>
                <a:cubicBezTo>
                  <a:pt x="3316" y="429"/>
                  <a:pt x="3319" y="426"/>
                  <a:pt x="3321" y="426"/>
                </a:cubicBezTo>
                <a:cubicBezTo>
                  <a:pt x="3321" y="426"/>
                  <a:pt x="3319" y="429"/>
                  <a:pt x="3315" y="434"/>
                </a:cubicBezTo>
                <a:lnTo>
                  <a:pt x="3306" y="442"/>
                </a:lnTo>
                <a:close/>
                <a:moveTo>
                  <a:pt x="3246" y="397"/>
                </a:moveTo>
                <a:lnTo>
                  <a:pt x="3246" y="393"/>
                </a:lnTo>
                <a:cubicBezTo>
                  <a:pt x="3248" y="391"/>
                  <a:pt x="3249" y="389"/>
                  <a:pt x="3249" y="389"/>
                </a:cubicBezTo>
                <a:cubicBezTo>
                  <a:pt x="3250" y="389"/>
                  <a:pt x="3250" y="390"/>
                  <a:pt x="3250" y="390"/>
                </a:cubicBezTo>
                <a:cubicBezTo>
                  <a:pt x="3250" y="391"/>
                  <a:pt x="3250" y="392"/>
                  <a:pt x="3249" y="393"/>
                </a:cubicBezTo>
                <a:cubicBezTo>
                  <a:pt x="3247" y="395"/>
                  <a:pt x="3246" y="397"/>
                  <a:pt x="3246" y="397"/>
                </a:cubicBezTo>
                <a:close/>
                <a:moveTo>
                  <a:pt x="3324" y="424"/>
                </a:moveTo>
                <a:lnTo>
                  <a:pt x="3323" y="423"/>
                </a:lnTo>
                <a:cubicBezTo>
                  <a:pt x="3323" y="423"/>
                  <a:pt x="3324" y="421"/>
                  <a:pt x="3327" y="419"/>
                </a:cubicBezTo>
                <a:cubicBezTo>
                  <a:pt x="3329" y="416"/>
                  <a:pt x="3331" y="415"/>
                  <a:pt x="3331" y="415"/>
                </a:cubicBezTo>
                <a:cubicBezTo>
                  <a:pt x="3331" y="415"/>
                  <a:pt x="3330" y="417"/>
                  <a:pt x="3328" y="419"/>
                </a:cubicBezTo>
                <a:cubicBezTo>
                  <a:pt x="3325" y="422"/>
                  <a:pt x="3324" y="424"/>
                  <a:pt x="3324" y="424"/>
                </a:cubicBezTo>
                <a:close/>
                <a:moveTo>
                  <a:pt x="3461" y="128"/>
                </a:moveTo>
                <a:cubicBezTo>
                  <a:pt x="3460" y="128"/>
                  <a:pt x="3459" y="127"/>
                  <a:pt x="3456" y="124"/>
                </a:cubicBezTo>
                <a:cubicBezTo>
                  <a:pt x="3452" y="120"/>
                  <a:pt x="3446" y="118"/>
                  <a:pt x="3438" y="118"/>
                </a:cubicBezTo>
                <a:cubicBezTo>
                  <a:pt x="3433" y="118"/>
                  <a:pt x="3428" y="119"/>
                  <a:pt x="3423" y="120"/>
                </a:cubicBezTo>
                <a:cubicBezTo>
                  <a:pt x="3417" y="122"/>
                  <a:pt x="3413" y="122"/>
                  <a:pt x="3411" y="122"/>
                </a:cubicBezTo>
                <a:lnTo>
                  <a:pt x="3410" y="122"/>
                </a:lnTo>
                <a:cubicBezTo>
                  <a:pt x="3410" y="122"/>
                  <a:pt x="3414" y="120"/>
                  <a:pt x="3420" y="118"/>
                </a:cubicBezTo>
                <a:cubicBezTo>
                  <a:pt x="3427" y="116"/>
                  <a:pt x="3433" y="115"/>
                  <a:pt x="3439" y="115"/>
                </a:cubicBezTo>
                <a:cubicBezTo>
                  <a:pt x="3450" y="115"/>
                  <a:pt x="3457" y="119"/>
                  <a:pt x="3460" y="125"/>
                </a:cubicBezTo>
                <a:lnTo>
                  <a:pt x="3462" y="127"/>
                </a:lnTo>
                <a:cubicBezTo>
                  <a:pt x="3462" y="128"/>
                  <a:pt x="3461" y="128"/>
                  <a:pt x="3461" y="128"/>
                </a:cubicBezTo>
                <a:close/>
                <a:moveTo>
                  <a:pt x="3416" y="360"/>
                </a:moveTo>
                <a:cubicBezTo>
                  <a:pt x="3415" y="360"/>
                  <a:pt x="3415" y="359"/>
                  <a:pt x="3415" y="359"/>
                </a:cubicBezTo>
                <a:lnTo>
                  <a:pt x="3415" y="357"/>
                </a:lnTo>
                <a:cubicBezTo>
                  <a:pt x="3417" y="356"/>
                  <a:pt x="3418" y="355"/>
                  <a:pt x="3419" y="355"/>
                </a:cubicBezTo>
                <a:cubicBezTo>
                  <a:pt x="3420" y="355"/>
                  <a:pt x="3420" y="355"/>
                  <a:pt x="3420" y="357"/>
                </a:cubicBezTo>
                <a:cubicBezTo>
                  <a:pt x="3420" y="357"/>
                  <a:pt x="3420" y="357"/>
                  <a:pt x="3419" y="358"/>
                </a:cubicBezTo>
                <a:cubicBezTo>
                  <a:pt x="3419" y="359"/>
                  <a:pt x="3418" y="360"/>
                  <a:pt x="3416" y="360"/>
                </a:cubicBezTo>
                <a:close/>
                <a:moveTo>
                  <a:pt x="3420" y="353"/>
                </a:moveTo>
                <a:cubicBezTo>
                  <a:pt x="3420" y="353"/>
                  <a:pt x="3419" y="353"/>
                  <a:pt x="3419" y="352"/>
                </a:cubicBezTo>
                <a:cubicBezTo>
                  <a:pt x="3419" y="352"/>
                  <a:pt x="3420" y="351"/>
                  <a:pt x="3420" y="350"/>
                </a:cubicBezTo>
                <a:cubicBezTo>
                  <a:pt x="3420" y="349"/>
                  <a:pt x="3422" y="348"/>
                  <a:pt x="3423" y="348"/>
                </a:cubicBezTo>
                <a:cubicBezTo>
                  <a:pt x="3424" y="348"/>
                  <a:pt x="3424" y="349"/>
                  <a:pt x="3424" y="350"/>
                </a:cubicBezTo>
                <a:lnTo>
                  <a:pt x="3424" y="350"/>
                </a:lnTo>
                <a:cubicBezTo>
                  <a:pt x="3423" y="352"/>
                  <a:pt x="3422" y="353"/>
                  <a:pt x="3420" y="353"/>
                </a:cubicBezTo>
                <a:close/>
                <a:moveTo>
                  <a:pt x="3279" y="772"/>
                </a:moveTo>
                <a:cubicBezTo>
                  <a:pt x="3265" y="772"/>
                  <a:pt x="3253" y="771"/>
                  <a:pt x="3243" y="767"/>
                </a:cubicBezTo>
                <a:cubicBezTo>
                  <a:pt x="3230" y="764"/>
                  <a:pt x="3223" y="762"/>
                  <a:pt x="3223" y="762"/>
                </a:cubicBezTo>
                <a:cubicBezTo>
                  <a:pt x="3223" y="762"/>
                  <a:pt x="3222" y="762"/>
                  <a:pt x="3222" y="762"/>
                </a:cubicBezTo>
                <a:cubicBezTo>
                  <a:pt x="3221" y="761"/>
                  <a:pt x="3221" y="761"/>
                  <a:pt x="3221" y="760"/>
                </a:cubicBezTo>
                <a:cubicBezTo>
                  <a:pt x="3221" y="759"/>
                  <a:pt x="3220" y="759"/>
                  <a:pt x="3218" y="759"/>
                </a:cubicBezTo>
                <a:cubicBezTo>
                  <a:pt x="3214" y="759"/>
                  <a:pt x="3209" y="756"/>
                  <a:pt x="3201" y="751"/>
                </a:cubicBezTo>
                <a:cubicBezTo>
                  <a:pt x="3193" y="746"/>
                  <a:pt x="3187" y="740"/>
                  <a:pt x="3181" y="734"/>
                </a:cubicBezTo>
                <a:cubicBezTo>
                  <a:pt x="3159" y="706"/>
                  <a:pt x="3149" y="677"/>
                  <a:pt x="3149" y="649"/>
                </a:cubicBezTo>
                <a:cubicBezTo>
                  <a:pt x="3149" y="637"/>
                  <a:pt x="3148" y="632"/>
                  <a:pt x="3147" y="631"/>
                </a:cubicBezTo>
                <a:lnTo>
                  <a:pt x="3147" y="631"/>
                </a:lnTo>
                <a:cubicBezTo>
                  <a:pt x="3147" y="631"/>
                  <a:pt x="3146" y="630"/>
                  <a:pt x="3146" y="627"/>
                </a:cubicBezTo>
                <a:cubicBezTo>
                  <a:pt x="3146" y="623"/>
                  <a:pt x="3147" y="615"/>
                  <a:pt x="3149" y="604"/>
                </a:cubicBezTo>
                <a:cubicBezTo>
                  <a:pt x="3150" y="593"/>
                  <a:pt x="3152" y="583"/>
                  <a:pt x="3154" y="573"/>
                </a:cubicBezTo>
                <a:cubicBezTo>
                  <a:pt x="3156" y="563"/>
                  <a:pt x="3158" y="556"/>
                  <a:pt x="3160" y="553"/>
                </a:cubicBezTo>
                <a:lnTo>
                  <a:pt x="3161" y="551"/>
                </a:lnTo>
                <a:cubicBezTo>
                  <a:pt x="3162" y="551"/>
                  <a:pt x="3162" y="551"/>
                  <a:pt x="3162" y="552"/>
                </a:cubicBezTo>
                <a:lnTo>
                  <a:pt x="3161" y="557"/>
                </a:lnTo>
                <a:cubicBezTo>
                  <a:pt x="3162" y="557"/>
                  <a:pt x="3162" y="555"/>
                  <a:pt x="3164" y="552"/>
                </a:cubicBezTo>
                <a:cubicBezTo>
                  <a:pt x="3170" y="532"/>
                  <a:pt x="3173" y="519"/>
                  <a:pt x="3173" y="513"/>
                </a:cubicBezTo>
                <a:cubicBezTo>
                  <a:pt x="3173" y="511"/>
                  <a:pt x="3173" y="509"/>
                  <a:pt x="3171" y="509"/>
                </a:cubicBezTo>
                <a:cubicBezTo>
                  <a:pt x="3171" y="509"/>
                  <a:pt x="3170" y="509"/>
                  <a:pt x="3169" y="510"/>
                </a:cubicBezTo>
                <a:cubicBezTo>
                  <a:pt x="3168" y="510"/>
                  <a:pt x="3167" y="508"/>
                  <a:pt x="3167" y="505"/>
                </a:cubicBezTo>
                <a:cubicBezTo>
                  <a:pt x="3167" y="504"/>
                  <a:pt x="3167" y="503"/>
                  <a:pt x="3168" y="503"/>
                </a:cubicBezTo>
                <a:cubicBezTo>
                  <a:pt x="3168" y="502"/>
                  <a:pt x="3169" y="502"/>
                  <a:pt x="3169" y="501"/>
                </a:cubicBezTo>
                <a:lnTo>
                  <a:pt x="3170" y="501"/>
                </a:lnTo>
                <a:cubicBezTo>
                  <a:pt x="3171" y="501"/>
                  <a:pt x="3171" y="500"/>
                  <a:pt x="3171" y="499"/>
                </a:cubicBezTo>
                <a:cubicBezTo>
                  <a:pt x="3171" y="498"/>
                  <a:pt x="3171" y="497"/>
                  <a:pt x="3171" y="497"/>
                </a:cubicBezTo>
                <a:cubicBezTo>
                  <a:pt x="3172" y="496"/>
                  <a:pt x="3172" y="495"/>
                  <a:pt x="3174" y="493"/>
                </a:cubicBezTo>
                <a:cubicBezTo>
                  <a:pt x="3174" y="493"/>
                  <a:pt x="3175" y="495"/>
                  <a:pt x="3175" y="498"/>
                </a:cubicBezTo>
                <a:cubicBezTo>
                  <a:pt x="3175" y="501"/>
                  <a:pt x="3176" y="503"/>
                  <a:pt x="3177" y="503"/>
                </a:cubicBezTo>
                <a:cubicBezTo>
                  <a:pt x="3178" y="503"/>
                  <a:pt x="3179" y="502"/>
                  <a:pt x="3181" y="500"/>
                </a:cubicBezTo>
                <a:lnTo>
                  <a:pt x="3181" y="498"/>
                </a:lnTo>
                <a:cubicBezTo>
                  <a:pt x="3181" y="496"/>
                  <a:pt x="3180" y="495"/>
                  <a:pt x="3178" y="493"/>
                </a:cubicBezTo>
                <a:cubicBezTo>
                  <a:pt x="3176" y="491"/>
                  <a:pt x="3175" y="490"/>
                  <a:pt x="3175" y="487"/>
                </a:cubicBezTo>
                <a:cubicBezTo>
                  <a:pt x="3175" y="487"/>
                  <a:pt x="3175" y="485"/>
                  <a:pt x="3176" y="485"/>
                </a:cubicBezTo>
                <a:cubicBezTo>
                  <a:pt x="3176" y="484"/>
                  <a:pt x="3177" y="483"/>
                  <a:pt x="3178" y="483"/>
                </a:cubicBezTo>
                <a:cubicBezTo>
                  <a:pt x="3179" y="483"/>
                  <a:pt x="3180" y="483"/>
                  <a:pt x="3181" y="482"/>
                </a:cubicBezTo>
                <a:cubicBezTo>
                  <a:pt x="3182" y="482"/>
                  <a:pt x="3182" y="482"/>
                  <a:pt x="3182" y="481"/>
                </a:cubicBezTo>
                <a:cubicBezTo>
                  <a:pt x="3182" y="480"/>
                  <a:pt x="3181" y="479"/>
                  <a:pt x="3180" y="479"/>
                </a:cubicBezTo>
                <a:cubicBezTo>
                  <a:pt x="3179" y="479"/>
                  <a:pt x="3178" y="478"/>
                  <a:pt x="3178" y="477"/>
                </a:cubicBezTo>
                <a:cubicBezTo>
                  <a:pt x="3178" y="475"/>
                  <a:pt x="3179" y="472"/>
                  <a:pt x="3181" y="468"/>
                </a:cubicBezTo>
                <a:lnTo>
                  <a:pt x="3183" y="463"/>
                </a:lnTo>
                <a:cubicBezTo>
                  <a:pt x="3182" y="463"/>
                  <a:pt x="3182" y="463"/>
                  <a:pt x="3182" y="462"/>
                </a:cubicBezTo>
                <a:cubicBezTo>
                  <a:pt x="3182" y="462"/>
                  <a:pt x="3183" y="461"/>
                  <a:pt x="3185" y="459"/>
                </a:cubicBezTo>
                <a:cubicBezTo>
                  <a:pt x="3186" y="457"/>
                  <a:pt x="3187" y="455"/>
                  <a:pt x="3187" y="452"/>
                </a:cubicBezTo>
                <a:lnTo>
                  <a:pt x="3187" y="450"/>
                </a:lnTo>
                <a:cubicBezTo>
                  <a:pt x="3187" y="448"/>
                  <a:pt x="3188" y="447"/>
                  <a:pt x="3190" y="446"/>
                </a:cubicBezTo>
                <a:cubicBezTo>
                  <a:pt x="3192" y="445"/>
                  <a:pt x="3192" y="445"/>
                  <a:pt x="3192" y="444"/>
                </a:cubicBezTo>
                <a:cubicBezTo>
                  <a:pt x="3192" y="444"/>
                  <a:pt x="3192" y="443"/>
                  <a:pt x="3191" y="442"/>
                </a:cubicBezTo>
                <a:cubicBezTo>
                  <a:pt x="3189" y="441"/>
                  <a:pt x="3189" y="441"/>
                  <a:pt x="3189" y="441"/>
                </a:cubicBezTo>
                <a:cubicBezTo>
                  <a:pt x="3189" y="440"/>
                  <a:pt x="3189" y="440"/>
                  <a:pt x="3190" y="440"/>
                </a:cubicBezTo>
                <a:cubicBezTo>
                  <a:pt x="3191" y="440"/>
                  <a:pt x="3192" y="439"/>
                  <a:pt x="3192" y="438"/>
                </a:cubicBezTo>
                <a:lnTo>
                  <a:pt x="3191" y="436"/>
                </a:lnTo>
                <a:cubicBezTo>
                  <a:pt x="3191" y="436"/>
                  <a:pt x="3191" y="436"/>
                  <a:pt x="3191" y="436"/>
                </a:cubicBezTo>
                <a:lnTo>
                  <a:pt x="3193" y="437"/>
                </a:lnTo>
                <a:cubicBezTo>
                  <a:pt x="3194" y="438"/>
                  <a:pt x="3195" y="439"/>
                  <a:pt x="3195" y="441"/>
                </a:cubicBezTo>
                <a:cubicBezTo>
                  <a:pt x="3195" y="445"/>
                  <a:pt x="3193" y="451"/>
                  <a:pt x="3189" y="459"/>
                </a:cubicBezTo>
                <a:cubicBezTo>
                  <a:pt x="3186" y="465"/>
                  <a:pt x="3184" y="470"/>
                  <a:pt x="3184" y="471"/>
                </a:cubicBezTo>
                <a:cubicBezTo>
                  <a:pt x="3184" y="472"/>
                  <a:pt x="3184" y="472"/>
                  <a:pt x="3184" y="472"/>
                </a:cubicBezTo>
                <a:cubicBezTo>
                  <a:pt x="3186" y="471"/>
                  <a:pt x="3188" y="469"/>
                  <a:pt x="3190" y="464"/>
                </a:cubicBezTo>
                <a:cubicBezTo>
                  <a:pt x="3192" y="460"/>
                  <a:pt x="3193" y="456"/>
                  <a:pt x="3194" y="451"/>
                </a:cubicBezTo>
                <a:cubicBezTo>
                  <a:pt x="3196" y="446"/>
                  <a:pt x="3196" y="442"/>
                  <a:pt x="3196" y="439"/>
                </a:cubicBezTo>
                <a:cubicBezTo>
                  <a:pt x="3196" y="438"/>
                  <a:pt x="3196" y="437"/>
                  <a:pt x="3196" y="436"/>
                </a:cubicBezTo>
                <a:cubicBezTo>
                  <a:pt x="3194" y="433"/>
                  <a:pt x="3193" y="432"/>
                  <a:pt x="3193" y="431"/>
                </a:cubicBezTo>
                <a:lnTo>
                  <a:pt x="3195" y="432"/>
                </a:lnTo>
                <a:cubicBezTo>
                  <a:pt x="3197" y="432"/>
                  <a:pt x="3198" y="430"/>
                  <a:pt x="3198" y="426"/>
                </a:cubicBezTo>
                <a:cubicBezTo>
                  <a:pt x="3198" y="425"/>
                  <a:pt x="3198" y="424"/>
                  <a:pt x="3198" y="424"/>
                </a:cubicBezTo>
                <a:cubicBezTo>
                  <a:pt x="3197" y="423"/>
                  <a:pt x="3197" y="423"/>
                  <a:pt x="3197" y="422"/>
                </a:cubicBezTo>
                <a:lnTo>
                  <a:pt x="3201" y="423"/>
                </a:lnTo>
                <a:cubicBezTo>
                  <a:pt x="3201" y="423"/>
                  <a:pt x="3201" y="423"/>
                  <a:pt x="3201" y="422"/>
                </a:cubicBezTo>
                <a:lnTo>
                  <a:pt x="3200" y="416"/>
                </a:lnTo>
                <a:cubicBezTo>
                  <a:pt x="3200" y="415"/>
                  <a:pt x="3200" y="415"/>
                  <a:pt x="3200" y="415"/>
                </a:cubicBezTo>
                <a:lnTo>
                  <a:pt x="3203" y="419"/>
                </a:lnTo>
                <a:cubicBezTo>
                  <a:pt x="3203" y="419"/>
                  <a:pt x="3203" y="419"/>
                  <a:pt x="3203" y="418"/>
                </a:cubicBezTo>
                <a:lnTo>
                  <a:pt x="3202" y="413"/>
                </a:lnTo>
                <a:cubicBezTo>
                  <a:pt x="3202" y="412"/>
                  <a:pt x="3203" y="411"/>
                  <a:pt x="3203" y="411"/>
                </a:cubicBezTo>
                <a:lnTo>
                  <a:pt x="3204" y="411"/>
                </a:lnTo>
                <a:cubicBezTo>
                  <a:pt x="3205" y="411"/>
                  <a:pt x="3206" y="410"/>
                  <a:pt x="3207" y="408"/>
                </a:cubicBezTo>
                <a:cubicBezTo>
                  <a:pt x="3209" y="406"/>
                  <a:pt x="3209" y="404"/>
                  <a:pt x="3209" y="402"/>
                </a:cubicBezTo>
                <a:cubicBezTo>
                  <a:pt x="3209" y="401"/>
                  <a:pt x="3209" y="400"/>
                  <a:pt x="3209" y="399"/>
                </a:cubicBezTo>
                <a:cubicBezTo>
                  <a:pt x="3209" y="398"/>
                  <a:pt x="3208" y="398"/>
                  <a:pt x="3208" y="397"/>
                </a:cubicBezTo>
                <a:lnTo>
                  <a:pt x="3210" y="397"/>
                </a:lnTo>
                <a:cubicBezTo>
                  <a:pt x="3212" y="397"/>
                  <a:pt x="3213" y="396"/>
                  <a:pt x="3214" y="394"/>
                </a:cubicBezTo>
                <a:cubicBezTo>
                  <a:pt x="3216" y="392"/>
                  <a:pt x="3216" y="390"/>
                  <a:pt x="3216" y="389"/>
                </a:cubicBezTo>
                <a:cubicBezTo>
                  <a:pt x="3216" y="388"/>
                  <a:pt x="3216" y="388"/>
                  <a:pt x="3216" y="388"/>
                </a:cubicBezTo>
                <a:cubicBezTo>
                  <a:pt x="3216" y="388"/>
                  <a:pt x="3215" y="389"/>
                  <a:pt x="3214" y="390"/>
                </a:cubicBezTo>
                <a:cubicBezTo>
                  <a:pt x="3212" y="392"/>
                  <a:pt x="3211" y="393"/>
                  <a:pt x="3211" y="393"/>
                </a:cubicBezTo>
                <a:lnTo>
                  <a:pt x="3213" y="387"/>
                </a:lnTo>
                <a:cubicBezTo>
                  <a:pt x="3216" y="381"/>
                  <a:pt x="3218" y="378"/>
                  <a:pt x="3219" y="378"/>
                </a:cubicBezTo>
                <a:lnTo>
                  <a:pt x="3217" y="384"/>
                </a:lnTo>
                <a:cubicBezTo>
                  <a:pt x="3217" y="384"/>
                  <a:pt x="3217" y="385"/>
                  <a:pt x="3218" y="385"/>
                </a:cubicBezTo>
                <a:cubicBezTo>
                  <a:pt x="3218" y="385"/>
                  <a:pt x="3219" y="383"/>
                  <a:pt x="3221" y="380"/>
                </a:cubicBezTo>
                <a:lnTo>
                  <a:pt x="3222" y="376"/>
                </a:lnTo>
                <a:cubicBezTo>
                  <a:pt x="3222" y="376"/>
                  <a:pt x="3221" y="377"/>
                  <a:pt x="3221" y="377"/>
                </a:cubicBezTo>
                <a:cubicBezTo>
                  <a:pt x="3221" y="377"/>
                  <a:pt x="3220" y="378"/>
                  <a:pt x="3219" y="378"/>
                </a:cubicBezTo>
                <a:lnTo>
                  <a:pt x="3219" y="377"/>
                </a:lnTo>
                <a:cubicBezTo>
                  <a:pt x="3219" y="376"/>
                  <a:pt x="3220" y="374"/>
                  <a:pt x="3221" y="370"/>
                </a:cubicBezTo>
                <a:cubicBezTo>
                  <a:pt x="3223" y="367"/>
                  <a:pt x="3224" y="366"/>
                  <a:pt x="3224" y="366"/>
                </a:cubicBezTo>
                <a:cubicBezTo>
                  <a:pt x="3225" y="366"/>
                  <a:pt x="3225" y="366"/>
                  <a:pt x="3226" y="367"/>
                </a:cubicBezTo>
                <a:cubicBezTo>
                  <a:pt x="3226" y="367"/>
                  <a:pt x="3226" y="368"/>
                  <a:pt x="3227" y="368"/>
                </a:cubicBezTo>
                <a:cubicBezTo>
                  <a:pt x="3227" y="368"/>
                  <a:pt x="3228" y="367"/>
                  <a:pt x="3228" y="366"/>
                </a:cubicBezTo>
                <a:cubicBezTo>
                  <a:pt x="3229" y="365"/>
                  <a:pt x="3229" y="364"/>
                  <a:pt x="3229" y="364"/>
                </a:cubicBezTo>
                <a:cubicBezTo>
                  <a:pt x="3229" y="363"/>
                  <a:pt x="3229" y="363"/>
                  <a:pt x="3228" y="363"/>
                </a:cubicBezTo>
                <a:lnTo>
                  <a:pt x="3227" y="364"/>
                </a:lnTo>
                <a:cubicBezTo>
                  <a:pt x="3226" y="364"/>
                  <a:pt x="3226" y="363"/>
                  <a:pt x="3226" y="363"/>
                </a:cubicBezTo>
                <a:cubicBezTo>
                  <a:pt x="3226" y="362"/>
                  <a:pt x="3226" y="361"/>
                  <a:pt x="3227" y="360"/>
                </a:cubicBezTo>
                <a:cubicBezTo>
                  <a:pt x="3228" y="359"/>
                  <a:pt x="3229" y="359"/>
                  <a:pt x="3230" y="359"/>
                </a:cubicBezTo>
                <a:cubicBezTo>
                  <a:pt x="3231" y="359"/>
                  <a:pt x="3231" y="358"/>
                  <a:pt x="3232" y="357"/>
                </a:cubicBezTo>
                <a:cubicBezTo>
                  <a:pt x="3234" y="355"/>
                  <a:pt x="3236" y="353"/>
                  <a:pt x="3236" y="351"/>
                </a:cubicBezTo>
                <a:cubicBezTo>
                  <a:pt x="3236" y="351"/>
                  <a:pt x="3235" y="351"/>
                  <a:pt x="3235" y="351"/>
                </a:cubicBezTo>
                <a:cubicBezTo>
                  <a:pt x="3235" y="351"/>
                  <a:pt x="3234" y="351"/>
                  <a:pt x="3234" y="351"/>
                </a:cubicBezTo>
                <a:cubicBezTo>
                  <a:pt x="3233" y="352"/>
                  <a:pt x="3233" y="352"/>
                  <a:pt x="3232" y="352"/>
                </a:cubicBezTo>
                <a:cubicBezTo>
                  <a:pt x="3232" y="352"/>
                  <a:pt x="3232" y="352"/>
                  <a:pt x="3232" y="351"/>
                </a:cubicBezTo>
                <a:cubicBezTo>
                  <a:pt x="3232" y="351"/>
                  <a:pt x="3233" y="349"/>
                  <a:pt x="3234" y="345"/>
                </a:cubicBezTo>
                <a:cubicBezTo>
                  <a:pt x="3239" y="336"/>
                  <a:pt x="3242" y="330"/>
                  <a:pt x="3245" y="325"/>
                </a:cubicBezTo>
                <a:cubicBezTo>
                  <a:pt x="3248" y="321"/>
                  <a:pt x="3250" y="319"/>
                  <a:pt x="3250" y="319"/>
                </a:cubicBezTo>
                <a:cubicBezTo>
                  <a:pt x="3251" y="319"/>
                  <a:pt x="3251" y="319"/>
                  <a:pt x="3251" y="320"/>
                </a:cubicBezTo>
                <a:cubicBezTo>
                  <a:pt x="3251" y="321"/>
                  <a:pt x="3251" y="323"/>
                  <a:pt x="3249" y="324"/>
                </a:cubicBezTo>
                <a:cubicBezTo>
                  <a:pt x="3248" y="326"/>
                  <a:pt x="3247" y="328"/>
                  <a:pt x="3246" y="330"/>
                </a:cubicBezTo>
                <a:cubicBezTo>
                  <a:pt x="3244" y="333"/>
                  <a:pt x="3243" y="335"/>
                  <a:pt x="3242" y="337"/>
                </a:cubicBezTo>
                <a:cubicBezTo>
                  <a:pt x="3241" y="339"/>
                  <a:pt x="3240" y="340"/>
                  <a:pt x="3240" y="341"/>
                </a:cubicBezTo>
                <a:lnTo>
                  <a:pt x="3242" y="340"/>
                </a:lnTo>
                <a:cubicBezTo>
                  <a:pt x="3245" y="336"/>
                  <a:pt x="3249" y="331"/>
                  <a:pt x="3252" y="324"/>
                </a:cubicBezTo>
                <a:cubicBezTo>
                  <a:pt x="3255" y="318"/>
                  <a:pt x="3256" y="313"/>
                  <a:pt x="3256" y="310"/>
                </a:cubicBezTo>
                <a:lnTo>
                  <a:pt x="3256" y="309"/>
                </a:lnTo>
                <a:cubicBezTo>
                  <a:pt x="3256" y="306"/>
                  <a:pt x="3257" y="305"/>
                  <a:pt x="3258" y="305"/>
                </a:cubicBezTo>
                <a:lnTo>
                  <a:pt x="3260" y="306"/>
                </a:lnTo>
                <a:cubicBezTo>
                  <a:pt x="3261" y="306"/>
                  <a:pt x="3263" y="305"/>
                  <a:pt x="3264" y="302"/>
                </a:cubicBezTo>
                <a:cubicBezTo>
                  <a:pt x="3266" y="300"/>
                  <a:pt x="3266" y="298"/>
                  <a:pt x="3266" y="298"/>
                </a:cubicBezTo>
                <a:cubicBezTo>
                  <a:pt x="3266" y="298"/>
                  <a:pt x="3265" y="299"/>
                  <a:pt x="3264" y="300"/>
                </a:cubicBezTo>
                <a:cubicBezTo>
                  <a:pt x="3262" y="302"/>
                  <a:pt x="3261" y="303"/>
                  <a:pt x="3260" y="303"/>
                </a:cubicBezTo>
                <a:cubicBezTo>
                  <a:pt x="3260" y="303"/>
                  <a:pt x="3260" y="303"/>
                  <a:pt x="3260" y="302"/>
                </a:cubicBezTo>
                <a:cubicBezTo>
                  <a:pt x="3259" y="302"/>
                  <a:pt x="3259" y="301"/>
                  <a:pt x="3259" y="301"/>
                </a:cubicBezTo>
                <a:cubicBezTo>
                  <a:pt x="3258" y="301"/>
                  <a:pt x="3256" y="303"/>
                  <a:pt x="3254" y="306"/>
                </a:cubicBezTo>
                <a:cubicBezTo>
                  <a:pt x="3252" y="309"/>
                  <a:pt x="3251" y="312"/>
                  <a:pt x="3251" y="313"/>
                </a:cubicBezTo>
                <a:cubicBezTo>
                  <a:pt x="3251" y="313"/>
                  <a:pt x="3251" y="313"/>
                  <a:pt x="3251" y="313"/>
                </a:cubicBezTo>
                <a:cubicBezTo>
                  <a:pt x="3252" y="313"/>
                  <a:pt x="3252" y="313"/>
                  <a:pt x="3253" y="312"/>
                </a:cubicBezTo>
                <a:cubicBezTo>
                  <a:pt x="3253" y="312"/>
                  <a:pt x="3253" y="312"/>
                  <a:pt x="3254" y="312"/>
                </a:cubicBezTo>
                <a:cubicBezTo>
                  <a:pt x="3254" y="312"/>
                  <a:pt x="3255" y="312"/>
                  <a:pt x="3255" y="313"/>
                </a:cubicBezTo>
                <a:cubicBezTo>
                  <a:pt x="3255" y="316"/>
                  <a:pt x="3253" y="317"/>
                  <a:pt x="3250" y="317"/>
                </a:cubicBezTo>
                <a:lnTo>
                  <a:pt x="3250" y="317"/>
                </a:lnTo>
                <a:cubicBezTo>
                  <a:pt x="3248" y="317"/>
                  <a:pt x="3244" y="322"/>
                  <a:pt x="3238" y="333"/>
                </a:cubicBezTo>
                <a:cubicBezTo>
                  <a:pt x="3233" y="344"/>
                  <a:pt x="3229" y="349"/>
                  <a:pt x="3227" y="349"/>
                </a:cubicBezTo>
                <a:lnTo>
                  <a:pt x="3226" y="349"/>
                </a:lnTo>
                <a:cubicBezTo>
                  <a:pt x="3226" y="349"/>
                  <a:pt x="3225" y="350"/>
                  <a:pt x="3225" y="351"/>
                </a:cubicBezTo>
                <a:cubicBezTo>
                  <a:pt x="3224" y="355"/>
                  <a:pt x="3223" y="358"/>
                  <a:pt x="3223" y="358"/>
                </a:cubicBezTo>
                <a:cubicBezTo>
                  <a:pt x="3223" y="359"/>
                  <a:pt x="3223" y="359"/>
                  <a:pt x="3223" y="360"/>
                </a:cubicBezTo>
                <a:cubicBezTo>
                  <a:pt x="3223" y="361"/>
                  <a:pt x="3223" y="361"/>
                  <a:pt x="3223" y="362"/>
                </a:cubicBezTo>
                <a:cubicBezTo>
                  <a:pt x="3222" y="362"/>
                  <a:pt x="3221" y="363"/>
                  <a:pt x="3220" y="366"/>
                </a:cubicBezTo>
                <a:cubicBezTo>
                  <a:pt x="3219" y="369"/>
                  <a:pt x="3217" y="372"/>
                  <a:pt x="3215" y="375"/>
                </a:cubicBezTo>
                <a:cubicBezTo>
                  <a:pt x="3211" y="383"/>
                  <a:pt x="3208" y="388"/>
                  <a:pt x="3207" y="391"/>
                </a:cubicBezTo>
                <a:cubicBezTo>
                  <a:pt x="3204" y="400"/>
                  <a:pt x="3200" y="409"/>
                  <a:pt x="3196" y="418"/>
                </a:cubicBezTo>
                <a:cubicBezTo>
                  <a:pt x="3193" y="424"/>
                  <a:pt x="3191" y="430"/>
                  <a:pt x="3188" y="436"/>
                </a:cubicBezTo>
                <a:cubicBezTo>
                  <a:pt x="3186" y="443"/>
                  <a:pt x="3183" y="448"/>
                  <a:pt x="3182" y="453"/>
                </a:cubicBezTo>
                <a:cubicBezTo>
                  <a:pt x="3180" y="457"/>
                  <a:pt x="3179" y="460"/>
                  <a:pt x="3178" y="463"/>
                </a:cubicBezTo>
                <a:cubicBezTo>
                  <a:pt x="3177" y="466"/>
                  <a:pt x="3176" y="468"/>
                  <a:pt x="3175" y="469"/>
                </a:cubicBezTo>
                <a:cubicBezTo>
                  <a:pt x="3174" y="470"/>
                  <a:pt x="3173" y="471"/>
                  <a:pt x="3173" y="473"/>
                </a:cubicBezTo>
                <a:cubicBezTo>
                  <a:pt x="3173" y="474"/>
                  <a:pt x="3173" y="475"/>
                  <a:pt x="3172" y="477"/>
                </a:cubicBezTo>
                <a:lnTo>
                  <a:pt x="3169" y="487"/>
                </a:lnTo>
                <a:cubicBezTo>
                  <a:pt x="3165" y="494"/>
                  <a:pt x="3163" y="499"/>
                  <a:pt x="3163" y="502"/>
                </a:cubicBezTo>
                <a:cubicBezTo>
                  <a:pt x="3162" y="505"/>
                  <a:pt x="3161" y="507"/>
                  <a:pt x="3160" y="507"/>
                </a:cubicBezTo>
                <a:lnTo>
                  <a:pt x="3159" y="506"/>
                </a:lnTo>
                <a:lnTo>
                  <a:pt x="3159" y="506"/>
                </a:lnTo>
                <a:cubicBezTo>
                  <a:pt x="3159" y="504"/>
                  <a:pt x="3161" y="497"/>
                  <a:pt x="3164" y="486"/>
                </a:cubicBezTo>
                <a:cubicBezTo>
                  <a:pt x="3167" y="475"/>
                  <a:pt x="3171" y="463"/>
                  <a:pt x="3177" y="448"/>
                </a:cubicBezTo>
                <a:cubicBezTo>
                  <a:pt x="3182" y="434"/>
                  <a:pt x="3189" y="416"/>
                  <a:pt x="3200" y="394"/>
                </a:cubicBezTo>
                <a:cubicBezTo>
                  <a:pt x="3210" y="372"/>
                  <a:pt x="3220" y="352"/>
                  <a:pt x="3230" y="334"/>
                </a:cubicBezTo>
                <a:cubicBezTo>
                  <a:pt x="3240" y="316"/>
                  <a:pt x="3246" y="307"/>
                  <a:pt x="3248" y="307"/>
                </a:cubicBezTo>
                <a:cubicBezTo>
                  <a:pt x="3248" y="307"/>
                  <a:pt x="3248" y="307"/>
                  <a:pt x="3248" y="306"/>
                </a:cubicBezTo>
                <a:lnTo>
                  <a:pt x="3248" y="304"/>
                </a:lnTo>
                <a:cubicBezTo>
                  <a:pt x="3248" y="304"/>
                  <a:pt x="3249" y="302"/>
                  <a:pt x="3251" y="301"/>
                </a:cubicBezTo>
                <a:cubicBezTo>
                  <a:pt x="3252" y="301"/>
                  <a:pt x="3253" y="300"/>
                  <a:pt x="3253" y="299"/>
                </a:cubicBezTo>
                <a:cubicBezTo>
                  <a:pt x="3253" y="298"/>
                  <a:pt x="3253" y="298"/>
                  <a:pt x="3252" y="297"/>
                </a:cubicBezTo>
                <a:cubicBezTo>
                  <a:pt x="3252" y="297"/>
                  <a:pt x="3252" y="296"/>
                  <a:pt x="3252" y="296"/>
                </a:cubicBezTo>
                <a:lnTo>
                  <a:pt x="3253" y="296"/>
                </a:lnTo>
                <a:cubicBezTo>
                  <a:pt x="3255" y="296"/>
                  <a:pt x="3256" y="294"/>
                  <a:pt x="3258" y="290"/>
                </a:cubicBezTo>
                <a:cubicBezTo>
                  <a:pt x="3259" y="286"/>
                  <a:pt x="3261" y="284"/>
                  <a:pt x="3262" y="284"/>
                </a:cubicBezTo>
                <a:cubicBezTo>
                  <a:pt x="3263" y="284"/>
                  <a:pt x="3264" y="284"/>
                  <a:pt x="3264" y="283"/>
                </a:cubicBezTo>
                <a:lnTo>
                  <a:pt x="3263" y="282"/>
                </a:lnTo>
                <a:cubicBezTo>
                  <a:pt x="3263" y="281"/>
                  <a:pt x="3264" y="279"/>
                  <a:pt x="3265" y="279"/>
                </a:cubicBezTo>
                <a:cubicBezTo>
                  <a:pt x="3266" y="279"/>
                  <a:pt x="3267" y="278"/>
                  <a:pt x="3267" y="278"/>
                </a:cubicBezTo>
                <a:cubicBezTo>
                  <a:pt x="3268" y="277"/>
                  <a:pt x="3268" y="276"/>
                  <a:pt x="3268" y="274"/>
                </a:cubicBezTo>
                <a:cubicBezTo>
                  <a:pt x="3268" y="273"/>
                  <a:pt x="3269" y="271"/>
                  <a:pt x="3271" y="269"/>
                </a:cubicBezTo>
                <a:cubicBezTo>
                  <a:pt x="3273" y="268"/>
                  <a:pt x="3274" y="267"/>
                  <a:pt x="3274" y="267"/>
                </a:cubicBezTo>
                <a:lnTo>
                  <a:pt x="3272" y="267"/>
                </a:lnTo>
                <a:cubicBezTo>
                  <a:pt x="3272" y="266"/>
                  <a:pt x="3273" y="264"/>
                  <a:pt x="3275" y="262"/>
                </a:cubicBezTo>
                <a:cubicBezTo>
                  <a:pt x="3277" y="259"/>
                  <a:pt x="3278" y="257"/>
                  <a:pt x="3279" y="256"/>
                </a:cubicBezTo>
                <a:lnTo>
                  <a:pt x="3282" y="254"/>
                </a:lnTo>
                <a:cubicBezTo>
                  <a:pt x="3282" y="254"/>
                  <a:pt x="3281" y="255"/>
                  <a:pt x="3281" y="257"/>
                </a:cubicBezTo>
                <a:cubicBezTo>
                  <a:pt x="3281" y="259"/>
                  <a:pt x="3281" y="260"/>
                  <a:pt x="3283" y="260"/>
                </a:cubicBezTo>
                <a:cubicBezTo>
                  <a:pt x="3283" y="260"/>
                  <a:pt x="3283" y="259"/>
                  <a:pt x="3283" y="256"/>
                </a:cubicBezTo>
                <a:cubicBezTo>
                  <a:pt x="3283" y="254"/>
                  <a:pt x="3285" y="250"/>
                  <a:pt x="3289" y="244"/>
                </a:cubicBezTo>
                <a:cubicBezTo>
                  <a:pt x="3292" y="238"/>
                  <a:pt x="3296" y="232"/>
                  <a:pt x="3300" y="228"/>
                </a:cubicBezTo>
                <a:cubicBezTo>
                  <a:pt x="3304" y="223"/>
                  <a:pt x="3307" y="220"/>
                  <a:pt x="3308" y="220"/>
                </a:cubicBezTo>
                <a:cubicBezTo>
                  <a:pt x="3309" y="220"/>
                  <a:pt x="3309" y="220"/>
                  <a:pt x="3309" y="220"/>
                </a:cubicBezTo>
                <a:cubicBezTo>
                  <a:pt x="3309" y="221"/>
                  <a:pt x="3308" y="223"/>
                  <a:pt x="3306" y="224"/>
                </a:cubicBezTo>
                <a:cubicBezTo>
                  <a:pt x="3300" y="231"/>
                  <a:pt x="3297" y="235"/>
                  <a:pt x="3297" y="237"/>
                </a:cubicBezTo>
                <a:lnTo>
                  <a:pt x="3297" y="237"/>
                </a:lnTo>
                <a:lnTo>
                  <a:pt x="3298" y="237"/>
                </a:lnTo>
                <a:cubicBezTo>
                  <a:pt x="3298" y="237"/>
                  <a:pt x="3300" y="236"/>
                  <a:pt x="3303" y="232"/>
                </a:cubicBezTo>
                <a:cubicBezTo>
                  <a:pt x="3305" y="230"/>
                  <a:pt x="3308" y="226"/>
                  <a:pt x="3310" y="223"/>
                </a:cubicBezTo>
                <a:cubicBezTo>
                  <a:pt x="3311" y="219"/>
                  <a:pt x="3313" y="217"/>
                  <a:pt x="3313" y="215"/>
                </a:cubicBezTo>
                <a:cubicBezTo>
                  <a:pt x="3313" y="212"/>
                  <a:pt x="3315" y="211"/>
                  <a:pt x="3316" y="211"/>
                </a:cubicBezTo>
                <a:cubicBezTo>
                  <a:pt x="3317" y="211"/>
                  <a:pt x="3318" y="210"/>
                  <a:pt x="3318" y="209"/>
                </a:cubicBezTo>
                <a:lnTo>
                  <a:pt x="3317" y="207"/>
                </a:lnTo>
                <a:lnTo>
                  <a:pt x="3319" y="206"/>
                </a:lnTo>
                <a:cubicBezTo>
                  <a:pt x="3320" y="206"/>
                  <a:pt x="3324" y="203"/>
                  <a:pt x="3331" y="195"/>
                </a:cubicBezTo>
                <a:cubicBezTo>
                  <a:pt x="3338" y="188"/>
                  <a:pt x="3342" y="184"/>
                  <a:pt x="3344" y="184"/>
                </a:cubicBezTo>
                <a:cubicBezTo>
                  <a:pt x="3344" y="184"/>
                  <a:pt x="3344" y="184"/>
                  <a:pt x="3344" y="184"/>
                </a:cubicBezTo>
                <a:lnTo>
                  <a:pt x="3343" y="188"/>
                </a:lnTo>
                <a:cubicBezTo>
                  <a:pt x="3343" y="189"/>
                  <a:pt x="3343" y="189"/>
                  <a:pt x="3344" y="189"/>
                </a:cubicBezTo>
                <a:cubicBezTo>
                  <a:pt x="3345" y="189"/>
                  <a:pt x="3350" y="186"/>
                  <a:pt x="3357" y="178"/>
                </a:cubicBezTo>
                <a:cubicBezTo>
                  <a:pt x="3371" y="164"/>
                  <a:pt x="3386" y="152"/>
                  <a:pt x="3403" y="143"/>
                </a:cubicBezTo>
                <a:cubicBezTo>
                  <a:pt x="3419" y="135"/>
                  <a:pt x="3433" y="131"/>
                  <a:pt x="3444" y="131"/>
                </a:cubicBezTo>
                <a:cubicBezTo>
                  <a:pt x="3449" y="131"/>
                  <a:pt x="3454" y="132"/>
                  <a:pt x="3457" y="134"/>
                </a:cubicBezTo>
                <a:cubicBezTo>
                  <a:pt x="3458" y="135"/>
                  <a:pt x="3459" y="136"/>
                  <a:pt x="3460" y="136"/>
                </a:cubicBezTo>
                <a:cubicBezTo>
                  <a:pt x="3460" y="136"/>
                  <a:pt x="3462" y="136"/>
                  <a:pt x="3464" y="136"/>
                </a:cubicBezTo>
                <a:cubicBezTo>
                  <a:pt x="3465" y="137"/>
                  <a:pt x="3468" y="137"/>
                  <a:pt x="3471" y="139"/>
                </a:cubicBezTo>
                <a:cubicBezTo>
                  <a:pt x="3478" y="143"/>
                  <a:pt x="3483" y="147"/>
                  <a:pt x="3486" y="151"/>
                </a:cubicBezTo>
                <a:cubicBezTo>
                  <a:pt x="3488" y="153"/>
                  <a:pt x="3489" y="156"/>
                  <a:pt x="3490" y="160"/>
                </a:cubicBezTo>
                <a:cubicBezTo>
                  <a:pt x="3493" y="169"/>
                  <a:pt x="3494" y="179"/>
                  <a:pt x="3494" y="191"/>
                </a:cubicBezTo>
                <a:cubicBezTo>
                  <a:pt x="3494" y="236"/>
                  <a:pt x="3476" y="289"/>
                  <a:pt x="3440" y="350"/>
                </a:cubicBezTo>
                <a:cubicBezTo>
                  <a:pt x="3403" y="411"/>
                  <a:pt x="3360" y="459"/>
                  <a:pt x="3312" y="495"/>
                </a:cubicBezTo>
                <a:cubicBezTo>
                  <a:pt x="3299" y="502"/>
                  <a:pt x="3291" y="506"/>
                  <a:pt x="3288" y="506"/>
                </a:cubicBezTo>
                <a:cubicBezTo>
                  <a:pt x="3288" y="506"/>
                  <a:pt x="3287" y="506"/>
                  <a:pt x="3287" y="505"/>
                </a:cubicBezTo>
                <a:cubicBezTo>
                  <a:pt x="3287" y="505"/>
                  <a:pt x="3288" y="504"/>
                  <a:pt x="3288" y="502"/>
                </a:cubicBezTo>
                <a:cubicBezTo>
                  <a:pt x="3290" y="500"/>
                  <a:pt x="3292" y="500"/>
                  <a:pt x="3293" y="500"/>
                </a:cubicBezTo>
                <a:cubicBezTo>
                  <a:pt x="3294" y="500"/>
                  <a:pt x="3294" y="500"/>
                  <a:pt x="3294" y="501"/>
                </a:cubicBezTo>
                <a:cubicBezTo>
                  <a:pt x="3294" y="501"/>
                  <a:pt x="3294" y="502"/>
                  <a:pt x="3293" y="502"/>
                </a:cubicBezTo>
                <a:cubicBezTo>
                  <a:pt x="3293" y="503"/>
                  <a:pt x="3293" y="504"/>
                  <a:pt x="3293" y="504"/>
                </a:cubicBezTo>
                <a:lnTo>
                  <a:pt x="3295" y="503"/>
                </a:lnTo>
                <a:cubicBezTo>
                  <a:pt x="3295" y="503"/>
                  <a:pt x="3296" y="502"/>
                  <a:pt x="3296" y="501"/>
                </a:cubicBezTo>
                <a:cubicBezTo>
                  <a:pt x="3296" y="496"/>
                  <a:pt x="3297" y="493"/>
                  <a:pt x="3298" y="493"/>
                </a:cubicBezTo>
                <a:cubicBezTo>
                  <a:pt x="3298" y="493"/>
                  <a:pt x="3299" y="494"/>
                  <a:pt x="3301" y="495"/>
                </a:cubicBezTo>
                <a:lnTo>
                  <a:pt x="3303" y="497"/>
                </a:lnTo>
                <a:cubicBezTo>
                  <a:pt x="3303" y="497"/>
                  <a:pt x="3303" y="496"/>
                  <a:pt x="3303" y="495"/>
                </a:cubicBezTo>
                <a:cubicBezTo>
                  <a:pt x="3302" y="495"/>
                  <a:pt x="3302" y="494"/>
                  <a:pt x="3302" y="493"/>
                </a:cubicBezTo>
                <a:cubicBezTo>
                  <a:pt x="3302" y="492"/>
                  <a:pt x="3303" y="490"/>
                  <a:pt x="3304" y="489"/>
                </a:cubicBezTo>
                <a:cubicBezTo>
                  <a:pt x="3305" y="487"/>
                  <a:pt x="3306" y="487"/>
                  <a:pt x="3308" y="487"/>
                </a:cubicBezTo>
                <a:cubicBezTo>
                  <a:pt x="3309" y="487"/>
                  <a:pt x="3309" y="488"/>
                  <a:pt x="3309" y="489"/>
                </a:cubicBezTo>
                <a:cubicBezTo>
                  <a:pt x="3309" y="490"/>
                  <a:pt x="3309" y="490"/>
                  <a:pt x="3309" y="491"/>
                </a:cubicBezTo>
                <a:cubicBezTo>
                  <a:pt x="3309" y="492"/>
                  <a:pt x="3308" y="492"/>
                  <a:pt x="3308" y="492"/>
                </a:cubicBezTo>
                <a:lnTo>
                  <a:pt x="3310" y="491"/>
                </a:lnTo>
                <a:cubicBezTo>
                  <a:pt x="3311" y="490"/>
                  <a:pt x="3311" y="489"/>
                  <a:pt x="3311" y="488"/>
                </a:cubicBezTo>
                <a:cubicBezTo>
                  <a:pt x="3311" y="486"/>
                  <a:pt x="3312" y="484"/>
                  <a:pt x="3314" y="481"/>
                </a:cubicBezTo>
                <a:cubicBezTo>
                  <a:pt x="3316" y="479"/>
                  <a:pt x="3318" y="478"/>
                  <a:pt x="3320" y="478"/>
                </a:cubicBezTo>
                <a:lnTo>
                  <a:pt x="3323" y="478"/>
                </a:lnTo>
                <a:lnTo>
                  <a:pt x="3325" y="477"/>
                </a:lnTo>
                <a:lnTo>
                  <a:pt x="3325" y="476"/>
                </a:lnTo>
                <a:cubicBezTo>
                  <a:pt x="3325" y="474"/>
                  <a:pt x="3327" y="471"/>
                  <a:pt x="3331" y="467"/>
                </a:cubicBezTo>
                <a:lnTo>
                  <a:pt x="3335" y="464"/>
                </a:lnTo>
                <a:cubicBezTo>
                  <a:pt x="3335" y="465"/>
                  <a:pt x="3335" y="465"/>
                  <a:pt x="3335" y="465"/>
                </a:cubicBezTo>
                <a:cubicBezTo>
                  <a:pt x="3336" y="465"/>
                  <a:pt x="3337" y="463"/>
                  <a:pt x="3340" y="459"/>
                </a:cubicBezTo>
                <a:cubicBezTo>
                  <a:pt x="3342" y="455"/>
                  <a:pt x="3344" y="453"/>
                  <a:pt x="3346" y="453"/>
                </a:cubicBezTo>
                <a:cubicBezTo>
                  <a:pt x="3346" y="453"/>
                  <a:pt x="3347" y="454"/>
                  <a:pt x="3347" y="454"/>
                </a:cubicBezTo>
                <a:cubicBezTo>
                  <a:pt x="3347" y="455"/>
                  <a:pt x="3346" y="456"/>
                  <a:pt x="3346" y="456"/>
                </a:cubicBezTo>
                <a:cubicBezTo>
                  <a:pt x="3345" y="457"/>
                  <a:pt x="3345" y="458"/>
                  <a:pt x="3345" y="458"/>
                </a:cubicBezTo>
                <a:cubicBezTo>
                  <a:pt x="3345" y="458"/>
                  <a:pt x="3347" y="458"/>
                  <a:pt x="3348" y="456"/>
                </a:cubicBezTo>
                <a:cubicBezTo>
                  <a:pt x="3349" y="455"/>
                  <a:pt x="3350" y="454"/>
                  <a:pt x="3350" y="453"/>
                </a:cubicBezTo>
                <a:cubicBezTo>
                  <a:pt x="3350" y="452"/>
                  <a:pt x="3350" y="451"/>
                  <a:pt x="3349" y="451"/>
                </a:cubicBezTo>
                <a:cubicBezTo>
                  <a:pt x="3349" y="450"/>
                  <a:pt x="3348" y="449"/>
                  <a:pt x="3348" y="448"/>
                </a:cubicBezTo>
                <a:cubicBezTo>
                  <a:pt x="3348" y="447"/>
                  <a:pt x="3352" y="444"/>
                  <a:pt x="3358" y="439"/>
                </a:cubicBezTo>
                <a:cubicBezTo>
                  <a:pt x="3365" y="433"/>
                  <a:pt x="3369" y="430"/>
                  <a:pt x="3369" y="429"/>
                </a:cubicBezTo>
                <a:cubicBezTo>
                  <a:pt x="3369" y="427"/>
                  <a:pt x="3370" y="427"/>
                  <a:pt x="3371" y="427"/>
                </a:cubicBezTo>
                <a:cubicBezTo>
                  <a:pt x="3372" y="427"/>
                  <a:pt x="3376" y="423"/>
                  <a:pt x="3382" y="416"/>
                </a:cubicBezTo>
                <a:cubicBezTo>
                  <a:pt x="3387" y="411"/>
                  <a:pt x="3389" y="407"/>
                  <a:pt x="3389" y="406"/>
                </a:cubicBezTo>
                <a:lnTo>
                  <a:pt x="3388" y="406"/>
                </a:lnTo>
                <a:cubicBezTo>
                  <a:pt x="3388" y="406"/>
                  <a:pt x="3391" y="402"/>
                  <a:pt x="3397" y="395"/>
                </a:cubicBezTo>
                <a:cubicBezTo>
                  <a:pt x="3406" y="386"/>
                  <a:pt x="3410" y="380"/>
                  <a:pt x="3410" y="379"/>
                </a:cubicBezTo>
                <a:cubicBezTo>
                  <a:pt x="3410" y="377"/>
                  <a:pt x="3412" y="375"/>
                  <a:pt x="3415" y="371"/>
                </a:cubicBezTo>
                <a:cubicBezTo>
                  <a:pt x="3419" y="367"/>
                  <a:pt x="3421" y="365"/>
                  <a:pt x="3421" y="363"/>
                </a:cubicBezTo>
                <a:cubicBezTo>
                  <a:pt x="3421" y="362"/>
                  <a:pt x="3422" y="360"/>
                  <a:pt x="3425" y="356"/>
                </a:cubicBezTo>
                <a:cubicBezTo>
                  <a:pt x="3428" y="353"/>
                  <a:pt x="3429" y="350"/>
                  <a:pt x="3429" y="349"/>
                </a:cubicBezTo>
                <a:cubicBezTo>
                  <a:pt x="3429" y="347"/>
                  <a:pt x="3429" y="346"/>
                  <a:pt x="3430" y="346"/>
                </a:cubicBezTo>
                <a:cubicBezTo>
                  <a:pt x="3430" y="345"/>
                  <a:pt x="3430" y="345"/>
                  <a:pt x="3431" y="344"/>
                </a:cubicBezTo>
                <a:lnTo>
                  <a:pt x="3432" y="344"/>
                </a:lnTo>
                <a:cubicBezTo>
                  <a:pt x="3433" y="344"/>
                  <a:pt x="3434" y="343"/>
                  <a:pt x="3437" y="339"/>
                </a:cubicBezTo>
                <a:cubicBezTo>
                  <a:pt x="3439" y="336"/>
                  <a:pt x="3440" y="334"/>
                  <a:pt x="3440" y="333"/>
                </a:cubicBezTo>
                <a:cubicBezTo>
                  <a:pt x="3440" y="333"/>
                  <a:pt x="3439" y="332"/>
                  <a:pt x="3439" y="332"/>
                </a:cubicBezTo>
                <a:cubicBezTo>
                  <a:pt x="3439" y="332"/>
                  <a:pt x="3439" y="332"/>
                  <a:pt x="3439" y="332"/>
                </a:cubicBezTo>
                <a:cubicBezTo>
                  <a:pt x="3439" y="331"/>
                  <a:pt x="3439" y="331"/>
                  <a:pt x="3441" y="329"/>
                </a:cubicBezTo>
                <a:cubicBezTo>
                  <a:pt x="3443" y="328"/>
                  <a:pt x="3444" y="326"/>
                  <a:pt x="3445" y="323"/>
                </a:cubicBezTo>
                <a:cubicBezTo>
                  <a:pt x="3445" y="322"/>
                  <a:pt x="3446" y="321"/>
                  <a:pt x="3447" y="320"/>
                </a:cubicBezTo>
                <a:cubicBezTo>
                  <a:pt x="3447" y="318"/>
                  <a:pt x="3448" y="317"/>
                  <a:pt x="3450" y="316"/>
                </a:cubicBezTo>
                <a:cubicBezTo>
                  <a:pt x="3451" y="313"/>
                  <a:pt x="3452" y="311"/>
                  <a:pt x="3452" y="308"/>
                </a:cubicBezTo>
                <a:lnTo>
                  <a:pt x="3452" y="306"/>
                </a:lnTo>
                <a:cubicBezTo>
                  <a:pt x="3452" y="305"/>
                  <a:pt x="3452" y="304"/>
                  <a:pt x="3454" y="303"/>
                </a:cubicBezTo>
                <a:cubicBezTo>
                  <a:pt x="3456" y="302"/>
                  <a:pt x="3457" y="301"/>
                  <a:pt x="3457" y="300"/>
                </a:cubicBezTo>
                <a:lnTo>
                  <a:pt x="3456" y="298"/>
                </a:lnTo>
                <a:cubicBezTo>
                  <a:pt x="3456" y="296"/>
                  <a:pt x="3457" y="295"/>
                  <a:pt x="3457" y="294"/>
                </a:cubicBezTo>
                <a:cubicBezTo>
                  <a:pt x="3458" y="293"/>
                  <a:pt x="3459" y="292"/>
                  <a:pt x="3459" y="292"/>
                </a:cubicBezTo>
                <a:lnTo>
                  <a:pt x="3460" y="292"/>
                </a:lnTo>
                <a:cubicBezTo>
                  <a:pt x="3461" y="292"/>
                  <a:pt x="3461" y="292"/>
                  <a:pt x="3461" y="291"/>
                </a:cubicBezTo>
                <a:lnTo>
                  <a:pt x="3460" y="287"/>
                </a:lnTo>
                <a:cubicBezTo>
                  <a:pt x="3460" y="287"/>
                  <a:pt x="3460" y="287"/>
                  <a:pt x="3460" y="287"/>
                </a:cubicBezTo>
                <a:lnTo>
                  <a:pt x="3464" y="288"/>
                </a:lnTo>
                <a:cubicBezTo>
                  <a:pt x="3464" y="288"/>
                  <a:pt x="3464" y="288"/>
                  <a:pt x="3464" y="288"/>
                </a:cubicBezTo>
                <a:lnTo>
                  <a:pt x="3464" y="287"/>
                </a:lnTo>
                <a:cubicBezTo>
                  <a:pt x="3464" y="282"/>
                  <a:pt x="3465" y="275"/>
                  <a:pt x="3469" y="267"/>
                </a:cubicBezTo>
                <a:cubicBezTo>
                  <a:pt x="3481" y="232"/>
                  <a:pt x="3487" y="205"/>
                  <a:pt x="3487" y="186"/>
                </a:cubicBezTo>
                <a:cubicBezTo>
                  <a:pt x="3487" y="179"/>
                  <a:pt x="3486" y="174"/>
                  <a:pt x="3484" y="169"/>
                </a:cubicBezTo>
                <a:cubicBezTo>
                  <a:pt x="3482" y="165"/>
                  <a:pt x="3481" y="163"/>
                  <a:pt x="3481" y="163"/>
                </a:cubicBezTo>
                <a:cubicBezTo>
                  <a:pt x="3481" y="163"/>
                  <a:pt x="3480" y="163"/>
                  <a:pt x="3480" y="164"/>
                </a:cubicBezTo>
                <a:cubicBezTo>
                  <a:pt x="3480" y="164"/>
                  <a:pt x="3481" y="166"/>
                  <a:pt x="3482" y="169"/>
                </a:cubicBezTo>
                <a:cubicBezTo>
                  <a:pt x="3482" y="173"/>
                  <a:pt x="3483" y="177"/>
                  <a:pt x="3483" y="183"/>
                </a:cubicBezTo>
                <a:cubicBezTo>
                  <a:pt x="3483" y="192"/>
                  <a:pt x="3482" y="203"/>
                  <a:pt x="3479" y="213"/>
                </a:cubicBezTo>
                <a:lnTo>
                  <a:pt x="3477" y="224"/>
                </a:lnTo>
                <a:cubicBezTo>
                  <a:pt x="3477" y="226"/>
                  <a:pt x="3476" y="230"/>
                  <a:pt x="3474" y="235"/>
                </a:cubicBezTo>
                <a:cubicBezTo>
                  <a:pt x="3472" y="242"/>
                  <a:pt x="3470" y="246"/>
                  <a:pt x="3469" y="246"/>
                </a:cubicBezTo>
                <a:cubicBezTo>
                  <a:pt x="3468" y="246"/>
                  <a:pt x="3468" y="248"/>
                  <a:pt x="3468" y="252"/>
                </a:cubicBezTo>
                <a:cubicBezTo>
                  <a:pt x="3468" y="256"/>
                  <a:pt x="3467" y="259"/>
                  <a:pt x="3464" y="264"/>
                </a:cubicBezTo>
                <a:cubicBezTo>
                  <a:pt x="3462" y="268"/>
                  <a:pt x="3461" y="271"/>
                  <a:pt x="3461" y="274"/>
                </a:cubicBezTo>
                <a:cubicBezTo>
                  <a:pt x="3461" y="274"/>
                  <a:pt x="3461" y="275"/>
                  <a:pt x="3462" y="275"/>
                </a:cubicBezTo>
                <a:lnTo>
                  <a:pt x="3462" y="276"/>
                </a:lnTo>
                <a:cubicBezTo>
                  <a:pt x="3461" y="276"/>
                  <a:pt x="3460" y="275"/>
                  <a:pt x="3459" y="273"/>
                </a:cubicBezTo>
                <a:cubicBezTo>
                  <a:pt x="3457" y="272"/>
                  <a:pt x="3456" y="271"/>
                  <a:pt x="3456" y="271"/>
                </a:cubicBezTo>
                <a:lnTo>
                  <a:pt x="3456" y="271"/>
                </a:lnTo>
                <a:cubicBezTo>
                  <a:pt x="3456" y="272"/>
                  <a:pt x="3456" y="274"/>
                  <a:pt x="3458" y="278"/>
                </a:cubicBezTo>
                <a:cubicBezTo>
                  <a:pt x="3458" y="280"/>
                  <a:pt x="3459" y="281"/>
                  <a:pt x="3459" y="283"/>
                </a:cubicBezTo>
                <a:cubicBezTo>
                  <a:pt x="3459" y="285"/>
                  <a:pt x="3457" y="287"/>
                  <a:pt x="3454" y="290"/>
                </a:cubicBezTo>
                <a:cubicBezTo>
                  <a:pt x="3451" y="293"/>
                  <a:pt x="3450" y="294"/>
                  <a:pt x="3450" y="294"/>
                </a:cubicBezTo>
                <a:cubicBezTo>
                  <a:pt x="3450" y="295"/>
                  <a:pt x="3450" y="295"/>
                  <a:pt x="3450" y="295"/>
                </a:cubicBezTo>
                <a:lnTo>
                  <a:pt x="3452" y="294"/>
                </a:lnTo>
                <a:cubicBezTo>
                  <a:pt x="3453" y="294"/>
                  <a:pt x="3453" y="294"/>
                  <a:pt x="3453" y="296"/>
                </a:cubicBezTo>
                <a:cubicBezTo>
                  <a:pt x="3452" y="298"/>
                  <a:pt x="3451" y="299"/>
                  <a:pt x="3450" y="299"/>
                </a:cubicBezTo>
                <a:cubicBezTo>
                  <a:pt x="3449" y="299"/>
                  <a:pt x="3447" y="299"/>
                  <a:pt x="3446" y="301"/>
                </a:cubicBezTo>
                <a:cubicBezTo>
                  <a:pt x="3446" y="303"/>
                  <a:pt x="3446" y="304"/>
                  <a:pt x="3446" y="304"/>
                </a:cubicBezTo>
                <a:lnTo>
                  <a:pt x="3448" y="303"/>
                </a:lnTo>
                <a:cubicBezTo>
                  <a:pt x="3449" y="303"/>
                  <a:pt x="3449" y="303"/>
                  <a:pt x="3449" y="304"/>
                </a:cubicBezTo>
                <a:cubicBezTo>
                  <a:pt x="3449" y="305"/>
                  <a:pt x="3448" y="308"/>
                  <a:pt x="3445" y="314"/>
                </a:cubicBezTo>
                <a:cubicBezTo>
                  <a:pt x="3442" y="320"/>
                  <a:pt x="3440" y="323"/>
                  <a:pt x="3438" y="323"/>
                </a:cubicBezTo>
                <a:cubicBezTo>
                  <a:pt x="3437" y="323"/>
                  <a:pt x="3437" y="323"/>
                  <a:pt x="3437" y="322"/>
                </a:cubicBezTo>
                <a:lnTo>
                  <a:pt x="3438" y="318"/>
                </a:lnTo>
                <a:cubicBezTo>
                  <a:pt x="3437" y="318"/>
                  <a:pt x="3436" y="320"/>
                  <a:pt x="3433" y="323"/>
                </a:cubicBezTo>
                <a:cubicBezTo>
                  <a:pt x="3431" y="325"/>
                  <a:pt x="3430" y="326"/>
                  <a:pt x="3430" y="327"/>
                </a:cubicBezTo>
                <a:lnTo>
                  <a:pt x="3437" y="326"/>
                </a:lnTo>
                <a:cubicBezTo>
                  <a:pt x="3437" y="326"/>
                  <a:pt x="3437" y="326"/>
                  <a:pt x="3437" y="326"/>
                </a:cubicBezTo>
                <a:cubicBezTo>
                  <a:pt x="3437" y="327"/>
                  <a:pt x="3436" y="330"/>
                  <a:pt x="3433" y="335"/>
                </a:cubicBezTo>
                <a:cubicBezTo>
                  <a:pt x="3431" y="338"/>
                  <a:pt x="3429" y="341"/>
                  <a:pt x="3427" y="343"/>
                </a:cubicBezTo>
                <a:cubicBezTo>
                  <a:pt x="3425" y="346"/>
                  <a:pt x="3424" y="347"/>
                  <a:pt x="3423" y="347"/>
                </a:cubicBezTo>
                <a:cubicBezTo>
                  <a:pt x="3423" y="347"/>
                  <a:pt x="3423" y="347"/>
                  <a:pt x="3423" y="346"/>
                </a:cubicBezTo>
                <a:lnTo>
                  <a:pt x="3424" y="343"/>
                </a:lnTo>
                <a:cubicBezTo>
                  <a:pt x="3424" y="343"/>
                  <a:pt x="3422" y="344"/>
                  <a:pt x="3420" y="346"/>
                </a:cubicBezTo>
                <a:cubicBezTo>
                  <a:pt x="3417" y="348"/>
                  <a:pt x="3415" y="351"/>
                  <a:pt x="3415" y="353"/>
                </a:cubicBezTo>
                <a:cubicBezTo>
                  <a:pt x="3415" y="354"/>
                  <a:pt x="3408" y="364"/>
                  <a:pt x="3393" y="384"/>
                </a:cubicBezTo>
                <a:cubicBezTo>
                  <a:pt x="3388" y="390"/>
                  <a:pt x="3386" y="394"/>
                  <a:pt x="3386" y="395"/>
                </a:cubicBezTo>
                <a:cubicBezTo>
                  <a:pt x="3386" y="396"/>
                  <a:pt x="3383" y="399"/>
                  <a:pt x="3379" y="404"/>
                </a:cubicBezTo>
                <a:cubicBezTo>
                  <a:pt x="3376" y="406"/>
                  <a:pt x="3374" y="408"/>
                  <a:pt x="3374" y="409"/>
                </a:cubicBezTo>
                <a:lnTo>
                  <a:pt x="3376" y="409"/>
                </a:lnTo>
                <a:cubicBezTo>
                  <a:pt x="3375" y="410"/>
                  <a:pt x="3373" y="413"/>
                  <a:pt x="3367" y="418"/>
                </a:cubicBezTo>
                <a:cubicBezTo>
                  <a:pt x="3360" y="424"/>
                  <a:pt x="3357" y="429"/>
                  <a:pt x="3357" y="430"/>
                </a:cubicBezTo>
                <a:lnTo>
                  <a:pt x="3357" y="431"/>
                </a:lnTo>
                <a:cubicBezTo>
                  <a:pt x="3357" y="431"/>
                  <a:pt x="3356" y="433"/>
                  <a:pt x="3353" y="436"/>
                </a:cubicBezTo>
                <a:cubicBezTo>
                  <a:pt x="3350" y="441"/>
                  <a:pt x="3344" y="446"/>
                  <a:pt x="3336" y="453"/>
                </a:cubicBezTo>
                <a:lnTo>
                  <a:pt x="3331" y="457"/>
                </a:lnTo>
                <a:lnTo>
                  <a:pt x="3330" y="457"/>
                </a:lnTo>
                <a:lnTo>
                  <a:pt x="3330" y="458"/>
                </a:lnTo>
                <a:cubicBezTo>
                  <a:pt x="3330" y="460"/>
                  <a:pt x="3326" y="466"/>
                  <a:pt x="3317" y="475"/>
                </a:cubicBezTo>
                <a:cubicBezTo>
                  <a:pt x="3308" y="483"/>
                  <a:pt x="3297" y="492"/>
                  <a:pt x="3284" y="501"/>
                </a:cubicBezTo>
                <a:cubicBezTo>
                  <a:pt x="3270" y="511"/>
                  <a:pt x="3263" y="517"/>
                  <a:pt x="3263" y="518"/>
                </a:cubicBezTo>
                <a:cubicBezTo>
                  <a:pt x="3263" y="519"/>
                  <a:pt x="3263" y="519"/>
                  <a:pt x="3262" y="519"/>
                </a:cubicBezTo>
                <a:lnTo>
                  <a:pt x="3258" y="518"/>
                </a:lnTo>
                <a:lnTo>
                  <a:pt x="3256" y="519"/>
                </a:lnTo>
                <a:lnTo>
                  <a:pt x="3257" y="520"/>
                </a:lnTo>
                <a:cubicBezTo>
                  <a:pt x="3257" y="522"/>
                  <a:pt x="3250" y="523"/>
                  <a:pt x="3237" y="523"/>
                </a:cubicBezTo>
                <a:lnTo>
                  <a:pt x="3231" y="523"/>
                </a:lnTo>
                <a:cubicBezTo>
                  <a:pt x="3223" y="523"/>
                  <a:pt x="3217" y="522"/>
                  <a:pt x="3213" y="520"/>
                </a:cubicBezTo>
                <a:cubicBezTo>
                  <a:pt x="3210" y="518"/>
                  <a:pt x="3207" y="514"/>
                  <a:pt x="3205" y="509"/>
                </a:cubicBezTo>
                <a:cubicBezTo>
                  <a:pt x="3204" y="506"/>
                  <a:pt x="3204" y="504"/>
                  <a:pt x="3203" y="504"/>
                </a:cubicBezTo>
                <a:cubicBezTo>
                  <a:pt x="3202" y="504"/>
                  <a:pt x="3202" y="505"/>
                  <a:pt x="3201" y="507"/>
                </a:cubicBezTo>
                <a:cubicBezTo>
                  <a:pt x="3200" y="509"/>
                  <a:pt x="3200" y="511"/>
                  <a:pt x="3200" y="511"/>
                </a:cubicBezTo>
                <a:lnTo>
                  <a:pt x="3199" y="509"/>
                </a:lnTo>
                <a:cubicBezTo>
                  <a:pt x="3199" y="507"/>
                  <a:pt x="3200" y="505"/>
                  <a:pt x="3201" y="503"/>
                </a:cubicBezTo>
                <a:cubicBezTo>
                  <a:pt x="3202" y="502"/>
                  <a:pt x="3202" y="500"/>
                  <a:pt x="3202" y="498"/>
                </a:cubicBezTo>
                <a:cubicBezTo>
                  <a:pt x="3202" y="497"/>
                  <a:pt x="3202" y="496"/>
                  <a:pt x="3201" y="496"/>
                </a:cubicBezTo>
                <a:lnTo>
                  <a:pt x="3200" y="497"/>
                </a:lnTo>
                <a:cubicBezTo>
                  <a:pt x="3199" y="497"/>
                  <a:pt x="3199" y="496"/>
                  <a:pt x="3199" y="495"/>
                </a:cubicBezTo>
                <a:cubicBezTo>
                  <a:pt x="3199" y="494"/>
                  <a:pt x="3199" y="493"/>
                  <a:pt x="3199" y="493"/>
                </a:cubicBezTo>
                <a:lnTo>
                  <a:pt x="3199" y="493"/>
                </a:lnTo>
                <a:cubicBezTo>
                  <a:pt x="3198" y="493"/>
                  <a:pt x="3198" y="494"/>
                  <a:pt x="3197" y="496"/>
                </a:cubicBezTo>
                <a:cubicBezTo>
                  <a:pt x="3196" y="497"/>
                  <a:pt x="3196" y="499"/>
                  <a:pt x="3196" y="501"/>
                </a:cubicBezTo>
                <a:cubicBezTo>
                  <a:pt x="3196" y="502"/>
                  <a:pt x="3196" y="504"/>
                  <a:pt x="3196" y="505"/>
                </a:cubicBezTo>
                <a:cubicBezTo>
                  <a:pt x="3197" y="505"/>
                  <a:pt x="3197" y="506"/>
                  <a:pt x="3197" y="507"/>
                </a:cubicBezTo>
                <a:cubicBezTo>
                  <a:pt x="3197" y="508"/>
                  <a:pt x="3196" y="508"/>
                  <a:pt x="3196" y="508"/>
                </a:cubicBezTo>
                <a:lnTo>
                  <a:pt x="3195" y="508"/>
                </a:lnTo>
                <a:cubicBezTo>
                  <a:pt x="3194" y="508"/>
                  <a:pt x="3193" y="508"/>
                  <a:pt x="3192" y="510"/>
                </a:cubicBezTo>
                <a:cubicBezTo>
                  <a:pt x="3191" y="511"/>
                  <a:pt x="3191" y="513"/>
                  <a:pt x="3191" y="515"/>
                </a:cubicBezTo>
                <a:cubicBezTo>
                  <a:pt x="3191" y="516"/>
                  <a:pt x="3191" y="517"/>
                  <a:pt x="3192" y="518"/>
                </a:cubicBezTo>
                <a:lnTo>
                  <a:pt x="3192" y="519"/>
                </a:lnTo>
                <a:cubicBezTo>
                  <a:pt x="3192" y="519"/>
                  <a:pt x="3192" y="520"/>
                  <a:pt x="3192" y="520"/>
                </a:cubicBezTo>
                <a:lnTo>
                  <a:pt x="3189" y="519"/>
                </a:lnTo>
                <a:cubicBezTo>
                  <a:pt x="3189" y="519"/>
                  <a:pt x="3189" y="519"/>
                  <a:pt x="3189" y="519"/>
                </a:cubicBezTo>
                <a:lnTo>
                  <a:pt x="3190" y="525"/>
                </a:lnTo>
                <a:cubicBezTo>
                  <a:pt x="3190" y="526"/>
                  <a:pt x="3190" y="526"/>
                  <a:pt x="3189" y="526"/>
                </a:cubicBezTo>
                <a:lnTo>
                  <a:pt x="3187" y="525"/>
                </a:lnTo>
                <a:cubicBezTo>
                  <a:pt x="3186" y="525"/>
                  <a:pt x="3186" y="526"/>
                  <a:pt x="3186" y="526"/>
                </a:cubicBezTo>
                <a:lnTo>
                  <a:pt x="3187" y="530"/>
                </a:lnTo>
                <a:cubicBezTo>
                  <a:pt x="3187" y="531"/>
                  <a:pt x="3187" y="532"/>
                  <a:pt x="3186" y="532"/>
                </a:cubicBezTo>
                <a:cubicBezTo>
                  <a:pt x="3186" y="532"/>
                  <a:pt x="3185" y="532"/>
                  <a:pt x="3185" y="534"/>
                </a:cubicBezTo>
                <a:lnTo>
                  <a:pt x="3186" y="539"/>
                </a:lnTo>
                <a:cubicBezTo>
                  <a:pt x="3186" y="540"/>
                  <a:pt x="3186" y="541"/>
                  <a:pt x="3186" y="541"/>
                </a:cubicBezTo>
                <a:cubicBezTo>
                  <a:pt x="3185" y="541"/>
                  <a:pt x="3184" y="540"/>
                  <a:pt x="3184" y="539"/>
                </a:cubicBezTo>
                <a:cubicBezTo>
                  <a:pt x="3183" y="539"/>
                  <a:pt x="3182" y="539"/>
                  <a:pt x="3182" y="539"/>
                </a:cubicBezTo>
                <a:lnTo>
                  <a:pt x="3182" y="539"/>
                </a:lnTo>
                <a:cubicBezTo>
                  <a:pt x="3182" y="539"/>
                  <a:pt x="3182" y="540"/>
                  <a:pt x="3184" y="541"/>
                </a:cubicBezTo>
                <a:cubicBezTo>
                  <a:pt x="3185" y="543"/>
                  <a:pt x="3185" y="544"/>
                  <a:pt x="3185" y="544"/>
                </a:cubicBezTo>
                <a:cubicBezTo>
                  <a:pt x="3185" y="546"/>
                  <a:pt x="3185" y="546"/>
                  <a:pt x="3183" y="546"/>
                </a:cubicBezTo>
                <a:lnTo>
                  <a:pt x="3181" y="546"/>
                </a:lnTo>
                <a:cubicBezTo>
                  <a:pt x="3181" y="546"/>
                  <a:pt x="3181" y="546"/>
                  <a:pt x="3181" y="546"/>
                </a:cubicBezTo>
                <a:cubicBezTo>
                  <a:pt x="3181" y="547"/>
                  <a:pt x="3181" y="548"/>
                  <a:pt x="3182" y="549"/>
                </a:cubicBezTo>
                <a:cubicBezTo>
                  <a:pt x="3182" y="551"/>
                  <a:pt x="3182" y="553"/>
                  <a:pt x="3182" y="554"/>
                </a:cubicBezTo>
                <a:cubicBezTo>
                  <a:pt x="3182" y="556"/>
                  <a:pt x="3182" y="558"/>
                  <a:pt x="3181" y="560"/>
                </a:cubicBezTo>
                <a:cubicBezTo>
                  <a:pt x="3181" y="562"/>
                  <a:pt x="3179" y="563"/>
                  <a:pt x="3178" y="563"/>
                </a:cubicBezTo>
                <a:lnTo>
                  <a:pt x="3176" y="562"/>
                </a:lnTo>
                <a:cubicBezTo>
                  <a:pt x="3176" y="562"/>
                  <a:pt x="3176" y="563"/>
                  <a:pt x="3177" y="565"/>
                </a:cubicBezTo>
                <a:cubicBezTo>
                  <a:pt x="3178" y="566"/>
                  <a:pt x="3179" y="567"/>
                  <a:pt x="3179" y="569"/>
                </a:cubicBezTo>
                <a:cubicBezTo>
                  <a:pt x="3179" y="570"/>
                  <a:pt x="3178" y="571"/>
                  <a:pt x="3177" y="571"/>
                </a:cubicBezTo>
                <a:cubicBezTo>
                  <a:pt x="3177" y="572"/>
                  <a:pt x="3176" y="573"/>
                  <a:pt x="3176" y="573"/>
                </a:cubicBezTo>
                <a:cubicBezTo>
                  <a:pt x="3175" y="573"/>
                  <a:pt x="3175" y="572"/>
                  <a:pt x="3175" y="571"/>
                </a:cubicBezTo>
                <a:cubicBezTo>
                  <a:pt x="3175" y="569"/>
                  <a:pt x="3175" y="569"/>
                  <a:pt x="3175" y="569"/>
                </a:cubicBezTo>
                <a:lnTo>
                  <a:pt x="3174" y="569"/>
                </a:lnTo>
                <a:lnTo>
                  <a:pt x="3174" y="570"/>
                </a:lnTo>
                <a:cubicBezTo>
                  <a:pt x="3174" y="571"/>
                  <a:pt x="3174" y="572"/>
                  <a:pt x="3175" y="573"/>
                </a:cubicBezTo>
                <a:cubicBezTo>
                  <a:pt x="3176" y="574"/>
                  <a:pt x="3176" y="576"/>
                  <a:pt x="3176" y="577"/>
                </a:cubicBezTo>
                <a:cubicBezTo>
                  <a:pt x="3176" y="580"/>
                  <a:pt x="3176" y="583"/>
                  <a:pt x="3174" y="587"/>
                </a:cubicBezTo>
                <a:cubicBezTo>
                  <a:pt x="3169" y="604"/>
                  <a:pt x="3167" y="625"/>
                  <a:pt x="3167" y="651"/>
                </a:cubicBezTo>
                <a:cubicBezTo>
                  <a:pt x="3167" y="667"/>
                  <a:pt x="3169" y="682"/>
                  <a:pt x="3173" y="695"/>
                </a:cubicBezTo>
                <a:cubicBezTo>
                  <a:pt x="3177" y="708"/>
                  <a:pt x="3180" y="715"/>
                  <a:pt x="3183" y="715"/>
                </a:cubicBezTo>
                <a:cubicBezTo>
                  <a:pt x="3187" y="715"/>
                  <a:pt x="3190" y="717"/>
                  <a:pt x="3193" y="719"/>
                </a:cubicBezTo>
                <a:cubicBezTo>
                  <a:pt x="3199" y="726"/>
                  <a:pt x="3201" y="730"/>
                  <a:pt x="3201" y="732"/>
                </a:cubicBezTo>
                <a:cubicBezTo>
                  <a:pt x="3201" y="732"/>
                  <a:pt x="3201" y="733"/>
                  <a:pt x="3201" y="734"/>
                </a:cubicBezTo>
                <a:cubicBezTo>
                  <a:pt x="3200" y="734"/>
                  <a:pt x="3197" y="731"/>
                  <a:pt x="3194" y="725"/>
                </a:cubicBezTo>
                <a:cubicBezTo>
                  <a:pt x="3191" y="721"/>
                  <a:pt x="3189" y="719"/>
                  <a:pt x="3189" y="719"/>
                </a:cubicBezTo>
                <a:cubicBezTo>
                  <a:pt x="3188" y="719"/>
                  <a:pt x="3188" y="719"/>
                  <a:pt x="3188" y="720"/>
                </a:cubicBezTo>
                <a:cubicBezTo>
                  <a:pt x="3188" y="721"/>
                  <a:pt x="3188" y="721"/>
                  <a:pt x="3187" y="721"/>
                </a:cubicBezTo>
                <a:lnTo>
                  <a:pt x="3185" y="720"/>
                </a:lnTo>
                <a:cubicBezTo>
                  <a:pt x="3185" y="721"/>
                  <a:pt x="3187" y="723"/>
                  <a:pt x="3191" y="727"/>
                </a:cubicBezTo>
                <a:cubicBezTo>
                  <a:pt x="3198" y="732"/>
                  <a:pt x="3202" y="735"/>
                  <a:pt x="3204" y="735"/>
                </a:cubicBezTo>
                <a:cubicBezTo>
                  <a:pt x="3206" y="735"/>
                  <a:pt x="3206" y="735"/>
                  <a:pt x="3206" y="737"/>
                </a:cubicBezTo>
                <a:lnTo>
                  <a:pt x="3206" y="737"/>
                </a:lnTo>
                <a:cubicBezTo>
                  <a:pt x="3206" y="739"/>
                  <a:pt x="3207" y="739"/>
                  <a:pt x="3209" y="739"/>
                </a:cubicBezTo>
                <a:lnTo>
                  <a:pt x="3211" y="739"/>
                </a:lnTo>
                <a:cubicBezTo>
                  <a:pt x="3212" y="739"/>
                  <a:pt x="3213" y="739"/>
                  <a:pt x="3214" y="741"/>
                </a:cubicBezTo>
                <a:cubicBezTo>
                  <a:pt x="3215" y="742"/>
                  <a:pt x="3216" y="743"/>
                  <a:pt x="3217" y="743"/>
                </a:cubicBezTo>
                <a:cubicBezTo>
                  <a:pt x="3217" y="743"/>
                  <a:pt x="3218" y="742"/>
                  <a:pt x="3218" y="742"/>
                </a:cubicBezTo>
                <a:cubicBezTo>
                  <a:pt x="3218" y="741"/>
                  <a:pt x="3218" y="740"/>
                  <a:pt x="3217" y="740"/>
                </a:cubicBezTo>
                <a:cubicBezTo>
                  <a:pt x="3217" y="740"/>
                  <a:pt x="3217" y="739"/>
                  <a:pt x="3217" y="739"/>
                </a:cubicBezTo>
                <a:cubicBezTo>
                  <a:pt x="3217" y="739"/>
                  <a:pt x="3218" y="739"/>
                  <a:pt x="3219" y="739"/>
                </a:cubicBezTo>
                <a:cubicBezTo>
                  <a:pt x="3220" y="740"/>
                  <a:pt x="3220" y="741"/>
                  <a:pt x="3220" y="742"/>
                </a:cubicBezTo>
                <a:lnTo>
                  <a:pt x="3220" y="743"/>
                </a:lnTo>
                <a:cubicBezTo>
                  <a:pt x="3220" y="744"/>
                  <a:pt x="3220" y="745"/>
                  <a:pt x="3222" y="745"/>
                </a:cubicBezTo>
                <a:cubicBezTo>
                  <a:pt x="3223" y="746"/>
                  <a:pt x="3224" y="747"/>
                  <a:pt x="3226" y="747"/>
                </a:cubicBezTo>
                <a:cubicBezTo>
                  <a:pt x="3226" y="747"/>
                  <a:pt x="3227" y="746"/>
                  <a:pt x="3228" y="746"/>
                </a:cubicBezTo>
                <a:cubicBezTo>
                  <a:pt x="3228" y="746"/>
                  <a:pt x="3228" y="746"/>
                  <a:pt x="3228" y="746"/>
                </a:cubicBezTo>
                <a:cubicBezTo>
                  <a:pt x="3230" y="746"/>
                  <a:pt x="3233" y="747"/>
                  <a:pt x="3237" y="748"/>
                </a:cubicBezTo>
                <a:cubicBezTo>
                  <a:pt x="3242" y="751"/>
                  <a:pt x="3250" y="752"/>
                  <a:pt x="3259" y="752"/>
                </a:cubicBezTo>
                <a:cubicBezTo>
                  <a:pt x="3285" y="752"/>
                  <a:pt x="3319" y="745"/>
                  <a:pt x="3362" y="730"/>
                </a:cubicBezTo>
                <a:cubicBezTo>
                  <a:pt x="3382" y="724"/>
                  <a:pt x="3399" y="718"/>
                  <a:pt x="3413" y="711"/>
                </a:cubicBezTo>
                <a:cubicBezTo>
                  <a:pt x="3419" y="709"/>
                  <a:pt x="3424" y="707"/>
                  <a:pt x="3427" y="705"/>
                </a:cubicBezTo>
                <a:cubicBezTo>
                  <a:pt x="3430" y="704"/>
                  <a:pt x="3437" y="701"/>
                  <a:pt x="3446" y="696"/>
                </a:cubicBezTo>
                <a:cubicBezTo>
                  <a:pt x="3471" y="683"/>
                  <a:pt x="3486" y="675"/>
                  <a:pt x="3492" y="671"/>
                </a:cubicBezTo>
                <a:cubicBezTo>
                  <a:pt x="3498" y="667"/>
                  <a:pt x="3502" y="665"/>
                  <a:pt x="3506" y="665"/>
                </a:cubicBezTo>
                <a:cubicBezTo>
                  <a:pt x="3506" y="665"/>
                  <a:pt x="3507" y="666"/>
                  <a:pt x="3507" y="666"/>
                </a:cubicBezTo>
                <a:cubicBezTo>
                  <a:pt x="3507" y="667"/>
                  <a:pt x="3504" y="670"/>
                  <a:pt x="3498" y="672"/>
                </a:cubicBezTo>
                <a:cubicBezTo>
                  <a:pt x="3494" y="675"/>
                  <a:pt x="3492" y="677"/>
                  <a:pt x="3492" y="679"/>
                </a:cubicBezTo>
                <a:lnTo>
                  <a:pt x="3492" y="680"/>
                </a:lnTo>
                <a:cubicBezTo>
                  <a:pt x="3492" y="680"/>
                  <a:pt x="3492" y="681"/>
                  <a:pt x="3492" y="681"/>
                </a:cubicBezTo>
                <a:lnTo>
                  <a:pt x="3491" y="680"/>
                </a:lnTo>
                <a:cubicBezTo>
                  <a:pt x="3486" y="680"/>
                  <a:pt x="3481" y="682"/>
                  <a:pt x="3474" y="686"/>
                </a:cubicBezTo>
                <a:cubicBezTo>
                  <a:pt x="3451" y="698"/>
                  <a:pt x="3426" y="710"/>
                  <a:pt x="3399" y="720"/>
                </a:cubicBezTo>
                <a:cubicBezTo>
                  <a:pt x="3371" y="731"/>
                  <a:pt x="3346" y="740"/>
                  <a:pt x="3324" y="745"/>
                </a:cubicBezTo>
                <a:cubicBezTo>
                  <a:pt x="3309" y="749"/>
                  <a:pt x="3301" y="752"/>
                  <a:pt x="3301" y="752"/>
                </a:cubicBezTo>
                <a:cubicBezTo>
                  <a:pt x="3301" y="753"/>
                  <a:pt x="3302" y="754"/>
                  <a:pt x="3303" y="754"/>
                </a:cubicBezTo>
                <a:cubicBezTo>
                  <a:pt x="3307" y="754"/>
                  <a:pt x="3316" y="752"/>
                  <a:pt x="3329" y="748"/>
                </a:cubicBezTo>
                <a:cubicBezTo>
                  <a:pt x="3341" y="745"/>
                  <a:pt x="3348" y="744"/>
                  <a:pt x="3352" y="744"/>
                </a:cubicBezTo>
                <a:cubicBezTo>
                  <a:pt x="3353" y="744"/>
                  <a:pt x="3353" y="744"/>
                  <a:pt x="3354" y="744"/>
                </a:cubicBezTo>
                <a:cubicBezTo>
                  <a:pt x="3355" y="745"/>
                  <a:pt x="3355" y="745"/>
                  <a:pt x="3355" y="745"/>
                </a:cubicBezTo>
                <a:lnTo>
                  <a:pt x="3355" y="744"/>
                </a:lnTo>
                <a:cubicBezTo>
                  <a:pt x="3355" y="742"/>
                  <a:pt x="3363" y="738"/>
                  <a:pt x="3378" y="732"/>
                </a:cubicBezTo>
                <a:cubicBezTo>
                  <a:pt x="3392" y="728"/>
                  <a:pt x="3401" y="724"/>
                  <a:pt x="3406" y="723"/>
                </a:cubicBezTo>
                <a:cubicBezTo>
                  <a:pt x="3409" y="723"/>
                  <a:pt x="3410" y="723"/>
                  <a:pt x="3410" y="722"/>
                </a:cubicBezTo>
                <a:cubicBezTo>
                  <a:pt x="3410" y="721"/>
                  <a:pt x="3412" y="720"/>
                  <a:pt x="3415" y="720"/>
                </a:cubicBezTo>
                <a:cubicBezTo>
                  <a:pt x="3418" y="720"/>
                  <a:pt x="3420" y="719"/>
                  <a:pt x="3420" y="718"/>
                </a:cubicBezTo>
                <a:cubicBezTo>
                  <a:pt x="3420" y="717"/>
                  <a:pt x="3421" y="716"/>
                  <a:pt x="3422" y="716"/>
                </a:cubicBezTo>
                <a:lnTo>
                  <a:pt x="3424" y="716"/>
                </a:lnTo>
                <a:cubicBezTo>
                  <a:pt x="3425" y="716"/>
                  <a:pt x="3427" y="715"/>
                  <a:pt x="3429" y="714"/>
                </a:cubicBezTo>
                <a:cubicBezTo>
                  <a:pt x="3430" y="712"/>
                  <a:pt x="3432" y="711"/>
                  <a:pt x="3433" y="711"/>
                </a:cubicBezTo>
                <a:lnTo>
                  <a:pt x="3434" y="712"/>
                </a:lnTo>
                <a:cubicBezTo>
                  <a:pt x="3435" y="712"/>
                  <a:pt x="3436" y="711"/>
                  <a:pt x="3436" y="710"/>
                </a:cubicBezTo>
                <a:cubicBezTo>
                  <a:pt x="3436" y="709"/>
                  <a:pt x="3437" y="709"/>
                  <a:pt x="3439" y="709"/>
                </a:cubicBezTo>
                <a:lnTo>
                  <a:pt x="3441" y="709"/>
                </a:lnTo>
                <a:cubicBezTo>
                  <a:pt x="3442" y="709"/>
                  <a:pt x="3442" y="709"/>
                  <a:pt x="3442" y="708"/>
                </a:cubicBezTo>
                <a:cubicBezTo>
                  <a:pt x="3442" y="707"/>
                  <a:pt x="3443" y="707"/>
                  <a:pt x="3444" y="707"/>
                </a:cubicBezTo>
                <a:cubicBezTo>
                  <a:pt x="3444" y="707"/>
                  <a:pt x="3445" y="707"/>
                  <a:pt x="3446" y="707"/>
                </a:cubicBezTo>
                <a:cubicBezTo>
                  <a:pt x="3446" y="708"/>
                  <a:pt x="3447" y="708"/>
                  <a:pt x="3447" y="708"/>
                </a:cubicBezTo>
                <a:cubicBezTo>
                  <a:pt x="3449" y="708"/>
                  <a:pt x="3450" y="707"/>
                  <a:pt x="3450" y="705"/>
                </a:cubicBezTo>
                <a:cubicBezTo>
                  <a:pt x="3451" y="704"/>
                  <a:pt x="3452" y="703"/>
                  <a:pt x="3453" y="703"/>
                </a:cubicBezTo>
                <a:lnTo>
                  <a:pt x="3455" y="703"/>
                </a:lnTo>
                <a:cubicBezTo>
                  <a:pt x="3457" y="703"/>
                  <a:pt x="3459" y="702"/>
                  <a:pt x="3460" y="700"/>
                </a:cubicBezTo>
                <a:cubicBezTo>
                  <a:pt x="3461" y="700"/>
                  <a:pt x="3462" y="699"/>
                  <a:pt x="3462" y="699"/>
                </a:cubicBezTo>
                <a:cubicBezTo>
                  <a:pt x="3463" y="699"/>
                  <a:pt x="3464" y="698"/>
                  <a:pt x="3465" y="698"/>
                </a:cubicBezTo>
                <a:lnTo>
                  <a:pt x="3465" y="699"/>
                </a:lnTo>
                <a:cubicBezTo>
                  <a:pt x="3466" y="699"/>
                  <a:pt x="3466" y="698"/>
                  <a:pt x="3466" y="696"/>
                </a:cubicBezTo>
                <a:cubicBezTo>
                  <a:pt x="3466" y="693"/>
                  <a:pt x="3467" y="693"/>
                  <a:pt x="3467" y="693"/>
                </a:cubicBezTo>
                <a:cubicBezTo>
                  <a:pt x="3467" y="693"/>
                  <a:pt x="3468" y="693"/>
                  <a:pt x="3469" y="695"/>
                </a:cubicBezTo>
                <a:cubicBezTo>
                  <a:pt x="3469" y="696"/>
                  <a:pt x="3470" y="697"/>
                  <a:pt x="3470" y="697"/>
                </a:cubicBezTo>
                <a:cubicBezTo>
                  <a:pt x="3471" y="697"/>
                  <a:pt x="3471" y="696"/>
                  <a:pt x="3471" y="695"/>
                </a:cubicBezTo>
                <a:cubicBezTo>
                  <a:pt x="3471" y="694"/>
                  <a:pt x="3472" y="693"/>
                  <a:pt x="3473" y="693"/>
                </a:cubicBezTo>
                <a:lnTo>
                  <a:pt x="3474" y="694"/>
                </a:lnTo>
                <a:cubicBezTo>
                  <a:pt x="3474" y="694"/>
                  <a:pt x="3475" y="693"/>
                  <a:pt x="3475" y="691"/>
                </a:cubicBezTo>
                <a:cubicBezTo>
                  <a:pt x="3475" y="689"/>
                  <a:pt x="3475" y="688"/>
                  <a:pt x="3476" y="688"/>
                </a:cubicBezTo>
                <a:cubicBezTo>
                  <a:pt x="3476" y="688"/>
                  <a:pt x="3476" y="689"/>
                  <a:pt x="3477" y="690"/>
                </a:cubicBezTo>
                <a:cubicBezTo>
                  <a:pt x="3477" y="691"/>
                  <a:pt x="3478" y="691"/>
                  <a:pt x="3479" y="691"/>
                </a:cubicBezTo>
                <a:cubicBezTo>
                  <a:pt x="3479" y="691"/>
                  <a:pt x="3481" y="690"/>
                  <a:pt x="3482" y="689"/>
                </a:cubicBezTo>
                <a:cubicBezTo>
                  <a:pt x="3484" y="687"/>
                  <a:pt x="3485" y="686"/>
                  <a:pt x="3486" y="686"/>
                </a:cubicBezTo>
                <a:lnTo>
                  <a:pt x="3487" y="687"/>
                </a:lnTo>
                <a:cubicBezTo>
                  <a:pt x="3488" y="687"/>
                  <a:pt x="3488" y="686"/>
                  <a:pt x="3488" y="685"/>
                </a:cubicBezTo>
                <a:cubicBezTo>
                  <a:pt x="3488" y="684"/>
                  <a:pt x="3488" y="683"/>
                  <a:pt x="3489" y="683"/>
                </a:cubicBezTo>
                <a:lnTo>
                  <a:pt x="3490" y="684"/>
                </a:lnTo>
                <a:cubicBezTo>
                  <a:pt x="3492" y="684"/>
                  <a:pt x="3496" y="682"/>
                  <a:pt x="3504" y="677"/>
                </a:cubicBezTo>
                <a:cubicBezTo>
                  <a:pt x="3512" y="673"/>
                  <a:pt x="3516" y="670"/>
                  <a:pt x="3516" y="669"/>
                </a:cubicBezTo>
                <a:lnTo>
                  <a:pt x="3515" y="669"/>
                </a:lnTo>
                <a:cubicBezTo>
                  <a:pt x="3515" y="669"/>
                  <a:pt x="3515" y="669"/>
                  <a:pt x="3515" y="669"/>
                </a:cubicBezTo>
                <a:cubicBezTo>
                  <a:pt x="3515" y="669"/>
                  <a:pt x="3516" y="667"/>
                  <a:pt x="3518" y="666"/>
                </a:cubicBezTo>
                <a:cubicBezTo>
                  <a:pt x="3520" y="664"/>
                  <a:pt x="3522" y="664"/>
                  <a:pt x="3525" y="664"/>
                </a:cubicBezTo>
                <a:cubicBezTo>
                  <a:pt x="3526" y="664"/>
                  <a:pt x="3528" y="663"/>
                  <a:pt x="3530" y="660"/>
                </a:cubicBezTo>
                <a:cubicBezTo>
                  <a:pt x="3532" y="657"/>
                  <a:pt x="3533" y="656"/>
                  <a:pt x="3533" y="656"/>
                </a:cubicBezTo>
                <a:cubicBezTo>
                  <a:pt x="3534" y="656"/>
                  <a:pt x="3534" y="656"/>
                  <a:pt x="3534" y="657"/>
                </a:cubicBezTo>
                <a:cubicBezTo>
                  <a:pt x="3534" y="657"/>
                  <a:pt x="3534" y="657"/>
                  <a:pt x="3534" y="657"/>
                </a:cubicBezTo>
                <a:cubicBezTo>
                  <a:pt x="3535" y="657"/>
                  <a:pt x="3536" y="656"/>
                  <a:pt x="3537" y="654"/>
                </a:cubicBezTo>
                <a:lnTo>
                  <a:pt x="3540" y="652"/>
                </a:lnTo>
                <a:lnTo>
                  <a:pt x="3539" y="654"/>
                </a:lnTo>
                <a:cubicBezTo>
                  <a:pt x="3539" y="654"/>
                  <a:pt x="3539" y="654"/>
                  <a:pt x="3539" y="654"/>
                </a:cubicBezTo>
                <a:cubicBezTo>
                  <a:pt x="3539" y="654"/>
                  <a:pt x="3541" y="653"/>
                  <a:pt x="3543" y="650"/>
                </a:cubicBezTo>
                <a:cubicBezTo>
                  <a:pt x="3545" y="649"/>
                  <a:pt x="3546" y="647"/>
                  <a:pt x="3548" y="646"/>
                </a:cubicBezTo>
                <a:cubicBezTo>
                  <a:pt x="3550" y="645"/>
                  <a:pt x="3552" y="645"/>
                  <a:pt x="3553" y="645"/>
                </a:cubicBezTo>
                <a:cubicBezTo>
                  <a:pt x="3553" y="645"/>
                  <a:pt x="3554" y="643"/>
                  <a:pt x="3557" y="640"/>
                </a:cubicBezTo>
                <a:cubicBezTo>
                  <a:pt x="3559" y="637"/>
                  <a:pt x="3562" y="635"/>
                  <a:pt x="3564" y="634"/>
                </a:cubicBezTo>
                <a:cubicBezTo>
                  <a:pt x="3569" y="631"/>
                  <a:pt x="3573" y="628"/>
                  <a:pt x="3576" y="625"/>
                </a:cubicBezTo>
                <a:cubicBezTo>
                  <a:pt x="3582" y="620"/>
                  <a:pt x="3585" y="617"/>
                  <a:pt x="3585" y="617"/>
                </a:cubicBezTo>
                <a:cubicBezTo>
                  <a:pt x="3585" y="616"/>
                  <a:pt x="3586" y="616"/>
                  <a:pt x="3586" y="616"/>
                </a:cubicBezTo>
                <a:cubicBezTo>
                  <a:pt x="3589" y="616"/>
                  <a:pt x="3590" y="615"/>
                  <a:pt x="3590" y="613"/>
                </a:cubicBezTo>
                <a:cubicBezTo>
                  <a:pt x="3590" y="611"/>
                  <a:pt x="3591" y="610"/>
                  <a:pt x="3593" y="610"/>
                </a:cubicBezTo>
                <a:cubicBezTo>
                  <a:pt x="3595" y="610"/>
                  <a:pt x="3599" y="607"/>
                  <a:pt x="3605" y="601"/>
                </a:cubicBezTo>
                <a:lnTo>
                  <a:pt x="3627" y="580"/>
                </a:lnTo>
                <a:cubicBezTo>
                  <a:pt x="3645" y="562"/>
                  <a:pt x="3660" y="547"/>
                  <a:pt x="3671" y="535"/>
                </a:cubicBezTo>
                <a:lnTo>
                  <a:pt x="3683" y="521"/>
                </a:lnTo>
                <a:cubicBezTo>
                  <a:pt x="3683" y="521"/>
                  <a:pt x="3683" y="521"/>
                  <a:pt x="3683" y="523"/>
                </a:cubicBezTo>
                <a:cubicBezTo>
                  <a:pt x="3683" y="525"/>
                  <a:pt x="3683" y="527"/>
                  <a:pt x="3682" y="528"/>
                </a:cubicBezTo>
                <a:cubicBezTo>
                  <a:pt x="3680" y="529"/>
                  <a:pt x="3680" y="531"/>
                  <a:pt x="3680" y="533"/>
                </a:cubicBezTo>
                <a:lnTo>
                  <a:pt x="3680" y="535"/>
                </a:lnTo>
                <a:cubicBezTo>
                  <a:pt x="3680" y="535"/>
                  <a:pt x="3680" y="535"/>
                  <a:pt x="3680" y="535"/>
                </a:cubicBezTo>
                <a:lnTo>
                  <a:pt x="3680" y="535"/>
                </a:lnTo>
                <a:cubicBezTo>
                  <a:pt x="3678" y="535"/>
                  <a:pt x="3677" y="536"/>
                  <a:pt x="3676" y="538"/>
                </a:cubicBezTo>
                <a:cubicBezTo>
                  <a:pt x="3675" y="540"/>
                  <a:pt x="3674" y="543"/>
                  <a:pt x="3674" y="546"/>
                </a:cubicBezTo>
                <a:cubicBezTo>
                  <a:pt x="3673" y="551"/>
                  <a:pt x="3668" y="558"/>
                  <a:pt x="3660" y="568"/>
                </a:cubicBezTo>
                <a:cubicBezTo>
                  <a:pt x="3652" y="579"/>
                  <a:pt x="3642" y="590"/>
                  <a:pt x="3630" y="601"/>
                </a:cubicBezTo>
                <a:cubicBezTo>
                  <a:pt x="3618" y="613"/>
                  <a:pt x="3607" y="623"/>
                  <a:pt x="3596" y="632"/>
                </a:cubicBezTo>
                <a:cubicBezTo>
                  <a:pt x="3593" y="634"/>
                  <a:pt x="3589" y="637"/>
                  <a:pt x="3584" y="641"/>
                </a:cubicBezTo>
                <a:cubicBezTo>
                  <a:pt x="3544" y="674"/>
                  <a:pt x="3493" y="705"/>
                  <a:pt x="3430" y="732"/>
                </a:cubicBezTo>
                <a:cubicBezTo>
                  <a:pt x="3370" y="759"/>
                  <a:pt x="3320" y="772"/>
                  <a:pt x="3279" y="772"/>
                </a:cubicBezTo>
                <a:close/>
                <a:moveTo>
                  <a:pt x="3287" y="769"/>
                </a:moveTo>
                <a:cubicBezTo>
                  <a:pt x="3289" y="769"/>
                  <a:pt x="3289" y="769"/>
                  <a:pt x="3289" y="769"/>
                </a:cubicBezTo>
                <a:lnTo>
                  <a:pt x="3289" y="768"/>
                </a:lnTo>
                <a:lnTo>
                  <a:pt x="3286" y="768"/>
                </a:lnTo>
                <a:cubicBezTo>
                  <a:pt x="3283" y="768"/>
                  <a:pt x="3281" y="768"/>
                  <a:pt x="3281" y="769"/>
                </a:cubicBezTo>
                <a:lnTo>
                  <a:pt x="3287" y="769"/>
                </a:lnTo>
                <a:close/>
                <a:moveTo>
                  <a:pt x="3269" y="757"/>
                </a:moveTo>
                <a:cubicBezTo>
                  <a:pt x="3286" y="757"/>
                  <a:pt x="3295" y="757"/>
                  <a:pt x="3297" y="756"/>
                </a:cubicBezTo>
                <a:cubicBezTo>
                  <a:pt x="3298" y="755"/>
                  <a:pt x="3299" y="754"/>
                  <a:pt x="3299" y="754"/>
                </a:cubicBezTo>
                <a:cubicBezTo>
                  <a:pt x="3299" y="753"/>
                  <a:pt x="3299" y="752"/>
                  <a:pt x="3297" y="752"/>
                </a:cubicBezTo>
                <a:lnTo>
                  <a:pt x="3291" y="753"/>
                </a:lnTo>
                <a:cubicBezTo>
                  <a:pt x="3283" y="754"/>
                  <a:pt x="3278" y="754"/>
                  <a:pt x="3274" y="754"/>
                </a:cubicBezTo>
                <a:cubicBezTo>
                  <a:pt x="3268" y="754"/>
                  <a:pt x="3264" y="755"/>
                  <a:pt x="3263" y="756"/>
                </a:cubicBezTo>
                <a:lnTo>
                  <a:pt x="3262" y="756"/>
                </a:lnTo>
                <a:cubicBezTo>
                  <a:pt x="3262" y="757"/>
                  <a:pt x="3264" y="757"/>
                  <a:pt x="3269" y="757"/>
                </a:cubicBezTo>
                <a:close/>
                <a:moveTo>
                  <a:pt x="3256" y="759"/>
                </a:moveTo>
                <a:cubicBezTo>
                  <a:pt x="3257" y="759"/>
                  <a:pt x="3258" y="759"/>
                  <a:pt x="3258" y="758"/>
                </a:cubicBezTo>
                <a:lnTo>
                  <a:pt x="3258" y="758"/>
                </a:lnTo>
                <a:cubicBezTo>
                  <a:pt x="3257" y="757"/>
                  <a:pt x="3254" y="756"/>
                  <a:pt x="3249" y="755"/>
                </a:cubicBezTo>
                <a:lnTo>
                  <a:pt x="3244" y="755"/>
                </a:lnTo>
                <a:cubicBezTo>
                  <a:pt x="3244" y="755"/>
                  <a:pt x="3244" y="755"/>
                  <a:pt x="3244" y="755"/>
                </a:cubicBezTo>
                <a:cubicBezTo>
                  <a:pt x="3244" y="756"/>
                  <a:pt x="3244" y="756"/>
                  <a:pt x="3245" y="757"/>
                </a:cubicBezTo>
                <a:cubicBezTo>
                  <a:pt x="3246" y="757"/>
                  <a:pt x="3248" y="758"/>
                  <a:pt x="3250" y="758"/>
                </a:cubicBezTo>
                <a:cubicBezTo>
                  <a:pt x="3253" y="759"/>
                  <a:pt x="3254" y="759"/>
                  <a:pt x="3256" y="759"/>
                </a:cubicBezTo>
                <a:close/>
                <a:moveTo>
                  <a:pt x="3349" y="448"/>
                </a:moveTo>
                <a:lnTo>
                  <a:pt x="3352" y="448"/>
                </a:lnTo>
                <a:cubicBezTo>
                  <a:pt x="3354" y="447"/>
                  <a:pt x="3355" y="446"/>
                  <a:pt x="3355" y="445"/>
                </a:cubicBezTo>
                <a:lnTo>
                  <a:pt x="3354" y="445"/>
                </a:lnTo>
                <a:cubicBezTo>
                  <a:pt x="3353" y="445"/>
                  <a:pt x="3352" y="446"/>
                  <a:pt x="3351" y="446"/>
                </a:cubicBezTo>
                <a:cubicBezTo>
                  <a:pt x="3350" y="447"/>
                  <a:pt x="3349" y="448"/>
                  <a:pt x="3349" y="448"/>
                </a:cubicBezTo>
                <a:close/>
                <a:moveTo>
                  <a:pt x="3283" y="483"/>
                </a:moveTo>
                <a:cubicBezTo>
                  <a:pt x="3285" y="483"/>
                  <a:pt x="3287" y="482"/>
                  <a:pt x="3289" y="479"/>
                </a:cubicBezTo>
                <a:cubicBezTo>
                  <a:pt x="3291" y="476"/>
                  <a:pt x="3293" y="475"/>
                  <a:pt x="3293" y="475"/>
                </a:cubicBezTo>
                <a:lnTo>
                  <a:pt x="3292" y="474"/>
                </a:lnTo>
                <a:cubicBezTo>
                  <a:pt x="3292" y="474"/>
                  <a:pt x="3291" y="475"/>
                  <a:pt x="3290" y="475"/>
                </a:cubicBezTo>
                <a:cubicBezTo>
                  <a:pt x="3289" y="476"/>
                  <a:pt x="3287" y="478"/>
                  <a:pt x="3286" y="479"/>
                </a:cubicBezTo>
                <a:cubicBezTo>
                  <a:pt x="3284" y="481"/>
                  <a:pt x="3283" y="482"/>
                  <a:pt x="3283" y="483"/>
                </a:cubicBezTo>
                <a:cubicBezTo>
                  <a:pt x="3283" y="483"/>
                  <a:pt x="3283" y="483"/>
                  <a:pt x="3283" y="483"/>
                </a:cubicBezTo>
                <a:close/>
                <a:moveTo>
                  <a:pt x="3315" y="456"/>
                </a:moveTo>
                <a:cubicBezTo>
                  <a:pt x="3315" y="456"/>
                  <a:pt x="3317" y="455"/>
                  <a:pt x="3320" y="451"/>
                </a:cubicBezTo>
                <a:cubicBezTo>
                  <a:pt x="3322" y="449"/>
                  <a:pt x="3323" y="447"/>
                  <a:pt x="3323" y="447"/>
                </a:cubicBezTo>
                <a:cubicBezTo>
                  <a:pt x="3322" y="447"/>
                  <a:pt x="3321" y="448"/>
                  <a:pt x="3318" y="451"/>
                </a:cubicBezTo>
                <a:cubicBezTo>
                  <a:pt x="3316" y="454"/>
                  <a:pt x="3315" y="456"/>
                  <a:pt x="3315" y="456"/>
                </a:cubicBezTo>
                <a:close/>
                <a:moveTo>
                  <a:pt x="3425" y="339"/>
                </a:moveTo>
                <a:cubicBezTo>
                  <a:pt x="3426" y="339"/>
                  <a:pt x="3427" y="338"/>
                  <a:pt x="3429" y="334"/>
                </a:cubicBezTo>
                <a:cubicBezTo>
                  <a:pt x="3430" y="332"/>
                  <a:pt x="3431" y="331"/>
                  <a:pt x="3431" y="330"/>
                </a:cubicBezTo>
                <a:lnTo>
                  <a:pt x="3431" y="330"/>
                </a:lnTo>
                <a:lnTo>
                  <a:pt x="3429" y="332"/>
                </a:lnTo>
                <a:cubicBezTo>
                  <a:pt x="3426" y="335"/>
                  <a:pt x="3425" y="337"/>
                  <a:pt x="3425" y="339"/>
                </a:cubicBezTo>
                <a:cubicBezTo>
                  <a:pt x="3425" y="339"/>
                  <a:pt x="3425" y="339"/>
                  <a:pt x="3425" y="339"/>
                </a:cubicBezTo>
                <a:close/>
                <a:moveTo>
                  <a:pt x="3438" y="316"/>
                </a:moveTo>
                <a:cubicBezTo>
                  <a:pt x="3439" y="316"/>
                  <a:pt x="3440" y="316"/>
                  <a:pt x="3441" y="314"/>
                </a:cubicBezTo>
                <a:lnTo>
                  <a:pt x="3441" y="313"/>
                </a:lnTo>
                <a:cubicBezTo>
                  <a:pt x="3441" y="313"/>
                  <a:pt x="3441" y="313"/>
                  <a:pt x="3441" y="313"/>
                </a:cubicBezTo>
                <a:lnTo>
                  <a:pt x="3440" y="313"/>
                </a:lnTo>
                <a:cubicBezTo>
                  <a:pt x="3437" y="314"/>
                  <a:pt x="3436" y="315"/>
                  <a:pt x="3436" y="316"/>
                </a:cubicBezTo>
                <a:cubicBezTo>
                  <a:pt x="3436" y="316"/>
                  <a:pt x="3437" y="316"/>
                  <a:pt x="3438" y="316"/>
                </a:cubicBezTo>
                <a:close/>
                <a:moveTo>
                  <a:pt x="3332" y="204"/>
                </a:moveTo>
                <a:cubicBezTo>
                  <a:pt x="3333" y="204"/>
                  <a:pt x="3335" y="202"/>
                  <a:pt x="3337" y="199"/>
                </a:cubicBezTo>
                <a:cubicBezTo>
                  <a:pt x="3339" y="197"/>
                  <a:pt x="3340" y="195"/>
                  <a:pt x="3340" y="195"/>
                </a:cubicBezTo>
                <a:cubicBezTo>
                  <a:pt x="3340" y="195"/>
                  <a:pt x="3338" y="195"/>
                  <a:pt x="3336" y="197"/>
                </a:cubicBezTo>
                <a:cubicBezTo>
                  <a:pt x="3333" y="198"/>
                  <a:pt x="3332" y="200"/>
                  <a:pt x="3332" y="202"/>
                </a:cubicBezTo>
                <a:cubicBezTo>
                  <a:pt x="3332" y="203"/>
                  <a:pt x="3332" y="204"/>
                  <a:pt x="3332" y="204"/>
                </a:cubicBezTo>
                <a:close/>
                <a:moveTo>
                  <a:pt x="3293" y="249"/>
                </a:moveTo>
                <a:cubicBezTo>
                  <a:pt x="3294" y="249"/>
                  <a:pt x="3294" y="248"/>
                  <a:pt x="3294" y="246"/>
                </a:cubicBezTo>
                <a:cubicBezTo>
                  <a:pt x="3294" y="245"/>
                  <a:pt x="3294" y="244"/>
                  <a:pt x="3293" y="244"/>
                </a:cubicBezTo>
                <a:lnTo>
                  <a:pt x="3292" y="244"/>
                </a:lnTo>
                <a:cubicBezTo>
                  <a:pt x="3291" y="245"/>
                  <a:pt x="3291" y="245"/>
                  <a:pt x="3291" y="246"/>
                </a:cubicBezTo>
                <a:cubicBezTo>
                  <a:pt x="3291" y="247"/>
                  <a:pt x="3291" y="247"/>
                  <a:pt x="3292" y="248"/>
                </a:cubicBezTo>
                <a:cubicBezTo>
                  <a:pt x="3293" y="249"/>
                  <a:pt x="3293" y="249"/>
                  <a:pt x="3293" y="249"/>
                </a:cubicBezTo>
                <a:close/>
                <a:moveTo>
                  <a:pt x="3228" y="509"/>
                </a:moveTo>
                <a:cubicBezTo>
                  <a:pt x="3231" y="509"/>
                  <a:pt x="3236" y="507"/>
                  <a:pt x="3242" y="504"/>
                </a:cubicBezTo>
                <a:cubicBezTo>
                  <a:pt x="3245" y="502"/>
                  <a:pt x="3248" y="501"/>
                  <a:pt x="3251" y="499"/>
                </a:cubicBezTo>
                <a:cubicBezTo>
                  <a:pt x="3253" y="498"/>
                  <a:pt x="3255" y="496"/>
                  <a:pt x="3256" y="495"/>
                </a:cubicBezTo>
                <a:cubicBezTo>
                  <a:pt x="3258" y="494"/>
                  <a:pt x="3259" y="493"/>
                  <a:pt x="3259" y="493"/>
                </a:cubicBezTo>
                <a:cubicBezTo>
                  <a:pt x="3260" y="493"/>
                  <a:pt x="3261" y="494"/>
                  <a:pt x="3261" y="495"/>
                </a:cubicBezTo>
                <a:cubicBezTo>
                  <a:pt x="3261" y="496"/>
                  <a:pt x="3259" y="498"/>
                  <a:pt x="3254" y="500"/>
                </a:cubicBezTo>
                <a:cubicBezTo>
                  <a:pt x="3250" y="502"/>
                  <a:pt x="3248" y="504"/>
                  <a:pt x="3248" y="506"/>
                </a:cubicBezTo>
                <a:lnTo>
                  <a:pt x="3248" y="506"/>
                </a:lnTo>
                <a:cubicBezTo>
                  <a:pt x="3250" y="506"/>
                  <a:pt x="3254" y="504"/>
                  <a:pt x="3259" y="501"/>
                </a:cubicBezTo>
                <a:cubicBezTo>
                  <a:pt x="3272" y="493"/>
                  <a:pt x="3279" y="488"/>
                  <a:pt x="3279" y="486"/>
                </a:cubicBezTo>
                <a:cubicBezTo>
                  <a:pt x="3279" y="486"/>
                  <a:pt x="3278" y="486"/>
                  <a:pt x="3278" y="486"/>
                </a:cubicBezTo>
                <a:cubicBezTo>
                  <a:pt x="3277" y="486"/>
                  <a:pt x="3275" y="487"/>
                  <a:pt x="3274" y="488"/>
                </a:cubicBezTo>
                <a:cubicBezTo>
                  <a:pt x="3272" y="490"/>
                  <a:pt x="3271" y="492"/>
                  <a:pt x="3269" y="492"/>
                </a:cubicBezTo>
                <a:cubicBezTo>
                  <a:pt x="3267" y="493"/>
                  <a:pt x="3265" y="494"/>
                  <a:pt x="3264" y="494"/>
                </a:cubicBezTo>
                <a:cubicBezTo>
                  <a:pt x="3263" y="494"/>
                  <a:pt x="3262" y="494"/>
                  <a:pt x="3262" y="493"/>
                </a:cubicBezTo>
                <a:cubicBezTo>
                  <a:pt x="3262" y="492"/>
                  <a:pt x="3268" y="487"/>
                  <a:pt x="3278" y="478"/>
                </a:cubicBezTo>
                <a:cubicBezTo>
                  <a:pt x="3289" y="470"/>
                  <a:pt x="3295" y="465"/>
                  <a:pt x="3297" y="465"/>
                </a:cubicBezTo>
                <a:cubicBezTo>
                  <a:pt x="3298" y="465"/>
                  <a:pt x="3306" y="458"/>
                  <a:pt x="3321" y="442"/>
                </a:cubicBezTo>
                <a:cubicBezTo>
                  <a:pt x="3328" y="433"/>
                  <a:pt x="3335" y="426"/>
                  <a:pt x="3341" y="419"/>
                </a:cubicBezTo>
                <a:cubicBezTo>
                  <a:pt x="3346" y="412"/>
                  <a:pt x="3350" y="408"/>
                  <a:pt x="3350" y="407"/>
                </a:cubicBezTo>
                <a:cubicBezTo>
                  <a:pt x="3352" y="404"/>
                  <a:pt x="3353" y="402"/>
                  <a:pt x="3354" y="400"/>
                </a:cubicBezTo>
                <a:cubicBezTo>
                  <a:pt x="3355" y="398"/>
                  <a:pt x="3356" y="397"/>
                  <a:pt x="3357" y="397"/>
                </a:cubicBezTo>
                <a:lnTo>
                  <a:pt x="3359" y="399"/>
                </a:lnTo>
                <a:cubicBezTo>
                  <a:pt x="3359" y="399"/>
                  <a:pt x="3360" y="398"/>
                  <a:pt x="3360" y="398"/>
                </a:cubicBezTo>
                <a:lnTo>
                  <a:pt x="3358" y="396"/>
                </a:lnTo>
                <a:cubicBezTo>
                  <a:pt x="3358" y="394"/>
                  <a:pt x="3360" y="392"/>
                  <a:pt x="3364" y="389"/>
                </a:cubicBezTo>
                <a:cubicBezTo>
                  <a:pt x="3367" y="385"/>
                  <a:pt x="3369" y="383"/>
                  <a:pt x="3369" y="381"/>
                </a:cubicBezTo>
                <a:cubicBezTo>
                  <a:pt x="3369" y="380"/>
                  <a:pt x="3370" y="377"/>
                  <a:pt x="3373" y="374"/>
                </a:cubicBezTo>
                <a:cubicBezTo>
                  <a:pt x="3376" y="372"/>
                  <a:pt x="3378" y="369"/>
                  <a:pt x="3381" y="364"/>
                </a:cubicBezTo>
                <a:cubicBezTo>
                  <a:pt x="3383" y="360"/>
                  <a:pt x="3384" y="359"/>
                  <a:pt x="3385" y="359"/>
                </a:cubicBezTo>
                <a:lnTo>
                  <a:pt x="3388" y="360"/>
                </a:lnTo>
                <a:lnTo>
                  <a:pt x="3388" y="357"/>
                </a:lnTo>
                <a:cubicBezTo>
                  <a:pt x="3388" y="355"/>
                  <a:pt x="3390" y="352"/>
                  <a:pt x="3393" y="347"/>
                </a:cubicBezTo>
                <a:cubicBezTo>
                  <a:pt x="3397" y="340"/>
                  <a:pt x="3400" y="335"/>
                  <a:pt x="3401" y="332"/>
                </a:cubicBezTo>
                <a:cubicBezTo>
                  <a:pt x="3403" y="327"/>
                  <a:pt x="3405" y="325"/>
                  <a:pt x="3405" y="325"/>
                </a:cubicBezTo>
                <a:cubicBezTo>
                  <a:pt x="3406" y="325"/>
                  <a:pt x="3407" y="325"/>
                  <a:pt x="3407" y="324"/>
                </a:cubicBezTo>
                <a:lnTo>
                  <a:pt x="3407" y="323"/>
                </a:lnTo>
                <a:cubicBezTo>
                  <a:pt x="3407" y="321"/>
                  <a:pt x="3408" y="318"/>
                  <a:pt x="3411" y="316"/>
                </a:cubicBezTo>
                <a:cubicBezTo>
                  <a:pt x="3414" y="313"/>
                  <a:pt x="3415" y="311"/>
                  <a:pt x="3415" y="308"/>
                </a:cubicBezTo>
                <a:lnTo>
                  <a:pt x="3415" y="306"/>
                </a:lnTo>
                <a:cubicBezTo>
                  <a:pt x="3415" y="306"/>
                  <a:pt x="3415" y="305"/>
                  <a:pt x="3417" y="305"/>
                </a:cubicBezTo>
                <a:cubicBezTo>
                  <a:pt x="3418" y="304"/>
                  <a:pt x="3419" y="303"/>
                  <a:pt x="3420" y="301"/>
                </a:cubicBezTo>
                <a:cubicBezTo>
                  <a:pt x="3421" y="299"/>
                  <a:pt x="3422" y="296"/>
                  <a:pt x="3424" y="294"/>
                </a:cubicBezTo>
                <a:cubicBezTo>
                  <a:pt x="3426" y="291"/>
                  <a:pt x="3427" y="288"/>
                  <a:pt x="3428" y="285"/>
                </a:cubicBezTo>
                <a:cubicBezTo>
                  <a:pt x="3428" y="282"/>
                  <a:pt x="3430" y="279"/>
                  <a:pt x="3432" y="277"/>
                </a:cubicBezTo>
                <a:cubicBezTo>
                  <a:pt x="3434" y="275"/>
                  <a:pt x="3435" y="272"/>
                  <a:pt x="3435" y="270"/>
                </a:cubicBezTo>
                <a:lnTo>
                  <a:pt x="3435" y="267"/>
                </a:lnTo>
                <a:cubicBezTo>
                  <a:pt x="3435" y="267"/>
                  <a:pt x="3435" y="267"/>
                  <a:pt x="3435" y="267"/>
                </a:cubicBezTo>
                <a:lnTo>
                  <a:pt x="3437" y="267"/>
                </a:lnTo>
                <a:cubicBezTo>
                  <a:pt x="3437" y="267"/>
                  <a:pt x="3438" y="267"/>
                  <a:pt x="3438" y="265"/>
                </a:cubicBezTo>
                <a:cubicBezTo>
                  <a:pt x="3439" y="264"/>
                  <a:pt x="3439" y="263"/>
                  <a:pt x="3439" y="262"/>
                </a:cubicBezTo>
                <a:cubicBezTo>
                  <a:pt x="3439" y="261"/>
                  <a:pt x="3439" y="260"/>
                  <a:pt x="3439" y="259"/>
                </a:cubicBezTo>
                <a:cubicBezTo>
                  <a:pt x="3439" y="259"/>
                  <a:pt x="3439" y="258"/>
                  <a:pt x="3440" y="257"/>
                </a:cubicBezTo>
                <a:cubicBezTo>
                  <a:pt x="3441" y="255"/>
                  <a:pt x="3442" y="254"/>
                  <a:pt x="3442" y="253"/>
                </a:cubicBezTo>
                <a:cubicBezTo>
                  <a:pt x="3443" y="252"/>
                  <a:pt x="3444" y="251"/>
                  <a:pt x="3444" y="249"/>
                </a:cubicBezTo>
                <a:cubicBezTo>
                  <a:pt x="3444" y="249"/>
                  <a:pt x="3444" y="248"/>
                  <a:pt x="3444" y="247"/>
                </a:cubicBezTo>
                <a:cubicBezTo>
                  <a:pt x="3443" y="247"/>
                  <a:pt x="3443" y="246"/>
                  <a:pt x="3443" y="246"/>
                </a:cubicBezTo>
                <a:cubicBezTo>
                  <a:pt x="3443" y="245"/>
                  <a:pt x="3443" y="245"/>
                  <a:pt x="3443" y="245"/>
                </a:cubicBezTo>
                <a:lnTo>
                  <a:pt x="3446" y="246"/>
                </a:lnTo>
                <a:cubicBezTo>
                  <a:pt x="3446" y="246"/>
                  <a:pt x="3447" y="245"/>
                  <a:pt x="3447" y="243"/>
                </a:cubicBezTo>
                <a:cubicBezTo>
                  <a:pt x="3447" y="242"/>
                  <a:pt x="3447" y="240"/>
                  <a:pt x="3448" y="239"/>
                </a:cubicBezTo>
                <a:cubicBezTo>
                  <a:pt x="3448" y="237"/>
                  <a:pt x="3449" y="236"/>
                  <a:pt x="3450" y="234"/>
                </a:cubicBezTo>
                <a:cubicBezTo>
                  <a:pt x="3453" y="223"/>
                  <a:pt x="3456" y="212"/>
                  <a:pt x="3459" y="200"/>
                </a:cubicBezTo>
                <a:cubicBezTo>
                  <a:pt x="3461" y="188"/>
                  <a:pt x="3462" y="177"/>
                  <a:pt x="3462" y="168"/>
                </a:cubicBezTo>
                <a:cubicBezTo>
                  <a:pt x="3462" y="164"/>
                  <a:pt x="3462" y="160"/>
                  <a:pt x="3461" y="157"/>
                </a:cubicBezTo>
                <a:cubicBezTo>
                  <a:pt x="3460" y="154"/>
                  <a:pt x="3460" y="152"/>
                  <a:pt x="3459" y="151"/>
                </a:cubicBezTo>
                <a:cubicBezTo>
                  <a:pt x="3459" y="149"/>
                  <a:pt x="3458" y="149"/>
                  <a:pt x="3456" y="149"/>
                </a:cubicBezTo>
                <a:cubicBezTo>
                  <a:pt x="3452" y="149"/>
                  <a:pt x="3447" y="151"/>
                  <a:pt x="3440" y="154"/>
                </a:cubicBezTo>
                <a:cubicBezTo>
                  <a:pt x="3427" y="160"/>
                  <a:pt x="3420" y="164"/>
                  <a:pt x="3420" y="167"/>
                </a:cubicBezTo>
                <a:cubicBezTo>
                  <a:pt x="3420" y="168"/>
                  <a:pt x="3420" y="169"/>
                  <a:pt x="3419" y="169"/>
                </a:cubicBezTo>
                <a:lnTo>
                  <a:pt x="3417" y="167"/>
                </a:lnTo>
                <a:cubicBezTo>
                  <a:pt x="3416" y="167"/>
                  <a:pt x="3414" y="168"/>
                  <a:pt x="3413" y="169"/>
                </a:cubicBezTo>
                <a:cubicBezTo>
                  <a:pt x="3412" y="171"/>
                  <a:pt x="3411" y="172"/>
                  <a:pt x="3411" y="173"/>
                </a:cubicBezTo>
                <a:lnTo>
                  <a:pt x="3411" y="175"/>
                </a:lnTo>
                <a:cubicBezTo>
                  <a:pt x="3411" y="175"/>
                  <a:pt x="3411" y="176"/>
                  <a:pt x="3411" y="176"/>
                </a:cubicBezTo>
                <a:lnTo>
                  <a:pt x="3409" y="175"/>
                </a:lnTo>
                <a:cubicBezTo>
                  <a:pt x="3407" y="175"/>
                  <a:pt x="3400" y="180"/>
                  <a:pt x="3388" y="190"/>
                </a:cubicBezTo>
                <a:cubicBezTo>
                  <a:pt x="3377" y="201"/>
                  <a:pt x="3370" y="207"/>
                  <a:pt x="3368" y="210"/>
                </a:cubicBezTo>
                <a:cubicBezTo>
                  <a:pt x="3366" y="214"/>
                  <a:pt x="3363" y="218"/>
                  <a:pt x="3358" y="223"/>
                </a:cubicBezTo>
                <a:cubicBezTo>
                  <a:pt x="3347" y="236"/>
                  <a:pt x="3340" y="243"/>
                  <a:pt x="3338" y="243"/>
                </a:cubicBezTo>
                <a:cubicBezTo>
                  <a:pt x="3337" y="243"/>
                  <a:pt x="3337" y="242"/>
                  <a:pt x="3337" y="242"/>
                </a:cubicBezTo>
                <a:cubicBezTo>
                  <a:pt x="3337" y="241"/>
                  <a:pt x="3339" y="239"/>
                  <a:pt x="3342" y="236"/>
                </a:cubicBezTo>
                <a:cubicBezTo>
                  <a:pt x="3345" y="234"/>
                  <a:pt x="3347" y="232"/>
                  <a:pt x="3347" y="230"/>
                </a:cubicBezTo>
                <a:cubicBezTo>
                  <a:pt x="3347" y="228"/>
                  <a:pt x="3348" y="226"/>
                  <a:pt x="3352" y="223"/>
                </a:cubicBezTo>
                <a:cubicBezTo>
                  <a:pt x="3353" y="221"/>
                  <a:pt x="3355" y="219"/>
                  <a:pt x="3357" y="216"/>
                </a:cubicBezTo>
                <a:cubicBezTo>
                  <a:pt x="3359" y="214"/>
                  <a:pt x="3360" y="212"/>
                  <a:pt x="3360" y="211"/>
                </a:cubicBezTo>
                <a:cubicBezTo>
                  <a:pt x="3360" y="211"/>
                  <a:pt x="3359" y="210"/>
                  <a:pt x="3359" y="210"/>
                </a:cubicBezTo>
                <a:cubicBezTo>
                  <a:pt x="3359" y="210"/>
                  <a:pt x="3357" y="213"/>
                  <a:pt x="3353" y="218"/>
                </a:cubicBezTo>
                <a:cubicBezTo>
                  <a:pt x="3348" y="223"/>
                  <a:pt x="3344" y="228"/>
                  <a:pt x="3339" y="235"/>
                </a:cubicBezTo>
                <a:cubicBezTo>
                  <a:pt x="3334" y="241"/>
                  <a:pt x="3329" y="247"/>
                  <a:pt x="3325" y="252"/>
                </a:cubicBezTo>
                <a:cubicBezTo>
                  <a:pt x="3321" y="257"/>
                  <a:pt x="3319" y="260"/>
                  <a:pt x="3319" y="261"/>
                </a:cubicBezTo>
                <a:cubicBezTo>
                  <a:pt x="3319" y="261"/>
                  <a:pt x="3319" y="262"/>
                  <a:pt x="3319" y="262"/>
                </a:cubicBezTo>
                <a:cubicBezTo>
                  <a:pt x="3319" y="262"/>
                  <a:pt x="3319" y="262"/>
                  <a:pt x="3319" y="262"/>
                </a:cubicBezTo>
                <a:cubicBezTo>
                  <a:pt x="3320" y="262"/>
                  <a:pt x="3321" y="262"/>
                  <a:pt x="3323" y="261"/>
                </a:cubicBezTo>
                <a:cubicBezTo>
                  <a:pt x="3325" y="259"/>
                  <a:pt x="3327" y="259"/>
                  <a:pt x="3327" y="259"/>
                </a:cubicBezTo>
                <a:lnTo>
                  <a:pt x="3327" y="259"/>
                </a:lnTo>
                <a:cubicBezTo>
                  <a:pt x="3327" y="260"/>
                  <a:pt x="3326" y="261"/>
                  <a:pt x="3325" y="262"/>
                </a:cubicBezTo>
                <a:cubicBezTo>
                  <a:pt x="3323" y="264"/>
                  <a:pt x="3322" y="265"/>
                  <a:pt x="3320" y="265"/>
                </a:cubicBezTo>
                <a:lnTo>
                  <a:pt x="3318" y="264"/>
                </a:lnTo>
                <a:cubicBezTo>
                  <a:pt x="3316" y="264"/>
                  <a:pt x="3315" y="265"/>
                  <a:pt x="3314" y="267"/>
                </a:cubicBezTo>
                <a:cubicBezTo>
                  <a:pt x="3313" y="268"/>
                  <a:pt x="3313" y="269"/>
                  <a:pt x="3313" y="271"/>
                </a:cubicBezTo>
                <a:cubicBezTo>
                  <a:pt x="3313" y="271"/>
                  <a:pt x="3313" y="272"/>
                  <a:pt x="3313" y="273"/>
                </a:cubicBezTo>
                <a:lnTo>
                  <a:pt x="3314" y="274"/>
                </a:lnTo>
                <a:cubicBezTo>
                  <a:pt x="3314" y="274"/>
                  <a:pt x="3313" y="274"/>
                  <a:pt x="3313" y="274"/>
                </a:cubicBezTo>
                <a:lnTo>
                  <a:pt x="3312" y="274"/>
                </a:lnTo>
                <a:cubicBezTo>
                  <a:pt x="3311" y="274"/>
                  <a:pt x="3307" y="278"/>
                  <a:pt x="3301" y="287"/>
                </a:cubicBezTo>
                <a:cubicBezTo>
                  <a:pt x="3295" y="295"/>
                  <a:pt x="3291" y="300"/>
                  <a:pt x="3291" y="302"/>
                </a:cubicBezTo>
                <a:lnTo>
                  <a:pt x="3291" y="302"/>
                </a:lnTo>
                <a:cubicBezTo>
                  <a:pt x="3291" y="303"/>
                  <a:pt x="3290" y="305"/>
                  <a:pt x="3288" y="308"/>
                </a:cubicBezTo>
                <a:cubicBezTo>
                  <a:pt x="3285" y="310"/>
                  <a:pt x="3284" y="313"/>
                  <a:pt x="3284" y="315"/>
                </a:cubicBezTo>
                <a:cubicBezTo>
                  <a:pt x="3284" y="317"/>
                  <a:pt x="3283" y="318"/>
                  <a:pt x="3281" y="319"/>
                </a:cubicBezTo>
                <a:cubicBezTo>
                  <a:pt x="3279" y="320"/>
                  <a:pt x="3278" y="321"/>
                  <a:pt x="3278" y="322"/>
                </a:cubicBezTo>
                <a:lnTo>
                  <a:pt x="3279" y="324"/>
                </a:lnTo>
                <a:cubicBezTo>
                  <a:pt x="3279" y="325"/>
                  <a:pt x="3278" y="327"/>
                  <a:pt x="3275" y="329"/>
                </a:cubicBezTo>
                <a:cubicBezTo>
                  <a:pt x="3272" y="333"/>
                  <a:pt x="3271" y="335"/>
                  <a:pt x="3271" y="336"/>
                </a:cubicBezTo>
                <a:cubicBezTo>
                  <a:pt x="3271" y="337"/>
                  <a:pt x="3266" y="346"/>
                  <a:pt x="3258" y="362"/>
                </a:cubicBezTo>
                <a:cubicBezTo>
                  <a:pt x="3249" y="378"/>
                  <a:pt x="3244" y="386"/>
                  <a:pt x="3243" y="387"/>
                </a:cubicBezTo>
                <a:cubicBezTo>
                  <a:pt x="3242" y="387"/>
                  <a:pt x="3241" y="388"/>
                  <a:pt x="3241" y="388"/>
                </a:cubicBezTo>
                <a:lnTo>
                  <a:pt x="3242" y="390"/>
                </a:lnTo>
                <a:cubicBezTo>
                  <a:pt x="3242" y="391"/>
                  <a:pt x="3241" y="392"/>
                  <a:pt x="3241" y="392"/>
                </a:cubicBezTo>
                <a:cubicBezTo>
                  <a:pt x="3240" y="392"/>
                  <a:pt x="3239" y="392"/>
                  <a:pt x="3239" y="393"/>
                </a:cubicBezTo>
                <a:lnTo>
                  <a:pt x="3240" y="395"/>
                </a:lnTo>
                <a:cubicBezTo>
                  <a:pt x="3240" y="396"/>
                  <a:pt x="3239" y="397"/>
                  <a:pt x="3238" y="397"/>
                </a:cubicBezTo>
                <a:cubicBezTo>
                  <a:pt x="3238" y="397"/>
                  <a:pt x="3237" y="397"/>
                  <a:pt x="3237" y="397"/>
                </a:cubicBezTo>
                <a:lnTo>
                  <a:pt x="3238" y="399"/>
                </a:lnTo>
                <a:cubicBezTo>
                  <a:pt x="3238" y="400"/>
                  <a:pt x="3237" y="401"/>
                  <a:pt x="3236" y="401"/>
                </a:cubicBezTo>
                <a:cubicBezTo>
                  <a:pt x="3235" y="401"/>
                  <a:pt x="3234" y="401"/>
                  <a:pt x="3234" y="402"/>
                </a:cubicBezTo>
                <a:lnTo>
                  <a:pt x="3235" y="403"/>
                </a:lnTo>
                <a:cubicBezTo>
                  <a:pt x="3235" y="405"/>
                  <a:pt x="3234" y="409"/>
                  <a:pt x="3231" y="414"/>
                </a:cubicBezTo>
                <a:cubicBezTo>
                  <a:pt x="3228" y="420"/>
                  <a:pt x="3226" y="424"/>
                  <a:pt x="3226" y="427"/>
                </a:cubicBezTo>
                <a:cubicBezTo>
                  <a:pt x="3226" y="429"/>
                  <a:pt x="3227" y="430"/>
                  <a:pt x="3229" y="430"/>
                </a:cubicBezTo>
                <a:cubicBezTo>
                  <a:pt x="3230" y="430"/>
                  <a:pt x="3230" y="429"/>
                  <a:pt x="3230" y="427"/>
                </a:cubicBezTo>
                <a:lnTo>
                  <a:pt x="3230" y="422"/>
                </a:lnTo>
                <a:lnTo>
                  <a:pt x="3231" y="422"/>
                </a:lnTo>
                <a:cubicBezTo>
                  <a:pt x="3232" y="422"/>
                  <a:pt x="3233" y="422"/>
                  <a:pt x="3234" y="420"/>
                </a:cubicBezTo>
                <a:cubicBezTo>
                  <a:pt x="3235" y="419"/>
                  <a:pt x="3236" y="418"/>
                  <a:pt x="3236" y="416"/>
                </a:cubicBezTo>
                <a:cubicBezTo>
                  <a:pt x="3237" y="414"/>
                  <a:pt x="3238" y="413"/>
                  <a:pt x="3238" y="411"/>
                </a:cubicBezTo>
                <a:lnTo>
                  <a:pt x="3236" y="409"/>
                </a:lnTo>
                <a:lnTo>
                  <a:pt x="3237" y="408"/>
                </a:lnTo>
                <a:lnTo>
                  <a:pt x="3239" y="409"/>
                </a:lnTo>
                <a:cubicBezTo>
                  <a:pt x="3240" y="409"/>
                  <a:pt x="3240" y="408"/>
                  <a:pt x="3241" y="406"/>
                </a:cubicBezTo>
                <a:cubicBezTo>
                  <a:pt x="3241" y="405"/>
                  <a:pt x="3241" y="404"/>
                  <a:pt x="3241" y="404"/>
                </a:cubicBezTo>
                <a:cubicBezTo>
                  <a:pt x="3241" y="404"/>
                  <a:pt x="3242" y="404"/>
                  <a:pt x="3242" y="405"/>
                </a:cubicBezTo>
                <a:cubicBezTo>
                  <a:pt x="3242" y="407"/>
                  <a:pt x="3240" y="412"/>
                  <a:pt x="3238" y="418"/>
                </a:cubicBezTo>
                <a:cubicBezTo>
                  <a:pt x="3234" y="425"/>
                  <a:pt x="3233" y="430"/>
                  <a:pt x="3233" y="434"/>
                </a:cubicBezTo>
                <a:lnTo>
                  <a:pt x="3234" y="439"/>
                </a:lnTo>
                <a:cubicBezTo>
                  <a:pt x="3234" y="439"/>
                  <a:pt x="3233" y="439"/>
                  <a:pt x="3233" y="439"/>
                </a:cubicBezTo>
                <a:lnTo>
                  <a:pt x="3230" y="438"/>
                </a:lnTo>
                <a:cubicBezTo>
                  <a:pt x="3230" y="438"/>
                  <a:pt x="3230" y="438"/>
                  <a:pt x="3230" y="439"/>
                </a:cubicBezTo>
                <a:lnTo>
                  <a:pt x="3231" y="443"/>
                </a:lnTo>
                <a:cubicBezTo>
                  <a:pt x="3231" y="444"/>
                  <a:pt x="3230" y="445"/>
                  <a:pt x="3229" y="446"/>
                </a:cubicBezTo>
                <a:cubicBezTo>
                  <a:pt x="3227" y="447"/>
                  <a:pt x="3226" y="448"/>
                  <a:pt x="3226" y="448"/>
                </a:cubicBezTo>
                <a:lnTo>
                  <a:pt x="3226" y="451"/>
                </a:lnTo>
                <a:cubicBezTo>
                  <a:pt x="3226" y="451"/>
                  <a:pt x="3226" y="451"/>
                  <a:pt x="3225" y="451"/>
                </a:cubicBezTo>
                <a:cubicBezTo>
                  <a:pt x="3224" y="451"/>
                  <a:pt x="3224" y="452"/>
                  <a:pt x="3224" y="453"/>
                </a:cubicBezTo>
                <a:lnTo>
                  <a:pt x="3224" y="453"/>
                </a:lnTo>
                <a:cubicBezTo>
                  <a:pt x="3224" y="455"/>
                  <a:pt x="3224" y="456"/>
                  <a:pt x="3223" y="456"/>
                </a:cubicBezTo>
                <a:cubicBezTo>
                  <a:pt x="3223" y="456"/>
                  <a:pt x="3223" y="457"/>
                  <a:pt x="3223" y="458"/>
                </a:cubicBezTo>
                <a:cubicBezTo>
                  <a:pt x="3223" y="460"/>
                  <a:pt x="3222" y="462"/>
                  <a:pt x="3222" y="464"/>
                </a:cubicBezTo>
                <a:cubicBezTo>
                  <a:pt x="3221" y="469"/>
                  <a:pt x="3220" y="473"/>
                  <a:pt x="3218" y="477"/>
                </a:cubicBezTo>
                <a:cubicBezTo>
                  <a:pt x="3216" y="480"/>
                  <a:pt x="3216" y="484"/>
                  <a:pt x="3216" y="487"/>
                </a:cubicBezTo>
                <a:cubicBezTo>
                  <a:pt x="3216" y="494"/>
                  <a:pt x="3217" y="497"/>
                  <a:pt x="3219" y="497"/>
                </a:cubicBezTo>
                <a:cubicBezTo>
                  <a:pt x="3219" y="497"/>
                  <a:pt x="3220" y="497"/>
                  <a:pt x="3221" y="496"/>
                </a:cubicBezTo>
                <a:cubicBezTo>
                  <a:pt x="3221" y="495"/>
                  <a:pt x="3221" y="495"/>
                  <a:pt x="3222" y="495"/>
                </a:cubicBezTo>
                <a:cubicBezTo>
                  <a:pt x="3223" y="495"/>
                  <a:pt x="3224" y="495"/>
                  <a:pt x="3225" y="496"/>
                </a:cubicBezTo>
                <a:cubicBezTo>
                  <a:pt x="3226" y="497"/>
                  <a:pt x="3226" y="498"/>
                  <a:pt x="3226" y="499"/>
                </a:cubicBezTo>
                <a:cubicBezTo>
                  <a:pt x="3226" y="500"/>
                  <a:pt x="3225" y="500"/>
                  <a:pt x="3223" y="500"/>
                </a:cubicBezTo>
                <a:lnTo>
                  <a:pt x="3217" y="500"/>
                </a:lnTo>
                <a:cubicBezTo>
                  <a:pt x="3217" y="500"/>
                  <a:pt x="3217" y="501"/>
                  <a:pt x="3219" y="503"/>
                </a:cubicBezTo>
                <a:cubicBezTo>
                  <a:pt x="3220" y="504"/>
                  <a:pt x="3221" y="505"/>
                  <a:pt x="3223" y="505"/>
                </a:cubicBezTo>
                <a:lnTo>
                  <a:pt x="3224" y="505"/>
                </a:lnTo>
                <a:cubicBezTo>
                  <a:pt x="3225" y="505"/>
                  <a:pt x="3226" y="506"/>
                  <a:pt x="3226" y="507"/>
                </a:cubicBezTo>
                <a:cubicBezTo>
                  <a:pt x="3226" y="508"/>
                  <a:pt x="3226" y="509"/>
                  <a:pt x="3228" y="509"/>
                </a:cubicBezTo>
                <a:close/>
                <a:moveTo>
                  <a:pt x="3203" y="490"/>
                </a:moveTo>
                <a:cubicBezTo>
                  <a:pt x="3204" y="490"/>
                  <a:pt x="3204" y="490"/>
                  <a:pt x="3204" y="488"/>
                </a:cubicBezTo>
                <a:lnTo>
                  <a:pt x="3204" y="486"/>
                </a:lnTo>
                <a:cubicBezTo>
                  <a:pt x="3204" y="484"/>
                  <a:pt x="3204" y="482"/>
                  <a:pt x="3204" y="482"/>
                </a:cubicBezTo>
                <a:lnTo>
                  <a:pt x="3203" y="481"/>
                </a:lnTo>
                <a:cubicBezTo>
                  <a:pt x="3203" y="481"/>
                  <a:pt x="3202" y="482"/>
                  <a:pt x="3202" y="483"/>
                </a:cubicBezTo>
                <a:cubicBezTo>
                  <a:pt x="3201" y="485"/>
                  <a:pt x="3200" y="486"/>
                  <a:pt x="3200" y="487"/>
                </a:cubicBezTo>
                <a:cubicBezTo>
                  <a:pt x="3200" y="489"/>
                  <a:pt x="3201" y="490"/>
                  <a:pt x="3203" y="490"/>
                </a:cubicBezTo>
                <a:close/>
                <a:moveTo>
                  <a:pt x="3206" y="419"/>
                </a:moveTo>
                <a:cubicBezTo>
                  <a:pt x="3207" y="419"/>
                  <a:pt x="3208" y="418"/>
                  <a:pt x="3209" y="416"/>
                </a:cubicBezTo>
                <a:lnTo>
                  <a:pt x="3209" y="414"/>
                </a:lnTo>
                <a:cubicBezTo>
                  <a:pt x="3209" y="414"/>
                  <a:pt x="3209" y="413"/>
                  <a:pt x="3209" y="413"/>
                </a:cubicBezTo>
                <a:lnTo>
                  <a:pt x="3208" y="414"/>
                </a:lnTo>
                <a:cubicBezTo>
                  <a:pt x="3206" y="414"/>
                  <a:pt x="3206" y="416"/>
                  <a:pt x="3206" y="417"/>
                </a:cubicBezTo>
                <a:cubicBezTo>
                  <a:pt x="3206" y="419"/>
                  <a:pt x="3206" y="419"/>
                  <a:pt x="3206" y="419"/>
                </a:cubicBezTo>
                <a:close/>
                <a:moveTo>
                  <a:pt x="3199" y="435"/>
                </a:moveTo>
                <a:cubicBezTo>
                  <a:pt x="3200" y="435"/>
                  <a:pt x="3201" y="433"/>
                  <a:pt x="3202" y="431"/>
                </a:cubicBezTo>
                <a:cubicBezTo>
                  <a:pt x="3204" y="427"/>
                  <a:pt x="3205" y="424"/>
                  <a:pt x="3205" y="423"/>
                </a:cubicBezTo>
                <a:lnTo>
                  <a:pt x="3205" y="422"/>
                </a:lnTo>
                <a:cubicBezTo>
                  <a:pt x="3205" y="422"/>
                  <a:pt x="3204" y="424"/>
                  <a:pt x="3202" y="426"/>
                </a:cubicBezTo>
                <a:cubicBezTo>
                  <a:pt x="3200" y="430"/>
                  <a:pt x="3199" y="433"/>
                  <a:pt x="3199" y="434"/>
                </a:cubicBezTo>
                <a:lnTo>
                  <a:pt x="3199" y="435"/>
                </a:lnTo>
                <a:close/>
                <a:moveTo>
                  <a:pt x="3175" y="511"/>
                </a:moveTo>
                <a:cubicBezTo>
                  <a:pt x="3177" y="511"/>
                  <a:pt x="3177" y="510"/>
                  <a:pt x="3177" y="509"/>
                </a:cubicBezTo>
                <a:cubicBezTo>
                  <a:pt x="3177" y="508"/>
                  <a:pt x="3177" y="507"/>
                  <a:pt x="3177" y="507"/>
                </a:cubicBezTo>
                <a:cubicBezTo>
                  <a:pt x="3175" y="504"/>
                  <a:pt x="3174" y="503"/>
                  <a:pt x="3172" y="503"/>
                </a:cubicBezTo>
                <a:cubicBezTo>
                  <a:pt x="3171" y="503"/>
                  <a:pt x="3170" y="504"/>
                  <a:pt x="3170" y="506"/>
                </a:cubicBezTo>
                <a:cubicBezTo>
                  <a:pt x="3170" y="507"/>
                  <a:pt x="3171" y="508"/>
                  <a:pt x="3172" y="510"/>
                </a:cubicBezTo>
                <a:cubicBezTo>
                  <a:pt x="3173" y="511"/>
                  <a:pt x="3174" y="511"/>
                  <a:pt x="3175" y="511"/>
                </a:cubicBezTo>
                <a:close/>
                <a:moveTo>
                  <a:pt x="3155" y="591"/>
                </a:moveTo>
                <a:cubicBezTo>
                  <a:pt x="3155" y="591"/>
                  <a:pt x="3155" y="590"/>
                  <a:pt x="3155" y="589"/>
                </a:cubicBezTo>
                <a:lnTo>
                  <a:pt x="3155" y="586"/>
                </a:lnTo>
                <a:cubicBezTo>
                  <a:pt x="3155" y="586"/>
                  <a:pt x="3154" y="585"/>
                  <a:pt x="3154" y="585"/>
                </a:cubicBezTo>
                <a:cubicBezTo>
                  <a:pt x="3154" y="585"/>
                  <a:pt x="3154" y="586"/>
                  <a:pt x="3154" y="588"/>
                </a:cubicBezTo>
                <a:cubicBezTo>
                  <a:pt x="3154" y="590"/>
                  <a:pt x="3154" y="591"/>
                  <a:pt x="3155" y="591"/>
                </a:cubicBezTo>
                <a:close/>
                <a:moveTo>
                  <a:pt x="3153" y="602"/>
                </a:moveTo>
                <a:cubicBezTo>
                  <a:pt x="3153" y="601"/>
                  <a:pt x="3154" y="601"/>
                  <a:pt x="3154" y="600"/>
                </a:cubicBezTo>
                <a:lnTo>
                  <a:pt x="3152" y="597"/>
                </a:lnTo>
                <a:cubicBezTo>
                  <a:pt x="3152" y="597"/>
                  <a:pt x="3152" y="598"/>
                  <a:pt x="3152" y="601"/>
                </a:cubicBezTo>
                <a:cubicBezTo>
                  <a:pt x="3152" y="602"/>
                  <a:pt x="3152" y="602"/>
                  <a:pt x="3152" y="602"/>
                </a:cubicBezTo>
                <a:lnTo>
                  <a:pt x="3153" y="602"/>
                </a:lnTo>
                <a:close/>
                <a:moveTo>
                  <a:pt x="3150" y="621"/>
                </a:moveTo>
                <a:cubicBezTo>
                  <a:pt x="3150" y="621"/>
                  <a:pt x="3151" y="620"/>
                  <a:pt x="3151" y="619"/>
                </a:cubicBezTo>
                <a:lnTo>
                  <a:pt x="3151" y="616"/>
                </a:lnTo>
                <a:cubicBezTo>
                  <a:pt x="3150" y="616"/>
                  <a:pt x="3150" y="615"/>
                  <a:pt x="3150" y="615"/>
                </a:cubicBezTo>
                <a:cubicBezTo>
                  <a:pt x="3149" y="615"/>
                  <a:pt x="3149" y="616"/>
                  <a:pt x="3149" y="617"/>
                </a:cubicBezTo>
                <a:cubicBezTo>
                  <a:pt x="3149" y="619"/>
                  <a:pt x="3150" y="621"/>
                  <a:pt x="3150" y="621"/>
                </a:cubicBezTo>
                <a:close/>
                <a:moveTo>
                  <a:pt x="3649" y="540"/>
                </a:moveTo>
                <a:close/>
                <a:moveTo>
                  <a:pt x="3176" y="501"/>
                </a:moveTo>
                <a:cubicBezTo>
                  <a:pt x="3176" y="501"/>
                  <a:pt x="3175" y="501"/>
                  <a:pt x="3175" y="500"/>
                </a:cubicBezTo>
                <a:cubicBezTo>
                  <a:pt x="3175" y="498"/>
                  <a:pt x="3176" y="497"/>
                  <a:pt x="3177" y="496"/>
                </a:cubicBezTo>
                <a:lnTo>
                  <a:pt x="3179" y="495"/>
                </a:lnTo>
                <a:cubicBezTo>
                  <a:pt x="3179" y="495"/>
                  <a:pt x="3179" y="496"/>
                  <a:pt x="3179" y="497"/>
                </a:cubicBezTo>
                <a:cubicBezTo>
                  <a:pt x="3179" y="499"/>
                  <a:pt x="3179" y="500"/>
                  <a:pt x="3177" y="501"/>
                </a:cubicBezTo>
                <a:lnTo>
                  <a:pt x="3176" y="501"/>
                </a:lnTo>
                <a:close/>
                <a:moveTo>
                  <a:pt x="3204" y="408"/>
                </a:moveTo>
                <a:lnTo>
                  <a:pt x="3204" y="408"/>
                </a:lnTo>
                <a:cubicBezTo>
                  <a:pt x="3204" y="407"/>
                  <a:pt x="3204" y="406"/>
                  <a:pt x="3205" y="404"/>
                </a:cubicBezTo>
                <a:cubicBezTo>
                  <a:pt x="3205" y="403"/>
                  <a:pt x="3206" y="402"/>
                  <a:pt x="3207" y="402"/>
                </a:cubicBezTo>
                <a:lnTo>
                  <a:pt x="3207" y="402"/>
                </a:lnTo>
                <a:lnTo>
                  <a:pt x="3208" y="403"/>
                </a:lnTo>
                <a:cubicBezTo>
                  <a:pt x="3208" y="404"/>
                  <a:pt x="3207" y="405"/>
                  <a:pt x="3206" y="406"/>
                </a:cubicBezTo>
                <a:lnTo>
                  <a:pt x="3204" y="408"/>
                </a:lnTo>
                <a:close/>
                <a:moveTo>
                  <a:pt x="3515" y="662"/>
                </a:moveTo>
                <a:cubicBezTo>
                  <a:pt x="3514" y="662"/>
                  <a:pt x="3514" y="662"/>
                  <a:pt x="3514" y="660"/>
                </a:cubicBezTo>
                <a:cubicBezTo>
                  <a:pt x="3514" y="659"/>
                  <a:pt x="3515" y="658"/>
                  <a:pt x="3517" y="658"/>
                </a:cubicBezTo>
                <a:cubicBezTo>
                  <a:pt x="3517" y="658"/>
                  <a:pt x="3517" y="658"/>
                  <a:pt x="3517" y="659"/>
                </a:cubicBezTo>
                <a:cubicBezTo>
                  <a:pt x="3517" y="659"/>
                  <a:pt x="3517" y="660"/>
                  <a:pt x="3517" y="661"/>
                </a:cubicBezTo>
                <a:cubicBezTo>
                  <a:pt x="3516" y="662"/>
                  <a:pt x="3516" y="662"/>
                  <a:pt x="3515" y="662"/>
                </a:cubicBezTo>
                <a:close/>
                <a:moveTo>
                  <a:pt x="3162" y="548"/>
                </a:moveTo>
                <a:cubicBezTo>
                  <a:pt x="3161" y="548"/>
                  <a:pt x="3161" y="547"/>
                  <a:pt x="3160" y="546"/>
                </a:cubicBezTo>
                <a:cubicBezTo>
                  <a:pt x="3159" y="545"/>
                  <a:pt x="3158" y="544"/>
                  <a:pt x="3158" y="544"/>
                </a:cubicBezTo>
                <a:lnTo>
                  <a:pt x="3160" y="544"/>
                </a:lnTo>
                <a:cubicBezTo>
                  <a:pt x="3162" y="544"/>
                  <a:pt x="3162" y="544"/>
                  <a:pt x="3163" y="543"/>
                </a:cubicBezTo>
                <a:cubicBezTo>
                  <a:pt x="3163" y="542"/>
                  <a:pt x="3163" y="541"/>
                  <a:pt x="3164" y="541"/>
                </a:cubicBezTo>
                <a:cubicBezTo>
                  <a:pt x="3164" y="541"/>
                  <a:pt x="3164" y="542"/>
                  <a:pt x="3164" y="544"/>
                </a:cubicBezTo>
                <a:lnTo>
                  <a:pt x="3164" y="544"/>
                </a:lnTo>
                <a:cubicBezTo>
                  <a:pt x="3164" y="546"/>
                  <a:pt x="3164" y="548"/>
                  <a:pt x="3162" y="548"/>
                </a:cubicBezTo>
                <a:close/>
                <a:moveTo>
                  <a:pt x="3160" y="535"/>
                </a:moveTo>
                <a:lnTo>
                  <a:pt x="3159" y="535"/>
                </a:lnTo>
                <a:cubicBezTo>
                  <a:pt x="3159" y="535"/>
                  <a:pt x="3159" y="534"/>
                  <a:pt x="3159" y="534"/>
                </a:cubicBezTo>
                <a:cubicBezTo>
                  <a:pt x="3159" y="532"/>
                  <a:pt x="3159" y="531"/>
                  <a:pt x="3160" y="530"/>
                </a:cubicBezTo>
                <a:cubicBezTo>
                  <a:pt x="3161" y="529"/>
                  <a:pt x="3162" y="527"/>
                  <a:pt x="3162" y="526"/>
                </a:cubicBezTo>
                <a:lnTo>
                  <a:pt x="3161" y="522"/>
                </a:lnTo>
                <a:cubicBezTo>
                  <a:pt x="3161" y="522"/>
                  <a:pt x="3161" y="521"/>
                  <a:pt x="3161" y="521"/>
                </a:cubicBezTo>
                <a:cubicBezTo>
                  <a:pt x="3162" y="521"/>
                  <a:pt x="3162" y="522"/>
                  <a:pt x="3162" y="522"/>
                </a:cubicBezTo>
                <a:cubicBezTo>
                  <a:pt x="3163" y="522"/>
                  <a:pt x="3164" y="523"/>
                  <a:pt x="3164" y="524"/>
                </a:cubicBezTo>
                <a:cubicBezTo>
                  <a:pt x="3164" y="524"/>
                  <a:pt x="3165" y="525"/>
                  <a:pt x="3165" y="527"/>
                </a:cubicBezTo>
                <a:cubicBezTo>
                  <a:pt x="3165" y="528"/>
                  <a:pt x="3165" y="529"/>
                  <a:pt x="3166" y="529"/>
                </a:cubicBezTo>
                <a:lnTo>
                  <a:pt x="3167" y="530"/>
                </a:lnTo>
                <a:lnTo>
                  <a:pt x="3165" y="530"/>
                </a:lnTo>
                <a:cubicBezTo>
                  <a:pt x="3163" y="530"/>
                  <a:pt x="3162" y="531"/>
                  <a:pt x="3162" y="533"/>
                </a:cubicBezTo>
                <a:cubicBezTo>
                  <a:pt x="3162" y="534"/>
                  <a:pt x="3161" y="535"/>
                  <a:pt x="3160" y="535"/>
                </a:cubicBezTo>
                <a:close/>
                <a:moveTo>
                  <a:pt x="3330" y="255"/>
                </a:moveTo>
                <a:cubicBezTo>
                  <a:pt x="3329" y="255"/>
                  <a:pt x="3328" y="254"/>
                  <a:pt x="3328" y="253"/>
                </a:cubicBezTo>
                <a:cubicBezTo>
                  <a:pt x="3328" y="253"/>
                  <a:pt x="3329" y="252"/>
                  <a:pt x="3330" y="251"/>
                </a:cubicBezTo>
                <a:cubicBezTo>
                  <a:pt x="3330" y="250"/>
                  <a:pt x="3331" y="249"/>
                  <a:pt x="3332" y="248"/>
                </a:cubicBezTo>
                <a:cubicBezTo>
                  <a:pt x="3333" y="248"/>
                  <a:pt x="3333" y="247"/>
                  <a:pt x="3334" y="247"/>
                </a:cubicBezTo>
                <a:cubicBezTo>
                  <a:pt x="3335" y="248"/>
                  <a:pt x="3336" y="248"/>
                  <a:pt x="3336" y="249"/>
                </a:cubicBezTo>
                <a:cubicBezTo>
                  <a:pt x="3336" y="250"/>
                  <a:pt x="3335" y="251"/>
                  <a:pt x="3333" y="253"/>
                </a:cubicBezTo>
                <a:cubicBezTo>
                  <a:pt x="3332" y="254"/>
                  <a:pt x="3331" y="255"/>
                  <a:pt x="3330" y="255"/>
                </a:cubicBezTo>
                <a:close/>
                <a:moveTo>
                  <a:pt x="3649" y="541"/>
                </a:moveTo>
                <a:cubicBezTo>
                  <a:pt x="3649" y="541"/>
                  <a:pt x="3649" y="541"/>
                  <a:pt x="3649" y="540"/>
                </a:cubicBezTo>
                <a:cubicBezTo>
                  <a:pt x="3649" y="540"/>
                  <a:pt x="3649" y="539"/>
                  <a:pt x="3650" y="538"/>
                </a:cubicBezTo>
                <a:cubicBezTo>
                  <a:pt x="3651" y="537"/>
                  <a:pt x="3652" y="536"/>
                  <a:pt x="3654" y="535"/>
                </a:cubicBezTo>
                <a:lnTo>
                  <a:pt x="3655" y="534"/>
                </a:lnTo>
                <a:lnTo>
                  <a:pt x="3655" y="534"/>
                </a:lnTo>
                <a:lnTo>
                  <a:pt x="3654" y="537"/>
                </a:lnTo>
                <a:cubicBezTo>
                  <a:pt x="3651" y="540"/>
                  <a:pt x="3650" y="541"/>
                  <a:pt x="3649" y="541"/>
                </a:cubicBezTo>
                <a:close/>
                <a:moveTo>
                  <a:pt x="3342" y="400"/>
                </a:moveTo>
                <a:close/>
                <a:moveTo>
                  <a:pt x="3343" y="401"/>
                </a:moveTo>
                <a:cubicBezTo>
                  <a:pt x="3343" y="401"/>
                  <a:pt x="3342" y="401"/>
                  <a:pt x="3342" y="400"/>
                </a:cubicBezTo>
                <a:cubicBezTo>
                  <a:pt x="3342" y="400"/>
                  <a:pt x="3343" y="399"/>
                  <a:pt x="3344" y="398"/>
                </a:cubicBezTo>
                <a:cubicBezTo>
                  <a:pt x="3345" y="397"/>
                  <a:pt x="3346" y="396"/>
                  <a:pt x="3347" y="395"/>
                </a:cubicBezTo>
                <a:cubicBezTo>
                  <a:pt x="3348" y="394"/>
                  <a:pt x="3349" y="394"/>
                  <a:pt x="3349" y="394"/>
                </a:cubicBezTo>
                <a:lnTo>
                  <a:pt x="3349" y="394"/>
                </a:lnTo>
                <a:lnTo>
                  <a:pt x="3347" y="397"/>
                </a:lnTo>
                <a:cubicBezTo>
                  <a:pt x="3345" y="399"/>
                  <a:pt x="3344" y="401"/>
                  <a:pt x="3343" y="401"/>
                </a:cubicBezTo>
                <a:close/>
                <a:moveTo>
                  <a:pt x="3634" y="552"/>
                </a:moveTo>
                <a:cubicBezTo>
                  <a:pt x="3634" y="551"/>
                  <a:pt x="3635" y="551"/>
                  <a:pt x="3635" y="550"/>
                </a:cubicBezTo>
                <a:cubicBezTo>
                  <a:pt x="3637" y="549"/>
                  <a:pt x="3638" y="548"/>
                  <a:pt x="3638" y="548"/>
                </a:cubicBezTo>
                <a:lnTo>
                  <a:pt x="3639" y="548"/>
                </a:lnTo>
                <a:lnTo>
                  <a:pt x="3639" y="549"/>
                </a:lnTo>
                <a:cubicBezTo>
                  <a:pt x="3639" y="549"/>
                  <a:pt x="3638" y="550"/>
                  <a:pt x="3637" y="551"/>
                </a:cubicBezTo>
                <a:cubicBezTo>
                  <a:pt x="3635" y="551"/>
                  <a:pt x="3634" y="552"/>
                  <a:pt x="3634" y="552"/>
                </a:cubicBezTo>
                <a:close/>
                <a:moveTo>
                  <a:pt x="3574" y="605"/>
                </a:moveTo>
                <a:cubicBezTo>
                  <a:pt x="3573" y="605"/>
                  <a:pt x="3573" y="604"/>
                  <a:pt x="3573" y="603"/>
                </a:cubicBezTo>
                <a:cubicBezTo>
                  <a:pt x="3573" y="601"/>
                  <a:pt x="3573" y="601"/>
                  <a:pt x="3575" y="601"/>
                </a:cubicBezTo>
                <a:cubicBezTo>
                  <a:pt x="3576" y="601"/>
                  <a:pt x="3576" y="601"/>
                  <a:pt x="3576" y="602"/>
                </a:cubicBezTo>
                <a:cubicBezTo>
                  <a:pt x="3576" y="602"/>
                  <a:pt x="3576" y="603"/>
                  <a:pt x="3576" y="604"/>
                </a:cubicBezTo>
                <a:cubicBezTo>
                  <a:pt x="3575" y="605"/>
                  <a:pt x="3574" y="605"/>
                  <a:pt x="3574" y="605"/>
                </a:cubicBezTo>
                <a:close/>
                <a:moveTo>
                  <a:pt x="3522" y="658"/>
                </a:moveTo>
                <a:cubicBezTo>
                  <a:pt x="3522" y="658"/>
                  <a:pt x="3521" y="657"/>
                  <a:pt x="3521" y="656"/>
                </a:cubicBezTo>
                <a:cubicBezTo>
                  <a:pt x="3520" y="656"/>
                  <a:pt x="3519" y="656"/>
                  <a:pt x="3519" y="655"/>
                </a:cubicBezTo>
                <a:cubicBezTo>
                  <a:pt x="3519" y="654"/>
                  <a:pt x="3520" y="654"/>
                  <a:pt x="3522" y="654"/>
                </a:cubicBezTo>
                <a:cubicBezTo>
                  <a:pt x="3523" y="654"/>
                  <a:pt x="3524" y="654"/>
                  <a:pt x="3524" y="655"/>
                </a:cubicBezTo>
                <a:lnTo>
                  <a:pt x="3524" y="656"/>
                </a:lnTo>
                <a:cubicBezTo>
                  <a:pt x="3524" y="656"/>
                  <a:pt x="3523" y="656"/>
                  <a:pt x="3523" y="657"/>
                </a:cubicBezTo>
                <a:cubicBezTo>
                  <a:pt x="3523" y="657"/>
                  <a:pt x="3522" y="658"/>
                  <a:pt x="3522" y="658"/>
                </a:cubicBezTo>
                <a:close/>
                <a:moveTo>
                  <a:pt x="3549" y="623"/>
                </a:moveTo>
                <a:cubicBezTo>
                  <a:pt x="3549" y="622"/>
                  <a:pt x="3550" y="621"/>
                  <a:pt x="3553" y="619"/>
                </a:cubicBezTo>
                <a:cubicBezTo>
                  <a:pt x="3555" y="616"/>
                  <a:pt x="3557" y="614"/>
                  <a:pt x="3558" y="614"/>
                </a:cubicBezTo>
                <a:lnTo>
                  <a:pt x="3559" y="615"/>
                </a:lnTo>
                <a:cubicBezTo>
                  <a:pt x="3559" y="616"/>
                  <a:pt x="3557" y="618"/>
                  <a:pt x="3554" y="620"/>
                </a:cubicBezTo>
                <a:cubicBezTo>
                  <a:pt x="3551" y="622"/>
                  <a:pt x="3549" y="623"/>
                  <a:pt x="3549" y="623"/>
                </a:cubicBezTo>
                <a:close/>
                <a:moveTo>
                  <a:pt x="3581" y="598"/>
                </a:moveTo>
                <a:cubicBezTo>
                  <a:pt x="3581" y="598"/>
                  <a:pt x="3580" y="598"/>
                  <a:pt x="3580" y="598"/>
                </a:cubicBezTo>
                <a:cubicBezTo>
                  <a:pt x="3580" y="597"/>
                  <a:pt x="3582" y="595"/>
                  <a:pt x="3586" y="592"/>
                </a:cubicBezTo>
                <a:cubicBezTo>
                  <a:pt x="3590" y="588"/>
                  <a:pt x="3593" y="586"/>
                  <a:pt x="3595" y="586"/>
                </a:cubicBezTo>
                <a:lnTo>
                  <a:pt x="3595" y="586"/>
                </a:lnTo>
                <a:cubicBezTo>
                  <a:pt x="3596" y="586"/>
                  <a:pt x="3597" y="586"/>
                  <a:pt x="3597" y="585"/>
                </a:cubicBezTo>
                <a:lnTo>
                  <a:pt x="3598" y="583"/>
                </a:lnTo>
                <a:lnTo>
                  <a:pt x="3598" y="585"/>
                </a:lnTo>
                <a:cubicBezTo>
                  <a:pt x="3597" y="587"/>
                  <a:pt x="3596" y="588"/>
                  <a:pt x="3595" y="588"/>
                </a:cubicBezTo>
                <a:lnTo>
                  <a:pt x="3595" y="588"/>
                </a:lnTo>
                <a:cubicBezTo>
                  <a:pt x="3593" y="588"/>
                  <a:pt x="3591" y="589"/>
                  <a:pt x="3588" y="593"/>
                </a:cubicBezTo>
                <a:cubicBezTo>
                  <a:pt x="3585" y="596"/>
                  <a:pt x="3582" y="598"/>
                  <a:pt x="3581" y="598"/>
                </a:cubicBezTo>
                <a:close/>
                <a:moveTo>
                  <a:pt x="3182" y="568"/>
                </a:moveTo>
                <a:cubicBezTo>
                  <a:pt x="3182" y="568"/>
                  <a:pt x="3182" y="568"/>
                  <a:pt x="3182" y="566"/>
                </a:cubicBezTo>
                <a:cubicBezTo>
                  <a:pt x="3182" y="565"/>
                  <a:pt x="3182" y="563"/>
                  <a:pt x="3184" y="563"/>
                </a:cubicBezTo>
                <a:lnTo>
                  <a:pt x="3185" y="562"/>
                </a:lnTo>
                <a:cubicBezTo>
                  <a:pt x="3185" y="562"/>
                  <a:pt x="3185" y="563"/>
                  <a:pt x="3185" y="563"/>
                </a:cubicBezTo>
                <a:lnTo>
                  <a:pt x="3185" y="565"/>
                </a:lnTo>
                <a:cubicBezTo>
                  <a:pt x="3184" y="567"/>
                  <a:pt x="3183" y="568"/>
                  <a:pt x="3182" y="568"/>
                </a:cubicBezTo>
                <a:close/>
                <a:moveTo>
                  <a:pt x="3181" y="577"/>
                </a:moveTo>
                <a:cubicBezTo>
                  <a:pt x="3180" y="577"/>
                  <a:pt x="3179" y="577"/>
                  <a:pt x="3179" y="575"/>
                </a:cubicBezTo>
                <a:cubicBezTo>
                  <a:pt x="3179" y="575"/>
                  <a:pt x="3180" y="574"/>
                  <a:pt x="3181" y="573"/>
                </a:cubicBezTo>
                <a:cubicBezTo>
                  <a:pt x="3181" y="572"/>
                  <a:pt x="3182" y="571"/>
                  <a:pt x="3182" y="571"/>
                </a:cubicBezTo>
                <a:cubicBezTo>
                  <a:pt x="3183" y="571"/>
                  <a:pt x="3183" y="572"/>
                  <a:pt x="3183" y="572"/>
                </a:cubicBezTo>
                <a:lnTo>
                  <a:pt x="3183" y="574"/>
                </a:lnTo>
                <a:cubicBezTo>
                  <a:pt x="3182" y="576"/>
                  <a:pt x="3181" y="577"/>
                  <a:pt x="3181" y="577"/>
                </a:cubicBezTo>
                <a:close/>
                <a:moveTo>
                  <a:pt x="3281" y="511"/>
                </a:moveTo>
                <a:cubicBezTo>
                  <a:pt x="3280" y="511"/>
                  <a:pt x="3279" y="510"/>
                  <a:pt x="3279" y="509"/>
                </a:cubicBezTo>
                <a:cubicBezTo>
                  <a:pt x="3279" y="507"/>
                  <a:pt x="3280" y="507"/>
                  <a:pt x="3282" y="507"/>
                </a:cubicBezTo>
                <a:cubicBezTo>
                  <a:pt x="3283" y="507"/>
                  <a:pt x="3283" y="507"/>
                  <a:pt x="3283" y="508"/>
                </a:cubicBezTo>
                <a:lnTo>
                  <a:pt x="3283" y="509"/>
                </a:lnTo>
                <a:cubicBezTo>
                  <a:pt x="3282" y="510"/>
                  <a:pt x="3281" y="511"/>
                  <a:pt x="3281" y="511"/>
                </a:cubicBezTo>
                <a:close/>
                <a:moveTo>
                  <a:pt x="3178" y="690"/>
                </a:moveTo>
                <a:cubicBezTo>
                  <a:pt x="3178" y="689"/>
                  <a:pt x="3177" y="688"/>
                  <a:pt x="3177" y="686"/>
                </a:cubicBezTo>
                <a:cubicBezTo>
                  <a:pt x="3177" y="685"/>
                  <a:pt x="3178" y="684"/>
                  <a:pt x="3178" y="684"/>
                </a:cubicBezTo>
                <a:cubicBezTo>
                  <a:pt x="3179" y="684"/>
                  <a:pt x="3179" y="685"/>
                  <a:pt x="3179" y="687"/>
                </a:cubicBezTo>
                <a:cubicBezTo>
                  <a:pt x="3179" y="688"/>
                  <a:pt x="3179" y="689"/>
                  <a:pt x="3179" y="689"/>
                </a:cubicBezTo>
                <a:lnTo>
                  <a:pt x="3178" y="690"/>
                </a:lnTo>
                <a:close/>
                <a:moveTo>
                  <a:pt x="3176" y="598"/>
                </a:moveTo>
                <a:cubicBezTo>
                  <a:pt x="3176" y="598"/>
                  <a:pt x="3175" y="597"/>
                  <a:pt x="3175" y="595"/>
                </a:cubicBezTo>
                <a:cubicBezTo>
                  <a:pt x="3175" y="593"/>
                  <a:pt x="3176" y="592"/>
                  <a:pt x="3177" y="592"/>
                </a:cubicBezTo>
                <a:cubicBezTo>
                  <a:pt x="3178" y="592"/>
                  <a:pt x="3179" y="592"/>
                  <a:pt x="3179" y="593"/>
                </a:cubicBezTo>
                <a:lnTo>
                  <a:pt x="3178" y="595"/>
                </a:lnTo>
                <a:cubicBezTo>
                  <a:pt x="3177" y="597"/>
                  <a:pt x="3177" y="598"/>
                  <a:pt x="3176" y="598"/>
                </a:cubicBezTo>
                <a:close/>
                <a:moveTo>
                  <a:pt x="3179" y="589"/>
                </a:moveTo>
                <a:cubicBezTo>
                  <a:pt x="3178" y="589"/>
                  <a:pt x="3177" y="588"/>
                  <a:pt x="3177" y="585"/>
                </a:cubicBezTo>
                <a:cubicBezTo>
                  <a:pt x="3177" y="584"/>
                  <a:pt x="3178" y="582"/>
                  <a:pt x="3179" y="581"/>
                </a:cubicBezTo>
                <a:lnTo>
                  <a:pt x="3180" y="581"/>
                </a:lnTo>
                <a:cubicBezTo>
                  <a:pt x="3180" y="581"/>
                  <a:pt x="3181" y="581"/>
                  <a:pt x="3181" y="583"/>
                </a:cubicBezTo>
                <a:lnTo>
                  <a:pt x="3181" y="584"/>
                </a:lnTo>
                <a:cubicBezTo>
                  <a:pt x="3179" y="588"/>
                  <a:pt x="3179" y="589"/>
                  <a:pt x="3179" y="589"/>
                </a:cubicBezTo>
                <a:close/>
                <a:moveTo>
                  <a:pt x="3172" y="649"/>
                </a:moveTo>
                <a:cubicBezTo>
                  <a:pt x="3170" y="648"/>
                  <a:pt x="3169" y="648"/>
                  <a:pt x="3169" y="648"/>
                </a:cubicBezTo>
                <a:lnTo>
                  <a:pt x="3173" y="647"/>
                </a:lnTo>
                <a:cubicBezTo>
                  <a:pt x="3174" y="647"/>
                  <a:pt x="3174" y="647"/>
                  <a:pt x="3174" y="647"/>
                </a:cubicBezTo>
                <a:cubicBezTo>
                  <a:pt x="3175" y="647"/>
                  <a:pt x="3175" y="647"/>
                  <a:pt x="3175" y="648"/>
                </a:cubicBezTo>
                <a:cubicBezTo>
                  <a:pt x="3175" y="648"/>
                  <a:pt x="3174" y="649"/>
                  <a:pt x="3172" y="649"/>
                </a:cubicBezTo>
                <a:close/>
                <a:moveTo>
                  <a:pt x="3173" y="630"/>
                </a:moveTo>
                <a:lnTo>
                  <a:pt x="3173" y="630"/>
                </a:lnTo>
                <a:cubicBezTo>
                  <a:pt x="3172" y="629"/>
                  <a:pt x="3172" y="627"/>
                  <a:pt x="3172" y="625"/>
                </a:cubicBezTo>
                <a:cubicBezTo>
                  <a:pt x="3172" y="623"/>
                  <a:pt x="3172" y="621"/>
                  <a:pt x="3172" y="619"/>
                </a:cubicBezTo>
                <a:cubicBezTo>
                  <a:pt x="3172" y="616"/>
                  <a:pt x="3172" y="614"/>
                  <a:pt x="3172" y="614"/>
                </a:cubicBezTo>
                <a:cubicBezTo>
                  <a:pt x="3174" y="614"/>
                  <a:pt x="3174" y="617"/>
                  <a:pt x="3174" y="622"/>
                </a:cubicBezTo>
                <a:cubicBezTo>
                  <a:pt x="3174" y="627"/>
                  <a:pt x="3174" y="630"/>
                  <a:pt x="3173" y="630"/>
                </a:cubicBezTo>
                <a:close/>
                <a:moveTo>
                  <a:pt x="3174" y="612"/>
                </a:moveTo>
                <a:cubicBezTo>
                  <a:pt x="3174" y="612"/>
                  <a:pt x="3173" y="611"/>
                  <a:pt x="3173" y="609"/>
                </a:cubicBezTo>
                <a:cubicBezTo>
                  <a:pt x="3173" y="608"/>
                  <a:pt x="3173" y="607"/>
                  <a:pt x="3174" y="607"/>
                </a:cubicBezTo>
                <a:cubicBezTo>
                  <a:pt x="3174" y="606"/>
                  <a:pt x="3174" y="606"/>
                  <a:pt x="3175" y="605"/>
                </a:cubicBezTo>
                <a:cubicBezTo>
                  <a:pt x="3176" y="605"/>
                  <a:pt x="3176" y="606"/>
                  <a:pt x="3176" y="607"/>
                </a:cubicBezTo>
                <a:cubicBezTo>
                  <a:pt x="3176" y="607"/>
                  <a:pt x="3176" y="608"/>
                  <a:pt x="3176" y="609"/>
                </a:cubicBezTo>
                <a:cubicBezTo>
                  <a:pt x="3176" y="610"/>
                  <a:pt x="3175" y="610"/>
                  <a:pt x="3175" y="611"/>
                </a:cubicBezTo>
                <a:cubicBezTo>
                  <a:pt x="3174" y="612"/>
                  <a:pt x="3174" y="612"/>
                  <a:pt x="3174" y="612"/>
                </a:cubicBezTo>
                <a:close/>
                <a:moveTo>
                  <a:pt x="3989" y="589"/>
                </a:moveTo>
                <a:cubicBezTo>
                  <a:pt x="3989" y="589"/>
                  <a:pt x="3988" y="589"/>
                  <a:pt x="3988" y="588"/>
                </a:cubicBezTo>
                <a:cubicBezTo>
                  <a:pt x="3988" y="587"/>
                  <a:pt x="3987" y="586"/>
                  <a:pt x="3987" y="585"/>
                </a:cubicBezTo>
                <a:cubicBezTo>
                  <a:pt x="3986" y="585"/>
                  <a:pt x="3986" y="584"/>
                  <a:pt x="3986" y="583"/>
                </a:cubicBezTo>
                <a:lnTo>
                  <a:pt x="3987" y="583"/>
                </a:lnTo>
                <a:lnTo>
                  <a:pt x="3988" y="585"/>
                </a:lnTo>
                <a:cubicBezTo>
                  <a:pt x="3989" y="586"/>
                  <a:pt x="3990" y="587"/>
                  <a:pt x="3990" y="588"/>
                </a:cubicBezTo>
                <a:lnTo>
                  <a:pt x="3989" y="589"/>
                </a:lnTo>
                <a:close/>
                <a:moveTo>
                  <a:pt x="3676" y="595"/>
                </a:moveTo>
                <a:cubicBezTo>
                  <a:pt x="3675" y="595"/>
                  <a:pt x="3674" y="595"/>
                  <a:pt x="3674" y="594"/>
                </a:cubicBezTo>
                <a:cubicBezTo>
                  <a:pt x="3673" y="593"/>
                  <a:pt x="3672" y="592"/>
                  <a:pt x="3672" y="591"/>
                </a:cubicBezTo>
                <a:cubicBezTo>
                  <a:pt x="3672" y="589"/>
                  <a:pt x="3673" y="587"/>
                  <a:pt x="3675" y="584"/>
                </a:cubicBezTo>
                <a:cubicBezTo>
                  <a:pt x="3676" y="582"/>
                  <a:pt x="3677" y="580"/>
                  <a:pt x="3677" y="580"/>
                </a:cubicBezTo>
                <a:lnTo>
                  <a:pt x="3678" y="586"/>
                </a:lnTo>
                <a:lnTo>
                  <a:pt x="3678" y="588"/>
                </a:lnTo>
                <a:cubicBezTo>
                  <a:pt x="3678" y="593"/>
                  <a:pt x="3678" y="595"/>
                  <a:pt x="3676" y="595"/>
                </a:cubicBezTo>
                <a:close/>
                <a:moveTo>
                  <a:pt x="3692" y="565"/>
                </a:moveTo>
                <a:cubicBezTo>
                  <a:pt x="3691" y="565"/>
                  <a:pt x="3691" y="564"/>
                  <a:pt x="3690" y="563"/>
                </a:cubicBezTo>
                <a:cubicBezTo>
                  <a:pt x="3690" y="563"/>
                  <a:pt x="3689" y="563"/>
                  <a:pt x="3689" y="562"/>
                </a:cubicBezTo>
                <a:lnTo>
                  <a:pt x="3688" y="561"/>
                </a:lnTo>
                <a:cubicBezTo>
                  <a:pt x="3688" y="560"/>
                  <a:pt x="3689" y="560"/>
                  <a:pt x="3690" y="560"/>
                </a:cubicBezTo>
                <a:cubicBezTo>
                  <a:pt x="3692" y="560"/>
                  <a:pt x="3692" y="561"/>
                  <a:pt x="3692" y="562"/>
                </a:cubicBezTo>
                <a:cubicBezTo>
                  <a:pt x="3692" y="564"/>
                  <a:pt x="3692" y="565"/>
                  <a:pt x="3692" y="565"/>
                </a:cubicBezTo>
                <a:close/>
                <a:moveTo>
                  <a:pt x="3697" y="747"/>
                </a:moveTo>
                <a:cubicBezTo>
                  <a:pt x="3693" y="747"/>
                  <a:pt x="3688" y="747"/>
                  <a:pt x="3684" y="746"/>
                </a:cubicBezTo>
                <a:cubicBezTo>
                  <a:pt x="3672" y="743"/>
                  <a:pt x="3664" y="738"/>
                  <a:pt x="3660" y="732"/>
                </a:cubicBezTo>
                <a:cubicBezTo>
                  <a:pt x="3658" y="729"/>
                  <a:pt x="3656" y="728"/>
                  <a:pt x="3654" y="728"/>
                </a:cubicBezTo>
                <a:cubicBezTo>
                  <a:pt x="3652" y="728"/>
                  <a:pt x="3650" y="726"/>
                  <a:pt x="3647" y="722"/>
                </a:cubicBezTo>
                <a:cubicBezTo>
                  <a:pt x="3644" y="718"/>
                  <a:pt x="3641" y="714"/>
                  <a:pt x="3638" y="710"/>
                </a:cubicBezTo>
                <a:cubicBezTo>
                  <a:pt x="3636" y="705"/>
                  <a:pt x="3635" y="702"/>
                  <a:pt x="3635" y="699"/>
                </a:cubicBezTo>
                <a:lnTo>
                  <a:pt x="3635" y="696"/>
                </a:lnTo>
                <a:cubicBezTo>
                  <a:pt x="3635" y="696"/>
                  <a:pt x="3635" y="695"/>
                  <a:pt x="3634" y="695"/>
                </a:cubicBezTo>
                <a:cubicBezTo>
                  <a:pt x="3633" y="695"/>
                  <a:pt x="3632" y="689"/>
                  <a:pt x="3632" y="678"/>
                </a:cubicBezTo>
                <a:cubicBezTo>
                  <a:pt x="3632" y="667"/>
                  <a:pt x="3633" y="654"/>
                  <a:pt x="3634" y="638"/>
                </a:cubicBezTo>
                <a:cubicBezTo>
                  <a:pt x="3635" y="623"/>
                  <a:pt x="3637" y="612"/>
                  <a:pt x="3639" y="604"/>
                </a:cubicBezTo>
                <a:cubicBezTo>
                  <a:pt x="3641" y="599"/>
                  <a:pt x="3641" y="595"/>
                  <a:pt x="3641" y="592"/>
                </a:cubicBezTo>
                <a:lnTo>
                  <a:pt x="3641" y="589"/>
                </a:lnTo>
                <a:cubicBezTo>
                  <a:pt x="3641" y="588"/>
                  <a:pt x="3642" y="586"/>
                  <a:pt x="3643" y="585"/>
                </a:cubicBezTo>
                <a:cubicBezTo>
                  <a:pt x="3644" y="583"/>
                  <a:pt x="3645" y="581"/>
                  <a:pt x="3645" y="579"/>
                </a:cubicBezTo>
                <a:lnTo>
                  <a:pt x="3645" y="577"/>
                </a:lnTo>
                <a:cubicBezTo>
                  <a:pt x="3645" y="577"/>
                  <a:pt x="3645" y="576"/>
                  <a:pt x="3645" y="576"/>
                </a:cubicBezTo>
                <a:lnTo>
                  <a:pt x="3647" y="577"/>
                </a:lnTo>
                <a:cubicBezTo>
                  <a:pt x="3648" y="577"/>
                  <a:pt x="3648" y="577"/>
                  <a:pt x="3648" y="576"/>
                </a:cubicBezTo>
                <a:lnTo>
                  <a:pt x="3648" y="574"/>
                </a:lnTo>
                <a:cubicBezTo>
                  <a:pt x="3648" y="572"/>
                  <a:pt x="3650" y="566"/>
                  <a:pt x="3654" y="557"/>
                </a:cubicBezTo>
                <a:cubicBezTo>
                  <a:pt x="3658" y="549"/>
                  <a:pt x="3663" y="541"/>
                  <a:pt x="3669" y="533"/>
                </a:cubicBezTo>
                <a:cubicBezTo>
                  <a:pt x="3678" y="521"/>
                  <a:pt x="3685" y="515"/>
                  <a:pt x="3691" y="515"/>
                </a:cubicBezTo>
                <a:cubicBezTo>
                  <a:pt x="3692" y="515"/>
                  <a:pt x="3694" y="516"/>
                  <a:pt x="3695" y="516"/>
                </a:cubicBezTo>
                <a:cubicBezTo>
                  <a:pt x="3698" y="517"/>
                  <a:pt x="3702" y="518"/>
                  <a:pt x="3706" y="519"/>
                </a:cubicBezTo>
                <a:cubicBezTo>
                  <a:pt x="3710" y="520"/>
                  <a:pt x="3712" y="522"/>
                  <a:pt x="3712" y="523"/>
                </a:cubicBezTo>
                <a:lnTo>
                  <a:pt x="3710" y="529"/>
                </a:lnTo>
                <a:cubicBezTo>
                  <a:pt x="3710" y="531"/>
                  <a:pt x="3711" y="533"/>
                  <a:pt x="3713" y="533"/>
                </a:cubicBezTo>
                <a:cubicBezTo>
                  <a:pt x="3715" y="534"/>
                  <a:pt x="3716" y="535"/>
                  <a:pt x="3716" y="537"/>
                </a:cubicBezTo>
                <a:lnTo>
                  <a:pt x="3716" y="541"/>
                </a:lnTo>
                <a:cubicBezTo>
                  <a:pt x="3715" y="541"/>
                  <a:pt x="3715" y="540"/>
                  <a:pt x="3715" y="538"/>
                </a:cubicBezTo>
                <a:cubicBezTo>
                  <a:pt x="3714" y="536"/>
                  <a:pt x="3713" y="535"/>
                  <a:pt x="3712" y="535"/>
                </a:cubicBezTo>
                <a:cubicBezTo>
                  <a:pt x="3711" y="535"/>
                  <a:pt x="3710" y="537"/>
                  <a:pt x="3709" y="541"/>
                </a:cubicBezTo>
                <a:cubicBezTo>
                  <a:pt x="3708" y="546"/>
                  <a:pt x="3707" y="548"/>
                  <a:pt x="3706" y="548"/>
                </a:cubicBezTo>
                <a:lnTo>
                  <a:pt x="3704" y="547"/>
                </a:lnTo>
                <a:cubicBezTo>
                  <a:pt x="3704" y="547"/>
                  <a:pt x="3703" y="547"/>
                  <a:pt x="3703" y="548"/>
                </a:cubicBezTo>
                <a:cubicBezTo>
                  <a:pt x="3702" y="548"/>
                  <a:pt x="3702" y="549"/>
                  <a:pt x="3702" y="550"/>
                </a:cubicBezTo>
                <a:cubicBezTo>
                  <a:pt x="3702" y="550"/>
                  <a:pt x="3702" y="551"/>
                  <a:pt x="3702" y="551"/>
                </a:cubicBezTo>
                <a:lnTo>
                  <a:pt x="3704" y="550"/>
                </a:lnTo>
                <a:cubicBezTo>
                  <a:pt x="3705" y="550"/>
                  <a:pt x="3705" y="550"/>
                  <a:pt x="3705" y="551"/>
                </a:cubicBezTo>
                <a:cubicBezTo>
                  <a:pt x="3705" y="553"/>
                  <a:pt x="3704" y="555"/>
                  <a:pt x="3703" y="558"/>
                </a:cubicBezTo>
                <a:lnTo>
                  <a:pt x="3702" y="560"/>
                </a:lnTo>
                <a:lnTo>
                  <a:pt x="3703" y="554"/>
                </a:lnTo>
                <a:lnTo>
                  <a:pt x="3702" y="553"/>
                </a:lnTo>
                <a:cubicBezTo>
                  <a:pt x="3702" y="553"/>
                  <a:pt x="3701" y="554"/>
                  <a:pt x="3700" y="556"/>
                </a:cubicBezTo>
                <a:cubicBezTo>
                  <a:pt x="3698" y="558"/>
                  <a:pt x="3696" y="560"/>
                  <a:pt x="3695" y="560"/>
                </a:cubicBezTo>
                <a:cubicBezTo>
                  <a:pt x="3692" y="560"/>
                  <a:pt x="3690" y="556"/>
                  <a:pt x="3690" y="550"/>
                </a:cubicBezTo>
                <a:lnTo>
                  <a:pt x="3690" y="544"/>
                </a:lnTo>
                <a:cubicBezTo>
                  <a:pt x="3690" y="542"/>
                  <a:pt x="3689" y="541"/>
                  <a:pt x="3688" y="541"/>
                </a:cubicBezTo>
                <a:cubicBezTo>
                  <a:pt x="3688" y="541"/>
                  <a:pt x="3688" y="541"/>
                  <a:pt x="3687" y="541"/>
                </a:cubicBezTo>
                <a:cubicBezTo>
                  <a:pt x="3687" y="542"/>
                  <a:pt x="3687" y="543"/>
                  <a:pt x="3687" y="544"/>
                </a:cubicBezTo>
                <a:lnTo>
                  <a:pt x="3687" y="548"/>
                </a:lnTo>
                <a:cubicBezTo>
                  <a:pt x="3687" y="549"/>
                  <a:pt x="3686" y="551"/>
                  <a:pt x="3685" y="553"/>
                </a:cubicBezTo>
                <a:cubicBezTo>
                  <a:pt x="3685" y="556"/>
                  <a:pt x="3684" y="557"/>
                  <a:pt x="3683" y="559"/>
                </a:cubicBezTo>
                <a:cubicBezTo>
                  <a:pt x="3682" y="560"/>
                  <a:pt x="3681" y="561"/>
                  <a:pt x="3680" y="561"/>
                </a:cubicBezTo>
                <a:cubicBezTo>
                  <a:pt x="3680" y="561"/>
                  <a:pt x="3679" y="561"/>
                  <a:pt x="3679" y="561"/>
                </a:cubicBezTo>
                <a:lnTo>
                  <a:pt x="3678" y="560"/>
                </a:lnTo>
                <a:lnTo>
                  <a:pt x="3678" y="562"/>
                </a:lnTo>
                <a:cubicBezTo>
                  <a:pt x="3678" y="564"/>
                  <a:pt x="3676" y="571"/>
                  <a:pt x="3671" y="583"/>
                </a:cubicBezTo>
                <a:cubicBezTo>
                  <a:pt x="3664" y="598"/>
                  <a:pt x="3661" y="607"/>
                  <a:pt x="3661" y="611"/>
                </a:cubicBezTo>
                <a:lnTo>
                  <a:pt x="3661" y="612"/>
                </a:lnTo>
                <a:cubicBezTo>
                  <a:pt x="3661" y="612"/>
                  <a:pt x="3661" y="611"/>
                  <a:pt x="3662" y="610"/>
                </a:cubicBezTo>
                <a:cubicBezTo>
                  <a:pt x="3662" y="610"/>
                  <a:pt x="3662" y="609"/>
                  <a:pt x="3663" y="609"/>
                </a:cubicBezTo>
                <a:lnTo>
                  <a:pt x="3665" y="610"/>
                </a:lnTo>
                <a:lnTo>
                  <a:pt x="3666" y="609"/>
                </a:lnTo>
                <a:cubicBezTo>
                  <a:pt x="3666" y="608"/>
                  <a:pt x="3665" y="608"/>
                  <a:pt x="3665" y="607"/>
                </a:cubicBezTo>
                <a:cubicBezTo>
                  <a:pt x="3665" y="606"/>
                  <a:pt x="3665" y="605"/>
                  <a:pt x="3665" y="604"/>
                </a:cubicBezTo>
                <a:cubicBezTo>
                  <a:pt x="3665" y="602"/>
                  <a:pt x="3665" y="600"/>
                  <a:pt x="3666" y="598"/>
                </a:cubicBezTo>
                <a:cubicBezTo>
                  <a:pt x="3667" y="597"/>
                  <a:pt x="3668" y="596"/>
                  <a:pt x="3670" y="596"/>
                </a:cubicBezTo>
                <a:cubicBezTo>
                  <a:pt x="3670" y="596"/>
                  <a:pt x="3671" y="596"/>
                  <a:pt x="3672" y="597"/>
                </a:cubicBezTo>
                <a:cubicBezTo>
                  <a:pt x="3673" y="597"/>
                  <a:pt x="3673" y="598"/>
                  <a:pt x="3674" y="599"/>
                </a:cubicBezTo>
                <a:cubicBezTo>
                  <a:pt x="3675" y="600"/>
                  <a:pt x="3675" y="601"/>
                  <a:pt x="3675" y="602"/>
                </a:cubicBezTo>
                <a:cubicBezTo>
                  <a:pt x="3675" y="603"/>
                  <a:pt x="3675" y="603"/>
                  <a:pt x="3675" y="603"/>
                </a:cubicBezTo>
                <a:cubicBezTo>
                  <a:pt x="3674" y="603"/>
                  <a:pt x="3673" y="602"/>
                  <a:pt x="3672" y="600"/>
                </a:cubicBezTo>
                <a:lnTo>
                  <a:pt x="3669" y="597"/>
                </a:lnTo>
                <a:lnTo>
                  <a:pt x="3669" y="597"/>
                </a:lnTo>
                <a:cubicBezTo>
                  <a:pt x="3669" y="598"/>
                  <a:pt x="3670" y="599"/>
                  <a:pt x="3670" y="602"/>
                </a:cubicBezTo>
                <a:cubicBezTo>
                  <a:pt x="3671" y="604"/>
                  <a:pt x="3672" y="605"/>
                  <a:pt x="3672" y="606"/>
                </a:cubicBezTo>
                <a:cubicBezTo>
                  <a:pt x="3672" y="607"/>
                  <a:pt x="3672" y="607"/>
                  <a:pt x="3671" y="607"/>
                </a:cubicBezTo>
                <a:lnTo>
                  <a:pt x="3669" y="606"/>
                </a:lnTo>
                <a:cubicBezTo>
                  <a:pt x="3669" y="606"/>
                  <a:pt x="3669" y="607"/>
                  <a:pt x="3669" y="607"/>
                </a:cubicBezTo>
                <a:lnTo>
                  <a:pt x="3670" y="614"/>
                </a:lnTo>
                <a:cubicBezTo>
                  <a:pt x="3670" y="614"/>
                  <a:pt x="3670" y="614"/>
                  <a:pt x="3670" y="614"/>
                </a:cubicBezTo>
                <a:lnTo>
                  <a:pt x="3667" y="613"/>
                </a:lnTo>
                <a:cubicBezTo>
                  <a:pt x="3667" y="613"/>
                  <a:pt x="3667" y="614"/>
                  <a:pt x="3667" y="614"/>
                </a:cubicBezTo>
                <a:cubicBezTo>
                  <a:pt x="3667" y="615"/>
                  <a:pt x="3667" y="616"/>
                  <a:pt x="3667" y="617"/>
                </a:cubicBezTo>
                <a:cubicBezTo>
                  <a:pt x="3667" y="618"/>
                  <a:pt x="3667" y="619"/>
                  <a:pt x="3667" y="620"/>
                </a:cubicBezTo>
                <a:cubicBezTo>
                  <a:pt x="3667" y="622"/>
                  <a:pt x="3667" y="623"/>
                  <a:pt x="3666" y="623"/>
                </a:cubicBezTo>
                <a:cubicBezTo>
                  <a:pt x="3665" y="624"/>
                  <a:pt x="3665" y="625"/>
                  <a:pt x="3665" y="625"/>
                </a:cubicBezTo>
                <a:lnTo>
                  <a:pt x="3666" y="628"/>
                </a:lnTo>
                <a:cubicBezTo>
                  <a:pt x="3666" y="628"/>
                  <a:pt x="3666" y="628"/>
                  <a:pt x="3666" y="628"/>
                </a:cubicBezTo>
                <a:lnTo>
                  <a:pt x="3663" y="627"/>
                </a:lnTo>
                <a:cubicBezTo>
                  <a:pt x="3662" y="627"/>
                  <a:pt x="3662" y="628"/>
                  <a:pt x="3662" y="629"/>
                </a:cubicBezTo>
                <a:lnTo>
                  <a:pt x="3662" y="634"/>
                </a:lnTo>
                <a:cubicBezTo>
                  <a:pt x="3662" y="636"/>
                  <a:pt x="3662" y="638"/>
                  <a:pt x="3661" y="639"/>
                </a:cubicBezTo>
                <a:cubicBezTo>
                  <a:pt x="3660" y="642"/>
                  <a:pt x="3659" y="648"/>
                  <a:pt x="3658" y="657"/>
                </a:cubicBezTo>
                <a:cubicBezTo>
                  <a:pt x="3657" y="666"/>
                  <a:pt x="3657" y="674"/>
                  <a:pt x="3657" y="683"/>
                </a:cubicBezTo>
                <a:cubicBezTo>
                  <a:pt x="3657" y="690"/>
                  <a:pt x="3657" y="696"/>
                  <a:pt x="3658" y="701"/>
                </a:cubicBezTo>
                <a:cubicBezTo>
                  <a:pt x="3660" y="711"/>
                  <a:pt x="3667" y="716"/>
                  <a:pt x="3679" y="716"/>
                </a:cubicBezTo>
                <a:cubicBezTo>
                  <a:pt x="3708" y="716"/>
                  <a:pt x="3768" y="689"/>
                  <a:pt x="3859" y="637"/>
                </a:cubicBezTo>
                <a:lnTo>
                  <a:pt x="3959" y="578"/>
                </a:lnTo>
                <a:cubicBezTo>
                  <a:pt x="3984" y="563"/>
                  <a:pt x="3998" y="555"/>
                  <a:pt x="4001" y="555"/>
                </a:cubicBezTo>
                <a:lnTo>
                  <a:pt x="4002" y="555"/>
                </a:lnTo>
                <a:cubicBezTo>
                  <a:pt x="4003" y="555"/>
                  <a:pt x="4003" y="555"/>
                  <a:pt x="4003" y="554"/>
                </a:cubicBezTo>
                <a:cubicBezTo>
                  <a:pt x="4003" y="553"/>
                  <a:pt x="4003" y="552"/>
                  <a:pt x="4004" y="551"/>
                </a:cubicBezTo>
                <a:cubicBezTo>
                  <a:pt x="4005" y="551"/>
                  <a:pt x="4005" y="551"/>
                  <a:pt x="4006" y="551"/>
                </a:cubicBezTo>
                <a:cubicBezTo>
                  <a:pt x="4008" y="551"/>
                  <a:pt x="4009" y="550"/>
                  <a:pt x="4009" y="549"/>
                </a:cubicBezTo>
                <a:cubicBezTo>
                  <a:pt x="4009" y="548"/>
                  <a:pt x="4010" y="547"/>
                  <a:pt x="4010" y="547"/>
                </a:cubicBezTo>
                <a:lnTo>
                  <a:pt x="4013" y="548"/>
                </a:lnTo>
                <a:cubicBezTo>
                  <a:pt x="4013" y="548"/>
                  <a:pt x="4014" y="547"/>
                  <a:pt x="4014" y="546"/>
                </a:cubicBezTo>
                <a:cubicBezTo>
                  <a:pt x="4014" y="545"/>
                  <a:pt x="4015" y="545"/>
                  <a:pt x="4017" y="545"/>
                </a:cubicBezTo>
                <a:lnTo>
                  <a:pt x="4018" y="545"/>
                </a:lnTo>
                <a:cubicBezTo>
                  <a:pt x="4020" y="545"/>
                  <a:pt x="4023" y="543"/>
                  <a:pt x="4026" y="540"/>
                </a:cubicBezTo>
                <a:lnTo>
                  <a:pt x="4027" y="539"/>
                </a:lnTo>
                <a:cubicBezTo>
                  <a:pt x="4029" y="539"/>
                  <a:pt x="4030" y="540"/>
                  <a:pt x="4032" y="542"/>
                </a:cubicBezTo>
                <a:cubicBezTo>
                  <a:pt x="4034" y="544"/>
                  <a:pt x="4036" y="546"/>
                  <a:pt x="4038" y="548"/>
                </a:cubicBezTo>
                <a:cubicBezTo>
                  <a:pt x="4039" y="550"/>
                  <a:pt x="4040" y="551"/>
                  <a:pt x="4040" y="552"/>
                </a:cubicBezTo>
                <a:cubicBezTo>
                  <a:pt x="4040" y="555"/>
                  <a:pt x="4034" y="560"/>
                  <a:pt x="4022" y="568"/>
                </a:cubicBezTo>
                <a:cubicBezTo>
                  <a:pt x="4019" y="570"/>
                  <a:pt x="4017" y="571"/>
                  <a:pt x="4016" y="571"/>
                </a:cubicBezTo>
                <a:cubicBezTo>
                  <a:pt x="4015" y="571"/>
                  <a:pt x="4015" y="571"/>
                  <a:pt x="4015" y="570"/>
                </a:cubicBezTo>
                <a:cubicBezTo>
                  <a:pt x="4015" y="569"/>
                  <a:pt x="4015" y="568"/>
                  <a:pt x="4016" y="568"/>
                </a:cubicBezTo>
                <a:lnTo>
                  <a:pt x="4017" y="568"/>
                </a:lnTo>
                <a:cubicBezTo>
                  <a:pt x="4018" y="568"/>
                  <a:pt x="4018" y="568"/>
                  <a:pt x="4018" y="567"/>
                </a:cubicBezTo>
                <a:cubicBezTo>
                  <a:pt x="4018" y="566"/>
                  <a:pt x="4019" y="566"/>
                  <a:pt x="4020" y="565"/>
                </a:cubicBezTo>
                <a:cubicBezTo>
                  <a:pt x="4022" y="564"/>
                  <a:pt x="4024" y="563"/>
                  <a:pt x="4025" y="562"/>
                </a:cubicBezTo>
                <a:cubicBezTo>
                  <a:pt x="4027" y="561"/>
                  <a:pt x="4029" y="561"/>
                  <a:pt x="4031" y="559"/>
                </a:cubicBezTo>
                <a:cubicBezTo>
                  <a:pt x="4032" y="558"/>
                  <a:pt x="4033" y="557"/>
                  <a:pt x="4033" y="556"/>
                </a:cubicBezTo>
                <a:cubicBezTo>
                  <a:pt x="4033" y="554"/>
                  <a:pt x="4033" y="553"/>
                  <a:pt x="4032" y="553"/>
                </a:cubicBezTo>
                <a:cubicBezTo>
                  <a:pt x="4031" y="553"/>
                  <a:pt x="4029" y="554"/>
                  <a:pt x="4027" y="557"/>
                </a:cubicBezTo>
                <a:cubicBezTo>
                  <a:pt x="4024" y="560"/>
                  <a:pt x="4022" y="561"/>
                  <a:pt x="4021" y="561"/>
                </a:cubicBezTo>
                <a:lnTo>
                  <a:pt x="4020" y="561"/>
                </a:lnTo>
                <a:cubicBezTo>
                  <a:pt x="4019" y="561"/>
                  <a:pt x="4017" y="562"/>
                  <a:pt x="4015" y="564"/>
                </a:cubicBezTo>
                <a:cubicBezTo>
                  <a:pt x="4013" y="566"/>
                  <a:pt x="4011" y="568"/>
                  <a:pt x="4008" y="569"/>
                </a:cubicBezTo>
                <a:cubicBezTo>
                  <a:pt x="4005" y="571"/>
                  <a:pt x="4002" y="571"/>
                  <a:pt x="4001" y="571"/>
                </a:cubicBezTo>
                <a:lnTo>
                  <a:pt x="3999" y="571"/>
                </a:lnTo>
                <a:cubicBezTo>
                  <a:pt x="3998" y="571"/>
                  <a:pt x="3998" y="571"/>
                  <a:pt x="3997" y="573"/>
                </a:cubicBezTo>
                <a:cubicBezTo>
                  <a:pt x="3996" y="574"/>
                  <a:pt x="3995" y="576"/>
                  <a:pt x="3995" y="578"/>
                </a:cubicBezTo>
                <a:cubicBezTo>
                  <a:pt x="3994" y="580"/>
                  <a:pt x="3993" y="581"/>
                  <a:pt x="3993" y="583"/>
                </a:cubicBezTo>
                <a:lnTo>
                  <a:pt x="3993" y="586"/>
                </a:lnTo>
                <a:lnTo>
                  <a:pt x="3993" y="585"/>
                </a:lnTo>
                <a:cubicBezTo>
                  <a:pt x="3992" y="582"/>
                  <a:pt x="3990" y="580"/>
                  <a:pt x="3988" y="580"/>
                </a:cubicBezTo>
                <a:cubicBezTo>
                  <a:pt x="3987" y="580"/>
                  <a:pt x="3985" y="581"/>
                  <a:pt x="3984" y="583"/>
                </a:cubicBezTo>
                <a:cubicBezTo>
                  <a:pt x="3983" y="585"/>
                  <a:pt x="3983" y="586"/>
                  <a:pt x="3983" y="588"/>
                </a:cubicBezTo>
                <a:lnTo>
                  <a:pt x="3983" y="588"/>
                </a:lnTo>
                <a:cubicBezTo>
                  <a:pt x="3983" y="589"/>
                  <a:pt x="3982" y="589"/>
                  <a:pt x="3982" y="589"/>
                </a:cubicBezTo>
                <a:lnTo>
                  <a:pt x="3979" y="588"/>
                </a:lnTo>
                <a:cubicBezTo>
                  <a:pt x="3977" y="588"/>
                  <a:pt x="3977" y="590"/>
                  <a:pt x="3977" y="593"/>
                </a:cubicBezTo>
                <a:cubicBezTo>
                  <a:pt x="3977" y="596"/>
                  <a:pt x="3976" y="598"/>
                  <a:pt x="3974" y="598"/>
                </a:cubicBezTo>
                <a:cubicBezTo>
                  <a:pt x="3972" y="599"/>
                  <a:pt x="3972" y="600"/>
                  <a:pt x="3972" y="601"/>
                </a:cubicBezTo>
                <a:lnTo>
                  <a:pt x="3973" y="603"/>
                </a:lnTo>
                <a:lnTo>
                  <a:pt x="3972" y="604"/>
                </a:lnTo>
                <a:lnTo>
                  <a:pt x="3972" y="603"/>
                </a:lnTo>
                <a:cubicBezTo>
                  <a:pt x="3971" y="603"/>
                  <a:pt x="3971" y="603"/>
                  <a:pt x="3970" y="603"/>
                </a:cubicBezTo>
                <a:cubicBezTo>
                  <a:pt x="3969" y="603"/>
                  <a:pt x="3968" y="603"/>
                  <a:pt x="3967" y="604"/>
                </a:cubicBezTo>
                <a:cubicBezTo>
                  <a:pt x="3966" y="605"/>
                  <a:pt x="3965" y="605"/>
                  <a:pt x="3964" y="605"/>
                </a:cubicBezTo>
                <a:cubicBezTo>
                  <a:pt x="3964" y="605"/>
                  <a:pt x="3964" y="605"/>
                  <a:pt x="3964" y="604"/>
                </a:cubicBezTo>
                <a:cubicBezTo>
                  <a:pt x="3964" y="603"/>
                  <a:pt x="3965" y="601"/>
                  <a:pt x="3966" y="601"/>
                </a:cubicBezTo>
                <a:cubicBezTo>
                  <a:pt x="3967" y="600"/>
                  <a:pt x="3968" y="600"/>
                  <a:pt x="3968" y="599"/>
                </a:cubicBezTo>
                <a:cubicBezTo>
                  <a:pt x="3968" y="598"/>
                  <a:pt x="3967" y="596"/>
                  <a:pt x="3967" y="595"/>
                </a:cubicBezTo>
                <a:cubicBezTo>
                  <a:pt x="3967" y="593"/>
                  <a:pt x="3966" y="593"/>
                  <a:pt x="3965" y="593"/>
                </a:cubicBezTo>
                <a:cubicBezTo>
                  <a:pt x="3965" y="593"/>
                  <a:pt x="3964" y="593"/>
                  <a:pt x="3963" y="595"/>
                </a:cubicBezTo>
                <a:cubicBezTo>
                  <a:pt x="3960" y="598"/>
                  <a:pt x="3951" y="603"/>
                  <a:pt x="3935" y="612"/>
                </a:cubicBezTo>
                <a:cubicBezTo>
                  <a:pt x="3919" y="620"/>
                  <a:pt x="3911" y="625"/>
                  <a:pt x="3911" y="627"/>
                </a:cubicBezTo>
                <a:cubicBezTo>
                  <a:pt x="3911" y="628"/>
                  <a:pt x="3910" y="628"/>
                  <a:pt x="3908" y="628"/>
                </a:cubicBezTo>
                <a:cubicBezTo>
                  <a:pt x="3906" y="628"/>
                  <a:pt x="3905" y="629"/>
                  <a:pt x="3905" y="630"/>
                </a:cubicBezTo>
                <a:lnTo>
                  <a:pt x="3905" y="635"/>
                </a:lnTo>
                <a:cubicBezTo>
                  <a:pt x="3905" y="635"/>
                  <a:pt x="3904" y="634"/>
                  <a:pt x="3903" y="634"/>
                </a:cubicBezTo>
                <a:cubicBezTo>
                  <a:pt x="3903" y="633"/>
                  <a:pt x="3901" y="632"/>
                  <a:pt x="3901" y="632"/>
                </a:cubicBezTo>
                <a:cubicBezTo>
                  <a:pt x="3899" y="632"/>
                  <a:pt x="3897" y="633"/>
                  <a:pt x="3894" y="634"/>
                </a:cubicBezTo>
                <a:cubicBezTo>
                  <a:pt x="3892" y="635"/>
                  <a:pt x="3890" y="636"/>
                  <a:pt x="3888" y="638"/>
                </a:cubicBezTo>
                <a:cubicBezTo>
                  <a:pt x="3886" y="639"/>
                  <a:pt x="3885" y="641"/>
                  <a:pt x="3885" y="642"/>
                </a:cubicBezTo>
                <a:lnTo>
                  <a:pt x="3885" y="643"/>
                </a:lnTo>
                <a:lnTo>
                  <a:pt x="3885" y="646"/>
                </a:lnTo>
                <a:cubicBezTo>
                  <a:pt x="3883" y="648"/>
                  <a:pt x="3881" y="650"/>
                  <a:pt x="3879" y="650"/>
                </a:cubicBezTo>
                <a:cubicBezTo>
                  <a:pt x="3878" y="650"/>
                  <a:pt x="3878" y="649"/>
                  <a:pt x="3878" y="649"/>
                </a:cubicBezTo>
                <a:cubicBezTo>
                  <a:pt x="3878" y="648"/>
                  <a:pt x="3878" y="647"/>
                  <a:pt x="3879" y="646"/>
                </a:cubicBezTo>
                <a:cubicBezTo>
                  <a:pt x="3881" y="644"/>
                  <a:pt x="3881" y="643"/>
                  <a:pt x="3881" y="643"/>
                </a:cubicBezTo>
                <a:lnTo>
                  <a:pt x="3881" y="643"/>
                </a:lnTo>
                <a:cubicBezTo>
                  <a:pt x="3880" y="643"/>
                  <a:pt x="3876" y="644"/>
                  <a:pt x="3871" y="648"/>
                </a:cubicBezTo>
                <a:cubicBezTo>
                  <a:pt x="3866" y="652"/>
                  <a:pt x="3863" y="654"/>
                  <a:pt x="3863" y="655"/>
                </a:cubicBezTo>
                <a:cubicBezTo>
                  <a:pt x="3863" y="657"/>
                  <a:pt x="3863" y="658"/>
                  <a:pt x="3862" y="659"/>
                </a:cubicBezTo>
                <a:cubicBezTo>
                  <a:pt x="3861" y="660"/>
                  <a:pt x="3859" y="661"/>
                  <a:pt x="3858" y="661"/>
                </a:cubicBezTo>
                <a:cubicBezTo>
                  <a:pt x="3858" y="661"/>
                  <a:pt x="3858" y="660"/>
                  <a:pt x="3859" y="659"/>
                </a:cubicBezTo>
                <a:cubicBezTo>
                  <a:pt x="3861" y="658"/>
                  <a:pt x="3861" y="657"/>
                  <a:pt x="3861" y="656"/>
                </a:cubicBezTo>
                <a:cubicBezTo>
                  <a:pt x="3861" y="655"/>
                  <a:pt x="3861" y="655"/>
                  <a:pt x="3861" y="655"/>
                </a:cubicBezTo>
                <a:cubicBezTo>
                  <a:pt x="3859" y="655"/>
                  <a:pt x="3857" y="655"/>
                  <a:pt x="3855" y="657"/>
                </a:cubicBezTo>
                <a:cubicBezTo>
                  <a:pt x="3853" y="658"/>
                  <a:pt x="3852" y="659"/>
                  <a:pt x="3852" y="660"/>
                </a:cubicBezTo>
                <a:cubicBezTo>
                  <a:pt x="3852" y="661"/>
                  <a:pt x="3853" y="661"/>
                  <a:pt x="3853" y="661"/>
                </a:cubicBezTo>
                <a:cubicBezTo>
                  <a:pt x="3854" y="661"/>
                  <a:pt x="3854" y="661"/>
                  <a:pt x="3854" y="662"/>
                </a:cubicBezTo>
                <a:lnTo>
                  <a:pt x="3854" y="665"/>
                </a:lnTo>
                <a:cubicBezTo>
                  <a:pt x="3854" y="666"/>
                  <a:pt x="3854" y="668"/>
                  <a:pt x="3856" y="669"/>
                </a:cubicBezTo>
                <a:cubicBezTo>
                  <a:pt x="3857" y="671"/>
                  <a:pt x="3858" y="672"/>
                  <a:pt x="3858" y="673"/>
                </a:cubicBezTo>
                <a:cubicBezTo>
                  <a:pt x="3858" y="674"/>
                  <a:pt x="3857" y="674"/>
                  <a:pt x="3855" y="674"/>
                </a:cubicBezTo>
                <a:cubicBezTo>
                  <a:pt x="3853" y="674"/>
                  <a:pt x="3847" y="677"/>
                  <a:pt x="3839" y="681"/>
                </a:cubicBezTo>
                <a:cubicBezTo>
                  <a:pt x="3831" y="686"/>
                  <a:pt x="3827" y="689"/>
                  <a:pt x="3827" y="690"/>
                </a:cubicBezTo>
                <a:cubicBezTo>
                  <a:pt x="3827" y="691"/>
                  <a:pt x="3826" y="692"/>
                  <a:pt x="3824" y="692"/>
                </a:cubicBezTo>
                <a:lnTo>
                  <a:pt x="3820" y="692"/>
                </a:lnTo>
                <a:cubicBezTo>
                  <a:pt x="3817" y="692"/>
                  <a:pt x="3816" y="692"/>
                  <a:pt x="3816" y="693"/>
                </a:cubicBezTo>
                <a:cubicBezTo>
                  <a:pt x="3816" y="694"/>
                  <a:pt x="3816" y="694"/>
                  <a:pt x="3815" y="694"/>
                </a:cubicBezTo>
                <a:lnTo>
                  <a:pt x="3812" y="693"/>
                </a:lnTo>
                <a:cubicBezTo>
                  <a:pt x="3812" y="693"/>
                  <a:pt x="3812" y="693"/>
                  <a:pt x="3812" y="694"/>
                </a:cubicBezTo>
                <a:cubicBezTo>
                  <a:pt x="3812" y="695"/>
                  <a:pt x="3812" y="696"/>
                  <a:pt x="3813" y="697"/>
                </a:cubicBezTo>
                <a:cubicBezTo>
                  <a:pt x="3813" y="699"/>
                  <a:pt x="3814" y="699"/>
                  <a:pt x="3814" y="700"/>
                </a:cubicBezTo>
                <a:cubicBezTo>
                  <a:pt x="3813" y="700"/>
                  <a:pt x="3812" y="698"/>
                  <a:pt x="3811" y="696"/>
                </a:cubicBezTo>
                <a:cubicBezTo>
                  <a:pt x="3809" y="694"/>
                  <a:pt x="3807" y="693"/>
                  <a:pt x="3807" y="693"/>
                </a:cubicBezTo>
                <a:cubicBezTo>
                  <a:pt x="3807" y="693"/>
                  <a:pt x="3806" y="693"/>
                  <a:pt x="3806" y="694"/>
                </a:cubicBezTo>
                <a:cubicBezTo>
                  <a:pt x="3806" y="694"/>
                  <a:pt x="3807" y="696"/>
                  <a:pt x="3807" y="697"/>
                </a:cubicBezTo>
                <a:cubicBezTo>
                  <a:pt x="3808" y="698"/>
                  <a:pt x="3808" y="700"/>
                  <a:pt x="3808" y="701"/>
                </a:cubicBezTo>
                <a:cubicBezTo>
                  <a:pt x="3808" y="703"/>
                  <a:pt x="3807" y="704"/>
                  <a:pt x="3805" y="704"/>
                </a:cubicBezTo>
                <a:cubicBezTo>
                  <a:pt x="3804" y="704"/>
                  <a:pt x="3804" y="704"/>
                  <a:pt x="3804" y="703"/>
                </a:cubicBezTo>
                <a:lnTo>
                  <a:pt x="3804" y="700"/>
                </a:lnTo>
                <a:cubicBezTo>
                  <a:pt x="3804" y="699"/>
                  <a:pt x="3804" y="698"/>
                  <a:pt x="3802" y="698"/>
                </a:cubicBezTo>
                <a:cubicBezTo>
                  <a:pt x="3800" y="698"/>
                  <a:pt x="3799" y="700"/>
                  <a:pt x="3799" y="703"/>
                </a:cubicBezTo>
                <a:cubicBezTo>
                  <a:pt x="3799" y="706"/>
                  <a:pt x="3797" y="709"/>
                  <a:pt x="3793" y="711"/>
                </a:cubicBezTo>
                <a:cubicBezTo>
                  <a:pt x="3790" y="714"/>
                  <a:pt x="3787" y="715"/>
                  <a:pt x="3784" y="715"/>
                </a:cubicBezTo>
                <a:cubicBezTo>
                  <a:pt x="3783" y="715"/>
                  <a:pt x="3782" y="714"/>
                  <a:pt x="3781" y="713"/>
                </a:cubicBezTo>
                <a:cubicBezTo>
                  <a:pt x="3780" y="713"/>
                  <a:pt x="3779" y="712"/>
                  <a:pt x="3779" y="712"/>
                </a:cubicBezTo>
                <a:cubicBezTo>
                  <a:pt x="3779" y="713"/>
                  <a:pt x="3779" y="714"/>
                  <a:pt x="3779" y="716"/>
                </a:cubicBezTo>
                <a:lnTo>
                  <a:pt x="3779" y="716"/>
                </a:lnTo>
                <a:cubicBezTo>
                  <a:pt x="3779" y="719"/>
                  <a:pt x="3772" y="723"/>
                  <a:pt x="3759" y="729"/>
                </a:cubicBezTo>
                <a:cubicBezTo>
                  <a:pt x="3734" y="741"/>
                  <a:pt x="3714" y="747"/>
                  <a:pt x="3697" y="747"/>
                </a:cubicBezTo>
                <a:close/>
                <a:moveTo>
                  <a:pt x="3656" y="627"/>
                </a:moveTo>
                <a:cubicBezTo>
                  <a:pt x="3656" y="627"/>
                  <a:pt x="3657" y="627"/>
                  <a:pt x="3657" y="626"/>
                </a:cubicBezTo>
                <a:cubicBezTo>
                  <a:pt x="3658" y="625"/>
                  <a:pt x="3658" y="624"/>
                  <a:pt x="3659" y="622"/>
                </a:cubicBezTo>
                <a:cubicBezTo>
                  <a:pt x="3660" y="621"/>
                  <a:pt x="3660" y="620"/>
                  <a:pt x="3660" y="618"/>
                </a:cubicBezTo>
                <a:cubicBezTo>
                  <a:pt x="3660" y="618"/>
                  <a:pt x="3660" y="618"/>
                  <a:pt x="3659" y="618"/>
                </a:cubicBezTo>
                <a:cubicBezTo>
                  <a:pt x="3659" y="618"/>
                  <a:pt x="3658" y="618"/>
                  <a:pt x="3658" y="619"/>
                </a:cubicBezTo>
                <a:cubicBezTo>
                  <a:pt x="3657" y="620"/>
                  <a:pt x="3656" y="622"/>
                  <a:pt x="3656" y="623"/>
                </a:cubicBezTo>
                <a:cubicBezTo>
                  <a:pt x="3656" y="624"/>
                  <a:pt x="3655" y="625"/>
                  <a:pt x="3655" y="626"/>
                </a:cubicBezTo>
                <a:cubicBezTo>
                  <a:pt x="3655" y="627"/>
                  <a:pt x="3656" y="627"/>
                  <a:pt x="3656" y="627"/>
                </a:cubicBezTo>
                <a:close/>
                <a:moveTo>
                  <a:pt x="3680" y="734"/>
                </a:moveTo>
                <a:cubicBezTo>
                  <a:pt x="3682" y="734"/>
                  <a:pt x="3683" y="734"/>
                  <a:pt x="3683" y="733"/>
                </a:cubicBezTo>
                <a:lnTo>
                  <a:pt x="3683" y="732"/>
                </a:lnTo>
                <a:lnTo>
                  <a:pt x="3681" y="732"/>
                </a:lnTo>
                <a:cubicBezTo>
                  <a:pt x="3679" y="732"/>
                  <a:pt x="3678" y="732"/>
                  <a:pt x="3678" y="734"/>
                </a:cubicBezTo>
                <a:cubicBezTo>
                  <a:pt x="3678" y="734"/>
                  <a:pt x="3679" y="734"/>
                  <a:pt x="3680" y="734"/>
                </a:cubicBezTo>
                <a:close/>
                <a:moveTo>
                  <a:pt x="3785" y="712"/>
                </a:moveTo>
                <a:cubicBezTo>
                  <a:pt x="3787" y="712"/>
                  <a:pt x="3789" y="711"/>
                  <a:pt x="3789" y="710"/>
                </a:cubicBezTo>
                <a:cubicBezTo>
                  <a:pt x="3789" y="710"/>
                  <a:pt x="3789" y="709"/>
                  <a:pt x="3788" y="708"/>
                </a:cubicBezTo>
                <a:cubicBezTo>
                  <a:pt x="3787" y="707"/>
                  <a:pt x="3786" y="707"/>
                  <a:pt x="3786" y="707"/>
                </a:cubicBezTo>
                <a:cubicBezTo>
                  <a:pt x="3786" y="707"/>
                  <a:pt x="3785" y="708"/>
                  <a:pt x="3784" y="709"/>
                </a:cubicBezTo>
                <a:cubicBezTo>
                  <a:pt x="3782" y="710"/>
                  <a:pt x="3782" y="711"/>
                  <a:pt x="3781" y="711"/>
                </a:cubicBezTo>
                <a:lnTo>
                  <a:pt x="3785" y="712"/>
                </a:lnTo>
                <a:close/>
                <a:moveTo>
                  <a:pt x="3701" y="735"/>
                </a:moveTo>
                <a:cubicBezTo>
                  <a:pt x="3702" y="735"/>
                  <a:pt x="3708" y="733"/>
                  <a:pt x="3718" y="730"/>
                </a:cubicBezTo>
                <a:cubicBezTo>
                  <a:pt x="3721" y="730"/>
                  <a:pt x="3729" y="727"/>
                  <a:pt x="3742" y="722"/>
                </a:cubicBezTo>
                <a:cubicBezTo>
                  <a:pt x="3754" y="717"/>
                  <a:pt x="3761" y="714"/>
                  <a:pt x="3762" y="713"/>
                </a:cubicBezTo>
                <a:cubicBezTo>
                  <a:pt x="3762" y="713"/>
                  <a:pt x="3764" y="712"/>
                  <a:pt x="3768" y="712"/>
                </a:cubicBezTo>
                <a:cubicBezTo>
                  <a:pt x="3772" y="711"/>
                  <a:pt x="3776" y="709"/>
                  <a:pt x="3781" y="706"/>
                </a:cubicBezTo>
                <a:cubicBezTo>
                  <a:pt x="3785" y="704"/>
                  <a:pt x="3788" y="702"/>
                  <a:pt x="3789" y="702"/>
                </a:cubicBezTo>
                <a:cubicBezTo>
                  <a:pt x="3789" y="702"/>
                  <a:pt x="3790" y="703"/>
                  <a:pt x="3790" y="703"/>
                </a:cubicBezTo>
                <a:lnTo>
                  <a:pt x="3789" y="706"/>
                </a:lnTo>
                <a:cubicBezTo>
                  <a:pt x="3789" y="707"/>
                  <a:pt x="3789" y="708"/>
                  <a:pt x="3791" y="708"/>
                </a:cubicBezTo>
                <a:cubicBezTo>
                  <a:pt x="3792" y="708"/>
                  <a:pt x="3793" y="707"/>
                  <a:pt x="3795" y="706"/>
                </a:cubicBezTo>
                <a:cubicBezTo>
                  <a:pt x="3796" y="705"/>
                  <a:pt x="3797" y="705"/>
                  <a:pt x="3797" y="704"/>
                </a:cubicBezTo>
                <a:cubicBezTo>
                  <a:pt x="3797" y="704"/>
                  <a:pt x="3796" y="703"/>
                  <a:pt x="3795" y="702"/>
                </a:cubicBezTo>
                <a:cubicBezTo>
                  <a:pt x="3793" y="701"/>
                  <a:pt x="3792" y="701"/>
                  <a:pt x="3792" y="700"/>
                </a:cubicBezTo>
                <a:lnTo>
                  <a:pt x="3792" y="699"/>
                </a:lnTo>
                <a:cubicBezTo>
                  <a:pt x="3796" y="697"/>
                  <a:pt x="3801" y="694"/>
                  <a:pt x="3806" y="692"/>
                </a:cubicBezTo>
                <a:lnTo>
                  <a:pt x="3811" y="691"/>
                </a:lnTo>
                <a:cubicBezTo>
                  <a:pt x="3813" y="691"/>
                  <a:pt x="3814" y="690"/>
                  <a:pt x="3814" y="688"/>
                </a:cubicBezTo>
                <a:cubicBezTo>
                  <a:pt x="3814" y="687"/>
                  <a:pt x="3814" y="686"/>
                  <a:pt x="3812" y="686"/>
                </a:cubicBezTo>
                <a:cubicBezTo>
                  <a:pt x="3811" y="686"/>
                  <a:pt x="3808" y="688"/>
                  <a:pt x="3804" y="690"/>
                </a:cubicBezTo>
                <a:lnTo>
                  <a:pt x="3802" y="691"/>
                </a:lnTo>
                <a:cubicBezTo>
                  <a:pt x="3801" y="691"/>
                  <a:pt x="3801" y="690"/>
                  <a:pt x="3801" y="690"/>
                </a:cubicBezTo>
                <a:lnTo>
                  <a:pt x="3802" y="688"/>
                </a:lnTo>
                <a:cubicBezTo>
                  <a:pt x="3802" y="687"/>
                  <a:pt x="3802" y="687"/>
                  <a:pt x="3802" y="687"/>
                </a:cubicBezTo>
                <a:cubicBezTo>
                  <a:pt x="3801" y="687"/>
                  <a:pt x="3801" y="687"/>
                  <a:pt x="3800" y="688"/>
                </a:cubicBezTo>
                <a:cubicBezTo>
                  <a:pt x="3799" y="688"/>
                  <a:pt x="3798" y="688"/>
                  <a:pt x="3798" y="689"/>
                </a:cubicBezTo>
                <a:cubicBezTo>
                  <a:pt x="3797" y="690"/>
                  <a:pt x="3797" y="690"/>
                  <a:pt x="3797" y="691"/>
                </a:cubicBezTo>
                <a:lnTo>
                  <a:pt x="3797" y="691"/>
                </a:lnTo>
                <a:cubicBezTo>
                  <a:pt x="3797" y="693"/>
                  <a:pt x="3796" y="694"/>
                  <a:pt x="3792" y="694"/>
                </a:cubicBezTo>
                <a:cubicBezTo>
                  <a:pt x="3787" y="695"/>
                  <a:pt x="3777" y="699"/>
                  <a:pt x="3761" y="707"/>
                </a:cubicBezTo>
                <a:cubicBezTo>
                  <a:pt x="3749" y="713"/>
                  <a:pt x="3741" y="718"/>
                  <a:pt x="3735" y="720"/>
                </a:cubicBezTo>
                <a:cubicBezTo>
                  <a:pt x="3730" y="722"/>
                  <a:pt x="3726" y="723"/>
                  <a:pt x="3722" y="724"/>
                </a:cubicBezTo>
                <a:cubicBezTo>
                  <a:pt x="3719" y="725"/>
                  <a:pt x="3717" y="725"/>
                  <a:pt x="3717" y="727"/>
                </a:cubicBezTo>
                <a:cubicBezTo>
                  <a:pt x="3716" y="728"/>
                  <a:pt x="3715" y="728"/>
                  <a:pt x="3714" y="728"/>
                </a:cubicBezTo>
                <a:cubicBezTo>
                  <a:pt x="3713" y="728"/>
                  <a:pt x="3712" y="728"/>
                  <a:pt x="3711" y="728"/>
                </a:cubicBezTo>
                <a:cubicBezTo>
                  <a:pt x="3710" y="728"/>
                  <a:pt x="3709" y="728"/>
                  <a:pt x="3709" y="728"/>
                </a:cubicBezTo>
                <a:cubicBezTo>
                  <a:pt x="3708" y="728"/>
                  <a:pt x="3708" y="728"/>
                  <a:pt x="3708" y="728"/>
                </a:cubicBezTo>
                <a:lnTo>
                  <a:pt x="3709" y="730"/>
                </a:lnTo>
                <a:cubicBezTo>
                  <a:pt x="3709" y="731"/>
                  <a:pt x="3708" y="732"/>
                  <a:pt x="3707" y="732"/>
                </a:cubicBezTo>
                <a:lnTo>
                  <a:pt x="3698" y="730"/>
                </a:lnTo>
                <a:lnTo>
                  <a:pt x="3698" y="730"/>
                </a:lnTo>
                <a:lnTo>
                  <a:pt x="3699" y="731"/>
                </a:lnTo>
                <a:cubicBezTo>
                  <a:pt x="3700" y="732"/>
                  <a:pt x="3700" y="732"/>
                  <a:pt x="3700" y="733"/>
                </a:cubicBezTo>
                <a:lnTo>
                  <a:pt x="3700" y="735"/>
                </a:lnTo>
                <a:lnTo>
                  <a:pt x="3701" y="735"/>
                </a:lnTo>
                <a:close/>
                <a:moveTo>
                  <a:pt x="3807" y="686"/>
                </a:moveTo>
                <a:cubicBezTo>
                  <a:pt x="3809" y="686"/>
                  <a:pt x="3810" y="685"/>
                  <a:pt x="3811" y="683"/>
                </a:cubicBezTo>
                <a:lnTo>
                  <a:pt x="3811" y="683"/>
                </a:lnTo>
                <a:cubicBezTo>
                  <a:pt x="3811" y="683"/>
                  <a:pt x="3811" y="683"/>
                  <a:pt x="3811" y="683"/>
                </a:cubicBezTo>
                <a:lnTo>
                  <a:pt x="3809" y="683"/>
                </a:lnTo>
                <a:cubicBezTo>
                  <a:pt x="3806" y="684"/>
                  <a:pt x="3805" y="685"/>
                  <a:pt x="3805" y="686"/>
                </a:cubicBezTo>
                <a:cubicBezTo>
                  <a:pt x="3805" y="686"/>
                  <a:pt x="3806" y="686"/>
                  <a:pt x="3807" y="686"/>
                </a:cubicBezTo>
                <a:close/>
                <a:moveTo>
                  <a:pt x="3687" y="727"/>
                </a:moveTo>
                <a:cubicBezTo>
                  <a:pt x="3691" y="727"/>
                  <a:pt x="3696" y="726"/>
                  <a:pt x="3701" y="725"/>
                </a:cubicBezTo>
                <a:cubicBezTo>
                  <a:pt x="3704" y="724"/>
                  <a:pt x="3706" y="724"/>
                  <a:pt x="3709" y="723"/>
                </a:cubicBezTo>
                <a:cubicBezTo>
                  <a:pt x="3711" y="722"/>
                  <a:pt x="3713" y="722"/>
                  <a:pt x="3714" y="722"/>
                </a:cubicBezTo>
                <a:cubicBezTo>
                  <a:pt x="3714" y="721"/>
                  <a:pt x="3715" y="721"/>
                  <a:pt x="3716" y="721"/>
                </a:cubicBezTo>
                <a:cubicBezTo>
                  <a:pt x="3717" y="720"/>
                  <a:pt x="3717" y="720"/>
                  <a:pt x="3718" y="719"/>
                </a:cubicBezTo>
                <a:cubicBezTo>
                  <a:pt x="3719" y="718"/>
                  <a:pt x="3720" y="718"/>
                  <a:pt x="3722" y="718"/>
                </a:cubicBezTo>
                <a:cubicBezTo>
                  <a:pt x="3724" y="718"/>
                  <a:pt x="3730" y="716"/>
                  <a:pt x="3739" y="712"/>
                </a:cubicBezTo>
                <a:cubicBezTo>
                  <a:pt x="3748" y="708"/>
                  <a:pt x="3757" y="705"/>
                  <a:pt x="3766" y="700"/>
                </a:cubicBezTo>
                <a:cubicBezTo>
                  <a:pt x="3772" y="697"/>
                  <a:pt x="3777" y="695"/>
                  <a:pt x="3781" y="694"/>
                </a:cubicBezTo>
                <a:cubicBezTo>
                  <a:pt x="3783" y="694"/>
                  <a:pt x="3784" y="693"/>
                  <a:pt x="3785" y="691"/>
                </a:cubicBezTo>
                <a:cubicBezTo>
                  <a:pt x="3786" y="690"/>
                  <a:pt x="3787" y="690"/>
                  <a:pt x="3787" y="690"/>
                </a:cubicBezTo>
                <a:lnTo>
                  <a:pt x="3789" y="690"/>
                </a:lnTo>
                <a:cubicBezTo>
                  <a:pt x="3789" y="690"/>
                  <a:pt x="3790" y="689"/>
                  <a:pt x="3790" y="688"/>
                </a:cubicBezTo>
                <a:cubicBezTo>
                  <a:pt x="3790" y="687"/>
                  <a:pt x="3791" y="687"/>
                  <a:pt x="3792" y="687"/>
                </a:cubicBezTo>
                <a:cubicBezTo>
                  <a:pt x="3794" y="687"/>
                  <a:pt x="3796" y="686"/>
                  <a:pt x="3797" y="686"/>
                </a:cubicBezTo>
                <a:cubicBezTo>
                  <a:pt x="3799" y="683"/>
                  <a:pt x="3802" y="682"/>
                  <a:pt x="3804" y="681"/>
                </a:cubicBezTo>
                <a:cubicBezTo>
                  <a:pt x="3806" y="681"/>
                  <a:pt x="3807" y="680"/>
                  <a:pt x="3808" y="679"/>
                </a:cubicBezTo>
                <a:cubicBezTo>
                  <a:pt x="3809" y="678"/>
                  <a:pt x="3810" y="678"/>
                  <a:pt x="3811" y="678"/>
                </a:cubicBezTo>
                <a:cubicBezTo>
                  <a:pt x="3816" y="677"/>
                  <a:pt x="3818" y="677"/>
                  <a:pt x="3818" y="676"/>
                </a:cubicBezTo>
                <a:lnTo>
                  <a:pt x="3817" y="674"/>
                </a:lnTo>
                <a:cubicBezTo>
                  <a:pt x="3817" y="674"/>
                  <a:pt x="3819" y="674"/>
                  <a:pt x="3821" y="674"/>
                </a:cubicBezTo>
                <a:cubicBezTo>
                  <a:pt x="3823" y="674"/>
                  <a:pt x="3824" y="674"/>
                  <a:pt x="3824" y="674"/>
                </a:cubicBezTo>
                <a:cubicBezTo>
                  <a:pt x="3824" y="674"/>
                  <a:pt x="3823" y="675"/>
                  <a:pt x="3821" y="676"/>
                </a:cubicBezTo>
                <a:cubicBezTo>
                  <a:pt x="3820" y="677"/>
                  <a:pt x="3819" y="678"/>
                  <a:pt x="3819" y="679"/>
                </a:cubicBezTo>
                <a:cubicBezTo>
                  <a:pt x="3819" y="679"/>
                  <a:pt x="3820" y="680"/>
                  <a:pt x="3821" y="680"/>
                </a:cubicBezTo>
                <a:lnTo>
                  <a:pt x="3822" y="681"/>
                </a:lnTo>
                <a:cubicBezTo>
                  <a:pt x="3822" y="681"/>
                  <a:pt x="3821" y="681"/>
                  <a:pt x="3821" y="681"/>
                </a:cubicBezTo>
                <a:lnTo>
                  <a:pt x="3815" y="680"/>
                </a:lnTo>
                <a:cubicBezTo>
                  <a:pt x="3815" y="680"/>
                  <a:pt x="3816" y="681"/>
                  <a:pt x="3816" y="681"/>
                </a:cubicBezTo>
                <a:cubicBezTo>
                  <a:pt x="3817" y="681"/>
                  <a:pt x="3817" y="682"/>
                  <a:pt x="3817" y="683"/>
                </a:cubicBezTo>
                <a:lnTo>
                  <a:pt x="3817" y="685"/>
                </a:lnTo>
                <a:cubicBezTo>
                  <a:pt x="3817" y="686"/>
                  <a:pt x="3817" y="687"/>
                  <a:pt x="3819" y="687"/>
                </a:cubicBezTo>
                <a:cubicBezTo>
                  <a:pt x="3820" y="687"/>
                  <a:pt x="3821" y="685"/>
                  <a:pt x="3824" y="681"/>
                </a:cubicBezTo>
                <a:cubicBezTo>
                  <a:pt x="3824" y="679"/>
                  <a:pt x="3826" y="678"/>
                  <a:pt x="3827" y="676"/>
                </a:cubicBezTo>
                <a:cubicBezTo>
                  <a:pt x="3828" y="675"/>
                  <a:pt x="3829" y="674"/>
                  <a:pt x="3830" y="674"/>
                </a:cubicBezTo>
                <a:cubicBezTo>
                  <a:pt x="3831" y="674"/>
                  <a:pt x="3831" y="675"/>
                  <a:pt x="3831" y="675"/>
                </a:cubicBezTo>
                <a:cubicBezTo>
                  <a:pt x="3831" y="675"/>
                  <a:pt x="3831" y="676"/>
                  <a:pt x="3830" y="676"/>
                </a:cubicBezTo>
                <a:cubicBezTo>
                  <a:pt x="3828" y="677"/>
                  <a:pt x="3828" y="678"/>
                  <a:pt x="3828" y="679"/>
                </a:cubicBezTo>
                <a:cubicBezTo>
                  <a:pt x="3828" y="680"/>
                  <a:pt x="3829" y="681"/>
                  <a:pt x="3830" y="681"/>
                </a:cubicBezTo>
                <a:cubicBezTo>
                  <a:pt x="3831" y="681"/>
                  <a:pt x="3832" y="680"/>
                  <a:pt x="3832" y="679"/>
                </a:cubicBezTo>
                <a:cubicBezTo>
                  <a:pt x="3832" y="679"/>
                  <a:pt x="3832" y="678"/>
                  <a:pt x="3832" y="676"/>
                </a:cubicBezTo>
                <a:lnTo>
                  <a:pt x="3832" y="673"/>
                </a:lnTo>
                <a:cubicBezTo>
                  <a:pt x="3832" y="672"/>
                  <a:pt x="3832" y="671"/>
                  <a:pt x="3831" y="669"/>
                </a:cubicBezTo>
                <a:cubicBezTo>
                  <a:pt x="3830" y="668"/>
                  <a:pt x="3830" y="666"/>
                  <a:pt x="3830" y="666"/>
                </a:cubicBezTo>
                <a:cubicBezTo>
                  <a:pt x="3830" y="666"/>
                  <a:pt x="3830" y="665"/>
                  <a:pt x="3830" y="665"/>
                </a:cubicBezTo>
                <a:lnTo>
                  <a:pt x="3834" y="666"/>
                </a:lnTo>
                <a:cubicBezTo>
                  <a:pt x="3836" y="666"/>
                  <a:pt x="3837" y="665"/>
                  <a:pt x="3837" y="664"/>
                </a:cubicBezTo>
                <a:lnTo>
                  <a:pt x="3837" y="663"/>
                </a:lnTo>
                <a:cubicBezTo>
                  <a:pt x="3837" y="662"/>
                  <a:pt x="3840" y="661"/>
                  <a:pt x="3846" y="661"/>
                </a:cubicBezTo>
                <a:cubicBezTo>
                  <a:pt x="3846" y="662"/>
                  <a:pt x="3844" y="664"/>
                  <a:pt x="3841" y="666"/>
                </a:cubicBezTo>
                <a:cubicBezTo>
                  <a:pt x="3837" y="668"/>
                  <a:pt x="3835" y="669"/>
                  <a:pt x="3835" y="670"/>
                </a:cubicBezTo>
                <a:lnTo>
                  <a:pt x="3835" y="670"/>
                </a:lnTo>
                <a:cubicBezTo>
                  <a:pt x="3837" y="670"/>
                  <a:pt x="3838" y="671"/>
                  <a:pt x="3838" y="672"/>
                </a:cubicBezTo>
                <a:lnTo>
                  <a:pt x="3838" y="673"/>
                </a:lnTo>
                <a:cubicBezTo>
                  <a:pt x="3838" y="674"/>
                  <a:pt x="3838" y="675"/>
                  <a:pt x="3840" y="676"/>
                </a:cubicBezTo>
                <a:lnTo>
                  <a:pt x="3842" y="676"/>
                </a:lnTo>
                <a:lnTo>
                  <a:pt x="3842" y="676"/>
                </a:lnTo>
                <a:lnTo>
                  <a:pt x="3840" y="675"/>
                </a:lnTo>
                <a:cubicBezTo>
                  <a:pt x="3839" y="674"/>
                  <a:pt x="3838" y="673"/>
                  <a:pt x="3838" y="673"/>
                </a:cubicBezTo>
                <a:cubicBezTo>
                  <a:pt x="3838" y="673"/>
                  <a:pt x="3838" y="672"/>
                  <a:pt x="3839" y="672"/>
                </a:cubicBezTo>
                <a:cubicBezTo>
                  <a:pt x="3840" y="672"/>
                  <a:pt x="3841" y="672"/>
                  <a:pt x="3841" y="671"/>
                </a:cubicBezTo>
                <a:cubicBezTo>
                  <a:pt x="3841" y="671"/>
                  <a:pt x="3842" y="670"/>
                  <a:pt x="3842" y="670"/>
                </a:cubicBezTo>
                <a:cubicBezTo>
                  <a:pt x="3842" y="668"/>
                  <a:pt x="3842" y="667"/>
                  <a:pt x="3844" y="666"/>
                </a:cubicBezTo>
                <a:cubicBezTo>
                  <a:pt x="3845" y="666"/>
                  <a:pt x="3846" y="666"/>
                  <a:pt x="3846" y="667"/>
                </a:cubicBezTo>
                <a:lnTo>
                  <a:pt x="3846" y="668"/>
                </a:lnTo>
                <a:cubicBezTo>
                  <a:pt x="3846" y="668"/>
                  <a:pt x="3846" y="668"/>
                  <a:pt x="3846" y="669"/>
                </a:cubicBezTo>
                <a:cubicBezTo>
                  <a:pt x="3847" y="669"/>
                  <a:pt x="3847" y="669"/>
                  <a:pt x="3848" y="669"/>
                </a:cubicBezTo>
                <a:cubicBezTo>
                  <a:pt x="3849" y="669"/>
                  <a:pt x="3849" y="665"/>
                  <a:pt x="3849" y="660"/>
                </a:cubicBezTo>
                <a:cubicBezTo>
                  <a:pt x="3849" y="656"/>
                  <a:pt x="3849" y="654"/>
                  <a:pt x="3848" y="653"/>
                </a:cubicBezTo>
                <a:cubicBezTo>
                  <a:pt x="3846" y="653"/>
                  <a:pt x="3833" y="659"/>
                  <a:pt x="3810" y="671"/>
                </a:cubicBezTo>
                <a:cubicBezTo>
                  <a:pt x="3765" y="694"/>
                  <a:pt x="3737" y="707"/>
                  <a:pt x="3725" y="710"/>
                </a:cubicBezTo>
                <a:lnTo>
                  <a:pt x="3709" y="714"/>
                </a:lnTo>
                <a:cubicBezTo>
                  <a:pt x="3701" y="717"/>
                  <a:pt x="3692" y="718"/>
                  <a:pt x="3680" y="718"/>
                </a:cubicBezTo>
                <a:cubicBezTo>
                  <a:pt x="3671" y="718"/>
                  <a:pt x="3666" y="718"/>
                  <a:pt x="3666" y="720"/>
                </a:cubicBezTo>
                <a:cubicBezTo>
                  <a:pt x="3666" y="721"/>
                  <a:pt x="3668" y="722"/>
                  <a:pt x="3673" y="724"/>
                </a:cubicBezTo>
                <a:cubicBezTo>
                  <a:pt x="3678" y="726"/>
                  <a:pt x="3682" y="727"/>
                  <a:pt x="3687" y="727"/>
                </a:cubicBezTo>
                <a:close/>
                <a:moveTo>
                  <a:pt x="3855" y="652"/>
                </a:moveTo>
                <a:cubicBezTo>
                  <a:pt x="3857" y="652"/>
                  <a:pt x="3858" y="651"/>
                  <a:pt x="3858" y="650"/>
                </a:cubicBezTo>
                <a:cubicBezTo>
                  <a:pt x="3858" y="649"/>
                  <a:pt x="3857" y="648"/>
                  <a:pt x="3857" y="648"/>
                </a:cubicBezTo>
                <a:lnTo>
                  <a:pt x="3855" y="647"/>
                </a:lnTo>
                <a:cubicBezTo>
                  <a:pt x="3854" y="647"/>
                  <a:pt x="3854" y="647"/>
                  <a:pt x="3853" y="648"/>
                </a:cubicBezTo>
                <a:cubicBezTo>
                  <a:pt x="3852" y="649"/>
                  <a:pt x="3851" y="649"/>
                  <a:pt x="3851" y="650"/>
                </a:cubicBezTo>
                <a:cubicBezTo>
                  <a:pt x="3851" y="650"/>
                  <a:pt x="3852" y="651"/>
                  <a:pt x="3853" y="652"/>
                </a:cubicBezTo>
                <a:lnTo>
                  <a:pt x="3855" y="652"/>
                </a:lnTo>
                <a:close/>
                <a:moveTo>
                  <a:pt x="3861" y="650"/>
                </a:moveTo>
                <a:cubicBezTo>
                  <a:pt x="3862" y="650"/>
                  <a:pt x="3863" y="650"/>
                  <a:pt x="3864" y="649"/>
                </a:cubicBezTo>
                <a:cubicBezTo>
                  <a:pt x="3866" y="648"/>
                  <a:pt x="3867" y="647"/>
                  <a:pt x="3867" y="645"/>
                </a:cubicBezTo>
                <a:lnTo>
                  <a:pt x="3867" y="644"/>
                </a:lnTo>
                <a:cubicBezTo>
                  <a:pt x="3866" y="643"/>
                  <a:pt x="3866" y="643"/>
                  <a:pt x="3864" y="643"/>
                </a:cubicBezTo>
                <a:cubicBezTo>
                  <a:pt x="3864" y="643"/>
                  <a:pt x="3863" y="643"/>
                  <a:pt x="3862" y="644"/>
                </a:cubicBezTo>
                <a:cubicBezTo>
                  <a:pt x="3861" y="645"/>
                  <a:pt x="3861" y="647"/>
                  <a:pt x="3861" y="649"/>
                </a:cubicBezTo>
                <a:cubicBezTo>
                  <a:pt x="3861" y="649"/>
                  <a:pt x="3861" y="650"/>
                  <a:pt x="3861" y="650"/>
                </a:cubicBezTo>
                <a:close/>
                <a:moveTo>
                  <a:pt x="3972" y="597"/>
                </a:moveTo>
                <a:cubicBezTo>
                  <a:pt x="3973" y="597"/>
                  <a:pt x="3974" y="595"/>
                  <a:pt x="3974" y="593"/>
                </a:cubicBezTo>
                <a:cubicBezTo>
                  <a:pt x="3974" y="592"/>
                  <a:pt x="3973" y="591"/>
                  <a:pt x="3973" y="591"/>
                </a:cubicBezTo>
                <a:lnTo>
                  <a:pt x="3972" y="592"/>
                </a:lnTo>
                <a:cubicBezTo>
                  <a:pt x="3971" y="592"/>
                  <a:pt x="3971" y="593"/>
                  <a:pt x="3971" y="595"/>
                </a:cubicBezTo>
                <a:cubicBezTo>
                  <a:pt x="3971" y="595"/>
                  <a:pt x="3971" y="595"/>
                  <a:pt x="3971" y="595"/>
                </a:cubicBezTo>
                <a:cubicBezTo>
                  <a:pt x="3971" y="596"/>
                  <a:pt x="3972" y="596"/>
                  <a:pt x="3972" y="597"/>
                </a:cubicBezTo>
                <a:close/>
                <a:moveTo>
                  <a:pt x="3681" y="576"/>
                </a:moveTo>
                <a:cubicBezTo>
                  <a:pt x="3681" y="576"/>
                  <a:pt x="3680" y="576"/>
                  <a:pt x="3680" y="575"/>
                </a:cubicBezTo>
                <a:cubicBezTo>
                  <a:pt x="3680" y="575"/>
                  <a:pt x="3681" y="574"/>
                  <a:pt x="3682" y="573"/>
                </a:cubicBezTo>
                <a:cubicBezTo>
                  <a:pt x="3683" y="572"/>
                  <a:pt x="3684" y="571"/>
                  <a:pt x="3685" y="570"/>
                </a:cubicBezTo>
                <a:cubicBezTo>
                  <a:pt x="3686" y="570"/>
                  <a:pt x="3687" y="569"/>
                  <a:pt x="3687" y="569"/>
                </a:cubicBezTo>
                <a:cubicBezTo>
                  <a:pt x="3687" y="569"/>
                  <a:pt x="3688" y="570"/>
                  <a:pt x="3688" y="570"/>
                </a:cubicBezTo>
                <a:cubicBezTo>
                  <a:pt x="3688" y="570"/>
                  <a:pt x="3687" y="571"/>
                  <a:pt x="3685" y="573"/>
                </a:cubicBezTo>
                <a:cubicBezTo>
                  <a:pt x="3684" y="575"/>
                  <a:pt x="3682" y="576"/>
                  <a:pt x="3681" y="576"/>
                </a:cubicBezTo>
                <a:close/>
                <a:moveTo>
                  <a:pt x="4004" y="578"/>
                </a:moveTo>
                <a:cubicBezTo>
                  <a:pt x="4004" y="578"/>
                  <a:pt x="4004" y="578"/>
                  <a:pt x="4004" y="578"/>
                </a:cubicBezTo>
                <a:cubicBezTo>
                  <a:pt x="4004" y="577"/>
                  <a:pt x="4005" y="576"/>
                  <a:pt x="4007" y="575"/>
                </a:cubicBezTo>
                <a:cubicBezTo>
                  <a:pt x="4008" y="573"/>
                  <a:pt x="4010" y="572"/>
                  <a:pt x="4010" y="572"/>
                </a:cubicBezTo>
                <a:cubicBezTo>
                  <a:pt x="4011" y="572"/>
                  <a:pt x="4011" y="573"/>
                  <a:pt x="4011" y="573"/>
                </a:cubicBezTo>
                <a:lnTo>
                  <a:pt x="4012" y="573"/>
                </a:lnTo>
                <a:cubicBezTo>
                  <a:pt x="4012" y="574"/>
                  <a:pt x="4011" y="575"/>
                  <a:pt x="4010" y="576"/>
                </a:cubicBezTo>
                <a:cubicBezTo>
                  <a:pt x="4010" y="576"/>
                  <a:pt x="4008" y="577"/>
                  <a:pt x="4007" y="578"/>
                </a:cubicBezTo>
                <a:cubicBezTo>
                  <a:pt x="4006" y="578"/>
                  <a:pt x="4005" y="578"/>
                  <a:pt x="4004" y="578"/>
                </a:cubicBezTo>
                <a:close/>
                <a:moveTo>
                  <a:pt x="3661" y="679"/>
                </a:moveTo>
                <a:cubicBezTo>
                  <a:pt x="3661" y="679"/>
                  <a:pt x="3660" y="678"/>
                  <a:pt x="3660" y="676"/>
                </a:cubicBezTo>
                <a:cubicBezTo>
                  <a:pt x="3660" y="674"/>
                  <a:pt x="3661" y="674"/>
                  <a:pt x="3661" y="674"/>
                </a:cubicBezTo>
                <a:cubicBezTo>
                  <a:pt x="3662" y="674"/>
                  <a:pt x="3662" y="674"/>
                  <a:pt x="3663" y="674"/>
                </a:cubicBezTo>
                <a:cubicBezTo>
                  <a:pt x="3663" y="674"/>
                  <a:pt x="3663" y="675"/>
                  <a:pt x="3663" y="676"/>
                </a:cubicBezTo>
                <a:cubicBezTo>
                  <a:pt x="3663" y="676"/>
                  <a:pt x="3663" y="677"/>
                  <a:pt x="3663" y="678"/>
                </a:cubicBezTo>
                <a:cubicBezTo>
                  <a:pt x="3662" y="679"/>
                  <a:pt x="3662" y="679"/>
                  <a:pt x="3661" y="679"/>
                </a:cubicBezTo>
                <a:close/>
                <a:moveTo>
                  <a:pt x="3869" y="656"/>
                </a:moveTo>
                <a:cubicBezTo>
                  <a:pt x="3868" y="656"/>
                  <a:pt x="3868" y="656"/>
                  <a:pt x="3868" y="654"/>
                </a:cubicBezTo>
                <a:cubicBezTo>
                  <a:pt x="3868" y="654"/>
                  <a:pt x="3869" y="653"/>
                  <a:pt x="3869" y="652"/>
                </a:cubicBezTo>
                <a:cubicBezTo>
                  <a:pt x="3870" y="652"/>
                  <a:pt x="3871" y="652"/>
                  <a:pt x="3872" y="651"/>
                </a:cubicBezTo>
                <a:cubicBezTo>
                  <a:pt x="3873" y="650"/>
                  <a:pt x="3874" y="650"/>
                  <a:pt x="3874" y="650"/>
                </a:cubicBezTo>
                <a:lnTo>
                  <a:pt x="3874" y="650"/>
                </a:lnTo>
                <a:lnTo>
                  <a:pt x="3873" y="653"/>
                </a:lnTo>
                <a:cubicBezTo>
                  <a:pt x="3871" y="655"/>
                  <a:pt x="3870" y="656"/>
                  <a:pt x="3869" y="656"/>
                </a:cubicBezTo>
                <a:close/>
                <a:moveTo>
                  <a:pt x="3919" y="633"/>
                </a:moveTo>
                <a:lnTo>
                  <a:pt x="3916" y="633"/>
                </a:lnTo>
                <a:cubicBezTo>
                  <a:pt x="3916" y="633"/>
                  <a:pt x="3917" y="632"/>
                  <a:pt x="3918" y="632"/>
                </a:cubicBezTo>
                <a:cubicBezTo>
                  <a:pt x="3921" y="631"/>
                  <a:pt x="3923" y="630"/>
                  <a:pt x="3925" y="627"/>
                </a:cubicBezTo>
                <a:cubicBezTo>
                  <a:pt x="3927" y="626"/>
                  <a:pt x="3929" y="625"/>
                  <a:pt x="3931" y="625"/>
                </a:cubicBezTo>
                <a:cubicBezTo>
                  <a:pt x="3932" y="625"/>
                  <a:pt x="3933" y="625"/>
                  <a:pt x="3933" y="626"/>
                </a:cubicBezTo>
                <a:lnTo>
                  <a:pt x="3930" y="626"/>
                </a:lnTo>
                <a:cubicBezTo>
                  <a:pt x="3928" y="626"/>
                  <a:pt x="3926" y="627"/>
                  <a:pt x="3925" y="630"/>
                </a:cubicBezTo>
                <a:cubicBezTo>
                  <a:pt x="3923" y="632"/>
                  <a:pt x="3921" y="633"/>
                  <a:pt x="3919" y="633"/>
                </a:cubicBezTo>
                <a:close/>
                <a:moveTo>
                  <a:pt x="3902" y="644"/>
                </a:moveTo>
                <a:cubicBezTo>
                  <a:pt x="3901" y="644"/>
                  <a:pt x="3901" y="643"/>
                  <a:pt x="3901" y="643"/>
                </a:cubicBezTo>
                <a:cubicBezTo>
                  <a:pt x="3901" y="642"/>
                  <a:pt x="3903" y="640"/>
                  <a:pt x="3908" y="638"/>
                </a:cubicBezTo>
                <a:cubicBezTo>
                  <a:pt x="3910" y="637"/>
                  <a:pt x="3912" y="637"/>
                  <a:pt x="3913" y="637"/>
                </a:cubicBezTo>
                <a:lnTo>
                  <a:pt x="3913" y="637"/>
                </a:lnTo>
                <a:cubicBezTo>
                  <a:pt x="3913" y="637"/>
                  <a:pt x="3913" y="638"/>
                  <a:pt x="3911" y="639"/>
                </a:cubicBezTo>
                <a:cubicBezTo>
                  <a:pt x="3910" y="640"/>
                  <a:pt x="3909" y="641"/>
                  <a:pt x="3907" y="642"/>
                </a:cubicBezTo>
                <a:cubicBezTo>
                  <a:pt x="3905" y="643"/>
                  <a:pt x="3903" y="644"/>
                  <a:pt x="3902" y="644"/>
                </a:cubicBezTo>
                <a:close/>
                <a:moveTo>
                  <a:pt x="3862" y="669"/>
                </a:moveTo>
                <a:cubicBezTo>
                  <a:pt x="3861" y="669"/>
                  <a:pt x="3860" y="669"/>
                  <a:pt x="3858" y="669"/>
                </a:cubicBezTo>
                <a:cubicBezTo>
                  <a:pt x="3857" y="669"/>
                  <a:pt x="3856" y="668"/>
                  <a:pt x="3856" y="667"/>
                </a:cubicBezTo>
                <a:cubicBezTo>
                  <a:pt x="3856" y="666"/>
                  <a:pt x="3858" y="665"/>
                  <a:pt x="3861" y="665"/>
                </a:cubicBezTo>
                <a:cubicBezTo>
                  <a:pt x="3863" y="665"/>
                  <a:pt x="3865" y="665"/>
                  <a:pt x="3865" y="664"/>
                </a:cubicBezTo>
                <a:lnTo>
                  <a:pt x="3864" y="662"/>
                </a:lnTo>
                <a:cubicBezTo>
                  <a:pt x="3864" y="661"/>
                  <a:pt x="3864" y="661"/>
                  <a:pt x="3865" y="661"/>
                </a:cubicBezTo>
                <a:lnTo>
                  <a:pt x="3865" y="661"/>
                </a:lnTo>
                <a:cubicBezTo>
                  <a:pt x="3867" y="661"/>
                  <a:pt x="3869" y="660"/>
                  <a:pt x="3873" y="659"/>
                </a:cubicBezTo>
                <a:cubicBezTo>
                  <a:pt x="3876" y="657"/>
                  <a:pt x="3880" y="655"/>
                  <a:pt x="3884" y="653"/>
                </a:cubicBezTo>
                <a:cubicBezTo>
                  <a:pt x="3887" y="651"/>
                  <a:pt x="3890" y="649"/>
                  <a:pt x="3892" y="647"/>
                </a:cubicBezTo>
                <a:cubicBezTo>
                  <a:pt x="3894" y="646"/>
                  <a:pt x="3896" y="645"/>
                  <a:pt x="3897" y="645"/>
                </a:cubicBezTo>
                <a:cubicBezTo>
                  <a:pt x="3898" y="645"/>
                  <a:pt x="3899" y="646"/>
                  <a:pt x="3899" y="647"/>
                </a:cubicBezTo>
                <a:cubicBezTo>
                  <a:pt x="3899" y="649"/>
                  <a:pt x="3898" y="649"/>
                  <a:pt x="3896" y="649"/>
                </a:cubicBezTo>
                <a:cubicBezTo>
                  <a:pt x="3894" y="649"/>
                  <a:pt x="3893" y="650"/>
                  <a:pt x="3893" y="651"/>
                </a:cubicBezTo>
                <a:lnTo>
                  <a:pt x="3894" y="653"/>
                </a:lnTo>
                <a:cubicBezTo>
                  <a:pt x="3894" y="654"/>
                  <a:pt x="3894" y="654"/>
                  <a:pt x="3893" y="654"/>
                </a:cubicBezTo>
                <a:lnTo>
                  <a:pt x="3892" y="653"/>
                </a:lnTo>
                <a:cubicBezTo>
                  <a:pt x="3890" y="653"/>
                  <a:pt x="3888" y="654"/>
                  <a:pt x="3887" y="656"/>
                </a:cubicBezTo>
                <a:cubicBezTo>
                  <a:pt x="3885" y="658"/>
                  <a:pt x="3884" y="659"/>
                  <a:pt x="3882" y="659"/>
                </a:cubicBezTo>
                <a:cubicBezTo>
                  <a:pt x="3881" y="659"/>
                  <a:pt x="3879" y="660"/>
                  <a:pt x="3876" y="661"/>
                </a:cubicBezTo>
                <a:cubicBezTo>
                  <a:pt x="3869" y="665"/>
                  <a:pt x="3866" y="667"/>
                  <a:pt x="3866" y="668"/>
                </a:cubicBezTo>
                <a:cubicBezTo>
                  <a:pt x="3866" y="669"/>
                  <a:pt x="3865" y="669"/>
                  <a:pt x="3862" y="669"/>
                </a:cubicBezTo>
                <a:close/>
                <a:moveTo>
                  <a:pt x="3856" y="667"/>
                </a:moveTo>
                <a:close/>
                <a:moveTo>
                  <a:pt x="3938" y="623"/>
                </a:moveTo>
                <a:cubicBezTo>
                  <a:pt x="3938" y="623"/>
                  <a:pt x="3938" y="623"/>
                  <a:pt x="3938" y="623"/>
                </a:cubicBezTo>
                <a:cubicBezTo>
                  <a:pt x="3938" y="622"/>
                  <a:pt x="3939" y="620"/>
                  <a:pt x="3940" y="618"/>
                </a:cubicBezTo>
                <a:cubicBezTo>
                  <a:pt x="3944" y="614"/>
                  <a:pt x="3946" y="611"/>
                  <a:pt x="3948" y="611"/>
                </a:cubicBezTo>
                <a:cubicBezTo>
                  <a:pt x="3949" y="611"/>
                  <a:pt x="3952" y="610"/>
                  <a:pt x="3955" y="608"/>
                </a:cubicBezTo>
                <a:cubicBezTo>
                  <a:pt x="3958" y="606"/>
                  <a:pt x="3960" y="605"/>
                  <a:pt x="3961" y="605"/>
                </a:cubicBezTo>
                <a:cubicBezTo>
                  <a:pt x="3961" y="605"/>
                  <a:pt x="3962" y="605"/>
                  <a:pt x="3962" y="606"/>
                </a:cubicBezTo>
                <a:cubicBezTo>
                  <a:pt x="3962" y="608"/>
                  <a:pt x="3961" y="610"/>
                  <a:pt x="3961" y="610"/>
                </a:cubicBezTo>
                <a:lnTo>
                  <a:pt x="3959" y="609"/>
                </a:lnTo>
                <a:cubicBezTo>
                  <a:pt x="3958" y="609"/>
                  <a:pt x="3955" y="610"/>
                  <a:pt x="3952" y="613"/>
                </a:cubicBezTo>
                <a:cubicBezTo>
                  <a:pt x="3949" y="616"/>
                  <a:pt x="3946" y="617"/>
                  <a:pt x="3945" y="617"/>
                </a:cubicBezTo>
                <a:cubicBezTo>
                  <a:pt x="3943" y="617"/>
                  <a:pt x="3941" y="619"/>
                  <a:pt x="3940" y="621"/>
                </a:cubicBezTo>
                <a:cubicBezTo>
                  <a:pt x="3939" y="623"/>
                  <a:pt x="3939" y="623"/>
                  <a:pt x="3938" y="623"/>
                </a:cubicBezTo>
                <a:close/>
                <a:moveTo>
                  <a:pt x="3773" y="362"/>
                </a:moveTo>
                <a:close/>
                <a:moveTo>
                  <a:pt x="3758" y="383"/>
                </a:moveTo>
                <a:cubicBezTo>
                  <a:pt x="3758" y="383"/>
                  <a:pt x="3757" y="383"/>
                  <a:pt x="3757" y="382"/>
                </a:cubicBezTo>
                <a:lnTo>
                  <a:pt x="3764" y="377"/>
                </a:lnTo>
                <a:cubicBezTo>
                  <a:pt x="3764" y="377"/>
                  <a:pt x="3763" y="378"/>
                  <a:pt x="3762" y="379"/>
                </a:cubicBezTo>
                <a:cubicBezTo>
                  <a:pt x="3760" y="382"/>
                  <a:pt x="3759" y="383"/>
                  <a:pt x="3758" y="383"/>
                </a:cubicBezTo>
                <a:close/>
                <a:moveTo>
                  <a:pt x="3747" y="394"/>
                </a:moveTo>
                <a:close/>
                <a:moveTo>
                  <a:pt x="3773" y="362"/>
                </a:moveTo>
                <a:cubicBezTo>
                  <a:pt x="3773" y="362"/>
                  <a:pt x="3773" y="362"/>
                  <a:pt x="3773" y="362"/>
                </a:cubicBezTo>
                <a:cubicBezTo>
                  <a:pt x="3773" y="361"/>
                  <a:pt x="3774" y="360"/>
                  <a:pt x="3776" y="358"/>
                </a:cubicBezTo>
                <a:lnTo>
                  <a:pt x="3779" y="356"/>
                </a:lnTo>
                <a:lnTo>
                  <a:pt x="3777" y="359"/>
                </a:lnTo>
                <a:cubicBezTo>
                  <a:pt x="3775" y="361"/>
                  <a:pt x="3774" y="362"/>
                  <a:pt x="3773" y="362"/>
                </a:cubicBezTo>
                <a:close/>
                <a:moveTo>
                  <a:pt x="3757" y="382"/>
                </a:moveTo>
                <a:close/>
                <a:moveTo>
                  <a:pt x="3722" y="458"/>
                </a:moveTo>
                <a:cubicBezTo>
                  <a:pt x="3720" y="458"/>
                  <a:pt x="3719" y="457"/>
                  <a:pt x="3719" y="455"/>
                </a:cubicBezTo>
                <a:lnTo>
                  <a:pt x="3719" y="455"/>
                </a:lnTo>
                <a:cubicBezTo>
                  <a:pt x="3719" y="453"/>
                  <a:pt x="3720" y="451"/>
                  <a:pt x="3721" y="451"/>
                </a:cubicBezTo>
                <a:cubicBezTo>
                  <a:pt x="3721" y="451"/>
                  <a:pt x="3721" y="452"/>
                  <a:pt x="3722" y="452"/>
                </a:cubicBezTo>
                <a:cubicBezTo>
                  <a:pt x="3723" y="453"/>
                  <a:pt x="3723" y="453"/>
                  <a:pt x="3724" y="453"/>
                </a:cubicBezTo>
                <a:cubicBezTo>
                  <a:pt x="3725" y="453"/>
                  <a:pt x="3726" y="453"/>
                  <a:pt x="3727" y="451"/>
                </a:cubicBezTo>
                <a:cubicBezTo>
                  <a:pt x="3728" y="451"/>
                  <a:pt x="3729" y="450"/>
                  <a:pt x="3729" y="450"/>
                </a:cubicBezTo>
                <a:lnTo>
                  <a:pt x="3728" y="453"/>
                </a:lnTo>
                <a:cubicBezTo>
                  <a:pt x="3727" y="456"/>
                  <a:pt x="3725" y="458"/>
                  <a:pt x="3722" y="458"/>
                </a:cubicBezTo>
                <a:close/>
                <a:moveTo>
                  <a:pt x="3747" y="394"/>
                </a:moveTo>
                <a:cubicBezTo>
                  <a:pt x="3747" y="394"/>
                  <a:pt x="3747" y="394"/>
                  <a:pt x="3747" y="394"/>
                </a:cubicBezTo>
                <a:cubicBezTo>
                  <a:pt x="3747" y="394"/>
                  <a:pt x="3747" y="393"/>
                  <a:pt x="3748" y="392"/>
                </a:cubicBezTo>
                <a:cubicBezTo>
                  <a:pt x="3749" y="391"/>
                  <a:pt x="3751" y="390"/>
                  <a:pt x="3753" y="389"/>
                </a:cubicBezTo>
                <a:cubicBezTo>
                  <a:pt x="3755" y="387"/>
                  <a:pt x="3756" y="387"/>
                  <a:pt x="3757" y="387"/>
                </a:cubicBezTo>
                <a:lnTo>
                  <a:pt x="3757" y="387"/>
                </a:lnTo>
                <a:cubicBezTo>
                  <a:pt x="3757" y="388"/>
                  <a:pt x="3756" y="389"/>
                  <a:pt x="3754" y="390"/>
                </a:cubicBezTo>
                <a:cubicBezTo>
                  <a:pt x="3750" y="393"/>
                  <a:pt x="3748" y="394"/>
                  <a:pt x="3747" y="394"/>
                </a:cubicBezTo>
                <a:close/>
                <a:moveTo>
                  <a:pt x="3707" y="482"/>
                </a:moveTo>
                <a:cubicBezTo>
                  <a:pt x="3707" y="482"/>
                  <a:pt x="3705" y="481"/>
                  <a:pt x="3703" y="479"/>
                </a:cubicBezTo>
                <a:cubicBezTo>
                  <a:pt x="3703" y="478"/>
                  <a:pt x="3702" y="474"/>
                  <a:pt x="3700" y="468"/>
                </a:cubicBezTo>
                <a:cubicBezTo>
                  <a:pt x="3699" y="463"/>
                  <a:pt x="3698" y="459"/>
                  <a:pt x="3696" y="457"/>
                </a:cubicBezTo>
                <a:lnTo>
                  <a:pt x="3695" y="455"/>
                </a:lnTo>
                <a:lnTo>
                  <a:pt x="3698" y="457"/>
                </a:lnTo>
                <a:cubicBezTo>
                  <a:pt x="3698" y="457"/>
                  <a:pt x="3698" y="456"/>
                  <a:pt x="3698" y="456"/>
                </a:cubicBezTo>
                <a:lnTo>
                  <a:pt x="3698" y="453"/>
                </a:lnTo>
                <a:cubicBezTo>
                  <a:pt x="3698" y="453"/>
                  <a:pt x="3698" y="452"/>
                  <a:pt x="3699" y="452"/>
                </a:cubicBezTo>
                <a:cubicBezTo>
                  <a:pt x="3700" y="452"/>
                  <a:pt x="3701" y="451"/>
                  <a:pt x="3701" y="449"/>
                </a:cubicBezTo>
                <a:cubicBezTo>
                  <a:pt x="3701" y="447"/>
                  <a:pt x="3703" y="442"/>
                  <a:pt x="3706" y="434"/>
                </a:cubicBezTo>
                <a:cubicBezTo>
                  <a:pt x="3709" y="428"/>
                  <a:pt x="3710" y="424"/>
                  <a:pt x="3710" y="423"/>
                </a:cubicBezTo>
                <a:cubicBezTo>
                  <a:pt x="3710" y="422"/>
                  <a:pt x="3710" y="422"/>
                  <a:pt x="3710" y="422"/>
                </a:cubicBezTo>
                <a:cubicBezTo>
                  <a:pt x="3709" y="422"/>
                  <a:pt x="3708" y="424"/>
                  <a:pt x="3706" y="427"/>
                </a:cubicBezTo>
                <a:cubicBezTo>
                  <a:pt x="3704" y="431"/>
                  <a:pt x="3703" y="434"/>
                  <a:pt x="3701" y="438"/>
                </a:cubicBezTo>
                <a:cubicBezTo>
                  <a:pt x="3700" y="442"/>
                  <a:pt x="3699" y="444"/>
                  <a:pt x="3699" y="445"/>
                </a:cubicBezTo>
                <a:cubicBezTo>
                  <a:pt x="3699" y="446"/>
                  <a:pt x="3698" y="448"/>
                  <a:pt x="3697" y="450"/>
                </a:cubicBezTo>
                <a:cubicBezTo>
                  <a:pt x="3696" y="452"/>
                  <a:pt x="3694" y="453"/>
                  <a:pt x="3693" y="455"/>
                </a:cubicBezTo>
                <a:cubicBezTo>
                  <a:pt x="3691" y="456"/>
                  <a:pt x="3690" y="457"/>
                  <a:pt x="3689" y="457"/>
                </a:cubicBezTo>
                <a:cubicBezTo>
                  <a:pt x="3688" y="457"/>
                  <a:pt x="3688" y="456"/>
                  <a:pt x="3688" y="453"/>
                </a:cubicBezTo>
                <a:cubicBezTo>
                  <a:pt x="3688" y="441"/>
                  <a:pt x="3696" y="421"/>
                  <a:pt x="3714" y="394"/>
                </a:cubicBezTo>
                <a:cubicBezTo>
                  <a:pt x="3731" y="366"/>
                  <a:pt x="3742" y="349"/>
                  <a:pt x="3749" y="342"/>
                </a:cubicBezTo>
                <a:cubicBezTo>
                  <a:pt x="3749" y="341"/>
                  <a:pt x="3752" y="338"/>
                  <a:pt x="3756" y="333"/>
                </a:cubicBezTo>
                <a:cubicBezTo>
                  <a:pt x="3763" y="322"/>
                  <a:pt x="3768" y="317"/>
                  <a:pt x="3771" y="317"/>
                </a:cubicBezTo>
                <a:cubicBezTo>
                  <a:pt x="3774" y="317"/>
                  <a:pt x="3776" y="319"/>
                  <a:pt x="3776" y="322"/>
                </a:cubicBezTo>
                <a:cubicBezTo>
                  <a:pt x="3776" y="324"/>
                  <a:pt x="3775" y="326"/>
                  <a:pt x="3774" y="329"/>
                </a:cubicBezTo>
                <a:cubicBezTo>
                  <a:pt x="3772" y="332"/>
                  <a:pt x="3772" y="333"/>
                  <a:pt x="3772" y="334"/>
                </a:cubicBezTo>
                <a:cubicBezTo>
                  <a:pt x="3772" y="335"/>
                  <a:pt x="3772" y="335"/>
                  <a:pt x="3774" y="335"/>
                </a:cubicBezTo>
                <a:cubicBezTo>
                  <a:pt x="3775" y="335"/>
                  <a:pt x="3776" y="337"/>
                  <a:pt x="3776" y="341"/>
                </a:cubicBezTo>
                <a:cubicBezTo>
                  <a:pt x="3776" y="348"/>
                  <a:pt x="3775" y="352"/>
                  <a:pt x="3772" y="355"/>
                </a:cubicBezTo>
                <a:cubicBezTo>
                  <a:pt x="3766" y="360"/>
                  <a:pt x="3758" y="372"/>
                  <a:pt x="3749" y="390"/>
                </a:cubicBezTo>
                <a:cubicBezTo>
                  <a:pt x="3744" y="397"/>
                  <a:pt x="3742" y="401"/>
                  <a:pt x="3742" y="403"/>
                </a:cubicBezTo>
                <a:lnTo>
                  <a:pt x="3742" y="404"/>
                </a:lnTo>
                <a:cubicBezTo>
                  <a:pt x="3742" y="405"/>
                  <a:pt x="3742" y="406"/>
                  <a:pt x="3742" y="406"/>
                </a:cubicBezTo>
                <a:lnTo>
                  <a:pt x="3740" y="405"/>
                </a:lnTo>
                <a:cubicBezTo>
                  <a:pt x="3739" y="405"/>
                  <a:pt x="3737" y="406"/>
                  <a:pt x="3735" y="408"/>
                </a:cubicBezTo>
                <a:lnTo>
                  <a:pt x="3734" y="411"/>
                </a:lnTo>
                <a:cubicBezTo>
                  <a:pt x="3735" y="411"/>
                  <a:pt x="3735" y="411"/>
                  <a:pt x="3737" y="410"/>
                </a:cubicBezTo>
                <a:lnTo>
                  <a:pt x="3740" y="409"/>
                </a:lnTo>
                <a:cubicBezTo>
                  <a:pt x="3740" y="410"/>
                  <a:pt x="3739" y="411"/>
                  <a:pt x="3738" y="411"/>
                </a:cubicBezTo>
                <a:cubicBezTo>
                  <a:pt x="3736" y="413"/>
                  <a:pt x="3735" y="415"/>
                  <a:pt x="3734" y="419"/>
                </a:cubicBezTo>
                <a:cubicBezTo>
                  <a:pt x="3733" y="422"/>
                  <a:pt x="3731" y="426"/>
                  <a:pt x="3728" y="429"/>
                </a:cubicBezTo>
                <a:cubicBezTo>
                  <a:pt x="3717" y="447"/>
                  <a:pt x="3712" y="456"/>
                  <a:pt x="3712" y="458"/>
                </a:cubicBezTo>
                <a:cubicBezTo>
                  <a:pt x="3712" y="458"/>
                  <a:pt x="3712" y="459"/>
                  <a:pt x="3712" y="459"/>
                </a:cubicBezTo>
                <a:lnTo>
                  <a:pt x="3714" y="458"/>
                </a:lnTo>
                <a:cubicBezTo>
                  <a:pt x="3715" y="458"/>
                  <a:pt x="3716" y="459"/>
                  <a:pt x="3718" y="460"/>
                </a:cubicBezTo>
                <a:cubicBezTo>
                  <a:pt x="3719" y="461"/>
                  <a:pt x="3719" y="462"/>
                  <a:pt x="3719" y="463"/>
                </a:cubicBezTo>
                <a:cubicBezTo>
                  <a:pt x="3719" y="464"/>
                  <a:pt x="3719" y="464"/>
                  <a:pt x="3719" y="465"/>
                </a:cubicBezTo>
                <a:cubicBezTo>
                  <a:pt x="3718" y="465"/>
                  <a:pt x="3718" y="465"/>
                  <a:pt x="3717" y="465"/>
                </a:cubicBezTo>
                <a:cubicBezTo>
                  <a:pt x="3717" y="465"/>
                  <a:pt x="3716" y="465"/>
                  <a:pt x="3716" y="464"/>
                </a:cubicBezTo>
                <a:cubicBezTo>
                  <a:pt x="3716" y="463"/>
                  <a:pt x="3715" y="462"/>
                  <a:pt x="3713" y="462"/>
                </a:cubicBezTo>
                <a:cubicBezTo>
                  <a:pt x="3712" y="462"/>
                  <a:pt x="3711" y="463"/>
                  <a:pt x="3711" y="463"/>
                </a:cubicBezTo>
                <a:cubicBezTo>
                  <a:pt x="3711" y="463"/>
                  <a:pt x="3711" y="464"/>
                  <a:pt x="3712" y="464"/>
                </a:cubicBezTo>
                <a:cubicBezTo>
                  <a:pt x="3712" y="465"/>
                  <a:pt x="3712" y="466"/>
                  <a:pt x="3712" y="467"/>
                </a:cubicBezTo>
                <a:cubicBezTo>
                  <a:pt x="3712" y="469"/>
                  <a:pt x="3712" y="471"/>
                  <a:pt x="3712" y="473"/>
                </a:cubicBezTo>
                <a:cubicBezTo>
                  <a:pt x="3711" y="476"/>
                  <a:pt x="3710" y="478"/>
                  <a:pt x="3709" y="479"/>
                </a:cubicBezTo>
                <a:cubicBezTo>
                  <a:pt x="3708" y="481"/>
                  <a:pt x="3708" y="482"/>
                  <a:pt x="3707" y="482"/>
                </a:cubicBezTo>
                <a:close/>
                <a:moveTo>
                  <a:pt x="3755" y="353"/>
                </a:moveTo>
                <a:cubicBezTo>
                  <a:pt x="3756" y="353"/>
                  <a:pt x="3758" y="352"/>
                  <a:pt x="3760" y="349"/>
                </a:cubicBezTo>
                <a:cubicBezTo>
                  <a:pt x="3763" y="346"/>
                  <a:pt x="3764" y="345"/>
                  <a:pt x="3764" y="344"/>
                </a:cubicBezTo>
                <a:cubicBezTo>
                  <a:pt x="3763" y="344"/>
                  <a:pt x="3761" y="346"/>
                  <a:pt x="3759" y="349"/>
                </a:cubicBezTo>
                <a:cubicBezTo>
                  <a:pt x="3757" y="352"/>
                  <a:pt x="3755" y="353"/>
                  <a:pt x="3755" y="353"/>
                </a:cubicBezTo>
                <a:close/>
                <a:moveTo>
                  <a:pt x="3747" y="365"/>
                </a:moveTo>
                <a:cubicBezTo>
                  <a:pt x="3748" y="365"/>
                  <a:pt x="3749" y="364"/>
                  <a:pt x="3752" y="361"/>
                </a:cubicBezTo>
                <a:cubicBezTo>
                  <a:pt x="3754" y="358"/>
                  <a:pt x="3755" y="356"/>
                  <a:pt x="3755" y="356"/>
                </a:cubicBezTo>
                <a:cubicBezTo>
                  <a:pt x="3754" y="356"/>
                  <a:pt x="3753" y="357"/>
                  <a:pt x="3750" y="360"/>
                </a:cubicBezTo>
                <a:cubicBezTo>
                  <a:pt x="3748" y="363"/>
                  <a:pt x="3747" y="365"/>
                  <a:pt x="3747" y="365"/>
                </a:cubicBezTo>
                <a:close/>
                <a:moveTo>
                  <a:pt x="3719" y="408"/>
                </a:moveTo>
                <a:cubicBezTo>
                  <a:pt x="3720" y="408"/>
                  <a:pt x="3725" y="401"/>
                  <a:pt x="3735" y="386"/>
                </a:cubicBezTo>
                <a:cubicBezTo>
                  <a:pt x="3742" y="375"/>
                  <a:pt x="3745" y="368"/>
                  <a:pt x="3745" y="368"/>
                </a:cubicBezTo>
                <a:cubicBezTo>
                  <a:pt x="3745" y="368"/>
                  <a:pt x="3742" y="372"/>
                  <a:pt x="3737" y="379"/>
                </a:cubicBezTo>
                <a:cubicBezTo>
                  <a:pt x="3732" y="387"/>
                  <a:pt x="3728" y="392"/>
                  <a:pt x="3726" y="392"/>
                </a:cubicBezTo>
                <a:cubicBezTo>
                  <a:pt x="3726" y="392"/>
                  <a:pt x="3726" y="393"/>
                  <a:pt x="3725" y="394"/>
                </a:cubicBezTo>
                <a:cubicBezTo>
                  <a:pt x="3725" y="394"/>
                  <a:pt x="3725" y="395"/>
                  <a:pt x="3725" y="396"/>
                </a:cubicBezTo>
                <a:cubicBezTo>
                  <a:pt x="3725" y="397"/>
                  <a:pt x="3725" y="398"/>
                  <a:pt x="3724" y="398"/>
                </a:cubicBezTo>
                <a:cubicBezTo>
                  <a:pt x="3723" y="399"/>
                  <a:pt x="3722" y="399"/>
                  <a:pt x="3721" y="399"/>
                </a:cubicBezTo>
                <a:cubicBezTo>
                  <a:pt x="3720" y="399"/>
                  <a:pt x="3719" y="401"/>
                  <a:pt x="3719" y="404"/>
                </a:cubicBezTo>
                <a:lnTo>
                  <a:pt x="3719" y="408"/>
                </a:lnTo>
                <a:close/>
                <a:moveTo>
                  <a:pt x="3712" y="420"/>
                </a:moveTo>
                <a:cubicBezTo>
                  <a:pt x="3713" y="420"/>
                  <a:pt x="3715" y="419"/>
                  <a:pt x="3716" y="416"/>
                </a:cubicBezTo>
                <a:cubicBezTo>
                  <a:pt x="3717" y="414"/>
                  <a:pt x="3717" y="413"/>
                  <a:pt x="3717" y="412"/>
                </a:cubicBezTo>
                <a:cubicBezTo>
                  <a:pt x="3717" y="411"/>
                  <a:pt x="3717" y="411"/>
                  <a:pt x="3717" y="411"/>
                </a:cubicBezTo>
                <a:cubicBezTo>
                  <a:pt x="3715" y="411"/>
                  <a:pt x="3714" y="413"/>
                  <a:pt x="3712" y="416"/>
                </a:cubicBezTo>
                <a:cubicBezTo>
                  <a:pt x="3712" y="417"/>
                  <a:pt x="3711" y="419"/>
                  <a:pt x="3711" y="419"/>
                </a:cubicBezTo>
                <a:cubicBezTo>
                  <a:pt x="3711" y="420"/>
                  <a:pt x="3711" y="420"/>
                  <a:pt x="3712" y="420"/>
                </a:cubicBezTo>
                <a:close/>
                <a:moveTo>
                  <a:pt x="3724" y="449"/>
                </a:moveTo>
                <a:cubicBezTo>
                  <a:pt x="3724" y="449"/>
                  <a:pt x="3723" y="449"/>
                  <a:pt x="3723" y="448"/>
                </a:cubicBezTo>
                <a:lnTo>
                  <a:pt x="3724" y="447"/>
                </a:lnTo>
                <a:cubicBezTo>
                  <a:pt x="3724" y="446"/>
                  <a:pt x="3725" y="445"/>
                  <a:pt x="3726" y="445"/>
                </a:cubicBezTo>
                <a:lnTo>
                  <a:pt x="3727" y="445"/>
                </a:lnTo>
                <a:cubicBezTo>
                  <a:pt x="3728" y="445"/>
                  <a:pt x="3728" y="445"/>
                  <a:pt x="3728" y="444"/>
                </a:cubicBezTo>
                <a:lnTo>
                  <a:pt x="3728" y="441"/>
                </a:lnTo>
                <a:cubicBezTo>
                  <a:pt x="3728" y="439"/>
                  <a:pt x="3728" y="438"/>
                  <a:pt x="3730" y="436"/>
                </a:cubicBezTo>
                <a:cubicBezTo>
                  <a:pt x="3731" y="434"/>
                  <a:pt x="3732" y="433"/>
                  <a:pt x="3733" y="433"/>
                </a:cubicBezTo>
                <a:lnTo>
                  <a:pt x="3735" y="433"/>
                </a:lnTo>
                <a:cubicBezTo>
                  <a:pt x="3735" y="433"/>
                  <a:pt x="3735" y="433"/>
                  <a:pt x="3735" y="433"/>
                </a:cubicBezTo>
                <a:lnTo>
                  <a:pt x="3735" y="430"/>
                </a:lnTo>
                <a:cubicBezTo>
                  <a:pt x="3735" y="429"/>
                  <a:pt x="3735" y="427"/>
                  <a:pt x="3736" y="425"/>
                </a:cubicBezTo>
                <a:cubicBezTo>
                  <a:pt x="3737" y="424"/>
                  <a:pt x="3737" y="422"/>
                  <a:pt x="3739" y="421"/>
                </a:cubicBezTo>
                <a:cubicBezTo>
                  <a:pt x="3740" y="419"/>
                  <a:pt x="3741" y="419"/>
                  <a:pt x="3742" y="419"/>
                </a:cubicBezTo>
                <a:lnTo>
                  <a:pt x="3744" y="419"/>
                </a:lnTo>
                <a:cubicBezTo>
                  <a:pt x="3744" y="419"/>
                  <a:pt x="3745" y="419"/>
                  <a:pt x="3746" y="418"/>
                </a:cubicBezTo>
                <a:cubicBezTo>
                  <a:pt x="3746" y="417"/>
                  <a:pt x="3747" y="416"/>
                  <a:pt x="3747" y="416"/>
                </a:cubicBezTo>
                <a:lnTo>
                  <a:pt x="3743" y="417"/>
                </a:lnTo>
                <a:cubicBezTo>
                  <a:pt x="3743" y="417"/>
                  <a:pt x="3743" y="417"/>
                  <a:pt x="3743" y="417"/>
                </a:cubicBezTo>
                <a:cubicBezTo>
                  <a:pt x="3743" y="415"/>
                  <a:pt x="3745" y="410"/>
                  <a:pt x="3750" y="403"/>
                </a:cubicBezTo>
                <a:cubicBezTo>
                  <a:pt x="3754" y="397"/>
                  <a:pt x="3757" y="393"/>
                  <a:pt x="3759" y="393"/>
                </a:cubicBezTo>
                <a:cubicBezTo>
                  <a:pt x="3759" y="394"/>
                  <a:pt x="3760" y="394"/>
                  <a:pt x="3760" y="394"/>
                </a:cubicBezTo>
                <a:cubicBezTo>
                  <a:pt x="3761" y="394"/>
                  <a:pt x="3762" y="393"/>
                  <a:pt x="3764" y="392"/>
                </a:cubicBezTo>
                <a:cubicBezTo>
                  <a:pt x="3765" y="392"/>
                  <a:pt x="3765" y="391"/>
                  <a:pt x="3766" y="391"/>
                </a:cubicBezTo>
                <a:cubicBezTo>
                  <a:pt x="3766" y="391"/>
                  <a:pt x="3766" y="391"/>
                  <a:pt x="3766" y="391"/>
                </a:cubicBezTo>
                <a:cubicBezTo>
                  <a:pt x="3766" y="393"/>
                  <a:pt x="3764" y="395"/>
                  <a:pt x="3761" y="399"/>
                </a:cubicBezTo>
                <a:cubicBezTo>
                  <a:pt x="3760" y="400"/>
                  <a:pt x="3759" y="400"/>
                  <a:pt x="3759" y="400"/>
                </a:cubicBezTo>
                <a:lnTo>
                  <a:pt x="3758" y="400"/>
                </a:lnTo>
                <a:lnTo>
                  <a:pt x="3759" y="398"/>
                </a:lnTo>
                <a:cubicBezTo>
                  <a:pt x="3759" y="398"/>
                  <a:pt x="3759" y="397"/>
                  <a:pt x="3759" y="397"/>
                </a:cubicBezTo>
                <a:lnTo>
                  <a:pt x="3757" y="399"/>
                </a:lnTo>
                <a:cubicBezTo>
                  <a:pt x="3757" y="399"/>
                  <a:pt x="3757" y="400"/>
                  <a:pt x="3757" y="401"/>
                </a:cubicBezTo>
                <a:lnTo>
                  <a:pt x="3757" y="404"/>
                </a:lnTo>
                <a:cubicBezTo>
                  <a:pt x="3757" y="405"/>
                  <a:pt x="3757" y="406"/>
                  <a:pt x="3755" y="407"/>
                </a:cubicBezTo>
                <a:cubicBezTo>
                  <a:pt x="3754" y="409"/>
                  <a:pt x="3753" y="409"/>
                  <a:pt x="3751" y="409"/>
                </a:cubicBezTo>
                <a:lnTo>
                  <a:pt x="3749" y="409"/>
                </a:lnTo>
                <a:lnTo>
                  <a:pt x="3750" y="411"/>
                </a:lnTo>
                <a:cubicBezTo>
                  <a:pt x="3750" y="413"/>
                  <a:pt x="3749" y="414"/>
                  <a:pt x="3748" y="417"/>
                </a:cubicBezTo>
                <a:cubicBezTo>
                  <a:pt x="3747" y="419"/>
                  <a:pt x="3746" y="422"/>
                  <a:pt x="3744" y="425"/>
                </a:cubicBezTo>
                <a:cubicBezTo>
                  <a:pt x="3742" y="429"/>
                  <a:pt x="3740" y="432"/>
                  <a:pt x="3738" y="435"/>
                </a:cubicBezTo>
                <a:cubicBezTo>
                  <a:pt x="3736" y="438"/>
                  <a:pt x="3735" y="441"/>
                  <a:pt x="3734" y="442"/>
                </a:cubicBezTo>
                <a:cubicBezTo>
                  <a:pt x="3733" y="444"/>
                  <a:pt x="3732" y="446"/>
                  <a:pt x="3730" y="447"/>
                </a:cubicBezTo>
                <a:cubicBezTo>
                  <a:pt x="3727" y="448"/>
                  <a:pt x="3726" y="449"/>
                  <a:pt x="3724" y="449"/>
                </a:cubicBezTo>
                <a:close/>
                <a:moveTo>
                  <a:pt x="3760" y="391"/>
                </a:moveTo>
                <a:cubicBezTo>
                  <a:pt x="3760" y="391"/>
                  <a:pt x="3760" y="391"/>
                  <a:pt x="3760" y="391"/>
                </a:cubicBezTo>
                <a:cubicBezTo>
                  <a:pt x="3760" y="389"/>
                  <a:pt x="3764" y="384"/>
                  <a:pt x="3771" y="373"/>
                </a:cubicBezTo>
                <a:cubicBezTo>
                  <a:pt x="3778" y="365"/>
                  <a:pt x="3781" y="359"/>
                  <a:pt x="3781" y="356"/>
                </a:cubicBezTo>
                <a:cubicBezTo>
                  <a:pt x="3781" y="355"/>
                  <a:pt x="3781" y="355"/>
                  <a:pt x="3781" y="354"/>
                </a:cubicBezTo>
                <a:cubicBezTo>
                  <a:pt x="3780" y="353"/>
                  <a:pt x="3780" y="353"/>
                  <a:pt x="3780" y="351"/>
                </a:cubicBezTo>
                <a:cubicBezTo>
                  <a:pt x="3780" y="350"/>
                  <a:pt x="3781" y="349"/>
                  <a:pt x="3782" y="347"/>
                </a:cubicBezTo>
                <a:cubicBezTo>
                  <a:pt x="3784" y="345"/>
                  <a:pt x="3785" y="344"/>
                  <a:pt x="3785" y="344"/>
                </a:cubicBezTo>
                <a:lnTo>
                  <a:pt x="3785" y="345"/>
                </a:lnTo>
                <a:lnTo>
                  <a:pt x="3782" y="353"/>
                </a:lnTo>
                <a:cubicBezTo>
                  <a:pt x="3783" y="353"/>
                  <a:pt x="3784" y="352"/>
                  <a:pt x="3787" y="348"/>
                </a:cubicBezTo>
                <a:cubicBezTo>
                  <a:pt x="3789" y="346"/>
                  <a:pt x="3790" y="345"/>
                  <a:pt x="3791" y="345"/>
                </a:cubicBezTo>
                <a:cubicBezTo>
                  <a:pt x="3792" y="345"/>
                  <a:pt x="3792" y="345"/>
                  <a:pt x="3792" y="346"/>
                </a:cubicBezTo>
                <a:cubicBezTo>
                  <a:pt x="3792" y="348"/>
                  <a:pt x="3791" y="350"/>
                  <a:pt x="3789" y="353"/>
                </a:cubicBezTo>
                <a:lnTo>
                  <a:pt x="3788" y="355"/>
                </a:lnTo>
                <a:lnTo>
                  <a:pt x="3791" y="354"/>
                </a:lnTo>
                <a:cubicBezTo>
                  <a:pt x="3791" y="354"/>
                  <a:pt x="3792" y="354"/>
                  <a:pt x="3792" y="355"/>
                </a:cubicBezTo>
                <a:cubicBezTo>
                  <a:pt x="3792" y="356"/>
                  <a:pt x="3788" y="362"/>
                  <a:pt x="3781" y="372"/>
                </a:cubicBezTo>
                <a:cubicBezTo>
                  <a:pt x="3772" y="384"/>
                  <a:pt x="3767" y="389"/>
                  <a:pt x="3766" y="389"/>
                </a:cubicBezTo>
                <a:cubicBezTo>
                  <a:pt x="3765" y="389"/>
                  <a:pt x="3764" y="390"/>
                  <a:pt x="3763" y="390"/>
                </a:cubicBezTo>
                <a:cubicBezTo>
                  <a:pt x="3762" y="391"/>
                  <a:pt x="3761" y="391"/>
                  <a:pt x="3760" y="391"/>
                </a:cubicBezTo>
                <a:close/>
                <a:moveTo>
                  <a:pt x="3775" y="374"/>
                </a:moveTo>
                <a:cubicBezTo>
                  <a:pt x="3776" y="374"/>
                  <a:pt x="3777" y="373"/>
                  <a:pt x="3779" y="370"/>
                </a:cubicBezTo>
                <a:lnTo>
                  <a:pt x="3781" y="368"/>
                </a:lnTo>
                <a:lnTo>
                  <a:pt x="3781" y="367"/>
                </a:lnTo>
                <a:cubicBezTo>
                  <a:pt x="3781" y="367"/>
                  <a:pt x="3781" y="368"/>
                  <a:pt x="3779" y="369"/>
                </a:cubicBezTo>
                <a:cubicBezTo>
                  <a:pt x="3778" y="370"/>
                  <a:pt x="3777" y="370"/>
                  <a:pt x="3776" y="371"/>
                </a:cubicBezTo>
                <a:cubicBezTo>
                  <a:pt x="3775" y="372"/>
                  <a:pt x="3775" y="373"/>
                  <a:pt x="3775" y="373"/>
                </a:cubicBezTo>
                <a:cubicBezTo>
                  <a:pt x="3775" y="374"/>
                  <a:pt x="3775" y="374"/>
                  <a:pt x="3775" y="374"/>
                </a:cubicBezTo>
                <a:close/>
                <a:moveTo>
                  <a:pt x="3782" y="365"/>
                </a:moveTo>
                <a:cubicBezTo>
                  <a:pt x="3783" y="365"/>
                  <a:pt x="3783" y="365"/>
                  <a:pt x="3784" y="364"/>
                </a:cubicBezTo>
                <a:cubicBezTo>
                  <a:pt x="3785" y="363"/>
                  <a:pt x="3786" y="362"/>
                  <a:pt x="3786" y="361"/>
                </a:cubicBezTo>
                <a:lnTo>
                  <a:pt x="3788" y="359"/>
                </a:lnTo>
                <a:lnTo>
                  <a:pt x="3788" y="358"/>
                </a:lnTo>
                <a:lnTo>
                  <a:pt x="3785" y="360"/>
                </a:lnTo>
                <a:cubicBezTo>
                  <a:pt x="3783" y="362"/>
                  <a:pt x="3781" y="364"/>
                  <a:pt x="3781" y="365"/>
                </a:cubicBezTo>
                <a:cubicBezTo>
                  <a:pt x="3781" y="365"/>
                  <a:pt x="3782" y="365"/>
                  <a:pt x="3782" y="365"/>
                </a:cubicBezTo>
                <a:close/>
                <a:moveTo>
                  <a:pt x="3715" y="475"/>
                </a:moveTo>
                <a:cubicBezTo>
                  <a:pt x="3714" y="475"/>
                  <a:pt x="3714" y="474"/>
                  <a:pt x="3714" y="472"/>
                </a:cubicBezTo>
                <a:cubicBezTo>
                  <a:pt x="3714" y="469"/>
                  <a:pt x="3715" y="468"/>
                  <a:pt x="3716" y="468"/>
                </a:cubicBezTo>
                <a:cubicBezTo>
                  <a:pt x="3717" y="468"/>
                  <a:pt x="3717" y="469"/>
                  <a:pt x="3717" y="470"/>
                </a:cubicBezTo>
                <a:cubicBezTo>
                  <a:pt x="3717" y="470"/>
                  <a:pt x="3717" y="471"/>
                  <a:pt x="3717" y="472"/>
                </a:cubicBezTo>
                <a:cubicBezTo>
                  <a:pt x="3717" y="473"/>
                  <a:pt x="3716" y="474"/>
                  <a:pt x="3716" y="474"/>
                </a:cubicBezTo>
                <a:cubicBezTo>
                  <a:pt x="3716" y="475"/>
                  <a:pt x="3715" y="475"/>
                  <a:pt x="3715" y="475"/>
                </a:cubicBezTo>
                <a:close/>
                <a:moveTo>
                  <a:pt x="3987" y="753"/>
                </a:moveTo>
                <a:cubicBezTo>
                  <a:pt x="3985" y="753"/>
                  <a:pt x="3984" y="753"/>
                  <a:pt x="3984" y="753"/>
                </a:cubicBezTo>
                <a:cubicBezTo>
                  <a:pt x="3984" y="752"/>
                  <a:pt x="3985" y="752"/>
                  <a:pt x="3985" y="751"/>
                </a:cubicBezTo>
                <a:cubicBezTo>
                  <a:pt x="3987" y="750"/>
                  <a:pt x="3988" y="750"/>
                  <a:pt x="3988" y="749"/>
                </a:cubicBezTo>
                <a:cubicBezTo>
                  <a:pt x="3988" y="749"/>
                  <a:pt x="3987" y="748"/>
                  <a:pt x="3986" y="748"/>
                </a:cubicBezTo>
                <a:cubicBezTo>
                  <a:pt x="3985" y="747"/>
                  <a:pt x="3984" y="747"/>
                  <a:pt x="3984" y="747"/>
                </a:cubicBezTo>
                <a:lnTo>
                  <a:pt x="3987" y="746"/>
                </a:lnTo>
                <a:cubicBezTo>
                  <a:pt x="3988" y="746"/>
                  <a:pt x="3988" y="746"/>
                  <a:pt x="3988" y="746"/>
                </a:cubicBezTo>
                <a:cubicBezTo>
                  <a:pt x="3988" y="745"/>
                  <a:pt x="3987" y="745"/>
                  <a:pt x="3986" y="744"/>
                </a:cubicBezTo>
                <a:cubicBezTo>
                  <a:pt x="3985" y="743"/>
                  <a:pt x="3984" y="742"/>
                  <a:pt x="3984" y="742"/>
                </a:cubicBezTo>
                <a:lnTo>
                  <a:pt x="3987" y="742"/>
                </a:lnTo>
                <a:cubicBezTo>
                  <a:pt x="3989" y="742"/>
                  <a:pt x="3990" y="743"/>
                  <a:pt x="3990" y="746"/>
                </a:cubicBezTo>
                <a:cubicBezTo>
                  <a:pt x="3990" y="751"/>
                  <a:pt x="3989" y="753"/>
                  <a:pt x="3987" y="753"/>
                </a:cubicBezTo>
                <a:close/>
                <a:moveTo>
                  <a:pt x="4011" y="810"/>
                </a:moveTo>
                <a:cubicBezTo>
                  <a:pt x="4007" y="810"/>
                  <a:pt x="4003" y="810"/>
                  <a:pt x="3998" y="808"/>
                </a:cubicBezTo>
                <a:cubicBezTo>
                  <a:pt x="3994" y="807"/>
                  <a:pt x="3990" y="803"/>
                  <a:pt x="3985" y="796"/>
                </a:cubicBezTo>
                <a:cubicBezTo>
                  <a:pt x="3980" y="789"/>
                  <a:pt x="3977" y="784"/>
                  <a:pt x="3975" y="778"/>
                </a:cubicBezTo>
                <a:cubicBezTo>
                  <a:pt x="3974" y="773"/>
                  <a:pt x="3973" y="765"/>
                  <a:pt x="3973" y="756"/>
                </a:cubicBezTo>
                <a:cubicBezTo>
                  <a:pt x="3973" y="735"/>
                  <a:pt x="3975" y="710"/>
                  <a:pt x="3979" y="679"/>
                </a:cubicBezTo>
                <a:cubicBezTo>
                  <a:pt x="3984" y="647"/>
                  <a:pt x="3989" y="619"/>
                  <a:pt x="3996" y="593"/>
                </a:cubicBezTo>
                <a:lnTo>
                  <a:pt x="3997" y="592"/>
                </a:lnTo>
                <a:cubicBezTo>
                  <a:pt x="3997" y="589"/>
                  <a:pt x="3997" y="586"/>
                  <a:pt x="3997" y="583"/>
                </a:cubicBezTo>
                <a:cubicBezTo>
                  <a:pt x="3997" y="580"/>
                  <a:pt x="3998" y="579"/>
                  <a:pt x="3999" y="579"/>
                </a:cubicBezTo>
                <a:cubicBezTo>
                  <a:pt x="4000" y="579"/>
                  <a:pt x="4000" y="578"/>
                  <a:pt x="4000" y="577"/>
                </a:cubicBezTo>
                <a:lnTo>
                  <a:pt x="4000" y="573"/>
                </a:lnTo>
                <a:cubicBezTo>
                  <a:pt x="4000" y="571"/>
                  <a:pt x="4000" y="570"/>
                  <a:pt x="4001" y="570"/>
                </a:cubicBezTo>
                <a:cubicBezTo>
                  <a:pt x="4002" y="570"/>
                  <a:pt x="4002" y="569"/>
                  <a:pt x="4002" y="568"/>
                </a:cubicBezTo>
                <a:lnTo>
                  <a:pt x="4002" y="566"/>
                </a:lnTo>
                <a:cubicBezTo>
                  <a:pt x="4002" y="564"/>
                  <a:pt x="4003" y="563"/>
                  <a:pt x="4005" y="563"/>
                </a:cubicBezTo>
                <a:cubicBezTo>
                  <a:pt x="4006" y="563"/>
                  <a:pt x="4007" y="562"/>
                  <a:pt x="4007" y="562"/>
                </a:cubicBezTo>
                <a:lnTo>
                  <a:pt x="4006" y="561"/>
                </a:lnTo>
                <a:cubicBezTo>
                  <a:pt x="4005" y="561"/>
                  <a:pt x="4005" y="560"/>
                  <a:pt x="4004" y="559"/>
                </a:cubicBezTo>
                <a:cubicBezTo>
                  <a:pt x="4003" y="558"/>
                  <a:pt x="4003" y="558"/>
                  <a:pt x="4003" y="557"/>
                </a:cubicBezTo>
                <a:cubicBezTo>
                  <a:pt x="4003" y="555"/>
                  <a:pt x="4004" y="554"/>
                  <a:pt x="4006" y="554"/>
                </a:cubicBezTo>
                <a:cubicBezTo>
                  <a:pt x="4008" y="555"/>
                  <a:pt x="4008" y="556"/>
                  <a:pt x="4008" y="558"/>
                </a:cubicBezTo>
                <a:cubicBezTo>
                  <a:pt x="4008" y="562"/>
                  <a:pt x="4006" y="573"/>
                  <a:pt x="4001" y="590"/>
                </a:cubicBezTo>
                <a:cubicBezTo>
                  <a:pt x="3994" y="618"/>
                  <a:pt x="3988" y="646"/>
                  <a:pt x="3984" y="674"/>
                </a:cubicBezTo>
                <a:cubicBezTo>
                  <a:pt x="3980" y="703"/>
                  <a:pt x="3978" y="726"/>
                  <a:pt x="3978" y="744"/>
                </a:cubicBezTo>
                <a:cubicBezTo>
                  <a:pt x="3978" y="750"/>
                  <a:pt x="3978" y="755"/>
                  <a:pt x="3979" y="760"/>
                </a:cubicBezTo>
                <a:cubicBezTo>
                  <a:pt x="3981" y="772"/>
                  <a:pt x="3982" y="778"/>
                  <a:pt x="3983" y="778"/>
                </a:cubicBezTo>
                <a:cubicBezTo>
                  <a:pt x="3984" y="778"/>
                  <a:pt x="3984" y="777"/>
                  <a:pt x="3984" y="774"/>
                </a:cubicBezTo>
                <a:cubicBezTo>
                  <a:pt x="3984" y="772"/>
                  <a:pt x="3985" y="770"/>
                  <a:pt x="3985" y="767"/>
                </a:cubicBezTo>
                <a:lnTo>
                  <a:pt x="3986" y="765"/>
                </a:lnTo>
                <a:lnTo>
                  <a:pt x="3987" y="768"/>
                </a:lnTo>
                <a:cubicBezTo>
                  <a:pt x="3988" y="770"/>
                  <a:pt x="3988" y="773"/>
                  <a:pt x="3989" y="776"/>
                </a:cubicBezTo>
                <a:cubicBezTo>
                  <a:pt x="3990" y="779"/>
                  <a:pt x="3990" y="782"/>
                  <a:pt x="3992" y="785"/>
                </a:cubicBezTo>
                <a:cubicBezTo>
                  <a:pt x="3993" y="787"/>
                  <a:pt x="3993" y="789"/>
                  <a:pt x="3994" y="789"/>
                </a:cubicBezTo>
                <a:cubicBezTo>
                  <a:pt x="3995" y="789"/>
                  <a:pt x="3996" y="789"/>
                  <a:pt x="3996" y="788"/>
                </a:cubicBezTo>
                <a:lnTo>
                  <a:pt x="3995" y="784"/>
                </a:lnTo>
                <a:cubicBezTo>
                  <a:pt x="3994" y="780"/>
                  <a:pt x="3993" y="768"/>
                  <a:pt x="3993" y="749"/>
                </a:cubicBezTo>
                <a:cubicBezTo>
                  <a:pt x="3993" y="730"/>
                  <a:pt x="3993" y="721"/>
                  <a:pt x="3992" y="721"/>
                </a:cubicBezTo>
                <a:cubicBezTo>
                  <a:pt x="3990" y="721"/>
                  <a:pt x="3990" y="726"/>
                  <a:pt x="3990" y="735"/>
                </a:cubicBezTo>
                <a:cubicBezTo>
                  <a:pt x="3990" y="736"/>
                  <a:pt x="3990" y="737"/>
                  <a:pt x="3989" y="737"/>
                </a:cubicBezTo>
                <a:cubicBezTo>
                  <a:pt x="3988" y="738"/>
                  <a:pt x="3988" y="739"/>
                  <a:pt x="3987" y="739"/>
                </a:cubicBezTo>
                <a:cubicBezTo>
                  <a:pt x="3985" y="739"/>
                  <a:pt x="3985" y="738"/>
                  <a:pt x="3985" y="736"/>
                </a:cubicBezTo>
                <a:cubicBezTo>
                  <a:pt x="3985" y="733"/>
                  <a:pt x="3987" y="719"/>
                  <a:pt x="3990" y="693"/>
                </a:cubicBezTo>
                <a:cubicBezTo>
                  <a:pt x="3993" y="665"/>
                  <a:pt x="3996" y="650"/>
                  <a:pt x="3997" y="648"/>
                </a:cubicBezTo>
                <a:cubicBezTo>
                  <a:pt x="3997" y="647"/>
                  <a:pt x="3998" y="644"/>
                  <a:pt x="3998" y="641"/>
                </a:cubicBezTo>
                <a:cubicBezTo>
                  <a:pt x="3998" y="631"/>
                  <a:pt x="4001" y="616"/>
                  <a:pt x="4006" y="597"/>
                </a:cubicBezTo>
                <a:cubicBezTo>
                  <a:pt x="4011" y="577"/>
                  <a:pt x="4016" y="559"/>
                  <a:pt x="4022" y="542"/>
                </a:cubicBezTo>
                <a:cubicBezTo>
                  <a:pt x="4027" y="528"/>
                  <a:pt x="4030" y="519"/>
                  <a:pt x="4030" y="514"/>
                </a:cubicBezTo>
                <a:cubicBezTo>
                  <a:pt x="4030" y="510"/>
                  <a:pt x="4030" y="508"/>
                  <a:pt x="4032" y="508"/>
                </a:cubicBezTo>
                <a:cubicBezTo>
                  <a:pt x="4033" y="508"/>
                  <a:pt x="4034" y="508"/>
                  <a:pt x="4034" y="509"/>
                </a:cubicBezTo>
                <a:cubicBezTo>
                  <a:pt x="4034" y="511"/>
                  <a:pt x="4034" y="512"/>
                  <a:pt x="4034" y="512"/>
                </a:cubicBezTo>
                <a:cubicBezTo>
                  <a:pt x="4035" y="512"/>
                  <a:pt x="4035" y="511"/>
                  <a:pt x="4036" y="510"/>
                </a:cubicBezTo>
                <a:cubicBezTo>
                  <a:pt x="4037" y="509"/>
                  <a:pt x="4039" y="509"/>
                  <a:pt x="4043" y="509"/>
                </a:cubicBezTo>
                <a:cubicBezTo>
                  <a:pt x="4045" y="509"/>
                  <a:pt x="4046" y="509"/>
                  <a:pt x="4046" y="509"/>
                </a:cubicBezTo>
                <a:cubicBezTo>
                  <a:pt x="4046" y="508"/>
                  <a:pt x="4045" y="507"/>
                  <a:pt x="4044" y="506"/>
                </a:cubicBezTo>
                <a:cubicBezTo>
                  <a:pt x="4044" y="505"/>
                  <a:pt x="4043" y="504"/>
                  <a:pt x="4043" y="503"/>
                </a:cubicBezTo>
                <a:cubicBezTo>
                  <a:pt x="4043" y="502"/>
                  <a:pt x="4044" y="502"/>
                  <a:pt x="4044" y="502"/>
                </a:cubicBezTo>
                <a:cubicBezTo>
                  <a:pt x="4048" y="502"/>
                  <a:pt x="4052" y="505"/>
                  <a:pt x="4057" y="509"/>
                </a:cubicBezTo>
                <a:cubicBezTo>
                  <a:pt x="4058" y="510"/>
                  <a:pt x="4059" y="511"/>
                  <a:pt x="4059" y="512"/>
                </a:cubicBezTo>
                <a:cubicBezTo>
                  <a:pt x="4061" y="513"/>
                  <a:pt x="4063" y="514"/>
                  <a:pt x="4064" y="515"/>
                </a:cubicBezTo>
                <a:cubicBezTo>
                  <a:pt x="4064" y="515"/>
                  <a:pt x="4064" y="516"/>
                  <a:pt x="4064" y="517"/>
                </a:cubicBezTo>
                <a:cubicBezTo>
                  <a:pt x="4064" y="521"/>
                  <a:pt x="4059" y="538"/>
                  <a:pt x="4048" y="570"/>
                </a:cubicBezTo>
                <a:cubicBezTo>
                  <a:pt x="4045" y="577"/>
                  <a:pt x="4044" y="581"/>
                  <a:pt x="4043" y="584"/>
                </a:cubicBezTo>
                <a:cubicBezTo>
                  <a:pt x="4042" y="588"/>
                  <a:pt x="4041" y="593"/>
                  <a:pt x="4040" y="600"/>
                </a:cubicBezTo>
                <a:cubicBezTo>
                  <a:pt x="4040" y="603"/>
                  <a:pt x="4040" y="604"/>
                  <a:pt x="4039" y="606"/>
                </a:cubicBezTo>
                <a:cubicBezTo>
                  <a:pt x="4039" y="607"/>
                  <a:pt x="4039" y="609"/>
                  <a:pt x="4038" y="610"/>
                </a:cubicBezTo>
                <a:cubicBezTo>
                  <a:pt x="4038" y="612"/>
                  <a:pt x="4037" y="614"/>
                  <a:pt x="4037" y="617"/>
                </a:cubicBezTo>
                <a:cubicBezTo>
                  <a:pt x="4037" y="619"/>
                  <a:pt x="4036" y="622"/>
                  <a:pt x="4035" y="627"/>
                </a:cubicBezTo>
                <a:lnTo>
                  <a:pt x="4034" y="632"/>
                </a:lnTo>
                <a:cubicBezTo>
                  <a:pt x="4033" y="636"/>
                  <a:pt x="4032" y="642"/>
                  <a:pt x="4030" y="650"/>
                </a:cubicBezTo>
                <a:cubicBezTo>
                  <a:pt x="4030" y="652"/>
                  <a:pt x="4029" y="654"/>
                  <a:pt x="4029" y="656"/>
                </a:cubicBezTo>
                <a:cubicBezTo>
                  <a:pt x="4029" y="657"/>
                  <a:pt x="4029" y="659"/>
                  <a:pt x="4028" y="660"/>
                </a:cubicBezTo>
                <a:cubicBezTo>
                  <a:pt x="4028" y="662"/>
                  <a:pt x="4028" y="663"/>
                  <a:pt x="4028" y="665"/>
                </a:cubicBezTo>
                <a:cubicBezTo>
                  <a:pt x="4027" y="667"/>
                  <a:pt x="4027" y="669"/>
                  <a:pt x="4027" y="671"/>
                </a:cubicBezTo>
                <a:cubicBezTo>
                  <a:pt x="4026" y="673"/>
                  <a:pt x="4025" y="675"/>
                  <a:pt x="4025" y="677"/>
                </a:cubicBezTo>
                <a:cubicBezTo>
                  <a:pt x="4025" y="680"/>
                  <a:pt x="4024" y="682"/>
                  <a:pt x="4024" y="684"/>
                </a:cubicBezTo>
                <a:cubicBezTo>
                  <a:pt x="4024" y="687"/>
                  <a:pt x="4023" y="691"/>
                  <a:pt x="4022" y="695"/>
                </a:cubicBezTo>
                <a:cubicBezTo>
                  <a:pt x="4019" y="721"/>
                  <a:pt x="4017" y="744"/>
                  <a:pt x="4017" y="763"/>
                </a:cubicBezTo>
                <a:cubicBezTo>
                  <a:pt x="4017" y="770"/>
                  <a:pt x="4017" y="773"/>
                  <a:pt x="4019" y="773"/>
                </a:cubicBezTo>
                <a:cubicBezTo>
                  <a:pt x="4021" y="773"/>
                  <a:pt x="4025" y="768"/>
                  <a:pt x="4033" y="758"/>
                </a:cubicBezTo>
                <a:cubicBezTo>
                  <a:pt x="4043" y="744"/>
                  <a:pt x="4055" y="726"/>
                  <a:pt x="4068" y="705"/>
                </a:cubicBezTo>
                <a:cubicBezTo>
                  <a:pt x="4079" y="688"/>
                  <a:pt x="4084" y="681"/>
                  <a:pt x="4085" y="681"/>
                </a:cubicBezTo>
                <a:lnTo>
                  <a:pt x="4081" y="688"/>
                </a:lnTo>
                <a:cubicBezTo>
                  <a:pt x="4075" y="698"/>
                  <a:pt x="4067" y="711"/>
                  <a:pt x="4057" y="727"/>
                </a:cubicBezTo>
                <a:cubicBezTo>
                  <a:pt x="4046" y="743"/>
                  <a:pt x="4037" y="756"/>
                  <a:pt x="4030" y="765"/>
                </a:cubicBezTo>
                <a:cubicBezTo>
                  <a:pt x="4021" y="777"/>
                  <a:pt x="4016" y="784"/>
                  <a:pt x="4016" y="785"/>
                </a:cubicBezTo>
                <a:cubicBezTo>
                  <a:pt x="4016" y="786"/>
                  <a:pt x="4016" y="787"/>
                  <a:pt x="4015" y="787"/>
                </a:cubicBezTo>
                <a:lnTo>
                  <a:pt x="4014" y="786"/>
                </a:lnTo>
                <a:cubicBezTo>
                  <a:pt x="4013" y="786"/>
                  <a:pt x="4012" y="788"/>
                  <a:pt x="4012" y="791"/>
                </a:cubicBezTo>
                <a:cubicBezTo>
                  <a:pt x="4012" y="794"/>
                  <a:pt x="4012" y="795"/>
                  <a:pt x="4014" y="795"/>
                </a:cubicBezTo>
                <a:cubicBezTo>
                  <a:pt x="4014" y="795"/>
                  <a:pt x="4015" y="795"/>
                  <a:pt x="4017" y="795"/>
                </a:cubicBezTo>
                <a:cubicBezTo>
                  <a:pt x="4019" y="794"/>
                  <a:pt x="4019" y="794"/>
                  <a:pt x="4019" y="793"/>
                </a:cubicBezTo>
                <a:cubicBezTo>
                  <a:pt x="4019" y="793"/>
                  <a:pt x="4019" y="792"/>
                  <a:pt x="4018" y="792"/>
                </a:cubicBezTo>
                <a:cubicBezTo>
                  <a:pt x="4017" y="791"/>
                  <a:pt x="4016" y="790"/>
                  <a:pt x="4016" y="790"/>
                </a:cubicBezTo>
                <a:cubicBezTo>
                  <a:pt x="4016" y="789"/>
                  <a:pt x="4017" y="788"/>
                  <a:pt x="4018" y="787"/>
                </a:cubicBezTo>
                <a:cubicBezTo>
                  <a:pt x="4019" y="786"/>
                  <a:pt x="4020" y="785"/>
                  <a:pt x="4020" y="785"/>
                </a:cubicBezTo>
                <a:cubicBezTo>
                  <a:pt x="4020" y="785"/>
                  <a:pt x="4020" y="786"/>
                  <a:pt x="4020" y="787"/>
                </a:cubicBezTo>
                <a:cubicBezTo>
                  <a:pt x="4020" y="789"/>
                  <a:pt x="4021" y="789"/>
                  <a:pt x="4021" y="789"/>
                </a:cubicBezTo>
                <a:cubicBezTo>
                  <a:pt x="4022" y="789"/>
                  <a:pt x="4023" y="789"/>
                  <a:pt x="4024" y="788"/>
                </a:cubicBezTo>
                <a:cubicBezTo>
                  <a:pt x="4025" y="787"/>
                  <a:pt x="4025" y="787"/>
                  <a:pt x="4026" y="787"/>
                </a:cubicBezTo>
                <a:cubicBezTo>
                  <a:pt x="4027" y="787"/>
                  <a:pt x="4028" y="787"/>
                  <a:pt x="4028" y="787"/>
                </a:cubicBezTo>
                <a:lnTo>
                  <a:pt x="4029" y="787"/>
                </a:lnTo>
                <a:lnTo>
                  <a:pt x="4028" y="785"/>
                </a:lnTo>
                <a:cubicBezTo>
                  <a:pt x="4028" y="783"/>
                  <a:pt x="4029" y="782"/>
                  <a:pt x="4032" y="780"/>
                </a:cubicBezTo>
                <a:cubicBezTo>
                  <a:pt x="4034" y="779"/>
                  <a:pt x="4035" y="779"/>
                  <a:pt x="4037" y="778"/>
                </a:cubicBezTo>
                <a:cubicBezTo>
                  <a:pt x="4038" y="777"/>
                  <a:pt x="4038" y="776"/>
                  <a:pt x="4038" y="776"/>
                </a:cubicBezTo>
                <a:cubicBezTo>
                  <a:pt x="4038" y="775"/>
                  <a:pt x="4038" y="774"/>
                  <a:pt x="4037" y="774"/>
                </a:cubicBezTo>
                <a:lnTo>
                  <a:pt x="4035" y="776"/>
                </a:lnTo>
                <a:lnTo>
                  <a:pt x="4035" y="775"/>
                </a:lnTo>
                <a:lnTo>
                  <a:pt x="4037" y="772"/>
                </a:lnTo>
                <a:cubicBezTo>
                  <a:pt x="4039" y="771"/>
                  <a:pt x="4040" y="769"/>
                  <a:pt x="4042" y="767"/>
                </a:cubicBezTo>
                <a:cubicBezTo>
                  <a:pt x="4045" y="765"/>
                  <a:pt x="4047" y="764"/>
                  <a:pt x="4049" y="763"/>
                </a:cubicBezTo>
                <a:cubicBezTo>
                  <a:pt x="4050" y="762"/>
                  <a:pt x="4051" y="761"/>
                  <a:pt x="4051" y="761"/>
                </a:cubicBezTo>
                <a:lnTo>
                  <a:pt x="4045" y="762"/>
                </a:lnTo>
                <a:lnTo>
                  <a:pt x="4045" y="761"/>
                </a:lnTo>
                <a:cubicBezTo>
                  <a:pt x="4045" y="761"/>
                  <a:pt x="4046" y="760"/>
                  <a:pt x="4048" y="758"/>
                </a:cubicBezTo>
                <a:cubicBezTo>
                  <a:pt x="4050" y="756"/>
                  <a:pt x="4052" y="754"/>
                  <a:pt x="4053" y="753"/>
                </a:cubicBezTo>
                <a:cubicBezTo>
                  <a:pt x="4054" y="752"/>
                  <a:pt x="4054" y="750"/>
                  <a:pt x="4054" y="750"/>
                </a:cubicBezTo>
                <a:cubicBezTo>
                  <a:pt x="4054" y="749"/>
                  <a:pt x="4055" y="748"/>
                  <a:pt x="4055" y="748"/>
                </a:cubicBezTo>
                <a:cubicBezTo>
                  <a:pt x="4056" y="747"/>
                  <a:pt x="4057" y="747"/>
                  <a:pt x="4058" y="747"/>
                </a:cubicBezTo>
                <a:cubicBezTo>
                  <a:pt x="4059" y="747"/>
                  <a:pt x="4059" y="747"/>
                  <a:pt x="4060" y="746"/>
                </a:cubicBezTo>
                <a:cubicBezTo>
                  <a:pt x="4061" y="745"/>
                  <a:pt x="4061" y="745"/>
                  <a:pt x="4062" y="744"/>
                </a:cubicBezTo>
                <a:lnTo>
                  <a:pt x="4062" y="743"/>
                </a:lnTo>
                <a:cubicBezTo>
                  <a:pt x="4062" y="742"/>
                  <a:pt x="4061" y="742"/>
                  <a:pt x="4061" y="742"/>
                </a:cubicBezTo>
                <a:lnTo>
                  <a:pt x="4060" y="743"/>
                </a:lnTo>
                <a:cubicBezTo>
                  <a:pt x="4059" y="743"/>
                  <a:pt x="4059" y="743"/>
                  <a:pt x="4058" y="743"/>
                </a:cubicBezTo>
                <a:cubicBezTo>
                  <a:pt x="4058" y="743"/>
                  <a:pt x="4058" y="743"/>
                  <a:pt x="4058" y="743"/>
                </a:cubicBezTo>
                <a:cubicBezTo>
                  <a:pt x="4058" y="742"/>
                  <a:pt x="4058" y="742"/>
                  <a:pt x="4059" y="741"/>
                </a:cubicBezTo>
                <a:cubicBezTo>
                  <a:pt x="4060" y="740"/>
                  <a:pt x="4062" y="740"/>
                  <a:pt x="4064" y="739"/>
                </a:cubicBezTo>
                <a:cubicBezTo>
                  <a:pt x="4066" y="738"/>
                  <a:pt x="4067" y="737"/>
                  <a:pt x="4067" y="736"/>
                </a:cubicBezTo>
                <a:cubicBezTo>
                  <a:pt x="4067" y="736"/>
                  <a:pt x="4067" y="736"/>
                  <a:pt x="4066" y="735"/>
                </a:cubicBezTo>
                <a:cubicBezTo>
                  <a:pt x="4065" y="735"/>
                  <a:pt x="4065" y="735"/>
                  <a:pt x="4065" y="734"/>
                </a:cubicBezTo>
                <a:cubicBezTo>
                  <a:pt x="4065" y="732"/>
                  <a:pt x="4066" y="731"/>
                  <a:pt x="4067" y="729"/>
                </a:cubicBezTo>
                <a:cubicBezTo>
                  <a:pt x="4069" y="727"/>
                  <a:pt x="4070" y="725"/>
                  <a:pt x="4070" y="724"/>
                </a:cubicBezTo>
                <a:cubicBezTo>
                  <a:pt x="4070" y="724"/>
                  <a:pt x="4070" y="723"/>
                  <a:pt x="4069" y="723"/>
                </a:cubicBezTo>
                <a:cubicBezTo>
                  <a:pt x="4069" y="723"/>
                  <a:pt x="4069" y="723"/>
                  <a:pt x="4069" y="723"/>
                </a:cubicBezTo>
                <a:cubicBezTo>
                  <a:pt x="4069" y="723"/>
                  <a:pt x="4070" y="722"/>
                  <a:pt x="4071" y="720"/>
                </a:cubicBezTo>
                <a:cubicBezTo>
                  <a:pt x="4072" y="718"/>
                  <a:pt x="4074" y="718"/>
                  <a:pt x="4075" y="718"/>
                </a:cubicBezTo>
                <a:cubicBezTo>
                  <a:pt x="4075" y="718"/>
                  <a:pt x="4075" y="718"/>
                  <a:pt x="4076" y="718"/>
                </a:cubicBezTo>
                <a:cubicBezTo>
                  <a:pt x="4076" y="718"/>
                  <a:pt x="4076" y="719"/>
                  <a:pt x="4076" y="719"/>
                </a:cubicBezTo>
                <a:cubicBezTo>
                  <a:pt x="4076" y="720"/>
                  <a:pt x="4075" y="720"/>
                  <a:pt x="4074" y="721"/>
                </a:cubicBezTo>
                <a:lnTo>
                  <a:pt x="4071" y="723"/>
                </a:lnTo>
                <a:cubicBezTo>
                  <a:pt x="4071" y="723"/>
                  <a:pt x="4072" y="723"/>
                  <a:pt x="4073" y="723"/>
                </a:cubicBezTo>
                <a:cubicBezTo>
                  <a:pt x="4075" y="723"/>
                  <a:pt x="4078" y="721"/>
                  <a:pt x="4079" y="719"/>
                </a:cubicBezTo>
                <a:cubicBezTo>
                  <a:pt x="4080" y="716"/>
                  <a:pt x="4081" y="714"/>
                  <a:pt x="4081" y="713"/>
                </a:cubicBezTo>
                <a:cubicBezTo>
                  <a:pt x="4081" y="713"/>
                  <a:pt x="4081" y="712"/>
                  <a:pt x="4080" y="712"/>
                </a:cubicBezTo>
                <a:lnTo>
                  <a:pt x="4078" y="713"/>
                </a:lnTo>
                <a:cubicBezTo>
                  <a:pt x="4076" y="713"/>
                  <a:pt x="4075" y="713"/>
                  <a:pt x="4075" y="712"/>
                </a:cubicBezTo>
                <a:cubicBezTo>
                  <a:pt x="4075" y="711"/>
                  <a:pt x="4075" y="710"/>
                  <a:pt x="4077" y="710"/>
                </a:cubicBezTo>
                <a:cubicBezTo>
                  <a:pt x="4078" y="710"/>
                  <a:pt x="4079" y="709"/>
                  <a:pt x="4080" y="709"/>
                </a:cubicBezTo>
                <a:cubicBezTo>
                  <a:pt x="4081" y="709"/>
                  <a:pt x="4082" y="709"/>
                  <a:pt x="4083" y="708"/>
                </a:cubicBezTo>
                <a:cubicBezTo>
                  <a:pt x="4086" y="707"/>
                  <a:pt x="4089" y="703"/>
                  <a:pt x="4094" y="696"/>
                </a:cubicBezTo>
                <a:cubicBezTo>
                  <a:pt x="4098" y="688"/>
                  <a:pt x="4106" y="675"/>
                  <a:pt x="4117" y="655"/>
                </a:cubicBezTo>
                <a:cubicBezTo>
                  <a:pt x="4128" y="636"/>
                  <a:pt x="4133" y="626"/>
                  <a:pt x="4133" y="625"/>
                </a:cubicBezTo>
                <a:cubicBezTo>
                  <a:pt x="4133" y="623"/>
                  <a:pt x="4133" y="622"/>
                  <a:pt x="4133" y="622"/>
                </a:cubicBezTo>
                <a:lnTo>
                  <a:pt x="4132" y="622"/>
                </a:lnTo>
                <a:cubicBezTo>
                  <a:pt x="4131" y="622"/>
                  <a:pt x="4129" y="624"/>
                  <a:pt x="4128" y="628"/>
                </a:cubicBezTo>
                <a:cubicBezTo>
                  <a:pt x="4127" y="632"/>
                  <a:pt x="4127" y="634"/>
                  <a:pt x="4126" y="634"/>
                </a:cubicBezTo>
                <a:cubicBezTo>
                  <a:pt x="4125" y="634"/>
                  <a:pt x="4124" y="634"/>
                  <a:pt x="4124" y="635"/>
                </a:cubicBezTo>
                <a:cubicBezTo>
                  <a:pt x="4123" y="636"/>
                  <a:pt x="4123" y="636"/>
                  <a:pt x="4123" y="637"/>
                </a:cubicBezTo>
                <a:cubicBezTo>
                  <a:pt x="4123" y="639"/>
                  <a:pt x="4122" y="641"/>
                  <a:pt x="4119" y="644"/>
                </a:cubicBezTo>
                <a:cubicBezTo>
                  <a:pt x="4119" y="644"/>
                  <a:pt x="4117" y="647"/>
                  <a:pt x="4115" y="652"/>
                </a:cubicBezTo>
                <a:cubicBezTo>
                  <a:pt x="4114" y="655"/>
                  <a:pt x="4113" y="657"/>
                  <a:pt x="4111" y="657"/>
                </a:cubicBezTo>
                <a:cubicBezTo>
                  <a:pt x="4110" y="657"/>
                  <a:pt x="4109" y="658"/>
                  <a:pt x="4109" y="660"/>
                </a:cubicBezTo>
                <a:cubicBezTo>
                  <a:pt x="4109" y="663"/>
                  <a:pt x="4109" y="664"/>
                  <a:pt x="4108" y="664"/>
                </a:cubicBezTo>
                <a:cubicBezTo>
                  <a:pt x="4107" y="664"/>
                  <a:pt x="4106" y="664"/>
                  <a:pt x="4106" y="665"/>
                </a:cubicBezTo>
                <a:lnTo>
                  <a:pt x="4107" y="666"/>
                </a:lnTo>
                <a:cubicBezTo>
                  <a:pt x="4107" y="667"/>
                  <a:pt x="4106" y="668"/>
                  <a:pt x="4105" y="668"/>
                </a:cubicBezTo>
                <a:cubicBezTo>
                  <a:pt x="4104" y="668"/>
                  <a:pt x="4103" y="669"/>
                  <a:pt x="4103" y="672"/>
                </a:cubicBezTo>
                <a:cubicBezTo>
                  <a:pt x="4103" y="673"/>
                  <a:pt x="4103" y="673"/>
                  <a:pt x="4103" y="674"/>
                </a:cubicBezTo>
                <a:cubicBezTo>
                  <a:pt x="4102" y="675"/>
                  <a:pt x="4102" y="675"/>
                  <a:pt x="4101" y="675"/>
                </a:cubicBezTo>
                <a:cubicBezTo>
                  <a:pt x="4101" y="675"/>
                  <a:pt x="4100" y="675"/>
                  <a:pt x="4100" y="676"/>
                </a:cubicBezTo>
                <a:cubicBezTo>
                  <a:pt x="4099" y="677"/>
                  <a:pt x="4099" y="677"/>
                  <a:pt x="4099" y="678"/>
                </a:cubicBezTo>
                <a:cubicBezTo>
                  <a:pt x="4099" y="679"/>
                  <a:pt x="4099" y="680"/>
                  <a:pt x="4098" y="681"/>
                </a:cubicBezTo>
                <a:cubicBezTo>
                  <a:pt x="4097" y="682"/>
                  <a:pt x="4095" y="685"/>
                  <a:pt x="4091" y="690"/>
                </a:cubicBezTo>
                <a:cubicBezTo>
                  <a:pt x="4090" y="692"/>
                  <a:pt x="4089" y="694"/>
                  <a:pt x="4088" y="695"/>
                </a:cubicBezTo>
                <a:cubicBezTo>
                  <a:pt x="4087" y="697"/>
                  <a:pt x="4087" y="697"/>
                  <a:pt x="4087" y="698"/>
                </a:cubicBezTo>
                <a:cubicBezTo>
                  <a:pt x="4086" y="698"/>
                  <a:pt x="4086" y="699"/>
                  <a:pt x="4084" y="700"/>
                </a:cubicBezTo>
                <a:lnTo>
                  <a:pt x="4084" y="699"/>
                </a:lnTo>
                <a:cubicBezTo>
                  <a:pt x="4084" y="697"/>
                  <a:pt x="4086" y="693"/>
                  <a:pt x="4089" y="688"/>
                </a:cubicBezTo>
                <a:lnTo>
                  <a:pt x="4092" y="683"/>
                </a:lnTo>
                <a:cubicBezTo>
                  <a:pt x="4095" y="679"/>
                  <a:pt x="4096" y="676"/>
                  <a:pt x="4097" y="675"/>
                </a:cubicBezTo>
                <a:cubicBezTo>
                  <a:pt x="4098" y="674"/>
                  <a:pt x="4100" y="670"/>
                  <a:pt x="4103" y="665"/>
                </a:cubicBezTo>
                <a:cubicBezTo>
                  <a:pt x="4105" y="663"/>
                  <a:pt x="4107" y="659"/>
                  <a:pt x="4109" y="654"/>
                </a:cubicBezTo>
                <a:cubicBezTo>
                  <a:pt x="4110" y="651"/>
                  <a:pt x="4111" y="650"/>
                  <a:pt x="4112" y="650"/>
                </a:cubicBezTo>
                <a:cubicBezTo>
                  <a:pt x="4113" y="650"/>
                  <a:pt x="4113" y="649"/>
                  <a:pt x="4113" y="648"/>
                </a:cubicBezTo>
                <a:lnTo>
                  <a:pt x="4113" y="647"/>
                </a:lnTo>
                <a:cubicBezTo>
                  <a:pt x="4113" y="646"/>
                  <a:pt x="4114" y="645"/>
                  <a:pt x="4115" y="644"/>
                </a:cubicBezTo>
                <a:cubicBezTo>
                  <a:pt x="4117" y="644"/>
                  <a:pt x="4118" y="643"/>
                  <a:pt x="4118" y="642"/>
                </a:cubicBezTo>
                <a:lnTo>
                  <a:pt x="4117" y="640"/>
                </a:lnTo>
                <a:cubicBezTo>
                  <a:pt x="4117" y="639"/>
                  <a:pt x="4117" y="639"/>
                  <a:pt x="4118" y="639"/>
                </a:cubicBezTo>
                <a:cubicBezTo>
                  <a:pt x="4119" y="639"/>
                  <a:pt x="4120" y="638"/>
                  <a:pt x="4120" y="638"/>
                </a:cubicBezTo>
                <a:lnTo>
                  <a:pt x="4119" y="636"/>
                </a:lnTo>
                <a:cubicBezTo>
                  <a:pt x="4119" y="635"/>
                  <a:pt x="4120" y="634"/>
                  <a:pt x="4122" y="633"/>
                </a:cubicBezTo>
                <a:cubicBezTo>
                  <a:pt x="4124" y="632"/>
                  <a:pt x="4125" y="629"/>
                  <a:pt x="4126" y="626"/>
                </a:cubicBezTo>
                <a:cubicBezTo>
                  <a:pt x="4126" y="624"/>
                  <a:pt x="4127" y="622"/>
                  <a:pt x="4129" y="620"/>
                </a:cubicBezTo>
                <a:cubicBezTo>
                  <a:pt x="4131" y="618"/>
                  <a:pt x="4132" y="616"/>
                  <a:pt x="4132" y="614"/>
                </a:cubicBezTo>
                <a:cubicBezTo>
                  <a:pt x="4133" y="612"/>
                  <a:pt x="4134" y="610"/>
                  <a:pt x="4135" y="608"/>
                </a:cubicBezTo>
                <a:cubicBezTo>
                  <a:pt x="4137" y="607"/>
                  <a:pt x="4137" y="605"/>
                  <a:pt x="4137" y="605"/>
                </a:cubicBezTo>
                <a:cubicBezTo>
                  <a:pt x="4137" y="604"/>
                  <a:pt x="4137" y="604"/>
                  <a:pt x="4137" y="604"/>
                </a:cubicBezTo>
                <a:cubicBezTo>
                  <a:pt x="4137" y="604"/>
                  <a:pt x="4136" y="604"/>
                  <a:pt x="4136" y="604"/>
                </a:cubicBezTo>
                <a:cubicBezTo>
                  <a:pt x="4136" y="603"/>
                  <a:pt x="4137" y="602"/>
                  <a:pt x="4140" y="599"/>
                </a:cubicBezTo>
                <a:cubicBezTo>
                  <a:pt x="4143" y="596"/>
                  <a:pt x="4144" y="595"/>
                  <a:pt x="4144" y="593"/>
                </a:cubicBezTo>
                <a:lnTo>
                  <a:pt x="4144" y="593"/>
                </a:lnTo>
                <a:cubicBezTo>
                  <a:pt x="4144" y="592"/>
                  <a:pt x="4145" y="590"/>
                  <a:pt x="4147" y="588"/>
                </a:cubicBezTo>
                <a:cubicBezTo>
                  <a:pt x="4149" y="585"/>
                  <a:pt x="4150" y="584"/>
                  <a:pt x="4151" y="584"/>
                </a:cubicBezTo>
                <a:cubicBezTo>
                  <a:pt x="4151" y="584"/>
                  <a:pt x="4151" y="584"/>
                  <a:pt x="4151" y="584"/>
                </a:cubicBezTo>
                <a:cubicBezTo>
                  <a:pt x="4151" y="585"/>
                  <a:pt x="4151" y="587"/>
                  <a:pt x="4150" y="589"/>
                </a:cubicBezTo>
                <a:cubicBezTo>
                  <a:pt x="4147" y="595"/>
                  <a:pt x="4144" y="600"/>
                  <a:pt x="4143" y="602"/>
                </a:cubicBezTo>
                <a:cubicBezTo>
                  <a:pt x="4141" y="603"/>
                  <a:pt x="4139" y="606"/>
                  <a:pt x="4137" y="611"/>
                </a:cubicBezTo>
                <a:lnTo>
                  <a:pt x="4134" y="621"/>
                </a:lnTo>
                <a:cubicBezTo>
                  <a:pt x="4135" y="621"/>
                  <a:pt x="4138" y="617"/>
                  <a:pt x="4143" y="608"/>
                </a:cubicBezTo>
                <a:cubicBezTo>
                  <a:pt x="4148" y="600"/>
                  <a:pt x="4151" y="595"/>
                  <a:pt x="4151" y="595"/>
                </a:cubicBezTo>
                <a:cubicBezTo>
                  <a:pt x="4151" y="595"/>
                  <a:pt x="4152" y="595"/>
                  <a:pt x="4152" y="595"/>
                </a:cubicBezTo>
                <a:cubicBezTo>
                  <a:pt x="4152" y="597"/>
                  <a:pt x="4151" y="600"/>
                  <a:pt x="4148" y="605"/>
                </a:cubicBezTo>
                <a:cubicBezTo>
                  <a:pt x="4136" y="631"/>
                  <a:pt x="4118" y="663"/>
                  <a:pt x="4094" y="700"/>
                </a:cubicBezTo>
                <a:cubicBezTo>
                  <a:pt x="4068" y="742"/>
                  <a:pt x="4048" y="771"/>
                  <a:pt x="4033" y="786"/>
                </a:cubicBezTo>
                <a:cubicBezTo>
                  <a:pt x="4028" y="791"/>
                  <a:pt x="4026" y="794"/>
                  <a:pt x="4026" y="795"/>
                </a:cubicBezTo>
                <a:cubicBezTo>
                  <a:pt x="4026" y="796"/>
                  <a:pt x="4027" y="797"/>
                  <a:pt x="4030" y="797"/>
                </a:cubicBezTo>
                <a:lnTo>
                  <a:pt x="4032" y="797"/>
                </a:lnTo>
                <a:cubicBezTo>
                  <a:pt x="4035" y="797"/>
                  <a:pt x="4037" y="797"/>
                  <a:pt x="4037" y="796"/>
                </a:cubicBezTo>
                <a:lnTo>
                  <a:pt x="4037" y="795"/>
                </a:lnTo>
                <a:cubicBezTo>
                  <a:pt x="4037" y="794"/>
                  <a:pt x="4037" y="794"/>
                  <a:pt x="4038" y="794"/>
                </a:cubicBezTo>
                <a:cubicBezTo>
                  <a:pt x="4040" y="794"/>
                  <a:pt x="4043" y="791"/>
                  <a:pt x="4048" y="786"/>
                </a:cubicBezTo>
                <a:lnTo>
                  <a:pt x="4050" y="781"/>
                </a:lnTo>
                <a:lnTo>
                  <a:pt x="4050" y="780"/>
                </a:lnTo>
                <a:cubicBezTo>
                  <a:pt x="4050" y="779"/>
                  <a:pt x="4050" y="778"/>
                  <a:pt x="4051" y="777"/>
                </a:cubicBezTo>
                <a:cubicBezTo>
                  <a:pt x="4052" y="775"/>
                  <a:pt x="4054" y="774"/>
                  <a:pt x="4054" y="774"/>
                </a:cubicBezTo>
                <a:lnTo>
                  <a:pt x="4056" y="775"/>
                </a:lnTo>
                <a:cubicBezTo>
                  <a:pt x="4057" y="775"/>
                  <a:pt x="4060" y="771"/>
                  <a:pt x="4067" y="762"/>
                </a:cubicBezTo>
                <a:cubicBezTo>
                  <a:pt x="4069" y="760"/>
                  <a:pt x="4070" y="758"/>
                  <a:pt x="4071" y="757"/>
                </a:cubicBezTo>
                <a:cubicBezTo>
                  <a:pt x="4074" y="755"/>
                  <a:pt x="4075" y="752"/>
                  <a:pt x="4075" y="751"/>
                </a:cubicBezTo>
                <a:cubicBezTo>
                  <a:pt x="4075" y="750"/>
                  <a:pt x="4076" y="748"/>
                  <a:pt x="4078" y="747"/>
                </a:cubicBezTo>
                <a:cubicBezTo>
                  <a:pt x="4080" y="745"/>
                  <a:pt x="4081" y="743"/>
                  <a:pt x="4081" y="739"/>
                </a:cubicBezTo>
                <a:cubicBezTo>
                  <a:pt x="4081" y="736"/>
                  <a:pt x="4081" y="734"/>
                  <a:pt x="4083" y="734"/>
                </a:cubicBezTo>
                <a:cubicBezTo>
                  <a:pt x="4084" y="734"/>
                  <a:pt x="4086" y="732"/>
                  <a:pt x="4088" y="730"/>
                </a:cubicBezTo>
                <a:cubicBezTo>
                  <a:pt x="4094" y="723"/>
                  <a:pt x="4097" y="718"/>
                  <a:pt x="4097" y="716"/>
                </a:cubicBezTo>
                <a:lnTo>
                  <a:pt x="4093" y="720"/>
                </a:lnTo>
                <a:cubicBezTo>
                  <a:pt x="4092" y="721"/>
                  <a:pt x="4092" y="722"/>
                  <a:pt x="4091" y="722"/>
                </a:cubicBezTo>
                <a:cubicBezTo>
                  <a:pt x="4091" y="722"/>
                  <a:pt x="4090" y="722"/>
                  <a:pt x="4090" y="721"/>
                </a:cubicBezTo>
                <a:cubicBezTo>
                  <a:pt x="4090" y="721"/>
                  <a:pt x="4091" y="720"/>
                  <a:pt x="4092" y="718"/>
                </a:cubicBezTo>
                <a:cubicBezTo>
                  <a:pt x="4092" y="717"/>
                  <a:pt x="4094" y="715"/>
                  <a:pt x="4095" y="713"/>
                </a:cubicBezTo>
                <a:cubicBezTo>
                  <a:pt x="4096" y="712"/>
                  <a:pt x="4097" y="710"/>
                  <a:pt x="4097" y="710"/>
                </a:cubicBezTo>
                <a:cubicBezTo>
                  <a:pt x="4097" y="710"/>
                  <a:pt x="4097" y="709"/>
                  <a:pt x="4097" y="709"/>
                </a:cubicBezTo>
                <a:cubicBezTo>
                  <a:pt x="4096" y="709"/>
                  <a:pt x="4096" y="709"/>
                  <a:pt x="4096" y="709"/>
                </a:cubicBezTo>
                <a:cubicBezTo>
                  <a:pt x="4096" y="708"/>
                  <a:pt x="4097" y="707"/>
                  <a:pt x="4099" y="705"/>
                </a:cubicBezTo>
                <a:cubicBezTo>
                  <a:pt x="4102" y="702"/>
                  <a:pt x="4103" y="699"/>
                  <a:pt x="4103" y="698"/>
                </a:cubicBezTo>
                <a:cubicBezTo>
                  <a:pt x="4103" y="696"/>
                  <a:pt x="4104" y="695"/>
                  <a:pt x="4107" y="693"/>
                </a:cubicBezTo>
                <a:cubicBezTo>
                  <a:pt x="4109" y="691"/>
                  <a:pt x="4110" y="689"/>
                  <a:pt x="4110" y="686"/>
                </a:cubicBezTo>
                <a:cubicBezTo>
                  <a:pt x="4111" y="684"/>
                  <a:pt x="4112" y="682"/>
                  <a:pt x="4114" y="680"/>
                </a:cubicBezTo>
                <a:cubicBezTo>
                  <a:pt x="4117" y="679"/>
                  <a:pt x="4118" y="674"/>
                  <a:pt x="4118" y="667"/>
                </a:cubicBezTo>
                <a:cubicBezTo>
                  <a:pt x="4118" y="667"/>
                  <a:pt x="4118" y="666"/>
                  <a:pt x="4119" y="666"/>
                </a:cubicBezTo>
                <a:lnTo>
                  <a:pt x="4121" y="667"/>
                </a:lnTo>
                <a:cubicBezTo>
                  <a:pt x="4121" y="667"/>
                  <a:pt x="4121" y="667"/>
                  <a:pt x="4121" y="666"/>
                </a:cubicBezTo>
                <a:lnTo>
                  <a:pt x="4121" y="664"/>
                </a:lnTo>
                <a:cubicBezTo>
                  <a:pt x="4121" y="661"/>
                  <a:pt x="4122" y="660"/>
                  <a:pt x="4123" y="659"/>
                </a:cubicBezTo>
                <a:cubicBezTo>
                  <a:pt x="4124" y="659"/>
                  <a:pt x="4125" y="657"/>
                  <a:pt x="4127" y="653"/>
                </a:cubicBezTo>
                <a:cubicBezTo>
                  <a:pt x="4128" y="648"/>
                  <a:pt x="4131" y="644"/>
                  <a:pt x="4134" y="639"/>
                </a:cubicBezTo>
                <a:cubicBezTo>
                  <a:pt x="4137" y="634"/>
                  <a:pt x="4139" y="630"/>
                  <a:pt x="4141" y="627"/>
                </a:cubicBezTo>
                <a:cubicBezTo>
                  <a:pt x="4142" y="624"/>
                  <a:pt x="4143" y="622"/>
                  <a:pt x="4144" y="622"/>
                </a:cubicBezTo>
                <a:cubicBezTo>
                  <a:pt x="4145" y="622"/>
                  <a:pt x="4146" y="622"/>
                  <a:pt x="4146" y="621"/>
                </a:cubicBezTo>
                <a:lnTo>
                  <a:pt x="4145" y="619"/>
                </a:lnTo>
                <a:cubicBezTo>
                  <a:pt x="4145" y="618"/>
                  <a:pt x="4146" y="617"/>
                  <a:pt x="4147" y="615"/>
                </a:cubicBezTo>
                <a:cubicBezTo>
                  <a:pt x="4148" y="614"/>
                  <a:pt x="4149" y="612"/>
                  <a:pt x="4150" y="609"/>
                </a:cubicBezTo>
                <a:cubicBezTo>
                  <a:pt x="4152" y="606"/>
                  <a:pt x="4153" y="604"/>
                  <a:pt x="4154" y="603"/>
                </a:cubicBezTo>
                <a:cubicBezTo>
                  <a:pt x="4155" y="602"/>
                  <a:pt x="4156" y="601"/>
                  <a:pt x="4156" y="599"/>
                </a:cubicBezTo>
                <a:lnTo>
                  <a:pt x="4156" y="597"/>
                </a:lnTo>
                <a:cubicBezTo>
                  <a:pt x="4156" y="595"/>
                  <a:pt x="4157" y="594"/>
                  <a:pt x="4158" y="593"/>
                </a:cubicBezTo>
                <a:cubicBezTo>
                  <a:pt x="4160" y="592"/>
                  <a:pt x="4161" y="591"/>
                  <a:pt x="4161" y="590"/>
                </a:cubicBezTo>
                <a:cubicBezTo>
                  <a:pt x="4161" y="590"/>
                  <a:pt x="4161" y="589"/>
                  <a:pt x="4160" y="589"/>
                </a:cubicBezTo>
                <a:cubicBezTo>
                  <a:pt x="4160" y="587"/>
                  <a:pt x="4161" y="585"/>
                  <a:pt x="4163" y="584"/>
                </a:cubicBezTo>
                <a:cubicBezTo>
                  <a:pt x="4164" y="583"/>
                  <a:pt x="4165" y="582"/>
                  <a:pt x="4165" y="581"/>
                </a:cubicBezTo>
                <a:lnTo>
                  <a:pt x="4165" y="581"/>
                </a:lnTo>
                <a:cubicBezTo>
                  <a:pt x="4164" y="580"/>
                  <a:pt x="4164" y="579"/>
                  <a:pt x="4162" y="579"/>
                </a:cubicBezTo>
                <a:lnTo>
                  <a:pt x="4160" y="580"/>
                </a:lnTo>
                <a:cubicBezTo>
                  <a:pt x="4159" y="580"/>
                  <a:pt x="4158" y="580"/>
                  <a:pt x="4158" y="579"/>
                </a:cubicBezTo>
                <a:lnTo>
                  <a:pt x="4159" y="578"/>
                </a:lnTo>
                <a:cubicBezTo>
                  <a:pt x="4159" y="577"/>
                  <a:pt x="4159" y="576"/>
                  <a:pt x="4158" y="576"/>
                </a:cubicBezTo>
                <a:cubicBezTo>
                  <a:pt x="4157" y="575"/>
                  <a:pt x="4157" y="575"/>
                  <a:pt x="4156" y="575"/>
                </a:cubicBezTo>
                <a:cubicBezTo>
                  <a:pt x="4156" y="575"/>
                  <a:pt x="4156" y="576"/>
                  <a:pt x="4156" y="577"/>
                </a:cubicBezTo>
                <a:cubicBezTo>
                  <a:pt x="4156" y="578"/>
                  <a:pt x="4155" y="579"/>
                  <a:pt x="4154" y="580"/>
                </a:cubicBezTo>
                <a:cubicBezTo>
                  <a:pt x="4154" y="580"/>
                  <a:pt x="4153" y="581"/>
                  <a:pt x="4152" y="581"/>
                </a:cubicBezTo>
                <a:cubicBezTo>
                  <a:pt x="4151" y="581"/>
                  <a:pt x="4150" y="581"/>
                  <a:pt x="4150" y="580"/>
                </a:cubicBezTo>
                <a:cubicBezTo>
                  <a:pt x="4150" y="580"/>
                  <a:pt x="4151" y="579"/>
                  <a:pt x="4152" y="577"/>
                </a:cubicBezTo>
                <a:cubicBezTo>
                  <a:pt x="4154" y="576"/>
                  <a:pt x="4154" y="574"/>
                  <a:pt x="4154" y="573"/>
                </a:cubicBezTo>
                <a:lnTo>
                  <a:pt x="4154" y="570"/>
                </a:lnTo>
                <a:cubicBezTo>
                  <a:pt x="4154" y="570"/>
                  <a:pt x="4154" y="570"/>
                  <a:pt x="4154" y="570"/>
                </a:cubicBezTo>
                <a:cubicBezTo>
                  <a:pt x="4156" y="570"/>
                  <a:pt x="4158" y="571"/>
                  <a:pt x="4160" y="573"/>
                </a:cubicBezTo>
                <a:cubicBezTo>
                  <a:pt x="4162" y="575"/>
                  <a:pt x="4163" y="576"/>
                  <a:pt x="4164" y="576"/>
                </a:cubicBezTo>
                <a:cubicBezTo>
                  <a:pt x="4165" y="576"/>
                  <a:pt x="4166" y="576"/>
                  <a:pt x="4168" y="574"/>
                </a:cubicBezTo>
                <a:cubicBezTo>
                  <a:pt x="4169" y="572"/>
                  <a:pt x="4170" y="571"/>
                  <a:pt x="4170" y="571"/>
                </a:cubicBezTo>
                <a:cubicBezTo>
                  <a:pt x="4170" y="571"/>
                  <a:pt x="4170" y="570"/>
                  <a:pt x="4170" y="570"/>
                </a:cubicBezTo>
                <a:cubicBezTo>
                  <a:pt x="4169" y="570"/>
                  <a:pt x="4169" y="570"/>
                  <a:pt x="4169" y="570"/>
                </a:cubicBezTo>
                <a:cubicBezTo>
                  <a:pt x="4168" y="570"/>
                  <a:pt x="4167" y="571"/>
                  <a:pt x="4165" y="572"/>
                </a:cubicBezTo>
                <a:cubicBezTo>
                  <a:pt x="4164" y="573"/>
                  <a:pt x="4163" y="574"/>
                  <a:pt x="4162" y="574"/>
                </a:cubicBezTo>
                <a:cubicBezTo>
                  <a:pt x="4162" y="574"/>
                  <a:pt x="4162" y="574"/>
                  <a:pt x="4162" y="573"/>
                </a:cubicBezTo>
                <a:cubicBezTo>
                  <a:pt x="4162" y="573"/>
                  <a:pt x="4162" y="572"/>
                  <a:pt x="4162" y="571"/>
                </a:cubicBezTo>
                <a:cubicBezTo>
                  <a:pt x="4163" y="571"/>
                  <a:pt x="4163" y="570"/>
                  <a:pt x="4163" y="569"/>
                </a:cubicBezTo>
                <a:cubicBezTo>
                  <a:pt x="4163" y="568"/>
                  <a:pt x="4163" y="567"/>
                  <a:pt x="4162" y="566"/>
                </a:cubicBezTo>
                <a:cubicBezTo>
                  <a:pt x="4161" y="566"/>
                  <a:pt x="4161" y="565"/>
                  <a:pt x="4161" y="564"/>
                </a:cubicBezTo>
                <a:cubicBezTo>
                  <a:pt x="4161" y="563"/>
                  <a:pt x="4161" y="563"/>
                  <a:pt x="4162" y="561"/>
                </a:cubicBezTo>
                <a:cubicBezTo>
                  <a:pt x="4163" y="560"/>
                  <a:pt x="4164" y="559"/>
                  <a:pt x="4166" y="559"/>
                </a:cubicBezTo>
                <a:lnTo>
                  <a:pt x="4167" y="560"/>
                </a:lnTo>
                <a:cubicBezTo>
                  <a:pt x="4167" y="560"/>
                  <a:pt x="4168" y="559"/>
                  <a:pt x="4168" y="559"/>
                </a:cubicBezTo>
                <a:cubicBezTo>
                  <a:pt x="4168" y="558"/>
                  <a:pt x="4167" y="558"/>
                  <a:pt x="4167" y="557"/>
                </a:cubicBezTo>
                <a:cubicBezTo>
                  <a:pt x="4167" y="556"/>
                  <a:pt x="4166" y="555"/>
                  <a:pt x="4166" y="554"/>
                </a:cubicBezTo>
                <a:cubicBezTo>
                  <a:pt x="4166" y="552"/>
                  <a:pt x="4167" y="550"/>
                  <a:pt x="4169" y="550"/>
                </a:cubicBezTo>
                <a:cubicBezTo>
                  <a:pt x="4170" y="550"/>
                  <a:pt x="4171" y="551"/>
                  <a:pt x="4172" y="551"/>
                </a:cubicBezTo>
                <a:cubicBezTo>
                  <a:pt x="4173" y="553"/>
                  <a:pt x="4174" y="553"/>
                  <a:pt x="4175" y="553"/>
                </a:cubicBezTo>
                <a:cubicBezTo>
                  <a:pt x="4176" y="553"/>
                  <a:pt x="4176" y="553"/>
                  <a:pt x="4176" y="553"/>
                </a:cubicBezTo>
                <a:lnTo>
                  <a:pt x="4176" y="552"/>
                </a:lnTo>
                <a:cubicBezTo>
                  <a:pt x="4176" y="551"/>
                  <a:pt x="4176" y="551"/>
                  <a:pt x="4175" y="551"/>
                </a:cubicBezTo>
                <a:cubicBezTo>
                  <a:pt x="4174" y="551"/>
                  <a:pt x="4174" y="551"/>
                  <a:pt x="4174" y="550"/>
                </a:cubicBezTo>
                <a:lnTo>
                  <a:pt x="4175" y="548"/>
                </a:lnTo>
                <a:cubicBezTo>
                  <a:pt x="4175" y="547"/>
                  <a:pt x="4174" y="547"/>
                  <a:pt x="4174" y="547"/>
                </a:cubicBezTo>
                <a:lnTo>
                  <a:pt x="4172" y="548"/>
                </a:lnTo>
                <a:cubicBezTo>
                  <a:pt x="4171" y="548"/>
                  <a:pt x="4170" y="547"/>
                  <a:pt x="4170" y="546"/>
                </a:cubicBezTo>
                <a:cubicBezTo>
                  <a:pt x="4170" y="544"/>
                  <a:pt x="4171" y="543"/>
                  <a:pt x="4172" y="542"/>
                </a:cubicBezTo>
                <a:cubicBezTo>
                  <a:pt x="4173" y="541"/>
                  <a:pt x="4173" y="541"/>
                  <a:pt x="4174" y="541"/>
                </a:cubicBezTo>
                <a:cubicBezTo>
                  <a:pt x="4175" y="541"/>
                  <a:pt x="4176" y="541"/>
                  <a:pt x="4176" y="542"/>
                </a:cubicBezTo>
                <a:cubicBezTo>
                  <a:pt x="4177" y="544"/>
                  <a:pt x="4178" y="544"/>
                  <a:pt x="4180" y="544"/>
                </a:cubicBezTo>
                <a:cubicBezTo>
                  <a:pt x="4180" y="544"/>
                  <a:pt x="4180" y="544"/>
                  <a:pt x="4180" y="544"/>
                </a:cubicBezTo>
                <a:cubicBezTo>
                  <a:pt x="4180" y="543"/>
                  <a:pt x="4180" y="542"/>
                  <a:pt x="4178" y="541"/>
                </a:cubicBezTo>
                <a:cubicBezTo>
                  <a:pt x="4177" y="539"/>
                  <a:pt x="4176" y="537"/>
                  <a:pt x="4176" y="534"/>
                </a:cubicBezTo>
                <a:cubicBezTo>
                  <a:pt x="4176" y="532"/>
                  <a:pt x="4176" y="530"/>
                  <a:pt x="4177" y="528"/>
                </a:cubicBezTo>
                <a:cubicBezTo>
                  <a:pt x="4178" y="526"/>
                  <a:pt x="4179" y="525"/>
                  <a:pt x="4180" y="525"/>
                </a:cubicBezTo>
                <a:lnTo>
                  <a:pt x="4181" y="525"/>
                </a:lnTo>
                <a:cubicBezTo>
                  <a:pt x="4183" y="525"/>
                  <a:pt x="4184" y="524"/>
                  <a:pt x="4186" y="522"/>
                </a:cubicBezTo>
                <a:lnTo>
                  <a:pt x="4188" y="519"/>
                </a:lnTo>
                <a:cubicBezTo>
                  <a:pt x="4188" y="519"/>
                  <a:pt x="4187" y="520"/>
                  <a:pt x="4186" y="521"/>
                </a:cubicBezTo>
                <a:cubicBezTo>
                  <a:pt x="4184" y="522"/>
                  <a:pt x="4183" y="523"/>
                  <a:pt x="4182" y="523"/>
                </a:cubicBezTo>
                <a:cubicBezTo>
                  <a:pt x="4182" y="523"/>
                  <a:pt x="4181" y="522"/>
                  <a:pt x="4181" y="521"/>
                </a:cubicBezTo>
                <a:cubicBezTo>
                  <a:pt x="4181" y="518"/>
                  <a:pt x="4183" y="516"/>
                  <a:pt x="4185" y="513"/>
                </a:cubicBezTo>
                <a:cubicBezTo>
                  <a:pt x="4185" y="512"/>
                  <a:pt x="4186" y="512"/>
                  <a:pt x="4186" y="512"/>
                </a:cubicBezTo>
                <a:cubicBezTo>
                  <a:pt x="4187" y="512"/>
                  <a:pt x="4187" y="513"/>
                  <a:pt x="4187" y="514"/>
                </a:cubicBezTo>
                <a:lnTo>
                  <a:pt x="4186" y="517"/>
                </a:lnTo>
                <a:cubicBezTo>
                  <a:pt x="4186" y="517"/>
                  <a:pt x="4187" y="517"/>
                  <a:pt x="4188" y="516"/>
                </a:cubicBezTo>
                <a:cubicBezTo>
                  <a:pt x="4189" y="515"/>
                  <a:pt x="4189" y="514"/>
                  <a:pt x="4189" y="514"/>
                </a:cubicBezTo>
                <a:cubicBezTo>
                  <a:pt x="4189" y="513"/>
                  <a:pt x="4189" y="512"/>
                  <a:pt x="4189" y="512"/>
                </a:cubicBezTo>
                <a:cubicBezTo>
                  <a:pt x="4188" y="512"/>
                  <a:pt x="4188" y="511"/>
                  <a:pt x="4188" y="509"/>
                </a:cubicBezTo>
                <a:cubicBezTo>
                  <a:pt x="4188" y="507"/>
                  <a:pt x="4188" y="505"/>
                  <a:pt x="4189" y="502"/>
                </a:cubicBezTo>
                <a:cubicBezTo>
                  <a:pt x="4190" y="499"/>
                  <a:pt x="4191" y="497"/>
                  <a:pt x="4192" y="495"/>
                </a:cubicBezTo>
                <a:cubicBezTo>
                  <a:pt x="4193" y="493"/>
                  <a:pt x="4194" y="492"/>
                  <a:pt x="4195" y="492"/>
                </a:cubicBezTo>
                <a:cubicBezTo>
                  <a:pt x="4196" y="492"/>
                  <a:pt x="4196" y="491"/>
                  <a:pt x="4196" y="491"/>
                </a:cubicBezTo>
                <a:lnTo>
                  <a:pt x="4196" y="488"/>
                </a:lnTo>
                <a:cubicBezTo>
                  <a:pt x="4196" y="485"/>
                  <a:pt x="4198" y="479"/>
                  <a:pt x="4202" y="470"/>
                </a:cubicBezTo>
                <a:cubicBezTo>
                  <a:pt x="4208" y="455"/>
                  <a:pt x="4211" y="446"/>
                  <a:pt x="4213" y="441"/>
                </a:cubicBezTo>
                <a:cubicBezTo>
                  <a:pt x="4214" y="438"/>
                  <a:pt x="4215" y="435"/>
                  <a:pt x="4216" y="433"/>
                </a:cubicBezTo>
                <a:cubicBezTo>
                  <a:pt x="4218" y="431"/>
                  <a:pt x="4218" y="430"/>
                  <a:pt x="4219" y="430"/>
                </a:cubicBezTo>
                <a:cubicBezTo>
                  <a:pt x="4219" y="430"/>
                  <a:pt x="4220" y="429"/>
                  <a:pt x="4220" y="429"/>
                </a:cubicBezTo>
                <a:lnTo>
                  <a:pt x="4220" y="427"/>
                </a:lnTo>
                <a:cubicBezTo>
                  <a:pt x="4220" y="421"/>
                  <a:pt x="4223" y="409"/>
                  <a:pt x="4231" y="391"/>
                </a:cubicBezTo>
                <a:cubicBezTo>
                  <a:pt x="4238" y="372"/>
                  <a:pt x="4243" y="363"/>
                  <a:pt x="4244" y="363"/>
                </a:cubicBezTo>
                <a:cubicBezTo>
                  <a:pt x="4246" y="363"/>
                  <a:pt x="4246" y="362"/>
                  <a:pt x="4246" y="360"/>
                </a:cubicBezTo>
                <a:cubicBezTo>
                  <a:pt x="4246" y="358"/>
                  <a:pt x="4248" y="357"/>
                  <a:pt x="4250" y="357"/>
                </a:cubicBezTo>
                <a:cubicBezTo>
                  <a:pt x="4252" y="357"/>
                  <a:pt x="4253" y="356"/>
                  <a:pt x="4253" y="354"/>
                </a:cubicBezTo>
                <a:cubicBezTo>
                  <a:pt x="4253" y="353"/>
                  <a:pt x="4253" y="353"/>
                  <a:pt x="4252" y="353"/>
                </a:cubicBezTo>
                <a:lnTo>
                  <a:pt x="4249" y="353"/>
                </a:lnTo>
                <a:cubicBezTo>
                  <a:pt x="4249" y="353"/>
                  <a:pt x="4250" y="353"/>
                  <a:pt x="4251" y="351"/>
                </a:cubicBezTo>
                <a:cubicBezTo>
                  <a:pt x="4253" y="350"/>
                  <a:pt x="4254" y="349"/>
                  <a:pt x="4256" y="348"/>
                </a:cubicBezTo>
                <a:cubicBezTo>
                  <a:pt x="4257" y="348"/>
                  <a:pt x="4258" y="348"/>
                  <a:pt x="4258" y="348"/>
                </a:cubicBezTo>
                <a:cubicBezTo>
                  <a:pt x="4259" y="348"/>
                  <a:pt x="4259" y="347"/>
                  <a:pt x="4259" y="346"/>
                </a:cubicBezTo>
                <a:cubicBezTo>
                  <a:pt x="4259" y="346"/>
                  <a:pt x="4259" y="345"/>
                  <a:pt x="4258" y="344"/>
                </a:cubicBezTo>
                <a:cubicBezTo>
                  <a:pt x="4258" y="344"/>
                  <a:pt x="4258" y="343"/>
                  <a:pt x="4258" y="343"/>
                </a:cubicBezTo>
                <a:cubicBezTo>
                  <a:pt x="4258" y="343"/>
                  <a:pt x="4259" y="343"/>
                  <a:pt x="4260" y="344"/>
                </a:cubicBezTo>
                <a:cubicBezTo>
                  <a:pt x="4261" y="345"/>
                  <a:pt x="4261" y="345"/>
                  <a:pt x="4261" y="346"/>
                </a:cubicBezTo>
                <a:cubicBezTo>
                  <a:pt x="4261" y="347"/>
                  <a:pt x="4261" y="347"/>
                  <a:pt x="4260" y="348"/>
                </a:cubicBezTo>
                <a:lnTo>
                  <a:pt x="4260" y="348"/>
                </a:lnTo>
                <a:cubicBezTo>
                  <a:pt x="4260" y="349"/>
                  <a:pt x="4261" y="350"/>
                  <a:pt x="4262" y="350"/>
                </a:cubicBezTo>
                <a:cubicBezTo>
                  <a:pt x="4263" y="350"/>
                  <a:pt x="4263" y="354"/>
                  <a:pt x="4263" y="362"/>
                </a:cubicBezTo>
                <a:cubicBezTo>
                  <a:pt x="4263" y="376"/>
                  <a:pt x="4262" y="386"/>
                  <a:pt x="4261" y="392"/>
                </a:cubicBezTo>
                <a:cubicBezTo>
                  <a:pt x="4258" y="403"/>
                  <a:pt x="4250" y="426"/>
                  <a:pt x="4237" y="462"/>
                </a:cubicBezTo>
                <a:cubicBezTo>
                  <a:pt x="4223" y="497"/>
                  <a:pt x="4215" y="517"/>
                  <a:pt x="4213" y="520"/>
                </a:cubicBezTo>
                <a:cubicBezTo>
                  <a:pt x="4211" y="522"/>
                  <a:pt x="4211" y="523"/>
                  <a:pt x="4211" y="524"/>
                </a:cubicBezTo>
                <a:cubicBezTo>
                  <a:pt x="4211" y="524"/>
                  <a:pt x="4211" y="524"/>
                  <a:pt x="4211" y="524"/>
                </a:cubicBezTo>
                <a:cubicBezTo>
                  <a:pt x="4211" y="525"/>
                  <a:pt x="4211" y="525"/>
                  <a:pt x="4211" y="525"/>
                </a:cubicBezTo>
                <a:cubicBezTo>
                  <a:pt x="4211" y="526"/>
                  <a:pt x="4211" y="528"/>
                  <a:pt x="4211" y="529"/>
                </a:cubicBezTo>
                <a:cubicBezTo>
                  <a:pt x="4208" y="534"/>
                  <a:pt x="4207" y="536"/>
                  <a:pt x="4206" y="536"/>
                </a:cubicBezTo>
                <a:lnTo>
                  <a:pt x="4205" y="536"/>
                </a:lnTo>
                <a:cubicBezTo>
                  <a:pt x="4203" y="536"/>
                  <a:pt x="4202" y="538"/>
                  <a:pt x="4202" y="542"/>
                </a:cubicBezTo>
                <a:lnTo>
                  <a:pt x="4203" y="546"/>
                </a:lnTo>
                <a:cubicBezTo>
                  <a:pt x="4203" y="546"/>
                  <a:pt x="4203" y="546"/>
                  <a:pt x="4202" y="546"/>
                </a:cubicBezTo>
                <a:lnTo>
                  <a:pt x="4201" y="546"/>
                </a:lnTo>
                <a:cubicBezTo>
                  <a:pt x="4200" y="546"/>
                  <a:pt x="4199" y="546"/>
                  <a:pt x="4198" y="548"/>
                </a:cubicBezTo>
                <a:cubicBezTo>
                  <a:pt x="4198" y="549"/>
                  <a:pt x="4197" y="550"/>
                  <a:pt x="4197" y="552"/>
                </a:cubicBezTo>
                <a:lnTo>
                  <a:pt x="4198" y="555"/>
                </a:lnTo>
                <a:cubicBezTo>
                  <a:pt x="4198" y="555"/>
                  <a:pt x="4198" y="556"/>
                  <a:pt x="4197" y="556"/>
                </a:cubicBezTo>
                <a:cubicBezTo>
                  <a:pt x="4196" y="556"/>
                  <a:pt x="4195" y="556"/>
                  <a:pt x="4195" y="557"/>
                </a:cubicBezTo>
                <a:lnTo>
                  <a:pt x="4196" y="558"/>
                </a:lnTo>
                <a:cubicBezTo>
                  <a:pt x="4196" y="560"/>
                  <a:pt x="4195" y="561"/>
                  <a:pt x="4194" y="561"/>
                </a:cubicBezTo>
                <a:cubicBezTo>
                  <a:pt x="4193" y="561"/>
                  <a:pt x="4193" y="561"/>
                  <a:pt x="4193" y="562"/>
                </a:cubicBezTo>
                <a:lnTo>
                  <a:pt x="4194" y="564"/>
                </a:lnTo>
                <a:cubicBezTo>
                  <a:pt x="4194" y="565"/>
                  <a:pt x="4193" y="565"/>
                  <a:pt x="4192" y="565"/>
                </a:cubicBezTo>
                <a:cubicBezTo>
                  <a:pt x="4191" y="565"/>
                  <a:pt x="4191" y="566"/>
                  <a:pt x="4191" y="567"/>
                </a:cubicBezTo>
                <a:lnTo>
                  <a:pt x="4191" y="569"/>
                </a:lnTo>
                <a:cubicBezTo>
                  <a:pt x="4191" y="570"/>
                  <a:pt x="4191" y="570"/>
                  <a:pt x="4190" y="570"/>
                </a:cubicBezTo>
                <a:cubicBezTo>
                  <a:pt x="4189" y="570"/>
                  <a:pt x="4189" y="570"/>
                  <a:pt x="4189" y="571"/>
                </a:cubicBezTo>
                <a:lnTo>
                  <a:pt x="4189" y="572"/>
                </a:lnTo>
                <a:cubicBezTo>
                  <a:pt x="4189" y="573"/>
                  <a:pt x="4189" y="574"/>
                  <a:pt x="4188" y="574"/>
                </a:cubicBezTo>
                <a:cubicBezTo>
                  <a:pt x="4187" y="574"/>
                  <a:pt x="4187" y="575"/>
                  <a:pt x="4187" y="576"/>
                </a:cubicBezTo>
                <a:lnTo>
                  <a:pt x="4187" y="578"/>
                </a:lnTo>
                <a:cubicBezTo>
                  <a:pt x="4187" y="579"/>
                  <a:pt x="4187" y="579"/>
                  <a:pt x="4186" y="579"/>
                </a:cubicBezTo>
                <a:cubicBezTo>
                  <a:pt x="4185" y="579"/>
                  <a:pt x="4184" y="580"/>
                  <a:pt x="4183" y="581"/>
                </a:cubicBezTo>
                <a:cubicBezTo>
                  <a:pt x="4182" y="582"/>
                  <a:pt x="4181" y="584"/>
                  <a:pt x="4180" y="587"/>
                </a:cubicBezTo>
                <a:cubicBezTo>
                  <a:pt x="4179" y="589"/>
                  <a:pt x="4178" y="591"/>
                  <a:pt x="4178" y="592"/>
                </a:cubicBezTo>
                <a:lnTo>
                  <a:pt x="4181" y="590"/>
                </a:lnTo>
                <a:cubicBezTo>
                  <a:pt x="4181" y="590"/>
                  <a:pt x="4181" y="591"/>
                  <a:pt x="4181" y="591"/>
                </a:cubicBezTo>
                <a:cubicBezTo>
                  <a:pt x="4181" y="592"/>
                  <a:pt x="4180" y="594"/>
                  <a:pt x="4176" y="598"/>
                </a:cubicBezTo>
                <a:lnTo>
                  <a:pt x="4174" y="601"/>
                </a:lnTo>
                <a:lnTo>
                  <a:pt x="4176" y="600"/>
                </a:lnTo>
                <a:cubicBezTo>
                  <a:pt x="4176" y="600"/>
                  <a:pt x="4176" y="600"/>
                  <a:pt x="4176" y="600"/>
                </a:cubicBezTo>
                <a:cubicBezTo>
                  <a:pt x="4176" y="600"/>
                  <a:pt x="4176" y="602"/>
                  <a:pt x="4175" y="603"/>
                </a:cubicBezTo>
                <a:cubicBezTo>
                  <a:pt x="4174" y="605"/>
                  <a:pt x="4173" y="606"/>
                  <a:pt x="4172" y="607"/>
                </a:cubicBezTo>
                <a:cubicBezTo>
                  <a:pt x="4171" y="608"/>
                  <a:pt x="4171" y="609"/>
                  <a:pt x="4170" y="609"/>
                </a:cubicBezTo>
                <a:cubicBezTo>
                  <a:pt x="4169" y="609"/>
                  <a:pt x="4169" y="609"/>
                  <a:pt x="4169" y="610"/>
                </a:cubicBezTo>
                <a:lnTo>
                  <a:pt x="4169" y="611"/>
                </a:lnTo>
                <a:cubicBezTo>
                  <a:pt x="4169" y="613"/>
                  <a:pt x="4168" y="615"/>
                  <a:pt x="4166" y="617"/>
                </a:cubicBezTo>
                <a:cubicBezTo>
                  <a:pt x="4164" y="620"/>
                  <a:pt x="4163" y="622"/>
                  <a:pt x="4163" y="622"/>
                </a:cubicBezTo>
                <a:lnTo>
                  <a:pt x="4164" y="625"/>
                </a:lnTo>
                <a:cubicBezTo>
                  <a:pt x="4164" y="625"/>
                  <a:pt x="4163" y="627"/>
                  <a:pt x="4161" y="628"/>
                </a:cubicBezTo>
                <a:cubicBezTo>
                  <a:pt x="4160" y="630"/>
                  <a:pt x="4159" y="631"/>
                  <a:pt x="4158" y="632"/>
                </a:cubicBezTo>
                <a:cubicBezTo>
                  <a:pt x="4158" y="632"/>
                  <a:pt x="4158" y="634"/>
                  <a:pt x="4158" y="635"/>
                </a:cubicBezTo>
                <a:cubicBezTo>
                  <a:pt x="4158" y="637"/>
                  <a:pt x="4157" y="637"/>
                  <a:pt x="4156" y="637"/>
                </a:cubicBezTo>
                <a:lnTo>
                  <a:pt x="4154" y="637"/>
                </a:lnTo>
                <a:cubicBezTo>
                  <a:pt x="4154" y="637"/>
                  <a:pt x="4153" y="638"/>
                  <a:pt x="4153" y="639"/>
                </a:cubicBezTo>
                <a:cubicBezTo>
                  <a:pt x="4152" y="640"/>
                  <a:pt x="4152" y="641"/>
                  <a:pt x="4152" y="642"/>
                </a:cubicBezTo>
                <a:cubicBezTo>
                  <a:pt x="4152" y="642"/>
                  <a:pt x="4152" y="642"/>
                  <a:pt x="4152" y="642"/>
                </a:cubicBezTo>
                <a:lnTo>
                  <a:pt x="4154" y="642"/>
                </a:lnTo>
                <a:cubicBezTo>
                  <a:pt x="4154" y="642"/>
                  <a:pt x="4154" y="642"/>
                  <a:pt x="4154" y="642"/>
                </a:cubicBezTo>
                <a:cubicBezTo>
                  <a:pt x="4154" y="644"/>
                  <a:pt x="4153" y="645"/>
                  <a:pt x="4151" y="648"/>
                </a:cubicBezTo>
                <a:lnTo>
                  <a:pt x="4149" y="649"/>
                </a:lnTo>
                <a:cubicBezTo>
                  <a:pt x="4146" y="649"/>
                  <a:pt x="4145" y="650"/>
                  <a:pt x="4145" y="653"/>
                </a:cubicBezTo>
                <a:cubicBezTo>
                  <a:pt x="4145" y="654"/>
                  <a:pt x="4146" y="654"/>
                  <a:pt x="4146" y="654"/>
                </a:cubicBezTo>
                <a:lnTo>
                  <a:pt x="4147" y="653"/>
                </a:lnTo>
                <a:cubicBezTo>
                  <a:pt x="4147" y="653"/>
                  <a:pt x="4148" y="653"/>
                  <a:pt x="4148" y="653"/>
                </a:cubicBezTo>
                <a:cubicBezTo>
                  <a:pt x="4149" y="653"/>
                  <a:pt x="4149" y="653"/>
                  <a:pt x="4149" y="653"/>
                </a:cubicBezTo>
                <a:cubicBezTo>
                  <a:pt x="4149" y="655"/>
                  <a:pt x="4148" y="657"/>
                  <a:pt x="4145" y="659"/>
                </a:cubicBezTo>
                <a:lnTo>
                  <a:pt x="4142" y="660"/>
                </a:lnTo>
                <a:cubicBezTo>
                  <a:pt x="4142" y="660"/>
                  <a:pt x="4141" y="660"/>
                  <a:pt x="4141" y="660"/>
                </a:cubicBezTo>
                <a:cubicBezTo>
                  <a:pt x="4141" y="660"/>
                  <a:pt x="4140" y="660"/>
                  <a:pt x="4138" y="662"/>
                </a:cubicBezTo>
                <a:cubicBezTo>
                  <a:pt x="4137" y="663"/>
                  <a:pt x="4136" y="664"/>
                  <a:pt x="4136" y="665"/>
                </a:cubicBezTo>
                <a:cubicBezTo>
                  <a:pt x="4136" y="666"/>
                  <a:pt x="4137" y="666"/>
                  <a:pt x="4139" y="666"/>
                </a:cubicBezTo>
                <a:lnTo>
                  <a:pt x="4142" y="666"/>
                </a:lnTo>
                <a:cubicBezTo>
                  <a:pt x="4142" y="667"/>
                  <a:pt x="4140" y="667"/>
                  <a:pt x="4137" y="669"/>
                </a:cubicBezTo>
                <a:cubicBezTo>
                  <a:pt x="4135" y="670"/>
                  <a:pt x="4133" y="672"/>
                  <a:pt x="4132" y="675"/>
                </a:cubicBezTo>
                <a:cubicBezTo>
                  <a:pt x="4131" y="679"/>
                  <a:pt x="4129" y="681"/>
                  <a:pt x="4126" y="683"/>
                </a:cubicBezTo>
                <a:cubicBezTo>
                  <a:pt x="4124" y="684"/>
                  <a:pt x="4123" y="685"/>
                  <a:pt x="4123" y="686"/>
                </a:cubicBezTo>
                <a:lnTo>
                  <a:pt x="4123" y="687"/>
                </a:lnTo>
                <a:cubicBezTo>
                  <a:pt x="4123" y="689"/>
                  <a:pt x="4121" y="693"/>
                  <a:pt x="4118" y="699"/>
                </a:cubicBezTo>
                <a:cubicBezTo>
                  <a:pt x="4114" y="708"/>
                  <a:pt x="4111" y="713"/>
                  <a:pt x="4111" y="714"/>
                </a:cubicBezTo>
                <a:cubicBezTo>
                  <a:pt x="4111" y="715"/>
                  <a:pt x="4111" y="716"/>
                  <a:pt x="4111" y="716"/>
                </a:cubicBezTo>
                <a:lnTo>
                  <a:pt x="4109" y="715"/>
                </a:lnTo>
                <a:cubicBezTo>
                  <a:pt x="4108" y="715"/>
                  <a:pt x="4107" y="717"/>
                  <a:pt x="4105" y="720"/>
                </a:cubicBezTo>
                <a:cubicBezTo>
                  <a:pt x="4103" y="723"/>
                  <a:pt x="4102" y="725"/>
                  <a:pt x="4102" y="725"/>
                </a:cubicBezTo>
                <a:cubicBezTo>
                  <a:pt x="4102" y="726"/>
                  <a:pt x="4099" y="730"/>
                  <a:pt x="4093" y="737"/>
                </a:cubicBezTo>
                <a:cubicBezTo>
                  <a:pt x="4074" y="764"/>
                  <a:pt x="4064" y="777"/>
                  <a:pt x="4062" y="777"/>
                </a:cubicBezTo>
                <a:cubicBezTo>
                  <a:pt x="4061" y="777"/>
                  <a:pt x="4061" y="777"/>
                  <a:pt x="4061" y="778"/>
                </a:cubicBezTo>
                <a:lnTo>
                  <a:pt x="4062" y="781"/>
                </a:lnTo>
                <a:cubicBezTo>
                  <a:pt x="4062" y="782"/>
                  <a:pt x="4061" y="783"/>
                  <a:pt x="4060" y="783"/>
                </a:cubicBezTo>
                <a:cubicBezTo>
                  <a:pt x="4059" y="783"/>
                  <a:pt x="4055" y="786"/>
                  <a:pt x="4049" y="792"/>
                </a:cubicBezTo>
                <a:cubicBezTo>
                  <a:pt x="4036" y="804"/>
                  <a:pt x="4024" y="810"/>
                  <a:pt x="4011" y="810"/>
                </a:cubicBezTo>
                <a:close/>
                <a:moveTo>
                  <a:pt x="4069" y="732"/>
                </a:moveTo>
                <a:cubicBezTo>
                  <a:pt x="4070" y="732"/>
                  <a:pt x="4070" y="731"/>
                  <a:pt x="4071" y="731"/>
                </a:cubicBezTo>
                <a:cubicBezTo>
                  <a:pt x="4072" y="730"/>
                  <a:pt x="4073" y="729"/>
                  <a:pt x="4073" y="728"/>
                </a:cubicBezTo>
                <a:cubicBezTo>
                  <a:pt x="4073" y="727"/>
                  <a:pt x="4072" y="727"/>
                  <a:pt x="4072" y="727"/>
                </a:cubicBezTo>
                <a:lnTo>
                  <a:pt x="4071" y="727"/>
                </a:lnTo>
                <a:cubicBezTo>
                  <a:pt x="4069" y="728"/>
                  <a:pt x="4068" y="729"/>
                  <a:pt x="4068" y="730"/>
                </a:cubicBezTo>
                <a:cubicBezTo>
                  <a:pt x="4068" y="731"/>
                  <a:pt x="4069" y="732"/>
                  <a:pt x="4069" y="732"/>
                </a:cubicBezTo>
                <a:close/>
                <a:moveTo>
                  <a:pt x="4046" y="521"/>
                </a:moveTo>
                <a:cubicBezTo>
                  <a:pt x="4048" y="521"/>
                  <a:pt x="4049" y="520"/>
                  <a:pt x="4050" y="518"/>
                </a:cubicBezTo>
                <a:lnTo>
                  <a:pt x="4050" y="517"/>
                </a:lnTo>
                <a:cubicBezTo>
                  <a:pt x="4050" y="515"/>
                  <a:pt x="4049" y="514"/>
                  <a:pt x="4049" y="514"/>
                </a:cubicBezTo>
                <a:cubicBezTo>
                  <a:pt x="4048" y="513"/>
                  <a:pt x="4047" y="513"/>
                  <a:pt x="4047" y="513"/>
                </a:cubicBezTo>
                <a:lnTo>
                  <a:pt x="4047" y="514"/>
                </a:lnTo>
                <a:cubicBezTo>
                  <a:pt x="4047" y="514"/>
                  <a:pt x="4048" y="514"/>
                  <a:pt x="4048" y="515"/>
                </a:cubicBezTo>
                <a:cubicBezTo>
                  <a:pt x="4048" y="516"/>
                  <a:pt x="4047" y="517"/>
                  <a:pt x="4046" y="518"/>
                </a:cubicBezTo>
                <a:lnTo>
                  <a:pt x="4045" y="520"/>
                </a:lnTo>
                <a:cubicBezTo>
                  <a:pt x="4045" y="521"/>
                  <a:pt x="4045" y="521"/>
                  <a:pt x="4046" y="521"/>
                </a:cubicBezTo>
                <a:close/>
                <a:moveTo>
                  <a:pt x="4040" y="546"/>
                </a:moveTo>
                <a:lnTo>
                  <a:pt x="4039" y="544"/>
                </a:lnTo>
                <a:cubicBezTo>
                  <a:pt x="4039" y="543"/>
                  <a:pt x="4040" y="542"/>
                  <a:pt x="4041" y="541"/>
                </a:cubicBezTo>
                <a:cubicBezTo>
                  <a:pt x="4043" y="541"/>
                  <a:pt x="4044" y="539"/>
                  <a:pt x="4044" y="536"/>
                </a:cubicBezTo>
                <a:lnTo>
                  <a:pt x="4044" y="535"/>
                </a:lnTo>
                <a:cubicBezTo>
                  <a:pt x="4043" y="531"/>
                  <a:pt x="4043" y="528"/>
                  <a:pt x="4042" y="528"/>
                </a:cubicBezTo>
                <a:cubicBezTo>
                  <a:pt x="4042" y="528"/>
                  <a:pt x="4041" y="529"/>
                  <a:pt x="4041" y="530"/>
                </a:cubicBezTo>
                <a:cubicBezTo>
                  <a:pt x="4040" y="531"/>
                  <a:pt x="4040" y="532"/>
                  <a:pt x="4040" y="534"/>
                </a:cubicBezTo>
                <a:cubicBezTo>
                  <a:pt x="4040" y="535"/>
                  <a:pt x="4040" y="536"/>
                  <a:pt x="4041" y="537"/>
                </a:cubicBezTo>
                <a:cubicBezTo>
                  <a:pt x="4042" y="538"/>
                  <a:pt x="4042" y="539"/>
                  <a:pt x="4042" y="539"/>
                </a:cubicBezTo>
                <a:lnTo>
                  <a:pt x="4042" y="540"/>
                </a:lnTo>
                <a:lnTo>
                  <a:pt x="4038" y="539"/>
                </a:lnTo>
                <a:cubicBezTo>
                  <a:pt x="4037" y="539"/>
                  <a:pt x="4036" y="540"/>
                  <a:pt x="4036" y="541"/>
                </a:cubicBezTo>
                <a:cubicBezTo>
                  <a:pt x="4036" y="542"/>
                  <a:pt x="4036" y="544"/>
                  <a:pt x="4037" y="545"/>
                </a:cubicBezTo>
                <a:cubicBezTo>
                  <a:pt x="4038" y="546"/>
                  <a:pt x="4039" y="546"/>
                  <a:pt x="4040" y="546"/>
                </a:cubicBezTo>
                <a:close/>
                <a:moveTo>
                  <a:pt x="4025" y="558"/>
                </a:moveTo>
                <a:cubicBezTo>
                  <a:pt x="4026" y="558"/>
                  <a:pt x="4027" y="557"/>
                  <a:pt x="4027" y="556"/>
                </a:cubicBezTo>
                <a:cubicBezTo>
                  <a:pt x="4027" y="554"/>
                  <a:pt x="4027" y="554"/>
                  <a:pt x="4026" y="554"/>
                </a:cubicBezTo>
                <a:cubicBezTo>
                  <a:pt x="4025" y="554"/>
                  <a:pt x="4025" y="554"/>
                  <a:pt x="4024" y="556"/>
                </a:cubicBezTo>
                <a:lnTo>
                  <a:pt x="4024" y="557"/>
                </a:lnTo>
                <a:cubicBezTo>
                  <a:pt x="4024" y="558"/>
                  <a:pt x="4024" y="558"/>
                  <a:pt x="4025" y="558"/>
                </a:cubicBezTo>
                <a:close/>
                <a:moveTo>
                  <a:pt x="4019" y="579"/>
                </a:moveTo>
                <a:cubicBezTo>
                  <a:pt x="4020" y="579"/>
                  <a:pt x="4020" y="578"/>
                  <a:pt x="4021" y="574"/>
                </a:cubicBezTo>
                <a:lnTo>
                  <a:pt x="4021" y="572"/>
                </a:lnTo>
                <a:cubicBezTo>
                  <a:pt x="4021" y="571"/>
                  <a:pt x="4021" y="571"/>
                  <a:pt x="4021" y="571"/>
                </a:cubicBezTo>
                <a:lnTo>
                  <a:pt x="4020" y="571"/>
                </a:lnTo>
                <a:cubicBezTo>
                  <a:pt x="4019" y="572"/>
                  <a:pt x="4019" y="574"/>
                  <a:pt x="4019" y="575"/>
                </a:cubicBezTo>
                <a:cubicBezTo>
                  <a:pt x="4019" y="578"/>
                  <a:pt x="4019" y="579"/>
                  <a:pt x="4019" y="579"/>
                </a:cubicBezTo>
                <a:close/>
                <a:moveTo>
                  <a:pt x="4015" y="595"/>
                </a:moveTo>
                <a:cubicBezTo>
                  <a:pt x="4015" y="595"/>
                  <a:pt x="4016" y="594"/>
                  <a:pt x="4016" y="593"/>
                </a:cubicBezTo>
                <a:lnTo>
                  <a:pt x="4016" y="590"/>
                </a:lnTo>
                <a:cubicBezTo>
                  <a:pt x="4015" y="589"/>
                  <a:pt x="4015" y="589"/>
                  <a:pt x="4015" y="589"/>
                </a:cubicBezTo>
                <a:cubicBezTo>
                  <a:pt x="4014" y="589"/>
                  <a:pt x="4014" y="590"/>
                  <a:pt x="4014" y="591"/>
                </a:cubicBezTo>
                <a:cubicBezTo>
                  <a:pt x="4014" y="593"/>
                  <a:pt x="4015" y="594"/>
                  <a:pt x="4015" y="595"/>
                </a:cubicBezTo>
                <a:close/>
                <a:moveTo>
                  <a:pt x="4007" y="622"/>
                </a:moveTo>
                <a:cubicBezTo>
                  <a:pt x="4009" y="622"/>
                  <a:pt x="4010" y="621"/>
                  <a:pt x="4010" y="617"/>
                </a:cubicBezTo>
                <a:cubicBezTo>
                  <a:pt x="4010" y="615"/>
                  <a:pt x="4010" y="614"/>
                  <a:pt x="4009" y="614"/>
                </a:cubicBezTo>
                <a:cubicBezTo>
                  <a:pt x="4009" y="614"/>
                  <a:pt x="4008" y="614"/>
                  <a:pt x="4007" y="615"/>
                </a:cubicBezTo>
                <a:cubicBezTo>
                  <a:pt x="4006" y="618"/>
                  <a:pt x="4006" y="620"/>
                  <a:pt x="4006" y="620"/>
                </a:cubicBezTo>
                <a:cubicBezTo>
                  <a:pt x="4006" y="622"/>
                  <a:pt x="4006" y="622"/>
                  <a:pt x="4007" y="622"/>
                </a:cubicBezTo>
                <a:close/>
                <a:moveTo>
                  <a:pt x="4006" y="632"/>
                </a:moveTo>
                <a:cubicBezTo>
                  <a:pt x="4007" y="632"/>
                  <a:pt x="4007" y="631"/>
                  <a:pt x="4007" y="630"/>
                </a:cubicBezTo>
                <a:cubicBezTo>
                  <a:pt x="4007" y="628"/>
                  <a:pt x="4007" y="627"/>
                  <a:pt x="4006" y="627"/>
                </a:cubicBezTo>
                <a:cubicBezTo>
                  <a:pt x="4004" y="627"/>
                  <a:pt x="4003" y="628"/>
                  <a:pt x="4003" y="630"/>
                </a:cubicBezTo>
                <a:cubicBezTo>
                  <a:pt x="4003" y="631"/>
                  <a:pt x="4004" y="632"/>
                  <a:pt x="4006" y="632"/>
                </a:cubicBezTo>
                <a:close/>
                <a:moveTo>
                  <a:pt x="4003" y="644"/>
                </a:moveTo>
                <a:cubicBezTo>
                  <a:pt x="4005" y="643"/>
                  <a:pt x="4006" y="642"/>
                  <a:pt x="4006" y="639"/>
                </a:cubicBezTo>
                <a:cubicBezTo>
                  <a:pt x="4006" y="637"/>
                  <a:pt x="4005" y="636"/>
                  <a:pt x="4004" y="636"/>
                </a:cubicBezTo>
                <a:cubicBezTo>
                  <a:pt x="4003" y="636"/>
                  <a:pt x="4002" y="637"/>
                  <a:pt x="4002" y="641"/>
                </a:cubicBezTo>
                <a:lnTo>
                  <a:pt x="4002" y="642"/>
                </a:lnTo>
                <a:cubicBezTo>
                  <a:pt x="4002" y="644"/>
                  <a:pt x="4002" y="644"/>
                  <a:pt x="4003" y="644"/>
                </a:cubicBezTo>
                <a:close/>
                <a:moveTo>
                  <a:pt x="4001" y="655"/>
                </a:moveTo>
                <a:cubicBezTo>
                  <a:pt x="4003" y="655"/>
                  <a:pt x="4003" y="654"/>
                  <a:pt x="4003" y="652"/>
                </a:cubicBezTo>
                <a:cubicBezTo>
                  <a:pt x="4003" y="651"/>
                  <a:pt x="4003" y="650"/>
                  <a:pt x="4001" y="650"/>
                </a:cubicBezTo>
                <a:cubicBezTo>
                  <a:pt x="4000" y="650"/>
                  <a:pt x="3999" y="651"/>
                  <a:pt x="3999" y="652"/>
                </a:cubicBezTo>
                <a:cubicBezTo>
                  <a:pt x="3999" y="654"/>
                  <a:pt x="4000" y="655"/>
                  <a:pt x="4001" y="655"/>
                </a:cubicBezTo>
                <a:close/>
                <a:moveTo>
                  <a:pt x="3999" y="668"/>
                </a:moveTo>
                <a:cubicBezTo>
                  <a:pt x="4000" y="668"/>
                  <a:pt x="4001" y="667"/>
                  <a:pt x="4001" y="666"/>
                </a:cubicBezTo>
                <a:cubicBezTo>
                  <a:pt x="4001" y="664"/>
                  <a:pt x="4000" y="664"/>
                  <a:pt x="3999" y="664"/>
                </a:cubicBezTo>
                <a:cubicBezTo>
                  <a:pt x="3998" y="664"/>
                  <a:pt x="3997" y="664"/>
                  <a:pt x="3997" y="666"/>
                </a:cubicBezTo>
                <a:cubicBezTo>
                  <a:pt x="3997" y="667"/>
                  <a:pt x="3998" y="668"/>
                  <a:pt x="3999" y="668"/>
                </a:cubicBezTo>
                <a:close/>
                <a:moveTo>
                  <a:pt x="3995" y="685"/>
                </a:moveTo>
                <a:cubicBezTo>
                  <a:pt x="3996" y="685"/>
                  <a:pt x="3997" y="684"/>
                  <a:pt x="3998" y="683"/>
                </a:cubicBezTo>
                <a:cubicBezTo>
                  <a:pt x="3998" y="681"/>
                  <a:pt x="3999" y="680"/>
                  <a:pt x="3999" y="678"/>
                </a:cubicBezTo>
                <a:cubicBezTo>
                  <a:pt x="3999" y="676"/>
                  <a:pt x="3998" y="676"/>
                  <a:pt x="3998" y="676"/>
                </a:cubicBezTo>
                <a:lnTo>
                  <a:pt x="3997" y="676"/>
                </a:lnTo>
                <a:cubicBezTo>
                  <a:pt x="3995" y="677"/>
                  <a:pt x="3995" y="679"/>
                  <a:pt x="3995" y="683"/>
                </a:cubicBezTo>
                <a:cubicBezTo>
                  <a:pt x="3995" y="684"/>
                  <a:pt x="3995" y="685"/>
                  <a:pt x="3995" y="685"/>
                </a:cubicBezTo>
                <a:close/>
                <a:moveTo>
                  <a:pt x="3993" y="719"/>
                </a:moveTo>
                <a:cubicBezTo>
                  <a:pt x="3994" y="719"/>
                  <a:pt x="3995" y="716"/>
                  <a:pt x="3995" y="710"/>
                </a:cubicBezTo>
                <a:cubicBezTo>
                  <a:pt x="3995" y="705"/>
                  <a:pt x="3994" y="703"/>
                  <a:pt x="3993" y="703"/>
                </a:cubicBezTo>
                <a:cubicBezTo>
                  <a:pt x="3993" y="703"/>
                  <a:pt x="3993" y="706"/>
                  <a:pt x="3992" y="711"/>
                </a:cubicBezTo>
                <a:lnTo>
                  <a:pt x="3992" y="714"/>
                </a:lnTo>
                <a:cubicBezTo>
                  <a:pt x="3992" y="716"/>
                  <a:pt x="3992" y="717"/>
                  <a:pt x="3992" y="717"/>
                </a:cubicBezTo>
                <a:cubicBezTo>
                  <a:pt x="3992" y="717"/>
                  <a:pt x="3992" y="718"/>
                  <a:pt x="3993" y="719"/>
                </a:cubicBezTo>
                <a:close/>
                <a:moveTo>
                  <a:pt x="3995" y="700"/>
                </a:moveTo>
                <a:cubicBezTo>
                  <a:pt x="3997" y="700"/>
                  <a:pt x="3997" y="698"/>
                  <a:pt x="3997" y="694"/>
                </a:cubicBezTo>
                <a:cubicBezTo>
                  <a:pt x="3997" y="691"/>
                  <a:pt x="3997" y="689"/>
                  <a:pt x="3995" y="689"/>
                </a:cubicBezTo>
                <a:lnTo>
                  <a:pt x="3995" y="690"/>
                </a:lnTo>
                <a:cubicBezTo>
                  <a:pt x="3994" y="691"/>
                  <a:pt x="3994" y="691"/>
                  <a:pt x="3994" y="693"/>
                </a:cubicBezTo>
                <a:cubicBezTo>
                  <a:pt x="3993" y="694"/>
                  <a:pt x="3993" y="695"/>
                  <a:pt x="3993" y="696"/>
                </a:cubicBezTo>
                <a:cubicBezTo>
                  <a:pt x="3993" y="697"/>
                  <a:pt x="3993" y="698"/>
                  <a:pt x="3993" y="698"/>
                </a:cubicBezTo>
                <a:cubicBezTo>
                  <a:pt x="3993" y="699"/>
                  <a:pt x="3994" y="700"/>
                  <a:pt x="3995" y="700"/>
                </a:cubicBezTo>
                <a:close/>
                <a:moveTo>
                  <a:pt x="3999" y="803"/>
                </a:moveTo>
                <a:cubicBezTo>
                  <a:pt x="4001" y="803"/>
                  <a:pt x="4002" y="803"/>
                  <a:pt x="4002" y="803"/>
                </a:cubicBezTo>
                <a:lnTo>
                  <a:pt x="4002" y="802"/>
                </a:lnTo>
                <a:cubicBezTo>
                  <a:pt x="4000" y="801"/>
                  <a:pt x="4000" y="801"/>
                  <a:pt x="4000" y="800"/>
                </a:cubicBezTo>
                <a:cubicBezTo>
                  <a:pt x="4000" y="800"/>
                  <a:pt x="4000" y="799"/>
                  <a:pt x="4002" y="797"/>
                </a:cubicBezTo>
                <a:cubicBezTo>
                  <a:pt x="4003" y="796"/>
                  <a:pt x="4003" y="795"/>
                  <a:pt x="4003" y="795"/>
                </a:cubicBezTo>
                <a:cubicBezTo>
                  <a:pt x="4002" y="795"/>
                  <a:pt x="4001" y="795"/>
                  <a:pt x="4000" y="796"/>
                </a:cubicBezTo>
                <a:cubicBezTo>
                  <a:pt x="3998" y="798"/>
                  <a:pt x="3997" y="799"/>
                  <a:pt x="3996" y="800"/>
                </a:cubicBezTo>
                <a:cubicBezTo>
                  <a:pt x="3995" y="801"/>
                  <a:pt x="3995" y="801"/>
                  <a:pt x="3995" y="802"/>
                </a:cubicBezTo>
                <a:cubicBezTo>
                  <a:pt x="3995" y="803"/>
                  <a:pt x="3996" y="803"/>
                  <a:pt x="3999" y="803"/>
                </a:cubicBezTo>
                <a:close/>
                <a:moveTo>
                  <a:pt x="3998" y="776"/>
                </a:moveTo>
                <a:cubicBezTo>
                  <a:pt x="3999" y="776"/>
                  <a:pt x="4000" y="774"/>
                  <a:pt x="4000" y="771"/>
                </a:cubicBezTo>
                <a:lnTo>
                  <a:pt x="4000" y="769"/>
                </a:lnTo>
                <a:cubicBezTo>
                  <a:pt x="4000" y="764"/>
                  <a:pt x="4000" y="762"/>
                  <a:pt x="4001" y="762"/>
                </a:cubicBezTo>
                <a:cubicBezTo>
                  <a:pt x="4002" y="762"/>
                  <a:pt x="4003" y="762"/>
                  <a:pt x="4003" y="762"/>
                </a:cubicBezTo>
                <a:cubicBezTo>
                  <a:pt x="4003" y="762"/>
                  <a:pt x="4002" y="761"/>
                  <a:pt x="4001" y="760"/>
                </a:cubicBezTo>
                <a:cubicBezTo>
                  <a:pt x="4000" y="759"/>
                  <a:pt x="3999" y="759"/>
                  <a:pt x="3999" y="758"/>
                </a:cubicBezTo>
                <a:cubicBezTo>
                  <a:pt x="3999" y="758"/>
                  <a:pt x="4000" y="758"/>
                  <a:pt x="4003" y="757"/>
                </a:cubicBezTo>
                <a:cubicBezTo>
                  <a:pt x="4005" y="757"/>
                  <a:pt x="4006" y="757"/>
                  <a:pt x="4006" y="757"/>
                </a:cubicBezTo>
                <a:lnTo>
                  <a:pt x="4002" y="755"/>
                </a:lnTo>
                <a:cubicBezTo>
                  <a:pt x="4001" y="754"/>
                  <a:pt x="4000" y="754"/>
                  <a:pt x="4000" y="754"/>
                </a:cubicBezTo>
                <a:cubicBezTo>
                  <a:pt x="4000" y="754"/>
                  <a:pt x="4001" y="753"/>
                  <a:pt x="4002" y="753"/>
                </a:cubicBezTo>
                <a:cubicBezTo>
                  <a:pt x="4004" y="753"/>
                  <a:pt x="4005" y="750"/>
                  <a:pt x="4005" y="742"/>
                </a:cubicBezTo>
                <a:cubicBezTo>
                  <a:pt x="4005" y="734"/>
                  <a:pt x="4006" y="726"/>
                  <a:pt x="4008" y="717"/>
                </a:cubicBezTo>
                <a:lnTo>
                  <a:pt x="4013" y="684"/>
                </a:lnTo>
                <a:cubicBezTo>
                  <a:pt x="4013" y="680"/>
                  <a:pt x="4013" y="679"/>
                  <a:pt x="4014" y="679"/>
                </a:cubicBezTo>
                <a:cubicBezTo>
                  <a:pt x="4014" y="679"/>
                  <a:pt x="4015" y="678"/>
                  <a:pt x="4015" y="676"/>
                </a:cubicBezTo>
                <a:cubicBezTo>
                  <a:pt x="4015" y="675"/>
                  <a:pt x="4015" y="674"/>
                  <a:pt x="4015" y="672"/>
                </a:cubicBezTo>
                <a:lnTo>
                  <a:pt x="4016" y="665"/>
                </a:lnTo>
                <a:cubicBezTo>
                  <a:pt x="4016" y="665"/>
                  <a:pt x="4017" y="662"/>
                  <a:pt x="4018" y="656"/>
                </a:cubicBezTo>
                <a:cubicBezTo>
                  <a:pt x="4018" y="650"/>
                  <a:pt x="4019" y="646"/>
                  <a:pt x="4020" y="644"/>
                </a:cubicBezTo>
                <a:cubicBezTo>
                  <a:pt x="4021" y="640"/>
                  <a:pt x="4021" y="637"/>
                  <a:pt x="4021" y="634"/>
                </a:cubicBezTo>
                <a:lnTo>
                  <a:pt x="4021" y="633"/>
                </a:lnTo>
                <a:cubicBezTo>
                  <a:pt x="4021" y="631"/>
                  <a:pt x="4022" y="630"/>
                  <a:pt x="4023" y="630"/>
                </a:cubicBezTo>
                <a:cubicBezTo>
                  <a:pt x="4024" y="630"/>
                  <a:pt x="4024" y="629"/>
                  <a:pt x="4024" y="628"/>
                </a:cubicBezTo>
                <a:cubicBezTo>
                  <a:pt x="4024" y="628"/>
                  <a:pt x="4024" y="627"/>
                  <a:pt x="4024" y="627"/>
                </a:cubicBezTo>
                <a:cubicBezTo>
                  <a:pt x="4024" y="626"/>
                  <a:pt x="4023" y="625"/>
                  <a:pt x="4022" y="625"/>
                </a:cubicBezTo>
                <a:lnTo>
                  <a:pt x="4020" y="626"/>
                </a:lnTo>
                <a:cubicBezTo>
                  <a:pt x="4020" y="626"/>
                  <a:pt x="4019" y="626"/>
                  <a:pt x="4019" y="625"/>
                </a:cubicBezTo>
                <a:cubicBezTo>
                  <a:pt x="4019" y="624"/>
                  <a:pt x="4020" y="622"/>
                  <a:pt x="4021" y="621"/>
                </a:cubicBezTo>
                <a:cubicBezTo>
                  <a:pt x="4023" y="620"/>
                  <a:pt x="4024" y="620"/>
                  <a:pt x="4025" y="620"/>
                </a:cubicBezTo>
                <a:cubicBezTo>
                  <a:pt x="4026" y="620"/>
                  <a:pt x="4027" y="620"/>
                  <a:pt x="4027" y="619"/>
                </a:cubicBezTo>
                <a:cubicBezTo>
                  <a:pt x="4027" y="619"/>
                  <a:pt x="4026" y="619"/>
                  <a:pt x="4025" y="618"/>
                </a:cubicBezTo>
                <a:cubicBezTo>
                  <a:pt x="4024" y="617"/>
                  <a:pt x="4024" y="615"/>
                  <a:pt x="4024" y="611"/>
                </a:cubicBezTo>
                <a:cubicBezTo>
                  <a:pt x="4024" y="605"/>
                  <a:pt x="4025" y="603"/>
                  <a:pt x="4026" y="603"/>
                </a:cubicBezTo>
                <a:lnTo>
                  <a:pt x="4028" y="603"/>
                </a:lnTo>
                <a:lnTo>
                  <a:pt x="4029" y="603"/>
                </a:lnTo>
                <a:cubicBezTo>
                  <a:pt x="4029" y="602"/>
                  <a:pt x="4028" y="601"/>
                  <a:pt x="4027" y="599"/>
                </a:cubicBezTo>
                <a:cubicBezTo>
                  <a:pt x="4027" y="598"/>
                  <a:pt x="4026" y="597"/>
                  <a:pt x="4026" y="596"/>
                </a:cubicBezTo>
                <a:cubicBezTo>
                  <a:pt x="4026" y="595"/>
                  <a:pt x="4027" y="595"/>
                  <a:pt x="4028" y="595"/>
                </a:cubicBezTo>
                <a:cubicBezTo>
                  <a:pt x="4029" y="595"/>
                  <a:pt x="4029" y="594"/>
                  <a:pt x="4029" y="593"/>
                </a:cubicBezTo>
                <a:lnTo>
                  <a:pt x="4029" y="588"/>
                </a:lnTo>
                <a:cubicBezTo>
                  <a:pt x="4029" y="586"/>
                  <a:pt x="4029" y="585"/>
                  <a:pt x="4030" y="585"/>
                </a:cubicBezTo>
                <a:cubicBezTo>
                  <a:pt x="4031" y="585"/>
                  <a:pt x="4031" y="585"/>
                  <a:pt x="4031" y="583"/>
                </a:cubicBezTo>
                <a:cubicBezTo>
                  <a:pt x="4031" y="582"/>
                  <a:pt x="4031" y="580"/>
                  <a:pt x="4030" y="579"/>
                </a:cubicBezTo>
                <a:cubicBezTo>
                  <a:pt x="4030" y="577"/>
                  <a:pt x="4030" y="576"/>
                  <a:pt x="4030" y="575"/>
                </a:cubicBezTo>
                <a:lnTo>
                  <a:pt x="4030" y="575"/>
                </a:lnTo>
                <a:cubicBezTo>
                  <a:pt x="4031" y="575"/>
                  <a:pt x="4032" y="576"/>
                  <a:pt x="4033" y="577"/>
                </a:cubicBezTo>
                <a:lnTo>
                  <a:pt x="4036" y="579"/>
                </a:lnTo>
                <a:cubicBezTo>
                  <a:pt x="4036" y="579"/>
                  <a:pt x="4035" y="578"/>
                  <a:pt x="4034" y="576"/>
                </a:cubicBezTo>
                <a:cubicBezTo>
                  <a:pt x="4034" y="575"/>
                  <a:pt x="4033" y="573"/>
                  <a:pt x="4033" y="571"/>
                </a:cubicBezTo>
                <a:cubicBezTo>
                  <a:pt x="4033" y="569"/>
                  <a:pt x="4034" y="566"/>
                  <a:pt x="4035" y="561"/>
                </a:cubicBezTo>
                <a:cubicBezTo>
                  <a:pt x="4036" y="557"/>
                  <a:pt x="4036" y="554"/>
                  <a:pt x="4036" y="552"/>
                </a:cubicBezTo>
                <a:cubicBezTo>
                  <a:pt x="4036" y="551"/>
                  <a:pt x="4036" y="550"/>
                  <a:pt x="4035" y="550"/>
                </a:cubicBezTo>
                <a:cubicBezTo>
                  <a:pt x="4035" y="550"/>
                  <a:pt x="4034" y="550"/>
                  <a:pt x="4034" y="551"/>
                </a:cubicBezTo>
                <a:cubicBezTo>
                  <a:pt x="4033" y="553"/>
                  <a:pt x="4032" y="554"/>
                  <a:pt x="4032" y="556"/>
                </a:cubicBezTo>
                <a:cubicBezTo>
                  <a:pt x="4032" y="557"/>
                  <a:pt x="4032" y="559"/>
                  <a:pt x="4031" y="560"/>
                </a:cubicBezTo>
                <a:cubicBezTo>
                  <a:pt x="4031" y="561"/>
                  <a:pt x="4030" y="562"/>
                  <a:pt x="4030" y="563"/>
                </a:cubicBezTo>
                <a:cubicBezTo>
                  <a:pt x="4026" y="566"/>
                  <a:pt x="4021" y="581"/>
                  <a:pt x="4016" y="607"/>
                </a:cubicBezTo>
                <a:cubicBezTo>
                  <a:pt x="4011" y="634"/>
                  <a:pt x="4007" y="663"/>
                  <a:pt x="4002" y="694"/>
                </a:cubicBezTo>
                <a:cubicBezTo>
                  <a:pt x="3998" y="725"/>
                  <a:pt x="3996" y="748"/>
                  <a:pt x="3996" y="763"/>
                </a:cubicBezTo>
                <a:cubicBezTo>
                  <a:pt x="3996" y="772"/>
                  <a:pt x="3997" y="776"/>
                  <a:pt x="3998" y="776"/>
                </a:cubicBezTo>
                <a:close/>
                <a:moveTo>
                  <a:pt x="4011" y="783"/>
                </a:moveTo>
                <a:cubicBezTo>
                  <a:pt x="4012" y="783"/>
                  <a:pt x="4012" y="780"/>
                  <a:pt x="4012" y="774"/>
                </a:cubicBezTo>
                <a:lnTo>
                  <a:pt x="4012" y="770"/>
                </a:lnTo>
                <a:cubicBezTo>
                  <a:pt x="4012" y="767"/>
                  <a:pt x="4012" y="764"/>
                  <a:pt x="4013" y="763"/>
                </a:cubicBezTo>
                <a:cubicBezTo>
                  <a:pt x="4013" y="762"/>
                  <a:pt x="4013" y="762"/>
                  <a:pt x="4013" y="761"/>
                </a:cubicBezTo>
                <a:cubicBezTo>
                  <a:pt x="4013" y="760"/>
                  <a:pt x="4013" y="760"/>
                  <a:pt x="4012" y="760"/>
                </a:cubicBezTo>
                <a:cubicBezTo>
                  <a:pt x="4011" y="760"/>
                  <a:pt x="4010" y="758"/>
                  <a:pt x="4009" y="755"/>
                </a:cubicBezTo>
                <a:lnTo>
                  <a:pt x="4008" y="753"/>
                </a:lnTo>
                <a:cubicBezTo>
                  <a:pt x="4008" y="753"/>
                  <a:pt x="4008" y="756"/>
                  <a:pt x="4008" y="762"/>
                </a:cubicBezTo>
                <a:cubicBezTo>
                  <a:pt x="4008" y="769"/>
                  <a:pt x="4008" y="775"/>
                  <a:pt x="4010" y="780"/>
                </a:cubicBezTo>
                <a:lnTo>
                  <a:pt x="4011" y="783"/>
                </a:lnTo>
                <a:close/>
                <a:moveTo>
                  <a:pt x="4023" y="805"/>
                </a:moveTo>
                <a:lnTo>
                  <a:pt x="4032" y="804"/>
                </a:lnTo>
                <a:lnTo>
                  <a:pt x="4032" y="803"/>
                </a:lnTo>
                <a:cubicBezTo>
                  <a:pt x="4032" y="803"/>
                  <a:pt x="4031" y="802"/>
                  <a:pt x="4029" y="800"/>
                </a:cubicBezTo>
                <a:cubicBezTo>
                  <a:pt x="4027" y="799"/>
                  <a:pt x="4025" y="798"/>
                  <a:pt x="4024" y="798"/>
                </a:cubicBezTo>
                <a:cubicBezTo>
                  <a:pt x="4023" y="798"/>
                  <a:pt x="4022" y="799"/>
                  <a:pt x="4020" y="799"/>
                </a:cubicBezTo>
                <a:cubicBezTo>
                  <a:pt x="4018" y="801"/>
                  <a:pt x="4017" y="802"/>
                  <a:pt x="4017" y="803"/>
                </a:cubicBezTo>
                <a:cubicBezTo>
                  <a:pt x="4017" y="804"/>
                  <a:pt x="4019" y="805"/>
                  <a:pt x="4023" y="805"/>
                </a:cubicBezTo>
                <a:close/>
                <a:moveTo>
                  <a:pt x="4170" y="565"/>
                </a:moveTo>
                <a:cubicBezTo>
                  <a:pt x="4172" y="565"/>
                  <a:pt x="4173" y="564"/>
                  <a:pt x="4173" y="563"/>
                </a:cubicBezTo>
                <a:cubicBezTo>
                  <a:pt x="4173" y="561"/>
                  <a:pt x="4173" y="561"/>
                  <a:pt x="4172" y="561"/>
                </a:cubicBezTo>
                <a:cubicBezTo>
                  <a:pt x="4171" y="561"/>
                  <a:pt x="4171" y="561"/>
                  <a:pt x="4170" y="562"/>
                </a:cubicBezTo>
                <a:cubicBezTo>
                  <a:pt x="4170" y="563"/>
                  <a:pt x="4169" y="563"/>
                  <a:pt x="4169" y="564"/>
                </a:cubicBezTo>
                <a:cubicBezTo>
                  <a:pt x="4169" y="565"/>
                  <a:pt x="4170" y="565"/>
                  <a:pt x="4170" y="565"/>
                </a:cubicBezTo>
                <a:close/>
                <a:moveTo>
                  <a:pt x="4200" y="491"/>
                </a:moveTo>
                <a:lnTo>
                  <a:pt x="4201" y="490"/>
                </a:lnTo>
                <a:cubicBezTo>
                  <a:pt x="4201" y="489"/>
                  <a:pt x="4200" y="488"/>
                  <a:pt x="4199" y="487"/>
                </a:cubicBezTo>
                <a:cubicBezTo>
                  <a:pt x="4198" y="485"/>
                  <a:pt x="4198" y="485"/>
                  <a:pt x="4197" y="485"/>
                </a:cubicBezTo>
                <a:lnTo>
                  <a:pt x="4197" y="485"/>
                </a:lnTo>
                <a:cubicBezTo>
                  <a:pt x="4197" y="486"/>
                  <a:pt x="4198" y="487"/>
                  <a:pt x="4198" y="488"/>
                </a:cubicBezTo>
                <a:cubicBezTo>
                  <a:pt x="4199" y="490"/>
                  <a:pt x="4199" y="491"/>
                  <a:pt x="4200" y="491"/>
                </a:cubicBezTo>
                <a:close/>
                <a:moveTo>
                  <a:pt x="4206" y="533"/>
                </a:moveTo>
                <a:cubicBezTo>
                  <a:pt x="4206" y="533"/>
                  <a:pt x="4207" y="532"/>
                  <a:pt x="4208" y="529"/>
                </a:cubicBezTo>
                <a:lnTo>
                  <a:pt x="4209" y="527"/>
                </a:lnTo>
                <a:cubicBezTo>
                  <a:pt x="4209" y="527"/>
                  <a:pt x="4208" y="527"/>
                  <a:pt x="4208" y="527"/>
                </a:cubicBezTo>
                <a:lnTo>
                  <a:pt x="4208" y="527"/>
                </a:lnTo>
                <a:cubicBezTo>
                  <a:pt x="4207" y="528"/>
                  <a:pt x="4206" y="528"/>
                  <a:pt x="4206" y="529"/>
                </a:cubicBezTo>
                <a:cubicBezTo>
                  <a:pt x="4206" y="529"/>
                  <a:pt x="4205" y="530"/>
                  <a:pt x="4205" y="531"/>
                </a:cubicBezTo>
                <a:cubicBezTo>
                  <a:pt x="4205" y="532"/>
                  <a:pt x="4206" y="533"/>
                  <a:pt x="4206" y="533"/>
                </a:cubicBezTo>
                <a:close/>
                <a:moveTo>
                  <a:pt x="4208" y="501"/>
                </a:moveTo>
                <a:lnTo>
                  <a:pt x="4211" y="497"/>
                </a:lnTo>
                <a:cubicBezTo>
                  <a:pt x="4213" y="495"/>
                  <a:pt x="4214" y="492"/>
                  <a:pt x="4214" y="491"/>
                </a:cubicBezTo>
                <a:cubicBezTo>
                  <a:pt x="4214" y="490"/>
                  <a:pt x="4214" y="490"/>
                  <a:pt x="4213" y="490"/>
                </a:cubicBezTo>
                <a:cubicBezTo>
                  <a:pt x="4213" y="490"/>
                  <a:pt x="4212" y="492"/>
                  <a:pt x="4210" y="497"/>
                </a:cubicBezTo>
                <a:lnTo>
                  <a:pt x="4208" y="500"/>
                </a:lnTo>
                <a:lnTo>
                  <a:pt x="4208" y="501"/>
                </a:lnTo>
                <a:close/>
                <a:moveTo>
                  <a:pt x="4213" y="516"/>
                </a:moveTo>
                <a:cubicBezTo>
                  <a:pt x="4214" y="516"/>
                  <a:pt x="4214" y="515"/>
                  <a:pt x="4215" y="512"/>
                </a:cubicBezTo>
                <a:cubicBezTo>
                  <a:pt x="4215" y="510"/>
                  <a:pt x="4215" y="508"/>
                  <a:pt x="4217" y="506"/>
                </a:cubicBezTo>
                <a:cubicBezTo>
                  <a:pt x="4218" y="504"/>
                  <a:pt x="4221" y="497"/>
                  <a:pt x="4225" y="486"/>
                </a:cubicBezTo>
                <a:cubicBezTo>
                  <a:pt x="4235" y="459"/>
                  <a:pt x="4243" y="435"/>
                  <a:pt x="4250" y="414"/>
                </a:cubicBezTo>
                <a:cubicBezTo>
                  <a:pt x="4253" y="402"/>
                  <a:pt x="4256" y="392"/>
                  <a:pt x="4258" y="382"/>
                </a:cubicBezTo>
                <a:cubicBezTo>
                  <a:pt x="4261" y="372"/>
                  <a:pt x="4262" y="365"/>
                  <a:pt x="4262" y="362"/>
                </a:cubicBezTo>
                <a:cubicBezTo>
                  <a:pt x="4262" y="360"/>
                  <a:pt x="4261" y="360"/>
                  <a:pt x="4261" y="360"/>
                </a:cubicBezTo>
                <a:cubicBezTo>
                  <a:pt x="4261" y="360"/>
                  <a:pt x="4260" y="360"/>
                  <a:pt x="4259" y="362"/>
                </a:cubicBezTo>
                <a:cubicBezTo>
                  <a:pt x="4258" y="363"/>
                  <a:pt x="4258" y="365"/>
                  <a:pt x="4258" y="367"/>
                </a:cubicBezTo>
                <a:lnTo>
                  <a:pt x="4258" y="371"/>
                </a:lnTo>
                <a:cubicBezTo>
                  <a:pt x="4258" y="372"/>
                  <a:pt x="4258" y="373"/>
                  <a:pt x="4257" y="374"/>
                </a:cubicBezTo>
                <a:cubicBezTo>
                  <a:pt x="4256" y="375"/>
                  <a:pt x="4256" y="375"/>
                  <a:pt x="4256" y="376"/>
                </a:cubicBezTo>
                <a:lnTo>
                  <a:pt x="4256" y="378"/>
                </a:lnTo>
                <a:cubicBezTo>
                  <a:pt x="4256" y="379"/>
                  <a:pt x="4256" y="379"/>
                  <a:pt x="4255" y="379"/>
                </a:cubicBezTo>
                <a:cubicBezTo>
                  <a:pt x="4254" y="379"/>
                  <a:pt x="4254" y="380"/>
                  <a:pt x="4254" y="382"/>
                </a:cubicBezTo>
                <a:lnTo>
                  <a:pt x="4254" y="387"/>
                </a:lnTo>
                <a:cubicBezTo>
                  <a:pt x="4254" y="388"/>
                  <a:pt x="4254" y="389"/>
                  <a:pt x="4253" y="390"/>
                </a:cubicBezTo>
                <a:cubicBezTo>
                  <a:pt x="4252" y="391"/>
                  <a:pt x="4251" y="393"/>
                  <a:pt x="4250" y="397"/>
                </a:cubicBezTo>
                <a:cubicBezTo>
                  <a:pt x="4249" y="401"/>
                  <a:pt x="4247" y="407"/>
                  <a:pt x="4244" y="416"/>
                </a:cubicBezTo>
                <a:cubicBezTo>
                  <a:pt x="4236" y="438"/>
                  <a:pt x="4230" y="452"/>
                  <a:pt x="4228" y="456"/>
                </a:cubicBezTo>
                <a:cubicBezTo>
                  <a:pt x="4226" y="457"/>
                  <a:pt x="4226" y="458"/>
                  <a:pt x="4226" y="459"/>
                </a:cubicBezTo>
                <a:cubicBezTo>
                  <a:pt x="4226" y="460"/>
                  <a:pt x="4226" y="460"/>
                  <a:pt x="4228" y="461"/>
                </a:cubicBezTo>
                <a:cubicBezTo>
                  <a:pt x="4229" y="462"/>
                  <a:pt x="4229" y="463"/>
                  <a:pt x="4229" y="464"/>
                </a:cubicBezTo>
                <a:cubicBezTo>
                  <a:pt x="4229" y="465"/>
                  <a:pt x="4229" y="465"/>
                  <a:pt x="4227" y="466"/>
                </a:cubicBezTo>
                <a:cubicBezTo>
                  <a:pt x="4227" y="466"/>
                  <a:pt x="4226" y="465"/>
                  <a:pt x="4226" y="465"/>
                </a:cubicBezTo>
                <a:cubicBezTo>
                  <a:pt x="4225" y="465"/>
                  <a:pt x="4225" y="465"/>
                  <a:pt x="4224" y="465"/>
                </a:cubicBezTo>
                <a:cubicBezTo>
                  <a:pt x="4223" y="465"/>
                  <a:pt x="4223" y="465"/>
                  <a:pt x="4223" y="466"/>
                </a:cubicBezTo>
                <a:cubicBezTo>
                  <a:pt x="4222" y="472"/>
                  <a:pt x="4220" y="477"/>
                  <a:pt x="4217" y="480"/>
                </a:cubicBezTo>
                <a:cubicBezTo>
                  <a:pt x="4215" y="482"/>
                  <a:pt x="4215" y="484"/>
                  <a:pt x="4215" y="485"/>
                </a:cubicBezTo>
                <a:cubicBezTo>
                  <a:pt x="4215" y="486"/>
                  <a:pt x="4215" y="487"/>
                  <a:pt x="4215" y="487"/>
                </a:cubicBezTo>
                <a:cubicBezTo>
                  <a:pt x="4216" y="487"/>
                  <a:pt x="4216" y="486"/>
                  <a:pt x="4216" y="485"/>
                </a:cubicBezTo>
                <a:cubicBezTo>
                  <a:pt x="4216" y="484"/>
                  <a:pt x="4216" y="483"/>
                  <a:pt x="4217" y="483"/>
                </a:cubicBezTo>
                <a:lnTo>
                  <a:pt x="4220" y="484"/>
                </a:lnTo>
                <a:lnTo>
                  <a:pt x="4220" y="482"/>
                </a:lnTo>
                <a:cubicBezTo>
                  <a:pt x="4220" y="481"/>
                  <a:pt x="4220" y="480"/>
                  <a:pt x="4222" y="478"/>
                </a:cubicBezTo>
                <a:cubicBezTo>
                  <a:pt x="4223" y="477"/>
                  <a:pt x="4224" y="476"/>
                  <a:pt x="4225" y="476"/>
                </a:cubicBezTo>
                <a:lnTo>
                  <a:pt x="4225" y="477"/>
                </a:lnTo>
                <a:cubicBezTo>
                  <a:pt x="4225" y="478"/>
                  <a:pt x="4224" y="480"/>
                  <a:pt x="4222" y="485"/>
                </a:cubicBezTo>
                <a:cubicBezTo>
                  <a:pt x="4221" y="489"/>
                  <a:pt x="4220" y="491"/>
                  <a:pt x="4219" y="491"/>
                </a:cubicBezTo>
                <a:cubicBezTo>
                  <a:pt x="4218" y="491"/>
                  <a:pt x="4217" y="493"/>
                  <a:pt x="4217" y="498"/>
                </a:cubicBezTo>
                <a:cubicBezTo>
                  <a:pt x="4216" y="502"/>
                  <a:pt x="4215" y="505"/>
                  <a:pt x="4214" y="507"/>
                </a:cubicBezTo>
                <a:cubicBezTo>
                  <a:pt x="4213" y="508"/>
                  <a:pt x="4212" y="511"/>
                  <a:pt x="4212" y="513"/>
                </a:cubicBezTo>
                <a:cubicBezTo>
                  <a:pt x="4212" y="515"/>
                  <a:pt x="4212" y="516"/>
                  <a:pt x="4213" y="516"/>
                </a:cubicBezTo>
                <a:close/>
                <a:moveTo>
                  <a:pt x="3987" y="757"/>
                </a:moveTo>
                <a:cubicBezTo>
                  <a:pt x="3985" y="757"/>
                  <a:pt x="3985" y="757"/>
                  <a:pt x="3985" y="757"/>
                </a:cubicBezTo>
                <a:lnTo>
                  <a:pt x="3985" y="756"/>
                </a:lnTo>
                <a:lnTo>
                  <a:pt x="3988" y="755"/>
                </a:lnTo>
                <a:cubicBezTo>
                  <a:pt x="3989" y="755"/>
                  <a:pt x="3990" y="756"/>
                  <a:pt x="3990" y="756"/>
                </a:cubicBezTo>
                <a:cubicBezTo>
                  <a:pt x="3990" y="757"/>
                  <a:pt x="3989" y="757"/>
                  <a:pt x="3987" y="757"/>
                </a:cubicBezTo>
                <a:close/>
                <a:moveTo>
                  <a:pt x="4082" y="707"/>
                </a:moveTo>
                <a:cubicBezTo>
                  <a:pt x="4080" y="707"/>
                  <a:pt x="4079" y="706"/>
                  <a:pt x="4079" y="705"/>
                </a:cubicBezTo>
                <a:cubicBezTo>
                  <a:pt x="4079" y="703"/>
                  <a:pt x="4080" y="703"/>
                  <a:pt x="4082" y="703"/>
                </a:cubicBezTo>
                <a:cubicBezTo>
                  <a:pt x="4083" y="703"/>
                  <a:pt x="4084" y="703"/>
                  <a:pt x="4084" y="705"/>
                </a:cubicBezTo>
                <a:cubicBezTo>
                  <a:pt x="4084" y="706"/>
                  <a:pt x="4083" y="707"/>
                  <a:pt x="4082" y="707"/>
                </a:cubicBezTo>
                <a:close/>
                <a:moveTo>
                  <a:pt x="4087" y="677"/>
                </a:moveTo>
                <a:lnTo>
                  <a:pt x="4087" y="676"/>
                </a:lnTo>
                <a:cubicBezTo>
                  <a:pt x="4087" y="675"/>
                  <a:pt x="4089" y="672"/>
                  <a:pt x="4092" y="667"/>
                </a:cubicBezTo>
                <a:lnTo>
                  <a:pt x="4094" y="666"/>
                </a:lnTo>
                <a:lnTo>
                  <a:pt x="4094" y="666"/>
                </a:lnTo>
                <a:cubicBezTo>
                  <a:pt x="4094" y="668"/>
                  <a:pt x="4093" y="670"/>
                  <a:pt x="4090" y="674"/>
                </a:cubicBezTo>
                <a:cubicBezTo>
                  <a:pt x="4089" y="676"/>
                  <a:pt x="4088" y="677"/>
                  <a:pt x="4087" y="677"/>
                </a:cubicBezTo>
                <a:close/>
                <a:moveTo>
                  <a:pt x="4171" y="515"/>
                </a:moveTo>
                <a:lnTo>
                  <a:pt x="4172" y="511"/>
                </a:lnTo>
                <a:cubicBezTo>
                  <a:pt x="4173" y="509"/>
                  <a:pt x="4174" y="508"/>
                  <a:pt x="4176" y="508"/>
                </a:cubicBezTo>
                <a:cubicBezTo>
                  <a:pt x="4176" y="508"/>
                  <a:pt x="4176" y="508"/>
                  <a:pt x="4176" y="509"/>
                </a:cubicBezTo>
                <a:cubicBezTo>
                  <a:pt x="4176" y="509"/>
                  <a:pt x="4176" y="510"/>
                  <a:pt x="4175" y="511"/>
                </a:cubicBezTo>
                <a:cubicBezTo>
                  <a:pt x="4173" y="514"/>
                  <a:pt x="4172" y="515"/>
                  <a:pt x="4171" y="515"/>
                </a:cubicBezTo>
                <a:close/>
                <a:moveTo>
                  <a:pt x="4183" y="494"/>
                </a:moveTo>
                <a:cubicBezTo>
                  <a:pt x="4182" y="494"/>
                  <a:pt x="4181" y="493"/>
                  <a:pt x="4181" y="490"/>
                </a:cubicBezTo>
                <a:cubicBezTo>
                  <a:pt x="4181" y="489"/>
                  <a:pt x="4182" y="488"/>
                  <a:pt x="4183" y="488"/>
                </a:cubicBezTo>
                <a:cubicBezTo>
                  <a:pt x="4184" y="488"/>
                  <a:pt x="4185" y="489"/>
                  <a:pt x="4185" y="491"/>
                </a:cubicBezTo>
                <a:lnTo>
                  <a:pt x="4185" y="492"/>
                </a:lnTo>
                <a:cubicBezTo>
                  <a:pt x="4184" y="493"/>
                  <a:pt x="4183" y="494"/>
                  <a:pt x="4183" y="494"/>
                </a:cubicBezTo>
                <a:close/>
                <a:moveTo>
                  <a:pt x="4168" y="531"/>
                </a:moveTo>
                <a:cubicBezTo>
                  <a:pt x="4167" y="531"/>
                  <a:pt x="4167" y="531"/>
                  <a:pt x="4166" y="530"/>
                </a:cubicBezTo>
                <a:cubicBezTo>
                  <a:pt x="4166" y="529"/>
                  <a:pt x="4166" y="529"/>
                  <a:pt x="4165" y="528"/>
                </a:cubicBezTo>
                <a:cubicBezTo>
                  <a:pt x="4165" y="528"/>
                  <a:pt x="4165" y="528"/>
                  <a:pt x="4165" y="527"/>
                </a:cubicBezTo>
                <a:cubicBezTo>
                  <a:pt x="4165" y="527"/>
                  <a:pt x="4165" y="526"/>
                  <a:pt x="4166" y="526"/>
                </a:cubicBezTo>
                <a:cubicBezTo>
                  <a:pt x="4168" y="526"/>
                  <a:pt x="4168" y="527"/>
                  <a:pt x="4168" y="528"/>
                </a:cubicBezTo>
                <a:cubicBezTo>
                  <a:pt x="4168" y="530"/>
                  <a:pt x="4168" y="531"/>
                  <a:pt x="4168" y="531"/>
                </a:cubicBezTo>
                <a:close/>
                <a:moveTo>
                  <a:pt x="4191" y="470"/>
                </a:moveTo>
                <a:cubicBezTo>
                  <a:pt x="4190" y="470"/>
                  <a:pt x="4190" y="470"/>
                  <a:pt x="4190" y="469"/>
                </a:cubicBezTo>
                <a:cubicBezTo>
                  <a:pt x="4190" y="468"/>
                  <a:pt x="4191" y="467"/>
                  <a:pt x="4192" y="466"/>
                </a:cubicBezTo>
                <a:cubicBezTo>
                  <a:pt x="4193" y="465"/>
                  <a:pt x="4194" y="464"/>
                  <a:pt x="4195" y="464"/>
                </a:cubicBezTo>
                <a:cubicBezTo>
                  <a:pt x="4195" y="464"/>
                  <a:pt x="4196" y="465"/>
                  <a:pt x="4196" y="465"/>
                </a:cubicBezTo>
                <a:cubicBezTo>
                  <a:pt x="4196" y="465"/>
                  <a:pt x="4196" y="466"/>
                  <a:pt x="4195" y="467"/>
                </a:cubicBezTo>
                <a:cubicBezTo>
                  <a:pt x="4195" y="468"/>
                  <a:pt x="4194" y="468"/>
                  <a:pt x="4193" y="469"/>
                </a:cubicBezTo>
                <a:cubicBezTo>
                  <a:pt x="4193" y="470"/>
                  <a:pt x="4192" y="470"/>
                  <a:pt x="4191" y="470"/>
                </a:cubicBezTo>
                <a:close/>
                <a:moveTo>
                  <a:pt x="4195" y="462"/>
                </a:moveTo>
                <a:cubicBezTo>
                  <a:pt x="4194" y="462"/>
                  <a:pt x="4194" y="461"/>
                  <a:pt x="4194" y="460"/>
                </a:cubicBezTo>
                <a:cubicBezTo>
                  <a:pt x="4194" y="458"/>
                  <a:pt x="4195" y="457"/>
                  <a:pt x="4197" y="457"/>
                </a:cubicBezTo>
                <a:cubicBezTo>
                  <a:pt x="4198" y="457"/>
                  <a:pt x="4198" y="457"/>
                  <a:pt x="4198" y="458"/>
                </a:cubicBezTo>
                <a:lnTo>
                  <a:pt x="4198" y="460"/>
                </a:lnTo>
                <a:cubicBezTo>
                  <a:pt x="4197" y="461"/>
                  <a:pt x="4196" y="462"/>
                  <a:pt x="4195" y="462"/>
                </a:cubicBezTo>
                <a:close/>
                <a:moveTo>
                  <a:pt x="4010" y="554"/>
                </a:moveTo>
                <a:cubicBezTo>
                  <a:pt x="4009" y="554"/>
                  <a:pt x="4008" y="553"/>
                  <a:pt x="4007" y="552"/>
                </a:cubicBezTo>
                <a:lnTo>
                  <a:pt x="4007" y="551"/>
                </a:lnTo>
                <a:cubicBezTo>
                  <a:pt x="4007" y="549"/>
                  <a:pt x="4008" y="544"/>
                  <a:pt x="4011" y="535"/>
                </a:cubicBezTo>
                <a:cubicBezTo>
                  <a:pt x="4014" y="527"/>
                  <a:pt x="4015" y="523"/>
                  <a:pt x="4015" y="521"/>
                </a:cubicBezTo>
                <a:cubicBezTo>
                  <a:pt x="4015" y="521"/>
                  <a:pt x="4016" y="519"/>
                  <a:pt x="4017" y="515"/>
                </a:cubicBezTo>
                <a:cubicBezTo>
                  <a:pt x="4025" y="497"/>
                  <a:pt x="4031" y="487"/>
                  <a:pt x="4033" y="487"/>
                </a:cubicBezTo>
                <a:cubicBezTo>
                  <a:pt x="4036" y="487"/>
                  <a:pt x="4037" y="491"/>
                  <a:pt x="4038" y="497"/>
                </a:cubicBezTo>
                <a:cubicBezTo>
                  <a:pt x="4038" y="501"/>
                  <a:pt x="4037" y="504"/>
                  <a:pt x="4036" y="508"/>
                </a:cubicBezTo>
                <a:lnTo>
                  <a:pt x="4032" y="506"/>
                </a:lnTo>
                <a:cubicBezTo>
                  <a:pt x="4031" y="506"/>
                  <a:pt x="4027" y="512"/>
                  <a:pt x="4021" y="526"/>
                </a:cubicBezTo>
                <a:cubicBezTo>
                  <a:pt x="4014" y="539"/>
                  <a:pt x="4011" y="547"/>
                  <a:pt x="4011" y="551"/>
                </a:cubicBezTo>
                <a:lnTo>
                  <a:pt x="4011" y="553"/>
                </a:lnTo>
                <a:cubicBezTo>
                  <a:pt x="4011" y="553"/>
                  <a:pt x="4011" y="554"/>
                  <a:pt x="4010" y="554"/>
                </a:cubicBezTo>
                <a:close/>
                <a:moveTo>
                  <a:pt x="4644" y="607"/>
                </a:moveTo>
                <a:cubicBezTo>
                  <a:pt x="4644" y="607"/>
                  <a:pt x="4644" y="606"/>
                  <a:pt x="4644" y="606"/>
                </a:cubicBezTo>
                <a:cubicBezTo>
                  <a:pt x="4644" y="605"/>
                  <a:pt x="4644" y="605"/>
                  <a:pt x="4645" y="604"/>
                </a:cubicBezTo>
                <a:cubicBezTo>
                  <a:pt x="4645" y="603"/>
                  <a:pt x="4646" y="603"/>
                  <a:pt x="4647" y="601"/>
                </a:cubicBezTo>
                <a:cubicBezTo>
                  <a:pt x="4649" y="600"/>
                  <a:pt x="4649" y="600"/>
                  <a:pt x="4650" y="600"/>
                </a:cubicBezTo>
                <a:lnTo>
                  <a:pt x="4650" y="600"/>
                </a:lnTo>
                <a:lnTo>
                  <a:pt x="4648" y="603"/>
                </a:lnTo>
                <a:cubicBezTo>
                  <a:pt x="4646" y="605"/>
                  <a:pt x="4645" y="607"/>
                  <a:pt x="4644" y="607"/>
                </a:cubicBezTo>
                <a:close/>
                <a:moveTo>
                  <a:pt x="4420" y="735"/>
                </a:moveTo>
                <a:cubicBezTo>
                  <a:pt x="4420" y="735"/>
                  <a:pt x="4419" y="734"/>
                  <a:pt x="4417" y="732"/>
                </a:cubicBezTo>
                <a:cubicBezTo>
                  <a:pt x="4417" y="731"/>
                  <a:pt x="4416" y="730"/>
                  <a:pt x="4416" y="730"/>
                </a:cubicBezTo>
                <a:cubicBezTo>
                  <a:pt x="4416" y="729"/>
                  <a:pt x="4417" y="728"/>
                  <a:pt x="4418" y="728"/>
                </a:cubicBezTo>
                <a:lnTo>
                  <a:pt x="4420" y="727"/>
                </a:lnTo>
                <a:cubicBezTo>
                  <a:pt x="4421" y="727"/>
                  <a:pt x="4421" y="728"/>
                  <a:pt x="4421" y="730"/>
                </a:cubicBezTo>
                <a:cubicBezTo>
                  <a:pt x="4421" y="734"/>
                  <a:pt x="4421" y="735"/>
                  <a:pt x="4420" y="735"/>
                </a:cubicBezTo>
                <a:close/>
                <a:moveTo>
                  <a:pt x="4464" y="509"/>
                </a:moveTo>
                <a:cubicBezTo>
                  <a:pt x="4464" y="509"/>
                  <a:pt x="4463" y="508"/>
                  <a:pt x="4463" y="506"/>
                </a:cubicBezTo>
                <a:cubicBezTo>
                  <a:pt x="4463" y="504"/>
                  <a:pt x="4464" y="502"/>
                  <a:pt x="4464" y="502"/>
                </a:cubicBezTo>
                <a:cubicBezTo>
                  <a:pt x="4464" y="502"/>
                  <a:pt x="4465" y="504"/>
                  <a:pt x="4465" y="506"/>
                </a:cubicBezTo>
                <a:lnTo>
                  <a:pt x="4464" y="509"/>
                </a:lnTo>
                <a:cubicBezTo>
                  <a:pt x="4464" y="509"/>
                  <a:pt x="4464" y="509"/>
                  <a:pt x="4464" y="509"/>
                </a:cubicBezTo>
                <a:close/>
                <a:moveTo>
                  <a:pt x="4611" y="630"/>
                </a:moveTo>
                <a:cubicBezTo>
                  <a:pt x="4611" y="630"/>
                  <a:pt x="4610" y="629"/>
                  <a:pt x="4610" y="627"/>
                </a:cubicBezTo>
                <a:cubicBezTo>
                  <a:pt x="4610" y="626"/>
                  <a:pt x="4611" y="625"/>
                  <a:pt x="4613" y="625"/>
                </a:cubicBezTo>
                <a:cubicBezTo>
                  <a:pt x="4614" y="625"/>
                  <a:pt x="4614" y="625"/>
                  <a:pt x="4614" y="626"/>
                </a:cubicBezTo>
                <a:lnTo>
                  <a:pt x="4614" y="627"/>
                </a:lnTo>
                <a:cubicBezTo>
                  <a:pt x="4613" y="629"/>
                  <a:pt x="4612" y="630"/>
                  <a:pt x="4611" y="630"/>
                </a:cubicBezTo>
                <a:close/>
                <a:moveTo>
                  <a:pt x="4451" y="547"/>
                </a:moveTo>
                <a:lnTo>
                  <a:pt x="4451" y="546"/>
                </a:lnTo>
                <a:cubicBezTo>
                  <a:pt x="4451" y="546"/>
                  <a:pt x="4451" y="545"/>
                  <a:pt x="4452" y="543"/>
                </a:cubicBezTo>
                <a:cubicBezTo>
                  <a:pt x="4453" y="541"/>
                  <a:pt x="4453" y="540"/>
                  <a:pt x="4454" y="539"/>
                </a:cubicBezTo>
                <a:cubicBezTo>
                  <a:pt x="4454" y="538"/>
                  <a:pt x="4455" y="538"/>
                  <a:pt x="4455" y="538"/>
                </a:cubicBezTo>
                <a:cubicBezTo>
                  <a:pt x="4456" y="538"/>
                  <a:pt x="4456" y="538"/>
                  <a:pt x="4456" y="539"/>
                </a:cubicBezTo>
                <a:cubicBezTo>
                  <a:pt x="4456" y="539"/>
                  <a:pt x="4455" y="541"/>
                  <a:pt x="4454" y="543"/>
                </a:cubicBezTo>
                <a:cubicBezTo>
                  <a:pt x="4453" y="546"/>
                  <a:pt x="4452" y="547"/>
                  <a:pt x="4451" y="547"/>
                </a:cubicBezTo>
                <a:close/>
                <a:moveTo>
                  <a:pt x="4425" y="733"/>
                </a:moveTo>
                <a:cubicBezTo>
                  <a:pt x="4424" y="733"/>
                  <a:pt x="4424" y="732"/>
                  <a:pt x="4424" y="730"/>
                </a:cubicBezTo>
                <a:cubicBezTo>
                  <a:pt x="4424" y="727"/>
                  <a:pt x="4424" y="726"/>
                  <a:pt x="4426" y="726"/>
                </a:cubicBezTo>
                <a:cubicBezTo>
                  <a:pt x="4427" y="726"/>
                  <a:pt x="4427" y="727"/>
                  <a:pt x="4427" y="728"/>
                </a:cubicBezTo>
                <a:cubicBezTo>
                  <a:pt x="4427" y="728"/>
                  <a:pt x="4427" y="729"/>
                  <a:pt x="4427" y="730"/>
                </a:cubicBezTo>
                <a:cubicBezTo>
                  <a:pt x="4426" y="730"/>
                  <a:pt x="4426" y="731"/>
                  <a:pt x="4426" y="732"/>
                </a:cubicBezTo>
                <a:cubicBezTo>
                  <a:pt x="4425" y="733"/>
                  <a:pt x="4425" y="733"/>
                  <a:pt x="4425" y="733"/>
                </a:cubicBezTo>
                <a:close/>
                <a:moveTo>
                  <a:pt x="4459" y="528"/>
                </a:moveTo>
                <a:lnTo>
                  <a:pt x="4459" y="527"/>
                </a:lnTo>
                <a:lnTo>
                  <a:pt x="4460" y="523"/>
                </a:lnTo>
                <a:cubicBezTo>
                  <a:pt x="4461" y="518"/>
                  <a:pt x="4462" y="515"/>
                  <a:pt x="4463" y="515"/>
                </a:cubicBezTo>
                <a:cubicBezTo>
                  <a:pt x="4463" y="515"/>
                  <a:pt x="4463" y="517"/>
                  <a:pt x="4463" y="519"/>
                </a:cubicBezTo>
                <a:cubicBezTo>
                  <a:pt x="4463" y="520"/>
                  <a:pt x="4463" y="522"/>
                  <a:pt x="4462" y="523"/>
                </a:cubicBezTo>
                <a:cubicBezTo>
                  <a:pt x="4462" y="524"/>
                  <a:pt x="4461" y="526"/>
                  <a:pt x="4461" y="526"/>
                </a:cubicBezTo>
                <a:lnTo>
                  <a:pt x="4459" y="528"/>
                </a:lnTo>
                <a:close/>
                <a:moveTo>
                  <a:pt x="4711" y="558"/>
                </a:moveTo>
                <a:cubicBezTo>
                  <a:pt x="4711" y="558"/>
                  <a:pt x="4711" y="558"/>
                  <a:pt x="4711" y="558"/>
                </a:cubicBezTo>
                <a:cubicBezTo>
                  <a:pt x="4711" y="557"/>
                  <a:pt x="4714" y="554"/>
                  <a:pt x="4721" y="550"/>
                </a:cubicBezTo>
                <a:cubicBezTo>
                  <a:pt x="4728" y="545"/>
                  <a:pt x="4732" y="543"/>
                  <a:pt x="4734" y="543"/>
                </a:cubicBezTo>
                <a:cubicBezTo>
                  <a:pt x="4734" y="544"/>
                  <a:pt x="4731" y="546"/>
                  <a:pt x="4726" y="549"/>
                </a:cubicBezTo>
                <a:cubicBezTo>
                  <a:pt x="4717" y="555"/>
                  <a:pt x="4712" y="558"/>
                  <a:pt x="4711" y="558"/>
                </a:cubicBezTo>
                <a:close/>
                <a:moveTo>
                  <a:pt x="4430" y="735"/>
                </a:moveTo>
                <a:lnTo>
                  <a:pt x="4429" y="735"/>
                </a:lnTo>
                <a:cubicBezTo>
                  <a:pt x="4429" y="734"/>
                  <a:pt x="4432" y="733"/>
                  <a:pt x="4438" y="730"/>
                </a:cubicBezTo>
                <a:lnTo>
                  <a:pt x="4453" y="723"/>
                </a:lnTo>
                <a:cubicBezTo>
                  <a:pt x="4456" y="722"/>
                  <a:pt x="4466" y="718"/>
                  <a:pt x="4482" y="711"/>
                </a:cubicBezTo>
                <a:cubicBezTo>
                  <a:pt x="4511" y="697"/>
                  <a:pt x="4526" y="690"/>
                  <a:pt x="4526" y="688"/>
                </a:cubicBezTo>
                <a:cubicBezTo>
                  <a:pt x="4526" y="688"/>
                  <a:pt x="4525" y="688"/>
                  <a:pt x="4525" y="688"/>
                </a:cubicBezTo>
                <a:cubicBezTo>
                  <a:pt x="4523" y="688"/>
                  <a:pt x="4514" y="692"/>
                  <a:pt x="4498" y="700"/>
                </a:cubicBezTo>
                <a:cubicBezTo>
                  <a:pt x="4486" y="707"/>
                  <a:pt x="4475" y="711"/>
                  <a:pt x="4468" y="713"/>
                </a:cubicBezTo>
                <a:cubicBezTo>
                  <a:pt x="4463" y="715"/>
                  <a:pt x="4458" y="716"/>
                  <a:pt x="4455" y="718"/>
                </a:cubicBezTo>
                <a:cubicBezTo>
                  <a:pt x="4452" y="720"/>
                  <a:pt x="4450" y="721"/>
                  <a:pt x="4450" y="722"/>
                </a:cubicBezTo>
                <a:cubicBezTo>
                  <a:pt x="4450" y="723"/>
                  <a:pt x="4450" y="723"/>
                  <a:pt x="4449" y="723"/>
                </a:cubicBezTo>
                <a:lnTo>
                  <a:pt x="4449" y="723"/>
                </a:lnTo>
                <a:cubicBezTo>
                  <a:pt x="4446" y="723"/>
                  <a:pt x="4443" y="724"/>
                  <a:pt x="4439" y="725"/>
                </a:cubicBezTo>
                <a:cubicBezTo>
                  <a:pt x="4435" y="727"/>
                  <a:pt x="4433" y="728"/>
                  <a:pt x="4431" y="728"/>
                </a:cubicBezTo>
                <a:cubicBezTo>
                  <a:pt x="4431" y="728"/>
                  <a:pt x="4430" y="728"/>
                  <a:pt x="4430" y="726"/>
                </a:cubicBezTo>
                <a:cubicBezTo>
                  <a:pt x="4430" y="725"/>
                  <a:pt x="4433" y="723"/>
                  <a:pt x="4438" y="721"/>
                </a:cubicBezTo>
                <a:cubicBezTo>
                  <a:pt x="4454" y="715"/>
                  <a:pt x="4484" y="701"/>
                  <a:pt x="4527" y="679"/>
                </a:cubicBezTo>
                <a:cubicBezTo>
                  <a:pt x="4544" y="670"/>
                  <a:pt x="4556" y="663"/>
                  <a:pt x="4563" y="659"/>
                </a:cubicBezTo>
                <a:cubicBezTo>
                  <a:pt x="4567" y="657"/>
                  <a:pt x="4570" y="655"/>
                  <a:pt x="4573" y="654"/>
                </a:cubicBezTo>
                <a:cubicBezTo>
                  <a:pt x="4575" y="652"/>
                  <a:pt x="4577" y="651"/>
                  <a:pt x="4578" y="650"/>
                </a:cubicBezTo>
                <a:cubicBezTo>
                  <a:pt x="4580" y="649"/>
                  <a:pt x="4580" y="649"/>
                  <a:pt x="4580" y="648"/>
                </a:cubicBezTo>
                <a:cubicBezTo>
                  <a:pt x="4580" y="647"/>
                  <a:pt x="4581" y="647"/>
                  <a:pt x="4582" y="647"/>
                </a:cubicBezTo>
                <a:lnTo>
                  <a:pt x="4583" y="647"/>
                </a:lnTo>
                <a:cubicBezTo>
                  <a:pt x="4585" y="647"/>
                  <a:pt x="4587" y="646"/>
                  <a:pt x="4588" y="644"/>
                </a:cubicBezTo>
                <a:cubicBezTo>
                  <a:pt x="4589" y="643"/>
                  <a:pt x="4591" y="642"/>
                  <a:pt x="4592" y="641"/>
                </a:cubicBezTo>
                <a:lnTo>
                  <a:pt x="4597" y="639"/>
                </a:lnTo>
                <a:cubicBezTo>
                  <a:pt x="4598" y="639"/>
                  <a:pt x="4598" y="639"/>
                  <a:pt x="4598" y="639"/>
                </a:cubicBezTo>
                <a:cubicBezTo>
                  <a:pt x="4598" y="641"/>
                  <a:pt x="4588" y="649"/>
                  <a:pt x="4567" y="661"/>
                </a:cubicBezTo>
                <a:cubicBezTo>
                  <a:pt x="4560" y="665"/>
                  <a:pt x="4555" y="669"/>
                  <a:pt x="4551" y="672"/>
                </a:cubicBezTo>
                <a:cubicBezTo>
                  <a:pt x="4547" y="675"/>
                  <a:pt x="4545" y="677"/>
                  <a:pt x="4545" y="677"/>
                </a:cubicBezTo>
                <a:lnTo>
                  <a:pt x="4546" y="677"/>
                </a:lnTo>
                <a:cubicBezTo>
                  <a:pt x="4546" y="677"/>
                  <a:pt x="4549" y="676"/>
                  <a:pt x="4553" y="673"/>
                </a:cubicBezTo>
                <a:cubicBezTo>
                  <a:pt x="4588" y="652"/>
                  <a:pt x="4605" y="640"/>
                  <a:pt x="4605" y="637"/>
                </a:cubicBezTo>
                <a:lnTo>
                  <a:pt x="4605" y="637"/>
                </a:lnTo>
                <a:cubicBezTo>
                  <a:pt x="4605" y="636"/>
                  <a:pt x="4605" y="635"/>
                  <a:pt x="4606" y="635"/>
                </a:cubicBezTo>
                <a:lnTo>
                  <a:pt x="4608" y="635"/>
                </a:lnTo>
                <a:cubicBezTo>
                  <a:pt x="4609" y="635"/>
                  <a:pt x="4613" y="633"/>
                  <a:pt x="4619" y="630"/>
                </a:cubicBezTo>
                <a:cubicBezTo>
                  <a:pt x="4636" y="618"/>
                  <a:pt x="4649" y="609"/>
                  <a:pt x="4658" y="601"/>
                </a:cubicBezTo>
                <a:cubicBezTo>
                  <a:pt x="4663" y="596"/>
                  <a:pt x="4665" y="593"/>
                  <a:pt x="4665" y="592"/>
                </a:cubicBezTo>
                <a:lnTo>
                  <a:pt x="4665" y="590"/>
                </a:lnTo>
                <a:cubicBezTo>
                  <a:pt x="4665" y="589"/>
                  <a:pt x="4665" y="589"/>
                  <a:pt x="4665" y="589"/>
                </a:cubicBezTo>
                <a:cubicBezTo>
                  <a:pt x="4666" y="589"/>
                  <a:pt x="4666" y="590"/>
                  <a:pt x="4667" y="590"/>
                </a:cubicBezTo>
                <a:cubicBezTo>
                  <a:pt x="4668" y="591"/>
                  <a:pt x="4668" y="592"/>
                  <a:pt x="4669" y="592"/>
                </a:cubicBezTo>
                <a:cubicBezTo>
                  <a:pt x="4670" y="592"/>
                  <a:pt x="4672" y="591"/>
                  <a:pt x="4675" y="588"/>
                </a:cubicBezTo>
                <a:cubicBezTo>
                  <a:pt x="4680" y="585"/>
                  <a:pt x="4682" y="583"/>
                  <a:pt x="4682" y="582"/>
                </a:cubicBezTo>
                <a:cubicBezTo>
                  <a:pt x="4682" y="582"/>
                  <a:pt x="4682" y="581"/>
                  <a:pt x="4682" y="581"/>
                </a:cubicBezTo>
                <a:cubicBezTo>
                  <a:pt x="4681" y="581"/>
                  <a:pt x="4680" y="582"/>
                  <a:pt x="4679" y="582"/>
                </a:cubicBezTo>
                <a:cubicBezTo>
                  <a:pt x="4679" y="583"/>
                  <a:pt x="4678" y="583"/>
                  <a:pt x="4677" y="583"/>
                </a:cubicBezTo>
                <a:cubicBezTo>
                  <a:pt x="4677" y="583"/>
                  <a:pt x="4677" y="583"/>
                  <a:pt x="4677" y="583"/>
                </a:cubicBezTo>
                <a:cubicBezTo>
                  <a:pt x="4677" y="581"/>
                  <a:pt x="4678" y="580"/>
                  <a:pt x="4682" y="580"/>
                </a:cubicBezTo>
                <a:cubicBezTo>
                  <a:pt x="4685" y="580"/>
                  <a:pt x="4691" y="577"/>
                  <a:pt x="4699" y="571"/>
                </a:cubicBezTo>
                <a:cubicBezTo>
                  <a:pt x="4702" y="569"/>
                  <a:pt x="4703" y="568"/>
                  <a:pt x="4703" y="567"/>
                </a:cubicBezTo>
                <a:lnTo>
                  <a:pt x="4703" y="566"/>
                </a:lnTo>
                <a:lnTo>
                  <a:pt x="4702" y="566"/>
                </a:lnTo>
                <a:cubicBezTo>
                  <a:pt x="4702" y="566"/>
                  <a:pt x="4700" y="566"/>
                  <a:pt x="4699" y="568"/>
                </a:cubicBezTo>
                <a:cubicBezTo>
                  <a:pt x="4697" y="569"/>
                  <a:pt x="4696" y="570"/>
                  <a:pt x="4696" y="570"/>
                </a:cubicBezTo>
                <a:cubicBezTo>
                  <a:pt x="4696" y="570"/>
                  <a:pt x="4695" y="570"/>
                  <a:pt x="4695" y="569"/>
                </a:cubicBezTo>
                <a:cubicBezTo>
                  <a:pt x="4695" y="569"/>
                  <a:pt x="4696" y="568"/>
                  <a:pt x="4697" y="567"/>
                </a:cubicBezTo>
                <a:cubicBezTo>
                  <a:pt x="4699" y="566"/>
                  <a:pt x="4701" y="564"/>
                  <a:pt x="4702" y="563"/>
                </a:cubicBezTo>
                <a:lnTo>
                  <a:pt x="4708" y="560"/>
                </a:lnTo>
                <a:cubicBezTo>
                  <a:pt x="4708" y="560"/>
                  <a:pt x="4707" y="561"/>
                  <a:pt x="4706" y="562"/>
                </a:cubicBezTo>
                <a:lnTo>
                  <a:pt x="4704" y="566"/>
                </a:lnTo>
                <a:cubicBezTo>
                  <a:pt x="4705" y="566"/>
                  <a:pt x="4706" y="565"/>
                  <a:pt x="4707" y="564"/>
                </a:cubicBezTo>
                <a:cubicBezTo>
                  <a:pt x="4709" y="563"/>
                  <a:pt x="4711" y="563"/>
                  <a:pt x="4714" y="563"/>
                </a:cubicBezTo>
                <a:cubicBezTo>
                  <a:pt x="4716" y="563"/>
                  <a:pt x="4716" y="563"/>
                  <a:pt x="4716" y="562"/>
                </a:cubicBezTo>
                <a:lnTo>
                  <a:pt x="4716" y="561"/>
                </a:lnTo>
                <a:cubicBezTo>
                  <a:pt x="4716" y="560"/>
                  <a:pt x="4717" y="559"/>
                  <a:pt x="4718" y="558"/>
                </a:cubicBezTo>
                <a:cubicBezTo>
                  <a:pt x="4721" y="556"/>
                  <a:pt x="4724" y="555"/>
                  <a:pt x="4727" y="555"/>
                </a:cubicBezTo>
                <a:cubicBezTo>
                  <a:pt x="4727" y="555"/>
                  <a:pt x="4728" y="555"/>
                  <a:pt x="4728" y="555"/>
                </a:cubicBezTo>
                <a:cubicBezTo>
                  <a:pt x="4729" y="555"/>
                  <a:pt x="4729" y="556"/>
                  <a:pt x="4729" y="556"/>
                </a:cubicBezTo>
                <a:cubicBezTo>
                  <a:pt x="4729" y="556"/>
                  <a:pt x="4730" y="555"/>
                  <a:pt x="4730" y="554"/>
                </a:cubicBezTo>
                <a:lnTo>
                  <a:pt x="4730" y="553"/>
                </a:lnTo>
                <a:cubicBezTo>
                  <a:pt x="4730" y="551"/>
                  <a:pt x="4731" y="551"/>
                  <a:pt x="4733" y="551"/>
                </a:cubicBezTo>
                <a:cubicBezTo>
                  <a:pt x="4736" y="551"/>
                  <a:pt x="4737" y="550"/>
                  <a:pt x="4737" y="548"/>
                </a:cubicBezTo>
                <a:lnTo>
                  <a:pt x="4737" y="548"/>
                </a:lnTo>
                <a:cubicBezTo>
                  <a:pt x="4737" y="546"/>
                  <a:pt x="4737" y="546"/>
                  <a:pt x="4738" y="546"/>
                </a:cubicBezTo>
                <a:lnTo>
                  <a:pt x="4742" y="546"/>
                </a:lnTo>
                <a:cubicBezTo>
                  <a:pt x="4744" y="546"/>
                  <a:pt x="4745" y="546"/>
                  <a:pt x="4746" y="545"/>
                </a:cubicBezTo>
                <a:cubicBezTo>
                  <a:pt x="4747" y="544"/>
                  <a:pt x="4748" y="544"/>
                  <a:pt x="4749" y="544"/>
                </a:cubicBezTo>
                <a:cubicBezTo>
                  <a:pt x="4749" y="544"/>
                  <a:pt x="4750" y="544"/>
                  <a:pt x="4750" y="544"/>
                </a:cubicBezTo>
                <a:cubicBezTo>
                  <a:pt x="4749" y="546"/>
                  <a:pt x="4746" y="549"/>
                  <a:pt x="4742" y="552"/>
                </a:cubicBezTo>
                <a:lnTo>
                  <a:pt x="4716" y="571"/>
                </a:lnTo>
                <a:cubicBezTo>
                  <a:pt x="4706" y="579"/>
                  <a:pt x="4698" y="584"/>
                  <a:pt x="4695" y="586"/>
                </a:cubicBezTo>
                <a:lnTo>
                  <a:pt x="4694" y="587"/>
                </a:lnTo>
                <a:cubicBezTo>
                  <a:pt x="4691" y="589"/>
                  <a:pt x="4689" y="590"/>
                  <a:pt x="4688" y="592"/>
                </a:cubicBezTo>
                <a:cubicBezTo>
                  <a:pt x="4686" y="595"/>
                  <a:pt x="4677" y="601"/>
                  <a:pt x="4661" y="612"/>
                </a:cubicBezTo>
                <a:cubicBezTo>
                  <a:pt x="4630" y="637"/>
                  <a:pt x="4611" y="649"/>
                  <a:pt x="4603" y="649"/>
                </a:cubicBezTo>
                <a:lnTo>
                  <a:pt x="4600" y="649"/>
                </a:lnTo>
                <a:lnTo>
                  <a:pt x="4602" y="650"/>
                </a:lnTo>
                <a:cubicBezTo>
                  <a:pt x="4603" y="650"/>
                  <a:pt x="4603" y="651"/>
                  <a:pt x="4603" y="652"/>
                </a:cubicBezTo>
                <a:cubicBezTo>
                  <a:pt x="4603" y="653"/>
                  <a:pt x="4602" y="654"/>
                  <a:pt x="4600" y="655"/>
                </a:cubicBezTo>
                <a:cubicBezTo>
                  <a:pt x="4598" y="656"/>
                  <a:pt x="4597" y="656"/>
                  <a:pt x="4597" y="656"/>
                </a:cubicBezTo>
                <a:cubicBezTo>
                  <a:pt x="4596" y="656"/>
                  <a:pt x="4596" y="656"/>
                  <a:pt x="4596" y="656"/>
                </a:cubicBezTo>
                <a:lnTo>
                  <a:pt x="4597" y="652"/>
                </a:lnTo>
                <a:cubicBezTo>
                  <a:pt x="4597" y="651"/>
                  <a:pt x="4597" y="651"/>
                  <a:pt x="4595" y="651"/>
                </a:cubicBezTo>
                <a:cubicBezTo>
                  <a:pt x="4593" y="652"/>
                  <a:pt x="4593" y="653"/>
                  <a:pt x="4593" y="655"/>
                </a:cubicBezTo>
                <a:lnTo>
                  <a:pt x="4593" y="656"/>
                </a:lnTo>
                <a:cubicBezTo>
                  <a:pt x="4593" y="658"/>
                  <a:pt x="4592" y="660"/>
                  <a:pt x="4589" y="661"/>
                </a:cubicBezTo>
                <a:cubicBezTo>
                  <a:pt x="4587" y="663"/>
                  <a:pt x="4585" y="663"/>
                  <a:pt x="4585" y="663"/>
                </a:cubicBezTo>
                <a:lnTo>
                  <a:pt x="4591" y="658"/>
                </a:lnTo>
                <a:lnTo>
                  <a:pt x="4591" y="657"/>
                </a:lnTo>
                <a:cubicBezTo>
                  <a:pt x="4590" y="657"/>
                  <a:pt x="4590" y="658"/>
                  <a:pt x="4588" y="658"/>
                </a:cubicBezTo>
                <a:cubicBezTo>
                  <a:pt x="4587" y="659"/>
                  <a:pt x="4586" y="659"/>
                  <a:pt x="4585" y="659"/>
                </a:cubicBezTo>
                <a:cubicBezTo>
                  <a:pt x="4584" y="659"/>
                  <a:pt x="4583" y="659"/>
                  <a:pt x="4582" y="659"/>
                </a:cubicBezTo>
                <a:cubicBezTo>
                  <a:pt x="4582" y="659"/>
                  <a:pt x="4581" y="660"/>
                  <a:pt x="4581" y="661"/>
                </a:cubicBezTo>
                <a:lnTo>
                  <a:pt x="4582" y="663"/>
                </a:lnTo>
                <a:cubicBezTo>
                  <a:pt x="4582" y="665"/>
                  <a:pt x="4580" y="667"/>
                  <a:pt x="4578" y="669"/>
                </a:cubicBezTo>
                <a:lnTo>
                  <a:pt x="4573" y="670"/>
                </a:lnTo>
                <a:cubicBezTo>
                  <a:pt x="4573" y="670"/>
                  <a:pt x="4575" y="669"/>
                  <a:pt x="4577" y="667"/>
                </a:cubicBezTo>
                <a:cubicBezTo>
                  <a:pt x="4579" y="666"/>
                  <a:pt x="4580" y="665"/>
                  <a:pt x="4580" y="664"/>
                </a:cubicBezTo>
                <a:lnTo>
                  <a:pt x="4577" y="665"/>
                </a:lnTo>
                <a:cubicBezTo>
                  <a:pt x="4575" y="666"/>
                  <a:pt x="4573" y="666"/>
                  <a:pt x="4573" y="666"/>
                </a:cubicBezTo>
                <a:cubicBezTo>
                  <a:pt x="4572" y="666"/>
                  <a:pt x="4572" y="668"/>
                  <a:pt x="4572" y="670"/>
                </a:cubicBezTo>
                <a:cubicBezTo>
                  <a:pt x="4572" y="671"/>
                  <a:pt x="4571" y="672"/>
                  <a:pt x="4570" y="673"/>
                </a:cubicBezTo>
                <a:cubicBezTo>
                  <a:pt x="4567" y="676"/>
                  <a:pt x="4565" y="677"/>
                  <a:pt x="4563" y="677"/>
                </a:cubicBezTo>
                <a:cubicBezTo>
                  <a:pt x="4562" y="677"/>
                  <a:pt x="4562" y="677"/>
                  <a:pt x="4562" y="677"/>
                </a:cubicBezTo>
                <a:cubicBezTo>
                  <a:pt x="4561" y="677"/>
                  <a:pt x="4561" y="677"/>
                  <a:pt x="4561" y="676"/>
                </a:cubicBezTo>
                <a:lnTo>
                  <a:pt x="4565" y="674"/>
                </a:lnTo>
                <a:cubicBezTo>
                  <a:pt x="4568" y="673"/>
                  <a:pt x="4569" y="671"/>
                  <a:pt x="4569" y="671"/>
                </a:cubicBezTo>
                <a:cubicBezTo>
                  <a:pt x="4569" y="671"/>
                  <a:pt x="4569" y="670"/>
                  <a:pt x="4569" y="670"/>
                </a:cubicBezTo>
                <a:cubicBezTo>
                  <a:pt x="4567" y="670"/>
                  <a:pt x="4563" y="672"/>
                  <a:pt x="4557" y="676"/>
                </a:cubicBezTo>
                <a:cubicBezTo>
                  <a:pt x="4550" y="679"/>
                  <a:pt x="4547" y="682"/>
                  <a:pt x="4547" y="683"/>
                </a:cubicBezTo>
                <a:lnTo>
                  <a:pt x="4547" y="685"/>
                </a:lnTo>
                <a:cubicBezTo>
                  <a:pt x="4547" y="686"/>
                  <a:pt x="4546" y="686"/>
                  <a:pt x="4545" y="686"/>
                </a:cubicBezTo>
                <a:lnTo>
                  <a:pt x="4545" y="686"/>
                </a:lnTo>
                <a:cubicBezTo>
                  <a:pt x="4541" y="686"/>
                  <a:pt x="4532" y="690"/>
                  <a:pt x="4516" y="698"/>
                </a:cubicBezTo>
                <a:cubicBezTo>
                  <a:pt x="4507" y="703"/>
                  <a:pt x="4496" y="708"/>
                  <a:pt x="4483" y="714"/>
                </a:cubicBezTo>
                <a:cubicBezTo>
                  <a:pt x="4452" y="728"/>
                  <a:pt x="4434" y="735"/>
                  <a:pt x="4430" y="735"/>
                </a:cubicBezTo>
                <a:close/>
                <a:moveTo>
                  <a:pt x="4528" y="686"/>
                </a:moveTo>
                <a:cubicBezTo>
                  <a:pt x="4529" y="686"/>
                  <a:pt x="4530" y="686"/>
                  <a:pt x="4531" y="686"/>
                </a:cubicBezTo>
                <a:cubicBezTo>
                  <a:pt x="4533" y="685"/>
                  <a:pt x="4534" y="684"/>
                  <a:pt x="4534" y="683"/>
                </a:cubicBezTo>
                <a:cubicBezTo>
                  <a:pt x="4533" y="683"/>
                  <a:pt x="4533" y="683"/>
                  <a:pt x="4533" y="683"/>
                </a:cubicBezTo>
                <a:cubicBezTo>
                  <a:pt x="4532" y="683"/>
                  <a:pt x="4531" y="683"/>
                  <a:pt x="4530" y="685"/>
                </a:cubicBezTo>
                <a:lnTo>
                  <a:pt x="4528" y="686"/>
                </a:lnTo>
                <a:close/>
                <a:moveTo>
                  <a:pt x="4278" y="755"/>
                </a:moveTo>
                <a:lnTo>
                  <a:pt x="4278" y="755"/>
                </a:lnTo>
                <a:cubicBezTo>
                  <a:pt x="4277" y="755"/>
                  <a:pt x="4276" y="754"/>
                  <a:pt x="4275" y="752"/>
                </a:cubicBezTo>
                <a:lnTo>
                  <a:pt x="4274" y="749"/>
                </a:lnTo>
                <a:lnTo>
                  <a:pt x="4275" y="749"/>
                </a:lnTo>
                <a:lnTo>
                  <a:pt x="4276" y="751"/>
                </a:lnTo>
                <a:cubicBezTo>
                  <a:pt x="4278" y="752"/>
                  <a:pt x="4278" y="753"/>
                  <a:pt x="4278" y="754"/>
                </a:cubicBezTo>
                <a:lnTo>
                  <a:pt x="4278" y="755"/>
                </a:lnTo>
                <a:close/>
                <a:moveTo>
                  <a:pt x="4273" y="735"/>
                </a:moveTo>
                <a:cubicBezTo>
                  <a:pt x="4273" y="735"/>
                  <a:pt x="4272" y="734"/>
                  <a:pt x="4270" y="731"/>
                </a:cubicBezTo>
                <a:lnTo>
                  <a:pt x="4268" y="728"/>
                </a:lnTo>
                <a:lnTo>
                  <a:pt x="4274" y="734"/>
                </a:lnTo>
                <a:cubicBezTo>
                  <a:pt x="4274" y="735"/>
                  <a:pt x="4273" y="735"/>
                  <a:pt x="4273" y="735"/>
                </a:cubicBezTo>
                <a:close/>
                <a:moveTo>
                  <a:pt x="4426" y="458"/>
                </a:moveTo>
                <a:cubicBezTo>
                  <a:pt x="4425" y="458"/>
                  <a:pt x="4424" y="456"/>
                  <a:pt x="4423" y="454"/>
                </a:cubicBezTo>
                <a:lnTo>
                  <a:pt x="4422" y="451"/>
                </a:lnTo>
                <a:cubicBezTo>
                  <a:pt x="4422" y="450"/>
                  <a:pt x="4422" y="449"/>
                  <a:pt x="4423" y="449"/>
                </a:cubicBezTo>
                <a:cubicBezTo>
                  <a:pt x="4423" y="449"/>
                  <a:pt x="4424" y="450"/>
                  <a:pt x="4425" y="451"/>
                </a:cubicBezTo>
                <a:cubicBezTo>
                  <a:pt x="4426" y="453"/>
                  <a:pt x="4427" y="454"/>
                  <a:pt x="4428" y="454"/>
                </a:cubicBezTo>
                <a:lnTo>
                  <a:pt x="4430" y="453"/>
                </a:lnTo>
                <a:lnTo>
                  <a:pt x="4429" y="455"/>
                </a:lnTo>
                <a:cubicBezTo>
                  <a:pt x="4429" y="457"/>
                  <a:pt x="4427" y="458"/>
                  <a:pt x="4426" y="458"/>
                </a:cubicBezTo>
                <a:close/>
                <a:moveTo>
                  <a:pt x="4312" y="499"/>
                </a:moveTo>
                <a:cubicBezTo>
                  <a:pt x="4312" y="498"/>
                  <a:pt x="4312" y="498"/>
                  <a:pt x="4312" y="498"/>
                </a:cubicBezTo>
                <a:cubicBezTo>
                  <a:pt x="4312" y="497"/>
                  <a:pt x="4312" y="497"/>
                  <a:pt x="4313" y="495"/>
                </a:cubicBezTo>
                <a:cubicBezTo>
                  <a:pt x="4313" y="494"/>
                  <a:pt x="4314" y="492"/>
                  <a:pt x="4315" y="491"/>
                </a:cubicBezTo>
                <a:cubicBezTo>
                  <a:pt x="4316" y="490"/>
                  <a:pt x="4317" y="489"/>
                  <a:pt x="4318" y="488"/>
                </a:cubicBezTo>
                <a:cubicBezTo>
                  <a:pt x="4319" y="488"/>
                  <a:pt x="4319" y="487"/>
                  <a:pt x="4320" y="487"/>
                </a:cubicBezTo>
                <a:cubicBezTo>
                  <a:pt x="4320" y="487"/>
                  <a:pt x="4320" y="487"/>
                  <a:pt x="4320" y="488"/>
                </a:cubicBezTo>
                <a:cubicBezTo>
                  <a:pt x="4320" y="489"/>
                  <a:pt x="4319" y="491"/>
                  <a:pt x="4315" y="495"/>
                </a:cubicBezTo>
                <a:cubicBezTo>
                  <a:pt x="4313" y="497"/>
                  <a:pt x="4312" y="499"/>
                  <a:pt x="4312" y="499"/>
                </a:cubicBezTo>
                <a:close/>
                <a:moveTo>
                  <a:pt x="4262" y="691"/>
                </a:moveTo>
                <a:lnTo>
                  <a:pt x="4262" y="691"/>
                </a:lnTo>
                <a:cubicBezTo>
                  <a:pt x="4262" y="691"/>
                  <a:pt x="4261" y="691"/>
                  <a:pt x="4261" y="690"/>
                </a:cubicBezTo>
                <a:lnTo>
                  <a:pt x="4261" y="688"/>
                </a:lnTo>
                <a:cubicBezTo>
                  <a:pt x="4261" y="686"/>
                  <a:pt x="4262" y="686"/>
                  <a:pt x="4262" y="686"/>
                </a:cubicBezTo>
                <a:lnTo>
                  <a:pt x="4262" y="686"/>
                </a:lnTo>
                <a:cubicBezTo>
                  <a:pt x="4263" y="687"/>
                  <a:pt x="4263" y="688"/>
                  <a:pt x="4263" y="688"/>
                </a:cubicBezTo>
                <a:cubicBezTo>
                  <a:pt x="4263" y="690"/>
                  <a:pt x="4263" y="691"/>
                  <a:pt x="4262" y="691"/>
                </a:cubicBezTo>
                <a:close/>
                <a:moveTo>
                  <a:pt x="4644" y="606"/>
                </a:moveTo>
                <a:close/>
                <a:moveTo>
                  <a:pt x="4357" y="786"/>
                </a:moveTo>
                <a:lnTo>
                  <a:pt x="4340" y="785"/>
                </a:lnTo>
                <a:cubicBezTo>
                  <a:pt x="4331" y="784"/>
                  <a:pt x="4322" y="783"/>
                  <a:pt x="4315" y="779"/>
                </a:cubicBezTo>
                <a:cubicBezTo>
                  <a:pt x="4307" y="776"/>
                  <a:pt x="4301" y="772"/>
                  <a:pt x="4298" y="768"/>
                </a:cubicBezTo>
                <a:cubicBezTo>
                  <a:pt x="4296" y="766"/>
                  <a:pt x="4295" y="765"/>
                  <a:pt x="4293" y="765"/>
                </a:cubicBezTo>
                <a:cubicBezTo>
                  <a:pt x="4292" y="765"/>
                  <a:pt x="4290" y="764"/>
                  <a:pt x="4288" y="763"/>
                </a:cubicBezTo>
                <a:cubicBezTo>
                  <a:pt x="4283" y="760"/>
                  <a:pt x="4281" y="758"/>
                  <a:pt x="4281" y="756"/>
                </a:cubicBezTo>
                <a:cubicBezTo>
                  <a:pt x="4281" y="756"/>
                  <a:pt x="4281" y="756"/>
                  <a:pt x="4282" y="756"/>
                </a:cubicBezTo>
                <a:cubicBezTo>
                  <a:pt x="4282" y="756"/>
                  <a:pt x="4283" y="756"/>
                  <a:pt x="4284" y="757"/>
                </a:cubicBezTo>
                <a:cubicBezTo>
                  <a:pt x="4285" y="757"/>
                  <a:pt x="4286" y="758"/>
                  <a:pt x="4287" y="759"/>
                </a:cubicBezTo>
                <a:lnTo>
                  <a:pt x="4288" y="760"/>
                </a:lnTo>
                <a:cubicBezTo>
                  <a:pt x="4288" y="760"/>
                  <a:pt x="4288" y="759"/>
                  <a:pt x="4288" y="759"/>
                </a:cubicBezTo>
                <a:lnTo>
                  <a:pt x="4287" y="756"/>
                </a:lnTo>
                <a:cubicBezTo>
                  <a:pt x="4282" y="748"/>
                  <a:pt x="4278" y="742"/>
                  <a:pt x="4277" y="737"/>
                </a:cubicBezTo>
                <a:cubicBezTo>
                  <a:pt x="4274" y="732"/>
                  <a:pt x="4273" y="726"/>
                  <a:pt x="4272" y="719"/>
                </a:cubicBezTo>
                <a:cubicBezTo>
                  <a:pt x="4271" y="707"/>
                  <a:pt x="4270" y="691"/>
                  <a:pt x="4270" y="670"/>
                </a:cubicBezTo>
                <a:cubicBezTo>
                  <a:pt x="4270" y="662"/>
                  <a:pt x="4271" y="658"/>
                  <a:pt x="4272" y="658"/>
                </a:cubicBezTo>
                <a:lnTo>
                  <a:pt x="4275" y="659"/>
                </a:lnTo>
                <a:cubicBezTo>
                  <a:pt x="4275" y="659"/>
                  <a:pt x="4276" y="659"/>
                  <a:pt x="4276" y="658"/>
                </a:cubicBezTo>
                <a:lnTo>
                  <a:pt x="4276" y="658"/>
                </a:lnTo>
                <a:cubicBezTo>
                  <a:pt x="4275" y="658"/>
                  <a:pt x="4275" y="657"/>
                  <a:pt x="4275" y="657"/>
                </a:cubicBezTo>
                <a:cubicBezTo>
                  <a:pt x="4275" y="656"/>
                  <a:pt x="4276" y="655"/>
                  <a:pt x="4277" y="653"/>
                </a:cubicBezTo>
                <a:cubicBezTo>
                  <a:pt x="4278" y="652"/>
                  <a:pt x="4278" y="651"/>
                  <a:pt x="4278" y="650"/>
                </a:cubicBezTo>
                <a:cubicBezTo>
                  <a:pt x="4278" y="649"/>
                  <a:pt x="4278" y="649"/>
                  <a:pt x="4277" y="649"/>
                </a:cubicBezTo>
                <a:cubicBezTo>
                  <a:pt x="4276" y="649"/>
                  <a:pt x="4275" y="650"/>
                  <a:pt x="4273" y="651"/>
                </a:cubicBezTo>
                <a:cubicBezTo>
                  <a:pt x="4272" y="653"/>
                  <a:pt x="4271" y="654"/>
                  <a:pt x="4270" y="654"/>
                </a:cubicBezTo>
                <a:cubicBezTo>
                  <a:pt x="4270" y="654"/>
                  <a:pt x="4270" y="653"/>
                  <a:pt x="4270" y="651"/>
                </a:cubicBezTo>
                <a:cubicBezTo>
                  <a:pt x="4270" y="648"/>
                  <a:pt x="4270" y="644"/>
                  <a:pt x="4271" y="637"/>
                </a:cubicBezTo>
                <a:lnTo>
                  <a:pt x="4271" y="627"/>
                </a:lnTo>
                <a:cubicBezTo>
                  <a:pt x="4271" y="623"/>
                  <a:pt x="4271" y="621"/>
                  <a:pt x="4270" y="621"/>
                </a:cubicBezTo>
                <a:cubicBezTo>
                  <a:pt x="4270" y="622"/>
                  <a:pt x="4269" y="624"/>
                  <a:pt x="4268" y="628"/>
                </a:cubicBezTo>
                <a:cubicBezTo>
                  <a:pt x="4268" y="631"/>
                  <a:pt x="4267" y="635"/>
                  <a:pt x="4266" y="639"/>
                </a:cubicBezTo>
                <a:cubicBezTo>
                  <a:pt x="4265" y="644"/>
                  <a:pt x="4265" y="647"/>
                  <a:pt x="4265" y="651"/>
                </a:cubicBezTo>
                <a:cubicBezTo>
                  <a:pt x="4265" y="654"/>
                  <a:pt x="4265" y="656"/>
                  <a:pt x="4264" y="656"/>
                </a:cubicBezTo>
                <a:cubicBezTo>
                  <a:pt x="4264" y="656"/>
                  <a:pt x="4263" y="656"/>
                  <a:pt x="4263" y="655"/>
                </a:cubicBezTo>
                <a:cubicBezTo>
                  <a:pt x="4263" y="654"/>
                  <a:pt x="4263" y="654"/>
                  <a:pt x="4262" y="654"/>
                </a:cubicBezTo>
                <a:cubicBezTo>
                  <a:pt x="4261" y="654"/>
                  <a:pt x="4260" y="662"/>
                  <a:pt x="4260" y="677"/>
                </a:cubicBezTo>
                <a:lnTo>
                  <a:pt x="4260" y="687"/>
                </a:lnTo>
                <a:cubicBezTo>
                  <a:pt x="4260" y="702"/>
                  <a:pt x="4261" y="711"/>
                  <a:pt x="4264" y="715"/>
                </a:cubicBezTo>
                <a:cubicBezTo>
                  <a:pt x="4265" y="718"/>
                  <a:pt x="4266" y="720"/>
                  <a:pt x="4266" y="721"/>
                </a:cubicBezTo>
                <a:lnTo>
                  <a:pt x="4266" y="723"/>
                </a:lnTo>
                <a:cubicBezTo>
                  <a:pt x="4266" y="723"/>
                  <a:pt x="4266" y="723"/>
                  <a:pt x="4268" y="723"/>
                </a:cubicBezTo>
                <a:cubicBezTo>
                  <a:pt x="4269" y="723"/>
                  <a:pt x="4270" y="724"/>
                  <a:pt x="4271" y="724"/>
                </a:cubicBezTo>
                <a:cubicBezTo>
                  <a:pt x="4272" y="725"/>
                  <a:pt x="4272" y="725"/>
                  <a:pt x="4272" y="726"/>
                </a:cubicBezTo>
                <a:cubicBezTo>
                  <a:pt x="4272" y="727"/>
                  <a:pt x="4272" y="728"/>
                  <a:pt x="4271" y="728"/>
                </a:cubicBezTo>
                <a:cubicBezTo>
                  <a:pt x="4271" y="728"/>
                  <a:pt x="4270" y="727"/>
                  <a:pt x="4270" y="727"/>
                </a:cubicBezTo>
                <a:cubicBezTo>
                  <a:pt x="4269" y="727"/>
                  <a:pt x="4269" y="727"/>
                  <a:pt x="4268" y="727"/>
                </a:cubicBezTo>
                <a:cubicBezTo>
                  <a:pt x="4267" y="727"/>
                  <a:pt x="4266" y="728"/>
                  <a:pt x="4266" y="730"/>
                </a:cubicBezTo>
                <a:cubicBezTo>
                  <a:pt x="4266" y="732"/>
                  <a:pt x="4267" y="734"/>
                  <a:pt x="4268" y="738"/>
                </a:cubicBezTo>
                <a:cubicBezTo>
                  <a:pt x="4270" y="741"/>
                  <a:pt x="4271" y="744"/>
                  <a:pt x="4271" y="746"/>
                </a:cubicBezTo>
                <a:lnTo>
                  <a:pt x="4271" y="746"/>
                </a:lnTo>
                <a:cubicBezTo>
                  <a:pt x="4270" y="746"/>
                  <a:pt x="4268" y="742"/>
                  <a:pt x="4264" y="734"/>
                </a:cubicBezTo>
                <a:cubicBezTo>
                  <a:pt x="4261" y="725"/>
                  <a:pt x="4259" y="720"/>
                  <a:pt x="4259" y="719"/>
                </a:cubicBezTo>
                <a:cubicBezTo>
                  <a:pt x="4259" y="717"/>
                  <a:pt x="4258" y="714"/>
                  <a:pt x="4256" y="710"/>
                </a:cubicBezTo>
                <a:lnTo>
                  <a:pt x="4256" y="707"/>
                </a:lnTo>
                <a:cubicBezTo>
                  <a:pt x="4254" y="704"/>
                  <a:pt x="4253" y="702"/>
                  <a:pt x="4253" y="700"/>
                </a:cubicBezTo>
                <a:lnTo>
                  <a:pt x="4253" y="697"/>
                </a:lnTo>
                <a:cubicBezTo>
                  <a:pt x="4253" y="696"/>
                  <a:pt x="4253" y="693"/>
                  <a:pt x="4252" y="690"/>
                </a:cubicBezTo>
                <a:cubicBezTo>
                  <a:pt x="4250" y="683"/>
                  <a:pt x="4249" y="674"/>
                  <a:pt x="4249" y="665"/>
                </a:cubicBezTo>
                <a:cubicBezTo>
                  <a:pt x="4249" y="659"/>
                  <a:pt x="4250" y="651"/>
                  <a:pt x="4251" y="642"/>
                </a:cubicBezTo>
                <a:cubicBezTo>
                  <a:pt x="4253" y="628"/>
                  <a:pt x="4255" y="619"/>
                  <a:pt x="4256" y="616"/>
                </a:cubicBezTo>
                <a:lnTo>
                  <a:pt x="4259" y="596"/>
                </a:lnTo>
                <a:cubicBezTo>
                  <a:pt x="4259" y="594"/>
                  <a:pt x="4260" y="593"/>
                  <a:pt x="4261" y="593"/>
                </a:cubicBezTo>
                <a:cubicBezTo>
                  <a:pt x="4262" y="593"/>
                  <a:pt x="4262" y="593"/>
                  <a:pt x="4262" y="591"/>
                </a:cubicBezTo>
                <a:lnTo>
                  <a:pt x="4262" y="586"/>
                </a:lnTo>
                <a:cubicBezTo>
                  <a:pt x="4262" y="585"/>
                  <a:pt x="4262" y="584"/>
                  <a:pt x="4263" y="584"/>
                </a:cubicBezTo>
                <a:cubicBezTo>
                  <a:pt x="4264" y="584"/>
                  <a:pt x="4264" y="583"/>
                  <a:pt x="4264" y="583"/>
                </a:cubicBezTo>
                <a:lnTo>
                  <a:pt x="4264" y="579"/>
                </a:lnTo>
                <a:cubicBezTo>
                  <a:pt x="4264" y="578"/>
                  <a:pt x="4264" y="577"/>
                  <a:pt x="4265" y="577"/>
                </a:cubicBezTo>
                <a:cubicBezTo>
                  <a:pt x="4267" y="577"/>
                  <a:pt x="4267" y="576"/>
                  <a:pt x="4267" y="575"/>
                </a:cubicBezTo>
                <a:lnTo>
                  <a:pt x="4267" y="575"/>
                </a:lnTo>
                <a:cubicBezTo>
                  <a:pt x="4267" y="573"/>
                  <a:pt x="4268" y="571"/>
                  <a:pt x="4270" y="567"/>
                </a:cubicBezTo>
                <a:cubicBezTo>
                  <a:pt x="4272" y="564"/>
                  <a:pt x="4273" y="562"/>
                  <a:pt x="4273" y="560"/>
                </a:cubicBezTo>
                <a:lnTo>
                  <a:pt x="4272" y="557"/>
                </a:lnTo>
                <a:cubicBezTo>
                  <a:pt x="4272" y="556"/>
                  <a:pt x="4273" y="556"/>
                  <a:pt x="4273" y="556"/>
                </a:cubicBezTo>
                <a:cubicBezTo>
                  <a:pt x="4274" y="556"/>
                  <a:pt x="4275" y="556"/>
                  <a:pt x="4275" y="554"/>
                </a:cubicBezTo>
                <a:lnTo>
                  <a:pt x="4274" y="552"/>
                </a:lnTo>
                <a:cubicBezTo>
                  <a:pt x="4274" y="550"/>
                  <a:pt x="4275" y="550"/>
                  <a:pt x="4277" y="550"/>
                </a:cubicBezTo>
                <a:cubicBezTo>
                  <a:pt x="4279" y="550"/>
                  <a:pt x="4280" y="549"/>
                  <a:pt x="4280" y="548"/>
                </a:cubicBezTo>
                <a:lnTo>
                  <a:pt x="4279" y="546"/>
                </a:lnTo>
                <a:cubicBezTo>
                  <a:pt x="4279" y="544"/>
                  <a:pt x="4280" y="542"/>
                  <a:pt x="4281" y="540"/>
                </a:cubicBezTo>
                <a:cubicBezTo>
                  <a:pt x="4283" y="538"/>
                  <a:pt x="4283" y="537"/>
                  <a:pt x="4284" y="537"/>
                </a:cubicBezTo>
                <a:lnTo>
                  <a:pt x="4283" y="539"/>
                </a:lnTo>
                <a:cubicBezTo>
                  <a:pt x="4283" y="540"/>
                  <a:pt x="4283" y="540"/>
                  <a:pt x="4283" y="540"/>
                </a:cubicBezTo>
                <a:cubicBezTo>
                  <a:pt x="4283" y="540"/>
                  <a:pt x="4284" y="540"/>
                  <a:pt x="4285" y="539"/>
                </a:cubicBezTo>
                <a:cubicBezTo>
                  <a:pt x="4286" y="538"/>
                  <a:pt x="4286" y="537"/>
                  <a:pt x="4286" y="536"/>
                </a:cubicBezTo>
                <a:lnTo>
                  <a:pt x="4286" y="533"/>
                </a:lnTo>
                <a:cubicBezTo>
                  <a:pt x="4286" y="532"/>
                  <a:pt x="4286" y="531"/>
                  <a:pt x="4287" y="531"/>
                </a:cubicBezTo>
                <a:cubicBezTo>
                  <a:pt x="4287" y="530"/>
                  <a:pt x="4287" y="529"/>
                  <a:pt x="4288" y="529"/>
                </a:cubicBezTo>
                <a:cubicBezTo>
                  <a:pt x="4288" y="529"/>
                  <a:pt x="4288" y="529"/>
                  <a:pt x="4288" y="530"/>
                </a:cubicBezTo>
                <a:lnTo>
                  <a:pt x="4287" y="534"/>
                </a:lnTo>
                <a:lnTo>
                  <a:pt x="4287" y="534"/>
                </a:lnTo>
                <a:cubicBezTo>
                  <a:pt x="4288" y="534"/>
                  <a:pt x="4290" y="532"/>
                  <a:pt x="4292" y="527"/>
                </a:cubicBezTo>
                <a:cubicBezTo>
                  <a:pt x="4294" y="524"/>
                  <a:pt x="4295" y="522"/>
                  <a:pt x="4295" y="522"/>
                </a:cubicBezTo>
                <a:lnTo>
                  <a:pt x="4292" y="525"/>
                </a:lnTo>
                <a:cubicBezTo>
                  <a:pt x="4292" y="524"/>
                  <a:pt x="4293" y="521"/>
                  <a:pt x="4295" y="517"/>
                </a:cubicBezTo>
                <a:cubicBezTo>
                  <a:pt x="4300" y="511"/>
                  <a:pt x="4303" y="508"/>
                  <a:pt x="4304" y="508"/>
                </a:cubicBezTo>
                <a:lnTo>
                  <a:pt x="4305" y="508"/>
                </a:lnTo>
                <a:cubicBezTo>
                  <a:pt x="4305" y="508"/>
                  <a:pt x="4306" y="507"/>
                  <a:pt x="4306" y="507"/>
                </a:cubicBezTo>
                <a:lnTo>
                  <a:pt x="4306" y="506"/>
                </a:lnTo>
                <a:cubicBezTo>
                  <a:pt x="4306" y="505"/>
                  <a:pt x="4306" y="504"/>
                  <a:pt x="4307" y="504"/>
                </a:cubicBezTo>
                <a:cubicBezTo>
                  <a:pt x="4308" y="504"/>
                  <a:pt x="4313" y="500"/>
                  <a:pt x="4321" y="492"/>
                </a:cubicBezTo>
                <a:cubicBezTo>
                  <a:pt x="4343" y="471"/>
                  <a:pt x="4365" y="458"/>
                  <a:pt x="4389" y="453"/>
                </a:cubicBezTo>
                <a:cubicBezTo>
                  <a:pt x="4397" y="451"/>
                  <a:pt x="4401" y="450"/>
                  <a:pt x="4401" y="448"/>
                </a:cubicBezTo>
                <a:lnTo>
                  <a:pt x="4400" y="447"/>
                </a:lnTo>
                <a:lnTo>
                  <a:pt x="4401" y="447"/>
                </a:lnTo>
                <a:cubicBezTo>
                  <a:pt x="4401" y="447"/>
                  <a:pt x="4402" y="448"/>
                  <a:pt x="4403" y="449"/>
                </a:cubicBezTo>
                <a:cubicBezTo>
                  <a:pt x="4404" y="450"/>
                  <a:pt x="4406" y="451"/>
                  <a:pt x="4406" y="451"/>
                </a:cubicBezTo>
                <a:cubicBezTo>
                  <a:pt x="4407" y="451"/>
                  <a:pt x="4408" y="450"/>
                  <a:pt x="4408" y="450"/>
                </a:cubicBezTo>
                <a:cubicBezTo>
                  <a:pt x="4410" y="448"/>
                  <a:pt x="4412" y="447"/>
                  <a:pt x="4414" y="447"/>
                </a:cubicBezTo>
                <a:cubicBezTo>
                  <a:pt x="4416" y="447"/>
                  <a:pt x="4417" y="448"/>
                  <a:pt x="4418" y="450"/>
                </a:cubicBezTo>
                <a:lnTo>
                  <a:pt x="4418" y="451"/>
                </a:lnTo>
                <a:cubicBezTo>
                  <a:pt x="4418" y="452"/>
                  <a:pt x="4418" y="453"/>
                  <a:pt x="4417" y="453"/>
                </a:cubicBezTo>
                <a:lnTo>
                  <a:pt x="4412" y="452"/>
                </a:lnTo>
                <a:cubicBezTo>
                  <a:pt x="4409" y="452"/>
                  <a:pt x="4407" y="453"/>
                  <a:pt x="4407" y="454"/>
                </a:cubicBezTo>
                <a:cubicBezTo>
                  <a:pt x="4407" y="455"/>
                  <a:pt x="4408" y="455"/>
                  <a:pt x="4410" y="455"/>
                </a:cubicBezTo>
                <a:cubicBezTo>
                  <a:pt x="4411" y="456"/>
                  <a:pt x="4413" y="456"/>
                  <a:pt x="4415" y="457"/>
                </a:cubicBezTo>
                <a:cubicBezTo>
                  <a:pt x="4418" y="458"/>
                  <a:pt x="4420" y="459"/>
                  <a:pt x="4423" y="460"/>
                </a:cubicBezTo>
                <a:cubicBezTo>
                  <a:pt x="4426" y="462"/>
                  <a:pt x="4427" y="462"/>
                  <a:pt x="4429" y="462"/>
                </a:cubicBezTo>
                <a:cubicBezTo>
                  <a:pt x="4430" y="462"/>
                  <a:pt x="4430" y="462"/>
                  <a:pt x="4430" y="462"/>
                </a:cubicBezTo>
                <a:lnTo>
                  <a:pt x="4430" y="461"/>
                </a:lnTo>
                <a:cubicBezTo>
                  <a:pt x="4430" y="460"/>
                  <a:pt x="4431" y="459"/>
                  <a:pt x="4432" y="459"/>
                </a:cubicBezTo>
                <a:cubicBezTo>
                  <a:pt x="4434" y="459"/>
                  <a:pt x="4435" y="460"/>
                  <a:pt x="4435" y="462"/>
                </a:cubicBezTo>
                <a:lnTo>
                  <a:pt x="4435" y="463"/>
                </a:lnTo>
                <a:cubicBezTo>
                  <a:pt x="4435" y="465"/>
                  <a:pt x="4436" y="467"/>
                  <a:pt x="4439" y="468"/>
                </a:cubicBezTo>
                <a:cubicBezTo>
                  <a:pt x="4441" y="469"/>
                  <a:pt x="4444" y="471"/>
                  <a:pt x="4447" y="474"/>
                </a:cubicBezTo>
                <a:cubicBezTo>
                  <a:pt x="4456" y="481"/>
                  <a:pt x="4460" y="486"/>
                  <a:pt x="4460" y="489"/>
                </a:cubicBezTo>
                <a:lnTo>
                  <a:pt x="4459" y="491"/>
                </a:lnTo>
                <a:cubicBezTo>
                  <a:pt x="4459" y="492"/>
                  <a:pt x="4460" y="492"/>
                  <a:pt x="4461" y="492"/>
                </a:cubicBezTo>
                <a:cubicBezTo>
                  <a:pt x="4461" y="493"/>
                  <a:pt x="4461" y="494"/>
                  <a:pt x="4461" y="497"/>
                </a:cubicBezTo>
                <a:cubicBezTo>
                  <a:pt x="4461" y="500"/>
                  <a:pt x="4461" y="506"/>
                  <a:pt x="4459" y="514"/>
                </a:cubicBezTo>
                <a:cubicBezTo>
                  <a:pt x="4457" y="522"/>
                  <a:pt x="4454" y="529"/>
                  <a:pt x="4452" y="535"/>
                </a:cubicBezTo>
                <a:cubicBezTo>
                  <a:pt x="4449" y="542"/>
                  <a:pt x="4448" y="546"/>
                  <a:pt x="4448" y="549"/>
                </a:cubicBezTo>
                <a:cubicBezTo>
                  <a:pt x="4448" y="549"/>
                  <a:pt x="4448" y="550"/>
                  <a:pt x="4448" y="550"/>
                </a:cubicBezTo>
                <a:cubicBezTo>
                  <a:pt x="4449" y="550"/>
                  <a:pt x="4449" y="550"/>
                  <a:pt x="4449" y="551"/>
                </a:cubicBezTo>
                <a:cubicBezTo>
                  <a:pt x="4449" y="552"/>
                  <a:pt x="4448" y="554"/>
                  <a:pt x="4445" y="557"/>
                </a:cubicBezTo>
                <a:cubicBezTo>
                  <a:pt x="4442" y="560"/>
                  <a:pt x="4440" y="562"/>
                  <a:pt x="4440" y="563"/>
                </a:cubicBezTo>
                <a:cubicBezTo>
                  <a:pt x="4440" y="564"/>
                  <a:pt x="4439" y="567"/>
                  <a:pt x="4435" y="572"/>
                </a:cubicBezTo>
                <a:cubicBezTo>
                  <a:pt x="4431" y="577"/>
                  <a:pt x="4427" y="582"/>
                  <a:pt x="4422" y="588"/>
                </a:cubicBezTo>
                <a:cubicBezTo>
                  <a:pt x="4417" y="594"/>
                  <a:pt x="4413" y="599"/>
                  <a:pt x="4409" y="603"/>
                </a:cubicBezTo>
                <a:cubicBezTo>
                  <a:pt x="4371" y="643"/>
                  <a:pt x="4340" y="663"/>
                  <a:pt x="4317" y="663"/>
                </a:cubicBezTo>
                <a:cubicBezTo>
                  <a:pt x="4309" y="663"/>
                  <a:pt x="4303" y="661"/>
                  <a:pt x="4298" y="656"/>
                </a:cubicBezTo>
                <a:cubicBezTo>
                  <a:pt x="4296" y="654"/>
                  <a:pt x="4294" y="653"/>
                  <a:pt x="4293" y="653"/>
                </a:cubicBezTo>
                <a:cubicBezTo>
                  <a:pt x="4291" y="653"/>
                  <a:pt x="4290" y="657"/>
                  <a:pt x="4290" y="666"/>
                </a:cubicBezTo>
                <a:cubicBezTo>
                  <a:pt x="4289" y="674"/>
                  <a:pt x="4288" y="682"/>
                  <a:pt x="4288" y="691"/>
                </a:cubicBezTo>
                <a:cubicBezTo>
                  <a:pt x="4288" y="704"/>
                  <a:pt x="4289" y="715"/>
                  <a:pt x="4291" y="726"/>
                </a:cubicBezTo>
                <a:cubicBezTo>
                  <a:pt x="4293" y="737"/>
                  <a:pt x="4295" y="742"/>
                  <a:pt x="4297" y="742"/>
                </a:cubicBezTo>
                <a:cubicBezTo>
                  <a:pt x="4299" y="742"/>
                  <a:pt x="4300" y="744"/>
                  <a:pt x="4300" y="746"/>
                </a:cubicBezTo>
                <a:cubicBezTo>
                  <a:pt x="4300" y="753"/>
                  <a:pt x="4306" y="759"/>
                  <a:pt x="4317" y="765"/>
                </a:cubicBezTo>
                <a:cubicBezTo>
                  <a:pt x="4328" y="771"/>
                  <a:pt x="4339" y="774"/>
                  <a:pt x="4351" y="774"/>
                </a:cubicBezTo>
                <a:cubicBezTo>
                  <a:pt x="4357" y="774"/>
                  <a:pt x="4365" y="772"/>
                  <a:pt x="4377" y="770"/>
                </a:cubicBezTo>
                <a:cubicBezTo>
                  <a:pt x="4384" y="769"/>
                  <a:pt x="4392" y="767"/>
                  <a:pt x="4403" y="764"/>
                </a:cubicBezTo>
                <a:cubicBezTo>
                  <a:pt x="4408" y="763"/>
                  <a:pt x="4412" y="762"/>
                  <a:pt x="4416" y="761"/>
                </a:cubicBezTo>
                <a:cubicBezTo>
                  <a:pt x="4419" y="760"/>
                  <a:pt x="4422" y="760"/>
                  <a:pt x="4423" y="759"/>
                </a:cubicBezTo>
                <a:cubicBezTo>
                  <a:pt x="4424" y="759"/>
                  <a:pt x="4426" y="759"/>
                  <a:pt x="4427" y="758"/>
                </a:cubicBezTo>
                <a:cubicBezTo>
                  <a:pt x="4428" y="757"/>
                  <a:pt x="4429" y="756"/>
                  <a:pt x="4430" y="756"/>
                </a:cubicBezTo>
                <a:lnTo>
                  <a:pt x="4434" y="757"/>
                </a:lnTo>
                <a:cubicBezTo>
                  <a:pt x="4434" y="757"/>
                  <a:pt x="4435" y="757"/>
                  <a:pt x="4435" y="756"/>
                </a:cubicBezTo>
                <a:cubicBezTo>
                  <a:pt x="4435" y="755"/>
                  <a:pt x="4435" y="754"/>
                  <a:pt x="4436" y="754"/>
                </a:cubicBezTo>
                <a:lnTo>
                  <a:pt x="4437" y="755"/>
                </a:lnTo>
                <a:cubicBezTo>
                  <a:pt x="4438" y="755"/>
                  <a:pt x="4439" y="754"/>
                  <a:pt x="4441" y="753"/>
                </a:cubicBezTo>
                <a:cubicBezTo>
                  <a:pt x="4441" y="752"/>
                  <a:pt x="4443" y="751"/>
                  <a:pt x="4445" y="751"/>
                </a:cubicBezTo>
                <a:cubicBezTo>
                  <a:pt x="4449" y="751"/>
                  <a:pt x="4464" y="745"/>
                  <a:pt x="4491" y="733"/>
                </a:cubicBezTo>
                <a:cubicBezTo>
                  <a:pt x="4517" y="720"/>
                  <a:pt x="4532" y="713"/>
                  <a:pt x="4537" y="710"/>
                </a:cubicBezTo>
                <a:cubicBezTo>
                  <a:pt x="4540" y="708"/>
                  <a:pt x="4543" y="708"/>
                  <a:pt x="4544" y="708"/>
                </a:cubicBezTo>
                <a:cubicBezTo>
                  <a:pt x="4546" y="708"/>
                  <a:pt x="4551" y="704"/>
                  <a:pt x="4562" y="697"/>
                </a:cubicBezTo>
                <a:cubicBezTo>
                  <a:pt x="4572" y="691"/>
                  <a:pt x="4578" y="688"/>
                  <a:pt x="4580" y="688"/>
                </a:cubicBezTo>
                <a:cubicBezTo>
                  <a:pt x="4581" y="688"/>
                  <a:pt x="4581" y="689"/>
                  <a:pt x="4581" y="689"/>
                </a:cubicBezTo>
                <a:cubicBezTo>
                  <a:pt x="4581" y="691"/>
                  <a:pt x="4569" y="700"/>
                  <a:pt x="4545" y="713"/>
                </a:cubicBezTo>
                <a:cubicBezTo>
                  <a:pt x="4533" y="720"/>
                  <a:pt x="4527" y="724"/>
                  <a:pt x="4527" y="725"/>
                </a:cubicBezTo>
                <a:lnTo>
                  <a:pt x="4527" y="725"/>
                </a:lnTo>
                <a:cubicBezTo>
                  <a:pt x="4528" y="725"/>
                  <a:pt x="4538" y="720"/>
                  <a:pt x="4555" y="711"/>
                </a:cubicBezTo>
                <a:cubicBezTo>
                  <a:pt x="4573" y="701"/>
                  <a:pt x="4583" y="696"/>
                  <a:pt x="4585" y="696"/>
                </a:cubicBezTo>
                <a:cubicBezTo>
                  <a:pt x="4587" y="696"/>
                  <a:pt x="4588" y="696"/>
                  <a:pt x="4588" y="695"/>
                </a:cubicBezTo>
                <a:lnTo>
                  <a:pt x="4587" y="692"/>
                </a:lnTo>
                <a:cubicBezTo>
                  <a:pt x="4587" y="692"/>
                  <a:pt x="4588" y="692"/>
                  <a:pt x="4588" y="692"/>
                </a:cubicBezTo>
                <a:cubicBezTo>
                  <a:pt x="4588" y="692"/>
                  <a:pt x="4589" y="693"/>
                  <a:pt x="4589" y="693"/>
                </a:cubicBezTo>
                <a:cubicBezTo>
                  <a:pt x="4591" y="693"/>
                  <a:pt x="4592" y="692"/>
                  <a:pt x="4594" y="691"/>
                </a:cubicBezTo>
                <a:lnTo>
                  <a:pt x="4598" y="689"/>
                </a:lnTo>
                <a:cubicBezTo>
                  <a:pt x="4598" y="691"/>
                  <a:pt x="4589" y="697"/>
                  <a:pt x="4569" y="709"/>
                </a:cubicBezTo>
                <a:cubicBezTo>
                  <a:pt x="4487" y="760"/>
                  <a:pt x="4416" y="786"/>
                  <a:pt x="4357" y="786"/>
                </a:cubicBezTo>
                <a:close/>
                <a:moveTo>
                  <a:pt x="4255" y="666"/>
                </a:moveTo>
                <a:cubicBezTo>
                  <a:pt x="4255" y="666"/>
                  <a:pt x="4256" y="665"/>
                  <a:pt x="4257" y="662"/>
                </a:cubicBezTo>
                <a:cubicBezTo>
                  <a:pt x="4258" y="660"/>
                  <a:pt x="4258" y="659"/>
                  <a:pt x="4258" y="657"/>
                </a:cubicBezTo>
                <a:cubicBezTo>
                  <a:pt x="4258" y="656"/>
                  <a:pt x="4258" y="655"/>
                  <a:pt x="4257" y="654"/>
                </a:cubicBezTo>
                <a:lnTo>
                  <a:pt x="4256" y="653"/>
                </a:lnTo>
                <a:cubicBezTo>
                  <a:pt x="4255" y="653"/>
                  <a:pt x="4255" y="655"/>
                  <a:pt x="4255" y="660"/>
                </a:cubicBezTo>
                <a:cubicBezTo>
                  <a:pt x="4255" y="664"/>
                  <a:pt x="4255" y="666"/>
                  <a:pt x="4255" y="666"/>
                </a:cubicBezTo>
                <a:close/>
                <a:moveTo>
                  <a:pt x="4258" y="643"/>
                </a:moveTo>
                <a:cubicBezTo>
                  <a:pt x="4259" y="643"/>
                  <a:pt x="4259" y="641"/>
                  <a:pt x="4260" y="637"/>
                </a:cubicBezTo>
                <a:lnTo>
                  <a:pt x="4260" y="637"/>
                </a:lnTo>
                <a:cubicBezTo>
                  <a:pt x="4260" y="636"/>
                  <a:pt x="4260" y="635"/>
                  <a:pt x="4259" y="634"/>
                </a:cubicBezTo>
                <a:cubicBezTo>
                  <a:pt x="4259" y="633"/>
                  <a:pt x="4259" y="633"/>
                  <a:pt x="4258" y="633"/>
                </a:cubicBezTo>
                <a:cubicBezTo>
                  <a:pt x="4257" y="633"/>
                  <a:pt x="4257" y="635"/>
                  <a:pt x="4256" y="638"/>
                </a:cubicBezTo>
                <a:cubicBezTo>
                  <a:pt x="4256" y="641"/>
                  <a:pt x="4257" y="643"/>
                  <a:pt x="4258" y="643"/>
                </a:cubicBezTo>
                <a:close/>
                <a:moveTo>
                  <a:pt x="4315" y="655"/>
                </a:moveTo>
                <a:lnTo>
                  <a:pt x="4325" y="652"/>
                </a:lnTo>
                <a:cubicBezTo>
                  <a:pt x="4330" y="651"/>
                  <a:pt x="4333" y="649"/>
                  <a:pt x="4333" y="648"/>
                </a:cubicBezTo>
                <a:lnTo>
                  <a:pt x="4333" y="646"/>
                </a:lnTo>
                <a:lnTo>
                  <a:pt x="4335" y="647"/>
                </a:lnTo>
                <a:cubicBezTo>
                  <a:pt x="4337" y="647"/>
                  <a:pt x="4339" y="647"/>
                  <a:pt x="4342" y="646"/>
                </a:cubicBezTo>
                <a:cubicBezTo>
                  <a:pt x="4344" y="645"/>
                  <a:pt x="4346" y="644"/>
                  <a:pt x="4348" y="642"/>
                </a:cubicBezTo>
                <a:cubicBezTo>
                  <a:pt x="4350" y="641"/>
                  <a:pt x="4351" y="640"/>
                  <a:pt x="4351" y="639"/>
                </a:cubicBezTo>
                <a:lnTo>
                  <a:pt x="4351" y="638"/>
                </a:lnTo>
                <a:cubicBezTo>
                  <a:pt x="4351" y="638"/>
                  <a:pt x="4351" y="637"/>
                  <a:pt x="4351" y="637"/>
                </a:cubicBezTo>
                <a:lnTo>
                  <a:pt x="4353" y="638"/>
                </a:lnTo>
                <a:cubicBezTo>
                  <a:pt x="4355" y="638"/>
                  <a:pt x="4357" y="637"/>
                  <a:pt x="4360" y="634"/>
                </a:cubicBezTo>
                <a:cubicBezTo>
                  <a:pt x="4362" y="632"/>
                  <a:pt x="4364" y="630"/>
                  <a:pt x="4365" y="630"/>
                </a:cubicBezTo>
                <a:cubicBezTo>
                  <a:pt x="4366" y="630"/>
                  <a:pt x="4368" y="629"/>
                  <a:pt x="4372" y="625"/>
                </a:cubicBezTo>
                <a:cubicBezTo>
                  <a:pt x="4377" y="620"/>
                  <a:pt x="4380" y="618"/>
                  <a:pt x="4382" y="618"/>
                </a:cubicBezTo>
                <a:cubicBezTo>
                  <a:pt x="4385" y="618"/>
                  <a:pt x="4386" y="618"/>
                  <a:pt x="4386" y="617"/>
                </a:cubicBezTo>
                <a:lnTo>
                  <a:pt x="4386" y="616"/>
                </a:lnTo>
                <a:cubicBezTo>
                  <a:pt x="4386" y="615"/>
                  <a:pt x="4386" y="614"/>
                  <a:pt x="4387" y="613"/>
                </a:cubicBezTo>
                <a:cubicBezTo>
                  <a:pt x="4389" y="612"/>
                  <a:pt x="4390" y="611"/>
                  <a:pt x="4391" y="610"/>
                </a:cubicBezTo>
                <a:cubicBezTo>
                  <a:pt x="4393" y="609"/>
                  <a:pt x="4394" y="609"/>
                  <a:pt x="4395" y="609"/>
                </a:cubicBezTo>
                <a:lnTo>
                  <a:pt x="4396" y="609"/>
                </a:lnTo>
                <a:cubicBezTo>
                  <a:pt x="4397" y="609"/>
                  <a:pt x="4399" y="607"/>
                  <a:pt x="4401" y="604"/>
                </a:cubicBezTo>
                <a:cubicBezTo>
                  <a:pt x="4403" y="602"/>
                  <a:pt x="4404" y="600"/>
                  <a:pt x="4404" y="600"/>
                </a:cubicBezTo>
                <a:lnTo>
                  <a:pt x="4396" y="607"/>
                </a:lnTo>
                <a:cubicBezTo>
                  <a:pt x="4396" y="606"/>
                  <a:pt x="4397" y="605"/>
                  <a:pt x="4399" y="602"/>
                </a:cubicBezTo>
                <a:cubicBezTo>
                  <a:pt x="4401" y="599"/>
                  <a:pt x="4403" y="598"/>
                  <a:pt x="4404" y="598"/>
                </a:cubicBezTo>
                <a:cubicBezTo>
                  <a:pt x="4406" y="598"/>
                  <a:pt x="4407" y="597"/>
                  <a:pt x="4408" y="596"/>
                </a:cubicBezTo>
                <a:cubicBezTo>
                  <a:pt x="4410" y="596"/>
                  <a:pt x="4410" y="595"/>
                  <a:pt x="4410" y="593"/>
                </a:cubicBezTo>
                <a:lnTo>
                  <a:pt x="4410" y="593"/>
                </a:lnTo>
                <a:lnTo>
                  <a:pt x="4408" y="595"/>
                </a:lnTo>
                <a:lnTo>
                  <a:pt x="4408" y="594"/>
                </a:lnTo>
                <a:cubicBezTo>
                  <a:pt x="4408" y="594"/>
                  <a:pt x="4409" y="593"/>
                  <a:pt x="4410" y="590"/>
                </a:cubicBezTo>
                <a:cubicBezTo>
                  <a:pt x="4412" y="588"/>
                  <a:pt x="4414" y="587"/>
                  <a:pt x="4415" y="586"/>
                </a:cubicBezTo>
                <a:cubicBezTo>
                  <a:pt x="4417" y="585"/>
                  <a:pt x="4417" y="584"/>
                  <a:pt x="4418" y="584"/>
                </a:cubicBezTo>
                <a:lnTo>
                  <a:pt x="4418" y="584"/>
                </a:lnTo>
                <a:cubicBezTo>
                  <a:pt x="4420" y="584"/>
                  <a:pt x="4420" y="584"/>
                  <a:pt x="4420" y="583"/>
                </a:cubicBezTo>
                <a:cubicBezTo>
                  <a:pt x="4420" y="581"/>
                  <a:pt x="4424" y="576"/>
                  <a:pt x="4430" y="567"/>
                </a:cubicBezTo>
                <a:cubicBezTo>
                  <a:pt x="4448" y="543"/>
                  <a:pt x="4457" y="522"/>
                  <a:pt x="4457" y="505"/>
                </a:cubicBezTo>
                <a:cubicBezTo>
                  <a:pt x="4457" y="501"/>
                  <a:pt x="4457" y="497"/>
                  <a:pt x="4456" y="494"/>
                </a:cubicBezTo>
                <a:cubicBezTo>
                  <a:pt x="4454" y="488"/>
                  <a:pt x="4453" y="485"/>
                  <a:pt x="4452" y="485"/>
                </a:cubicBezTo>
                <a:cubicBezTo>
                  <a:pt x="4451" y="485"/>
                  <a:pt x="4451" y="487"/>
                  <a:pt x="4451" y="492"/>
                </a:cubicBezTo>
                <a:lnTo>
                  <a:pt x="4451" y="497"/>
                </a:lnTo>
                <a:cubicBezTo>
                  <a:pt x="4451" y="509"/>
                  <a:pt x="4447" y="523"/>
                  <a:pt x="4439" y="537"/>
                </a:cubicBezTo>
                <a:cubicBezTo>
                  <a:pt x="4436" y="542"/>
                  <a:pt x="4432" y="547"/>
                  <a:pt x="4428" y="553"/>
                </a:cubicBezTo>
                <a:cubicBezTo>
                  <a:pt x="4424" y="558"/>
                  <a:pt x="4419" y="563"/>
                  <a:pt x="4415" y="568"/>
                </a:cubicBezTo>
                <a:cubicBezTo>
                  <a:pt x="4411" y="573"/>
                  <a:pt x="4408" y="575"/>
                  <a:pt x="4407" y="575"/>
                </a:cubicBezTo>
                <a:cubicBezTo>
                  <a:pt x="4406" y="575"/>
                  <a:pt x="4404" y="576"/>
                  <a:pt x="4402" y="578"/>
                </a:cubicBezTo>
                <a:cubicBezTo>
                  <a:pt x="4401" y="580"/>
                  <a:pt x="4400" y="581"/>
                  <a:pt x="4400" y="581"/>
                </a:cubicBezTo>
                <a:lnTo>
                  <a:pt x="4404" y="579"/>
                </a:lnTo>
                <a:lnTo>
                  <a:pt x="4404" y="579"/>
                </a:lnTo>
                <a:cubicBezTo>
                  <a:pt x="4404" y="580"/>
                  <a:pt x="4404" y="581"/>
                  <a:pt x="4402" y="582"/>
                </a:cubicBezTo>
                <a:cubicBezTo>
                  <a:pt x="4401" y="584"/>
                  <a:pt x="4400" y="585"/>
                  <a:pt x="4399" y="585"/>
                </a:cubicBezTo>
                <a:cubicBezTo>
                  <a:pt x="4399" y="585"/>
                  <a:pt x="4398" y="585"/>
                  <a:pt x="4398" y="584"/>
                </a:cubicBezTo>
                <a:cubicBezTo>
                  <a:pt x="4398" y="584"/>
                  <a:pt x="4398" y="584"/>
                  <a:pt x="4398" y="584"/>
                </a:cubicBezTo>
                <a:cubicBezTo>
                  <a:pt x="4396" y="584"/>
                  <a:pt x="4394" y="585"/>
                  <a:pt x="4391" y="588"/>
                </a:cubicBezTo>
                <a:cubicBezTo>
                  <a:pt x="4387" y="593"/>
                  <a:pt x="4384" y="595"/>
                  <a:pt x="4381" y="595"/>
                </a:cubicBezTo>
                <a:cubicBezTo>
                  <a:pt x="4378" y="595"/>
                  <a:pt x="4376" y="596"/>
                  <a:pt x="4376" y="599"/>
                </a:cubicBezTo>
                <a:cubicBezTo>
                  <a:pt x="4376" y="600"/>
                  <a:pt x="4376" y="600"/>
                  <a:pt x="4375" y="601"/>
                </a:cubicBezTo>
                <a:cubicBezTo>
                  <a:pt x="4374" y="602"/>
                  <a:pt x="4374" y="602"/>
                  <a:pt x="4373" y="602"/>
                </a:cubicBezTo>
                <a:cubicBezTo>
                  <a:pt x="4371" y="602"/>
                  <a:pt x="4368" y="604"/>
                  <a:pt x="4366" y="606"/>
                </a:cubicBezTo>
                <a:cubicBezTo>
                  <a:pt x="4363" y="609"/>
                  <a:pt x="4360" y="611"/>
                  <a:pt x="4357" y="611"/>
                </a:cubicBezTo>
                <a:lnTo>
                  <a:pt x="4354" y="610"/>
                </a:lnTo>
                <a:cubicBezTo>
                  <a:pt x="4351" y="610"/>
                  <a:pt x="4349" y="611"/>
                  <a:pt x="4348" y="613"/>
                </a:cubicBezTo>
                <a:cubicBezTo>
                  <a:pt x="4346" y="615"/>
                  <a:pt x="4345" y="615"/>
                  <a:pt x="4345" y="616"/>
                </a:cubicBezTo>
                <a:lnTo>
                  <a:pt x="4348" y="615"/>
                </a:lnTo>
                <a:cubicBezTo>
                  <a:pt x="4351" y="613"/>
                  <a:pt x="4353" y="612"/>
                  <a:pt x="4355" y="612"/>
                </a:cubicBezTo>
                <a:cubicBezTo>
                  <a:pt x="4356" y="612"/>
                  <a:pt x="4357" y="612"/>
                  <a:pt x="4357" y="613"/>
                </a:cubicBezTo>
                <a:cubicBezTo>
                  <a:pt x="4357" y="615"/>
                  <a:pt x="4350" y="620"/>
                  <a:pt x="4337" y="626"/>
                </a:cubicBezTo>
                <a:cubicBezTo>
                  <a:pt x="4323" y="632"/>
                  <a:pt x="4313" y="635"/>
                  <a:pt x="4306" y="635"/>
                </a:cubicBezTo>
                <a:cubicBezTo>
                  <a:pt x="4303" y="635"/>
                  <a:pt x="4300" y="634"/>
                  <a:pt x="4298" y="633"/>
                </a:cubicBezTo>
                <a:lnTo>
                  <a:pt x="4297" y="633"/>
                </a:lnTo>
                <a:cubicBezTo>
                  <a:pt x="4297" y="633"/>
                  <a:pt x="4297" y="633"/>
                  <a:pt x="4297" y="634"/>
                </a:cubicBezTo>
                <a:cubicBezTo>
                  <a:pt x="4297" y="635"/>
                  <a:pt x="4297" y="637"/>
                  <a:pt x="4299" y="640"/>
                </a:cubicBezTo>
                <a:cubicBezTo>
                  <a:pt x="4300" y="643"/>
                  <a:pt x="4301" y="645"/>
                  <a:pt x="4302" y="647"/>
                </a:cubicBezTo>
                <a:cubicBezTo>
                  <a:pt x="4304" y="649"/>
                  <a:pt x="4306" y="650"/>
                  <a:pt x="4308" y="652"/>
                </a:cubicBezTo>
                <a:cubicBezTo>
                  <a:pt x="4311" y="653"/>
                  <a:pt x="4313" y="654"/>
                  <a:pt x="4315" y="655"/>
                </a:cubicBezTo>
                <a:close/>
                <a:moveTo>
                  <a:pt x="4313" y="632"/>
                </a:moveTo>
                <a:cubicBezTo>
                  <a:pt x="4315" y="632"/>
                  <a:pt x="4316" y="631"/>
                  <a:pt x="4316" y="631"/>
                </a:cubicBezTo>
                <a:cubicBezTo>
                  <a:pt x="4316" y="630"/>
                  <a:pt x="4315" y="630"/>
                  <a:pt x="4313" y="630"/>
                </a:cubicBezTo>
                <a:lnTo>
                  <a:pt x="4310" y="630"/>
                </a:lnTo>
                <a:cubicBezTo>
                  <a:pt x="4310" y="630"/>
                  <a:pt x="4310" y="631"/>
                  <a:pt x="4310" y="631"/>
                </a:cubicBezTo>
                <a:cubicBezTo>
                  <a:pt x="4310" y="631"/>
                  <a:pt x="4311" y="632"/>
                  <a:pt x="4313" y="632"/>
                </a:cubicBezTo>
                <a:close/>
                <a:moveTo>
                  <a:pt x="4322" y="630"/>
                </a:moveTo>
                <a:lnTo>
                  <a:pt x="4329" y="626"/>
                </a:lnTo>
                <a:lnTo>
                  <a:pt x="4332" y="625"/>
                </a:lnTo>
                <a:cubicBezTo>
                  <a:pt x="4335" y="623"/>
                  <a:pt x="4338" y="622"/>
                  <a:pt x="4340" y="622"/>
                </a:cubicBezTo>
                <a:lnTo>
                  <a:pt x="4340" y="622"/>
                </a:lnTo>
                <a:cubicBezTo>
                  <a:pt x="4340" y="622"/>
                  <a:pt x="4341" y="622"/>
                  <a:pt x="4341" y="622"/>
                </a:cubicBezTo>
                <a:cubicBezTo>
                  <a:pt x="4341" y="621"/>
                  <a:pt x="4340" y="620"/>
                  <a:pt x="4339" y="620"/>
                </a:cubicBezTo>
                <a:cubicBezTo>
                  <a:pt x="4337" y="620"/>
                  <a:pt x="4335" y="621"/>
                  <a:pt x="4332" y="622"/>
                </a:cubicBezTo>
                <a:cubicBezTo>
                  <a:pt x="4330" y="623"/>
                  <a:pt x="4327" y="624"/>
                  <a:pt x="4325" y="625"/>
                </a:cubicBezTo>
                <a:cubicBezTo>
                  <a:pt x="4323" y="627"/>
                  <a:pt x="4322" y="628"/>
                  <a:pt x="4322" y="629"/>
                </a:cubicBezTo>
                <a:cubicBezTo>
                  <a:pt x="4322" y="629"/>
                  <a:pt x="4322" y="630"/>
                  <a:pt x="4322" y="630"/>
                </a:cubicBezTo>
                <a:close/>
                <a:moveTo>
                  <a:pt x="4366" y="600"/>
                </a:moveTo>
                <a:cubicBezTo>
                  <a:pt x="4366" y="600"/>
                  <a:pt x="4368" y="598"/>
                  <a:pt x="4370" y="595"/>
                </a:cubicBezTo>
                <a:cubicBezTo>
                  <a:pt x="4373" y="593"/>
                  <a:pt x="4374" y="591"/>
                  <a:pt x="4374" y="591"/>
                </a:cubicBezTo>
                <a:cubicBezTo>
                  <a:pt x="4373" y="591"/>
                  <a:pt x="4372" y="592"/>
                  <a:pt x="4370" y="593"/>
                </a:cubicBezTo>
                <a:cubicBezTo>
                  <a:pt x="4367" y="595"/>
                  <a:pt x="4365" y="597"/>
                  <a:pt x="4365" y="598"/>
                </a:cubicBezTo>
                <a:cubicBezTo>
                  <a:pt x="4365" y="599"/>
                  <a:pt x="4365" y="600"/>
                  <a:pt x="4366" y="600"/>
                </a:cubicBezTo>
                <a:close/>
                <a:moveTo>
                  <a:pt x="4302" y="622"/>
                </a:moveTo>
                <a:cubicBezTo>
                  <a:pt x="4305" y="622"/>
                  <a:pt x="4310" y="621"/>
                  <a:pt x="4317" y="617"/>
                </a:cubicBezTo>
                <a:cubicBezTo>
                  <a:pt x="4328" y="611"/>
                  <a:pt x="4340" y="603"/>
                  <a:pt x="4355" y="590"/>
                </a:cubicBezTo>
                <a:cubicBezTo>
                  <a:pt x="4357" y="588"/>
                  <a:pt x="4359" y="586"/>
                  <a:pt x="4361" y="585"/>
                </a:cubicBezTo>
                <a:lnTo>
                  <a:pt x="4366" y="583"/>
                </a:lnTo>
                <a:lnTo>
                  <a:pt x="4367" y="584"/>
                </a:lnTo>
                <a:lnTo>
                  <a:pt x="4366" y="581"/>
                </a:lnTo>
                <a:cubicBezTo>
                  <a:pt x="4366" y="580"/>
                  <a:pt x="4367" y="579"/>
                  <a:pt x="4368" y="578"/>
                </a:cubicBezTo>
                <a:cubicBezTo>
                  <a:pt x="4369" y="576"/>
                  <a:pt x="4371" y="575"/>
                  <a:pt x="4373" y="574"/>
                </a:cubicBezTo>
                <a:cubicBezTo>
                  <a:pt x="4375" y="573"/>
                  <a:pt x="4376" y="572"/>
                  <a:pt x="4378" y="572"/>
                </a:cubicBezTo>
                <a:cubicBezTo>
                  <a:pt x="4379" y="572"/>
                  <a:pt x="4380" y="573"/>
                  <a:pt x="4380" y="573"/>
                </a:cubicBezTo>
                <a:lnTo>
                  <a:pt x="4376" y="579"/>
                </a:lnTo>
                <a:cubicBezTo>
                  <a:pt x="4377" y="579"/>
                  <a:pt x="4377" y="578"/>
                  <a:pt x="4379" y="577"/>
                </a:cubicBezTo>
                <a:cubicBezTo>
                  <a:pt x="4381" y="575"/>
                  <a:pt x="4382" y="574"/>
                  <a:pt x="4382" y="573"/>
                </a:cubicBezTo>
                <a:cubicBezTo>
                  <a:pt x="4382" y="573"/>
                  <a:pt x="4383" y="572"/>
                  <a:pt x="4383" y="570"/>
                </a:cubicBezTo>
                <a:lnTo>
                  <a:pt x="4383" y="569"/>
                </a:lnTo>
                <a:cubicBezTo>
                  <a:pt x="4383" y="568"/>
                  <a:pt x="4384" y="567"/>
                  <a:pt x="4386" y="565"/>
                </a:cubicBezTo>
                <a:cubicBezTo>
                  <a:pt x="4387" y="564"/>
                  <a:pt x="4388" y="563"/>
                  <a:pt x="4389" y="563"/>
                </a:cubicBezTo>
                <a:cubicBezTo>
                  <a:pt x="4389" y="563"/>
                  <a:pt x="4389" y="563"/>
                  <a:pt x="4389" y="564"/>
                </a:cubicBezTo>
                <a:lnTo>
                  <a:pt x="4388" y="567"/>
                </a:lnTo>
                <a:cubicBezTo>
                  <a:pt x="4388" y="567"/>
                  <a:pt x="4389" y="566"/>
                  <a:pt x="4389" y="565"/>
                </a:cubicBezTo>
                <a:cubicBezTo>
                  <a:pt x="4390" y="563"/>
                  <a:pt x="4391" y="562"/>
                  <a:pt x="4393" y="560"/>
                </a:cubicBezTo>
                <a:cubicBezTo>
                  <a:pt x="4394" y="558"/>
                  <a:pt x="4396" y="556"/>
                  <a:pt x="4397" y="555"/>
                </a:cubicBezTo>
                <a:cubicBezTo>
                  <a:pt x="4399" y="554"/>
                  <a:pt x="4399" y="553"/>
                  <a:pt x="4400" y="552"/>
                </a:cubicBezTo>
                <a:cubicBezTo>
                  <a:pt x="4401" y="551"/>
                  <a:pt x="4401" y="550"/>
                  <a:pt x="4401" y="550"/>
                </a:cubicBezTo>
                <a:cubicBezTo>
                  <a:pt x="4401" y="550"/>
                  <a:pt x="4401" y="550"/>
                  <a:pt x="4401" y="550"/>
                </a:cubicBezTo>
                <a:cubicBezTo>
                  <a:pt x="4401" y="550"/>
                  <a:pt x="4400" y="549"/>
                  <a:pt x="4400" y="549"/>
                </a:cubicBezTo>
                <a:cubicBezTo>
                  <a:pt x="4400" y="548"/>
                  <a:pt x="4402" y="546"/>
                  <a:pt x="4405" y="544"/>
                </a:cubicBezTo>
                <a:cubicBezTo>
                  <a:pt x="4408" y="541"/>
                  <a:pt x="4409" y="539"/>
                  <a:pt x="4409" y="539"/>
                </a:cubicBezTo>
                <a:lnTo>
                  <a:pt x="4409" y="539"/>
                </a:lnTo>
                <a:lnTo>
                  <a:pt x="4408" y="539"/>
                </a:lnTo>
                <a:cubicBezTo>
                  <a:pt x="4408" y="539"/>
                  <a:pt x="4409" y="536"/>
                  <a:pt x="4412" y="532"/>
                </a:cubicBezTo>
                <a:cubicBezTo>
                  <a:pt x="4415" y="528"/>
                  <a:pt x="4416" y="526"/>
                  <a:pt x="4416" y="524"/>
                </a:cubicBezTo>
                <a:lnTo>
                  <a:pt x="4416" y="524"/>
                </a:lnTo>
                <a:cubicBezTo>
                  <a:pt x="4416" y="523"/>
                  <a:pt x="4417" y="521"/>
                  <a:pt x="4419" y="519"/>
                </a:cubicBezTo>
                <a:cubicBezTo>
                  <a:pt x="4420" y="516"/>
                  <a:pt x="4421" y="514"/>
                  <a:pt x="4421" y="513"/>
                </a:cubicBezTo>
                <a:cubicBezTo>
                  <a:pt x="4421" y="513"/>
                  <a:pt x="4421" y="513"/>
                  <a:pt x="4420" y="513"/>
                </a:cubicBezTo>
                <a:cubicBezTo>
                  <a:pt x="4420" y="513"/>
                  <a:pt x="4420" y="512"/>
                  <a:pt x="4420" y="512"/>
                </a:cubicBezTo>
                <a:cubicBezTo>
                  <a:pt x="4420" y="512"/>
                  <a:pt x="4420" y="511"/>
                  <a:pt x="4421" y="509"/>
                </a:cubicBezTo>
                <a:cubicBezTo>
                  <a:pt x="4422" y="508"/>
                  <a:pt x="4423" y="505"/>
                  <a:pt x="4424" y="498"/>
                </a:cubicBezTo>
                <a:lnTo>
                  <a:pt x="4425" y="490"/>
                </a:lnTo>
                <a:lnTo>
                  <a:pt x="4425" y="483"/>
                </a:lnTo>
                <a:cubicBezTo>
                  <a:pt x="4425" y="477"/>
                  <a:pt x="4423" y="474"/>
                  <a:pt x="4420" y="474"/>
                </a:cubicBezTo>
                <a:cubicBezTo>
                  <a:pt x="4418" y="474"/>
                  <a:pt x="4416" y="475"/>
                  <a:pt x="4412" y="476"/>
                </a:cubicBezTo>
                <a:cubicBezTo>
                  <a:pt x="4406" y="478"/>
                  <a:pt x="4398" y="482"/>
                  <a:pt x="4389" y="488"/>
                </a:cubicBezTo>
                <a:cubicBezTo>
                  <a:pt x="4379" y="494"/>
                  <a:pt x="4370" y="501"/>
                  <a:pt x="4362" y="507"/>
                </a:cubicBezTo>
                <a:cubicBezTo>
                  <a:pt x="4354" y="514"/>
                  <a:pt x="4350" y="518"/>
                  <a:pt x="4350" y="521"/>
                </a:cubicBezTo>
                <a:lnTo>
                  <a:pt x="4351" y="522"/>
                </a:lnTo>
                <a:cubicBezTo>
                  <a:pt x="4351" y="524"/>
                  <a:pt x="4348" y="527"/>
                  <a:pt x="4344" y="533"/>
                </a:cubicBezTo>
                <a:cubicBezTo>
                  <a:pt x="4333" y="547"/>
                  <a:pt x="4327" y="555"/>
                  <a:pt x="4327" y="559"/>
                </a:cubicBezTo>
                <a:cubicBezTo>
                  <a:pt x="4327" y="560"/>
                  <a:pt x="4328" y="561"/>
                  <a:pt x="4329" y="561"/>
                </a:cubicBezTo>
                <a:cubicBezTo>
                  <a:pt x="4330" y="562"/>
                  <a:pt x="4330" y="562"/>
                  <a:pt x="4330" y="563"/>
                </a:cubicBezTo>
                <a:lnTo>
                  <a:pt x="4327" y="563"/>
                </a:lnTo>
                <a:cubicBezTo>
                  <a:pt x="4324" y="563"/>
                  <a:pt x="4317" y="573"/>
                  <a:pt x="4308" y="594"/>
                </a:cubicBezTo>
                <a:cubicBezTo>
                  <a:pt x="4303" y="605"/>
                  <a:pt x="4300" y="614"/>
                  <a:pt x="4300" y="619"/>
                </a:cubicBezTo>
                <a:cubicBezTo>
                  <a:pt x="4300" y="621"/>
                  <a:pt x="4301" y="622"/>
                  <a:pt x="4302" y="622"/>
                </a:cubicBezTo>
                <a:close/>
                <a:moveTo>
                  <a:pt x="4319" y="553"/>
                </a:moveTo>
                <a:cubicBezTo>
                  <a:pt x="4322" y="553"/>
                  <a:pt x="4324" y="551"/>
                  <a:pt x="4324" y="549"/>
                </a:cubicBezTo>
                <a:cubicBezTo>
                  <a:pt x="4324" y="548"/>
                  <a:pt x="4324" y="548"/>
                  <a:pt x="4325" y="548"/>
                </a:cubicBezTo>
                <a:lnTo>
                  <a:pt x="4326" y="548"/>
                </a:lnTo>
                <a:cubicBezTo>
                  <a:pt x="4327" y="548"/>
                  <a:pt x="4330" y="546"/>
                  <a:pt x="4332" y="541"/>
                </a:cubicBezTo>
                <a:cubicBezTo>
                  <a:pt x="4339" y="529"/>
                  <a:pt x="4350" y="515"/>
                  <a:pt x="4365" y="501"/>
                </a:cubicBezTo>
                <a:cubicBezTo>
                  <a:pt x="4380" y="487"/>
                  <a:pt x="4393" y="478"/>
                  <a:pt x="4406" y="472"/>
                </a:cubicBezTo>
                <a:cubicBezTo>
                  <a:pt x="4411" y="469"/>
                  <a:pt x="4414" y="468"/>
                  <a:pt x="4414" y="468"/>
                </a:cubicBezTo>
                <a:cubicBezTo>
                  <a:pt x="4414" y="468"/>
                  <a:pt x="4413" y="467"/>
                  <a:pt x="4413" y="467"/>
                </a:cubicBezTo>
                <a:lnTo>
                  <a:pt x="4409" y="468"/>
                </a:lnTo>
                <a:cubicBezTo>
                  <a:pt x="4403" y="468"/>
                  <a:pt x="4399" y="469"/>
                  <a:pt x="4396" y="470"/>
                </a:cubicBezTo>
                <a:cubicBezTo>
                  <a:pt x="4393" y="471"/>
                  <a:pt x="4390" y="473"/>
                  <a:pt x="4385" y="476"/>
                </a:cubicBezTo>
                <a:cubicBezTo>
                  <a:pt x="4371" y="483"/>
                  <a:pt x="4357" y="495"/>
                  <a:pt x="4342" y="511"/>
                </a:cubicBezTo>
                <a:cubicBezTo>
                  <a:pt x="4334" y="519"/>
                  <a:pt x="4328" y="525"/>
                  <a:pt x="4324" y="527"/>
                </a:cubicBezTo>
                <a:cubicBezTo>
                  <a:pt x="4322" y="528"/>
                  <a:pt x="4320" y="529"/>
                  <a:pt x="4320" y="530"/>
                </a:cubicBezTo>
                <a:lnTo>
                  <a:pt x="4321" y="531"/>
                </a:lnTo>
                <a:cubicBezTo>
                  <a:pt x="4321" y="533"/>
                  <a:pt x="4319" y="534"/>
                  <a:pt x="4317" y="536"/>
                </a:cubicBezTo>
                <a:cubicBezTo>
                  <a:pt x="4314" y="537"/>
                  <a:pt x="4313" y="539"/>
                  <a:pt x="4313" y="541"/>
                </a:cubicBezTo>
                <a:cubicBezTo>
                  <a:pt x="4313" y="543"/>
                  <a:pt x="4312" y="545"/>
                  <a:pt x="4309" y="546"/>
                </a:cubicBezTo>
                <a:cubicBezTo>
                  <a:pt x="4308" y="546"/>
                  <a:pt x="4307" y="547"/>
                  <a:pt x="4307" y="548"/>
                </a:cubicBezTo>
                <a:cubicBezTo>
                  <a:pt x="4307" y="548"/>
                  <a:pt x="4309" y="549"/>
                  <a:pt x="4312" y="551"/>
                </a:cubicBezTo>
                <a:cubicBezTo>
                  <a:pt x="4315" y="552"/>
                  <a:pt x="4317" y="553"/>
                  <a:pt x="4319" y="553"/>
                </a:cubicBezTo>
                <a:close/>
                <a:moveTo>
                  <a:pt x="4283" y="584"/>
                </a:moveTo>
                <a:cubicBezTo>
                  <a:pt x="4284" y="584"/>
                  <a:pt x="4285" y="583"/>
                  <a:pt x="4285" y="582"/>
                </a:cubicBezTo>
                <a:lnTo>
                  <a:pt x="4285" y="579"/>
                </a:lnTo>
                <a:cubicBezTo>
                  <a:pt x="4283" y="576"/>
                  <a:pt x="4282" y="575"/>
                  <a:pt x="4282" y="575"/>
                </a:cubicBezTo>
                <a:lnTo>
                  <a:pt x="4281" y="575"/>
                </a:lnTo>
                <a:lnTo>
                  <a:pt x="4282" y="580"/>
                </a:lnTo>
                <a:cubicBezTo>
                  <a:pt x="4282" y="581"/>
                  <a:pt x="4282" y="581"/>
                  <a:pt x="4282" y="581"/>
                </a:cubicBezTo>
                <a:lnTo>
                  <a:pt x="4279" y="580"/>
                </a:lnTo>
                <a:lnTo>
                  <a:pt x="4278" y="580"/>
                </a:lnTo>
                <a:lnTo>
                  <a:pt x="4279" y="581"/>
                </a:lnTo>
                <a:cubicBezTo>
                  <a:pt x="4280" y="583"/>
                  <a:pt x="4282" y="584"/>
                  <a:pt x="4283" y="584"/>
                </a:cubicBezTo>
                <a:close/>
                <a:moveTo>
                  <a:pt x="4277" y="603"/>
                </a:moveTo>
                <a:lnTo>
                  <a:pt x="4278" y="600"/>
                </a:lnTo>
                <a:cubicBezTo>
                  <a:pt x="4279" y="598"/>
                  <a:pt x="4280" y="596"/>
                  <a:pt x="4280" y="594"/>
                </a:cubicBezTo>
                <a:cubicBezTo>
                  <a:pt x="4281" y="592"/>
                  <a:pt x="4282" y="590"/>
                  <a:pt x="4283" y="590"/>
                </a:cubicBezTo>
                <a:cubicBezTo>
                  <a:pt x="4283" y="589"/>
                  <a:pt x="4284" y="588"/>
                  <a:pt x="4284" y="588"/>
                </a:cubicBezTo>
                <a:cubicBezTo>
                  <a:pt x="4284" y="587"/>
                  <a:pt x="4283" y="586"/>
                  <a:pt x="4281" y="586"/>
                </a:cubicBezTo>
                <a:cubicBezTo>
                  <a:pt x="4278" y="587"/>
                  <a:pt x="4277" y="590"/>
                  <a:pt x="4277" y="596"/>
                </a:cubicBezTo>
                <a:cubicBezTo>
                  <a:pt x="4277" y="601"/>
                  <a:pt x="4277" y="603"/>
                  <a:pt x="4277" y="603"/>
                </a:cubicBezTo>
                <a:close/>
                <a:moveTo>
                  <a:pt x="4277" y="646"/>
                </a:moveTo>
                <a:cubicBezTo>
                  <a:pt x="4278" y="646"/>
                  <a:pt x="4279" y="644"/>
                  <a:pt x="4280" y="641"/>
                </a:cubicBezTo>
                <a:lnTo>
                  <a:pt x="4280" y="640"/>
                </a:lnTo>
                <a:cubicBezTo>
                  <a:pt x="4280" y="640"/>
                  <a:pt x="4280" y="639"/>
                  <a:pt x="4280" y="639"/>
                </a:cubicBezTo>
                <a:lnTo>
                  <a:pt x="4277" y="641"/>
                </a:lnTo>
                <a:lnTo>
                  <a:pt x="4277" y="639"/>
                </a:lnTo>
                <a:cubicBezTo>
                  <a:pt x="4279" y="636"/>
                  <a:pt x="4280" y="634"/>
                  <a:pt x="4280" y="632"/>
                </a:cubicBezTo>
                <a:cubicBezTo>
                  <a:pt x="4280" y="629"/>
                  <a:pt x="4279" y="627"/>
                  <a:pt x="4277" y="626"/>
                </a:cubicBezTo>
                <a:lnTo>
                  <a:pt x="4277" y="626"/>
                </a:lnTo>
                <a:cubicBezTo>
                  <a:pt x="4275" y="626"/>
                  <a:pt x="4275" y="630"/>
                  <a:pt x="4274" y="636"/>
                </a:cubicBezTo>
                <a:lnTo>
                  <a:pt x="4274" y="637"/>
                </a:lnTo>
                <a:cubicBezTo>
                  <a:pt x="4274" y="642"/>
                  <a:pt x="4275" y="645"/>
                  <a:pt x="4277" y="646"/>
                </a:cubicBezTo>
                <a:close/>
                <a:moveTo>
                  <a:pt x="4282" y="618"/>
                </a:moveTo>
                <a:cubicBezTo>
                  <a:pt x="4283" y="618"/>
                  <a:pt x="4283" y="617"/>
                  <a:pt x="4284" y="617"/>
                </a:cubicBezTo>
                <a:cubicBezTo>
                  <a:pt x="4284" y="616"/>
                  <a:pt x="4284" y="615"/>
                  <a:pt x="4284" y="615"/>
                </a:cubicBezTo>
                <a:cubicBezTo>
                  <a:pt x="4284" y="615"/>
                  <a:pt x="4284" y="614"/>
                  <a:pt x="4284" y="614"/>
                </a:cubicBezTo>
                <a:lnTo>
                  <a:pt x="4283" y="614"/>
                </a:lnTo>
                <a:cubicBezTo>
                  <a:pt x="4282" y="614"/>
                  <a:pt x="4282" y="613"/>
                  <a:pt x="4282" y="612"/>
                </a:cubicBezTo>
                <a:cubicBezTo>
                  <a:pt x="4282" y="611"/>
                  <a:pt x="4282" y="611"/>
                  <a:pt x="4282" y="611"/>
                </a:cubicBezTo>
                <a:lnTo>
                  <a:pt x="4283" y="611"/>
                </a:lnTo>
                <a:cubicBezTo>
                  <a:pt x="4284" y="611"/>
                  <a:pt x="4285" y="609"/>
                  <a:pt x="4286" y="606"/>
                </a:cubicBezTo>
                <a:cubicBezTo>
                  <a:pt x="4287" y="601"/>
                  <a:pt x="4288" y="598"/>
                  <a:pt x="4290" y="595"/>
                </a:cubicBezTo>
                <a:cubicBezTo>
                  <a:pt x="4292" y="592"/>
                  <a:pt x="4294" y="590"/>
                  <a:pt x="4295" y="590"/>
                </a:cubicBezTo>
                <a:cubicBezTo>
                  <a:pt x="4297" y="590"/>
                  <a:pt x="4297" y="590"/>
                  <a:pt x="4297" y="588"/>
                </a:cubicBezTo>
                <a:lnTo>
                  <a:pt x="4297" y="587"/>
                </a:lnTo>
                <a:cubicBezTo>
                  <a:pt x="4297" y="587"/>
                  <a:pt x="4297" y="586"/>
                  <a:pt x="4298" y="585"/>
                </a:cubicBezTo>
                <a:cubicBezTo>
                  <a:pt x="4298" y="585"/>
                  <a:pt x="4298" y="585"/>
                  <a:pt x="4299" y="584"/>
                </a:cubicBezTo>
                <a:cubicBezTo>
                  <a:pt x="4300" y="584"/>
                  <a:pt x="4302" y="582"/>
                  <a:pt x="4304" y="578"/>
                </a:cubicBezTo>
                <a:cubicBezTo>
                  <a:pt x="4307" y="574"/>
                  <a:pt x="4309" y="570"/>
                  <a:pt x="4311" y="566"/>
                </a:cubicBezTo>
                <a:cubicBezTo>
                  <a:pt x="4313" y="562"/>
                  <a:pt x="4314" y="559"/>
                  <a:pt x="4314" y="558"/>
                </a:cubicBezTo>
                <a:cubicBezTo>
                  <a:pt x="4314" y="557"/>
                  <a:pt x="4313" y="556"/>
                  <a:pt x="4311" y="556"/>
                </a:cubicBezTo>
                <a:cubicBezTo>
                  <a:pt x="4305" y="556"/>
                  <a:pt x="4301" y="559"/>
                  <a:pt x="4297" y="565"/>
                </a:cubicBezTo>
                <a:cubicBezTo>
                  <a:pt x="4295" y="569"/>
                  <a:pt x="4293" y="571"/>
                  <a:pt x="4292" y="571"/>
                </a:cubicBezTo>
                <a:cubicBezTo>
                  <a:pt x="4291" y="571"/>
                  <a:pt x="4291" y="571"/>
                  <a:pt x="4291" y="571"/>
                </a:cubicBezTo>
                <a:cubicBezTo>
                  <a:pt x="4290" y="571"/>
                  <a:pt x="4290" y="570"/>
                  <a:pt x="4290" y="569"/>
                </a:cubicBezTo>
                <a:lnTo>
                  <a:pt x="4290" y="567"/>
                </a:lnTo>
                <a:cubicBezTo>
                  <a:pt x="4290" y="566"/>
                  <a:pt x="4290" y="565"/>
                  <a:pt x="4289" y="565"/>
                </a:cubicBezTo>
                <a:cubicBezTo>
                  <a:pt x="4288" y="565"/>
                  <a:pt x="4288" y="565"/>
                  <a:pt x="4288" y="564"/>
                </a:cubicBezTo>
                <a:lnTo>
                  <a:pt x="4288" y="562"/>
                </a:lnTo>
                <a:cubicBezTo>
                  <a:pt x="4288" y="561"/>
                  <a:pt x="4288" y="561"/>
                  <a:pt x="4288" y="561"/>
                </a:cubicBezTo>
                <a:lnTo>
                  <a:pt x="4287" y="562"/>
                </a:lnTo>
                <a:cubicBezTo>
                  <a:pt x="4286" y="562"/>
                  <a:pt x="4286" y="563"/>
                  <a:pt x="4286" y="564"/>
                </a:cubicBezTo>
                <a:cubicBezTo>
                  <a:pt x="4286" y="565"/>
                  <a:pt x="4287" y="567"/>
                  <a:pt x="4288" y="569"/>
                </a:cubicBezTo>
                <a:cubicBezTo>
                  <a:pt x="4290" y="571"/>
                  <a:pt x="4290" y="574"/>
                  <a:pt x="4290" y="576"/>
                </a:cubicBezTo>
                <a:cubicBezTo>
                  <a:pt x="4290" y="579"/>
                  <a:pt x="4289" y="583"/>
                  <a:pt x="4286" y="588"/>
                </a:cubicBezTo>
                <a:cubicBezTo>
                  <a:pt x="4285" y="591"/>
                  <a:pt x="4284" y="593"/>
                  <a:pt x="4284" y="595"/>
                </a:cubicBezTo>
                <a:cubicBezTo>
                  <a:pt x="4284" y="595"/>
                  <a:pt x="4284" y="595"/>
                  <a:pt x="4284" y="595"/>
                </a:cubicBezTo>
                <a:lnTo>
                  <a:pt x="4285" y="595"/>
                </a:lnTo>
                <a:cubicBezTo>
                  <a:pt x="4285" y="596"/>
                  <a:pt x="4284" y="597"/>
                  <a:pt x="4283" y="598"/>
                </a:cubicBezTo>
                <a:cubicBezTo>
                  <a:pt x="4282" y="598"/>
                  <a:pt x="4281" y="600"/>
                  <a:pt x="4280" y="603"/>
                </a:cubicBezTo>
                <a:cubicBezTo>
                  <a:pt x="4279" y="607"/>
                  <a:pt x="4278" y="610"/>
                  <a:pt x="4278" y="612"/>
                </a:cubicBezTo>
                <a:cubicBezTo>
                  <a:pt x="4278" y="614"/>
                  <a:pt x="4279" y="615"/>
                  <a:pt x="4280" y="616"/>
                </a:cubicBezTo>
                <a:cubicBezTo>
                  <a:pt x="4280" y="617"/>
                  <a:pt x="4281" y="618"/>
                  <a:pt x="4282" y="618"/>
                </a:cubicBezTo>
                <a:close/>
                <a:moveTo>
                  <a:pt x="4589" y="674"/>
                </a:moveTo>
                <a:cubicBezTo>
                  <a:pt x="4589" y="674"/>
                  <a:pt x="4598" y="667"/>
                  <a:pt x="4617" y="654"/>
                </a:cubicBezTo>
                <a:cubicBezTo>
                  <a:pt x="4640" y="637"/>
                  <a:pt x="4657" y="625"/>
                  <a:pt x="4669" y="615"/>
                </a:cubicBezTo>
                <a:lnTo>
                  <a:pt x="4715" y="579"/>
                </a:lnTo>
                <a:cubicBezTo>
                  <a:pt x="4730" y="568"/>
                  <a:pt x="4737" y="562"/>
                  <a:pt x="4737" y="561"/>
                </a:cubicBezTo>
                <a:cubicBezTo>
                  <a:pt x="4737" y="560"/>
                  <a:pt x="4737" y="559"/>
                  <a:pt x="4738" y="559"/>
                </a:cubicBezTo>
                <a:lnTo>
                  <a:pt x="4739" y="559"/>
                </a:lnTo>
                <a:cubicBezTo>
                  <a:pt x="4740" y="559"/>
                  <a:pt x="4742" y="558"/>
                  <a:pt x="4744" y="557"/>
                </a:cubicBezTo>
                <a:cubicBezTo>
                  <a:pt x="4745" y="556"/>
                  <a:pt x="4746" y="555"/>
                  <a:pt x="4746" y="553"/>
                </a:cubicBezTo>
                <a:lnTo>
                  <a:pt x="4746" y="552"/>
                </a:lnTo>
                <a:lnTo>
                  <a:pt x="4747" y="552"/>
                </a:lnTo>
                <a:cubicBezTo>
                  <a:pt x="4749" y="552"/>
                  <a:pt x="4753" y="550"/>
                  <a:pt x="4759" y="546"/>
                </a:cubicBezTo>
                <a:lnTo>
                  <a:pt x="4768" y="540"/>
                </a:lnTo>
                <a:lnTo>
                  <a:pt x="4767" y="541"/>
                </a:lnTo>
                <a:cubicBezTo>
                  <a:pt x="4766" y="542"/>
                  <a:pt x="4766" y="543"/>
                  <a:pt x="4766" y="544"/>
                </a:cubicBezTo>
                <a:lnTo>
                  <a:pt x="4767" y="547"/>
                </a:lnTo>
                <a:lnTo>
                  <a:pt x="4765" y="546"/>
                </a:lnTo>
                <a:cubicBezTo>
                  <a:pt x="4763" y="546"/>
                  <a:pt x="4761" y="548"/>
                  <a:pt x="4759" y="552"/>
                </a:cubicBezTo>
                <a:cubicBezTo>
                  <a:pt x="4756" y="556"/>
                  <a:pt x="4754" y="558"/>
                  <a:pt x="4753" y="558"/>
                </a:cubicBezTo>
                <a:lnTo>
                  <a:pt x="4750" y="558"/>
                </a:lnTo>
                <a:cubicBezTo>
                  <a:pt x="4747" y="558"/>
                  <a:pt x="4746" y="559"/>
                  <a:pt x="4746" y="560"/>
                </a:cubicBezTo>
                <a:lnTo>
                  <a:pt x="4746" y="561"/>
                </a:lnTo>
                <a:cubicBezTo>
                  <a:pt x="4746" y="563"/>
                  <a:pt x="4746" y="565"/>
                  <a:pt x="4744" y="566"/>
                </a:cubicBezTo>
                <a:cubicBezTo>
                  <a:pt x="4742" y="567"/>
                  <a:pt x="4741" y="568"/>
                  <a:pt x="4741" y="568"/>
                </a:cubicBezTo>
                <a:lnTo>
                  <a:pt x="4741" y="567"/>
                </a:lnTo>
                <a:lnTo>
                  <a:pt x="4742" y="565"/>
                </a:lnTo>
                <a:cubicBezTo>
                  <a:pt x="4742" y="565"/>
                  <a:pt x="4740" y="567"/>
                  <a:pt x="4736" y="572"/>
                </a:cubicBezTo>
                <a:cubicBezTo>
                  <a:pt x="4730" y="578"/>
                  <a:pt x="4726" y="582"/>
                  <a:pt x="4724" y="582"/>
                </a:cubicBezTo>
                <a:cubicBezTo>
                  <a:pt x="4724" y="582"/>
                  <a:pt x="4724" y="582"/>
                  <a:pt x="4724" y="581"/>
                </a:cubicBezTo>
                <a:cubicBezTo>
                  <a:pt x="4724" y="581"/>
                  <a:pt x="4724" y="580"/>
                  <a:pt x="4726" y="578"/>
                </a:cubicBezTo>
                <a:cubicBezTo>
                  <a:pt x="4727" y="576"/>
                  <a:pt x="4728" y="575"/>
                  <a:pt x="4728" y="574"/>
                </a:cubicBezTo>
                <a:lnTo>
                  <a:pt x="4726" y="576"/>
                </a:lnTo>
                <a:cubicBezTo>
                  <a:pt x="4724" y="578"/>
                  <a:pt x="4722" y="580"/>
                  <a:pt x="4722" y="581"/>
                </a:cubicBezTo>
                <a:cubicBezTo>
                  <a:pt x="4722" y="583"/>
                  <a:pt x="4721" y="584"/>
                  <a:pt x="4719" y="586"/>
                </a:cubicBezTo>
                <a:cubicBezTo>
                  <a:pt x="4715" y="591"/>
                  <a:pt x="4709" y="595"/>
                  <a:pt x="4701" y="600"/>
                </a:cubicBezTo>
                <a:lnTo>
                  <a:pt x="4694" y="603"/>
                </a:lnTo>
                <a:cubicBezTo>
                  <a:pt x="4692" y="603"/>
                  <a:pt x="4691" y="604"/>
                  <a:pt x="4689" y="606"/>
                </a:cubicBezTo>
                <a:lnTo>
                  <a:pt x="4687" y="609"/>
                </a:lnTo>
                <a:cubicBezTo>
                  <a:pt x="4687" y="609"/>
                  <a:pt x="4688" y="609"/>
                  <a:pt x="4689" y="608"/>
                </a:cubicBezTo>
                <a:cubicBezTo>
                  <a:pt x="4690" y="607"/>
                  <a:pt x="4691" y="606"/>
                  <a:pt x="4691" y="606"/>
                </a:cubicBezTo>
                <a:cubicBezTo>
                  <a:pt x="4691" y="607"/>
                  <a:pt x="4690" y="608"/>
                  <a:pt x="4688" y="610"/>
                </a:cubicBezTo>
                <a:cubicBezTo>
                  <a:pt x="4685" y="613"/>
                  <a:pt x="4682" y="615"/>
                  <a:pt x="4680" y="615"/>
                </a:cubicBezTo>
                <a:lnTo>
                  <a:pt x="4679" y="614"/>
                </a:lnTo>
                <a:lnTo>
                  <a:pt x="4679" y="614"/>
                </a:lnTo>
                <a:cubicBezTo>
                  <a:pt x="4679" y="615"/>
                  <a:pt x="4679" y="615"/>
                  <a:pt x="4680" y="617"/>
                </a:cubicBezTo>
                <a:cubicBezTo>
                  <a:pt x="4681" y="618"/>
                  <a:pt x="4681" y="619"/>
                  <a:pt x="4681" y="619"/>
                </a:cubicBezTo>
                <a:cubicBezTo>
                  <a:pt x="4681" y="619"/>
                  <a:pt x="4681" y="619"/>
                  <a:pt x="4681" y="619"/>
                </a:cubicBezTo>
                <a:lnTo>
                  <a:pt x="4677" y="619"/>
                </a:lnTo>
                <a:cubicBezTo>
                  <a:pt x="4674" y="619"/>
                  <a:pt x="4672" y="620"/>
                  <a:pt x="4672" y="620"/>
                </a:cubicBezTo>
                <a:cubicBezTo>
                  <a:pt x="4672" y="622"/>
                  <a:pt x="4671" y="624"/>
                  <a:pt x="4668" y="626"/>
                </a:cubicBezTo>
                <a:cubicBezTo>
                  <a:pt x="4665" y="628"/>
                  <a:pt x="4663" y="630"/>
                  <a:pt x="4663" y="630"/>
                </a:cubicBezTo>
                <a:cubicBezTo>
                  <a:pt x="4663" y="629"/>
                  <a:pt x="4664" y="628"/>
                  <a:pt x="4665" y="626"/>
                </a:cubicBezTo>
                <a:cubicBezTo>
                  <a:pt x="4666" y="625"/>
                  <a:pt x="4666" y="625"/>
                  <a:pt x="4666" y="625"/>
                </a:cubicBezTo>
                <a:cubicBezTo>
                  <a:pt x="4666" y="625"/>
                  <a:pt x="4664" y="626"/>
                  <a:pt x="4662" y="628"/>
                </a:cubicBezTo>
                <a:lnTo>
                  <a:pt x="4657" y="633"/>
                </a:lnTo>
                <a:lnTo>
                  <a:pt x="4658" y="632"/>
                </a:lnTo>
                <a:cubicBezTo>
                  <a:pt x="4658" y="631"/>
                  <a:pt x="4658" y="631"/>
                  <a:pt x="4658" y="630"/>
                </a:cubicBezTo>
                <a:cubicBezTo>
                  <a:pt x="4658" y="630"/>
                  <a:pt x="4658" y="630"/>
                  <a:pt x="4658" y="630"/>
                </a:cubicBezTo>
                <a:cubicBezTo>
                  <a:pt x="4657" y="630"/>
                  <a:pt x="4654" y="632"/>
                  <a:pt x="4649" y="635"/>
                </a:cubicBezTo>
                <a:cubicBezTo>
                  <a:pt x="4645" y="639"/>
                  <a:pt x="4642" y="642"/>
                  <a:pt x="4642" y="643"/>
                </a:cubicBezTo>
                <a:cubicBezTo>
                  <a:pt x="4642" y="644"/>
                  <a:pt x="4643" y="645"/>
                  <a:pt x="4644" y="646"/>
                </a:cubicBezTo>
                <a:lnTo>
                  <a:pt x="4645" y="648"/>
                </a:lnTo>
                <a:lnTo>
                  <a:pt x="4645" y="648"/>
                </a:lnTo>
                <a:cubicBezTo>
                  <a:pt x="4645" y="648"/>
                  <a:pt x="4644" y="648"/>
                  <a:pt x="4643" y="647"/>
                </a:cubicBezTo>
                <a:cubicBezTo>
                  <a:pt x="4642" y="646"/>
                  <a:pt x="4641" y="645"/>
                  <a:pt x="4640" y="645"/>
                </a:cubicBezTo>
                <a:cubicBezTo>
                  <a:pt x="4637" y="645"/>
                  <a:pt x="4632" y="648"/>
                  <a:pt x="4624" y="653"/>
                </a:cubicBezTo>
                <a:cubicBezTo>
                  <a:pt x="4604" y="667"/>
                  <a:pt x="4592" y="674"/>
                  <a:pt x="4589" y="674"/>
                </a:cubicBezTo>
                <a:close/>
                <a:moveTo>
                  <a:pt x="4696" y="602"/>
                </a:moveTo>
                <a:cubicBezTo>
                  <a:pt x="4697" y="602"/>
                  <a:pt x="4698" y="601"/>
                  <a:pt x="4700" y="598"/>
                </a:cubicBezTo>
                <a:lnTo>
                  <a:pt x="4702" y="595"/>
                </a:lnTo>
                <a:lnTo>
                  <a:pt x="4702" y="595"/>
                </a:lnTo>
                <a:cubicBezTo>
                  <a:pt x="4702" y="595"/>
                  <a:pt x="4701" y="596"/>
                  <a:pt x="4700" y="597"/>
                </a:cubicBezTo>
                <a:cubicBezTo>
                  <a:pt x="4699" y="598"/>
                  <a:pt x="4697" y="598"/>
                  <a:pt x="4697" y="599"/>
                </a:cubicBezTo>
                <a:cubicBezTo>
                  <a:pt x="4696" y="600"/>
                  <a:pt x="4695" y="601"/>
                  <a:pt x="4695" y="601"/>
                </a:cubicBezTo>
                <a:cubicBezTo>
                  <a:pt x="4695" y="602"/>
                  <a:pt x="4696" y="602"/>
                  <a:pt x="4696" y="602"/>
                </a:cubicBezTo>
                <a:close/>
                <a:moveTo>
                  <a:pt x="4704" y="595"/>
                </a:moveTo>
                <a:cubicBezTo>
                  <a:pt x="4706" y="595"/>
                  <a:pt x="4709" y="592"/>
                  <a:pt x="4714" y="588"/>
                </a:cubicBezTo>
                <a:cubicBezTo>
                  <a:pt x="4717" y="585"/>
                  <a:pt x="4719" y="584"/>
                  <a:pt x="4719" y="583"/>
                </a:cubicBezTo>
                <a:lnTo>
                  <a:pt x="4718" y="583"/>
                </a:lnTo>
                <a:cubicBezTo>
                  <a:pt x="4717" y="583"/>
                  <a:pt x="4716" y="584"/>
                  <a:pt x="4712" y="587"/>
                </a:cubicBezTo>
                <a:cubicBezTo>
                  <a:pt x="4707" y="591"/>
                  <a:pt x="4704" y="594"/>
                  <a:pt x="4704" y="595"/>
                </a:cubicBezTo>
                <a:close/>
                <a:moveTo>
                  <a:pt x="4731" y="575"/>
                </a:moveTo>
                <a:cubicBezTo>
                  <a:pt x="4731" y="575"/>
                  <a:pt x="4733" y="573"/>
                  <a:pt x="4735" y="571"/>
                </a:cubicBezTo>
                <a:lnTo>
                  <a:pt x="4737" y="568"/>
                </a:lnTo>
                <a:lnTo>
                  <a:pt x="4736" y="568"/>
                </a:lnTo>
                <a:lnTo>
                  <a:pt x="4734" y="570"/>
                </a:lnTo>
                <a:cubicBezTo>
                  <a:pt x="4731" y="572"/>
                  <a:pt x="4730" y="573"/>
                  <a:pt x="4730" y="574"/>
                </a:cubicBezTo>
                <a:cubicBezTo>
                  <a:pt x="4730" y="575"/>
                  <a:pt x="4730" y="575"/>
                  <a:pt x="4731" y="575"/>
                </a:cubicBezTo>
                <a:close/>
                <a:moveTo>
                  <a:pt x="4752" y="556"/>
                </a:moveTo>
                <a:cubicBezTo>
                  <a:pt x="4753" y="556"/>
                  <a:pt x="4754" y="555"/>
                  <a:pt x="4756" y="552"/>
                </a:cubicBezTo>
                <a:lnTo>
                  <a:pt x="4758" y="550"/>
                </a:lnTo>
                <a:cubicBezTo>
                  <a:pt x="4758" y="550"/>
                  <a:pt x="4757" y="551"/>
                  <a:pt x="4755" y="552"/>
                </a:cubicBezTo>
                <a:cubicBezTo>
                  <a:pt x="4753" y="554"/>
                  <a:pt x="4752" y="555"/>
                  <a:pt x="4752" y="556"/>
                </a:cubicBezTo>
                <a:cubicBezTo>
                  <a:pt x="4752" y="556"/>
                  <a:pt x="4752" y="556"/>
                  <a:pt x="4752" y="556"/>
                </a:cubicBezTo>
                <a:close/>
                <a:moveTo>
                  <a:pt x="4757" y="540"/>
                </a:moveTo>
                <a:cubicBezTo>
                  <a:pt x="4756" y="540"/>
                  <a:pt x="4756" y="540"/>
                  <a:pt x="4756" y="539"/>
                </a:cubicBezTo>
                <a:cubicBezTo>
                  <a:pt x="4756" y="539"/>
                  <a:pt x="4757" y="539"/>
                  <a:pt x="4758" y="538"/>
                </a:cubicBezTo>
                <a:cubicBezTo>
                  <a:pt x="4758" y="538"/>
                  <a:pt x="4759" y="537"/>
                  <a:pt x="4760" y="537"/>
                </a:cubicBezTo>
                <a:cubicBezTo>
                  <a:pt x="4760" y="537"/>
                  <a:pt x="4761" y="537"/>
                  <a:pt x="4761" y="537"/>
                </a:cubicBezTo>
                <a:cubicBezTo>
                  <a:pt x="4761" y="537"/>
                  <a:pt x="4762" y="537"/>
                  <a:pt x="4762" y="537"/>
                </a:cubicBezTo>
                <a:lnTo>
                  <a:pt x="4762" y="538"/>
                </a:lnTo>
                <a:cubicBezTo>
                  <a:pt x="4760" y="539"/>
                  <a:pt x="4759" y="540"/>
                  <a:pt x="4757" y="540"/>
                </a:cubicBezTo>
                <a:close/>
                <a:moveTo>
                  <a:pt x="4407" y="740"/>
                </a:moveTo>
                <a:cubicBezTo>
                  <a:pt x="4406" y="740"/>
                  <a:pt x="4404" y="738"/>
                  <a:pt x="4402" y="736"/>
                </a:cubicBezTo>
                <a:cubicBezTo>
                  <a:pt x="4401" y="735"/>
                  <a:pt x="4400" y="734"/>
                  <a:pt x="4400" y="734"/>
                </a:cubicBezTo>
                <a:cubicBezTo>
                  <a:pt x="4400" y="733"/>
                  <a:pt x="4401" y="733"/>
                  <a:pt x="4401" y="733"/>
                </a:cubicBezTo>
                <a:lnTo>
                  <a:pt x="4403" y="733"/>
                </a:lnTo>
                <a:cubicBezTo>
                  <a:pt x="4407" y="734"/>
                  <a:pt x="4408" y="735"/>
                  <a:pt x="4408" y="739"/>
                </a:cubicBezTo>
                <a:cubicBezTo>
                  <a:pt x="4408" y="739"/>
                  <a:pt x="4408" y="740"/>
                  <a:pt x="4407" y="740"/>
                </a:cubicBezTo>
                <a:close/>
                <a:moveTo>
                  <a:pt x="4398" y="742"/>
                </a:moveTo>
                <a:cubicBezTo>
                  <a:pt x="4397" y="742"/>
                  <a:pt x="4396" y="742"/>
                  <a:pt x="4396" y="741"/>
                </a:cubicBezTo>
                <a:lnTo>
                  <a:pt x="4397" y="740"/>
                </a:lnTo>
                <a:cubicBezTo>
                  <a:pt x="4397" y="738"/>
                  <a:pt x="4398" y="737"/>
                  <a:pt x="4399" y="737"/>
                </a:cubicBezTo>
                <a:cubicBezTo>
                  <a:pt x="4399" y="737"/>
                  <a:pt x="4400" y="738"/>
                  <a:pt x="4400" y="740"/>
                </a:cubicBezTo>
                <a:cubicBezTo>
                  <a:pt x="4400" y="741"/>
                  <a:pt x="4399" y="742"/>
                  <a:pt x="4398" y="742"/>
                </a:cubicBezTo>
                <a:close/>
                <a:moveTo>
                  <a:pt x="4390" y="744"/>
                </a:moveTo>
                <a:lnTo>
                  <a:pt x="4387" y="744"/>
                </a:lnTo>
                <a:cubicBezTo>
                  <a:pt x="4387" y="743"/>
                  <a:pt x="4388" y="742"/>
                  <a:pt x="4390" y="741"/>
                </a:cubicBezTo>
                <a:lnTo>
                  <a:pt x="4392" y="741"/>
                </a:lnTo>
                <a:cubicBezTo>
                  <a:pt x="4393" y="741"/>
                  <a:pt x="4394" y="741"/>
                  <a:pt x="4394" y="742"/>
                </a:cubicBezTo>
                <a:cubicBezTo>
                  <a:pt x="4394" y="744"/>
                  <a:pt x="4392" y="744"/>
                  <a:pt x="4390" y="744"/>
                </a:cubicBezTo>
                <a:close/>
                <a:moveTo>
                  <a:pt x="4349" y="769"/>
                </a:moveTo>
                <a:cubicBezTo>
                  <a:pt x="4346" y="769"/>
                  <a:pt x="4345" y="769"/>
                  <a:pt x="4345" y="768"/>
                </a:cubicBezTo>
                <a:lnTo>
                  <a:pt x="4346" y="768"/>
                </a:lnTo>
                <a:lnTo>
                  <a:pt x="4350" y="767"/>
                </a:lnTo>
                <a:cubicBezTo>
                  <a:pt x="4352" y="767"/>
                  <a:pt x="4353" y="768"/>
                  <a:pt x="4353" y="768"/>
                </a:cubicBezTo>
                <a:cubicBezTo>
                  <a:pt x="4353" y="769"/>
                  <a:pt x="4352" y="769"/>
                  <a:pt x="4349" y="769"/>
                </a:cubicBezTo>
                <a:close/>
                <a:moveTo>
                  <a:pt x="4359" y="751"/>
                </a:moveTo>
                <a:cubicBezTo>
                  <a:pt x="4358" y="751"/>
                  <a:pt x="4357" y="750"/>
                  <a:pt x="4357" y="750"/>
                </a:cubicBezTo>
                <a:lnTo>
                  <a:pt x="4358" y="750"/>
                </a:lnTo>
                <a:lnTo>
                  <a:pt x="4360" y="749"/>
                </a:lnTo>
                <a:cubicBezTo>
                  <a:pt x="4362" y="749"/>
                  <a:pt x="4363" y="750"/>
                  <a:pt x="4363" y="750"/>
                </a:cubicBezTo>
                <a:cubicBezTo>
                  <a:pt x="4363" y="751"/>
                  <a:pt x="4362" y="751"/>
                  <a:pt x="4359" y="751"/>
                </a:cubicBezTo>
                <a:close/>
                <a:moveTo>
                  <a:pt x="4343" y="746"/>
                </a:moveTo>
                <a:cubicBezTo>
                  <a:pt x="4341" y="746"/>
                  <a:pt x="4340" y="746"/>
                  <a:pt x="4340" y="746"/>
                </a:cubicBezTo>
                <a:cubicBezTo>
                  <a:pt x="4340" y="745"/>
                  <a:pt x="4341" y="745"/>
                  <a:pt x="4344" y="745"/>
                </a:cubicBezTo>
                <a:lnTo>
                  <a:pt x="4346" y="745"/>
                </a:lnTo>
                <a:cubicBezTo>
                  <a:pt x="4346" y="745"/>
                  <a:pt x="4347" y="745"/>
                  <a:pt x="4347" y="746"/>
                </a:cubicBezTo>
                <a:cubicBezTo>
                  <a:pt x="4347" y="746"/>
                  <a:pt x="4345" y="746"/>
                  <a:pt x="4343" y="746"/>
                </a:cubicBezTo>
                <a:close/>
                <a:moveTo>
                  <a:pt x="4589" y="674"/>
                </a:moveTo>
                <a:close/>
                <a:moveTo>
                  <a:pt x="4414" y="737"/>
                </a:moveTo>
                <a:lnTo>
                  <a:pt x="4414" y="737"/>
                </a:lnTo>
                <a:cubicBezTo>
                  <a:pt x="4413" y="737"/>
                  <a:pt x="4412" y="736"/>
                  <a:pt x="4411" y="734"/>
                </a:cubicBezTo>
                <a:cubicBezTo>
                  <a:pt x="4410" y="732"/>
                  <a:pt x="4409" y="732"/>
                  <a:pt x="4409" y="731"/>
                </a:cubicBezTo>
                <a:cubicBezTo>
                  <a:pt x="4409" y="731"/>
                  <a:pt x="4409" y="730"/>
                  <a:pt x="4410" y="730"/>
                </a:cubicBezTo>
                <a:cubicBezTo>
                  <a:pt x="4412" y="730"/>
                  <a:pt x="4413" y="731"/>
                  <a:pt x="4414" y="732"/>
                </a:cubicBezTo>
                <a:cubicBezTo>
                  <a:pt x="4414" y="733"/>
                  <a:pt x="4415" y="735"/>
                  <a:pt x="4415" y="736"/>
                </a:cubicBezTo>
                <a:lnTo>
                  <a:pt x="4414" y="737"/>
                </a:lnTo>
                <a:close/>
                <a:moveTo>
                  <a:pt x="4724" y="633"/>
                </a:moveTo>
                <a:lnTo>
                  <a:pt x="4724" y="609"/>
                </a:lnTo>
                <a:cubicBezTo>
                  <a:pt x="4724" y="609"/>
                  <a:pt x="4725" y="613"/>
                  <a:pt x="4725" y="621"/>
                </a:cubicBezTo>
                <a:lnTo>
                  <a:pt x="4724" y="631"/>
                </a:lnTo>
                <a:cubicBezTo>
                  <a:pt x="4724" y="632"/>
                  <a:pt x="4724" y="633"/>
                  <a:pt x="4724" y="633"/>
                </a:cubicBezTo>
                <a:close/>
                <a:moveTo>
                  <a:pt x="4732" y="676"/>
                </a:moveTo>
                <a:cubicBezTo>
                  <a:pt x="4732" y="676"/>
                  <a:pt x="4731" y="675"/>
                  <a:pt x="4731" y="674"/>
                </a:cubicBezTo>
                <a:lnTo>
                  <a:pt x="4730" y="671"/>
                </a:lnTo>
                <a:cubicBezTo>
                  <a:pt x="4730" y="671"/>
                  <a:pt x="4730" y="670"/>
                  <a:pt x="4731" y="670"/>
                </a:cubicBezTo>
                <a:cubicBezTo>
                  <a:pt x="4731" y="670"/>
                  <a:pt x="4731" y="671"/>
                  <a:pt x="4732" y="671"/>
                </a:cubicBezTo>
                <a:cubicBezTo>
                  <a:pt x="4733" y="672"/>
                  <a:pt x="4733" y="674"/>
                  <a:pt x="4733" y="675"/>
                </a:cubicBezTo>
                <a:cubicBezTo>
                  <a:pt x="4733" y="676"/>
                  <a:pt x="4733" y="676"/>
                  <a:pt x="4732" y="676"/>
                </a:cubicBezTo>
                <a:close/>
                <a:moveTo>
                  <a:pt x="4726" y="654"/>
                </a:moveTo>
                <a:cubicBezTo>
                  <a:pt x="4726" y="654"/>
                  <a:pt x="4725" y="653"/>
                  <a:pt x="4725" y="651"/>
                </a:cubicBezTo>
                <a:cubicBezTo>
                  <a:pt x="4725" y="649"/>
                  <a:pt x="4726" y="648"/>
                  <a:pt x="4726" y="648"/>
                </a:cubicBezTo>
                <a:cubicBezTo>
                  <a:pt x="4727" y="648"/>
                  <a:pt x="4727" y="649"/>
                  <a:pt x="4727" y="651"/>
                </a:cubicBezTo>
                <a:lnTo>
                  <a:pt x="4727" y="654"/>
                </a:lnTo>
                <a:lnTo>
                  <a:pt x="4726" y="654"/>
                </a:lnTo>
                <a:close/>
                <a:moveTo>
                  <a:pt x="4841" y="485"/>
                </a:moveTo>
                <a:lnTo>
                  <a:pt x="4840" y="485"/>
                </a:lnTo>
                <a:cubicBezTo>
                  <a:pt x="4840" y="484"/>
                  <a:pt x="4841" y="483"/>
                  <a:pt x="4844" y="482"/>
                </a:cubicBezTo>
                <a:cubicBezTo>
                  <a:pt x="4846" y="480"/>
                  <a:pt x="4848" y="480"/>
                  <a:pt x="4848" y="480"/>
                </a:cubicBezTo>
                <a:lnTo>
                  <a:pt x="4849" y="480"/>
                </a:lnTo>
                <a:cubicBezTo>
                  <a:pt x="4849" y="481"/>
                  <a:pt x="4848" y="482"/>
                  <a:pt x="4845" y="483"/>
                </a:cubicBezTo>
                <a:cubicBezTo>
                  <a:pt x="4843" y="484"/>
                  <a:pt x="4841" y="485"/>
                  <a:pt x="4841" y="485"/>
                </a:cubicBezTo>
                <a:close/>
                <a:moveTo>
                  <a:pt x="4819" y="497"/>
                </a:moveTo>
                <a:lnTo>
                  <a:pt x="4819" y="497"/>
                </a:lnTo>
                <a:lnTo>
                  <a:pt x="4819" y="497"/>
                </a:lnTo>
                <a:cubicBezTo>
                  <a:pt x="4820" y="496"/>
                  <a:pt x="4821" y="495"/>
                  <a:pt x="4824" y="493"/>
                </a:cubicBezTo>
                <a:cubicBezTo>
                  <a:pt x="4827" y="492"/>
                  <a:pt x="4830" y="490"/>
                  <a:pt x="4833" y="489"/>
                </a:cubicBezTo>
                <a:cubicBezTo>
                  <a:pt x="4836" y="487"/>
                  <a:pt x="4837" y="487"/>
                  <a:pt x="4838" y="487"/>
                </a:cubicBezTo>
                <a:cubicBezTo>
                  <a:pt x="4838" y="487"/>
                  <a:pt x="4835" y="489"/>
                  <a:pt x="4830" y="492"/>
                </a:cubicBezTo>
                <a:cubicBezTo>
                  <a:pt x="4824" y="495"/>
                  <a:pt x="4821" y="497"/>
                  <a:pt x="4819" y="497"/>
                </a:cubicBezTo>
                <a:close/>
                <a:moveTo>
                  <a:pt x="4880" y="456"/>
                </a:moveTo>
                <a:cubicBezTo>
                  <a:pt x="4880" y="456"/>
                  <a:pt x="4881" y="454"/>
                  <a:pt x="4883" y="451"/>
                </a:cubicBezTo>
                <a:cubicBezTo>
                  <a:pt x="4886" y="448"/>
                  <a:pt x="4887" y="447"/>
                  <a:pt x="4888" y="447"/>
                </a:cubicBezTo>
                <a:cubicBezTo>
                  <a:pt x="4888" y="447"/>
                  <a:pt x="4887" y="449"/>
                  <a:pt x="4885" y="451"/>
                </a:cubicBezTo>
                <a:cubicBezTo>
                  <a:pt x="4882" y="455"/>
                  <a:pt x="4880" y="456"/>
                  <a:pt x="4880" y="456"/>
                </a:cubicBezTo>
                <a:close/>
                <a:moveTo>
                  <a:pt x="4895" y="442"/>
                </a:moveTo>
                <a:cubicBezTo>
                  <a:pt x="4895" y="441"/>
                  <a:pt x="4897" y="438"/>
                  <a:pt x="4901" y="433"/>
                </a:cubicBezTo>
                <a:cubicBezTo>
                  <a:pt x="4905" y="429"/>
                  <a:pt x="4908" y="426"/>
                  <a:pt x="4910" y="426"/>
                </a:cubicBezTo>
                <a:cubicBezTo>
                  <a:pt x="4910" y="426"/>
                  <a:pt x="4908" y="429"/>
                  <a:pt x="4903" y="434"/>
                </a:cubicBezTo>
                <a:lnTo>
                  <a:pt x="4895" y="442"/>
                </a:lnTo>
                <a:close/>
                <a:moveTo>
                  <a:pt x="4835" y="397"/>
                </a:moveTo>
                <a:lnTo>
                  <a:pt x="4835" y="393"/>
                </a:lnTo>
                <a:cubicBezTo>
                  <a:pt x="4836" y="391"/>
                  <a:pt x="4838" y="389"/>
                  <a:pt x="4838" y="389"/>
                </a:cubicBezTo>
                <a:cubicBezTo>
                  <a:pt x="4839" y="389"/>
                  <a:pt x="4839" y="390"/>
                  <a:pt x="4839" y="390"/>
                </a:cubicBezTo>
                <a:cubicBezTo>
                  <a:pt x="4839" y="391"/>
                  <a:pt x="4839" y="392"/>
                  <a:pt x="4838" y="393"/>
                </a:cubicBezTo>
                <a:cubicBezTo>
                  <a:pt x="4836" y="395"/>
                  <a:pt x="4835" y="397"/>
                  <a:pt x="4835" y="397"/>
                </a:cubicBezTo>
                <a:close/>
                <a:moveTo>
                  <a:pt x="4913" y="424"/>
                </a:moveTo>
                <a:lnTo>
                  <a:pt x="4912" y="423"/>
                </a:lnTo>
                <a:cubicBezTo>
                  <a:pt x="4912" y="423"/>
                  <a:pt x="4913" y="421"/>
                  <a:pt x="4916" y="419"/>
                </a:cubicBezTo>
                <a:cubicBezTo>
                  <a:pt x="4918" y="416"/>
                  <a:pt x="4920" y="415"/>
                  <a:pt x="4920" y="415"/>
                </a:cubicBezTo>
                <a:cubicBezTo>
                  <a:pt x="4920" y="415"/>
                  <a:pt x="4919" y="417"/>
                  <a:pt x="4917" y="419"/>
                </a:cubicBezTo>
                <a:cubicBezTo>
                  <a:pt x="4914" y="422"/>
                  <a:pt x="4913" y="424"/>
                  <a:pt x="4913" y="424"/>
                </a:cubicBezTo>
                <a:close/>
                <a:moveTo>
                  <a:pt x="5050" y="128"/>
                </a:moveTo>
                <a:cubicBezTo>
                  <a:pt x="5049" y="128"/>
                  <a:pt x="5048" y="127"/>
                  <a:pt x="5045" y="124"/>
                </a:cubicBezTo>
                <a:cubicBezTo>
                  <a:pt x="5041" y="120"/>
                  <a:pt x="5035" y="118"/>
                  <a:pt x="5027" y="118"/>
                </a:cubicBezTo>
                <a:cubicBezTo>
                  <a:pt x="5022" y="118"/>
                  <a:pt x="5017" y="119"/>
                  <a:pt x="5012" y="120"/>
                </a:cubicBezTo>
                <a:cubicBezTo>
                  <a:pt x="5006" y="122"/>
                  <a:pt x="5002" y="122"/>
                  <a:pt x="5000" y="122"/>
                </a:cubicBezTo>
                <a:lnTo>
                  <a:pt x="4999" y="122"/>
                </a:lnTo>
                <a:cubicBezTo>
                  <a:pt x="4999" y="122"/>
                  <a:pt x="5002" y="120"/>
                  <a:pt x="5009" y="118"/>
                </a:cubicBezTo>
                <a:cubicBezTo>
                  <a:pt x="5016" y="116"/>
                  <a:pt x="5022" y="115"/>
                  <a:pt x="5027" y="115"/>
                </a:cubicBezTo>
                <a:cubicBezTo>
                  <a:pt x="5039" y="115"/>
                  <a:pt x="5046" y="119"/>
                  <a:pt x="5049" y="125"/>
                </a:cubicBezTo>
                <a:lnTo>
                  <a:pt x="5051" y="127"/>
                </a:lnTo>
                <a:cubicBezTo>
                  <a:pt x="5051" y="128"/>
                  <a:pt x="5050" y="128"/>
                  <a:pt x="5050" y="128"/>
                </a:cubicBezTo>
                <a:close/>
                <a:moveTo>
                  <a:pt x="5005" y="360"/>
                </a:moveTo>
                <a:cubicBezTo>
                  <a:pt x="5004" y="360"/>
                  <a:pt x="5004" y="359"/>
                  <a:pt x="5004" y="359"/>
                </a:cubicBezTo>
                <a:lnTo>
                  <a:pt x="5004" y="357"/>
                </a:lnTo>
                <a:cubicBezTo>
                  <a:pt x="5006" y="356"/>
                  <a:pt x="5007" y="355"/>
                  <a:pt x="5008" y="355"/>
                </a:cubicBezTo>
                <a:cubicBezTo>
                  <a:pt x="5009" y="355"/>
                  <a:pt x="5009" y="355"/>
                  <a:pt x="5009" y="357"/>
                </a:cubicBezTo>
                <a:cubicBezTo>
                  <a:pt x="5009" y="357"/>
                  <a:pt x="5009" y="357"/>
                  <a:pt x="5008" y="358"/>
                </a:cubicBezTo>
                <a:cubicBezTo>
                  <a:pt x="5008" y="359"/>
                  <a:pt x="5007" y="360"/>
                  <a:pt x="5005" y="360"/>
                </a:cubicBezTo>
                <a:close/>
                <a:moveTo>
                  <a:pt x="5009" y="353"/>
                </a:moveTo>
                <a:cubicBezTo>
                  <a:pt x="5009" y="353"/>
                  <a:pt x="5008" y="353"/>
                  <a:pt x="5008" y="352"/>
                </a:cubicBezTo>
                <a:cubicBezTo>
                  <a:pt x="5008" y="352"/>
                  <a:pt x="5009" y="351"/>
                  <a:pt x="5009" y="350"/>
                </a:cubicBezTo>
                <a:cubicBezTo>
                  <a:pt x="5009" y="349"/>
                  <a:pt x="5011" y="348"/>
                  <a:pt x="5012" y="348"/>
                </a:cubicBezTo>
                <a:cubicBezTo>
                  <a:pt x="5013" y="348"/>
                  <a:pt x="5013" y="349"/>
                  <a:pt x="5013" y="350"/>
                </a:cubicBezTo>
                <a:lnTo>
                  <a:pt x="5013" y="350"/>
                </a:lnTo>
                <a:cubicBezTo>
                  <a:pt x="5012" y="352"/>
                  <a:pt x="5011" y="353"/>
                  <a:pt x="5009" y="353"/>
                </a:cubicBezTo>
                <a:close/>
                <a:moveTo>
                  <a:pt x="4868" y="772"/>
                </a:moveTo>
                <a:cubicBezTo>
                  <a:pt x="4854" y="772"/>
                  <a:pt x="4842" y="771"/>
                  <a:pt x="4832" y="767"/>
                </a:cubicBezTo>
                <a:cubicBezTo>
                  <a:pt x="4819" y="764"/>
                  <a:pt x="4812" y="762"/>
                  <a:pt x="4812" y="762"/>
                </a:cubicBezTo>
                <a:cubicBezTo>
                  <a:pt x="4812" y="762"/>
                  <a:pt x="4811" y="762"/>
                  <a:pt x="4811" y="762"/>
                </a:cubicBezTo>
                <a:cubicBezTo>
                  <a:pt x="4810" y="761"/>
                  <a:pt x="4809" y="761"/>
                  <a:pt x="4809" y="760"/>
                </a:cubicBezTo>
                <a:cubicBezTo>
                  <a:pt x="4809" y="759"/>
                  <a:pt x="4809" y="759"/>
                  <a:pt x="4807" y="759"/>
                </a:cubicBezTo>
                <a:cubicBezTo>
                  <a:pt x="4803" y="759"/>
                  <a:pt x="4798" y="756"/>
                  <a:pt x="4790" y="751"/>
                </a:cubicBezTo>
                <a:cubicBezTo>
                  <a:pt x="4782" y="746"/>
                  <a:pt x="4776" y="740"/>
                  <a:pt x="4770" y="734"/>
                </a:cubicBezTo>
                <a:cubicBezTo>
                  <a:pt x="4748" y="706"/>
                  <a:pt x="4738" y="677"/>
                  <a:pt x="4738" y="649"/>
                </a:cubicBezTo>
                <a:cubicBezTo>
                  <a:pt x="4738" y="637"/>
                  <a:pt x="4737" y="632"/>
                  <a:pt x="4736" y="631"/>
                </a:cubicBezTo>
                <a:lnTo>
                  <a:pt x="4736" y="631"/>
                </a:lnTo>
                <a:cubicBezTo>
                  <a:pt x="4736" y="631"/>
                  <a:pt x="4735" y="630"/>
                  <a:pt x="4735" y="627"/>
                </a:cubicBezTo>
                <a:cubicBezTo>
                  <a:pt x="4735" y="623"/>
                  <a:pt x="4736" y="615"/>
                  <a:pt x="4738" y="604"/>
                </a:cubicBezTo>
                <a:cubicBezTo>
                  <a:pt x="4739" y="593"/>
                  <a:pt x="4741" y="583"/>
                  <a:pt x="4743" y="573"/>
                </a:cubicBezTo>
                <a:cubicBezTo>
                  <a:pt x="4745" y="563"/>
                  <a:pt x="4747" y="556"/>
                  <a:pt x="4749" y="553"/>
                </a:cubicBezTo>
                <a:lnTo>
                  <a:pt x="4750" y="551"/>
                </a:lnTo>
                <a:cubicBezTo>
                  <a:pt x="4751" y="551"/>
                  <a:pt x="4751" y="551"/>
                  <a:pt x="4751" y="552"/>
                </a:cubicBezTo>
                <a:lnTo>
                  <a:pt x="4750" y="557"/>
                </a:lnTo>
                <a:cubicBezTo>
                  <a:pt x="4751" y="557"/>
                  <a:pt x="4751" y="555"/>
                  <a:pt x="4753" y="552"/>
                </a:cubicBezTo>
                <a:cubicBezTo>
                  <a:pt x="4759" y="532"/>
                  <a:pt x="4762" y="519"/>
                  <a:pt x="4762" y="513"/>
                </a:cubicBezTo>
                <a:cubicBezTo>
                  <a:pt x="4762" y="511"/>
                  <a:pt x="4762" y="509"/>
                  <a:pt x="4760" y="509"/>
                </a:cubicBezTo>
                <a:cubicBezTo>
                  <a:pt x="4759" y="509"/>
                  <a:pt x="4759" y="509"/>
                  <a:pt x="4758" y="510"/>
                </a:cubicBezTo>
                <a:cubicBezTo>
                  <a:pt x="4757" y="510"/>
                  <a:pt x="4756" y="508"/>
                  <a:pt x="4756" y="505"/>
                </a:cubicBezTo>
                <a:cubicBezTo>
                  <a:pt x="4756" y="504"/>
                  <a:pt x="4756" y="503"/>
                  <a:pt x="4757" y="503"/>
                </a:cubicBezTo>
                <a:cubicBezTo>
                  <a:pt x="4757" y="502"/>
                  <a:pt x="4758" y="502"/>
                  <a:pt x="4758" y="501"/>
                </a:cubicBezTo>
                <a:lnTo>
                  <a:pt x="4759" y="501"/>
                </a:lnTo>
                <a:cubicBezTo>
                  <a:pt x="4759" y="501"/>
                  <a:pt x="4760" y="500"/>
                  <a:pt x="4760" y="499"/>
                </a:cubicBezTo>
                <a:cubicBezTo>
                  <a:pt x="4760" y="498"/>
                  <a:pt x="4760" y="497"/>
                  <a:pt x="4760" y="497"/>
                </a:cubicBezTo>
                <a:cubicBezTo>
                  <a:pt x="4761" y="496"/>
                  <a:pt x="4761" y="495"/>
                  <a:pt x="4763" y="493"/>
                </a:cubicBezTo>
                <a:cubicBezTo>
                  <a:pt x="4763" y="493"/>
                  <a:pt x="4764" y="495"/>
                  <a:pt x="4764" y="498"/>
                </a:cubicBezTo>
                <a:cubicBezTo>
                  <a:pt x="4764" y="501"/>
                  <a:pt x="4764" y="503"/>
                  <a:pt x="4766" y="503"/>
                </a:cubicBezTo>
                <a:cubicBezTo>
                  <a:pt x="4767" y="503"/>
                  <a:pt x="4768" y="502"/>
                  <a:pt x="4769" y="500"/>
                </a:cubicBezTo>
                <a:lnTo>
                  <a:pt x="4770" y="498"/>
                </a:lnTo>
                <a:cubicBezTo>
                  <a:pt x="4770" y="496"/>
                  <a:pt x="4769" y="495"/>
                  <a:pt x="4767" y="493"/>
                </a:cubicBezTo>
                <a:cubicBezTo>
                  <a:pt x="4765" y="491"/>
                  <a:pt x="4764" y="490"/>
                  <a:pt x="4764" y="487"/>
                </a:cubicBezTo>
                <a:cubicBezTo>
                  <a:pt x="4764" y="487"/>
                  <a:pt x="4764" y="485"/>
                  <a:pt x="4765" y="485"/>
                </a:cubicBezTo>
                <a:cubicBezTo>
                  <a:pt x="4765" y="484"/>
                  <a:pt x="4766" y="483"/>
                  <a:pt x="4767" y="483"/>
                </a:cubicBezTo>
                <a:cubicBezTo>
                  <a:pt x="4768" y="483"/>
                  <a:pt x="4769" y="483"/>
                  <a:pt x="4770" y="482"/>
                </a:cubicBezTo>
                <a:cubicBezTo>
                  <a:pt x="4771" y="482"/>
                  <a:pt x="4771" y="482"/>
                  <a:pt x="4771" y="481"/>
                </a:cubicBezTo>
                <a:cubicBezTo>
                  <a:pt x="4771" y="480"/>
                  <a:pt x="4770" y="479"/>
                  <a:pt x="4769" y="479"/>
                </a:cubicBezTo>
                <a:cubicBezTo>
                  <a:pt x="4768" y="479"/>
                  <a:pt x="4767" y="478"/>
                  <a:pt x="4767" y="477"/>
                </a:cubicBezTo>
                <a:cubicBezTo>
                  <a:pt x="4767" y="475"/>
                  <a:pt x="4768" y="472"/>
                  <a:pt x="4770" y="468"/>
                </a:cubicBezTo>
                <a:lnTo>
                  <a:pt x="4772" y="463"/>
                </a:lnTo>
                <a:cubicBezTo>
                  <a:pt x="4771" y="463"/>
                  <a:pt x="4771" y="463"/>
                  <a:pt x="4771" y="462"/>
                </a:cubicBezTo>
                <a:cubicBezTo>
                  <a:pt x="4771" y="462"/>
                  <a:pt x="4772" y="461"/>
                  <a:pt x="4774" y="459"/>
                </a:cubicBezTo>
                <a:cubicBezTo>
                  <a:pt x="4775" y="457"/>
                  <a:pt x="4776" y="455"/>
                  <a:pt x="4776" y="452"/>
                </a:cubicBezTo>
                <a:lnTo>
                  <a:pt x="4776" y="450"/>
                </a:lnTo>
                <a:cubicBezTo>
                  <a:pt x="4776" y="448"/>
                  <a:pt x="4777" y="447"/>
                  <a:pt x="4779" y="446"/>
                </a:cubicBezTo>
                <a:cubicBezTo>
                  <a:pt x="4781" y="445"/>
                  <a:pt x="4781" y="445"/>
                  <a:pt x="4781" y="444"/>
                </a:cubicBezTo>
                <a:cubicBezTo>
                  <a:pt x="4781" y="444"/>
                  <a:pt x="4781" y="443"/>
                  <a:pt x="4779" y="442"/>
                </a:cubicBezTo>
                <a:cubicBezTo>
                  <a:pt x="4778" y="441"/>
                  <a:pt x="4778" y="441"/>
                  <a:pt x="4778" y="441"/>
                </a:cubicBezTo>
                <a:cubicBezTo>
                  <a:pt x="4778" y="440"/>
                  <a:pt x="4778" y="440"/>
                  <a:pt x="4779" y="440"/>
                </a:cubicBezTo>
                <a:cubicBezTo>
                  <a:pt x="4780" y="440"/>
                  <a:pt x="4781" y="439"/>
                  <a:pt x="4781" y="438"/>
                </a:cubicBezTo>
                <a:lnTo>
                  <a:pt x="4780" y="436"/>
                </a:lnTo>
                <a:cubicBezTo>
                  <a:pt x="4780" y="436"/>
                  <a:pt x="4780" y="436"/>
                  <a:pt x="4780" y="436"/>
                </a:cubicBezTo>
                <a:lnTo>
                  <a:pt x="4782" y="437"/>
                </a:lnTo>
                <a:cubicBezTo>
                  <a:pt x="4783" y="438"/>
                  <a:pt x="4784" y="439"/>
                  <a:pt x="4784" y="441"/>
                </a:cubicBezTo>
                <a:cubicBezTo>
                  <a:pt x="4784" y="445"/>
                  <a:pt x="4782" y="451"/>
                  <a:pt x="4778" y="459"/>
                </a:cubicBezTo>
                <a:cubicBezTo>
                  <a:pt x="4774" y="465"/>
                  <a:pt x="4773" y="470"/>
                  <a:pt x="4773" y="471"/>
                </a:cubicBezTo>
                <a:cubicBezTo>
                  <a:pt x="4773" y="472"/>
                  <a:pt x="4773" y="472"/>
                  <a:pt x="4773" y="472"/>
                </a:cubicBezTo>
                <a:cubicBezTo>
                  <a:pt x="4775" y="471"/>
                  <a:pt x="4777" y="469"/>
                  <a:pt x="4779" y="464"/>
                </a:cubicBezTo>
                <a:cubicBezTo>
                  <a:pt x="4781" y="460"/>
                  <a:pt x="4782" y="456"/>
                  <a:pt x="4783" y="451"/>
                </a:cubicBezTo>
                <a:cubicBezTo>
                  <a:pt x="4784" y="446"/>
                  <a:pt x="4785" y="442"/>
                  <a:pt x="4785" y="439"/>
                </a:cubicBezTo>
                <a:cubicBezTo>
                  <a:pt x="4785" y="438"/>
                  <a:pt x="4785" y="437"/>
                  <a:pt x="4785" y="436"/>
                </a:cubicBezTo>
                <a:cubicBezTo>
                  <a:pt x="4783" y="433"/>
                  <a:pt x="4782" y="432"/>
                  <a:pt x="4782" y="431"/>
                </a:cubicBezTo>
                <a:lnTo>
                  <a:pt x="4784" y="432"/>
                </a:lnTo>
                <a:cubicBezTo>
                  <a:pt x="4786" y="432"/>
                  <a:pt x="4787" y="430"/>
                  <a:pt x="4787" y="426"/>
                </a:cubicBezTo>
                <a:cubicBezTo>
                  <a:pt x="4787" y="425"/>
                  <a:pt x="4787" y="424"/>
                  <a:pt x="4787" y="424"/>
                </a:cubicBezTo>
                <a:cubicBezTo>
                  <a:pt x="4786" y="423"/>
                  <a:pt x="4786" y="423"/>
                  <a:pt x="4786" y="422"/>
                </a:cubicBezTo>
                <a:lnTo>
                  <a:pt x="4789" y="423"/>
                </a:lnTo>
                <a:cubicBezTo>
                  <a:pt x="4790" y="423"/>
                  <a:pt x="4790" y="423"/>
                  <a:pt x="4790" y="422"/>
                </a:cubicBezTo>
                <a:lnTo>
                  <a:pt x="4789" y="416"/>
                </a:lnTo>
                <a:cubicBezTo>
                  <a:pt x="4789" y="415"/>
                  <a:pt x="4789" y="415"/>
                  <a:pt x="4789" y="415"/>
                </a:cubicBezTo>
                <a:lnTo>
                  <a:pt x="4792" y="419"/>
                </a:lnTo>
                <a:cubicBezTo>
                  <a:pt x="4792" y="419"/>
                  <a:pt x="4792" y="419"/>
                  <a:pt x="4792" y="418"/>
                </a:cubicBezTo>
                <a:lnTo>
                  <a:pt x="4791" y="413"/>
                </a:lnTo>
                <a:cubicBezTo>
                  <a:pt x="4791" y="412"/>
                  <a:pt x="4792" y="411"/>
                  <a:pt x="4792" y="411"/>
                </a:cubicBezTo>
                <a:lnTo>
                  <a:pt x="4793" y="411"/>
                </a:lnTo>
                <a:cubicBezTo>
                  <a:pt x="4794" y="411"/>
                  <a:pt x="4795" y="410"/>
                  <a:pt x="4796" y="408"/>
                </a:cubicBezTo>
                <a:cubicBezTo>
                  <a:pt x="4798" y="406"/>
                  <a:pt x="4798" y="404"/>
                  <a:pt x="4798" y="402"/>
                </a:cubicBezTo>
                <a:cubicBezTo>
                  <a:pt x="4798" y="401"/>
                  <a:pt x="4798" y="400"/>
                  <a:pt x="4798" y="399"/>
                </a:cubicBezTo>
                <a:cubicBezTo>
                  <a:pt x="4798" y="398"/>
                  <a:pt x="4797" y="398"/>
                  <a:pt x="4797" y="397"/>
                </a:cubicBezTo>
                <a:lnTo>
                  <a:pt x="4799" y="397"/>
                </a:lnTo>
                <a:cubicBezTo>
                  <a:pt x="4801" y="397"/>
                  <a:pt x="4802" y="396"/>
                  <a:pt x="4803" y="394"/>
                </a:cubicBezTo>
                <a:cubicBezTo>
                  <a:pt x="4805" y="392"/>
                  <a:pt x="4805" y="390"/>
                  <a:pt x="4805" y="389"/>
                </a:cubicBezTo>
                <a:cubicBezTo>
                  <a:pt x="4805" y="388"/>
                  <a:pt x="4805" y="388"/>
                  <a:pt x="4805" y="388"/>
                </a:cubicBezTo>
                <a:cubicBezTo>
                  <a:pt x="4804" y="388"/>
                  <a:pt x="4804" y="389"/>
                  <a:pt x="4803" y="390"/>
                </a:cubicBezTo>
                <a:cubicBezTo>
                  <a:pt x="4801" y="392"/>
                  <a:pt x="4800" y="393"/>
                  <a:pt x="4800" y="393"/>
                </a:cubicBezTo>
                <a:lnTo>
                  <a:pt x="4802" y="387"/>
                </a:lnTo>
                <a:cubicBezTo>
                  <a:pt x="4805" y="381"/>
                  <a:pt x="4807" y="378"/>
                  <a:pt x="4808" y="378"/>
                </a:cubicBezTo>
                <a:lnTo>
                  <a:pt x="4806" y="384"/>
                </a:lnTo>
                <a:cubicBezTo>
                  <a:pt x="4806" y="384"/>
                  <a:pt x="4806" y="385"/>
                  <a:pt x="4807" y="385"/>
                </a:cubicBezTo>
                <a:cubicBezTo>
                  <a:pt x="4807" y="385"/>
                  <a:pt x="4808" y="383"/>
                  <a:pt x="4810" y="380"/>
                </a:cubicBezTo>
                <a:lnTo>
                  <a:pt x="4811" y="376"/>
                </a:lnTo>
                <a:cubicBezTo>
                  <a:pt x="4811" y="376"/>
                  <a:pt x="4810" y="377"/>
                  <a:pt x="4810" y="377"/>
                </a:cubicBezTo>
                <a:cubicBezTo>
                  <a:pt x="4809" y="377"/>
                  <a:pt x="4809" y="378"/>
                  <a:pt x="4808" y="378"/>
                </a:cubicBezTo>
                <a:lnTo>
                  <a:pt x="4808" y="377"/>
                </a:lnTo>
                <a:cubicBezTo>
                  <a:pt x="4808" y="376"/>
                  <a:pt x="4809" y="374"/>
                  <a:pt x="4810" y="370"/>
                </a:cubicBezTo>
                <a:cubicBezTo>
                  <a:pt x="4811" y="367"/>
                  <a:pt x="4813" y="366"/>
                  <a:pt x="4813" y="366"/>
                </a:cubicBezTo>
                <a:cubicBezTo>
                  <a:pt x="4814" y="366"/>
                  <a:pt x="4814" y="366"/>
                  <a:pt x="4815" y="367"/>
                </a:cubicBezTo>
                <a:cubicBezTo>
                  <a:pt x="4815" y="367"/>
                  <a:pt x="4815" y="368"/>
                  <a:pt x="4816" y="368"/>
                </a:cubicBezTo>
                <a:cubicBezTo>
                  <a:pt x="4816" y="368"/>
                  <a:pt x="4816" y="367"/>
                  <a:pt x="4817" y="366"/>
                </a:cubicBezTo>
                <a:cubicBezTo>
                  <a:pt x="4818" y="365"/>
                  <a:pt x="4818" y="364"/>
                  <a:pt x="4818" y="364"/>
                </a:cubicBezTo>
                <a:cubicBezTo>
                  <a:pt x="4818" y="363"/>
                  <a:pt x="4818" y="363"/>
                  <a:pt x="4817" y="363"/>
                </a:cubicBezTo>
                <a:lnTo>
                  <a:pt x="4816" y="364"/>
                </a:lnTo>
                <a:cubicBezTo>
                  <a:pt x="4815" y="364"/>
                  <a:pt x="4815" y="363"/>
                  <a:pt x="4815" y="363"/>
                </a:cubicBezTo>
                <a:cubicBezTo>
                  <a:pt x="4815" y="362"/>
                  <a:pt x="4815" y="361"/>
                  <a:pt x="4816" y="360"/>
                </a:cubicBezTo>
                <a:cubicBezTo>
                  <a:pt x="4817" y="359"/>
                  <a:pt x="4818" y="359"/>
                  <a:pt x="4819" y="359"/>
                </a:cubicBezTo>
                <a:cubicBezTo>
                  <a:pt x="4820" y="359"/>
                  <a:pt x="4820" y="358"/>
                  <a:pt x="4821" y="357"/>
                </a:cubicBezTo>
                <a:cubicBezTo>
                  <a:pt x="4823" y="355"/>
                  <a:pt x="4825" y="353"/>
                  <a:pt x="4825" y="351"/>
                </a:cubicBezTo>
                <a:cubicBezTo>
                  <a:pt x="4825" y="351"/>
                  <a:pt x="4824" y="351"/>
                  <a:pt x="4824" y="351"/>
                </a:cubicBezTo>
                <a:cubicBezTo>
                  <a:pt x="4824" y="351"/>
                  <a:pt x="4823" y="351"/>
                  <a:pt x="4823" y="351"/>
                </a:cubicBezTo>
                <a:cubicBezTo>
                  <a:pt x="4822" y="352"/>
                  <a:pt x="4822" y="352"/>
                  <a:pt x="4821" y="352"/>
                </a:cubicBezTo>
                <a:cubicBezTo>
                  <a:pt x="4821" y="352"/>
                  <a:pt x="4821" y="352"/>
                  <a:pt x="4821" y="351"/>
                </a:cubicBezTo>
                <a:cubicBezTo>
                  <a:pt x="4821" y="351"/>
                  <a:pt x="4821" y="349"/>
                  <a:pt x="4823" y="345"/>
                </a:cubicBezTo>
                <a:cubicBezTo>
                  <a:pt x="4828" y="336"/>
                  <a:pt x="4831" y="330"/>
                  <a:pt x="4834" y="325"/>
                </a:cubicBezTo>
                <a:cubicBezTo>
                  <a:pt x="4837" y="321"/>
                  <a:pt x="4839" y="319"/>
                  <a:pt x="4839" y="319"/>
                </a:cubicBezTo>
                <a:cubicBezTo>
                  <a:pt x="4840" y="319"/>
                  <a:pt x="4840" y="319"/>
                  <a:pt x="4840" y="320"/>
                </a:cubicBezTo>
                <a:cubicBezTo>
                  <a:pt x="4840" y="321"/>
                  <a:pt x="4840" y="323"/>
                  <a:pt x="4838" y="324"/>
                </a:cubicBezTo>
                <a:cubicBezTo>
                  <a:pt x="4837" y="326"/>
                  <a:pt x="4836" y="328"/>
                  <a:pt x="4835" y="330"/>
                </a:cubicBezTo>
                <a:cubicBezTo>
                  <a:pt x="4833" y="333"/>
                  <a:pt x="4832" y="335"/>
                  <a:pt x="4831" y="337"/>
                </a:cubicBezTo>
                <a:cubicBezTo>
                  <a:pt x="4830" y="339"/>
                  <a:pt x="4829" y="340"/>
                  <a:pt x="4829" y="341"/>
                </a:cubicBezTo>
                <a:lnTo>
                  <a:pt x="4831" y="340"/>
                </a:lnTo>
                <a:cubicBezTo>
                  <a:pt x="4834" y="336"/>
                  <a:pt x="4838" y="331"/>
                  <a:pt x="4841" y="324"/>
                </a:cubicBezTo>
                <a:cubicBezTo>
                  <a:pt x="4844" y="318"/>
                  <a:pt x="4845" y="313"/>
                  <a:pt x="4845" y="310"/>
                </a:cubicBezTo>
                <a:lnTo>
                  <a:pt x="4845" y="309"/>
                </a:lnTo>
                <a:cubicBezTo>
                  <a:pt x="4845" y="306"/>
                  <a:pt x="4846" y="305"/>
                  <a:pt x="4846" y="305"/>
                </a:cubicBezTo>
                <a:lnTo>
                  <a:pt x="4849" y="306"/>
                </a:lnTo>
                <a:cubicBezTo>
                  <a:pt x="4850" y="306"/>
                  <a:pt x="4852" y="305"/>
                  <a:pt x="4853" y="302"/>
                </a:cubicBezTo>
                <a:cubicBezTo>
                  <a:pt x="4855" y="300"/>
                  <a:pt x="4855" y="298"/>
                  <a:pt x="4855" y="298"/>
                </a:cubicBezTo>
                <a:cubicBezTo>
                  <a:pt x="4855" y="298"/>
                  <a:pt x="4854" y="299"/>
                  <a:pt x="4853" y="300"/>
                </a:cubicBezTo>
                <a:cubicBezTo>
                  <a:pt x="4851" y="302"/>
                  <a:pt x="4850" y="303"/>
                  <a:pt x="4849" y="303"/>
                </a:cubicBezTo>
                <a:cubicBezTo>
                  <a:pt x="4849" y="303"/>
                  <a:pt x="4849" y="303"/>
                  <a:pt x="4849" y="302"/>
                </a:cubicBezTo>
                <a:cubicBezTo>
                  <a:pt x="4848" y="302"/>
                  <a:pt x="4848" y="301"/>
                  <a:pt x="4848" y="301"/>
                </a:cubicBezTo>
                <a:cubicBezTo>
                  <a:pt x="4847" y="301"/>
                  <a:pt x="4845" y="303"/>
                  <a:pt x="4843" y="306"/>
                </a:cubicBezTo>
                <a:cubicBezTo>
                  <a:pt x="4841" y="309"/>
                  <a:pt x="4840" y="312"/>
                  <a:pt x="4840" y="313"/>
                </a:cubicBezTo>
                <a:cubicBezTo>
                  <a:pt x="4840" y="313"/>
                  <a:pt x="4840" y="313"/>
                  <a:pt x="4840" y="313"/>
                </a:cubicBezTo>
                <a:cubicBezTo>
                  <a:pt x="4841" y="313"/>
                  <a:pt x="4841" y="313"/>
                  <a:pt x="4841" y="312"/>
                </a:cubicBezTo>
                <a:cubicBezTo>
                  <a:pt x="4842" y="312"/>
                  <a:pt x="4842" y="312"/>
                  <a:pt x="4843" y="312"/>
                </a:cubicBezTo>
                <a:cubicBezTo>
                  <a:pt x="4843" y="312"/>
                  <a:pt x="4844" y="312"/>
                  <a:pt x="4844" y="313"/>
                </a:cubicBezTo>
                <a:cubicBezTo>
                  <a:pt x="4844" y="316"/>
                  <a:pt x="4842" y="317"/>
                  <a:pt x="4839" y="317"/>
                </a:cubicBezTo>
                <a:lnTo>
                  <a:pt x="4839" y="317"/>
                </a:lnTo>
                <a:cubicBezTo>
                  <a:pt x="4836" y="317"/>
                  <a:pt x="4833" y="322"/>
                  <a:pt x="4827" y="333"/>
                </a:cubicBezTo>
                <a:cubicBezTo>
                  <a:pt x="4821" y="344"/>
                  <a:pt x="4818" y="349"/>
                  <a:pt x="4816" y="349"/>
                </a:cubicBezTo>
                <a:lnTo>
                  <a:pt x="4815" y="349"/>
                </a:lnTo>
                <a:cubicBezTo>
                  <a:pt x="4815" y="349"/>
                  <a:pt x="4814" y="350"/>
                  <a:pt x="4814" y="351"/>
                </a:cubicBezTo>
                <a:cubicBezTo>
                  <a:pt x="4813" y="355"/>
                  <a:pt x="4812" y="358"/>
                  <a:pt x="4812" y="358"/>
                </a:cubicBezTo>
                <a:cubicBezTo>
                  <a:pt x="4812" y="359"/>
                  <a:pt x="4811" y="359"/>
                  <a:pt x="4811" y="360"/>
                </a:cubicBezTo>
                <a:cubicBezTo>
                  <a:pt x="4811" y="361"/>
                  <a:pt x="4811" y="361"/>
                  <a:pt x="4811" y="362"/>
                </a:cubicBezTo>
                <a:cubicBezTo>
                  <a:pt x="4811" y="362"/>
                  <a:pt x="4810" y="363"/>
                  <a:pt x="4809" y="366"/>
                </a:cubicBezTo>
                <a:cubicBezTo>
                  <a:pt x="4808" y="369"/>
                  <a:pt x="4806" y="372"/>
                  <a:pt x="4804" y="375"/>
                </a:cubicBezTo>
                <a:cubicBezTo>
                  <a:pt x="4800" y="383"/>
                  <a:pt x="4797" y="388"/>
                  <a:pt x="4796" y="391"/>
                </a:cubicBezTo>
                <a:cubicBezTo>
                  <a:pt x="4793" y="400"/>
                  <a:pt x="4789" y="409"/>
                  <a:pt x="4785" y="418"/>
                </a:cubicBezTo>
                <a:cubicBezTo>
                  <a:pt x="4782" y="424"/>
                  <a:pt x="4779" y="430"/>
                  <a:pt x="4777" y="436"/>
                </a:cubicBezTo>
                <a:cubicBezTo>
                  <a:pt x="4774" y="443"/>
                  <a:pt x="4772" y="448"/>
                  <a:pt x="4771" y="453"/>
                </a:cubicBezTo>
                <a:cubicBezTo>
                  <a:pt x="4769" y="457"/>
                  <a:pt x="4768" y="460"/>
                  <a:pt x="4767" y="463"/>
                </a:cubicBezTo>
                <a:cubicBezTo>
                  <a:pt x="4766" y="466"/>
                  <a:pt x="4764" y="468"/>
                  <a:pt x="4764" y="469"/>
                </a:cubicBezTo>
                <a:cubicBezTo>
                  <a:pt x="4763" y="470"/>
                  <a:pt x="4762" y="471"/>
                  <a:pt x="4762" y="473"/>
                </a:cubicBezTo>
                <a:cubicBezTo>
                  <a:pt x="4762" y="474"/>
                  <a:pt x="4762" y="475"/>
                  <a:pt x="4761" y="477"/>
                </a:cubicBezTo>
                <a:lnTo>
                  <a:pt x="4758" y="487"/>
                </a:lnTo>
                <a:cubicBezTo>
                  <a:pt x="4754" y="494"/>
                  <a:pt x="4752" y="499"/>
                  <a:pt x="4752" y="502"/>
                </a:cubicBezTo>
                <a:cubicBezTo>
                  <a:pt x="4751" y="505"/>
                  <a:pt x="4750" y="507"/>
                  <a:pt x="4749" y="507"/>
                </a:cubicBezTo>
                <a:lnTo>
                  <a:pt x="4748" y="506"/>
                </a:lnTo>
                <a:lnTo>
                  <a:pt x="4748" y="506"/>
                </a:lnTo>
                <a:cubicBezTo>
                  <a:pt x="4748" y="504"/>
                  <a:pt x="4749" y="497"/>
                  <a:pt x="4753" y="486"/>
                </a:cubicBezTo>
                <a:cubicBezTo>
                  <a:pt x="4756" y="475"/>
                  <a:pt x="4760" y="463"/>
                  <a:pt x="4766" y="448"/>
                </a:cubicBezTo>
                <a:cubicBezTo>
                  <a:pt x="4771" y="434"/>
                  <a:pt x="4778" y="416"/>
                  <a:pt x="4789" y="394"/>
                </a:cubicBezTo>
                <a:cubicBezTo>
                  <a:pt x="4799" y="372"/>
                  <a:pt x="4809" y="352"/>
                  <a:pt x="4819" y="334"/>
                </a:cubicBezTo>
                <a:cubicBezTo>
                  <a:pt x="4829" y="316"/>
                  <a:pt x="4835" y="307"/>
                  <a:pt x="4836" y="307"/>
                </a:cubicBezTo>
                <a:cubicBezTo>
                  <a:pt x="4837" y="307"/>
                  <a:pt x="4837" y="307"/>
                  <a:pt x="4837" y="306"/>
                </a:cubicBezTo>
                <a:lnTo>
                  <a:pt x="4837" y="304"/>
                </a:lnTo>
                <a:cubicBezTo>
                  <a:pt x="4837" y="304"/>
                  <a:pt x="4838" y="302"/>
                  <a:pt x="4840" y="301"/>
                </a:cubicBezTo>
                <a:cubicBezTo>
                  <a:pt x="4841" y="301"/>
                  <a:pt x="4842" y="300"/>
                  <a:pt x="4842" y="299"/>
                </a:cubicBezTo>
                <a:cubicBezTo>
                  <a:pt x="4842" y="298"/>
                  <a:pt x="4841" y="298"/>
                  <a:pt x="4841" y="297"/>
                </a:cubicBezTo>
                <a:cubicBezTo>
                  <a:pt x="4841" y="297"/>
                  <a:pt x="4841" y="296"/>
                  <a:pt x="4841" y="296"/>
                </a:cubicBezTo>
                <a:lnTo>
                  <a:pt x="4842" y="296"/>
                </a:lnTo>
                <a:cubicBezTo>
                  <a:pt x="4844" y="296"/>
                  <a:pt x="4845" y="294"/>
                  <a:pt x="4847" y="290"/>
                </a:cubicBezTo>
                <a:cubicBezTo>
                  <a:pt x="4848" y="286"/>
                  <a:pt x="4850" y="284"/>
                  <a:pt x="4851" y="284"/>
                </a:cubicBezTo>
                <a:cubicBezTo>
                  <a:pt x="4852" y="284"/>
                  <a:pt x="4853" y="284"/>
                  <a:pt x="4853" y="283"/>
                </a:cubicBezTo>
                <a:lnTo>
                  <a:pt x="4852" y="282"/>
                </a:lnTo>
                <a:cubicBezTo>
                  <a:pt x="4852" y="281"/>
                  <a:pt x="4853" y="279"/>
                  <a:pt x="4854" y="279"/>
                </a:cubicBezTo>
                <a:cubicBezTo>
                  <a:pt x="4855" y="279"/>
                  <a:pt x="4856" y="278"/>
                  <a:pt x="4856" y="278"/>
                </a:cubicBezTo>
                <a:cubicBezTo>
                  <a:pt x="4856" y="277"/>
                  <a:pt x="4856" y="276"/>
                  <a:pt x="4857" y="274"/>
                </a:cubicBezTo>
                <a:cubicBezTo>
                  <a:pt x="4857" y="273"/>
                  <a:pt x="4858" y="271"/>
                  <a:pt x="4860" y="269"/>
                </a:cubicBezTo>
                <a:cubicBezTo>
                  <a:pt x="4862" y="268"/>
                  <a:pt x="4863" y="267"/>
                  <a:pt x="4863" y="267"/>
                </a:cubicBezTo>
                <a:lnTo>
                  <a:pt x="4861" y="267"/>
                </a:lnTo>
                <a:cubicBezTo>
                  <a:pt x="4861" y="266"/>
                  <a:pt x="4862" y="264"/>
                  <a:pt x="4864" y="262"/>
                </a:cubicBezTo>
                <a:cubicBezTo>
                  <a:pt x="4866" y="259"/>
                  <a:pt x="4867" y="257"/>
                  <a:pt x="4868" y="256"/>
                </a:cubicBezTo>
                <a:lnTo>
                  <a:pt x="4871" y="254"/>
                </a:lnTo>
                <a:cubicBezTo>
                  <a:pt x="4871" y="254"/>
                  <a:pt x="4870" y="255"/>
                  <a:pt x="4870" y="257"/>
                </a:cubicBezTo>
                <a:cubicBezTo>
                  <a:pt x="4870" y="259"/>
                  <a:pt x="4870" y="260"/>
                  <a:pt x="4872" y="260"/>
                </a:cubicBezTo>
                <a:cubicBezTo>
                  <a:pt x="4872" y="260"/>
                  <a:pt x="4872" y="259"/>
                  <a:pt x="4872" y="256"/>
                </a:cubicBezTo>
                <a:cubicBezTo>
                  <a:pt x="4872" y="254"/>
                  <a:pt x="4874" y="250"/>
                  <a:pt x="4878" y="244"/>
                </a:cubicBezTo>
                <a:cubicBezTo>
                  <a:pt x="4881" y="238"/>
                  <a:pt x="4885" y="232"/>
                  <a:pt x="4889" y="228"/>
                </a:cubicBezTo>
                <a:cubicBezTo>
                  <a:pt x="4893" y="223"/>
                  <a:pt x="4896" y="220"/>
                  <a:pt x="4897" y="220"/>
                </a:cubicBezTo>
                <a:cubicBezTo>
                  <a:pt x="4898" y="220"/>
                  <a:pt x="4898" y="220"/>
                  <a:pt x="4898" y="220"/>
                </a:cubicBezTo>
                <a:cubicBezTo>
                  <a:pt x="4898" y="221"/>
                  <a:pt x="4897" y="223"/>
                  <a:pt x="4895" y="224"/>
                </a:cubicBezTo>
                <a:cubicBezTo>
                  <a:pt x="4889" y="231"/>
                  <a:pt x="4886" y="235"/>
                  <a:pt x="4886" y="237"/>
                </a:cubicBezTo>
                <a:lnTo>
                  <a:pt x="4886" y="237"/>
                </a:lnTo>
                <a:lnTo>
                  <a:pt x="4887" y="237"/>
                </a:lnTo>
                <a:cubicBezTo>
                  <a:pt x="4887" y="237"/>
                  <a:pt x="4889" y="236"/>
                  <a:pt x="4892" y="232"/>
                </a:cubicBezTo>
                <a:cubicBezTo>
                  <a:pt x="4894" y="230"/>
                  <a:pt x="4897" y="226"/>
                  <a:pt x="4898" y="223"/>
                </a:cubicBezTo>
                <a:cubicBezTo>
                  <a:pt x="4900" y="219"/>
                  <a:pt x="4902" y="217"/>
                  <a:pt x="4902" y="215"/>
                </a:cubicBezTo>
                <a:cubicBezTo>
                  <a:pt x="4902" y="212"/>
                  <a:pt x="4903" y="211"/>
                  <a:pt x="4905" y="211"/>
                </a:cubicBezTo>
                <a:cubicBezTo>
                  <a:pt x="4906" y="211"/>
                  <a:pt x="4907" y="210"/>
                  <a:pt x="4907" y="209"/>
                </a:cubicBezTo>
                <a:lnTo>
                  <a:pt x="4906" y="207"/>
                </a:lnTo>
                <a:lnTo>
                  <a:pt x="4908" y="206"/>
                </a:lnTo>
                <a:cubicBezTo>
                  <a:pt x="4909" y="206"/>
                  <a:pt x="4913" y="203"/>
                  <a:pt x="4920" y="195"/>
                </a:cubicBezTo>
                <a:cubicBezTo>
                  <a:pt x="4927" y="188"/>
                  <a:pt x="4931" y="184"/>
                  <a:pt x="4933" y="184"/>
                </a:cubicBezTo>
                <a:cubicBezTo>
                  <a:pt x="4933" y="184"/>
                  <a:pt x="4933" y="184"/>
                  <a:pt x="4933" y="184"/>
                </a:cubicBezTo>
                <a:lnTo>
                  <a:pt x="4932" y="188"/>
                </a:lnTo>
                <a:cubicBezTo>
                  <a:pt x="4932" y="189"/>
                  <a:pt x="4932" y="189"/>
                  <a:pt x="4933" y="189"/>
                </a:cubicBezTo>
                <a:cubicBezTo>
                  <a:pt x="4934" y="189"/>
                  <a:pt x="4939" y="186"/>
                  <a:pt x="4946" y="178"/>
                </a:cubicBezTo>
                <a:cubicBezTo>
                  <a:pt x="4960" y="164"/>
                  <a:pt x="4975" y="152"/>
                  <a:pt x="4992" y="143"/>
                </a:cubicBezTo>
                <a:cubicBezTo>
                  <a:pt x="5008" y="135"/>
                  <a:pt x="5022" y="131"/>
                  <a:pt x="5033" y="131"/>
                </a:cubicBezTo>
                <a:cubicBezTo>
                  <a:pt x="5038" y="131"/>
                  <a:pt x="5042" y="132"/>
                  <a:pt x="5046" y="134"/>
                </a:cubicBezTo>
                <a:cubicBezTo>
                  <a:pt x="5047" y="135"/>
                  <a:pt x="5048" y="136"/>
                  <a:pt x="5049" y="136"/>
                </a:cubicBezTo>
                <a:cubicBezTo>
                  <a:pt x="5049" y="136"/>
                  <a:pt x="5051" y="136"/>
                  <a:pt x="5053" y="136"/>
                </a:cubicBezTo>
                <a:cubicBezTo>
                  <a:pt x="5054" y="137"/>
                  <a:pt x="5057" y="137"/>
                  <a:pt x="5060" y="139"/>
                </a:cubicBezTo>
                <a:cubicBezTo>
                  <a:pt x="5067" y="143"/>
                  <a:pt x="5072" y="147"/>
                  <a:pt x="5075" y="151"/>
                </a:cubicBezTo>
                <a:cubicBezTo>
                  <a:pt x="5077" y="153"/>
                  <a:pt x="5078" y="156"/>
                  <a:pt x="5079" y="160"/>
                </a:cubicBezTo>
                <a:cubicBezTo>
                  <a:pt x="5082" y="169"/>
                  <a:pt x="5083" y="179"/>
                  <a:pt x="5083" y="191"/>
                </a:cubicBezTo>
                <a:cubicBezTo>
                  <a:pt x="5083" y="236"/>
                  <a:pt x="5065" y="289"/>
                  <a:pt x="5029" y="350"/>
                </a:cubicBezTo>
                <a:cubicBezTo>
                  <a:pt x="4992" y="411"/>
                  <a:pt x="4949" y="459"/>
                  <a:pt x="4901" y="495"/>
                </a:cubicBezTo>
                <a:cubicBezTo>
                  <a:pt x="4888" y="502"/>
                  <a:pt x="4880" y="506"/>
                  <a:pt x="4877" y="506"/>
                </a:cubicBezTo>
                <a:cubicBezTo>
                  <a:pt x="4877" y="506"/>
                  <a:pt x="4876" y="506"/>
                  <a:pt x="4876" y="505"/>
                </a:cubicBezTo>
                <a:cubicBezTo>
                  <a:pt x="4876" y="505"/>
                  <a:pt x="4877" y="504"/>
                  <a:pt x="4877" y="502"/>
                </a:cubicBezTo>
                <a:cubicBezTo>
                  <a:pt x="4879" y="500"/>
                  <a:pt x="4881" y="500"/>
                  <a:pt x="4882" y="500"/>
                </a:cubicBezTo>
                <a:cubicBezTo>
                  <a:pt x="4883" y="500"/>
                  <a:pt x="4883" y="500"/>
                  <a:pt x="4883" y="501"/>
                </a:cubicBezTo>
                <a:cubicBezTo>
                  <a:pt x="4883" y="501"/>
                  <a:pt x="4883" y="502"/>
                  <a:pt x="4882" y="502"/>
                </a:cubicBezTo>
                <a:cubicBezTo>
                  <a:pt x="4882" y="503"/>
                  <a:pt x="4882" y="504"/>
                  <a:pt x="4882" y="504"/>
                </a:cubicBezTo>
                <a:lnTo>
                  <a:pt x="4883" y="503"/>
                </a:lnTo>
                <a:cubicBezTo>
                  <a:pt x="4884" y="503"/>
                  <a:pt x="4885" y="502"/>
                  <a:pt x="4885" y="501"/>
                </a:cubicBezTo>
                <a:cubicBezTo>
                  <a:pt x="4885" y="496"/>
                  <a:pt x="4886" y="493"/>
                  <a:pt x="4887" y="493"/>
                </a:cubicBezTo>
                <a:cubicBezTo>
                  <a:pt x="4887" y="493"/>
                  <a:pt x="4888" y="494"/>
                  <a:pt x="4890" y="495"/>
                </a:cubicBezTo>
                <a:lnTo>
                  <a:pt x="4892" y="497"/>
                </a:lnTo>
                <a:cubicBezTo>
                  <a:pt x="4892" y="497"/>
                  <a:pt x="4892" y="496"/>
                  <a:pt x="4892" y="495"/>
                </a:cubicBezTo>
                <a:cubicBezTo>
                  <a:pt x="4891" y="495"/>
                  <a:pt x="4891" y="494"/>
                  <a:pt x="4891" y="493"/>
                </a:cubicBezTo>
                <a:cubicBezTo>
                  <a:pt x="4891" y="492"/>
                  <a:pt x="4892" y="490"/>
                  <a:pt x="4893" y="489"/>
                </a:cubicBezTo>
                <a:cubicBezTo>
                  <a:pt x="4894" y="487"/>
                  <a:pt x="4895" y="487"/>
                  <a:pt x="4897" y="487"/>
                </a:cubicBezTo>
                <a:cubicBezTo>
                  <a:pt x="4898" y="487"/>
                  <a:pt x="4898" y="488"/>
                  <a:pt x="4898" y="489"/>
                </a:cubicBezTo>
                <a:cubicBezTo>
                  <a:pt x="4898" y="490"/>
                  <a:pt x="4898" y="490"/>
                  <a:pt x="4898" y="491"/>
                </a:cubicBezTo>
                <a:cubicBezTo>
                  <a:pt x="4898" y="492"/>
                  <a:pt x="4897" y="492"/>
                  <a:pt x="4897" y="492"/>
                </a:cubicBezTo>
                <a:lnTo>
                  <a:pt x="4899" y="491"/>
                </a:lnTo>
                <a:cubicBezTo>
                  <a:pt x="4900" y="490"/>
                  <a:pt x="4900" y="489"/>
                  <a:pt x="4900" y="488"/>
                </a:cubicBezTo>
                <a:cubicBezTo>
                  <a:pt x="4900" y="486"/>
                  <a:pt x="4901" y="484"/>
                  <a:pt x="4903" y="481"/>
                </a:cubicBezTo>
                <a:cubicBezTo>
                  <a:pt x="4905" y="479"/>
                  <a:pt x="4907" y="478"/>
                  <a:pt x="4909" y="478"/>
                </a:cubicBezTo>
                <a:lnTo>
                  <a:pt x="4912" y="478"/>
                </a:lnTo>
                <a:lnTo>
                  <a:pt x="4913" y="477"/>
                </a:lnTo>
                <a:lnTo>
                  <a:pt x="4913" y="476"/>
                </a:lnTo>
                <a:cubicBezTo>
                  <a:pt x="4913" y="474"/>
                  <a:pt x="4916" y="471"/>
                  <a:pt x="4920" y="467"/>
                </a:cubicBezTo>
                <a:lnTo>
                  <a:pt x="4923" y="464"/>
                </a:lnTo>
                <a:cubicBezTo>
                  <a:pt x="4923" y="465"/>
                  <a:pt x="4924" y="465"/>
                  <a:pt x="4924" y="465"/>
                </a:cubicBezTo>
                <a:cubicBezTo>
                  <a:pt x="4925" y="465"/>
                  <a:pt x="4926" y="463"/>
                  <a:pt x="4929" y="459"/>
                </a:cubicBezTo>
                <a:cubicBezTo>
                  <a:pt x="4931" y="455"/>
                  <a:pt x="4933" y="453"/>
                  <a:pt x="4935" y="453"/>
                </a:cubicBezTo>
                <a:cubicBezTo>
                  <a:pt x="4935" y="453"/>
                  <a:pt x="4935" y="454"/>
                  <a:pt x="4935" y="454"/>
                </a:cubicBezTo>
                <a:cubicBezTo>
                  <a:pt x="4935" y="455"/>
                  <a:pt x="4935" y="456"/>
                  <a:pt x="4935" y="456"/>
                </a:cubicBezTo>
                <a:cubicBezTo>
                  <a:pt x="4934" y="457"/>
                  <a:pt x="4934" y="458"/>
                  <a:pt x="4934" y="458"/>
                </a:cubicBezTo>
                <a:cubicBezTo>
                  <a:pt x="4934" y="458"/>
                  <a:pt x="4935" y="458"/>
                  <a:pt x="4937" y="456"/>
                </a:cubicBezTo>
                <a:cubicBezTo>
                  <a:pt x="4938" y="455"/>
                  <a:pt x="4939" y="454"/>
                  <a:pt x="4939" y="453"/>
                </a:cubicBezTo>
                <a:cubicBezTo>
                  <a:pt x="4939" y="452"/>
                  <a:pt x="4939" y="451"/>
                  <a:pt x="4938" y="451"/>
                </a:cubicBezTo>
                <a:cubicBezTo>
                  <a:pt x="4938" y="450"/>
                  <a:pt x="4937" y="449"/>
                  <a:pt x="4937" y="448"/>
                </a:cubicBezTo>
                <a:cubicBezTo>
                  <a:pt x="4937" y="447"/>
                  <a:pt x="4940" y="444"/>
                  <a:pt x="4947" y="439"/>
                </a:cubicBezTo>
                <a:cubicBezTo>
                  <a:pt x="4954" y="433"/>
                  <a:pt x="4958" y="430"/>
                  <a:pt x="4958" y="429"/>
                </a:cubicBezTo>
                <a:cubicBezTo>
                  <a:pt x="4958" y="427"/>
                  <a:pt x="4959" y="427"/>
                  <a:pt x="4960" y="427"/>
                </a:cubicBezTo>
                <a:cubicBezTo>
                  <a:pt x="4961" y="427"/>
                  <a:pt x="4965" y="423"/>
                  <a:pt x="4971" y="416"/>
                </a:cubicBezTo>
                <a:cubicBezTo>
                  <a:pt x="4975" y="411"/>
                  <a:pt x="4978" y="407"/>
                  <a:pt x="4978" y="406"/>
                </a:cubicBezTo>
                <a:lnTo>
                  <a:pt x="4977" y="406"/>
                </a:lnTo>
                <a:cubicBezTo>
                  <a:pt x="4977" y="406"/>
                  <a:pt x="4980" y="402"/>
                  <a:pt x="4986" y="395"/>
                </a:cubicBezTo>
                <a:cubicBezTo>
                  <a:pt x="4995" y="386"/>
                  <a:pt x="4999" y="380"/>
                  <a:pt x="4999" y="379"/>
                </a:cubicBezTo>
                <a:cubicBezTo>
                  <a:pt x="4999" y="377"/>
                  <a:pt x="5001" y="375"/>
                  <a:pt x="5004" y="371"/>
                </a:cubicBezTo>
                <a:cubicBezTo>
                  <a:pt x="5008" y="367"/>
                  <a:pt x="5010" y="365"/>
                  <a:pt x="5010" y="363"/>
                </a:cubicBezTo>
                <a:cubicBezTo>
                  <a:pt x="5010" y="362"/>
                  <a:pt x="5011" y="360"/>
                  <a:pt x="5014" y="356"/>
                </a:cubicBezTo>
                <a:cubicBezTo>
                  <a:pt x="5017" y="353"/>
                  <a:pt x="5018" y="350"/>
                  <a:pt x="5018" y="349"/>
                </a:cubicBezTo>
                <a:cubicBezTo>
                  <a:pt x="5018" y="347"/>
                  <a:pt x="5018" y="346"/>
                  <a:pt x="5019" y="346"/>
                </a:cubicBezTo>
                <a:cubicBezTo>
                  <a:pt x="5019" y="345"/>
                  <a:pt x="5019" y="345"/>
                  <a:pt x="5020" y="344"/>
                </a:cubicBezTo>
                <a:lnTo>
                  <a:pt x="5021" y="344"/>
                </a:lnTo>
                <a:cubicBezTo>
                  <a:pt x="5022" y="344"/>
                  <a:pt x="5023" y="343"/>
                  <a:pt x="5026" y="339"/>
                </a:cubicBezTo>
                <a:cubicBezTo>
                  <a:pt x="5027" y="336"/>
                  <a:pt x="5029" y="334"/>
                  <a:pt x="5029" y="333"/>
                </a:cubicBezTo>
                <a:cubicBezTo>
                  <a:pt x="5029" y="333"/>
                  <a:pt x="5028" y="332"/>
                  <a:pt x="5028" y="332"/>
                </a:cubicBezTo>
                <a:cubicBezTo>
                  <a:pt x="5028" y="332"/>
                  <a:pt x="5027" y="332"/>
                  <a:pt x="5027" y="332"/>
                </a:cubicBezTo>
                <a:cubicBezTo>
                  <a:pt x="5027" y="331"/>
                  <a:pt x="5028" y="331"/>
                  <a:pt x="5030" y="329"/>
                </a:cubicBezTo>
                <a:cubicBezTo>
                  <a:pt x="5032" y="328"/>
                  <a:pt x="5033" y="326"/>
                  <a:pt x="5034" y="323"/>
                </a:cubicBezTo>
                <a:cubicBezTo>
                  <a:pt x="5034" y="322"/>
                  <a:pt x="5035" y="321"/>
                  <a:pt x="5036" y="320"/>
                </a:cubicBezTo>
                <a:cubicBezTo>
                  <a:pt x="5036" y="318"/>
                  <a:pt x="5037" y="317"/>
                  <a:pt x="5039" y="316"/>
                </a:cubicBezTo>
                <a:cubicBezTo>
                  <a:pt x="5040" y="313"/>
                  <a:pt x="5041" y="311"/>
                  <a:pt x="5041" y="308"/>
                </a:cubicBezTo>
                <a:lnTo>
                  <a:pt x="5041" y="306"/>
                </a:lnTo>
                <a:cubicBezTo>
                  <a:pt x="5041" y="305"/>
                  <a:pt x="5041" y="304"/>
                  <a:pt x="5043" y="303"/>
                </a:cubicBezTo>
                <a:cubicBezTo>
                  <a:pt x="5045" y="302"/>
                  <a:pt x="5046" y="301"/>
                  <a:pt x="5046" y="300"/>
                </a:cubicBezTo>
                <a:lnTo>
                  <a:pt x="5045" y="298"/>
                </a:lnTo>
                <a:cubicBezTo>
                  <a:pt x="5045" y="296"/>
                  <a:pt x="5046" y="295"/>
                  <a:pt x="5046" y="294"/>
                </a:cubicBezTo>
                <a:cubicBezTo>
                  <a:pt x="5047" y="293"/>
                  <a:pt x="5048" y="292"/>
                  <a:pt x="5048" y="292"/>
                </a:cubicBezTo>
                <a:lnTo>
                  <a:pt x="5049" y="292"/>
                </a:lnTo>
                <a:cubicBezTo>
                  <a:pt x="5050" y="292"/>
                  <a:pt x="5050" y="292"/>
                  <a:pt x="5050" y="291"/>
                </a:cubicBezTo>
                <a:lnTo>
                  <a:pt x="5049" y="287"/>
                </a:lnTo>
                <a:cubicBezTo>
                  <a:pt x="5049" y="287"/>
                  <a:pt x="5049" y="287"/>
                  <a:pt x="5049" y="287"/>
                </a:cubicBezTo>
                <a:lnTo>
                  <a:pt x="5053" y="288"/>
                </a:lnTo>
                <a:cubicBezTo>
                  <a:pt x="5053" y="288"/>
                  <a:pt x="5053" y="288"/>
                  <a:pt x="5053" y="288"/>
                </a:cubicBezTo>
                <a:lnTo>
                  <a:pt x="5053" y="287"/>
                </a:lnTo>
                <a:cubicBezTo>
                  <a:pt x="5053" y="282"/>
                  <a:pt x="5054" y="275"/>
                  <a:pt x="5058" y="267"/>
                </a:cubicBezTo>
                <a:cubicBezTo>
                  <a:pt x="5070" y="232"/>
                  <a:pt x="5076" y="205"/>
                  <a:pt x="5076" y="186"/>
                </a:cubicBezTo>
                <a:cubicBezTo>
                  <a:pt x="5076" y="179"/>
                  <a:pt x="5075" y="174"/>
                  <a:pt x="5073" y="169"/>
                </a:cubicBezTo>
                <a:cubicBezTo>
                  <a:pt x="5071" y="165"/>
                  <a:pt x="5070" y="163"/>
                  <a:pt x="5070" y="163"/>
                </a:cubicBezTo>
                <a:cubicBezTo>
                  <a:pt x="5069" y="163"/>
                  <a:pt x="5069" y="163"/>
                  <a:pt x="5069" y="164"/>
                </a:cubicBezTo>
                <a:cubicBezTo>
                  <a:pt x="5069" y="164"/>
                  <a:pt x="5070" y="166"/>
                  <a:pt x="5071" y="169"/>
                </a:cubicBezTo>
                <a:cubicBezTo>
                  <a:pt x="5071" y="173"/>
                  <a:pt x="5072" y="177"/>
                  <a:pt x="5072" y="183"/>
                </a:cubicBezTo>
                <a:cubicBezTo>
                  <a:pt x="5072" y="192"/>
                  <a:pt x="5071" y="203"/>
                  <a:pt x="5068" y="213"/>
                </a:cubicBezTo>
                <a:lnTo>
                  <a:pt x="5066" y="224"/>
                </a:lnTo>
                <a:cubicBezTo>
                  <a:pt x="5066" y="226"/>
                  <a:pt x="5065" y="230"/>
                  <a:pt x="5063" y="235"/>
                </a:cubicBezTo>
                <a:cubicBezTo>
                  <a:pt x="5061" y="242"/>
                  <a:pt x="5059" y="246"/>
                  <a:pt x="5058" y="246"/>
                </a:cubicBezTo>
                <a:cubicBezTo>
                  <a:pt x="5057" y="246"/>
                  <a:pt x="5057" y="248"/>
                  <a:pt x="5057" y="252"/>
                </a:cubicBezTo>
                <a:cubicBezTo>
                  <a:pt x="5057" y="256"/>
                  <a:pt x="5056" y="259"/>
                  <a:pt x="5053" y="264"/>
                </a:cubicBezTo>
                <a:cubicBezTo>
                  <a:pt x="5051" y="268"/>
                  <a:pt x="5050" y="271"/>
                  <a:pt x="5050" y="274"/>
                </a:cubicBezTo>
                <a:cubicBezTo>
                  <a:pt x="5050" y="274"/>
                  <a:pt x="5050" y="275"/>
                  <a:pt x="5051" y="275"/>
                </a:cubicBezTo>
                <a:lnTo>
                  <a:pt x="5051" y="276"/>
                </a:lnTo>
                <a:cubicBezTo>
                  <a:pt x="5050" y="276"/>
                  <a:pt x="5049" y="275"/>
                  <a:pt x="5048" y="273"/>
                </a:cubicBezTo>
                <a:cubicBezTo>
                  <a:pt x="5046" y="272"/>
                  <a:pt x="5045" y="271"/>
                  <a:pt x="5045" y="271"/>
                </a:cubicBezTo>
                <a:lnTo>
                  <a:pt x="5045" y="271"/>
                </a:lnTo>
                <a:cubicBezTo>
                  <a:pt x="5045" y="272"/>
                  <a:pt x="5045" y="274"/>
                  <a:pt x="5047" y="278"/>
                </a:cubicBezTo>
                <a:cubicBezTo>
                  <a:pt x="5047" y="280"/>
                  <a:pt x="5048" y="281"/>
                  <a:pt x="5048" y="283"/>
                </a:cubicBezTo>
                <a:cubicBezTo>
                  <a:pt x="5048" y="285"/>
                  <a:pt x="5046" y="287"/>
                  <a:pt x="5043" y="290"/>
                </a:cubicBezTo>
                <a:cubicBezTo>
                  <a:pt x="5040" y="293"/>
                  <a:pt x="5039" y="294"/>
                  <a:pt x="5039" y="294"/>
                </a:cubicBezTo>
                <a:cubicBezTo>
                  <a:pt x="5039" y="295"/>
                  <a:pt x="5039" y="295"/>
                  <a:pt x="5039" y="295"/>
                </a:cubicBezTo>
                <a:lnTo>
                  <a:pt x="5041" y="294"/>
                </a:lnTo>
                <a:cubicBezTo>
                  <a:pt x="5042" y="294"/>
                  <a:pt x="5042" y="294"/>
                  <a:pt x="5042" y="296"/>
                </a:cubicBezTo>
                <a:cubicBezTo>
                  <a:pt x="5041" y="298"/>
                  <a:pt x="5040" y="299"/>
                  <a:pt x="5039" y="299"/>
                </a:cubicBezTo>
                <a:cubicBezTo>
                  <a:pt x="5037" y="299"/>
                  <a:pt x="5036" y="299"/>
                  <a:pt x="5035" y="301"/>
                </a:cubicBezTo>
                <a:cubicBezTo>
                  <a:pt x="5035" y="303"/>
                  <a:pt x="5035" y="304"/>
                  <a:pt x="5035" y="304"/>
                </a:cubicBezTo>
                <a:lnTo>
                  <a:pt x="5037" y="303"/>
                </a:lnTo>
                <a:cubicBezTo>
                  <a:pt x="5038" y="303"/>
                  <a:pt x="5038" y="303"/>
                  <a:pt x="5038" y="304"/>
                </a:cubicBezTo>
                <a:cubicBezTo>
                  <a:pt x="5038" y="305"/>
                  <a:pt x="5037" y="308"/>
                  <a:pt x="5034" y="314"/>
                </a:cubicBezTo>
                <a:cubicBezTo>
                  <a:pt x="5031" y="320"/>
                  <a:pt x="5029" y="323"/>
                  <a:pt x="5027" y="323"/>
                </a:cubicBezTo>
                <a:cubicBezTo>
                  <a:pt x="5026" y="323"/>
                  <a:pt x="5026" y="323"/>
                  <a:pt x="5026" y="322"/>
                </a:cubicBezTo>
                <a:lnTo>
                  <a:pt x="5027" y="318"/>
                </a:lnTo>
                <a:cubicBezTo>
                  <a:pt x="5026" y="318"/>
                  <a:pt x="5025" y="320"/>
                  <a:pt x="5022" y="323"/>
                </a:cubicBezTo>
                <a:cubicBezTo>
                  <a:pt x="5020" y="325"/>
                  <a:pt x="5019" y="326"/>
                  <a:pt x="5019" y="327"/>
                </a:cubicBezTo>
                <a:lnTo>
                  <a:pt x="5026" y="326"/>
                </a:lnTo>
                <a:cubicBezTo>
                  <a:pt x="5026" y="326"/>
                  <a:pt x="5026" y="326"/>
                  <a:pt x="5026" y="326"/>
                </a:cubicBezTo>
                <a:cubicBezTo>
                  <a:pt x="5026" y="327"/>
                  <a:pt x="5025" y="330"/>
                  <a:pt x="5022" y="335"/>
                </a:cubicBezTo>
                <a:cubicBezTo>
                  <a:pt x="5020" y="338"/>
                  <a:pt x="5018" y="341"/>
                  <a:pt x="5016" y="343"/>
                </a:cubicBezTo>
                <a:cubicBezTo>
                  <a:pt x="5014" y="346"/>
                  <a:pt x="5012" y="347"/>
                  <a:pt x="5012" y="347"/>
                </a:cubicBezTo>
                <a:cubicBezTo>
                  <a:pt x="5012" y="347"/>
                  <a:pt x="5012" y="347"/>
                  <a:pt x="5012" y="346"/>
                </a:cubicBezTo>
                <a:lnTo>
                  <a:pt x="5013" y="343"/>
                </a:lnTo>
                <a:cubicBezTo>
                  <a:pt x="5012" y="343"/>
                  <a:pt x="5011" y="344"/>
                  <a:pt x="5009" y="346"/>
                </a:cubicBezTo>
                <a:cubicBezTo>
                  <a:pt x="5006" y="348"/>
                  <a:pt x="5004" y="351"/>
                  <a:pt x="5004" y="353"/>
                </a:cubicBezTo>
                <a:cubicBezTo>
                  <a:pt x="5004" y="354"/>
                  <a:pt x="4997" y="364"/>
                  <a:pt x="4982" y="384"/>
                </a:cubicBezTo>
                <a:cubicBezTo>
                  <a:pt x="4977" y="390"/>
                  <a:pt x="4975" y="394"/>
                  <a:pt x="4975" y="395"/>
                </a:cubicBezTo>
                <a:cubicBezTo>
                  <a:pt x="4975" y="396"/>
                  <a:pt x="4972" y="399"/>
                  <a:pt x="4968" y="404"/>
                </a:cubicBezTo>
                <a:cubicBezTo>
                  <a:pt x="4965" y="406"/>
                  <a:pt x="4963" y="408"/>
                  <a:pt x="4963" y="409"/>
                </a:cubicBezTo>
                <a:lnTo>
                  <a:pt x="4965" y="409"/>
                </a:lnTo>
                <a:cubicBezTo>
                  <a:pt x="4964" y="410"/>
                  <a:pt x="4962" y="413"/>
                  <a:pt x="4956" y="418"/>
                </a:cubicBezTo>
                <a:cubicBezTo>
                  <a:pt x="4949" y="424"/>
                  <a:pt x="4946" y="429"/>
                  <a:pt x="4946" y="430"/>
                </a:cubicBezTo>
                <a:lnTo>
                  <a:pt x="4946" y="431"/>
                </a:lnTo>
                <a:cubicBezTo>
                  <a:pt x="4946" y="431"/>
                  <a:pt x="4945" y="433"/>
                  <a:pt x="4942" y="436"/>
                </a:cubicBezTo>
                <a:cubicBezTo>
                  <a:pt x="4939" y="441"/>
                  <a:pt x="4933" y="446"/>
                  <a:pt x="4925" y="453"/>
                </a:cubicBezTo>
                <a:lnTo>
                  <a:pt x="4920" y="457"/>
                </a:lnTo>
                <a:lnTo>
                  <a:pt x="4919" y="457"/>
                </a:lnTo>
                <a:lnTo>
                  <a:pt x="4919" y="458"/>
                </a:lnTo>
                <a:cubicBezTo>
                  <a:pt x="4919" y="460"/>
                  <a:pt x="4915" y="466"/>
                  <a:pt x="4906" y="475"/>
                </a:cubicBezTo>
                <a:cubicBezTo>
                  <a:pt x="4897" y="483"/>
                  <a:pt x="4886" y="492"/>
                  <a:pt x="4873" y="501"/>
                </a:cubicBezTo>
                <a:cubicBezTo>
                  <a:pt x="4859" y="511"/>
                  <a:pt x="4852" y="517"/>
                  <a:pt x="4852" y="518"/>
                </a:cubicBezTo>
                <a:cubicBezTo>
                  <a:pt x="4852" y="519"/>
                  <a:pt x="4852" y="519"/>
                  <a:pt x="4851" y="519"/>
                </a:cubicBezTo>
                <a:lnTo>
                  <a:pt x="4846" y="518"/>
                </a:lnTo>
                <a:lnTo>
                  <a:pt x="4845" y="519"/>
                </a:lnTo>
                <a:lnTo>
                  <a:pt x="4846" y="520"/>
                </a:lnTo>
                <a:cubicBezTo>
                  <a:pt x="4846" y="522"/>
                  <a:pt x="4839" y="523"/>
                  <a:pt x="4826" y="523"/>
                </a:cubicBezTo>
                <a:lnTo>
                  <a:pt x="4820" y="523"/>
                </a:lnTo>
                <a:cubicBezTo>
                  <a:pt x="4811" y="523"/>
                  <a:pt x="4806" y="522"/>
                  <a:pt x="4802" y="520"/>
                </a:cubicBezTo>
                <a:cubicBezTo>
                  <a:pt x="4799" y="518"/>
                  <a:pt x="4796" y="514"/>
                  <a:pt x="4794" y="509"/>
                </a:cubicBezTo>
                <a:cubicBezTo>
                  <a:pt x="4793" y="506"/>
                  <a:pt x="4793" y="504"/>
                  <a:pt x="4792" y="504"/>
                </a:cubicBezTo>
                <a:cubicBezTo>
                  <a:pt x="4791" y="504"/>
                  <a:pt x="4791" y="505"/>
                  <a:pt x="4790" y="507"/>
                </a:cubicBezTo>
                <a:cubicBezTo>
                  <a:pt x="4789" y="509"/>
                  <a:pt x="4789" y="511"/>
                  <a:pt x="4789" y="511"/>
                </a:cubicBezTo>
                <a:lnTo>
                  <a:pt x="4788" y="509"/>
                </a:lnTo>
                <a:cubicBezTo>
                  <a:pt x="4788" y="507"/>
                  <a:pt x="4789" y="505"/>
                  <a:pt x="4790" y="503"/>
                </a:cubicBezTo>
                <a:cubicBezTo>
                  <a:pt x="4791" y="502"/>
                  <a:pt x="4791" y="500"/>
                  <a:pt x="4791" y="498"/>
                </a:cubicBezTo>
                <a:cubicBezTo>
                  <a:pt x="4791" y="497"/>
                  <a:pt x="4791" y="496"/>
                  <a:pt x="4790" y="496"/>
                </a:cubicBezTo>
                <a:lnTo>
                  <a:pt x="4789" y="497"/>
                </a:lnTo>
                <a:cubicBezTo>
                  <a:pt x="4788" y="497"/>
                  <a:pt x="4788" y="496"/>
                  <a:pt x="4788" y="495"/>
                </a:cubicBezTo>
                <a:cubicBezTo>
                  <a:pt x="4788" y="494"/>
                  <a:pt x="4788" y="493"/>
                  <a:pt x="4788" y="493"/>
                </a:cubicBezTo>
                <a:lnTo>
                  <a:pt x="4788" y="493"/>
                </a:lnTo>
                <a:cubicBezTo>
                  <a:pt x="4787" y="493"/>
                  <a:pt x="4787" y="494"/>
                  <a:pt x="4786" y="496"/>
                </a:cubicBezTo>
                <a:cubicBezTo>
                  <a:pt x="4785" y="497"/>
                  <a:pt x="4785" y="499"/>
                  <a:pt x="4785" y="501"/>
                </a:cubicBezTo>
                <a:cubicBezTo>
                  <a:pt x="4785" y="502"/>
                  <a:pt x="4785" y="504"/>
                  <a:pt x="4785" y="505"/>
                </a:cubicBezTo>
                <a:cubicBezTo>
                  <a:pt x="4786" y="505"/>
                  <a:pt x="4786" y="506"/>
                  <a:pt x="4786" y="507"/>
                </a:cubicBezTo>
                <a:cubicBezTo>
                  <a:pt x="4786" y="508"/>
                  <a:pt x="4785" y="508"/>
                  <a:pt x="4785" y="508"/>
                </a:cubicBezTo>
                <a:lnTo>
                  <a:pt x="4784" y="508"/>
                </a:lnTo>
                <a:cubicBezTo>
                  <a:pt x="4783" y="508"/>
                  <a:pt x="4782" y="508"/>
                  <a:pt x="4781" y="510"/>
                </a:cubicBezTo>
                <a:cubicBezTo>
                  <a:pt x="4780" y="511"/>
                  <a:pt x="4780" y="513"/>
                  <a:pt x="4780" y="515"/>
                </a:cubicBezTo>
                <a:cubicBezTo>
                  <a:pt x="4780" y="516"/>
                  <a:pt x="4780" y="517"/>
                  <a:pt x="4781" y="518"/>
                </a:cubicBezTo>
                <a:lnTo>
                  <a:pt x="4781" y="519"/>
                </a:lnTo>
                <a:cubicBezTo>
                  <a:pt x="4781" y="519"/>
                  <a:pt x="4781" y="520"/>
                  <a:pt x="4781" y="520"/>
                </a:cubicBezTo>
                <a:lnTo>
                  <a:pt x="4778" y="519"/>
                </a:lnTo>
                <a:cubicBezTo>
                  <a:pt x="4778" y="519"/>
                  <a:pt x="4778" y="519"/>
                  <a:pt x="4778" y="519"/>
                </a:cubicBezTo>
                <a:lnTo>
                  <a:pt x="4779" y="525"/>
                </a:lnTo>
                <a:cubicBezTo>
                  <a:pt x="4779" y="526"/>
                  <a:pt x="4779" y="526"/>
                  <a:pt x="4778" y="526"/>
                </a:cubicBezTo>
                <a:lnTo>
                  <a:pt x="4776" y="525"/>
                </a:lnTo>
                <a:cubicBezTo>
                  <a:pt x="4775" y="525"/>
                  <a:pt x="4775" y="526"/>
                  <a:pt x="4775" y="526"/>
                </a:cubicBezTo>
                <a:lnTo>
                  <a:pt x="4776" y="530"/>
                </a:lnTo>
                <a:cubicBezTo>
                  <a:pt x="4776" y="531"/>
                  <a:pt x="4776" y="532"/>
                  <a:pt x="4775" y="532"/>
                </a:cubicBezTo>
                <a:cubicBezTo>
                  <a:pt x="4774" y="532"/>
                  <a:pt x="4774" y="532"/>
                  <a:pt x="4774" y="534"/>
                </a:cubicBezTo>
                <a:lnTo>
                  <a:pt x="4775" y="539"/>
                </a:lnTo>
                <a:cubicBezTo>
                  <a:pt x="4775" y="540"/>
                  <a:pt x="4775" y="541"/>
                  <a:pt x="4775" y="541"/>
                </a:cubicBezTo>
                <a:cubicBezTo>
                  <a:pt x="4774" y="541"/>
                  <a:pt x="4773" y="540"/>
                  <a:pt x="4773" y="539"/>
                </a:cubicBezTo>
                <a:cubicBezTo>
                  <a:pt x="4772" y="539"/>
                  <a:pt x="4771" y="539"/>
                  <a:pt x="4771" y="539"/>
                </a:cubicBezTo>
                <a:lnTo>
                  <a:pt x="4771" y="539"/>
                </a:lnTo>
                <a:cubicBezTo>
                  <a:pt x="4771" y="539"/>
                  <a:pt x="4771" y="540"/>
                  <a:pt x="4773" y="541"/>
                </a:cubicBezTo>
                <a:cubicBezTo>
                  <a:pt x="4774" y="543"/>
                  <a:pt x="4774" y="544"/>
                  <a:pt x="4774" y="544"/>
                </a:cubicBezTo>
                <a:cubicBezTo>
                  <a:pt x="4774" y="546"/>
                  <a:pt x="4774" y="546"/>
                  <a:pt x="4772" y="546"/>
                </a:cubicBezTo>
                <a:lnTo>
                  <a:pt x="4770" y="546"/>
                </a:lnTo>
                <a:cubicBezTo>
                  <a:pt x="4769" y="546"/>
                  <a:pt x="4769" y="546"/>
                  <a:pt x="4769" y="546"/>
                </a:cubicBezTo>
                <a:cubicBezTo>
                  <a:pt x="4769" y="547"/>
                  <a:pt x="4770" y="548"/>
                  <a:pt x="4771" y="549"/>
                </a:cubicBezTo>
                <a:cubicBezTo>
                  <a:pt x="4771" y="551"/>
                  <a:pt x="4771" y="553"/>
                  <a:pt x="4771" y="554"/>
                </a:cubicBezTo>
                <a:cubicBezTo>
                  <a:pt x="4771" y="556"/>
                  <a:pt x="4771" y="558"/>
                  <a:pt x="4770" y="560"/>
                </a:cubicBezTo>
                <a:cubicBezTo>
                  <a:pt x="4769" y="562"/>
                  <a:pt x="4768" y="563"/>
                  <a:pt x="4767" y="563"/>
                </a:cubicBezTo>
                <a:lnTo>
                  <a:pt x="4764" y="562"/>
                </a:lnTo>
                <a:cubicBezTo>
                  <a:pt x="4764" y="562"/>
                  <a:pt x="4765" y="563"/>
                  <a:pt x="4766" y="565"/>
                </a:cubicBezTo>
                <a:cubicBezTo>
                  <a:pt x="4767" y="566"/>
                  <a:pt x="4768" y="567"/>
                  <a:pt x="4768" y="569"/>
                </a:cubicBezTo>
                <a:cubicBezTo>
                  <a:pt x="4768" y="570"/>
                  <a:pt x="4767" y="571"/>
                  <a:pt x="4766" y="571"/>
                </a:cubicBezTo>
                <a:cubicBezTo>
                  <a:pt x="4766" y="572"/>
                  <a:pt x="4765" y="573"/>
                  <a:pt x="4764" y="573"/>
                </a:cubicBezTo>
                <a:cubicBezTo>
                  <a:pt x="4764" y="573"/>
                  <a:pt x="4764" y="572"/>
                  <a:pt x="4764" y="571"/>
                </a:cubicBezTo>
                <a:cubicBezTo>
                  <a:pt x="4764" y="569"/>
                  <a:pt x="4764" y="569"/>
                  <a:pt x="4764" y="569"/>
                </a:cubicBezTo>
                <a:lnTo>
                  <a:pt x="4763" y="569"/>
                </a:lnTo>
                <a:lnTo>
                  <a:pt x="4763" y="570"/>
                </a:lnTo>
                <a:cubicBezTo>
                  <a:pt x="4763" y="571"/>
                  <a:pt x="4763" y="572"/>
                  <a:pt x="4764" y="573"/>
                </a:cubicBezTo>
                <a:cubicBezTo>
                  <a:pt x="4765" y="574"/>
                  <a:pt x="4765" y="576"/>
                  <a:pt x="4765" y="577"/>
                </a:cubicBezTo>
                <a:cubicBezTo>
                  <a:pt x="4765" y="580"/>
                  <a:pt x="4764" y="583"/>
                  <a:pt x="4763" y="587"/>
                </a:cubicBezTo>
                <a:cubicBezTo>
                  <a:pt x="4758" y="604"/>
                  <a:pt x="4756" y="625"/>
                  <a:pt x="4756" y="651"/>
                </a:cubicBezTo>
                <a:cubicBezTo>
                  <a:pt x="4756" y="667"/>
                  <a:pt x="4758" y="682"/>
                  <a:pt x="4762" y="695"/>
                </a:cubicBezTo>
                <a:cubicBezTo>
                  <a:pt x="4766" y="708"/>
                  <a:pt x="4769" y="715"/>
                  <a:pt x="4772" y="715"/>
                </a:cubicBezTo>
                <a:cubicBezTo>
                  <a:pt x="4776" y="715"/>
                  <a:pt x="4779" y="717"/>
                  <a:pt x="4782" y="719"/>
                </a:cubicBezTo>
                <a:cubicBezTo>
                  <a:pt x="4788" y="726"/>
                  <a:pt x="4790" y="730"/>
                  <a:pt x="4790" y="732"/>
                </a:cubicBezTo>
                <a:cubicBezTo>
                  <a:pt x="4790" y="732"/>
                  <a:pt x="4790" y="733"/>
                  <a:pt x="4789" y="734"/>
                </a:cubicBezTo>
                <a:cubicBezTo>
                  <a:pt x="4789" y="734"/>
                  <a:pt x="4786" y="731"/>
                  <a:pt x="4783" y="725"/>
                </a:cubicBezTo>
                <a:cubicBezTo>
                  <a:pt x="4780" y="721"/>
                  <a:pt x="4778" y="719"/>
                  <a:pt x="4778" y="719"/>
                </a:cubicBezTo>
                <a:cubicBezTo>
                  <a:pt x="4777" y="719"/>
                  <a:pt x="4777" y="719"/>
                  <a:pt x="4777" y="720"/>
                </a:cubicBezTo>
                <a:cubicBezTo>
                  <a:pt x="4777" y="721"/>
                  <a:pt x="4777" y="721"/>
                  <a:pt x="4776" y="721"/>
                </a:cubicBezTo>
                <a:lnTo>
                  <a:pt x="4774" y="720"/>
                </a:lnTo>
                <a:cubicBezTo>
                  <a:pt x="4774" y="721"/>
                  <a:pt x="4776" y="723"/>
                  <a:pt x="4780" y="727"/>
                </a:cubicBezTo>
                <a:cubicBezTo>
                  <a:pt x="4787" y="732"/>
                  <a:pt x="4791" y="735"/>
                  <a:pt x="4793" y="735"/>
                </a:cubicBezTo>
                <a:cubicBezTo>
                  <a:pt x="4794" y="735"/>
                  <a:pt x="4795" y="735"/>
                  <a:pt x="4795" y="737"/>
                </a:cubicBezTo>
                <a:lnTo>
                  <a:pt x="4795" y="737"/>
                </a:lnTo>
                <a:cubicBezTo>
                  <a:pt x="4795" y="739"/>
                  <a:pt x="4796" y="739"/>
                  <a:pt x="4798" y="739"/>
                </a:cubicBezTo>
                <a:lnTo>
                  <a:pt x="4799" y="739"/>
                </a:lnTo>
                <a:cubicBezTo>
                  <a:pt x="4801" y="739"/>
                  <a:pt x="4802" y="739"/>
                  <a:pt x="4803" y="741"/>
                </a:cubicBezTo>
                <a:cubicBezTo>
                  <a:pt x="4804" y="742"/>
                  <a:pt x="4804" y="743"/>
                  <a:pt x="4806" y="743"/>
                </a:cubicBezTo>
                <a:cubicBezTo>
                  <a:pt x="4806" y="743"/>
                  <a:pt x="4807" y="742"/>
                  <a:pt x="4807" y="742"/>
                </a:cubicBezTo>
                <a:cubicBezTo>
                  <a:pt x="4807" y="741"/>
                  <a:pt x="4807" y="740"/>
                  <a:pt x="4806" y="740"/>
                </a:cubicBezTo>
                <a:cubicBezTo>
                  <a:pt x="4806" y="740"/>
                  <a:pt x="4806" y="739"/>
                  <a:pt x="4806" y="739"/>
                </a:cubicBezTo>
                <a:cubicBezTo>
                  <a:pt x="4806" y="739"/>
                  <a:pt x="4807" y="739"/>
                  <a:pt x="4808" y="739"/>
                </a:cubicBezTo>
                <a:cubicBezTo>
                  <a:pt x="4809" y="740"/>
                  <a:pt x="4809" y="741"/>
                  <a:pt x="4809" y="742"/>
                </a:cubicBezTo>
                <a:lnTo>
                  <a:pt x="4809" y="743"/>
                </a:lnTo>
                <a:cubicBezTo>
                  <a:pt x="4809" y="744"/>
                  <a:pt x="4809" y="745"/>
                  <a:pt x="4811" y="745"/>
                </a:cubicBezTo>
                <a:cubicBezTo>
                  <a:pt x="4812" y="746"/>
                  <a:pt x="4813" y="747"/>
                  <a:pt x="4815" y="747"/>
                </a:cubicBezTo>
                <a:cubicBezTo>
                  <a:pt x="4815" y="747"/>
                  <a:pt x="4816" y="746"/>
                  <a:pt x="4816" y="746"/>
                </a:cubicBezTo>
                <a:cubicBezTo>
                  <a:pt x="4817" y="746"/>
                  <a:pt x="4817" y="746"/>
                  <a:pt x="4817" y="746"/>
                </a:cubicBezTo>
                <a:cubicBezTo>
                  <a:pt x="4819" y="746"/>
                  <a:pt x="4822" y="747"/>
                  <a:pt x="4826" y="748"/>
                </a:cubicBezTo>
                <a:cubicBezTo>
                  <a:pt x="4831" y="751"/>
                  <a:pt x="4839" y="752"/>
                  <a:pt x="4848" y="752"/>
                </a:cubicBezTo>
                <a:cubicBezTo>
                  <a:pt x="4874" y="752"/>
                  <a:pt x="4908" y="745"/>
                  <a:pt x="4951" y="730"/>
                </a:cubicBezTo>
                <a:cubicBezTo>
                  <a:pt x="4971" y="724"/>
                  <a:pt x="4988" y="718"/>
                  <a:pt x="5002" y="711"/>
                </a:cubicBezTo>
                <a:cubicBezTo>
                  <a:pt x="5008" y="709"/>
                  <a:pt x="5012" y="707"/>
                  <a:pt x="5016" y="705"/>
                </a:cubicBezTo>
                <a:cubicBezTo>
                  <a:pt x="5019" y="704"/>
                  <a:pt x="5026" y="701"/>
                  <a:pt x="5035" y="696"/>
                </a:cubicBezTo>
                <a:cubicBezTo>
                  <a:pt x="5060" y="683"/>
                  <a:pt x="5075" y="675"/>
                  <a:pt x="5081" y="671"/>
                </a:cubicBezTo>
                <a:cubicBezTo>
                  <a:pt x="5087" y="667"/>
                  <a:pt x="5091" y="665"/>
                  <a:pt x="5094" y="665"/>
                </a:cubicBezTo>
                <a:cubicBezTo>
                  <a:pt x="5095" y="665"/>
                  <a:pt x="5096" y="666"/>
                  <a:pt x="5096" y="666"/>
                </a:cubicBezTo>
                <a:cubicBezTo>
                  <a:pt x="5096" y="667"/>
                  <a:pt x="5093" y="670"/>
                  <a:pt x="5087" y="672"/>
                </a:cubicBezTo>
                <a:cubicBezTo>
                  <a:pt x="5083" y="675"/>
                  <a:pt x="5081" y="677"/>
                  <a:pt x="5081" y="679"/>
                </a:cubicBezTo>
                <a:lnTo>
                  <a:pt x="5081" y="680"/>
                </a:lnTo>
                <a:cubicBezTo>
                  <a:pt x="5081" y="680"/>
                  <a:pt x="5081" y="681"/>
                  <a:pt x="5081" y="681"/>
                </a:cubicBezTo>
                <a:lnTo>
                  <a:pt x="5080" y="680"/>
                </a:lnTo>
                <a:cubicBezTo>
                  <a:pt x="5075" y="680"/>
                  <a:pt x="5069" y="682"/>
                  <a:pt x="5063" y="686"/>
                </a:cubicBezTo>
                <a:cubicBezTo>
                  <a:pt x="5040" y="698"/>
                  <a:pt x="5015" y="710"/>
                  <a:pt x="4988" y="720"/>
                </a:cubicBezTo>
                <a:cubicBezTo>
                  <a:pt x="4960" y="731"/>
                  <a:pt x="4935" y="740"/>
                  <a:pt x="4913" y="745"/>
                </a:cubicBezTo>
                <a:cubicBezTo>
                  <a:pt x="4898" y="749"/>
                  <a:pt x="4890" y="752"/>
                  <a:pt x="4890" y="752"/>
                </a:cubicBezTo>
                <a:cubicBezTo>
                  <a:pt x="4890" y="753"/>
                  <a:pt x="4891" y="754"/>
                  <a:pt x="4892" y="754"/>
                </a:cubicBezTo>
                <a:cubicBezTo>
                  <a:pt x="4896" y="754"/>
                  <a:pt x="4905" y="752"/>
                  <a:pt x="4918" y="748"/>
                </a:cubicBezTo>
                <a:cubicBezTo>
                  <a:pt x="4930" y="745"/>
                  <a:pt x="4937" y="744"/>
                  <a:pt x="4941" y="744"/>
                </a:cubicBezTo>
                <a:cubicBezTo>
                  <a:pt x="4942" y="744"/>
                  <a:pt x="4942" y="744"/>
                  <a:pt x="4943" y="744"/>
                </a:cubicBezTo>
                <a:cubicBezTo>
                  <a:pt x="4944" y="745"/>
                  <a:pt x="4944" y="745"/>
                  <a:pt x="4944" y="745"/>
                </a:cubicBezTo>
                <a:lnTo>
                  <a:pt x="4944" y="744"/>
                </a:lnTo>
                <a:cubicBezTo>
                  <a:pt x="4944" y="742"/>
                  <a:pt x="4952" y="738"/>
                  <a:pt x="4967" y="732"/>
                </a:cubicBezTo>
                <a:cubicBezTo>
                  <a:pt x="4980" y="728"/>
                  <a:pt x="4990" y="724"/>
                  <a:pt x="4995" y="723"/>
                </a:cubicBezTo>
                <a:cubicBezTo>
                  <a:pt x="4997" y="723"/>
                  <a:pt x="4999" y="723"/>
                  <a:pt x="4999" y="722"/>
                </a:cubicBezTo>
                <a:cubicBezTo>
                  <a:pt x="4999" y="721"/>
                  <a:pt x="5001" y="720"/>
                  <a:pt x="5004" y="720"/>
                </a:cubicBezTo>
                <a:cubicBezTo>
                  <a:pt x="5007" y="720"/>
                  <a:pt x="5009" y="719"/>
                  <a:pt x="5009" y="718"/>
                </a:cubicBezTo>
                <a:cubicBezTo>
                  <a:pt x="5009" y="717"/>
                  <a:pt x="5010" y="716"/>
                  <a:pt x="5011" y="716"/>
                </a:cubicBezTo>
                <a:lnTo>
                  <a:pt x="5013" y="716"/>
                </a:lnTo>
                <a:cubicBezTo>
                  <a:pt x="5014" y="716"/>
                  <a:pt x="5016" y="715"/>
                  <a:pt x="5017" y="714"/>
                </a:cubicBezTo>
                <a:cubicBezTo>
                  <a:pt x="5019" y="712"/>
                  <a:pt x="5021" y="711"/>
                  <a:pt x="5022" y="711"/>
                </a:cubicBezTo>
                <a:lnTo>
                  <a:pt x="5023" y="712"/>
                </a:lnTo>
                <a:cubicBezTo>
                  <a:pt x="5024" y="712"/>
                  <a:pt x="5025" y="711"/>
                  <a:pt x="5025" y="710"/>
                </a:cubicBezTo>
                <a:cubicBezTo>
                  <a:pt x="5025" y="709"/>
                  <a:pt x="5026" y="709"/>
                  <a:pt x="5028" y="709"/>
                </a:cubicBezTo>
                <a:lnTo>
                  <a:pt x="5030" y="709"/>
                </a:lnTo>
                <a:cubicBezTo>
                  <a:pt x="5031" y="709"/>
                  <a:pt x="5031" y="709"/>
                  <a:pt x="5031" y="708"/>
                </a:cubicBezTo>
                <a:cubicBezTo>
                  <a:pt x="5031" y="707"/>
                  <a:pt x="5032" y="707"/>
                  <a:pt x="5033" y="707"/>
                </a:cubicBezTo>
                <a:cubicBezTo>
                  <a:pt x="5033" y="707"/>
                  <a:pt x="5034" y="707"/>
                  <a:pt x="5035" y="707"/>
                </a:cubicBezTo>
                <a:cubicBezTo>
                  <a:pt x="5035" y="708"/>
                  <a:pt x="5036" y="708"/>
                  <a:pt x="5036" y="708"/>
                </a:cubicBezTo>
                <a:cubicBezTo>
                  <a:pt x="5037" y="708"/>
                  <a:pt x="5039" y="707"/>
                  <a:pt x="5039" y="705"/>
                </a:cubicBezTo>
                <a:cubicBezTo>
                  <a:pt x="5040" y="704"/>
                  <a:pt x="5041" y="703"/>
                  <a:pt x="5042" y="703"/>
                </a:cubicBezTo>
                <a:lnTo>
                  <a:pt x="5044" y="703"/>
                </a:lnTo>
                <a:cubicBezTo>
                  <a:pt x="5046" y="703"/>
                  <a:pt x="5048" y="702"/>
                  <a:pt x="5049" y="700"/>
                </a:cubicBezTo>
                <a:cubicBezTo>
                  <a:pt x="5050" y="700"/>
                  <a:pt x="5051" y="699"/>
                  <a:pt x="5051" y="699"/>
                </a:cubicBezTo>
                <a:cubicBezTo>
                  <a:pt x="5052" y="699"/>
                  <a:pt x="5053" y="698"/>
                  <a:pt x="5054" y="698"/>
                </a:cubicBezTo>
                <a:lnTo>
                  <a:pt x="5054" y="699"/>
                </a:lnTo>
                <a:cubicBezTo>
                  <a:pt x="5055" y="699"/>
                  <a:pt x="5055" y="698"/>
                  <a:pt x="5055" y="696"/>
                </a:cubicBezTo>
                <a:cubicBezTo>
                  <a:pt x="5055" y="693"/>
                  <a:pt x="5056" y="693"/>
                  <a:pt x="5056" y="693"/>
                </a:cubicBezTo>
                <a:cubicBezTo>
                  <a:pt x="5056" y="693"/>
                  <a:pt x="5057" y="693"/>
                  <a:pt x="5058" y="695"/>
                </a:cubicBezTo>
                <a:cubicBezTo>
                  <a:pt x="5058" y="696"/>
                  <a:pt x="5059" y="697"/>
                  <a:pt x="5059" y="697"/>
                </a:cubicBezTo>
                <a:cubicBezTo>
                  <a:pt x="5059" y="697"/>
                  <a:pt x="5060" y="696"/>
                  <a:pt x="5060" y="695"/>
                </a:cubicBezTo>
                <a:cubicBezTo>
                  <a:pt x="5060" y="694"/>
                  <a:pt x="5061" y="693"/>
                  <a:pt x="5062" y="693"/>
                </a:cubicBezTo>
                <a:lnTo>
                  <a:pt x="5063" y="694"/>
                </a:lnTo>
                <a:cubicBezTo>
                  <a:pt x="5063" y="694"/>
                  <a:pt x="5064" y="693"/>
                  <a:pt x="5064" y="691"/>
                </a:cubicBezTo>
                <a:cubicBezTo>
                  <a:pt x="5064" y="689"/>
                  <a:pt x="5064" y="688"/>
                  <a:pt x="5064" y="688"/>
                </a:cubicBezTo>
                <a:cubicBezTo>
                  <a:pt x="5065" y="688"/>
                  <a:pt x="5065" y="689"/>
                  <a:pt x="5066" y="690"/>
                </a:cubicBezTo>
                <a:cubicBezTo>
                  <a:pt x="5066" y="691"/>
                  <a:pt x="5067" y="691"/>
                  <a:pt x="5068" y="691"/>
                </a:cubicBezTo>
                <a:cubicBezTo>
                  <a:pt x="5068" y="691"/>
                  <a:pt x="5069" y="690"/>
                  <a:pt x="5071" y="689"/>
                </a:cubicBezTo>
                <a:cubicBezTo>
                  <a:pt x="5073" y="687"/>
                  <a:pt x="5074" y="686"/>
                  <a:pt x="5075" y="686"/>
                </a:cubicBezTo>
                <a:lnTo>
                  <a:pt x="5076" y="687"/>
                </a:lnTo>
                <a:cubicBezTo>
                  <a:pt x="5077" y="687"/>
                  <a:pt x="5077" y="686"/>
                  <a:pt x="5077" y="685"/>
                </a:cubicBezTo>
                <a:cubicBezTo>
                  <a:pt x="5077" y="684"/>
                  <a:pt x="5077" y="683"/>
                  <a:pt x="5078" y="683"/>
                </a:cubicBezTo>
                <a:lnTo>
                  <a:pt x="5079" y="684"/>
                </a:lnTo>
                <a:cubicBezTo>
                  <a:pt x="5081" y="684"/>
                  <a:pt x="5085" y="682"/>
                  <a:pt x="5093" y="677"/>
                </a:cubicBezTo>
                <a:cubicBezTo>
                  <a:pt x="5101" y="673"/>
                  <a:pt x="5104" y="670"/>
                  <a:pt x="5104" y="669"/>
                </a:cubicBezTo>
                <a:lnTo>
                  <a:pt x="5104" y="669"/>
                </a:lnTo>
                <a:cubicBezTo>
                  <a:pt x="5104" y="669"/>
                  <a:pt x="5104" y="669"/>
                  <a:pt x="5104" y="669"/>
                </a:cubicBezTo>
                <a:cubicBezTo>
                  <a:pt x="5104" y="669"/>
                  <a:pt x="5105" y="667"/>
                  <a:pt x="5107" y="666"/>
                </a:cubicBezTo>
                <a:cubicBezTo>
                  <a:pt x="5109" y="664"/>
                  <a:pt x="5111" y="664"/>
                  <a:pt x="5114" y="664"/>
                </a:cubicBezTo>
                <a:cubicBezTo>
                  <a:pt x="5115" y="664"/>
                  <a:pt x="5117" y="663"/>
                  <a:pt x="5119" y="660"/>
                </a:cubicBezTo>
                <a:cubicBezTo>
                  <a:pt x="5121" y="657"/>
                  <a:pt x="5122" y="656"/>
                  <a:pt x="5122" y="656"/>
                </a:cubicBezTo>
                <a:cubicBezTo>
                  <a:pt x="5123" y="656"/>
                  <a:pt x="5123" y="656"/>
                  <a:pt x="5123" y="657"/>
                </a:cubicBezTo>
                <a:cubicBezTo>
                  <a:pt x="5123" y="657"/>
                  <a:pt x="5123" y="657"/>
                  <a:pt x="5123" y="657"/>
                </a:cubicBezTo>
                <a:cubicBezTo>
                  <a:pt x="5124" y="657"/>
                  <a:pt x="5125" y="656"/>
                  <a:pt x="5126" y="654"/>
                </a:cubicBezTo>
                <a:lnTo>
                  <a:pt x="5129" y="652"/>
                </a:lnTo>
                <a:lnTo>
                  <a:pt x="5128" y="654"/>
                </a:lnTo>
                <a:cubicBezTo>
                  <a:pt x="5128" y="654"/>
                  <a:pt x="5128" y="654"/>
                  <a:pt x="5128" y="654"/>
                </a:cubicBezTo>
                <a:cubicBezTo>
                  <a:pt x="5128" y="654"/>
                  <a:pt x="5130" y="653"/>
                  <a:pt x="5132" y="650"/>
                </a:cubicBezTo>
                <a:cubicBezTo>
                  <a:pt x="5134" y="649"/>
                  <a:pt x="5135" y="647"/>
                  <a:pt x="5137" y="646"/>
                </a:cubicBezTo>
                <a:cubicBezTo>
                  <a:pt x="5139" y="645"/>
                  <a:pt x="5141" y="645"/>
                  <a:pt x="5141" y="645"/>
                </a:cubicBezTo>
                <a:cubicBezTo>
                  <a:pt x="5142" y="645"/>
                  <a:pt x="5143" y="643"/>
                  <a:pt x="5146" y="640"/>
                </a:cubicBezTo>
                <a:cubicBezTo>
                  <a:pt x="5148" y="637"/>
                  <a:pt x="5151" y="635"/>
                  <a:pt x="5153" y="634"/>
                </a:cubicBezTo>
                <a:cubicBezTo>
                  <a:pt x="5158" y="631"/>
                  <a:pt x="5161" y="628"/>
                  <a:pt x="5165" y="625"/>
                </a:cubicBezTo>
                <a:cubicBezTo>
                  <a:pt x="5171" y="620"/>
                  <a:pt x="5174" y="617"/>
                  <a:pt x="5174" y="617"/>
                </a:cubicBezTo>
                <a:cubicBezTo>
                  <a:pt x="5174" y="616"/>
                  <a:pt x="5175" y="616"/>
                  <a:pt x="5175" y="616"/>
                </a:cubicBezTo>
                <a:cubicBezTo>
                  <a:pt x="5178" y="616"/>
                  <a:pt x="5179" y="615"/>
                  <a:pt x="5179" y="613"/>
                </a:cubicBezTo>
                <a:cubicBezTo>
                  <a:pt x="5179" y="611"/>
                  <a:pt x="5180" y="610"/>
                  <a:pt x="5182" y="610"/>
                </a:cubicBezTo>
                <a:cubicBezTo>
                  <a:pt x="5184" y="610"/>
                  <a:pt x="5188" y="607"/>
                  <a:pt x="5194" y="601"/>
                </a:cubicBezTo>
                <a:lnTo>
                  <a:pt x="5216" y="580"/>
                </a:lnTo>
                <a:cubicBezTo>
                  <a:pt x="5234" y="562"/>
                  <a:pt x="5249" y="547"/>
                  <a:pt x="5260" y="535"/>
                </a:cubicBezTo>
                <a:lnTo>
                  <a:pt x="5272" y="521"/>
                </a:lnTo>
                <a:cubicBezTo>
                  <a:pt x="5272" y="521"/>
                  <a:pt x="5272" y="521"/>
                  <a:pt x="5272" y="523"/>
                </a:cubicBezTo>
                <a:cubicBezTo>
                  <a:pt x="5272" y="525"/>
                  <a:pt x="5272" y="527"/>
                  <a:pt x="5270" y="528"/>
                </a:cubicBezTo>
                <a:cubicBezTo>
                  <a:pt x="5269" y="529"/>
                  <a:pt x="5269" y="531"/>
                  <a:pt x="5269" y="533"/>
                </a:cubicBezTo>
                <a:lnTo>
                  <a:pt x="5269" y="535"/>
                </a:lnTo>
                <a:cubicBezTo>
                  <a:pt x="5269" y="535"/>
                  <a:pt x="5269" y="535"/>
                  <a:pt x="5269" y="535"/>
                </a:cubicBezTo>
                <a:lnTo>
                  <a:pt x="5269" y="535"/>
                </a:lnTo>
                <a:cubicBezTo>
                  <a:pt x="5267" y="535"/>
                  <a:pt x="5266" y="536"/>
                  <a:pt x="5265" y="538"/>
                </a:cubicBezTo>
                <a:cubicBezTo>
                  <a:pt x="5264" y="540"/>
                  <a:pt x="5263" y="543"/>
                  <a:pt x="5263" y="546"/>
                </a:cubicBezTo>
                <a:cubicBezTo>
                  <a:pt x="5262" y="551"/>
                  <a:pt x="5257" y="558"/>
                  <a:pt x="5249" y="568"/>
                </a:cubicBezTo>
                <a:cubicBezTo>
                  <a:pt x="5241" y="579"/>
                  <a:pt x="5231" y="590"/>
                  <a:pt x="5219" y="601"/>
                </a:cubicBezTo>
                <a:cubicBezTo>
                  <a:pt x="5207" y="613"/>
                  <a:pt x="5196" y="623"/>
                  <a:pt x="5185" y="632"/>
                </a:cubicBezTo>
                <a:cubicBezTo>
                  <a:pt x="5182" y="634"/>
                  <a:pt x="5178" y="637"/>
                  <a:pt x="5173" y="641"/>
                </a:cubicBezTo>
                <a:cubicBezTo>
                  <a:pt x="5133" y="674"/>
                  <a:pt x="5082" y="705"/>
                  <a:pt x="5019" y="732"/>
                </a:cubicBezTo>
                <a:cubicBezTo>
                  <a:pt x="4959" y="759"/>
                  <a:pt x="4909" y="772"/>
                  <a:pt x="4868" y="772"/>
                </a:cubicBezTo>
                <a:close/>
                <a:moveTo>
                  <a:pt x="4876" y="769"/>
                </a:moveTo>
                <a:cubicBezTo>
                  <a:pt x="4878" y="769"/>
                  <a:pt x="4878" y="769"/>
                  <a:pt x="4878" y="769"/>
                </a:cubicBezTo>
                <a:lnTo>
                  <a:pt x="4878" y="768"/>
                </a:lnTo>
                <a:lnTo>
                  <a:pt x="4875" y="768"/>
                </a:lnTo>
                <a:cubicBezTo>
                  <a:pt x="4872" y="768"/>
                  <a:pt x="4870" y="768"/>
                  <a:pt x="4870" y="769"/>
                </a:cubicBezTo>
                <a:lnTo>
                  <a:pt x="4876" y="769"/>
                </a:lnTo>
                <a:close/>
                <a:moveTo>
                  <a:pt x="4858" y="757"/>
                </a:moveTo>
                <a:cubicBezTo>
                  <a:pt x="4875" y="757"/>
                  <a:pt x="4884" y="757"/>
                  <a:pt x="4886" y="756"/>
                </a:cubicBezTo>
                <a:cubicBezTo>
                  <a:pt x="4887" y="755"/>
                  <a:pt x="4888" y="754"/>
                  <a:pt x="4888" y="754"/>
                </a:cubicBezTo>
                <a:cubicBezTo>
                  <a:pt x="4888" y="753"/>
                  <a:pt x="4888" y="752"/>
                  <a:pt x="4886" y="752"/>
                </a:cubicBezTo>
                <a:lnTo>
                  <a:pt x="4880" y="753"/>
                </a:lnTo>
                <a:cubicBezTo>
                  <a:pt x="4872" y="754"/>
                  <a:pt x="4867" y="754"/>
                  <a:pt x="4863" y="754"/>
                </a:cubicBezTo>
                <a:cubicBezTo>
                  <a:pt x="4857" y="754"/>
                  <a:pt x="4853" y="755"/>
                  <a:pt x="4852" y="756"/>
                </a:cubicBezTo>
                <a:lnTo>
                  <a:pt x="4851" y="756"/>
                </a:lnTo>
                <a:cubicBezTo>
                  <a:pt x="4851" y="757"/>
                  <a:pt x="4853" y="757"/>
                  <a:pt x="4858" y="757"/>
                </a:cubicBezTo>
                <a:close/>
                <a:moveTo>
                  <a:pt x="4845" y="759"/>
                </a:moveTo>
                <a:cubicBezTo>
                  <a:pt x="4846" y="759"/>
                  <a:pt x="4846" y="759"/>
                  <a:pt x="4846" y="758"/>
                </a:cubicBezTo>
                <a:lnTo>
                  <a:pt x="4846" y="758"/>
                </a:lnTo>
                <a:cubicBezTo>
                  <a:pt x="4846" y="757"/>
                  <a:pt x="4843" y="756"/>
                  <a:pt x="4838" y="755"/>
                </a:cubicBezTo>
                <a:lnTo>
                  <a:pt x="4833" y="755"/>
                </a:lnTo>
                <a:cubicBezTo>
                  <a:pt x="4833" y="755"/>
                  <a:pt x="4833" y="755"/>
                  <a:pt x="4833" y="755"/>
                </a:cubicBezTo>
                <a:cubicBezTo>
                  <a:pt x="4833" y="756"/>
                  <a:pt x="4833" y="756"/>
                  <a:pt x="4834" y="757"/>
                </a:cubicBezTo>
                <a:cubicBezTo>
                  <a:pt x="4835" y="757"/>
                  <a:pt x="4836" y="758"/>
                  <a:pt x="4839" y="758"/>
                </a:cubicBezTo>
                <a:cubicBezTo>
                  <a:pt x="4841" y="759"/>
                  <a:pt x="4843" y="759"/>
                  <a:pt x="4845" y="759"/>
                </a:cubicBezTo>
                <a:close/>
                <a:moveTo>
                  <a:pt x="4938" y="448"/>
                </a:moveTo>
                <a:lnTo>
                  <a:pt x="4941" y="448"/>
                </a:lnTo>
                <a:cubicBezTo>
                  <a:pt x="4943" y="447"/>
                  <a:pt x="4944" y="446"/>
                  <a:pt x="4944" y="445"/>
                </a:cubicBezTo>
                <a:lnTo>
                  <a:pt x="4943" y="445"/>
                </a:lnTo>
                <a:cubicBezTo>
                  <a:pt x="4942" y="445"/>
                  <a:pt x="4941" y="446"/>
                  <a:pt x="4940" y="446"/>
                </a:cubicBezTo>
                <a:cubicBezTo>
                  <a:pt x="4939" y="447"/>
                  <a:pt x="4938" y="448"/>
                  <a:pt x="4938" y="448"/>
                </a:cubicBezTo>
                <a:close/>
                <a:moveTo>
                  <a:pt x="4872" y="483"/>
                </a:moveTo>
                <a:cubicBezTo>
                  <a:pt x="4874" y="483"/>
                  <a:pt x="4876" y="482"/>
                  <a:pt x="4878" y="479"/>
                </a:cubicBezTo>
                <a:cubicBezTo>
                  <a:pt x="4880" y="476"/>
                  <a:pt x="4882" y="475"/>
                  <a:pt x="4882" y="475"/>
                </a:cubicBezTo>
                <a:lnTo>
                  <a:pt x="4881" y="474"/>
                </a:lnTo>
                <a:cubicBezTo>
                  <a:pt x="4881" y="474"/>
                  <a:pt x="4880" y="475"/>
                  <a:pt x="4879" y="475"/>
                </a:cubicBezTo>
                <a:cubicBezTo>
                  <a:pt x="4878" y="476"/>
                  <a:pt x="4876" y="478"/>
                  <a:pt x="4875" y="479"/>
                </a:cubicBezTo>
                <a:cubicBezTo>
                  <a:pt x="4873" y="481"/>
                  <a:pt x="4872" y="482"/>
                  <a:pt x="4872" y="483"/>
                </a:cubicBezTo>
                <a:cubicBezTo>
                  <a:pt x="4872" y="483"/>
                  <a:pt x="4872" y="483"/>
                  <a:pt x="4872" y="483"/>
                </a:cubicBezTo>
                <a:close/>
                <a:moveTo>
                  <a:pt x="4903" y="456"/>
                </a:moveTo>
                <a:cubicBezTo>
                  <a:pt x="4904" y="456"/>
                  <a:pt x="4906" y="455"/>
                  <a:pt x="4909" y="451"/>
                </a:cubicBezTo>
                <a:cubicBezTo>
                  <a:pt x="4911" y="449"/>
                  <a:pt x="4912" y="447"/>
                  <a:pt x="4912" y="447"/>
                </a:cubicBezTo>
                <a:cubicBezTo>
                  <a:pt x="4911" y="447"/>
                  <a:pt x="4910" y="448"/>
                  <a:pt x="4907" y="451"/>
                </a:cubicBezTo>
                <a:cubicBezTo>
                  <a:pt x="4905" y="454"/>
                  <a:pt x="4903" y="456"/>
                  <a:pt x="4903" y="456"/>
                </a:cubicBezTo>
                <a:close/>
                <a:moveTo>
                  <a:pt x="5014" y="339"/>
                </a:moveTo>
                <a:cubicBezTo>
                  <a:pt x="5015" y="339"/>
                  <a:pt x="5016" y="338"/>
                  <a:pt x="5018" y="334"/>
                </a:cubicBezTo>
                <a:cubicBezTo>
                  <a:pt x="5019" y="332"/>
                  <a:pt x="5020" y="331"/>
                  <a:pt x="5020" y="330"/>
                </a:cubicBezTo>
                <a:lnTo>
                  <a:pt x="5020" y="330"/>
                </a:lnTo>
                <a:lnTo>
                  <a:pt x="5017" y="332"/>
                </a:lnTo>
                <a:cubicBezTo>
                  <a:pt x="5015" y="335"/>
                  <a:pt x="5014" y="337"/>
                  <a:pt x="5014" y="339"/>
                </a:cubicBezTo>
                <a:cubicBezTo>
                  <a:pt x="5014" y="339"/>
                  <a:pt x="5014" y="339"/>
                  <a:pt x="5014" y="339"/>
                </a:cubicBezTo>
                <a:close/>
                <a:moveTo>
                  <a:pt x="5027" y="316"/>
                </a:moveTo>
                <a:cubicBezTo>
                  <a:pt x="5028" y="316"/>
                  <a:pt x="5029" y="316"/>
                  <a:pt x="5030" y="314"/>
                </a:cubicBezTo>
                <a:lnTo>
                  <a:pt x="5030" y="313"/>
                </a:lnTo>
                <a:cubicBezTo>
                  <a:pt x="5030" y="313"/>
                  <a:pt x="5030" y="313"/>
                  <a:pt x="5030" y="313"/>
                </a:cubicBezTo>
                <a:lnTo>
                  <a:pt x="5029" y="313"/>
                </a:lnTo>
                <a:cubicBezTo>
                  <a:pt x="5026" y="314"/>
                  <a:pt x="5025" y="315"/>
                  <a:pt x="5025" y="316"/>
                </a:cubicBezTo>
                <a:cubicBezTo>
                  <a:pt x="5025" y="316"/>
                  <a:pt x="5026" y="316"/>
                  <a:pt x="5027" y="316"/>
                </a:cubicBezTo>
                <a:close/>
                <a:moveTo>
                  <a:pt x="4921" y="204"/>
                </a:moveTo>
                <a:cubicBezTo>
                  <a:pt x="4922" y="204"/>
                  <a:pt x="4924" y="202"/>
                  <a:pt x="4926" y="199"/>
                </a:cubicBezTo>
                <a:cubicBezTo>
                  <a:pt x="4928" y="197"/>
                  <a:pt x="4929" y="195"/>
                  <a:pt x="4929" y="195"/>
                </a:cubicBezTo>
                <a:cubicBezTo>
                  <a:pt x="4929" y="195"/>
                  <a:pt x="4927" y="195"/>
                  <a:pt x="4925" y="197"/>
                </a:cubicBezTo>
                <a:cubicBezTo>
                  <a:pt x="4922" y="198"/>
                  <a:pt x="4921" y="200"/>
                  <a:pt x="4921" y="202"/>
                </a:cubicBezTo>
                <a:cubicBezTo>
                  <a:pt x="4921" y="203"/>
                  <a:pt x="4921" y="204"/>
                  <a:pt x="4921" y="204"/>
                </a:cubicBezTo>
                <a:close/>
                <a:moveTo>
                  <a:pt x="4882" y="249"/>
                </a:moveTo>
                <a:cubicBezTo>
                  <a:pt x="4883" y="249"/>
                  <a:pt x="4883" y="248"/>
                  <a:pt x="4883" y="246"/>
                </a:cubicBezTo>
                <a:cubicBezTo>
                  <a:pt x="4883" y="245"/>
                  <a:pt x="4883" y="244"/>
                  <a:pt x="4882" y="244"/>
                </a:cubicBezTo>
                <a:lnTo>
                  <a:pt x="4881" y="244"/>
                </a:lnTo>
                <a:cubicBezTo>
                  <a:pt x="4880" y="245"/>
                  <a:pt x="4880" y="245"/>
                  <a:pt x="4880" y="246"/>
                </a:cubicBezTo>
                <a:cubicBezTo>
                  <a:pt x="4880" y="247"/>
                  <a:pt x="4880" y="247"/>
                  <a:pt x="4881" y="248"/>
                </a:cubicBezTo>
                <a:cubicBezTo>
                  <a:pt x="4882" y="249"/>
                  <a:pt x="4882" y="249"/>
                  <a:pt x="4882" y="249"/>
                </a:cubicBezTo>
                <a:close/>
                <a:moveTo>
                  <a:pt x="4817" y="509"/>
                </a:moveTo>
                <a:cubicBezTo>
                  <a:pt x="4820" y="509"/>
                  <a:pt x="4825" y="507"/>
                  <a:pt x="4831" y="504"/>
                </a:cubicBezTo>
                <a:cubicBezTo>
                  <a:pt x="4834" y="502"/>
                  <a:pt x="4837" y="501"/>
                  <a:pt x="4840" y="499"/>
                </a:cubicBezTo>
                <a:cubicBezTo>
                  <a:pt x="4842" y="498"/>
                  <a:pt x="4844" y="496"/>
                  <a:pt x="4845" y="495"/>
                </a:cubicBezTo>
                <a:cubicBezTo>
                  <a:pt x="4846" y="494"/>
                  <a:pt x="4848" y="493"/>
                  <a:pt x="4848" y="493"/>
                </a:cubicBezTo>
                <a:cubicBezTo>
                  <a:pt x="4849" y="493"/>
                  <a:pt x="4850" y="494"/>
                  <a:pt x="4850" y="495"/>
                </a:cubicBezTo>
                <a:cubicBezTo>
                  <a:pt x="4850" y="496"/>
                  <a:pt x="4848" y="498"/>
                  <a:pt x="4843" y="500"/>
                </a:cubicBezTo>
                <a:cubicBezTo>
                  <a:pt x="4839" y="502"/>
                  <a:pt x="4836" y="504"/>
                  <a:pt x="4836" y="506"/>
                </a:cubicBezTo>
                <a:lnTo>
                  <a:pt x="4837" y="506"/>
                </a:lnTo>
                <a:cubicBezTo>
                  <a:pt x="4839" y="506"/>
                  <a:pt x="4843" y="504"/>
                  <a:pt x="4848" y="501"/>
                </a:cubicBezTo>
                <a:cubicBezTo>
                  <a:pt x="4861" y="493"/>
                  <a:pt x="4868" y="488"/>
                  <a:pt x="4868" y="486"/>
                </a:cubicBezTo>
                <a:cubicBezTo>
                  <a:pt x="4868" y="486"/>
                  <a:pt x="4867" y="486"/>
                  <a:pt x="4867" y="486"/>
                </a:cubicBezTo>
                <a:cubicBezTo>
                  <a:pt x="4866" y="486"/>
                  <a:pt x="4864" y="487"/>
                  <a:pt x="4863" y="488"/>
                </a:cubicBezTo>
                <a:cubicBezTo>
                  <a:pt x="4861" y="490"/>
                  <a:pt x="4860" y="492"/>
                  <a:pt x="4858" y="492"/>
                </a:cubicBezTo>
                <a:cubicBezTo>
                  <a:pt x="4856" y="493"/>
                  <a:pt x="4854" y="494"/>
                  <a:pt x="4853" y="494"/>
                </a:cubicBezTo>
                <a:cubicBezTo>
                  <a:pt x="4852" y="494"/>
                  <a:pt x="4851" y="494"/>
                  <a:pt x="4851" y="493"/>
                </a:cubicBezTo>
                <a:cubicBezTo>
                  <a:pt x="4851" y="492"/>
                  <a:pt x="4856" y="487"/>
                  <a:pt x="4867" y="478"/>
                </a:cubicBezTo>
                <a:cubicBezTo>
                  <a:pt x="4878" y="470"/>
                  <a:pt x="4884" y="465"/>
                  <a:pt x="4886" y="465"/>
                </a:cubicBezTo>
                <a:cubicBezTo>
                  <a:pt x="4887" y="465"/>
                  <a:pt x="4895" y="458"/>
                  <a:pt x="4910" y="442"/>
                </a:cubicBezTo>
                <a:cubicBezTo>
                  <a:pt x="4917" y="433"/>
                  <a:pt x="4924" y="426"/>
                  <a:pt x="4930" y="419"/>
                </a:cubicBezTo>
                <a:cubicBezTo>
                  <a:pt x="4935" y="412"/>
                  <a:pt x="4939" y="408"/>
                  <a:pt x="4939" y="407"/>
                </a:cubicBezTo>
                <a:cubicBezTo>
                  <a:pt x="4941" y="404"/>
                  <a:pt x="4942" y="402"/>
                  <a:pt x="4943" y="400"/>
                </a:cubicBezTo>
                <a:cubicBezTo>
                  <a:pt x="4944" y="398"/>
                  <a:pt x="4945" y="397"/>
                  <a:pt x="4946" y="397"/>
                </a:cubicBezTo>
                <a:lnTo>
                  <a:pt x="4948" y="399"/>
                </a:lnTo>
                <a:cubicBezTo>
                  <a:pt x="4948" y="399"/>
                  <a:pt x="4949" y="398"/>
                  <a:pt x="4949" y="398"/>
                </a:cubicBezTo>
                <a:lnTo>
                  <a:pt x="4947" y="396"/>
                </a:lnTo>
                <a:cubicBezTo>
                  <a:pt x="4947" y="394"/>
                  <a:pt x="4949" y="392"/>
                  <a:pt x="4953" y="389"/>
                </a:cubicBezTo>
                <a:cubicBezTo>
                  <a:pt x="4956" y="385"/>
                  <a:pt x="4958" y="383"/>
                  <a:pt x="4958" y="381"/>
                </a:cubicBezTo>
                <a:cubicBezTo>
                  <a:pt x="4958" y="380"/>
                  <a:pt x="4959" y="377"/>
                  <a:pt x="4962" y="374"/>
                </a:cubicBezTo>
                <a:cubicBezTo>
                  <a:pt x="4965" y="372"/>
                  <a:pt x="4967" y="369"/>
                  <a:pt x="4970" y="364"/>
                </a:cubicBezTo>
                <a:cubicBezTo>
                  <a:pt x="4972" y="360"/>
                  <a:pt x="4973" y="359"/>
                  <a:pt x="4974" y="359"/>
                </a:cubicBezTo>
                <a:lnTo>
                  <a:pt x="4977" y="360"/>
                </a:lnTo>
                <a:lnTo>
                  <a:pt x="4977" y="357"/>
                </a:lnTo>
                <a:cubicBezTo>
                  <a:pt x="4977" y="355"/>
                  <a:pt x="4979" y="352"/>
                  <a:pt x="4982" y="347"/>
                </a:cubicBezTo>
                <a:cubicBezTo>
                  <a:pt x="4986" y="340"/>
                  <a:pt x="4989" y="335"/>
                  <a:pt x="4990" y="332"/>
                </a:cubicBezTo>
                <a:cubicBezTo>
                  <a:pt x="4992" y="327"/>
                  <a:pt x="4994" y="325"/>
                  <a:pt x="4994" y="325"/>
                </a:cubicBezTo>
                <a:cubicBezTo>
                  <a:pt x="4995" y="325"/>
                  <a:pt x="4996" y="325"/>
                  <a:pt x="4996" y="324"/>
                </a:cubicBezTo>
                <a:lnTo>
                  <a:pt x="4996" y="323"/>
                </a:lnTo>
                <a:cubicBezTo>
                  <a:pt x="4996" y="321"/>
                  <a:pt x="4997" y="318"/>
                  <a:pt x="5000" y="316"/>
                </a:cubicBezTo>
                <a:cubicBezTo>
                  <a:pt x="5003" y="313"/>
                  <a:pt x="5004" y="311"/>
                  <a:pt x="5004" y="308"/>
                </a:cubicBezTo>
                <a:lnTo>
                  <a:pt x="5004" y="306"/>
                </a:lnTo>
                <a:cubicBezTo>
                  <a:pt x="5004" y="306"/>
                  <a:pt x="5004" y="305"/>
                  <a:pt x="5006" y="305"/>
                </a:cubicBezTo>
                <a:cubicBezTo>
                  <a:pt x="5007" y="304"/>
                  <a:pt x="5008" y="303"/>
                  <a:pt x="5009" y="301"/>
                </a:cubicBezTo>
                <a:cubicBezTo>
                  <a:pt x="5010" y="299"/>
                  <a:pt x="5011" y="296"/>
                  <a:pt x="5013" y="294"/>
                </a:cubicBezTo>
                <a:cubicBezTo>
                  <a:pt x="5015" y="291"/>
                  <a:pt x="5016" y="288"/>
                  <a:pt x="5017" y="285"/>
                </a:cubicBezTo>
                <a:cubicBezTo>
                  <a:pt x="5017" y="282"/>
                  <a:pt x="5019" y="279"/>
                  <a:pt x="5021" y="277"/>
                </a:cubicBezTo>
                <a:cubicBezTo>
                  <a:pt x="5023" y="275"/>
                  <a:pt x="5024" y="272"/>
                  <a:pt x="5024" y="270"/>
                </a:cubicBezTo>
                <a:lnTo>
                  <a:pt x="5024" y="267"/>
                </a:lnTo>
                <a:cubicBezTo>
                  <a:pt x="5024" y="267"/>
                  <a:pt x="5024" y="267"/>
                  <a:pt x="5024" y="267"/>
                </a:cubicBezTo>
                <a:lnTo>
                  <a:pt x="5026" y="267"/>
                </a:lnTo>
                <a:cubicBezTo>
                  <a:pt x="5026" y="267"/>
                  <a:pt x="5027" y="267"/>
                  <a:pt x="5027" y="265"/>
                </a:cubicBezTo>
                <a:cubicBezTo>
                  <a:pt x="5027" y="264"/>
                  <a:pt x="5027" y="263"/>
                  <a:pt x="5028" y="262"/>
                </a:cubicBezTo>
                <a:cubicBezTo>
                  <a:pt x="5028" y="261"/>
                  <a:pt x="5028" y="260"/>
                  <a:pt x="5028" y="259"/>
                </a:cubicBezTo>
                <a:cubicBezTo>
                  <a:pt x="5028" y="259"/>
                  <a:pt x="5028" y="258"/>
                  <a:pt x="5029" y="257"/>
                </a:cubicBezTo>
                <a:cubicBezTo>
                  <a:pt x="5030" y="255"/>
                  <a:pt x="5031" y="254"/>
                  <a:pt x="5031" y="253"/>
                </a:cubicBezTo>
                <a:cubicBezTo>
                  <a:pt x="5032" y="252"/>
                  <a:pt x="5033" y="251"/>
                  <a:pt x="5033" y="249"/>
                </a:cubicBezTo>
                <a:cubicBezTo>
                  <a:pt x="5033" y="249"/>
                  <a:pt x="5033" y="248"/>
                  <a:pt x="5032" y="247"/>
                </a:cubicBezTo>
                <a:cubicBezTo>
                  <a:pt x="5032" y="247"/>
                  <a:pt x="5032" y="246"/>
                  <a:pt x="5032" y="246"/>
                </a:cubicBezTo>
                <a:cubicBezTo>
                  <a:pt x="5032" y="245"/>
                  <a:pt x="5032" y="245"/>
                  <a:pt x="5032" y="245"/>
                </a:cubicBezTo>
                <a:lnTo>
                  <a:pt x="5035" y="246"/>
                </a:lnTo>
                <a:cubicBezTo>
                  <a:pt x="5035" y="246"/>
                  <a:pt x="5036" y="245"/>
                  <a:pt x="5036" y="243"/>
                </a:cubicBezTo>
                <a:cubicBezTo>
                  <a:pt x="5036" y="242"/>
                  <a:pt x="5036" y="240"/>
                  <a:pt x="5037" y="239"/>
                </a:cubicBezTo>
                <a:cubicBezTo>
                  <a:pt x="5037" y="237"/>
                  <a:pt x="5038" y="236"/>
                  <a:pt x="5039" y="234"/>
                </a:cubicBezTo>
                <a:cubicBezTo>
                  <a:pt x="5042" y="223"/>
                  <a:pt x="5045" y="212"/>
                  <a:pt x="5048" y="200"/>
                </a:cubicBezTo>
                <a:cubicBezTo>
                  <a:pt x="5050" y="188"/>
                  <a:pt x="5051" y="177"/>
                  <a:pt x="5051" y="168"/>
                </a:cubicBezTo>
                <a:cubicBezTo>
                  <a:pt x="5051" y="164"/>
                  <a:pt x="5051" y="160"/>
                  <a:pt x="5050" y="157"/>
                </a:cubicBezTo>
                <a:cubicBezTo>
                  <a:pt x="5049" y="154"/>
                  <a:pt x="5049" y="152"/>
                  <a:pt x="5048" y="151"/>
                </a:cubicBezTo>
                <a:cubicBezTo>
                  <a:pt x="5048" y="149"/>
                  <a:pt x="5047" y="149"/>
                  <a:pt x="5045" y="149"/>
                </a:cubicBezTo>
                <a:cubicBezTo>
                  <a:pt x="5041" y="149"/>
                  <a:pt x="5036" y="151"/>
                  <a:pt x="5029" y="154"/>
                </a:cubicBezTo>
                <a:cubicBezTo>
                  <a:pt x="5016" y="160"/>
                  <a:pt x="5009" y="164"/>
                  <a:pt x="5009" y="167"/>
                </a:cubicBezTo>
                <a:cubicBezTo>
                  <a:pt x="5009" y="168"/>
                  <a:pt x="5009" y="169"/>
                  <a:pt x="5008" y="169"/>
                </a:cubicBezTo>
                <a:lnTo>
                  <a:pt x="5006" y="167"/>
                </a:lnTo>
                <a:cubicBezTo>
                  <a:pt x="5005" y="167"/>
                  <a:pt x="5003" y="168"/>
                  <a:pt x="5002" y="169"/>
                </a:cubicBezTo>
                <a:cubicBezTo>
                  <a:pt x="5001" y="171"/>
                  <a:pt x="5000" y="172"/>
                  <a:pt x="5000" y="173"/>
                </a:cubicBezTo>
                <a:lnTo>
                  <a:pt x="5000" y="175"/>
                </a:lnTo>
                <a:cubicBezTo>
                  <a:pt x="5000" y="175"/>
                  <a:pt x="5000" y="176"/>
                  <a:pt x="5000" y="176"/>
                </a:cubicBezTo>
                <a:lnTo>
                  <a:pt x="4998" y="175"/>
                </a:lnTo>
                <a:cubicBezTo>
                  <a:pt x="4996" y="175"/>
                  <a:pt x="4989" y="180"/>
                  <a:pt x="4977" y="190"/>
                </a:cubicBezTo>
                <a:cubicBezTo>
                  <a:pt x="4965" y="201"/>
                  <a:pt x="4959" y="207"/>
                  <a:pt x="4957" y="210"/>
                </a:cubicBezTo>
                <a:cubicBezTo>
                  <a:pt x="4955" y="214"/>
                  <a:pt x="4952" y="218"/>
                  <a:pt x="4947" y="223"/>
                </a:cubicBezTo>
                <a:cubicBezTo>
                  <a:pt x="4936" y="236"/>
                  <a:pt x="4929" y="243"/>
                  <a:pt x="4927" y="243"/>
                </a:cubicBezTo>
                <a:cubicBezTo>
                  <a:pt x="4926" y="243"/>
                  <a:pt x="4926" y="242"/>
                  <a:pt x="4926" y="242"/>
                </a:cubicBezTo>
                <a:cubicBezTo>
                  <a:pt x="4926" y="241"/>
                  <a:pt x="4928" y="239"/>
                  <a:pt x="4931" y="236"/>
                </a:cubicBezTo>
                <a:cubicBezTo>
                  <a:pt x="4934" y="234"/>
                  <a:pt x="4936" y="232"/>
                  <a:pt x="4936" y="230"/>
                </a:cubicBezTo>
                <a:cubicBezTo>
                  <a:pt x="4936" y="228"/>
                  <a:pt x="4937" y="226"/>
                  <a:pt x="4940" y="223"/>
                </a:cubicBezTo>
                <a:cubicBezTo>
                  <a:pt x="4942" y="221"/>
                  <a:pt x="4944" y="219"/>
                  <a:pt x="4946" y="216"/>
                </a:cubicBezTo>
                <a:cubicBezTo>
                  <a:pt x="4948" y="214"/>
                  <a:pt x="4949" y="212"/>
                  <a:pt x="4949" y="211"/>
                </a:cubicBezTo>
                <a:cubicBezTo>
                  <a:pt x="4949" y="211"/>
                  <a:pt x="4948" y="210"/>
                  <a:pt x="4948" y="210"/>
                </a:cubicBezTo>
                <a:cubicBezTo>
                  <a:pt x="4948" y="210"/>
                  <a:pt x="4945" y="213"/>
                  <a:pt x="4942" y="218"/>
                </a:cubicBezTo>
                <a:cubicBezTo>
                  <a:pt x="4937" y="223"/>
                  <a:pt x="4933" y="228"/>
                  <a:pt x="4928" y="235"/>
                </a:cubicBezTo>
                <a:cubicBezTo>
                  <a:pt x="4923" y="241"/>
                  <a:pt x="4918" y="247"/>
                  <a:pt x="4914" y="252"/>
                </a:cubicBezTo>
                <a:cubicBezTo>
                  <a:pt x="4910" y="257"/>
                  <a:pt x="4908" y="260"/>
                  <a:pt x="4908" y="261"/>
                </a:cubicBezTo>
                <a:cubicBezTo>
                  <a:pt x="4908" y="261"/>
                  <a:pt x="4908" y="262"/>
                  <a:pt x="4908" y="262"/>
                </a:cubicBezTo>
                <a:cubicBezTo>
                  <a:pt x="4908" y="262"/>
                  <a:pt x="4908" y="262"/>
                  <a:pt x="4908" y="262"/>
                </a:cubicBezTo>
                <a:cubicBezTo>
                  <a:pt x="4909" y="262"/>
                  <a:pt x="4910" y="262"/>
                  <a:pt x="4912" y="261"/>
                </a:cubicBezTo>
                <a:cubicBezTo>
                  <a:pt x="4914" y="259"/>
                  <a:pt x="4916" y="259"/>
                  <a:pt x="4916" y="259"/>
                </a:cubicBezTo>
                <a:lnTo>
                  <a:pt x="4916" y="259"/>
                </a:lnTo>
                <a:cubicBezTo>
                  <a:pt x="4916" y="260"/>
                  <a:pt x="4915" y="261"/>
                  <a:pt x="4914" y="262"/>
                </a:cubicBezTo>
                <a:cubicBezTo>
                  <a:pt x="4912" y="264"/>
                  <a:pt x="4911" y="265"/>
                  <a:pt x="4909" y="265"/>
                </a:cubicBezTo>
                <a:lnTo>
                  <a:pt x="4907" y="264"/>
                </a:lnTo>
                <a:cubicBezTo>
                  <a:pt x="4905" y="264"/>
                  <a:pt x="4904" y="265"/>
                  <a:pt x="4903" y="267"/>
                </a:cubicBezTo>
                <a:cubicBezTo>
                  <a:pt x="4902" y="268"/>
                  <a:pt x="4902" y="269"/>
                  <a:pt x="4902" y="271"/>
                </a:cubicBezTo>
                <a:cubicBezTo>
                  <a:pt x="4902" y="271"/>
                  <a:pt x="4902" y="272"/>
                  <a:pt x="4902" y="273"/>
                </a:cubicBezTo>
                <a:lnTo>
                  <a:pt x="4903" y="274"/>
                </a:lnTo>
                <a:cubicBezTo>
                  <a:pt x="4903" y="274"/>
                  <a:pt x="4902" y="274"/>
                  <a:pt x="4902" y="274"/>
                </a:cubicBezTo>
                <a:lnTo>
                  <a:pt x="4901" y="274"/>
                </a:lnTo>
                <a:cubicBezTo>
                  <a:pt x="4900" y="274"/>
                  <a:pt x="4896" y="278"/>
                  <a:pt x="4890" y="287"/>
                </a:cubicBezTo>
                <a:cubicBezTo>
                  <a:pt x="4883" y="295"/>
                  <a:pt x="4880" y="300"/>
                  <a:pt x="4880" y="302"/>
                </a:cubicBezTo>
                <a:lnTo>
                  <a:pt x="4880" y="302"/>
                </a:lnTo>
                <a:cubicBezTo>
                  <a:pt x="4880" y="303"/>
                  <a:pt x="4879" y="305"/>
                  <a:pt x="4877" y="308"/>
                </a:cubicBezTo>
                <a:cubicBezTo>
                  <a:pt x="4874" y="310"/>
                  <a:pt x="4873" y="313"/>
                  <a:pt x="4873" y="315"/>
                </a:cubicBezTo>
                <a:cubicBezTo>
                  <a:pt x="4873" y="317"/>
                  <a:pt x="4872" y="318"/>
                  <a:pt x="4870" y="319"/>
                </a:cubicBezTo>
                <a:cubicBezTo>
                  <a:pt x="4868" y="320"/>
                  <a:pt x="4867" y="321"/>
                  <a:pt x="4867" y="322"/>
                </a:cubicBezTo>
                <a:lnTo>
                  <a:pt x="4868" y="324"/>
                </a:lnTo>
                <a:cubicBezTo>
                  <a:pt x="4868" y="325"/>
                  <a:pt x="4867" y="327"/>
                  <a:pt x="4864" y="329"/>
                </a:cubicBezTo>
                <a:cubicBezTo>
                  <a:pt x="4861" y="333"/>
                  <a:pt x="4860" y="335"/>
                  <a:pt x="4860" y="336"/>
                </a:cubicBezTo>
                <a:cubicBezTo>
                  <a:pt x="4860" y="337"/>
                  <a:pt x="4855" y="346"/>
                  <a:pt x="4846" y="362"/>
                </a:cubicBezTo>
                <a:cubicBezTo>
                  <a:pt x="4838" y="378"/>
                  <a:pt x="4833" y="386"/>
                  <a:pt x="4832" y="387"/>
                </a:cubicBezTo>
                <a:cubicBezTo>
                  <a:pt x="4831" y="387"/>
                  <a:pt x="4830" y="388"/>
                  <a:pt x="4830" y="388"/>
                </a:cubicBezTo>
                <a:lnTo>
                  <a:pt x="4831" y="390"/>
                </a:lnTo>
                <a:cubicBezTo>
                  <a:pt x="4831" y="391"/>
                  <a:pt x="4830" y="392"/>
                  <a:pt x="4830" y="392"/>
                </a:cubicBezTo>
                <a:cubicBezTo>
                  <a:pt x="4829" y="392"/>
                  <a:pt x="4828" y="392"/>
                  <a:pt x="4828" y="393"/>
                </a:cubicBezTo>
                <a:lnTo>
                  <a:pt x="4829" y="395"/>
                </a:lnTo>
                <a:cubicBezTo>
                  <a:pt x="4829" y="396"/>
                  <a:pt x="4828" y="397"/>
                  <a:pt x="4827" y="397"/>
                </a:cubicBezTo>
                <a:cubicBezTo>
                  <a:pt x="4826" y="397"/>
                  <a:pt x="4826" y="397"/>
                  <a:pt x="4826" y="397"/>
                </a:cubicBezTo>
                <a:lnTo>
                  <a:pt x="4826" y="399"/>
                </a:lnTo>
                <a:cubicBezTo>
                  <a:pt x="4826" y="400"/>
                  <a:pt x="4826" y="401"/>
                  <a:pt x="4825" y="401"/>
                </a:cubicBezTo>
                <a:cubicBezTo>
                  <a:pt x="4824" y="401"/>
                  <a:pt x="4823" y="401"/>
                  <a:pt x="4823" y="402"/>
                </a:cubicBezTo>
                <a:lnTo>
                  <a:pt x="4824" y="403"/>
                </a:lnTo>
                <a:cubicBezTo>
                  <a:pt x="4824" y="405"/>
                  <a:pt x="4823" y="409"/>
                  <a:pt x="4820" y="414"/>
                </a:cubicBezTo>
                <a:cubicBezTo>
                  <a:pt x="4817" y="420"/>
                  <a:pt x="4815" y="424"/>
                  <a:pt x="4815" y="427"/>
                </a:cubicBezTo>
                <a:cubicBezTo>
                  <a:pt x="4815" y="429"/>
                  <a:pt x="4816" y="430"/>
                  <a:pt x="4818" y="430"/>
                </a:cubicBezTo>
                <a:cubicBezTo>
                  <a:pt x="4819" y="430"/>
                  <a:pt x="4819" y="429"/>
                  <a:pt x="4819" y="427"/>
                </a:cubicBezTo>
                <a:lnTo>
                  <a:pt x="4819" y="422"/>
                </a:lnTo>
                <a:lnTo>
                  <a:pt x="4820" y="422"/>
                </a:lnTo>
                <a:cubicBezTo>
                  <a:pt x="4821" y="422"/>
                  <a:pt x="4822" y="422"/>
                  <a:pt x="4823" y="420"/>
                </a:cubicBezTo>
                <a:cubicBezTo>
                  <a:pt x="4824" y="419"/>
                  <a:pt x="4825" y="418"/>
                  <a:pt x="4825" y="416"/>
                </a:cubicBezTo>
                <a:cubicBezTo>
                  <a:pt x="4826" y="414"/>
                  <a:pt x="4826" y="413"/>
                  <a:pt x="4826" y="411"/>
                </a:cubicBezTo>
                <a:lnTo>
                  <a:pt x="4825" y="409"/>
                </a:lnTo>
                <a:lnTo>
                  <a:pt x="4826" y="408"/>
                </a:lnTo>
                <a:lnTo>
                  <a:pt x="4828" y="409"/>
                </a:lnTo>
                <a:cubicBezTo>
                  <a:pt x="4829" y="409"/>
                  <a:pt x="4829" y="408"/>
                  <a:pt x="4830" y="406"/>
                </a:cubicBezTo>
                <a:cubicBezTo>
                  <a:pt x="4830" y="405"/>
                  <a:pt x="4830" y="404"/>
                  <a:pt x="4830" y="404"/>
                </a:cubicBezTo>
                <a:cubicBezTo>
                  <a:pt x="4830" y="404"/>
                  <a:pt x="4831" y="404"/>
                  <a:pt x="4831" y="405"/>
                </a:cubicBezTo>
                <a:cubicBezTo>
                  <a:pt x="4831" y="407"/>
                  <a:pt x="4829" y="412"/>
                  <a:pt x="4826" y="418"/>
                </a:cubicBezTo>
                <a:cubicBezTo>
                  <a:pt x="4823" y="425"/>
                  <a:pt x="4822" y="430"/>
                  <a:pt x="4822" y="434"/>
                </a:cubicBezTo>
                <a:lnTo>
                  <a:pt x="4823" y="439"/>
                </a:lnTo>
                <a:cubicBezTo>
                  <a:pt x="4823" y="439"/>
                  <a:pt x="4822" y="439"/>
                  <a:pt x="4822" y="439"/>
                </a:cubicBezTo>
                <a:lnTo>
                  <a:pt x="4819" y="438"/>
                </a:lnTo>
                <a:cubicBezTo>
                  <a:pt x="4819" y="438"/>
                  <a:pt x="4819" y="438"/>
                  <a:pt x="4819" y="439"/>
                </a:cubicBezTo>
                <a:lnTo>
                  <a:pt x="4820" y="443"/>
                </a:lnTo>
                <a:cubicBezTo>
                  <a:pt x="4820" y="444"/>
                  <a:pt x="4819" y="445"/>
                  <a:pt x="4818" y="446"/>
                </a:cubicBezTo>
                <a:cubicBezTo>
                  <a:pt x="4816" y="447"/>
                  <a:pt x="4815" y="448"/>
                  <a:pt x="4815" y="448"/>
                </a:cubicBezTo>
                <a:lnTo>
                  <a:pt x="4815" y="451"/>
                </a:lnTo>
                <a:cubicBezTo>
                  <a:pt x="4815" y="451"/>
                  <a:pt x="4815" y="451"/>
                  <a:pt x="4814" y="451"/>
                </a:cubicBezTo>
                <a:cubicBezTo>
                  <a:pt x="4813" y="451"/>
                  <a:pt x="4813" y="452"/>
                  <a:pt x="4813" y="453"/>
                </a:cubicBezTo>
                <a:lnTo>
                  <a:pt x="4813" y="453"/>
                </a:lnTo>
                <a:cubicBezTo>
                  <a:pt x="4813" y="455"/>
                  <a:pt x="4813" y="456"/>
                  <a:pt x="4812" y="456"/>
                </a:cubicBezTo>
                <a:cubicBezTo>
                  <a:pt x="4812" y="456"/>
                  <a:pt x="4812" y="457"/>
                  <a:pt x="4812" y="458"/>
                </a:cubicBezTo>
                <a:cubicBezTo>
                  <a:pt x="4811" y="460"/>
                  <a:pt x="4811" y="462"/>
                  <a:pt x="4811" y="464"/>
                </a:cubicBezTo>
                <a:cubicBezTo>
                  <a:pt x="4810" y="469"/>
                  <a:pt x="4809" y="473"/>
                  <a:pt x="4807" y="477"/>
                </a:cubicBezTo>
                <a:cubicBezTo>
                  <a:pt x="4805" y="480"/>
                  <a:pt x="4805" y="484"/>
                  <a:pt x="4805" y="487"/>
                </a:cubicBezTo>
                <a:cubicBezTo>
                  <a:pt x="4805" y="494"/>
                  <a:pt x="4806" y="497"/>
                  <a:pt x="4808" y="497"/>
                </a:cubicBezTo>
                <a:cubicBezTo>
                  <a:pt x="4808" y="497"/>
                  <a:pt x="4809" y="497"/>
                  <a:pt x="4809" y="496"/>
                </a:cubicBezTo>
                <a:cubicBezTo>
                  <a:pt x="4810" y="495"/>
                  <a:pt x="4810" y="495"/>
                  <a:pt x="4811" y="495"/>
                </a:cubicBezTo>
                <a:cubicBezTo>
                  <a:pt x="4812" y="495"/>
                  <a:pt x="4813" y="495"/>
                  <a:pt x="4814" y="496"/>
                </a:cubicBezTo>
                <a:cubicBezTo>
                  <a:pt x="4815" y="497"/>
                  <a:pt x="4815" y="498"/>
                  <a:pt x="4815" y="499"/>
                </a:cubicBezTo>
                <a:cubicBezTo>
                  <a:pt x="4815" y="500"/>
                  <a:pt x="4814" y="500"/>
                  <a:pt x="4812" y="500"/>
                </a:cubicBezTo>
                <a:lnTo>
                  <a:pt x="4806" y="500"/>
                </a:lnTo>
                <a:cubicBezTo>
                  <a:pt x="4806" y="500"/>
                  <a:pt x="4806" y="501"/>
                  <a:pt x="4808" y="503"/>
                </a:cubicBezTo>
                <a:cubicBezTo>
                  <a:pt x="4809" y="504"/>
                  <a:pt x="4810" y="505"/>
                  <a:pt x="4811" y="505"/>
                </a:cubicBezTo>
                <a:lnTo>
                  <a:pt x="4813" y="505"/>
                </a:lnTo>
                <a:cubicBezTo>
                  <a:pt x="4814" y="505"/>
                  <a:pt x="4815" y="506"/>
                  <a:pt x="4815" y="507"/>
                </a:cubicBezTo>
                <a:cubicBezTo>
                  <a:pt x="4815" y="508"/>
                  <a:pt x="4815" y="509"/>
                  <a:pt x="4817" y="509"/>
                </a:cubicBezTo>
                <a:close/>
                <a:moveTo>
                  <a:pt x="4792" y="490"/>
                </a:moveTo>
                <a:cubicBezTo>
                  <a:pt x="4793" y="490"/>
                  <a:pt x="4793" y="490"/>
                  <a:pt x="4793" y="488"/>
                </a:cubicBezTo>
                <a:lnTo>
                  <a:pt x="4793" y="486"/>
                </a:lnTo>
                <a:cubicBezTo>
                  <a:pt x="4793" y="484"/>
                  <a:pt x="4793" y="482"/>
                  <a:pt x="4793" y="482"/>
                </a:cubicBezTo>
                <a:lnTo>
                  <a:pt x="4792" y="481"/>
                </a:lnTo>
                <a:cubicBezTo>
                  <a:pt x="4792" y="481"/>
                  <a:pt x="4791" y="482"/>
                  <a:pt x="4791" y="483"/>
                </a:cubicBezTo>
                <a:cubicBezTo>
                  <a:pt x="4789" y="485"/>
                  <a:pt x="4789" y="486"/>
                  <a:pt x="4789" y="487"/>
                </a:cubicBezTo>
                <a:cubicBezTo>
                  <a:pt x="4789" y="489"/>
                  <a:pt x="4790" y="490"/>
                  <a:pt x="4792" y="490"/>
                </a:cubicBezTo>
                <a:close/>
                <a:moveTo>
                  <a:pt x="4795" y="419"/>
                </a:moveTo>
                <a:cubicBezTo>
                  <a:pt x="4796" y="419"/>
                  <a:pt x="4797" y="418"/>
                  <a:pt x="4798" y="416"/>
                </a:cubicBezTo>
                <a:lnTo>
                  <a:pt x="4798" y="414"/>
                </a:lnTo>
                <a:cubicBezTo>
                  <a:pt x="4798" y="414"/>
                  <a:pt x="4798" y="413"/>
                  <a:pt x="4798" y="413"/>
                </a:cubicBezTo>
                <a:lnTo>
                  <a:pt x="4797" y="414"/>
                </a:lnTo>
                <a:cubicBezTo>
                  <a:pt x="4795" y="414"/>
                  <a:pt x="4795" y="416"/>
                  <a:pt x="4795" y="417"/>
                </a:cubicBezTo>
                <a:cubicBezTo>
                  <a:pt x="4795" y="419"/>
                  <a:pt x="4795" y="419"/>
                  <a:pt x="4795" y="419"/>
                </a:cubicBezTo>
                <a:close/>
                <a:moveTo>
                  <a:pt x="4788" y="435"/>
                </a:moveTo>
                <a:cubicBezTo>
                  <a:pt x="4789" y="435"/>
                  <a:pt x="4790" y="433"/>
                  <a:pt x="4791" y="431"/>
                </a:cubicBezTo>
                <a:cubicBezTo>
                  <a:pt x="4793" y="427"/>
                  <a:pt x="4794" y="424"/>
                  <a:pt x="4794" y="423"/>
                </a:cubicBezTo>
                <a:lnTo>
                  <a:pt x="4794" y="422"/>
                </a:lnTo>
                <a:cubicBezTo>
                  <a:pt x="4794" y="422"/>
                  <a:pt x="4793" y="424"/>
                  <a:pt x="4791" y="426"/>
                </a:cubicBezTo>
                <a:cubicBezTo>
                  <a:pt x="4789" y="430"/>
                  <a:pt x="4788" y="433"/>
                  <a:pt x="4788" y="434"/>
                </a:cubicBezTo>
                <a:lnTo>
                  <a:pt x="4788" y="435"/>
                </a:lnTo>
                <a:close/>
                <a:moveTo>
                  <a:pt x="4764" y="511"/>
                </a:moveTo>
                <a:cubicBezTo>
                  <a:pt x="4766" y="511"/>
                  <a:pt x="4766" y="510"/>
                  <a:pt x="4766" y="509"/>
                </a:cubicBezTo>
                <a:cubicBezTo>
                  <a:pt x="4766" y="508"/>
                  <a:pt x="4766" y="507"/>
                  <a:pt x="4766" y="507"/>
                </a:cubicBezTo>
                <a:cubicBezTo>
                  <a:pt x="4764" y="504"/>
                  <a:pt x="4763" y="503"/>
                  <a:pt x="4761" y="503"/>
                </a:cubicBezTo>
                <a:cubicBezTo>
                  <a:pt x="4760" y="503"/>
                  <a:pt x="4759" y="504"/>
                  <a:pt x="4759" y="506"/>
                </a:cubicBezTo>
                <a:cubicBezTo>
                  <a:pt x="4759" y="507"/>
                  <a:pt x="4760" y="508"/>
                  <a:pt x="4761" y="510"/>
                </a:cubicBezTo>
                <a:cubicBezTo>
                  <a:pt x="4762" y="511"/>
                  <a:pt x="4763" y="511"/>
                  <a:pt x="4764" y="511"/>
                </a:cubicBezTo>
                <a:close/>
                <a:moveTo>
                  <a:pt x="4744" y="591"/>
                </a:moveTo>
                <a:cubicBezTo>
                  <a:pt x="4744" y="591"/>
                  <a:pt x="4744" y="590"/>
                  <a:pt x="4744" y="589"/>
                </a:cubicBezTo>
                <a:lnTo>
                  <a:pt x="4744" y="586"/>
                </a:lnTo>
                <a:cubicBezTo>
                  <a:pt x="4744" y="586"/>
                  <a:pt x="4743" y="585"/>
                  <a:pt x="4743" y="585"/>
                </a:cubicBezTo>
                <a:cubicBezTo>
                  <a:pt x="4743" y="585"/>
                  <a:pt x="4742" y="586"/>
                  <a:pt x="4742" y="588"/>
                </a:cubicBezTo>
                <a:cubicBezTo>
                  <a:pt x="4742" y="590"/>
                  <a:pt x="4743" y="591"/>
                  <a:pt x="4744" y="591"/>
                </a:cubicBezTo>
                <a:close/>
                <a:moveTo>
                  <a:pt x="4742" y="602"/>
                </a:moveTo>
                <a:cubicBezTo>
                  <a:pt x="4742" y="601"/>
                  <a:pt x="4742" y="601"/>
                  <a:pt x="4742" y="600"/>
                </a:cubicBezTo>
                <a:lnTo>
                  <a:pt x="4741" y="597"/>
                </a:lnTo>
                <a:cubicBezTo>
                  <a:pt x="4741" y="597"/>
                  <a:pt x="4741" y="598"/>
                  <a:pt x="4741" y="601"/>
                </a:cubicBezTo>
                <a:cubicBezTo>
                  <a:pt x="4741" y="602"/>
                  <a:pt x="4741" y="602"/>
                  <a:pt x="4741" y="602"/>
                </a:cubicBezTo>
                <a:lnTo>
                  <a:pt x="4742" y="602"/>
                </a:lnTo>
                <a:close/>
                <a:moveTo>
                  <a:pt x="4739" y="621"/>
                </a:moveTo>
                <a:cubicBezTo>
                  <a:pt x="4739" y="621"/>
                  <a:pt x="4740" y="620"/>
                  <a:pt x="4740" y="619"/>
                </a:cubicBezTo>
                <a:lnTo>
                  <a:pt x="4740" y="616"/>
                </a:lnTo>
                <a:cubicBezTo>
                  <a:pt x="4739" y="616"/>
                  <a:pt x="4739" y="615"/>
                  <a:pt x="4739" y="615"/>
                </a:cubicBezTo>
                <a:cubicBezTo>
                  <a:pt x="4738" y="615"/>
                  <a:pt x="4738" y="616"/>
                  <a:pt x="4738" y="617"/>
                </a:cubicBezTo>
                <a:cubicBezTo>
                  <a:pt x="4738" y="619"/>
                  <a:pt x="4739" y="621"/>
                  <a:pt x="4739" y="621"/>
                </a:cubicBezTo>
                <a:close/>
                <a:moveTo>
                  <a:pt x="5238" y="540"/>
                </a:moveTo>
                <a:close/>
                <a:moveTo>
                  <a:pt x="4765" y="501"/>
                </a:moveTo>
                <a:cubicBezTo>
                  <a:pt x="4764" y="501"/>
                  <a:pt x="4764" y="501"/>
                  <a:pt x="4764" y="500"/>
                </a:cubicBezTo>
                <a:cubicBezTo>
                  <a:pt x="4764" y="498"/>
                  <a:pt x="4765" y="497"/>
                  <a:pt x="4766" y="496"/>
                </a:cubicBezTo>
                <a:lnTo>
                  <a:pt x="4768" y="495"/>
                </a:lnTo>
                <a:cubicBezTo>
                  <a:pt x="4768" y="495"/>
                  <a:pt x="4768" y="496"/>
                  <a:pt x="4768" y="497"/>
                </a:cubicBezTo>
                <a:cubicBezTo>
                  <a:pt x="4768" y="499"/>
                  <a:pt x="4768" y="500"/>
                  <a:pt x="4766" y="501"/>
                </a:cubicBezTo>
                <a:lnTo>
                  <a:pt x="4765" y="501"/>
                </a:lnTo>
                <a:close/>
                <a:moveTo>
                  <a:pt x="4793" y="408"/>
                </a:moveTo>
                <a:lnTo>
                  <a:pt x="4793" y="408"/>
                </a:lnTo>
                <a:cubicBezTo>
                  <a:pt x="4793" y="407"/>
                  <a:pt x="4793" y="406"/>
                  <a:pt x="4794" y="404"/>
                </a:cubicBezTo>
                <a:cubicBezTo>
                  <a:pt x="4794" y="403"/>
                  <a:pt x="4795" y="402"/>
                  <a:pt x="4796" y="402"/>
                </a:cubicBezTo>
                <a:lnTo>
                  <a:pt x="4796" y="402"/>
                </a:lnTo>
                <a:lnTo>
                  <a:pt x="4797" y="403"/>
                </a:lnTo>
                <a:cubicBezTo>
                  <a:pt x="4797" y="404"/>
                  <a:pt x="4796" y="405"/>
                  <a:pt x="4795" y="406"/>
                </a:cubicBezTo>
                <a:lnTo>
                  <a:pt x="4793" y="408"/>
                </a:lnTo>
                <a:close/>
                <a:moveTo>
                  <a:pt x="5104" y="662"/>
                </a:moveTo>
                <a:cubicBezTo>
                  <a:pt x="5103" y="662"/>
                  <a:pt x="5103" y="662"/>
                  <a:pt x="5103" y="660"/>
                </a:cubicBezTo>
                <a:cubicBezTo>
                  <a:pt x="5103" y="659"/>
                  <a:pt x="5104" y="658"/>
                  <a:pt x="5106" y="658"/>
                </a:cubicBezTo>
                <a:cubicBezTo>
                  <a:pt x="5106" y="658"/>
                  <a:pt x="5106" y="658"/>
                  <a:pt x="5106" y="659"/>
                </a:cubicBezTo>
                <a:cubicBezTo>
                  <a:pt x="5106" y="659"/>
                  <a:pt x="5106" y="660"/>
                  <a:pt x="5106" y="661"/>
                </a:cubicBezTo>
                <a:cubicBezTo>
                  <a:pt x="5105" y="662"/>
                  <a:pt x="5105" y="662"/>
                  <a:pt x="5104" y="662"/>
                </a:cubicBezTo>
                <a:close/>
                <a:moveTo>
                  <a:pt x="4751" y="548"/>
                </a:moveTo>
                <a:cubicBezTo>
                  <a:pt x="4750" y="548"/>
                  <a:pt x="4749" y="547"/>
                  <a:pt x="4749" y="546"/>
                </a:cubicBezTo>
                <a:cubicBezTo>
                  <a:pt x="4748" y="545"/>
                  <a:pt x="4747" y="544"/>
                  <a:pt x="4747" y="544"/>
                </a:cubicBezTo>
                <a:lnTo>
                  <a:pt x="4749" y="544"/>
                </a:lnTo>
                <a:cubicBezTo>
                  <a:pt x="4751" y="544"/>
                  <a:pt x="4751" y="544"/>
                  <a:pt x="4752" y="543"/>
                </a:cubicBezTo>
                <a:cubicBezTo>
                  <a:pt x="4752" y="542"/>
                  <a:pt x="4752" y="541"/>
                  <a:pt x="4753" y="541"/>
                </a:cubicBezTo>
                <a:cubicBezTo>
                  <a:pt x="4753" y="541"/>
                  <a:pt x="4753" y="542"/>
                  <a:pt x="4753" y="544"/>
                </a:cubicBezTo>
                <a:lnTo>
                  <a:pt x="4753" y="544"/>
                </a:lnTo>
                <a:cubicBezTo>
                  <a:pt x="4753" y="546"/>
                  <a:pt x="4753" y="548"/>
                  <a:pt x="4751" y="548"/>
                </a:cubicBezTo>
                <a:close/>
                <a:moveTo>
                  <a:pt x="4749" y="535"/>
                </a:moveTo>
                <a:lnTo>
                  <a:pt x="4748" y="535"/>
                </a:lnTo>
                <a:cubicBezTo>
                  <a:pt x="4748" y="535"/>
                  <a:pt x="4748" y="534"/>
                  <a:pt x="4748" y="534"/>
                </a:cubicBezTo>
                <a:cubicBezTo>
                  <a:pt x="4748" y="532"/>
                  <a:pt x="4748" y="531"/>
                  <a:pt x="4749" y="530"/>
                </a:cubicBezTo>
                <a:cubicBezTo>
                  <a:pt x="4750" y="529"/>
                  <a:pt x="4751" y="527"/>
                  <a:pt x="4751" y="526"/>
                </a:cubicBezTo>
                <a:lnTo>
                  <a:pt x="4750" y="522"/>
                </a:lnTo>
                <a:cubicBezTo>
                  <a:pt x="4750" y="522"/>
                  <a:pt x="4750" y="521"/>
                  <a:pt x="4750" y="521"/>
                </a:cubicBezTo>
                <a:cubicBezTo>
                  <a:pt x="4751" y="521"/>
                  <a:pt x="4751" y="522"/>
                  <a:pt x="4751" y="522"/>
                </a:cubicBezTo>
                <a:cubicBezTo>
                  <a:pt x="4752" y="522"/>
                  <a:pt x="4753" y="523"/>
                  <a:pt x="4753" y="524"/>
                </a:cubicBezTo>
                <a:cubicBezTo>
                  <a:pt x="4753" y="524"/>
                  <a:pt x="4754" y="525"/>
                  <a:pt x="4754" y="527"/>
                </a:cubicBezTo>
                <a:cubicBezTo>
                  <a:pt x="4754" y="528"/>
                  <a:pt x="4754" y="529"/>
                  <a:pt x="4754" y="529"/>
                </a:cubicBezTo>
                <a:lnTo>
                  <a:pt x="4756" y="530"/>
                </a:lnTo>
                <a:lnTo>
                  <a:pt x="4754" y="530"/>
                </a:lnTo>
                <a:cubicBezTo>
                  <a:pt x="4752" y="530"/>
                  <a:pt x="4751" y="531"/>
                  <a:pt x="4751" y="533"/>
                </a:cubicBezTo>
                <a:cubicBezTo>
                  <a:pt x="4751" y="534"/>
                  <a:pt x="4750" y="535"/>
                  <a:pt x="4749" y="535"/>
                </a:cubicBezTo>
                <a:close/>
                <a:moveTo>
                  <a:pt x="4919" y="255"/>
                </a:moveTo>
                <a:cubicBezTo>
                  <a:pt x="4918" y="255"/>
                  <a:pt x="4917" y="254"/>
                  <a:pt x="4917" y="253"/>
                </a:cubicBezTo>
                <a:cubicBezTo>
                  <a:pt x="4917" y="253"/>
                  <a:pt x="4918" y="252"/>
                  <a:pt x="4918" y="251"/>
                </a:cubicBezTo>
                <a:cubicBezTo>
                  <a:pt x="4919" y="250"/>
                  <a:pt x="4920" y="249"/>
                  <a:pt x="4921" y="248"/>
                </a:cubicBezTo>
                <a:cubicBezTo>
                  <a:pt x="4922" y="248"/>
                  <a:pt x="4922" y="247"/>
                  <a:pt x="4923" y="247"/>
                </a:cubicBezTo>
                <a:cubicBezTo>
                  <a:pt x="4924" y="248"/>
                  <a:pt x="4925" y="248"/>
                  <a:pt x="4925" y="249"/>
                </a:cubicBezTo>
                <a:cubicBezTo>
                  <a:pt x="4925" y="250"/>
                  <a:pt x="4924" y="251"/>
                  <a:pt x="4922" y="253"/>
                </a:cubicBezTo>
                <a:cubicBezTo>
                  <a:pt x="4921" y="254"/>
                  <a:pt x="4920" y="255"/>
                  <a:pt x="4919" y="255"/>
                </a:cubicBezTo>
                <a:close/>
                <a:moveTo>
                  <a:pt x="5238" y="541"/>
                </a:moveTo>
                <a:cubicBezTo>
                  <a:pt x="5238" y="541"/>
                  <a:pt x="5238" y="541"/>
                  <a:pt x="5238" y="540"/>
                </a:cubicBezTo>
                <a:cubicBezTo>
                  <a:pt x="5238" y="540"/>
                  <a:pt x="5238" y="539"/>
                  <a:pt x="5239" y="538"/>
                </a:cubicBezTo>
                <a:cubicBezTo>
                  <a:pt x="5240" y="537"/>
                  <a:pt x="5241" y="536"/>
                  <a:pt x="5243" y="535"/>
                </a:cubicBezTo>
                <a:lnTo>
                  <a:pt x="5244" y="534"/>
                </a:lnTo>
                <a:lnTo>
                  <a:pt x="5244" y="534"/>
                </a:lnTo>
                <a:lnTo>
                  <a:pt x="5243" y="537"/>
                </a:lnTo>
                <a:cubicBezTo>
                  <a:pt x="5240" y="540"/>
                  <a:pt x="5239" y="541"/>
                  <a:pt x="5238" y="541"/>
                </a:cubicBezTo>
                <a:close/>
                <a:moveTo>
                  <a:pt x="4931" y="400"/>
                </a:moveTo>
                <a:close/>
                <a:moveTo>
                  <a:pt x="4932" y="401"/>
                </a:moveTo>
                <a:cubicBezTo>
                  <a:pt x="4932" y="401"/>
                  <a:pt x="4931" y="401"/>
                  <a:pt x="4931" y="400"/>
                </a:cubicBezTo>
                <a:cubicBezTo>
                  <a:pt x="4931" y="400"/>
                  <a:pt x="4932" y="399"/>
                  <a:pt x="4933" y="398"/>
                </a:cubicBezTo>
                <a:cubicBezTo>
                  <a:pt x="4934" y="397"/>
                  <a:pt x="4935" y="396"/>
                  <a:pt x="4936" y="395"/>
                </a:cubicBezTo>
                <a:cubicBezTo>
                  <a:pt x="4937" y="394"/>
                  <a:pt x="4938" y="394"/>
                  <a:pt x="4938" y="394"/>
                </a:cubicBezTo>
                <a:lnTo>
                  <a:pt x="4938" y="394"/>
                </a:lnTo>
                <a:lnTo>
                  <a:pt x="4936" y="397"/>
                </a:lnTo>
                <a:cubicBezTo>
                  <a:pt x="4934" y="399"/>
                  <a:pt x="4933" y="401"/>
                  <a:pt x="4932" y="401"/>
                </a:cubicBezTo>
                <a:close/>
                <a:moveTo>
                  <a:pt x="5223" y="552"/>
                </a:moveTo>
                <a:cubicBezTo>
                  <a:pt x="5223" y="551"/>
                  <a:pt x="5223" y="551"/>
                  <a:pt x="5224" y="550"/>
                </a:cubicBezTo>
                <a:cubicBezTo>
                  <a:pt x="5226" y="549"/>
                  <a:pt x="5227" y="548"/>
                  <a:pt x="5227" y="548"/>
                </a:cubicBezTo>
                <a:lnTo>
                  <a:pt x="5228" y="548"/>
                </a:lnTo>
                <a:lnTo>
                  <a:pt x="5228" y="549"/>
                </a:lnTo>
                <a:cubicBezTo>
                  <a:pt x="5228" y="549"/>
                  <a:pt x="5227" y="550"/>
                  <a:pt x="5226" y="551"/>
                </a:cubicBezTo>
                <a:cubicBezTo>
                  <a:pt x="5224" y="551"/>
                  <a:pt x="5223" y="552"/>
                  <a:pt x="5223" y="552"/>
                </a:cubicBezTo>
                <a:close/>
                <a:moveTo>
                  <a:pt x="5163" y="605"/>
                </a:moveTo>
                <a:cubicBezTo>
                  <a:pt x="5162" y="605"/>
                  <a:pt x="5161" y="604"/>
                  <a:pt x="5161" y="603"/>
                </a:cubicBezTo>
                <a:cubicBezTo>
                  <a:pt x="5161" y="601"/>
                  <a:pt x="5162" y="601"/>
                  <a:pt x="5164" y="601"/>
                </a:cubicBezTo>
                <a:cubicBezTo>
                  <a:pt x="5165" y="601"/>
                  <a:pt x="5165" y="601"/>
                  <a:pt x="5165" y="602"/>
                </a:cubicBezTo>
                <a:cubicBezTo>
                  <a:pt x="5165" y="602"/>
                  <a:pt x="5165" y="603"/>
                  <a:pt x="5165" y="604"/>
                </a:cubicBezTo>
                <a:cubicBezTo>
                  <a:pt x="5164" y="605"/>
                  <a:pt x="5163" y="605"/>
                  <a:pt x="5163" y="605"/>
                </a:cubicBezTo>
                <a:close/>
                <a:moveTo>
                  <a:pt x="5111" y="658"/>
                </a:moveTo>
                <a:cubicBezTo>
                  <a:pt x="5111" y="658"/>
                  <a:pt x="5110" y="657"/>
                  <a:pt x="5109" y="656"/>
                </a:cubicBezTo>
                <a:cubicBezTo>
                  <a:pt x="5109" y="656"/>
                  <a:pt x="5108" y="656"/>
                  <a:pt x="5108" y="655"/>
                </a:cubicBezTo>
                <a:cubicBezTo>
                  <a:pt x="5108" y="654"/>
                  <a:pt x="5109" y="654"/>
                  <a:pt x="5111" y="654"/>
                </a:cubicBezTo>
                <a:cubicBezTo>
                  <a:pt x="5112" y="654"/>
                  <a:pt x="5113" y="654"/>
                  <a:pt x="5113" y="655"/>
                </a:cubicBezTo>
                <a:lnTo>
                  <a:pt x="5113" y="656"/>
                </a:lnTo>
                <a:cubicBezTo>
                  <a:pt x="5113" y="656"/>
                  <a:pt x="5112" y="656"/>
                  <a:pt x="5112" y="657"/>
                </a:cubicBezTo>
                <a:cubicBezTo>
                  <a:pt x="5112" y="657"/>
                  <a:pt x="5111" y="658"/>
                  <a:pt x="5111" y="658"/>
                </a:cubicBezTo>
                <a:close/>
                <a:moveTo>
                  <a:pt x="5138" y="623"/>
                </a:moveTo>
                <a:cubicBezTo>
                  <a:pt x="5138" y="622"/>
                  <a:pt x="5139" y="621"/>
                  <a:pt x="5141" y="619"/>
                </a:cubicBezTo>
                <a:cubicBezTo>
                  <a:pt x="5144" y="616"/>
                  <a:pt x="5146" y="614"/>
                  <a:pt x="5147" y="614"/>
                </a:cubicBezTo>
                <a:lnTo>
                  <a:pt x="5148" y="615"/>
                </a:lnTo>
                <a:cubicBezTo>
                  <a:pt x="5148" y="616"/>
                  <a:pt x="5146" y="618"/>
                  <a:pt x="5143" y="620"/>
                </a:cubicBezTo>
                <a:cubicBezTo>
                  <a:pt x="5140" y="622"/>
                  <a:pt x="5138" y="623"/>
                  <a:pt x="5138" y="623"/>
                </a:cubicBezTo>
                <a:close/>
                <a:moveTo>
                  <a:pt x="5170" y="598"/>
                </a:moveTo>
                <a:cubicBezTo>
                  <a:pt x="5170" y="598"/>
                  <a:pt x="5169" y="598"/>
                  <a:pt x="5169" y="598"/>
                </a:cubicBezTo>
                <a:cubicBezTo>
                  <a:pt x="5169" y="597"/>
                  <a:pt x="5171" y="595"/>
                  <a:pt x="5175" y="592"/>
                </a:cubicBezTo>
                <a:cubicBezTo>
                  <a:pt x="5179" y="588"/>
                  <a:pt x="5182" y="586"/>
                  <a:pt x="5184" y="586"/>
                </a:cubicBezTo>
                <a:lnTo>
                  <a:pt x="5184" y="586"/>
                </a:lnTo>
                <a:cubicBezTo>
                  <a:pt x="5185" y="586"/>
                  <a:pt x="5186" y="586"/>
                  <a:pt x="5186" y="585"/>
                </a:cubicBezTo>
                <a:lnTo>
                  <a:pt x="5187" y="583"/>
                </a:lnTo>
                <a:lnTo>
                  <a:pt x="5187" y="585"/>
                </a:lnTo>
                <a:cubicBezTo>
                  <a:pt x="5186" y="587"/>
                  <a:pt x="5185" y="588"/>
                  <a:pt x="5184" y="588"/>
                </a:cubicBezTo>
                <a:lnTo>
                  <a:pt x="5184" y="588"/>
                </a:lnTo>
                <a:cubicBezTo>
                  <a:pt x="5182" y="588"/>
                  <a:pt x="5180" y="589"/>
                  <a:pt x="5177" y="593"/>
                </a:cubicBezTo>
                <a:cubicBezTo>
                  <a:pt x="5173" y="596"/>
                  <a:pt x="5171" y="598"/>
                  <a:pt x="5170" y="598"/>
                </a:cubicBezTo>
                <a:close/>
                <a:moveTo>
                  <a:pt x="4771" y="568"/>
                </a:moveTo>
                <a:cubicBezTo>
                  <a:pt x="4771" y="568"/>
                  <a:pt x="4771" y="568"/>
                  <a:pt x="4771" y="566"/>
                </a:cubicBezTo>
                <a:cubicBezTo>
                  <a:pt x="4771" y="565"/>
                  <a:pt x="4771" y="563"/>
                  <a:pt x="4773" y="563"/>
                </a:cubicBezTo>
                <a:lnTo>
                  <a:pt x="4774" y="562"/>
                </a:lnTo>
                <a:cubicBezTo>
                  <a:pt x="4774" y="562"/>
                  <a:pt x="4774" y="563"/>
                  <a:pt x="4774" y="563"/>
                </a:cubicBezTo>
                <a:lnTo>
                  <a:pt x="4774" y="565"/>
                </a:lnTo>
                <a:cubicBezTo>
                  <a:pt x="4773" y="567"/>
                  <a:pt x="4772" y="568"/>
                  <a:pt x="4771" y="568"/>
                </a:cubicBezTo>
                <a:close/>
                <a:moveTo>
                  <a:pt x="4769" y="577"/>
                </a:moveTo>
                <a:cubicBezTo>
                  <a:pt x="4769" y="577"/>
                  <a:pt x="4768" y="577"/>
                  <a:pt x="4768" y="575"/>
                </a:cubicBezTo>
                <a:cubicBezTo>
                  <a:pt x="4768" y="575"/>
                  <a:pt x="4769" y="574"/>
                  <a:pt x="4769" y="573"/>
                </a:cubicBezTo>
                <a:cubicBezTo>
                  <a:pt x="4770" y="572"/>
                  <a:pt x="4771" y="571"/>
                  <a:pt x="4771" y="571"/>
                </a:cubicBezTo>
                <a:cubicBezTo>
                  <a:pt x="4772" y="571"/>
                  <a:pt x="4772" y="572"/>
                  <a:pt x="4772" y="572"/>
                </a:cubicBezTo>
                <a:lnTo>
                  <a:pt x="4772" y="574"/>
                </a:lnTo>
                <a:cubicBezTo>
                  <a:pt x="4771" y="576"/>
                  <a:pt x="4770" y="577"/>
                  <a:pt x="4769" y="577"/>
                </a:cubicBezTo>
                <a:close/>
                <a:moveTo>
                  <a:pt x="4870" y="511"/>
                </a:moveTo>
                <a:cubicBezTo>
                  <a:pt x="4869" y="511"/>
                  <a:pt x="4868" y="510"/>
                  <a:pt x="4868" y="509"/>
                </a:cubicBezTo>
                <a:cubicBezTo>
                  <a:pt x="4868" y="507"/>
                  <a:pt x="4869" y="507"/>
                  <a:pt x="4871" y="507"/>
                </a:cubicBezTo>
                <a:cubicBezTo>
                  <a:pt x="4872" y="507"/>
                  <a:pt x="4872" y="507"/>
                  <a:pt x="4872" y="508"/>
                </a:cubicBezTo>
                <a:lnTo>
                  <a:pt x="4872" y="509"/>
                </a:lnTo>
                <a:cubicBezTo>
                  <a:pt x="4871" y="510"/>
                  <a:pt x="4870" y="511"/>
                  <a:pt x="4870" y="511"/>
                </a:cubicBezTo>
                <a:close/>
                <a:moveTo>
                  <a:pt x="4767" y="690"/>
                </a:moveTo>
                <a:cubicBezTo>
                  <a:pt x="4767" y="689"/>
                  <a:pt x="4766" y="688"/>
                  <a:pt x="4766" y="686"/>
                </a:cubicBezTo>
                <a:cubicBezTo>
                  <a:pt x="4766" y="685"/>
                  <a:pt x="4767" y="684"/>
                  <a:pt x="4767" y="684"/>
                </a:cubicBezTo>
                <a:cubicBezTo>
                  <a:pt x="4768" y="684"/>
                  <a:pt x="4768" y="685"/>
                  <a:pt x="4768" y="687"/>
                </a:cubicBezTo>
                <a:cubicBezTo>
                  <a:pt x="4768" y="688"/>
                  <a:pt x="4768" y="689"/>
                  <a:pt x="4768" y="689"/>
                </a:cubicBezTo>
                <a:lnTo>
                  <a:pt x="4767" y="690"/>
                </a:lnTo>
                <a:close/>
                <a:moveTo>
                  <a:pt x="4765" y="598"/>
                </a:moveTo>
                <a:cubicBezTo>
                  <a:pt x="4764" y="598"/>
                  <a:pt x="4764" y="597"/>
                  <a:pt x="4764" y="595"/>
                </a:cubicBezTo>
                <a:cubicBezTo>
                  <a:pt x="4764" y="593"/>
                  <a:pt x="4765" y="592"/>
                  <a:pt x="4766" y="592"/>
                </a:cubicBezTo>
                <a:cubicBezTo>
                  <a:pt x="4767" y="592"/>
                  <a:pt x="4768" y="592"/>
                  <a:pt x="4768" y="593"/>
                </a:cubicBezTo>
                <a:lnTo>
                  <a:pt x="4767" y="595"/>
                </a:lnTo>
                <a:cubicBezTo>
                  <a:pt x="4766" y="597"/>
                  <a:pt x="4766" y="598"/>
                  <a:pt x="4765" y="598"/>
                </a:cubicBezTo>
                <a:close/>
                <a:moveTo>
                  <a:pt x="4768" y="589"/>
                </a:moveTo>
                <a:cubicBezTo>
                  <a:pt x="4767" y="589"/>
                  <a:pt x="4766" y="588"/>
                  <a:pt x="4766" y="585"/>
                </a:cubicBezTo>
                <a:cubicBezTo>
                  <a:pt x="4766" y="584"/>
                  <a:pt x="4767" y="582"/>
                  <a:pt x="4768" y="581"/>
                </a:cubicBezTo>
                <a:lnTo>
                  <a:pt x="4769" y="581"/>
                </a:lnTo>
                <a:cubicBezTo>
                  <a:pt x="4769" y="581"/>
                  <a:pt x="4769" y="581"/>
                  <a:pt x="4769" y="583"/>
                </a:cubicBezTo>
                <a:lnTo>
                  <a:pt x="4769" y="584"/>
                </a:lnTo>
                <a:cubicBezTo>
                  <a:pt x="4768" y="588"/>
                  <a:pt x="4768" y="589"/>
                  <a:pt x="4768" y="589"/>
                </a:cubicBezTo>
                <a:close/>
                <a:moveTo>
                  <a:pt x="4761" y="649"/>
                </a:moveTo>
                <a:cubicBezTo>
                  <a:pt x="4759" y="648"/>
                  <a:pt x="4758" y="648"/>
                  <a:pt x="4758" y="648"/>
                </a:cubicBezTo>
                <a:lnTo>
                  <a:pt x="4762" y="647"/>
                </a:lnTo>
                <a:cubicBezTo>
                  <a:pt x="4763" y="647"/>
                  <a:pt x="4763" y="647"/>
                  <a:pt x="4763" y="647"/>
                </a:cubicBezTo>
                <a:cubicBezTo>
                  <a:pt x="4764" y="647"/>
                  <a:pt x="4764" y="647"/>
                  <a:pt x="4764" y="648"/>
                </a:cubicBezTo>
                <a:cubicBezTo>
                  <a:pt x="4764" y="648"/>
                  <a:pt x="4763" y="649"/>
                  <a:pt x="4761" y="649"/>
                </a:cubicBezTo>
                <a:close/>
                <a:moveTo>
                  <a:pt x="4762" y="630"/>
                </a:moveTo>
                <a:lnTo>
                  <a:pt x="4762" y="630"/>
                </a:lnTo>
                <a:cubicBezTo>
                  <a:pt x="4761" y="629"/>
                  <a:pt x="4761" y="627"/>
                  <a:pt x="4761" y="625"/>
                </a:cubicBezTo>
                <a:cubicBezTo>
                  <a:pt x="4761" y="623"/>
                  <a:pt x="4761" y="621"/>
                  <a:pt x="4761" y="619"/>
                </a:cubicBezTo>
                <a:cubicBezTo>
                  <a:pt x="4761" y="616"/>
                  <a:pt x="4761" y="614"/>
                  <a:pt x="4761" y="614"/>
                </a:cubicBezTo>
                <a:cubicBezTo>
                  <a:pt x="4763" y="614"/>
                  <a:pt x="4763" y="617"/>
                  <a:pt x="4763" y="622"/>
                </a:cubicBezTo>
                <a:cubicBezTo>
                  <a:pt x="4763" y="627"/>
                  <a:pt x="4763" y="630"/>
                  <a:pt x="4762" y="630"/>
                </a:cubicBezTo>
                <a:close/>
                <a:moveTo>
                  <a:pt x="4763" y="612"/>
                </a:moveTo>
                <a:cubicBezTo>
                  <a:pt x="4763" y="612"/>
                  <a:pt x="4762" y="611"/>
                  <a:pt x="4762" y="609"/>
                </a:cubicBezTo>
                <a:cubicBezTo>
                  <a:pt x="4762" y="608"/>
                  <a:pt x="4762" y="607"/>
                  <a:pt x="4763" y="607"/>
                </a:cubicBezTo>
                <a:cubicBezTo>
                  <a:pt x="4763" y="606"/>
                  <a:pt x="4763" y="606"/>
                  <a:pt x="4764" y="605"/>
                </a:cubicBezTo>
                <a:cubicBezTo>
                  <a:pt x="4765" y="605"/>
                  <a:pt x="4765" y="606"/>
                  <a:pt x="4765" y="607"/>
                </a:cubicBezTo>
                <a:cubicBezTo>
                  <a:pt x="4765" y="607"/>
                  <a:pt x="4765" y="608"/>
                  <a:pt x="4765" y="609"/>
                </a:cubicBezTo>
                <a:cubicBezTo>
                  <a:pt x="4764" y="610"/>
                  <a:pt x="4764" y="610"/>
                  <a:pt x="4764" y="611"/>
                </a:cubicBezTo>
                <a:cubicBezTo>
                  <a:pt x="4763" y="612"/>
                  <a:pt x="4763" y="612"/>
                  <a:pt x="4763" y="612"/>
                </a:cubicBezTo>
                <a:close/>
                <a:moveTo>
                  <a:pt x="5578" y="589"/>
                </a:moveTo>
                <a:cubicBezTo>
                  <a:pt x="5578" y="589"/>
                  <a:pt x="5577" y="589"/>
                  <a:pt x="5577" y="588"/>
                </a:cubicBezTo>
                <a:cubicBezTo>
                  <a:pt x="5577" y="587"/>
                  <a:pt x="5576" y="586"/>
                  <a:pt x="5576" y="585"/>
                </a:cubicBezTo>
                <a:cubicBezTo>
                  <a:pt x="5575" y="585"/>
                  <a:pt x="5575" y="584"/>
                  <a:pt x="5575" y="583"/>
                </a:cubicBezTo>
                <a:lnTo>
                  <a:pt x="5575" y="583"/>
                </a:lnTo>
                <a:lnTo>
                  <a:pt x="5577" y="585"/>
                </a:lnTo>
                <a:cubicBezTo>
                  <a:pt x="5578" y="586"/>
                  <a:pt x="5579" y="587"/>
                  <a:pt x="5579" y="588"/>
                </a:cubicBezTo>
                <a:lnTo>
                  <a:pt x="5578" y="589"/>
                </a:lnTo>
                <a:close/>
                <a:moveTo>
                  <a:pt x="5265" y="595"/>
                </a:moveTo>
                <a:cubicBezTo>
                  <a:pt x="5264" y="595"/>
                  <a:pt x="5263" y="595"/>
                  <a:pt x="5263" y="594"/>
                </a:cubicBezTo>
                <a:cubicBezTo>
                  <a:pt x="5262" y="593"/>
                  <a:pt x="5261" y="592"/>
                  <a:pt x="5261" y="591"/>
                </a:cubicBezTo>
                <a:cubicBezTo>
                  <a:pt x="5261" y="589"/>
                  <a:pt x="5262" y="587"/>
                  <a:pt x="5264" y="584"/>
                </a:cubicBezTo>
                <a:cubicBezTo>
                  <a:pt x="5265" y="582"/>
                  <a:pt x="5266" y="580"/>
                  <a:pt x="5266" y="580"/>
                </a:cubicBezTo>
                <a:lnTo>
                  <a:pt x="5267" y="586"/>
                </a:lnTo>
                <a:lnTo>
                  <a:pt x="5267" y="588"/>
                </a:lnTo>
                <a:cubicBezTo>
                  <a:pt x="5267" y="593"/>
                  <a:pt x="5267" y="595"/>
                  <a:pt x="5265" y="595"/>
                </a:cubicBezTo>
                <a:close/>
                <a:moveTo>
                  <a:pt x="5280" y="565"/>
                </a:moveTo>
                <a:cubicBezTo>
                  <a:pt x="5280" y="565"/>
                  <a:pt x="5280" y="564"/>
                  <a:pt x="5279" y="563"/>
                </a:cubicBezTo>
                <a:cubicBezTo>
                  <a:pt x="5279" y="563"/>
                  <a:pt x="5278" y="563"/>
                  <a:pt x="5278" y="562"/>
                </a:cubicBezTo>
                <a:lnTo>
                  <a:pt x="5277" y="561"/>
                </a:lnTo>
                <a:cubicBezTo>
                  <a:pt x="5277" y="560"/>
                  <a:pt x="5278" y="560"/>
                  <a:pt x="5279" y="560"/>
                </a:cubicBezTo>
                <a:cubicBezTo>
                  <a:pt x="5280" y="560"/>
                  <a:pt x="5281" y="561"/>
                  <a:pt x="5281" y="562"/>
                </a:cubicBezTo>
                <a:cubicBezTo>
                  <a:pt x="5281" y="564"/>
                  <a:pt x="5281" y="565"/>
                  <a:pt x="5280" y="565"/>
                </a:cubicBezTo>
                <a:close/>
                <a:moveTo>
                  <a:pt x="5286" y="747"/>
                </a:moveTo>
                <a:cubicBezTo>
                  <a:pt x="5282" y="747"/>
                  <a:pt x="5277" y="747"/>
                  <a:pt x="5273" y="746"/>
                </a:cubicBezTo>
                <a:cubicBezTo>
                  <a:pt x="5261" y="743"/>
                  <a:pt x="5253" y="738"/>
                  <a:pt x="5249" y="732"/>
                </a:cubicBezTo>
                <a:cubicBezTo>
                  <a:pt x="5247" y="729"/>
                  <a:pt x="5245" y="728"/>
                  <a:pt x="5243" y="728"/>
                </a:cubicBezTo>
                <a:cubicBezTo>
                  <a:pt x="5241" y="728"/>
                  <a:pt x="5239" y="726"/>
                  <a:pt x="5236" y="722"/>
                </a:cubicBezTo>
                <a:cubicBezTo>
                  <a:pt x="5233" y="718"/>
                  <a:pt x="5230" y="714"/>
                  <a:pt x="5227" y="710"/>
                </a:cubicBezTo>
                <a:cubicBezTo>
                  <a:pt x="5225" y="705"/>
                  <a:pt x="5223" y="702"/>
                  <a:pt x="5223" y="699"/>
                </a:cubicBezTo>
                <a:lnTo>
                  <a:pt x="5224" y="696"/>
                </a:lnTo>
                <a:cubicBezTo>
                  <a:pt x="5224" y="696"/>
                  <a:pt x="5224" y="695"/>
                  <a:pt x="5223" y="695"/>
                </a:cubicBezTo>
                <a:cubicBezTo>
                  <a:pt x="5222" y="695"/>
                  <a:pt x="5221" y="689"/>
                  <a:pt x="5221" y="678"/>
                </a:cubicBezTo>
                <a:cubicBezTo>
                  <a:pt x="5221" y="667"/>
                  <a:pt x="5222" y="654"/>
                  <a:pt x="5223" y="638"/>
                </a:cubicBezTo>
                <a:cubicBezTo>
                  <a:pt x="5224" y="623"/>
                  <a:pt x="5226" y="612"/>
                  <a:pt x="5228" y="604"/>
                </a:cubicBezTo>
                <a:cubicBezTo>
                  <a:pt x="5230" y="599"/>
                  <a:pt x="5230" y="595"/>
                  <a:pt x="5230" y="592"/>
                </a:cubicBezTo>
                <a:lnTo>
                  <a:pt x="5230" y="589"/>
                </a:lnTo>
                <a:cubicBezTo>
                  <a:pt x="5230" y="588"/>
                  <a:pt x="5231" y="586"/>
                  <a:pt x="5232" y="585"/>
                </a:cubicBezTo>
                <a:cubicBezTo>
                  <a:pt x="5233" y="583"/>
                  <a:pt x="5234" y="581"/>
                  <a:pt x="5234" y="579"/>
                </a:cubicBezTo>
                <a:lnTo>
                  <a:pt x="5234" y="577"/>
                </a:lnTo>
                <a:cubicBezTo>
                  <a:pt x="5234" y="577"/>
                  <a:pt x="5234" y="576"/>
                  <a:pt x="5234" y="576"/>
                </a:cubicBezTo>
                <a:lnTo>
                  <a:pt x="5236" y="577"/>
                </a:lnTo>
                <a:cubicBezTo>
                  <a:pt x="5237" y="577"/>
                  <a:pt x="5237" y="577"/>
                  <a:pt x="5237" y="576"/>
                </a:cubicBezTo>
                <a:lnTo>
                  <a:pt x="5237" y="574"/>
                </a:lnTo>
                <a:cubicBezTo>
                  <a:pt x="5237" y="572"/>
                  <a:pt x="5239" y="566"/>
                  <a:pt x="5243" y="557"/>
                </a:cubicBezTo>
                <a:cubicBezTo>
                  <a:pt x="5247" y="549"/>
                  <a:pt x="5252" y="541"/>
                  <a:pt x="5258" y="533"/>
                </a:cubicBezTo>
                <a:cubicBezTo>
                  <a:pt x="5267" y="521"/>
                  <a:pt x="5274" y="515"/>
                  <a:pt x="5280" y="515"/>
                </a:cubicBezTo>
                <a:cubicBezTo>
                  <a:pt x="5281" y="515"/>
                  <a:pt x="5283" y="516"/>
                  <a:pt x="5284" y="516"/>
                </a:cubicBezTo>
                <a:cubicBezTo>
                  <a:pt x="5287" y="517"/>
                  <a:pt x="5290" y="518"/>
                  <a:pt x="5295" y="519"/>
                </a:cubicBezTo>
                <a:cubicBezTo>
                  <a:pt x="5299" y="520"/>
                  <a:pt x="5301" y="522"/>
                  <a:pt x="5301" y="523"/>
                </a:cubicBezTo>
                <a:lnTo>
                  <a:pt x="5299" y="529"/>
                </a:lnTo>
                <a:cubicBezTo>
                  <a:pt x="5299" y="531"/>
                  <a:pt x="5300" y="533"/>
                  <a:pt x="5302" y="533"/>
                </a:cubicBezTo>
                <a:cubicBezTo>
                  <a:pt x="5304" y="534"/>
                  <a:pt x="5305" y="535"/>
                  <a:pt x="5305" y="537"/>
                </a:cubicBezTo>
                <a:lnTo>
                  <a:pt x="5305" y="541"/>
                </a:lnTo>
                <a:cubicBezTo>
                  <a:pt x="5304" y="541"/>
                  <a:pt x="5304" y="540"/>
                  <a:pt x="5304" y="538"/>
                </a:cubicBezTo>
                <a:cubicBezTo>
                  <a:pt x="5303" y="536"/>
                  <a:pt x="5302" y="535"/>
                  <a:pt x="5301" y="535"/>
                </a:cubicBezTo>
                <a:cubicBezTo>
                  <a:pt x="5300" y="535"/>
                  <a:pt x="5299" y="537"/>
                  <a:pt x="5298" y="541"/>
                </a:cubicBezTo>
                <a:cubicBezTo>
                  <a:pt x="5297" y="546"/>
                  <a:pt x="5296" y="548"/>
                  <a:pt x="5295" y="548"/>
                </a:cubicBezTo>
                <a:lnTo>
                  <a:pt x="5293" y="547"/>
                </a:lnTo>
                <a:cubicBezTo>
                  <a:pt x="5293" y="547"/>
                  <a:pt x="5292" y="547"/>
                  <a:pt x="5292" y="548"/>
                </a:cubicBezTo>
                <a:cubicBezTo>
                  <a:pt x="5291" y="548"/>
                  <a:pt x="5290" y="549"/>
                  <a:pt x="5290" y="550"/>
                </a:cubicBezTo>
                <a:cubicBezTo>
                  <a:pt x="5290" y="550"/>
                  <a:pt x="5290" y="551"/>
                  <a:pt x="5291" y="551"/>
                </a:cubicBezTo>
                <a:lnTo>
                  <a:pt x="5293" y="550"/>
                </a:lnTo>
                <a:cubicBezTo>
                  <a:pt x="5294" y="550"/>
                  <a:pt x="5294" y="550"/>
                  <a:pt x="5294" y="551"/>
                </a:cubicBezTo>
                <a:cubicBezTo>
                  <a:pt x="5294" y="553"/>
                  <a:pt x="5293" y="555"/>
                  <a:pt x="5292" y="558"/>
                </a:cubicBezTo>
                <a:lnTo>
                  <a:pt x="5290" y="560"/>
                </a:lnTo>
                <a:lnTo>
                  <a:pt x="5292" y="554"/>
                </a:lnTo>
                <a:lnTo>
                  <a:pt x="5291" y="553"/>
                </a:lnTo>
                <a:cubicBezTo>
                  <a:pt x="5291" y="553"/>
                  <a:pt x="5290" y="554"/>
                  <a:pt x="5289" y="556"/>
                </a:cubicBezTo>
                <a:cubicBezTo>
                  <a:pt x="5287" y="558"/>
                  <a:pt x="5285" y="560"/>
                  <a:pt x="5284" y="560"/>
                </a:cubicBezTo>
                <a:cubicBezTo>
                  <a:pt x="5281" y="560"/>
                  <a:pt x="5279" y="556"/>
                  <a:pt x="5279" y="550"/>
                </a:cubicBezTo>
                <a:lnTo>
                  <a:pt x="5279" y="544"/>
                </a:lnTo>
                <a:cubicBezTo>
                  <a:pt x="5279" y="542"/>
                  <a:pt x="5278" y="541"/>
                  <a:pt x="5277" y="541"/>
                </a:cubicBezTo>
                <a:cubicBezTo>
                  <a:pt x="5277" y="541"/>
                  <a:pt x="5277" y="541"/>
                  <a:pt x="5276" y="541"/>
                </a:cubicBezTo>
                <a:cubicBezTo>
                  <a:pt x="5276" y="542"/>
                  <a:pt x="5275" y="543"/>
                  <a:pt x="5275" y="544"/>
                </a:cubicBezTo>
                <a:lnTo>
                  <a:pt x="5275" y="548"/>
                </a:lnTo>
                <a:cubicBezTo>
                  <a:pt x="5275" y="549"/>
                  <a:pt x="5275" y="551"/>
                  <a:pt x="5274" y="553"/>
                </a:cubicBezTo>
                <a:cubicBezTo>
                  <a:pt x="5274" y="556"/>
                  <a:pt x="5273" y="557"/>
                  <a:pt x="5272" y="559"/>
                </a:cubicBezTo>
                <a:cubicBezTo>
                  <a:pt x="5270" y="560"/>
                  <a:pt x="5270" y="561"/>
                  <a:pt x="5269" y="561"/>
                </a:cubicBezTo>
                <a:cubicBezTo>
                  <a:pt x="5269" y="561"/>
                  <a:pt x="5268" y="561"/>
                  <a:pt x="5268" y="561"/>
                </a:cubicBezTo>
                <a:lnTo>
                  <a:pt x="5267" y="560"/>
                </a:lnTo>
                <a:lnTo>
                  <a:pt x="5267" y="562"/>
                </a:lnTo>
                <a:cubicBezTo>
                  <a:pt x="5267" y="564"/>
                  <a:pt x="5265" y="571"/>
                  <a:pt x="5260" y="583"/>
                </a:cubicBezTo>
                <a:cubicBezTo>
                  <a:pt x="5253" y="598"/>
                  <a:pt x="5250" y="607"/>
                  <a:pt x="5250" y="611"/>
                </a:cubicBezTo>
                <a:lnTo>
                  <a:pt x="5250" y="612"/>
                </a:lnTo>
                <a:cubicBezTo>
                  <a:pt x="5250" y="612"/>
                  <a:pt x="5250" y="611"/>
                  <a:pt x="5250" y="610"/>
                </a:cubicBezTo>
                <a:cubicBezTo>
                  <a:pt x="5251" y="610"/>
                  <a:pt x="5251" y="609"/>
                  <a:pt x="5252" y="609"/>
                </a:cubicBezTo>
                <a:lnTo>
                  <a:pt x="5254" y="610"/>
                </a:lnTo>
                <a:lnTo>
                  <a:pt x="5255" y="609"/>
                </a:lnTo>
                <a:cubicBezTo>
                  <a:pt x="5255" y="608"/>
                  <a:pt x="5254" y="608"/>
                  <a:pt x="5254" y="607"/>
                </a:cubicBezTo>
                <a:cubicBezTo>
                  <a:pt x="5254" y="606"/>
                  <a:pt x="5254" y="605"/>
                  <a:pt x="5254" y="604"/>
                </a:cubicBezTo>
                <a:cubicBezTo>
                  <a:pt x="5254" y="602"/>
                  <a:pt x="5254" y="600"/>
                  <a:pt x="5255" y="598"/>
                </a:cubicBezTo>
                <a:cubicBezTo>
                  <a:pt x="5256" y="597"/>
                  <a:pt x="5257" y="596"/>
                  <a:pt x="5259" y="596"/>
                </a:cubicBezTo>
                <a:cubicBezTo>
                  <a:pt x="5259" y="596"/>
                  <a:pt x="5260" y="596"/>
                  <a:pt x="5261" y="597"/>
                </a:cubicBezTo>
                <a:cubicBezTo>
                  <a:pt x="5262" y="597"/>
                  <a:pt x="5262" y="598"/>
                  <a:pt x="5263" y="599"/>
                </a:cubicBezTo>
                <a:cubicBezTo>
                  <a:pt x="5264" y="600"/>
                  <a:pt x="5264" y="601"/>
                  <a:pt x="5264" y="602"/>
                </a:cubicBezTo>
                <a:cubicBezTo>
                  <a:pt x="5264" y="603"/>
                  <a:pt x="5264" y="603"/>
                  <a:pt x="5264" y="603"/>
                </a:cubicBezTo>
                <a:cubicBezTo>
                  <a:pt x="5263" y="603"/>
                  <a:pt x="5262" y="602"/>
                  <a:pt x="5261" y="600"/>
                </a:cubicBezTo>
                <a:lnTo>
                  <a:pt x="5258" y="597"/>
                </a:lnTo>
                <a:lnTo>
                  <a:pt x="5258" y="597"/>
                </a:lnTo>
                <a:cubicBezTo>
                  <a:pt x="5258" y="598"/>
                  <a:pt x="5259" y="599"/>
                  <a:pt x="5259" y="602"/>
                </a:cubicBezTo>
                <a:cubicBezTo>
                  <a:pt x="5260" y="604"/>
                  <a:pt x="5261" y="605"/>
                  <a:pt x="5261" y="606"/>
                </a:cubicBezTo>
                <a:cubicBezTo>
                  <a:pt x="5261" y="607"/>
                  <a:pt x="5260" y="607"/>
                  <a:pt x="5260" y="607"/>
                </a:cubicBezTo>
                <a:lnTo>
                  <a:pt x="5258" y="606"/>
                </a:lnTo>
                <a:cubicBezTo>
                  <a:pt x="5258" y="606"/>
                  <a:pt x="5258" y="607"/>
                  <a:pt x="5258" y="607"/>
                </a:cubicBezTo>
                <a:lnTo>
                  <a:pt x="5259" y="614"/>
                </a:lnTo>
                <a:cubicBezTo>
                  <a:pt x="5259" y="614"/>
                  <a:pt x="5259" y="614"/>
                  <a:pt x="5259" y="614"/>
                </a:cubicBezTo>
                <a:lnTo>
                  <a:pt x="5256" y="613"/>
                </a:lnTo>
                <a:cubicBezTo>
                  <a:pt x="5256" y="613"/>
                  <a:pt x="5255" y="614"/>
                  <a:pt x="5255" y="614"/>
                </a:cubicBezTo>
                <a:cubicBezTo>
                  <a:pt x="5255" y="615"/>
                  <a:pt x="5256" y="616"/>
                  <a:pt x="5256" y="617"/>
                </a:cubicBezTo>
                <a:cubicBezTo>
                  <a:pt x="5256" y="618"/>
                  <a:pt x="5256" y="619"/>
                  <a:pt x="5256" y="620"/>
                </a:cubicBezTo>
                <a:cubicBezTo>
                  <a:pt x="5256" y="622"/>
                  <a:pt x="5256" y="623"/>
                  <a:pt x="5255" y="623"/>
                </a:cubicBezTo>
                <a:cubicBezTo>
                  <a:pt x="5254" y="624"/>
                  <a:pt x="5254" y="625"/>
                  <a:pt x="5254" y="625"/>
                </a:cubicBezTo>
                <a:lnTo>
                  <a:pt x="5255" y="628"/>
                </a:lnTo>
                <a:cubicBezTo>
                  <a:pt x="5255" y="628"/>
                  <a:pt x="5255" y="628"/>
                  <a:pt x="5255" y="628"/>
                </a:cubicBezTo>
                <a:lnTo>
                  <a:pt x="5252" y="627"/>
                </a:lnTo>
                <a:cubicBezTo>
                  <a:pt x="5251" y="627"/>
                  <a:pt x="5251" y="628"/>
                  <a:pt x="5251" y="629"/>
                </a:cubicBezTo>
                <a:lnTo>
                  <a:pt x="5251" y="634"/>
                </a:lnTo>
                <a:cubicBezTo>
                  <a:pt x="5251" y="636"/>
                  <a:pt x="5251" y="638"/>
                  <a:pt x="5250" y="639"/>
                </a:cubicBezTo>
                <a:cubicBezTo>
                  <a:pt x="5249" y="642"/>
                  <a:pt x="5248" y="648"/>
                  <a:pt x="5247" y="657"/>
                </a:cubicBezTo>
                <a:cubicBezTo>
                  <a:pt x="5246" y="666"/>
                  <a:pt x="5246" y="674"/>
                  <a:pt x="5246" y="683"/>
                </a:cubicBezTo>
                <a:cubicBezTo>
                  <a:pt x="5246" y="690"/>
                  <a:pt x="5246" y="696"/>
                  <a:pt x="5247" y="701"/>
                </a:cubicBezTo>
                <a:cubicBezTo>
                  <a:pt x="5249" y="711"/>
                  <a:pt x="5256" y="716"/>
                  <a:pt x="5268" y="716"/>
                </a:cubicBezTo>
                <a:cubicBezTo>
                  <a:pt x="5297" y="716"/>
                  <a:pt x="5357" y="689"/>
                  <a:pt x="5448" y="637"/>
                </a:cubicBezTo>
                <a:lnTo>
                  <a:pt x="5548" y="578"/>
                </a:lnTo>
                <a:cubicBezTo>
                  <a:pt x="5573" y="563"/>
                  <a:pt x="5587" y="555"/>
                  <a:pt x="5590" y="555"/>
                </a:cubicBezTo>
                <a:lnTo>
                  <a:pt x="5591" y="555"/>
                </a:lnTo>
                <a:cubicBezTo>
                  <a:pt x="5592" y="555"/>
                  <a:pt x="5592" y="555"/>
                  <a:pt x="5592" y="554"/>
                </a:cubicBezTo>
                <a:cubicBezTo>
                  <a:pt x="5592" y="553"/>
                  <a:pt x="5592" y="552"/>
                  <a:pt x="5593" y="551"/>
                </a:cubicBezTo>
                <a:cubicBezTo>
                  <a:pt x="5594" y="551"/>
                  <a:pt x="5594" y="551"/>
                  <a:pt x="5595" y="551"/>
                </a:cubicBezTo>
                <a:cubicBezTo>
                  <a:pt x="5597" y="551"/>
                  <a:pt x="5598" y="550"/>
                  <a:pt x="5598" y="549"/>
                </a:cubicBezTo>
                <a:cubicBezTo>
                  <a:pt x="5598" y="548"/>
                  <a:pt x="5599" y="547"/>
                  <a:pt x="5599" y="547"/>
                </a:cubicBezTo>
                <a:lnTo>
                  <a:pt x="5602" y="548"/>
                </a:lnTo>
                <a:cubicBezTo>
                  <a:pt x="5602" y="548"/>
                  <a:pt x="5603" y="547"/>
                  <a:pt x="5603" y="546"/>
                </a:cubicBezTo>
                <a:cubicBezTo>
                  <a:pt x="5603" y="545"/>
                  <a:pt x="5604" y="545"/>
                  <a:pt x="5606" y="545"/>
                </a:cubicBezTo>
                <a:lnTo>
                  <a:pt x="5607" y="545"/>
                </a:lnTo>
                <a:cubicBezTo>
                  <a:pt x="5609" y="545"/>
                  <a:pt x="5612" y="543"/>
                  <a:pt x="5615" y="540"/>
                </a:cubicBezTo>
                <a:lnTo>
                  <a:pt x="5616" y="539"/>
                </a:lnTo>
                <a:cubicBezTo>
                  <a:pt x="5617" y="539"/>
                  <a:pt x="5619" y="540"/>
                  <a:pt x="5621" y="542"/>
                </a:cubicBezTo>
                <a:cubicBezTo>
                  <a:pt x="5623" y="544"/>
                  <a:pt x="5625" y="546"/>
                  <a:pt x="5627" y="548"/>
                </a:cubicBezTo>
                <a:cubicBezTo>
                  <a:pt x="5628" y="550"/>
                  <a:pt x="5629" y="551"/>
                  <a:pt x="5629" y="552"/>
                </a:cubicBezTo>
                <a:cubicBezTo>
                  <a:pt x="5629" y="555"/>
                  <a:pt x="5623" y="560"/>
                  <a:pt x="5611" y="568"/>
                </a:cubicBezTo>
                <a:cubicBezTo>
                  <a:pt x="5608" y="570"/>
                  <a:pt x="5606" y="571"/>
                  <a:pt x="5605" y="571"/>
                </a:cubicBezTo>
                <a:cubicBezTo>
                  <a:pt x="5604" y="571"/>
                  <a:pt x="5604" y="571"/>
                  <a:pt x="5604" y="570"/>
                </a:cubicBezTo>
                <a:cubicBezTo>
                  <a:pt x="5604" y="569"/>
                  <a:pt x="5604" y="568"/>
                  <a:pt x="5605" y="568"/>
                </a:cubicBezTo>
                <a:lnTo>
                  <a:pt x="5606" y="568"/>
                </a:lnTo>
                <a:cubicBezTo>
                  <a:pt x="5607" y="568"/>
                  <a:pt x="5607" y="568"/>
                  <a:pt x="5607" y="567"/>
                </a:cubicBezTo>
                <a:cubicBezTo>
                  <a:pt x="5607" y="566"/>
                  <a:pt x="5608" y="566"/>
                  <a:pt x="5609" y="565"/>
                </a:cubicBezTo>
                <a:cubicBezTo>
                  <a:pt x="5611" y="564"/>
                  <a:pt x="5612" y="563"/>
                  <a:pt x="5614" y="562"/>
                </a:cubicBezTo>
                <a:cubicBezTo>
                  <a:pt x="5616" y="561"/>
                  <a:pt x="5618" y="561"/>
                  <a:pt x="5620" y="559"/>
                </a:cubicBezTo>
                <a:cubicBezTo>
                  <a:pt x="5621" y="558"/>
                  <a:pt x="5622" y="557"/>
                  <a:pt x="5622" y="556"/>
                </a:cubicBezTo>
                <a:cubicBezTo>
                  <a:pt x="5622" y="554"/>
                  <a:pt x="5622" y="553"/>
                  <a:pt x="5621" y="553"/>
                </a:cubicBezTo>
                <a:cubicBezTo>
                  <a:pt x="5620" y="553"/>
                  <a:pt x="5618" y="554"/>
                  <a:pt x="5616" y="557"/>
                </a:cubicBezTo>
                <a:cubicBezTo>
                  <a:pt x="5613" y="560"/>
                  <a:pt x="5611" y="561"/>
                  <a:pt x="5610" y="561"/>
                </a:cubicBezTo>
                <a:lnTo>
                  <a:pt x="5609" y="561"/>
                </a:lnTo>
                <a:cubicBezTo>
                  <a:pt x="5607" y="561"/>
                  <a:pt x="5606" y="562"/>
                  <a:pt x="5604" y="564"/>
                </a:cubicBezTo>
                <a:cubicBezTo>
                  <a:pt x="5602" y="566"/>
                  <a:pt x="5600" y="568"/>
                  <a:pt x="5597" y="569"/>
                </a:cubicBezTo>
                <a:cubicBezTo>
                  <a:pt x="5594" y="571"/>
                  <a:pt x="5591" y="571"/>
                  <a:pt x="5590" y="571"/>
                </a:cubicBezTo>
                <a:lnTo>
                  <a:pt x="5588" y="571"/>
                </a:lnTo>
                <a:cubicBezTo>
                  <a:pt x="5587" y="571"/>
                  <a:pt x="5587" y="571"/>
                  <a:pt x="5586" y="573"/>
                </a:cubicBezTo>
                <a:cubicBezTo>
                  <a:pt x="5585" y="574"/>
                  <a:pt x="5584" y="576"/>
                  <a:pt x="5584" y="578"/>
                </a:cubicBezTo>
                <a:cubicBezTo>
                  <a:pt x="5583" y="580"/>
                  <a:pt x="5582" y="581"/>
                  <a:pt x="5582" y="583"/>
                </a:cubicBezTo>
                <a:lnTo>
                  <a:pt x="5582" y="586"/>
                </a:lnTo>
                <a:lnTo>
                  <a:pt x="5582" y="585"/>
                </a:lnTo>
                <a:cubicBezTo>
                  <a:pt x="5580" y="582"/>
                  <a:pt x="5579" y="580"/>
                  <a:pt x="5577" y="580"/>
                </a:cubicBezTo>
                <a:cubicBezTo>
                  <a:pt x="5575" y="580"/>
                  <a:pt x="5574" y="581"/>
                  <a:pt x="5573" y="583"/>
                </a:cubicBezTo>
                <a:cubicBezTo>
                  <a:pt x="5572" y="585"/>
                  <a:pt x="5572" y="586"/>
                  <a:pt x="5572" y="588"/>
                </a:cubicBezTo>
                <a:lnTo>
                  <a:pt x="5572" y="588"/>
                </a:lnTo>
                <a:cubicBezTo>
                  <a:pt x="5572" y="589"/>
                  <a:pt x="5571" y="589"/>
                  <a:pt x="5571" y="589"/>
                </a:cubicBezTo>
                <a:lnTo>
                  <a:pt x="5568" y="588"/>
                </a:lnTo>
                <a:cubicBezTo>
                  <a:pt x="5566" y="588"/>
                  <a:pt x="5566" y="590"/>
                  <a:pt x="5566" y="593"/>
                </a:cubicBezTo>
                <a:cubicBezTo>
                  <a:pt x="5566" y="596"/>
                  <a:pt x="5565" y="598"/>
                  <a:pt x="5563" y="598"/>
                </a:cubicBezTo>
                <a:cubicBezTo>
                  <a:pt x="5561" y="599"/>
                  <a:pt x="5560" y="600"/>
                  <a:pt x="5560" y="601"/>
                </a:cubicBezTo>
                <a:lnTo>
                  <a:pt x="5562" y="603"/>
                </a:lnTo>
                <a:lnTo>
                  <a:pt x="5561" y="604"/>
                </a:lnTo>
                <a:lnTo>
                  <a:pt x="5560" y="603"/>
                </a:lnTo>
                <a:cubicBezTo>
                  <a:pt x="5560" y="603"/>
                  <a:pt x="5560" y="603"/>
                  <a:pt x="5559" y="603"/>
                </a:cubicBezTo>
                <a:cubicBezTo>
                  <a:pt x="5558" y="603"/>
                  <a:pt x="5557" y="603"/>
                  <a:pt x="5556" y="604"/>
                </a:cubicBezTo>
                <a:cubicBezTo>
                  <a:pt x="5555" y="605"/>
                  <a:pt x="5554" y="605"/>
                  <a:pt x="5553" y="605"/>
                </a:cubicBezTo>
                <a:cubicBezTo>
                  <a:pt x="5553" y="605"/>
                  <a:pt x="5553" y="605"/>
                  <a:pt x="5553" y="604"/>
                </a:cubicBezTo>
                <a:cubicBezTo>
                  <a:pt x="5553" y="603"/>
                  <a:pt x="5554" y="601"/>
                  <a:pt x="5555" y="601"/>
                </a:cubicBezTo>
                <a:cubicBezTo>
                  <a:pt x="5556" y="600"/>
                  <a:pt x="5557" y="600"/>
                  <a:pt x="5557" y="599"/>
                </a:cubicBezTo>
                <a:cubicBezTo>
                  <a:pt x="5557" y="598"/>
                  <a:pt x="5556" y="596"/>
                  <a:pt x="5556" y="595"/>
                </a:cubicBezTo>
                <a:cubicBezTo>
                  <a:pt x="5555" y="593"/>
                  <a:pt x="5555" y="593"/>
                  <a:pt x="5554" y="593"/>
                </a:cubicBezTo>
                <a:cubicBezTo>
                  <a:pt x="5554" y="593"/>
                  <a:pt x="5553" y="593"/>
                  <a:pt x="5552" y="595"/>
                </a:cubicBezTo>
                <a:cubicBezTo>
                  <a:pt x="5549" y="598"/>
                  <a:pt x="5540" y="603"/>
                  <a:pt x="5524" y="612"/>
                </a:cubicBezTo>
                <a:cubicBezTo>
                  <a:pt x="5508" y="620"/>
                  <a:pt x="5500" y="625"/>
                  <a:pt x="5500" y="627"/>
                </a:cubicBezTo>
                <a:cubicBezTo>
                  <a:pt x="5500" y="628"/>
                  <a:pt x="5499" y="628"/>
                  <a:pt x="5497" y="628"/>
                </a:cubicBezTo>
                <a:cubicBezTo>
                  <a:pt x="5495" y="628"/>
                  <a:pt x="5494" y="629"/>
                  <a:pt x="5494" y="630"/>
                </a:cubicBezTo>
                <a:lnTo>
                  <a:pt x="5494" y="635"/>
                </a:lnTo>
                <a:cubicBezTo>
                  <a:pt x="5494" y="635"/>
                  <a:pt x="5493" y="634"/>
                  <a:pt x="5492" y="634"/>
                </a:cubicBezTo>
                <a:cubicBezTo>
                  <a:pt x="5492" y="633"/>
                  <a:pt x="5490" y="632"/>
                  <a:pt x="5490" y="632"/>
                </a:cubicBezTo>
                <a:cubicBezTo>
                  <a:pt x="5488" y="632"/>
                  <a:pt x="5486" y="633"/>
                  <a:pt x="5483" y="634"/>
                </a:cubicBezTo>
                <a:cubicBezTo>
                  <a:pt x="5481" y="635"/>
                  <a:pt x="5479" y="636"/>
                  <a:pt x="5477" y="638"/>
                </a:cubicBezTo>
                <a:cubicBezTo>
                  <a:pt x="5475" y="639"/>
                  <a:pt x="5474" y="641"/>
                  <a:pt x="5474" y="642"/>
                </a:cubicBezTo>
                <a:lnTo>
                  <a:pt x="5474" y="643"/>
                </a:lnTo>
                <a:lnTo>
                  <a:pt x="5474" y="646"/>
                </a:lnTo>
                <a:cubicBezTo>
                  <a:pt x="5472" y="648"/>
                  <a:pt x="5470" y="650"/>
                  <a:pt x="5468" y="650"/>
                </a:cubicBezTo>
                <a:cubicBezTo>
                  <a:pt x="5467" y="650"/>
                  <a:pt x="5467" y="649"/>
                  <a:pt x="5467" y="649"/>
                </a:cubicBezTo>
                <a:cubicBezTo>
                  <a:pt x="5467" y="648"/>
                  <a:pt x="5467" y="647"/>
                  <a:pt x="5468" y="646"/>
                </a:cubicBezTo>
                <a:cubicBezTo>
                  <a:pt x="5470" y="644"/>
                  <a:pt x="5470" y="643"/>
                  <a:pt x="5470" y="643"/>
                </a:cubicBezTo>
                <a:lnTo>
                  <a:pt x="5470" y="643"/>
                </a:lnTo>
                <a:cubicBezTo>
                  <a:pt x="5469" y="643"/>
                  <a:pt x="5465" y="644"/>
                  <a:pt x="5460" y="648"/>
                </a:cubicBezTo>
                <a:cubicBezTo>
                  <a:pt x="5455" y="652"/>
                  <a:pt x="5452" y="654"/>
                  <a:pt x="5452" y="655"/>
                </a:cubicBezTo>
                <a:cubicBezTo>
                  <a:pt x="5452" y="657"/>
                  <a:pt x="5451" y="658"/>
                  <a:pt x="5451" y="659"/>
                </a:cubicBezTo>
                <a:cubicBezTo>
                  <a:pt x="5450" y="660"/>
                  <a:pt x="5448" y="661"/>
                  <a:pt x="5446" y="661"/>
                </a:cubicBezTo>
                <a:cubicBezTo>
                  <a:pt x="5446" y="661"/>
                  <a:pt x="5447" y="660"/>
                  <a:pt x="5448" y="659"/>
                </a:cubicBezTo>
                <a:cubicBezTo>
                  <a:pt x="5450" y="658"/>
                  <a:pt x="5450" y="657"/>
                  <a:pt x="5450" y="656"/>
                </a:cubicBezTo>
                <a:cubicBezTo>
                  <a:pt x="5450" y="655"/>
                  <a:pt x="5450" y="655"/>
                  <a:pt x="5450" y="655"/>
                </a:cubicBezTo>
                <a:cubicBezTo>
                  <a:pt x="5448" y="655"/>
                  <a:pt x="5446" y="655"/>
                  <a:pt x="5444" y="657"/>
                </a:cubicBezTo>
                <a:cubicBezTo>
                  <a:pt x="5442" y="658"/>
                  <a:pt x="5441" y="659"/>
                  <a:pt x="5441" y="660"/>
                </a:cubicBezTo>
                <a:cubicBezTo>
                  <a:pt x="5441" y="661"/>
                  <a:pt x="5441" y="661"/>
                  <a:pt x="5442" y="661"/>
                </a:cubicBezTo>
                <a:cubicBezTo>
                  <a:pt x="5443" y="661"/>
                  <a:pt x="5443" y="661"/>
                  <a:pt x="5443" y="662"/>
                </a:cubicBezTo>
                <a:lnTo>
                  <a:pt x="5443" y="665"/>
                </a:lnTo>
                <a:cubicBezTo>
                  <a:pt x="5443" y="666"/>
                  <a:pt x="5443" y="668"/>
                  <a:pt x="5445" y="669"/>
                </a:cubicBezTo>
                <a:cubicBezTo>
                  <a:pt x="5446" y="671"/>
                  <a:pt x="5447" y="672"/>
                  <a:pt x="5447" y="673"/>
                </a:cubicBezTo>
                <a:cubicBezTo>
                  <a:pt x="5447" y="674"/>
                  <a:pt x="5446" y="674"/>
                  <a:pt x="5444" y="674"/>
                </a:cubicBezTo>
                <a:cubicBezTo>
                  <a:pt x="5441" y="674"/>
                  <a:pt x="5436" y="677"/>
                  <a:pt x="5428" y="681"/>
                </a:cubicBezTo>
                <a:cubicBezTo>
                  <a:pt x="5420" y="686"/>
                  <a:pt x="5416" y="689"/>
                  <a:pt x="5416" y="690"/>
                </a:cubicBezTo>
                <a:cubicBezTo>
                  <a:pt x="5416" y="691"/>
                  <a:pt x="5415" y="692"/>
                  <a:pt x="5413" y="692"/>
                </a:cubicBezTo>
                <a:lnTo>
                  <a:pt x="5409" y="692"/>
                </a:lnTo>
                <a:cubicBezTo>
                  <a:pt x="5406" y="692"/>
                  <a:pt x="5405" y="692"/>
                  <a:pt x="5405" y="693"/>
                </a:cubicBezTo>
                <a:cubicBezTo>
                  <a:pt x="5405" y="694"/>
                  <a:pt x="5404" y="694"/>
                  <a:pt x="5404" y="694"/>
                </a:cubicBezTo>
                <a:lnTo>
                  <a:pt x="5401" y="693"/>
                </a:lnTo>
                <a:cubicBezTo>
                  <a:pt x="5401" y="693"/>
                  <a:pt x="5401" y="693"/>
                  <a:pt x="5401" y="694"/>
                </a:cubicBezTo>
                <a:cubicBezTo>
                  <a:pt x="5401" y="695"/>
                  <a:pt x="5401" y="696"/>
                  <a:pt x="5402" y="697"/>
                </a:cubicBezTo>
                <a:cubicBezTo>
                  <a:pt x="5402" y="699"/>
                  <a:pt x="5403" y="699"/>
                  <a:pt x="5403" y="700"/>
                </a:cubicBezTo>
                <a:cubicBezTo>
                  <a:pt x="5402" y="700"/>
                  <a:pt x="5401" y="698"/>
                  <a:pt x="5399" y="696"/>
                </a:cubicBezTo>
                <a:cubicBezTo>
                  <a:pt x="5398" y="694"/>
                  <a:pt x="5396" y="693"/>
                  <a:pt x="5396" y="693"/>
                </a:cubicBezTo>
                <a:cubicBezTo>
                  <a:pt x="5396" y="693"/>
                  <a:pt x="5395" y="693"/>
                  <a:pt x="5395" y="694"/>
                </a:cubicBezTo>
                <a:cubicBezTo>
                  <a:pt x="5395" y="694"/>
                  <a:pt x="5396" y="696"/>
                  <a:pt x="5396" y="697"/>
                </a:cubicBezTo>
                <a:cubicBezTo>
                  <a:pt x="5397" y="698"/>
                  <a:pt x="5397" y="700"/>
                  <a:pt x="5397" y="701"/>
                </a:cubicBezTo>
                <a:cubicBezTo>
                  <a:pt x="5397" y="703"/>
                  <a:pt x="5396" y="704"/>
                  <a:pt x="5394" y="704"/>
                </a:cubicBezTo>
                <a:cubicBezTo>
                  <a:pt x="5393" y="704"/>
                  <a:pt x="5393" y="704"/>
                  <a:pt x="5393" y="703"/>
                </a:cubicBezTo>
                <a:lnTo>
                  <a:pt x="5393" y="700"/>
                </a:lnTo>
                <a:cubicBezTo>
                  <a:pt x="5393" y="699"/>
                  <a:pt x="5393" y="698"/>
                  <a:pt x="5391" y="698"/>
                </a:cubicBezTo>
                <a:cubicBezTo>
                  <a:pt x="5389" y="698"/>
                  <a:pt x="5388" y="700"/>
                  <a:pt x="5388" y="703"/>
                </a:cubicBezTo>
                <a:cubicBezTo>
                  <a:pt x="5388" y="706"/>
                  <a:pt x="5386" y="709"/>
                  <a:pt x="5382" y="711"/>
                </a:cubicBezTo>
                <a:cubicBezTo>
                  <a:pt x="5379" y="714"/>
                  <a:pt x="5376" y="715"/>
                  <a:pt x="5373" y="715"/>
                </a:cubicBezTo>
                <a:cubicBezTo>
                  <a:pt x="5372" y="715"/>
                  <a:pt x="5371" y="714"/>
                  <a:pt x="5370" y="713"/>
                </a:cubicBezTo>
                <a:cubicBezTo>
                  <a:pt x="5369" y="713"/>
                  <a:pt x="5368" y="712"/>
                  <a:pt x="5368" y="712"/>
                </a:cubicBezTo>
                <a:cubicBezTo>
                  <a:pt x="5368" y="713"/>
                  <a:pt x="5368" y="714"/>
                  <a:pt x="5368" y="716"/>
                </a:cubicBezTo>
                <a:lnTo>
                  <a:pt x="5368" y="716"/>
                </a:lnTo>
                <a:cubicBezTo>
                  <a:pt x="5368" y="719"/>
                  <a:pt x="5361" y="723"/>
                  <a:pt x="5348" y="729"/>
                </a:cubicBezTo>
                <a:cubicBezTo>
                  <a:pt x="5323" y="741"/>
                  <a:pt x="5302" y="747"/>
                  <a:pt x="5286" y="747"/>
                </a:cubicBezTo>
                <a:close/>
                <a:moveTo>
                  <a:pt x="5245" y="627"/>
                </a:moveTo>
                <a:cubicBezTo>
                  <a:pt x="5245" y="627"/>
                  <a:pt x="5246" y="627"/>
                  <a:pt x="5246" y="626"/>
                </a:cubicBezTo>
                <a:cubicBezTo>
                  <a:pt x="5247" y="625"/>
                  <a:pt x="5247" y="624"/>
                  <a:pt x="5248" y="622"/>
                </a:cubicBezTo>
                <a:cubicBezTo>
                  <a:pt x="5249" y="621"/>
                  <a:pt x="5249" y="620"/>
                  <a:pt x="5249" y="618"/>
                </a:cubicBezTo>
                <a:cubicBezTo>
                  <a:pt x="5249" y="618"/>
                  <a:pt x="5249" y="618"/>
                  <a:pt x="5248" y="618"/>
                </a:cubicBezTo>
                <a:cubicBezTo>
                  <a:pt x="5248" y="618"/>
                  <a:pt x="5247" y="618"/>
                  <a:pt x="5247" y="619"/>
                </a:cubicBezTo>
                <a:cubicBezTo>
                  <a:pt x="5246" y="620"/>
                  <a:pt x="5245" y="622"/>
                  <a:pt x="5245" y="623"/>
                </a:cubicBezTo>
                <a:cubicBezTo>
                  <a:pt x="5245" y="624"/>
                  <a:pt x="5244" y="625"/>
                  <a:pt x="5244" y="626"/>
                </a:cubicBezTo>
                <a:cubicBezTo>
                  <a:pt x="5244" y="627"/>
                  <a:pt x="5245" y="627"/>
                  <a:pt x="5245" y="627"/>
                </a:cubicBezTo>
                <a:close/>
                <a:moveTo>
                  <a:pt x="5269" y="734"/>
                </a:moveTo>
                <a:cubicBezTo>
                  <a:pt x="5271" y="734"/>
                  <a:pt x="5272" y="734"/>
                  <a:pt x="5272" y="733"/>
                </a:cubicBezTo>
                <a:lnTo>
                  <a:pt x="5272" y="732"/>
                </a:lnTo>
                <a:lnTo>
                  <a:pt x="5270" y="732"/>
                </a:lnTo>
                <a:cubicBezTo>
                  <a:pt x="5268" y="732"/>
                  <a:pt x="5267" y="732"/>
                  <a:pt x="5267" y="734"/>
                </a:cubicBezTo>
                <a:cubicBezTo>
                  <a:pt x="5267" y="734"/>
                  <a:pt x="5268" y="734"/>
                  <a:pt x="5269" y="734"/>
                </a:cubicBezTo>
                <a:close/>
                <a:moveTo>
                  <a:pt x="5374" y="712"/>
                </a:moveTo>
                <a:cubicBezTo>
                  <a:pt x="5376" y="712"/>
                  <a:pt x="5378" y="711"/>
                  <a:pt x="5378" y="710"/>
                </a:cubicBezTo>
                <a:cubicBezTo>
                  <a:pt x="5378" y="710"/>
                  <a:pt x="5378" y="709"/>
                  <a:pt x="5377" y="708"/>
                </a:cubicBezTo>
                <a:cubicBezTo>
                  <a:pt x="5376" y="707"/>
                  <a:pt x="5375" y="707"/>
                  <a:pt x="5375" y="707"/>
                </a:cubicBezTo>
                <a:cubicBezTo>
                  <a:pt x="5374" y="707"/>
                  <a:pt x="5374" y="708"/>
                  <a:pt x="5373" y="709"/>
                </a:cubicBezTo>
                <a:cubicBezTo>
                  <a:pt x="5371" y="710"/>
                  <a:pt x="5371" y="711"/>
                  <a:pt x="5370" y="711"/>
                </a:cubicBezTo>
                <a:lnTo>
                  <a:pt x="5374" y="712"/>
                </a:lnTo>
                <a:close/>
                <a:moveTo>
                  <a:pt x="5290" y="735"/>
                </a:moveTo>
                <a:cubicBezTo>
                  <a:pt x="5291" y="735"/>
                  <a:pt x="5297" y="733"/>
                  <a:pt x="5307" y="730"/>
                </a:cubicBezTo>
                <a:cubicBezTo>
                  <a:pt x="5310" y="730"/>
                  <a:pt x="5318" y="727"/>
                  <a:pt x="5331" y="722"/>
                </a:cubicBezTo>
                <a:cubicBezTo>
                  <a:pt x="5343" y="717"/>
                  <a:pt x="5350" y="714"/>
                  <a:pt x="5351" y="713"/>
                </a:cubicBezTo>
                <a:cubicBezTo>
                  <a:pt x="5351" y="713"/>
                  <a:pt x="5353" y="712"/>
                  <a:pt x="5357" y="712"/>
                </a:cubicBezTo>
                <a:cubicBezTo>
                  <a:pt x="5361" y="711"/>
                  <a:pt x="5365" y="709"/>
                  <a:pt x="5369" y="706"/>
                </a:cubicBezTo>
                <a:cubicBezTo>
                  <a:pt x="5374" y="704"/>
                  <a:pt x="5377" y="702"/>
                  <a:pt x="5378" y="702"/>
                </a:cubicBezTo>
                <a:cubicBezTo>
                  <a:pt x="5378" y="702"/>
                  <a:pt x="5379" y="703"/>
                  <a:pt x="5379" y="703"/>
                </a:cubicBezTo>
                <a:lnTo>
                  <a:pt x="5378" y="706"/>
                </a:lnTo>
                <a:cubicBezTo>
                  <a:pt x="5378" y="707"/>
                  <a:pt x="5378" y="708"/>
                  <a:pt x="5380" y="708"/>
                </a:cubicBezTo>
                <a:cubicBezTo>
                  <a:pt x="5381" y="708"/>
                  <a:pt x="5382" y="707"/>
                  <a:pt x="5384" y="706"/>
                </a:cubicBezTo>
                <a:cubicBezTo>
                  <a:pt x="5385" y="705"/>
                  <a:pt x="5386" y="705"/>
                  <a:pt x="5386" y="704"/>
                </a:cubicBezTo>
                <a:cubicBezTo>
                  <a:pt x="5386" y="704"/>
                  <a:pt x="5385" y="703"/>
                  <a:pt x="5384" y="702"/>
                </a:cubicBezTo>
                <a:cubicBezTo>
                  <a:pt x="5382" y="701"/>
                  <a:pt x="5381" y="701"/>
                  <a:pt x="5381" y="700"/>
                </a:cubicBezTo>
                <a:lnTo>
                  <a:pt x="5381" y="699"/>
                </a:lnTo>
                <a:cubicBezTo>
                  <a:pt x="5385" y="697"/>
                  <a:pt x="5390" y="694"/>
                  <a:pt x="5395" y="692"/>
                </a:cubicBezTo>
                <a:lnTo>
                  <a:pt x="5399" y="691"/>
                </a:lnTo>
                <a:cubicBezTo>
                  <a:pt x="5402" y="691"/>
                  <a:pt x="5403" y="690"/>
                  <a:pt x="5403" y="688"/>
                </a:cubicBezTo>
                <a:cubicBezTo>
                  <a:pt x="5403" y="687"/>
                  <a:pt x="5403" y="686"/>
                  <a:pt x="5401" y="686"/>
                </a:cubicBezTo>
                <a:cubicBezTo>
                  <a:pt x="5400" y="686"/>
                  <a:pt x="5397" y="688"/>
                  <a:pt x="5393" y="690"/>
                </a:cubicBezTo>
                <a:lnTo>
                  <a:pt x="5391" y="691"/>
                </a:lnTo>
                <a:cubicBezTo>
                  <a:pt x="5390" y="691"/>
                  <a:pt x="5390" y="690"/>
                  <a:pt x="5390" y="690"/>
                </a:cubicBezTo>
                <a:lnTo>
                  <a:pt x="5391" y="688"/>
                </a:lnTo>
                <a:cubicBezTo>
                  <a:pt x="5391" y="687"/>
                  <a:pt x="5391" y="687"/>
                  <a:pt x="5391" y="687"/>
                </a:cubicBezTo>
                <a:cubicBezTo>
                  <a:pt x="5390" y="687"/>
                  <a:pt x="5390" y="687"/>
                  <a:pt x="5389" y="688"/>
                </a:cubicBezTo>
                <a:cubicBezTo>
                  <a:pt x="5388" y="688"/>
                  <a:pt x="5387" y="688"/>
                  <a:pt x="5387" y="689"/>
                </a:cubicBezTo>
                <a:cubicBezTo>
                  <a:pt x="5386" y="690"/>
                  <a:pt x="5386" y="690"/>
                  <a:pt x="5386" y="691"/>
                </a:cubicBezTo>
                <a:lnTo>
                  <a:pt x="5386" y="691"/>
                </a:lnTo>
                <a:cubicBezTo>
                  <a:pt x="5386" y="693"/>
                  <a:pt x="5384" y="694"/>
                  <a:pt x="5381" y="694"/>
                </a:cubicBezTo>
                <a:cubicBezTo>
                  <a:pt x="5376" y="695"/>
                  <a:pt x="5366" y="699"/>
                  <a:pt x="5350" y="707"/>
                </a:cubicBezTo>
                <a:cubicBezTo>
                  <a:pt x="5338" y="713"/>
                  <a:pt x="5330" y="718"/>
                  <a:pt x="5324" y="720"/>
                </a:cubicBezTo>
                <a:cubicBezTo>
                  <a:pt x="5319" y="722"/>
                  <a:pt x="5315" y="723"/>
                  <a:pt x="5311" y="724"/>
                </a:cubicBezTo>
                <a:cubicBezTo>
                  <a:pt x="5308" y="725"/>
                  <a:pt x="5306" y="725"/>
                  <a:pt x="5306" y="727"/>
                </a:cubicBezTo>
                <a:cubicBezTo>
                  <a:pt x="5305" y="728"/>
                  <a:pt x="5304" y="728"/>
                  <a:pt x="5302" y="728"/>
                </a:cubicBezTo>
                <a:cubicBezTo>
                  <a:pt x="5302" y="728"/>
                  <a:pt x="5301" y="728"/>
                  <a:pt x="5300" y="728"/>
                </a:cubicBezTo>
                <a:cubicBezTo>
                  <a:pt x="5299" y="728"/>
                  <a:pt x="5298" y="728"/>
                  <a:pt x="5298" y="728"/>
                </a:cubicBezTo>
                <a:cubicBezTo>
                  <a:pt x="5297" y="728"/>
                  <a:pt x="5297" y="728"/>
                  <a:pt x="5297" y="728"/>
                </a:cubicBezTo>
                <a:lnTo>
                  <a:pt x="5298" y="730"/>
                </a:lnTo>
                <a:cubicBezTo>
                  <a:pt x="5298" y="731"/>
                  <a:pt x="5297" y="732"/>
                  <a:pt x="5296" y="732"/>
                </a:cubicBezTo>
                <a:lnTo>
                  <a:pt x="5287" y="730"/>
                </a:lnTo>
                <a:lnTo>
                  <a:pt x="5287" y="730"/>
                </a:lnTo>
                <a:lnTo>
                  <a:pt x="5288" y="731"/>
                </a:lnTo>
                <a:cubicBezTo>
                  <a:pt x="5289" y="732"/>
                  <a:pt x="5289" y="732"/>
                  <a:pt x="5289" y="733"/>
                </a:cubicBezTo>
                <a:lnTo>
                  <a:pt x="5289" y="735"/>
                </a:lnTo>
                <a:lnTo>
                  <a:pt x="5290" y="735"/>
                </a:lnTo>
                <a:close/>
                <a:moveTo>
                  <a:pt x="5396" y="686"/>
                </a:moveTo>
                <a:cubicBezTo>
                  <a:pt x="5398" y="686"/>
                  <a:pt x="5399" y="685"/>
                  <a:pt x="5399" y="683"/>
                </a:cubicBezTo>
                <a:lnTo>
                  <a:pt x="5400" y="683"/>
                </a:lnTo>
                <a:cubicBezTo>
                  <a:pt x="5400" y="683"/>
                  <a:pt x="5400" y="683"/>
                  <a:pt x="5399" y="683"/>
                </a:cubicBezTo>
                <a:lnTo>
                  <a:pt x="5398" y="683"/>
                </a:lnTo>
                <a:cubicBezTo>
                  <a:pt x="5395" y="684"/>
                  <a:pt x="5394" y="685"/>
                  <a:pt x="5394" y="686"/>
                </a:cubicBezTo>
                <a:cubicBezTo>
                  <a:pt x="5394" y="686"/>
                  <a:pt x="5395" y="686"/>
                  <a:pt x="5396" y="686"/>
                </a:cubicBezTo>
                <a:close/>
                <a:moveTo>
                  <a:pt x="5276" y="727"/>
                </a:moveTo>
                <a:cubicBezTo>
                  <a:pt x="5280" y="727"/>
                  <a:pt x="5285" y="726"/>
                  <a:pt x="5290" y="725"/>
                </a:cubicBezTo>
                <a:cubicBezTo>
                  <a:pt x="5293" y="724"/>
                  <a:pt x="5295" y="724"/>
                  <a:pt x="5298" y="723"/>
                </a:cubicBezTo>
                <a:cubicBezTo>
                  <a:pt x="5300" y="722"/>
                  <a:pt x="5302" y="722"/>
                  <a:pt x="5302" y="722"/>
                </a:cubicBezTo>
                <a:cubicBezTo>
                  <a:pt x="5303" y="721"/>
                  <a:pt x="5304" y="721"/>
                  <a:pt x="5305" y="721"/>
                </a:cubicBezTo>
                <a:cubicBezTo>
                  <a:pt x="5306" y="720"/>
                  <a:pt x="5306" y="720"/>
                  <a:pt x="5307" y="719"/>
                </a:cubicBezTo>
                <a:cubicBezTo>
                  <a:pt x="5307" y="718"/>
                  <a:pt x="5309" y="718"/>
                  <a:pt x="5311" y="718"/>
                </a:cubicBezTo>
                <a:cubicBezTo>
                  <a:pt x="5313" y="718"/>
                  <a:pt x="5319" y="716"/>
                  <a:pt x="5328" y="712"/>
                </a:cubicBezTo>
                <a:cubicBezTo>
                  <a:pt x="5337" y="708"/>
                  <a:pt x="5346" y="705"/>
                  <a:pt x="5355" y="700"/>
                </a:cubicBezTo>
                <a:cubicBezTo>
                  <a:pt x="5361" y="697"/>
                  <a:pt x="5366" y="695"/>
                  <a:pt x="5370" y="694"/>
                </a:cubicBezTo>
                <a:cubicBezTo>
                  <a:pt x="5372" y="694"/>
                  <a:pt x="5373" y="693"/>
                  <a:pt x="5374" y="691"/>
                </a:cubicBezTo>
                <a:cubicBezTo>
                  <a:pt x="5375" y="690"/>
                  <a:pt x="5376" y="690"/>
                  <a:pt x="5376" y="690"/>
                </a:cubicBezTo>
                <a:lnTo>
                  <a:pt x="5378" y="690"/>
                </a:lnTo>
                <a:cubicBezTo>
                  <a:pt x="5378" y="690"/>
                  <a:pt x="5379" y="689"/>
                  <a:pt x="5379" y="688"/>
                </a:cubicBezTo>
                <a:cubicBezTo>
                  <a:pt x="5379" y="687"/>
                  <a:pt x="5380" y="687"/>
                  <a:pt x="5381" y="687"/>
                </a:cubicBezTo>
                <a:cubicBezTo>
                  <a:pt x="5383" y="687"/>
                  <a:pt x="5385" y="686"/>
                  <a:pt x="5386" y="686"/>
                </a:cubicBezTo>
                <a:cubicBezTo>
                  <a:pt x="5388" y="683"/>
                  <a:pt x="5391" y="682"/>
                  <a:pt x="5393" y="681"/>
                </a:cubicBezTo>
                <a:cubicBezTo>
                  <a:pt x="5395" y="681"/>
                  <a:pt x="5396" y="680"/>
                  <a:pt x="5397" y="679"/>
                </a:cubicBezTo>
                <a:cubicBezTo>
                  <a:pt x="5398" y="678"/>
                  <a:pt x="5399" y="678"/>
                  <a:pt x="5400" y="678"/>
                </a:cubicBezTo>
                <a:cubicBezTo>
                  <a:pt x="5404" y="677"/>
                  <a:pt x="5407" y="677"/>
                  <a:pt x="5407" y="676"/>
                </a:cubicBezTo>
                <a:lnTo>
                  <a:pt x="5406" y="674"/>
                </a:lnTo>
                <a:cubicBezTo>
                  <a:pt x="5406" y="674"/>
                  <a:pt x="5408" y="674"/>
                  <a:pt x="5410" y="674"/>
                </a:cubicBezTo>
                <a:cubicBezTo>
                  <a:pt x="5412" y="674"/>
                  <a:pt x="5413" y="674"/>
                  <a:pt x="5413" y="674"/>
                </a:cubicBezTo>
                <a:cubicBezTo>
                  <a:pt x="5413" y="674"/>
                  <a:pt x="5412" y="675"/>
                  <a:pt x="5410" y="676"/>
                </a:cubicBezTo>
                <a:cubicBezTo>
                  <a:pt x="5409" y="677"/>
                  <a:pt x="5408" y="678"/>
                  <a:pt x="5408" y="679"/>
                </a:cubicBezTo>
                <a:cubicBezTo>
                  <a:pt x="5408" y="679"/>
                  <a:pt x="5409" y="680"/>
                  <a:pt x="5410" y="680"/>
                </a:cubicBezTo>
                <a:lnTo>
                  <a:pt x="5411" y="681"/>
                </a:lnTo>
                <a:cubicBezTo>
                  <a:pt x="5411" y="681"/>
                  <a:pt x="5410" y="681"/>
                  <a:pt x="5410" y="681"/>
                </a:cubicBezTo>
                <a:lnTo>
                  <a:pt x="5404" y="680"/>
                </a:lnTo>
                <a:cubicBezTo>
                  <a:pt x="5404" y="680"/>
                  <a:pt x="5404" y="681"/>
                  <a:pt x="5405" y="681"/>
                </a:cubicBezTo>
                <a:cubicBezTo>
                  <a:pt x="5406" y="681"/>
                  <a:pt x="5406" y="682"/>
                  <a:pt x="5406" y="683"/>
                </a:cubicBezTo>
                <a:lnTo>
                  <a:pt x="5406" y="685"/>
                </a:lnTo>
                <a:cubicBezTo>
                  <a:pt x="5406" y="686"/>
                  <a:pt x="5406" y="687"/>
                  <a:pt x="5408" y="687"/>
                </a:cubicBezTo>
                <a:cubicBezTo>
                  <a:pt x="5409" y="687"/>
                  <a:pt x="5410" y="685"/>
                  <a:pt x="5413" y="681"/>
                </a:cubicBezTo>
                <a:cubicBezTo>
                  <a:pt x="5413" y="679"/>
                  <a:pt x="5415" y="678"/>
                  <a:pt x="5416" y="676"/>
                </a:cubicBezTo>
                <a:cubicBezTo>
                  <a:pt x="5417" y="675"/>
                  <a:pt x="5418" y="674"/>
                  <a:pt x="5419" y="674"/>
                </a:cubicBezTo>
                <a:cubicBezTo>
                  <a:pt x="5420" y="674"/>
                  <a:pt x="5420" y="675"/>
                  <a:pt x="5420" y="675"/>
                </a:cubicBezTo>
                <a:cubicBezTo>
                  <a:pt x="5420" y="675"/>
                  <a:pt x="5420" y="676"/>
                  <a:pt x="5419" y="676"/>
                </a:cubicBezTo>
                <a:cubicBezTo>
                  <a:pt x="5417" y="677"/>
                  <a:pt x="5417" y="678"/>
                  <a:pt x="5417" y="679"/>
                </a:cubicBezTo>
                <a:cubicBezTo>
                  <a:pt x="5417" y="680"/>
                  <a:pt x="5418" y="681"/>
                  <a:pt x="5419" y="681"/>
                </a:cubicBezTo>
                <a:cubicBezTo>
                  <a:pt x="5420" y="681"/>
                  <a:pt x="5421" y="680"/>
                  <a:pt x="5421" y="679"/>
                </a:cubicBezTo>
                <a:cubicBezTo>
                  <a:pt x="5421" y="679"/>
                  <a:pt x="5421" y="678"/>
                  <a:pt x="5421" y="676"/>
                </a:cubicBezTo>
                <a:lnTo>
                  <a:pt x="5421" y="673"/>
                </a:lnTo>
                <a:cubicBezTo>
                  <a:pt x="5421" y="672"/>
                  <a:pt x="5421" y="671"/>
                  <a:pt x="5420" y="669"/>
                </a:cubicBezTo>
                <a:cubicBezTo>
                  <a:pt x="5419" y="668"/>
                  <a:pt x="5419" y="666"/>
                  <a:pt x="5419" y="666"/>
                </a:cubicBezTo>
                <a:cubicBezTo>
                  <a:pt x="5419" y="666"/>
                  <a:pt x="5419" y="665"/>
                  <a:pt x="5419" y="665"/>
                </a:cubicBezTo>
                <a:lnTo>
                  <a:pt x="5423" y="666"/>
                </a:lnTo>
                <a:cubicBezTo>
                  <a:pt x="5425" y="666"/>
                  <a:pt x="5426" y="665"/>
                  <a:pt x="5426" y="664"/>
                </a:cubicBezTo>
                <a:lnTo>
                  <a:pt x="5426" y="663"/>
                </a:lnTo>
                <a:cubicBezTo>
                  <a:pt x="5426" y="662"/>
                  <a:pt x="5429" y="661"/>
                  <a:pt x="5435" y="661"/>
                </a:cubicBezTo>
                <a:cubicBezTo>
                  <a:pt x="5435" y="662"/>
                  <a:pt x="5433" y="664"/>
                  <a:pt x="5430" y="666"/>
                </a:cubicBezTo>
                <a:cubicBezTo>
                  <a:pt x="5426" y="668"/>
                  <a:pt x="5424" y="669"/>
                  <a:pt x="5424" y="670"/>
                </a:cubicBezTo>
                <a:lnTo>
                  <a:pt x="5424" y="670"/>
                </a:lnTo>
                <a:cubicBezTo>
                  <a:pt x="5426" y="670"/>
                  <a:pt x="5426" y="671"/>
                  <a:pt x="5426" y="672"/>
                </a:cubicBezTo>
                <a:lnTo>
                  <a:pt x="5426" y="673"/>
                </a:lnTo>
                <a:cubicBezTo>
                  <a:pt x="5426" y="674"/>
                  <a:pt x="5427" y="675"/>
                  <a:pt x="5429" y="676"/>
                </a:cubicBezTo>
                <a:lnTo>
                  <a:pt x="5431" y="676"/>
                </a:lnTo>
                <a:lnTo>
                  <a:pt x="5431" y="676"/>
                </a:lnTo>
                <a:lnTo>
                  <a:pt x="5429" y="675"/>
                </a:lnTo>
                <a:cubicBezTo>
                  <a:pt x="5428" y="674"/>
                  <a:pt x="5427" y="673"/>
                  <a:pt x="5427" y="673"/>
                </a:cubicBezTo>
                <a:cubicBezTo>
                  <a:pt x="5427" y="673"/>
                  <a:pt x="5427" y="672"/>
                  <a:pt x="5428" y="672"/>
                </a:cubicBezTo>
                <a:cubicBezTo>
                  <a:pt x="5429" y="672"/>
                  <a:pt x="5430" y="672"/>
                  <a:pt x="5430" y="671"/>
                </a:cubicBezTo>
                <a:cubicBezTo>
                  <a:pt x="5430" y="671"/>
                  <a:pt x="5431" y="670"/>
                  <a:pt x="5431" y="670"/>
                </a:cubicBezTo>
                <a:cubicBezTo>
                  <a:pt x="5431" y="668"/>
                  <a:pt x="5431" y="667"/>
                  <a:pt x="5433" y="666"/>
                </a:cubicBezTo>
                <a:cubicBezTo>
                  <a:pt x="5434" y="666"/>
                  <a:pt x="5435" y="666"/>
                  <a:pt x="5435" y="667"/>
                </a:cubicBezTo>
                <a:lnTo>
                  <a:pt x="5435" y="668"/>
                </a:lnTo>
                <a:cubicBezTo>
                  <a:pt x="5435" y="668"/>
                  <a:pt x="5435" y="668"/>
                  <a:pt x="5435" y="669"/>
                </a:cubicBezTo>
                <a:cubicBezTo>
                  <a:pt x="5436" y="669"/>
                  <a:pt x="5436" y="669"/>
                  <a:pt x="5436" y="669"/>
                </a:cubicBezTo>
                <a:cubicBezTo>
                  <a:pt x="5438" y="669"/>
                  <a:pt x="5438" y="665"/>
                  <a:pt x="5438" y="660"/>
                </a:cubicBezTo>
                <a:cubicBezTo>
                  <a:pt x="5438" y="656"/>
                  <a:pt x="5438" y="654"/>
                  <a:pt x="5437" y="653"/>
                </a:cubicBezTo>
                <a:cubicBezTo>
                  <a:pt x="5435" y="653"/>
                  <a:pt x="5422" y="659"/>
                  <a:pt x="5399" y="671"/>
                </a:cubicBezTo>
                <a:cubicBezTo>
                  <a:pt x="5354" y="694"/>
                  <a:pt x="5326" y="707"/>
                  <a:pt x="5314" y="710"/>
                </a:cubicBezTo>
                <a:lnTo>
                  <a:pt x="5298" y="714"/>
                </a:lnTo>
                <a:cubicBezTo>
                  <a:pt x="5290" y="717"/>
                  <a:pt x="5281" y="718"/>
                  <a:pt x="5269" y="718"/>
                </a:cubicBezTo>
                <a:cubicBezTo>
                  <a:pt x="5260" y="718"/>
                  <a:pt x="5255" y="718"/>
                  <a:pt x="5255" y="720"/>
                </a:cubicBezTo>
                <a:cubicBezTo>
                  <a:pt x="5255" y="721"/>
                  <a:pt x="5257" y="722"/>
                  <a:pt x="5262" y="724"/>
                </a:cubicBezTo>
                <a:cubicBezTo>
                  <a:pt x="5267" y="726"/>
                  <a:pt x="5271" y="727"/>
                  <a:pt x="5276" y="727"/>
                </a:cubicBezTo>
                <a:close/>
                <a:moveTo>
                  <a:pt x="5444" y="652"/>
                </a:moveTo>
                <a:cubicBezTo>
                  <a:pt x="5446" y="652"/>
                  <a:pt x="5446" y="651"/>
                  <a:pt x="5446" y="650"/>
                </a:cubicBezTo>
                <a:cubicBezTo>
                  <a:pt x="5446" y="649"/>
                  <a:pt x="5446" y="648"/>
                  <a:pt x="5446" y="648"/>
                </a:cubicBezTo>
                <a:lnTo>
                  <a:pt x="5444" y="647"/>
                </a:lnTo>
                <a:cubicBezTo>
                  <a:pt x="5443" y="647"/>
                  <a:pt x="5443" y="647"/>
                  <a:pt x="5442" y="648"/>
                </a:cubicBezTo>
                <a:cubicBezTo>
                  <a:pt x="5441" y="649"/>
                  <a:pt x="5440" y="649"/>
                  <a:pt x="5440" y="650"/>
                </a:cubicBezTo>
                <a:cubicBezTo>
                  <a:pt x="5440" y="650"/>
                  <a:pt x="5441" y="651"/>
                  <a:pt x="5442" y="652"/>
                </a:cubicBezTo>
                <a:lnTo>
                  <a:pt x="5444" y="652"/>
                </a:lnTo>
                <a:close/>
                <a:moveTo>
                  <a:pt x="5450" y="650"/>
                </a:moveTo>
                <a:cubicBezTo>
                  <a:pt x="5451" y="650"/>
                  <a:pt x="5452" y="650"/>
                  <a:pt x="5453" y="649"/>
                </a:cubicBezTo>
                <a:cubicBezTo>
                  <a:pt x="5455" y="648"/>
                  <a:pt x="5456" y="647"/>
                  <a:pt x="5456" y="645"/>
                </a:cubicBezTo>
                <a:lnTo>
                  <a:pt x="5456" y="644"/>
                </a:lnTo>
                <a:cubicBezTo>
                  <a:pt x="5455" y="643"/>
                  <a:pt x="5455" y="643"/>
                  <a:pt x="5453" y="643"/>
                </a:cubicBezTo>
                <a:cubicBezTo>
                  <a:pt x="5453" y="643"/>
                  <a:pt x="5452" y="643"/>
                  <a:pt x="5451" y="644"/>
                </a:cubicBezTo>
                <a:cubicBezTo>
                  <a:pt x="5450" y="645"/>
                  <a:pt x="5450" y="647"/>
                  <a:pt x="5450" y="649"/>
                </a:cubicBezTo>
                <a:cubicBezTo>
                  <a:pt x="5450" y="649"/>
                  <a:pt x="5450" y="650"/>
                  <a:pt x="5450" y="650"/>
                </a:cubicBezTo>
                <a:close/>
                <a:moveTo>
                  <a:pt x="5561" y="597"/>
                </a:moveTo>
                <a:cubicBezTo>
                  <a:pt x="5562" y="597"/>
                  <a:pt x="5563" y="595"/>
                  <a:pt x="5563" y="593"/>
                </a:cubicBezTo>
                <a:cubicBezTo>
                  <a:pt x="5563" y="592"/>
                  <a:pt x="5562" y="591"/>
                  <a:pt x="5562" y="591"/>
                </a:cubicBezTo>
                <a:lnTo>
                  <a:pt x="5560" y="592"/>
                </a:lnTo>
                <a:cubicBezTo>
                  <a:pt x="5560" y="592"/>
                  <a:pt x="5560" y="593"/>
                  <a:pt x="5560" y="595"/>
                </a:cubicBezTo>
                <a:cubicBezTo>
                  <a:pt x="5560" y="595"/>
                  <a:pt x="5560" y="595"/>
                  <a:pt x="5560" y="595"/>
                </a:cubicBezTo>
                <a:cubicBezTo>
                  <a:pt x="5560" y="596"/>
                  <a:pt x="5560" y="596"/>
                  <a:pt x="5561" y="597"/>
                </a:cubicBezTo>
                <a:close/>
                <a:moveTo>
                  <a:pt x="5270" y="576"/>
                </a:moveTo>
                <a:cubicBezTo>
                  <a:pt x="5270" y="576"/>
                  <a:pt x="5269" y="576"/>
                  <a:pt x="5269" y="575"/>
                </a:cubicBezTo>
                <a:cubicBezTo>
                  <a:pt x="5269" y="575"/>
                  <a:pt x="5270" y="574"/>
                  <a:pt x="5271" y="573"/>
                </a:cubicBezTo>
                <a:cubicBezTo>
                  <a:pt x="5272" y="572"/>
                  <a:pt x="5273" y="571"/>
                  <a:pt x="5274" y="570"/>
                </a:cubicBezTo>
                <a:cubicBezTo>
                  <a:pt x="5275" y="570"/>
                  <a:pt x="5276" y="569"/>
                  <a:pt x="5276" y="569"/>
                </a:cubicBezTo>
                <a:cubicBezTo>
                  <a:pt x="5276" y="569"/>
                  <a:pt x="5277" y="570"/>
                  <a:pt x="5277" y="570"/>
                </a:cubicBezTo>
                <a:cubicBezTo>
                  <a:pt x="5277" y="570"/>
                  <a:pt x="5276" y="571"/>
                  <a:pt x="5274" y="573"/>
                </a:cubicBezTo>
                <a:cubicBezTo>
                  <a:pt x="5273" y="575"/>
                  <a:pt x="5271" y="576"/>
                  <a:pt x="5270" y="576"/>
                </a:cubicBezTo>
                <a:close/>
                <a:moveTo>
                  <a:pt x="5593" y="578"/>
                </a:moveTo>
                <a:cubicBezTo>
                  <a:pt x="5593" y="578"/>
                  <a:pt x="5593" y="578"/>
                  <a:pt x="5593" y="578"/>
                </a:cubicBezTo>
                <a:cubicBezTo>
                  <a:pt x="5593" y="577"/>
                  <a:pt x="5594" y="576"/>
                  <a:pt x="5595" y="575"/>
                </a:cubicBezTo>
                <a:cubicBezTo>
                  <a:pt x="5597" y="573"/>
                  <a:pt x="5599" y="572"/>
                  <a:pt x="5599" y="572"/>
                </a:cubicBezTo>
                <a:cubicBezTo>
                  <a:pt x="5600" y="572"/>
                  <a:pt x="5600" y="573"/>
                  <a:pt x="5600" y="573"/>
                </a:cubicBezTo>
                <a:lnTo>
                  <a:pt x="5601" y="573"/>
                </a:lnTo>
                <a:cubicBezTo>
                  <a:pt x="5601" y="574"/>
                  <a:pt x="5600" y="575"/>
                  <a:pt x="5599" y="576"/>
                </a:cubicBezTo>
                <a:cubicBezTo>
                  <a:pt x="5599" y="576"/>
                  <a:pt x="5597" y="577"/>
                  <a:pt x="5596" y="578"/>
                </a:cubicBezTo>
                <a:cubicBezTo>
                  <a:pt x="5595" y="578"/>
                  <a:pt x="5594" y="578"/>
                  <a:pt x="5593" y="578"/>
                </a:cubicBezTo>
                <a:close/>
                <a:moveTo>
                  <a:pt x="5250" y="679"/>
                </a:moveTo>
                <a:cubicBezTo>
                  <a:pt x="5250" y="679"/>
                  <a:pt x="5249" y="678"/>
                  <a:pt x="5249" y="676"/>
                </a:cubicBezTo>
                <a:cubicBezTo>
                  <a:pt x="5249" y="674"/>
                  <a:pt x="5250" y="674"/>
                  <a:pt x="5250" y="674"/>
                </a:cubicBezTo>
                <a:cubicBezTo>
                  <a:pt x="5250" y="674"/>
                  <a:pt x="5251" y="674"/>
                  <a:pt x="5252" y="674"/>
                </a:cubicBezTo>
                <a:cubicBezTo>
                  <a:pt x="5252" y="674"/>
                  <a:pt x="5252" y="675"/>
                  <a:pt x="5252" y="676"/>
                </a:cubicBezTo>
                <a:cubicBezTo>
                  <a:pt x="5252" y="676"/>
                  <a:pt x="5252" y="677"/>
                  <a:pt x="5252" y="678"/>
                </a:cubicBezTo>
                <a:cubicBezTo>
                  <a:pt x="5251" y="679"/>
                  <a:pt x="5250" y="679"/>
                  <a:pt x="5250" y="679"/>
                </a:cubicBezTo>
                <a:close/>
                <a:moveTo>
                  <a:pt x="5458" y="656"/>
                </a:moveTo>
                <a:cubicBezTo>
                  <a:pt x="5457" y="656"/>
                  <a:pt x="5457" y="656"/>
                  <a:pt x="5457" y="654"/>
                </a:cubicBezTo>
                <a:cubicBezTo>
                  <a:pt x="5457" y="654"/>
                  <a:pt x="5458" y="653"/>
                  <a:pt x="5458" y="652"/>
                </a:cubicBezTo>
                <a:cubicBezTo>
                  <a:pt x="5459" y="652"/>
                  <a:pt x="5460" y="652"/>
                  <a:pt x="5461" y="651"/>
                </a:cubicBezTo>
                <a:cubicBezTo>
                  <a:pt x="5462" y="650"/>
                  <a:pt x="5463" y="650"/>
                  <a:pt x="5463" y="650"/>
                </a:cubicBezTo>
                <a:lnTo>
                  <a:pt x="5463" y="650"/>
                </a:lnTo>
                <a:lnTo>
                  <a:pt x="5462" y="653"/>
                </a:lnTo>
                <a:cubicBezTo>
                  <a:pt x="5460" y="655"/>
                  <a:pt x="5459" y="656"/>
                  <a:pt x="5458" y="656"/>
                </a:cubicBezTo>
                <a:close/>
                <a:moveTo>
                  <a:pt x="5508" y="633"/>
                </a:moveTo>
                <a:lnTo>
                  <a:pt x="5505" y="633"/>
                </a:lnTo>
                <a:cubicBezTo>
                  <a:pt x="5505" y="633"/>
                  <a:pt x="5506" y="632"/>
                  <a:pt x="5507" y="632"/>
                </a:cubicBezTo>
                <a:cubicBezTo>
                  <a:pt x="5510" y="631"/>
                  <a:pt x="5512" y="630"/>
                  <a:pt x="5514" y="627"/>
                </a:cubicBezTo>
                <a:cubicBezTo>
                  <a:pt x="5516" y="626"/>
                  <a:pt x="5518" y="625"/>
                  <a:pt x="5520" y="625"/>
                </a:cubicBezTo>
                <a:cubicBezTo>
                  <a:pt x="5521" y="625"/>
                  <a:pt x="5522" y="625"/>
                  <a:pt x="5522" y="626"/>
                </a:cubicBezTo>
                <a:lnTo>
                  <a:pt x="5519" y="626"/>
                </a:lnTo>
                <a:cubicBezTo>
                  <a:pt x="5517" y="626"/>
                  <a:pt x="5515" y="627"/>
                  <a:pt x="5513" y="630"/>
                </a:cubicBezTo>
                <a:cubicBezTo>
                  <a:pt x="5512" y="632"/>
                  <a:pt x="5510" y="633"/>
                  <a:pt x="5508" y="633"/>
                </a:cubicBezTo>
                <a:close/>
                <a:moveTo>
                  <a:pt x="5491" y="644"/>
                </a:moveTo>
                <a:cubicBezTo>
                  <a:pt x="5490" y="644"/>
                  <a:pt x="5490" y="643"/>
                  <a:pt x="5490" y="643"/>
                </a:cubicBezTo>
                <a:cubicBezTo>
                  <a:pt x="5490" y="642"/>
                  <a:pt x="5492" y="640"/>
                  <a:pt x="5497" y="638"/>
                </a:cubicBezTo>
                <a:cubicBezTo>
                  <a:pt x="5499" y="637"/>
                  <a:pt x="5501" y="637"/>
                  <a:pt x="5502" y="637"/>
                </a:cubicBezTo>
                <a:lnTo>
                  <a:pt x="5502" y="637"/>
                </a:lnTo>
                <a:cubicBezTo>
                  <a:pt x="5502" y="637"/>
                  <a:pt x="5502" y="638"/>
                  <a:pt x="5500" y="639"/>
                </a:cubicBezTo>
                <a:cubicBezTo>
                  <a:pt x="5499" y="640"/>
                  <a:pt x="5498" y="641"/>
                  <a:pt x="5496" y="642"/>
                </a:cubicBezTo>
                <a:cubicBezTo>
                  <a:pt x="5494" y="643"/>
                  <a:pt x="5492" y="644"/>
                  <a:pt x="5491" y="644"/>
                </a:cubicBezTo>
                <a:close/>
                <a:moveTo>
                  <a:pt x="5451" y="669"/>
                </a:moveTo>
                <a:cubicBezTo>
                  <a:pt x="5450" y="669"/>
                  <a:pt x="5449" y="669"/>
                  <a:pt x="5447" y="669"/>
                </a:cubicBezTo>
                <a:cubicBezTo>
                  <a:pt x="5446" y="669"/>
                  <a:pt x="5445" y="668"/>
                  <a:pt x="5445" y="667"/>
                </a:cubicBezTo>
                <a:cubicBezTo>
                  <a:pt x="5445" y="666"/>
                  <a:pt x="5446" y="665"/>
                  <a:pt x="5450" y="665"/>
                </a:cubicBezTo>
                <a:cubicBezTo>
                  <a:pt x="5452" y="665"/>
                  <a:pt x="5454" y="665"/>
                  <a:pt x="5454" y="664"/>
                </a:cubicBezTo>
                <a:lnTo>
                  <a:pt x="5453" y="662"/>
                </a:lnTo>
                <a:cubicBezTo>
                  <a:pt x="5453" y="661"/>
                  <a:pt x="5453" y="661"/>
                  <a:pt x="5454" y="661"/>
                </a:cubicBezTo>
                <a:lnTo>
                  <a:pt x="5454" y="661"/>
                </a:lnTo>
                <a:cubicBezTo>
                  <a:pt x="5456" y="661"/>
                  <a:pt x="5458" y="660"/>
                  <a:pt x="5462" y="659"/>
                </a:cubicBezTo>
                <a:cubicBezTo>
                  <a:pt x="5465" y="657"/>
                  <a:pt x="5469" y="655"/>
                  <a:pt x="5473" y="653"/>
                </a:cubicBezTo>
                <a:cubicBezTo>
                  <a:pt x="5476" y="651"/>
                  <a:pt x="5479" y="649"/>
                  <a:pt x="5481" y="647"/>
                </a:cubicBezTo>
                <a:cubicBezTo>
                  <a:pt x="5483" y="646"/>
                  <a:pt x="5485" y="645"/>
                  <a:pt x="5486" y="645"/>
                </a:cubicBezTo>
                <a:cubicBezTo>
                  <a:pt x="5487" y="645"/>
                  <a:pt x="5488" y="646"/>
                  <a:pt x="5488" y="647"/>
                </a:cubicBezTo>
                <a:cubicBezTo>
                  <a:pt x="5488" y="649"/>
                  <a:pt x="5487" y="649"/>
                  <a:pt x="5485" y="649"/>
                </a:cubicBezTo>
                <a:cubicBezTo>
                  <a:pt x="5483" y="649"/>
                  <a:pt x="5482" y="650"/>
                  <a:pt x="5482" y="651"/>
                </a:cubicBezTo>
                <a:lnTo>
                  <a:pt x="5483" y="653"/>
                </a:lnTo>
                <a:cubicBezTo>
                  <a:pt x="5483" y="654"/>
                  <a:pt x="5483" y="654"/>
                  <a:pt x="5482" y="654"/>
                </a:cubicBezTo>
                <a:lnTo>
                  <a:pt x="5481" y="653"/>
                </a:lnTo>
                <a:cubicBezTo>
                  <a:pt x="5479" y="653"/>
                  <a:pt x="5477" y="654"/>
                  <a:pt x="5476" y="656"/>
                </a:cubicBezTo>
                <a:cubicBezTo>
                  <a:pt x="5474" y="658"/>
                  <a:pt x="5473" y="659"/>
                  <a:pt x="5471" y="659"/>
                </a:cubicBezTo>
                <a:cubicBezTo>
                  <a:pt x="5470" y="659"/>
                  <a:pt x="5468" y="660"/>
                  <a:pt x="5465" y="661"/>
                </a:cubicBezTo>
                <a:cubicBezTo>
                  <a:pt x="5458" y="665"/>
                  <a:pt x="5455" y="667"/>
                  <a:pt x="5455" y="668"/>
                </a:cubicBezTo>
                <a:cubicBezTo>
                  <a:pt x="5455" y="669"/>
                  <a:pt x="5454" y="669"/>
                  <a:pt x="5451" y="669"/>
                </a:cubicBezTo>
                <a:close/>
                <a:moveTo>
                  <a:pt x="5445" y="667"/>
                </a:moveTo>
                <a:close/>
                <a:moveTo>
                  <a:pt x="5527" y="623"/>
                </a:moveTo>
                <a:cubicBezTo>
                  <a:pt x="5527" y="623"/>
                  <a:pt x="5527" y="623"/>
                  <a:pt x="5527" y="623"/>
                </a:cubicBezTo>
                <a:cubicBezTo>
                  <a:pt x="5527" y="622"/>
                  <a:pt x="5528" y="620"/>
                  <a:pt x="5529" y="618"/>
                </a:cubicBezTo>
                <a:cubicBezTo>
                  <a:pt x="5533" y="614"/>
                  <a:pt x="5535" y="611"/>
                  <a:pt x="5537" y="611"/>
                </a:cubicBezTo>
                <a:cubicBezTo>
                  <a:pt x="5538" y="611"/>
                  <a:pt x="5541" y="610"/>
                  <a:pt x="5544" y="608"/>
                </a:cubicBezTo>
                <a:cubicBezTo>
                  <a:pt x="5547" y="606"/>
                  <a:pt x="5549" y="605"/>
                  <a:pt x="5550" y="605"/>
                </a:cubicBezTo>
                <a:cubicBezTo>
                  <a:pt x="5550" y="605"/>
                  <a:pt x="5550" y="605"/>
                  <a:pt x="5550" y="606"/>
                </a:cubicBezTo>
                <a:cubicBezTo>
                  <a:pt x="5550" y="608"/>
                  <a:pt x="5550" y="610"/>
                  <a:pt x="5550" y="610"/>
                </a:cubicBezTo>
                <a:lnTo>
                  <a:pt x="5548" y="609"/>
                </a:lnTo>
                <a:cubicBezTo>
                  <a:pt x="5547" y="609"/>
                  <a:pt x="5544" y="610"/>
                  <a:pt x="5541" y="613"/>
                </a:cubicBezTo>
                <a:cubicBezTo>
                  <a:pt x="5538" y="616"/>
                  <a:pt x="5535" y="617"/>
                  <a:pt x="5534" y="617"/>
                </a:cubicBezTo>
                <a:cubicBezTo>
                  <a:pt x="5532" y="617"/>
                  <a:pt x="5530" y="619"/>
                  <a:pt x="5529" y="621"/>
                </a:cubicBezTo>
                <a:cubicBezTo>
                  <a:pt x="5528" y="623"/>
                  <a:pt x="5528" y="623"/>
                  <a:pt x="5527" y="623"/>
                </a:cubicBezTo>
                <a:close/>
                <a:moveTo>
                  <a:pt x="5362" y="362"/>
                </a:moveTo>
                <a:close/>
                <a:moveTo>
                  <a:pt x="5347" y="383"/>
                </a:moveTo>
                <a:cubicBezTo>
                  <a:pt x="5347" y="383"/>
                  <a:pt x="5346" y="383"/>
                  <a:pt x="5346" y="382"/>
                </a:cubicBezTo>
                <a:lnTo>
                  <a:pt x="5353" y="377"/>
                </a:lnTo>
                <a:cubicBezTo>
                  <a:pt x="5353" y="377"/>
                  <a:pt x="5352" y="378"/>
                  <a:pt x="5351" y="379"/>
                </a:cubicBezTo>
                <a:cubicBezTo>
                  <a:pt x="5349" y="382"/>
                  <a:pt x="5348" y="383"/>
                  <a:pt x="5347" y="383"/>
                </a:cubicBezTo>
                <a:close/>
                <a:moveTo>
                  <a:pt x="5336" y="394"/>
                </a:moveTo>
                <a:close/>
                <a:moveTo>
                  <a:pt x="5362" y="362"/>
                </a:moveTo>
                <a:cubicBezTo>
                  <a:pt x="5362" y="362"/>
                  <a:pt x="5362" y="362"/>
                  <a:pt x="5362" y="362"/>
                </a:cubicBezTo>
                <a:cubicBezTo>
                  <a:pt x="5362" y="361"/>
                  <a:pt x="5363" y="360"/>
                  <a:pt x="5365" y="358"/>
                </a:cubicBezTo>
                <a:lnTo>
                  <a:pt x="5368" y="356"/>
                </a:lnTo>
                <a:lnTo>
                  <a:pt x="5366" y="359"/>
                </a:lnTo>
                <a:cubicBezTo>
                  <a:pt x="5364" y="361"/>
                  <a:pt x="5363" y="362"/>
                  <a:pt x="5362" y="362"/>
                </a:cubicBezTo>
                <a:close/>
                <a:moveTo>
                  <a:pt x="5346" y="382"/>
                </a:moveTo>
                <a:close/>
                <a:moveTo>
                  <a:pt x="5311" y="458"/>
                </a:moveTo>
                <a:cubicBezTo>
                  <a:pt x="5309" y="458"/>
                  <a:pt x="5308" y="457"/>
                  <a:pt x="5308" y="455"/>
                </a:cubicBezTo>
                <a:lnTo>
                  <a:pt x="5308" y="455"/>
                </a:lnTo>
                <a:cubicBezTo>
                  <a:pt x="5308" y="453"/>
                  <a:pt x="5309" y="451"/>
                  <a:pt x="5310" y="451"/>
                </a:cubicBezTo>
                <a:cubicBezTo>
                  <a:pt x="5310" y="451"/>
                  <a:pt x="5310" y="452"/>
                  <a:pt x="5311" y="452"/>
                </a:cubicBezTo>
                <a:cubicBezTo>
                  <a:pt x="5312" y="453"/>
                  <a:pt x="5312" y="453"/>
                  <a:pt x="5313" y="453"/>
                </a:cubicBezTo>
                <a:cubicBezTo>
                  <a:pt x="5314" y="453"/>
                  <a:pt x="5315" y="453"/>
                  <a:pt x="5316" y="451"/>
                </a:cubicBezTo>
                <a:cubicBezTo>
                  <a:pt x="5317" y="451"/>
                  <a:pt x="5317" y="450"/>
                  <a:pt x="5318" y="450"/>
                </a:cubicBezTo>
                <a:lnTo>
                  <a:pt x="5317" y="453"/>
                </a:lnTo>
                <a:cubicBezTo>
                  <a:pt x="5316" y="456"/>
                  <a:pt x="5314" y="458"/>
                  <a:pt x="5311" y="458"/>
                </a:cubicBezTo>
                <a:close/>
                <a:moveTo>
                  <a:pt x="5336" y="394"/>
                </a:moveTo>
                <a:cubicBezTo>
                  <a:pt x="5336" y="394"/>
                  <a:pt x="5336" y="394"/>
                  <a:pt x="5336" y="394"/>
                </a:cubicBezTo>
                <a:cubicBezTo>
                  <a:pt x="5336" y="394"/>
                  <a:pt x="5336" y="393"/>
                  <a:pt x="5337" y="392"/>
                </a:cubicBezTo>
                <a:cubicBezTo>
                  <a:pt x="5338" y="391"/>
                  <a:pt x="5340" y="390"/>
                  <a:pt x="5342" y="389"/>
                </a:cubicBezTo>
                <a:cubicBezTo>
                  <a:pt x="5344" y="387"/>
                  <a:pt x="5345" y="387"/>
                  <a:pt x="5346" y="387"/>
                </a:cubicBezTo>
                <a:lnTo>
                  <a:pt x="5346" y="387"/>
                </a:lnTo>
                <a:cubicBezTo>
                  <a:pt x="5346" y="388"/>
                  <a:pt x="5345" y="389"/>
                  <a:pt x="5343" y="390"/>
                </a:cubicBezTo>
                <a:cubicBezTo>
                  <a:pt x="5339" y="393"/>
                  <a:pt x="5337" y="394"/>
                  <a:pt x="5336" y="394"/>
                </a:cubicBezTo>
                <a:close/>
                <a:moveTo>
                  <a:pt x="5296" y="482"/>
                </a:moveTo>
                <a:cubicBezTo>
                  <a:pt x="5296" y="482"/>
                  <a:pt x="5294" y="481"/>
                  <a:pt x="5292" y="479"/>
                </a:cubicBezTo>
                <a:cubicBezTo>
                  <a:pt x="5292" y="478"/>
                  <a:pt x="5290" y="474"/>
                  <a:pt x="5289" y="468"/>
                </a:cubicBezTo>
                <a:cubicBezTo>
                  <a:pt x="5288" y="463"/>
                  <a:pt x="5287" y="459"/>
                  <a:pt x="5285" y="457"/>
                </a:cubicBezTo>
                <a:lnTo>
                  <a:pt x="5284" y="455"/>
                </a:lnTo>
                <a:lnTo>
                  <a:pt x="5287" y="457"/>
                </a:lnTo>
                <a:cubicBezTo>
                  <a:pt x="5287" y="457"/>
                  <a:pt x="5287" y="456"/>
                  <a:pt x="5287" y="456"/>
                </a:cubicBezTo>
                <a:lnTo>
                  <a:pt x="5287" y="453"/>
                </a:lnTo>
                <a:cubicBezTo>
                  <a:pt x="5287" y="453"/>
                  <a:pt x="5287" y="452"/>
                  <a:pt x="5288" y="452"/>
                </a:cubicBezTo>
                <a:cubicBezTo>
                  <a:pt x="5289" y="452"/>
                  <a:pt x="5290" y="451"/>
                  <a:pt x="5290" y="449"/>
                </a:cubicBezTo>
                <a:cubicBezTo>
                  <a:pt x="5290" y="447"/>
                  <a:pt x="5292" y="442"/>
                  <a:pt x="5295" y="434"/>
                </a:cubicBezTo>
                <a:cubicBezTo>
                  <a:pt x="5298" y="428"/>
                  <a:pt x="5299" y="424"/>
                  <a:pt x="5299" y="423"/>
                </a:cubicBezTo>
                <a:cubicBezTo>
                  <a:pt x="5299" y="422"/>
                  <a:pt x="5299" y="422"/>
                  <a:pt x="5299" y="422"/>
                </a:cubicBezTo>
                <a:cubicBezTo>
                  <a:pt x="5298" y="422"/>
                  <a:pt x="5297" y="424"/>
                  <a:pt x="5295" y="427"/>
                </a:cubicBezTo>
                <a:cubicBezTo>
                  <a:pt x="5293" y="431"/>
                  <a:pt x="5292" y="434"/>
                  <a:pt x="5290" y="438"/>
                </a:cubicBezTo>
                <a:cubicBezTo>
                  <a:pt x="5289" y="442"/>
                  <a:pt x="5288" y="444"/>
                  <a:pt x="5288" y="445"/>
                </a:cubicBezTo>
                <a:cubicBezTo>
                  <a:pt x="5288" y="446"/>
                  <a:pt x="5287" y="448"/>
                  <a:pt x="5286" y="450"/>
                </a:cubicBezTo>
                <a:cubicBezTo>
                  <a:pt x="5285" y="452"/>
                  <a:pt x="5283" y="453"/>
                  <a:pt x="5282" y="455"/>
                </a:cubicBezTo>
                <a:cubicBezTo>
                  <a:pt x="5280" y="456"/>
                  <a:pt x="5279" y="457"/>
                  <a:pt x="5278" y="457"/>
                </a:cubicBezTo>
                <a:cubicBezTo>
                  <a:pt x="5277" y="457"/>
                  <a:pt x="5277" y="456"/>
                  <a:pt x="5277" y="453"/>
                </a:cubicBezTo>
                <a:cubicBezTo>
                  <a:pt x="5277" y="441"/>
                  <a:pt x="5285" y="421"/>
                  <a:pt x="5302" y="394"/>
                </a:cubicBezTo>
                <a:cubicBezTo>
                  <a:pt x="5320" y="366"/>
                  <a:pt x="5331" y="349"/>
                  <a:pt x="5338" y="342"/>
                </a:cubicBezTo>
                <a:cubicBezTo>
                  <a:pt x="5338" y="341"/>
                  <a:pt x="5341" y="338"/>
                  <a:pt x="5345" y="333"/>
                </a:cubicBezTo>
                <a:cubicBezTo>
                  <a:pt x="5352" y="322"/>
                  <a:pt x="5357" y="317"/>
                  <a:pt x="5360" y="317"/>
                </a:cubicBezTo>
                <a:cubicBezTo>
                  <a:pt x="5363" y="317"/>
                  <a:pt x="5365" y="319"/>
                  <a:pt x="5365" y="322"/>
                </a:cubicBezTo>
                <a:cubicBezTo>
                  <a:pt x="5365" y="324"/>
                  <a:pt x="5364" y="326"/>
                  <a:pt x="5363" y="329"/>
                </a:cubicBezTo>
                <a:cubicBezTo>
                  <a:pt x="5361" y="332"/>
                  <a:pt x="5361" y="333"/>
                  <a:pt x="5361" y="334"/>
                </a:cubicBezTo>
                <a:cubicBezTo>
                  <a:pt x="5361" y="335"/>
                  <a:pt x="5361" y="335"/>
                  <a:pt x="5363" y="335"/>
                </a:cubicBezTo>
                <a:cubicBezTo>
                  <a:pt x="5364" y="335"/>
                  <a:pt x="5365" y="337"/>
                  <a:pt x="5365" y="341"/>
                </a:cubicBezTo>
                <a:cubicBezTo>
                  <a:pt x="5365" y="348"/>
                  <a:pt x="5364" y="352"/>
                  <a:pt x="5361" y="355"/>
                </a:cubicBezTo>
                <a:cubicBezTo>
                  <a:pt x="5355" y="360"/>
                  <a:pt x="5347" y="372"/>
                  <a:pt x="5337" y="390"/>
                </a:cubicBezTo>
                <a:cubicBezTo>
                  <a:pt x="5333" y="397"/>
                  <a:pt x="5331" y="401"/>
                  <a:pt x="5331" y="403"/>
                </a:cubicBezTo>
                <a:lnTo>
                  <a:pt x="5331" y="404"/>
                </a:lnTo>
                <a:cubicBezTo>
                  <a:pt x="5331" y="405"/>
                  <a:pt x="5331" y="406"/>
                  <a:pt x="5331" y="406"/>
                </a:cubicBezTo>
                <a:lnTo>
                  <a:pt x="5329" y="405"/>
                </a:lnTo>
                <a:cubicBezTo>
                  <a:pt x="5328" y="405"/>
                  <a:pt x="5326" y="406"/>
                  <a:pt x="5324" y="408"/>
                </a:cubicBezTo>
                <a:lnTo>
                  <a:pt x="5323" y="411"/>
                </a:lnTo>
                <a:cubicBezTo>
                  <a:pt x="5324" y="411"/>
                  <a:pt x="5324" y="411"/>
                  <a:pt x="5326" y="410"/>
                </a:cubicBezTo>
                <a:lnTo>
                  <a:pt x="5329" y="409"/>
                </a:lnTo>
                <a:cubicBezTo>
                  <a:pt x="5329" y="410"/>
                  <a:pt x="5328" y="411"/>
                  <a:pt x="5327" y="411"/>
                </a:cubicBezTo>
                <a:cubicBezTo>
                  <a:pt x="5325" y="413"/>
                  <a:pt x="5324" y="415"/>
                  <a:pt x="5323" y="419"/>
                </a:cubicBezTo>
                <a:cubicBezTo>
                  <a:pt x="5322" y="422"/>
                  <a:pt x="5320" y="426"/>
                  <a:pt x="5317" y="429"/>
                </a:cubicBezTo>
                <a:cubicBezTo>
                  <a:pt x="5306" y="447"/>
                  <a:pt x="5301" y="456"/>
                  <a:pt x="5301" y="458"/>
                </a:cubicBezTo>
                <a:cubicBezTo>
                  <a:pt x="5301" y="458"/>
                  <a:pt x="5301" y="459"/>
                  <a:pt x="5301" y="459"/>
                </a:cubicBezTo>
                <a:lnTo>
                  <a:pt x="5303" y="458"/>
                </a:lnTo>
                <a:cubicBezTo>
                  <a:pt x="5304" y="458"/>
                  <a:pt x="5305" y="459"/>
                  <a:pt x="5307" y="460"/>
                </a:cubicBezTo>
                <a:cubicBezTo>
                  <a:pt x="5307" y="461"/>
                  <a:pt x="5308" y="462"/>
                  <a:pt x="5308" y="463"/>
                </a:cubicBezTo>
                <a:cubicBezTo>
                  <a:pt x="5308" y="464"/>
                  <a:pt x="5308" y="464"/>
                  <a:pt x="5307" y="465"/>
                </a:cubicBezTo>
                <a:cubicBezTo>
                  <a:pt x="5307" y="465"/>
                  <a:pt x="5307" y="465"/>
                  <a:pt x="5306" y="465"/>
                </a:cubicBezTo>
                <a:cubicBezTo>
                  <a:pt x="5306" y="465"/>
                  <a:pt x="5305" y="465"/>
                  <a:pt x="5305" y="464"/>
                </a:cubicBezTo>
                <a:cubicBezTo>
                  <a:pt x="5305" y="463"/>
                  <a:pt x="5304" y="462"/>
                  <a:pt x="5302" y="462"/>
                </a:cubicBezTo>
                <a:cubicBezTo>
                  <a:pt x="5301" y="462"/>
                  <a:pt x="5300" y="463"/>
                  <a:pt x="5300" y="463"/>
                </a:cubicBezTo>
                <a:cubicBezTo>
                  <a:pt x="5300" y="463"/>
                  <a:pt x="5300" y="464"/>
                  <a:pt x="5301" y="464"/>
                </a:cubicBezTo>
                <a:cubicBezTo>
                  <a:pt x="5301" y="465"/>
                  <a:pt x="5301" y="466"/>
                  <a:pt x="5301" y="467"/>
                </a:cubicBezTo>
                <a:cubicBezTo>
                  <a:pt x="5301" y="469"/>
                  <a:pt x="5301" y="471"/>
                  <a:pt x="5301" y="473"/>
                </a:cubicBezTo>
                <a:cubicBezTo>
                  <a:pt x="5300" y="476"/>
                  <a:pt x="5299" y="478"/>
                  <a:pt x="5298" y="479"/>
                </a:cubicBezTo>
                <a:cubicBezTo>
                  <a:pt x="5297" y="481"/>
                  <a:pt x="5297" y="482"/>
                  <a:pt x="5296" y="482"/>
                </a:cubicBezTo>
                <a:close/>
                <a:moveTo>
                  <a:pt x="5344" y="353"/>
                </a:moveTo>
                <a:cubicBezTo>
                  <a:pt x="5345" y="353"/>
                  <a:pt x="5347" y="352"/>
                  <a:pt x="5349" y="349"/>
                </a:cubicBezTo>
                <a:cubicBezTo>
                  <a:pt x="5352" y="346"/>
                  <a:pt x="5353" y="345"/>
                  <a:pt x="5353" y="344"/>
                </a:cubicBezTo>
                <a:cubicBezTo>
                  <a:pt x="5352" y="344"/>
                  <a:pt x="5350" y="346"/>
                  <a:pt x="5347" y="349"/>
                </a:cubicBezTo>
                <a:cubicBezTo>
                  <a:pt x="5346" y="352"/>
                  <a:pt x="5344" y="353"/>
                  <a:pt x="5344" y="353"/>
                </a:cubicBezTo>
                <a:close/>
                <a:moveTo>
                  <a:pt x="5336" y="365"/>
                </a:moveTo>
                <a:cubicBezTo>
                  <a:pt x="5337" y="365"/>
                  <a:pt x="5338" y="364"/>
                  <a:pt x="5341" y="361"/>
                </a:cubicBezTo>
                <a:cubicBezTo>
                  <a:pt x="5343" y="358"/>
                  <a:pt x="5344" y="356"/>
                  <a:pt x="5344" y="356"/>
                </a:cubicBezTo>
                <a:cubicBezTo>
                  <a:pt x="5343" y="356"/>
                  <a:pt x="5342" y="357"/>
                  <a:pt x="5339" y="360"/>
                </a:cubicBezTo>
                <a:cubicBezTo>
                  <a:pt x="5337" y="363"/>
                  <a:pt x="5336" y="365"/>
                  <a:pt x="5336" y="365"/>
                </a:cubicBezTo>
                <a:close/>
                <a:moveTo>
                  <a:pt x="5308" y="408"/>
                </a:moveTo>
                <a:cubicBezTo>
                  <a:pt x="5309" y="408"/>
                  <a:pt x="5314" y="401"/>
                  <a:pt x="5324" y="386"/>
                </a:cubicBezTo>
                <a:cubicBezTo>
                  <a:pt x="5331" y="375"/>
                  <a:pt x="5334" y="368"/>
                  <a:pt x="5334" y="368"/>
                </a:cubicBezTo>
                <a:cubicBezTo>
                  <a:pt x="5334" y="368"/>
                  <a:pt x="5331" y="372"/>
                  <a:pt x="5326" y="379"/>
                </a:cubicBezTo>
                <a:cubicBezTo>
                  <a:pt x="5321" y="387"/>
                  <a:pt x="5317" y="392"/>
                  <a:pt x="5315" y="392"/>
                </a:cubicBezTo>
                <a:cubicBezTo>
                  <a:pt x="5315" y="392"/>
                  <a:pt x="5315" y="393"/>
                  <a:pt x="5314" y="394"/>
                </a:cubicBezTo>
                <a:cubicBezTo>
                  <a:pt x="5314" y="394"/>
                  <a:pt x="5314" y="395"/>
                  <a:pt x="5314" y="396"/>
                </a:cubicBezTo>
                <a:cubicBezTo>
                  <a:pt x="5314" y="397"/>
                  <a:pt x="5314" y="398"/>
                  <a:pt x="5313" y="398"/>
                </a:cubicBezTo>
                <a:cubicBezTo>
                  <a:pt x="5312" y="399"/>
                  <a:pt x="5311" y="399"/>
                  <a:pt x="5310" y="399"/>
                </a:cubicBezTo>
                <a:cubicBezTo>
                  <a:pt x="5309" y="399"/>
                  <a:pt x="5308" y="401"/>
                  <a:pt x="5308" y="404"/>
                </a:cubicBezTo>
                <a:lnTo>
                  <a:pt x="5308" y="408"/>
                </a:lnTo>
                <a:close/>
                <a:moveTo>
                  <a:pt x="5301" y="420"/>
                </a:moveTo>
                <a:cubicBezTo>
                  <a:pt x="5302" y="420"/>
                  <a:pt x="5304" y="419"/>
                  <a:pt x="5305" y="416"/>
                </a:cubicBezTo>
                <a:cubicBezTo>
                  <a:pt x="5306" y="414"/>
                  <a:pt x="5306" y="413"/>
                  <a:pt x="5306" y="412"/>
                </a:cubicBezTo>
                <a:cubicBezTo>
                  <a:pt x="5306" y="411"/>
                  <a:pt x="5306" y="411"/>
                  <a:pt x="5306" y="411"/>
                </a:cubicBezTo>
                <a:cubicBezTo>
                  <a:pt x="5304" y="411"/>
                  <a:pt x="5303" y="413"/>
                  <a:pt x="5301" y="416"/>
                </a:cubicBezTo>
                <a:cubicBezTo>
                  <a:pt x="5301" y="417"/>
                  <a:pt x="5300" y="419"/>
                  <a:pt x="5300" y="419"/>
                </a:cubicBezTo>
                <a:cubicBezTo>
                  <a:pt x="5300" y="420"/>
                  <a:pt x="5300" y="420"/>
                  <a:pt x="5301" y="420"/>
                </a:cubicBezTo>
                <a:close/>
                <a:moveTo>
                  <a:pt x="5313" y="449"/>
                </a:moveTo>
                <a:cubicBezTo>
                  <a:pt x="5313" y="449"/>
                  <a:pt x="5312" y="449"/>
                  <a:pt x="5312" y="448"/>
                </a:cubicBezTo>
                <a:lnTo>
                  <a:pt x="5312" y="447"/>
                </a:lnTo>
                <a:cubicBezTo>
                  <a:pt x="5313" y="446"/>
                  <a:pt x="5314" y="445"/>
                  <a:pt x="5315" y="445"/>
                </a:cubicBezTo>
                <a:lnTo>
                  <a:pt x="5316" y="445"/>
                </a:lnTo>
                <a:cubicBezTo>
                  <a:pt x="5317" y="445"/>
                  <a:pt x="5317" y="445"/>
                  <a:pt x="5317" y="444"/>
                </a:cubicBezTo>
                <a:lnTo>
                  <a:pt x="5317" y="441"/>
                </a:lnTo>
                <a:cubicBezTo>
                  <a:pt x="5317" y="439"/>
                  <a:pt x="5317" y="438"/>
                  <a:pt x="5319" y="436"/>
                </a:cubicBezTo>
                <a:cubicBezTo>
                  <a:pt x="5320" y="434"/>
                  <a:pt x="5321" y="433"/>
                  <a:pt x="5322" y="433"/>
                </a:cubicBezTo>
                <a:lnTo>
                  <a:pt x="5324" y="433"/>
                </a:lnTo>
                <a:cubicBezTo>
                  <a:pt x="5324" y="433"/>
                  <a:pt x="5324" y="433"/>
                  <a:pt x="5324" y="433"/>
                </a:cubicBezTo>
                <a:lnTo>
                  <a:pt x="5324" y="430"/>
                </a:lnTo>
                <a:cubicBezTo>
                  <a:pt x="5324" y="429"/>
                  <a:pt x="5324" y="427"/>
                  <a:pt x="5325" y="425"/>
                </a:cubicBezTo>
                <a:cubicBezTo>
                  <a:pt x="5326" y="424"/>
                  <a:pt x="5326" y="422"/>
                  <a:pt x="5327" y="421"/>
                </a:cubicBezTo>
                <a:cubicBezTo>
                  <a:pt x="5329" y="419"/>
                  <a:pt x="5330" y="419"/>
                  <a:pt x="5331" y="419"/>
                </a:cubicBezTo>
                <a:lnTo>
                  <a:pt x="5332" y="419"/>
                </a:lnTo>
                <a:cubicBezTo>
                  <a:pt x="5333" y="419"/>
                  <a:pt x="5334" y="419"/>
                  <a:pt x="5335" y="418"/>
                </a:cubicBezTo>
                <a:cubicBezTo>
                  <a:pt x="5335" y="417"/>
                  <a:pt x="5336" y="416"/>
                  <a:pt x="5336" y="416"/>
                </a:cubicBezTo>
                <a:lnTo>
                  <a:pt x="5332" y="417"/>
                </a:lnTo>
                <a:cubicBezTo>
                  <a:pt x="5332" y="417"/>
                  <a:pt x="5332" y="417"/>
                  <a:pt x="5332" y="417"/>
                </a:cubicBezTo>
                <a:cubicBezTo>
                  <a:pt x="5332" y="415"/>
                  <a:pt x="5334" y="410"/>
                  <a:pt x="5339" y="403"/>
                </a:cubicBezTo>
                <a:cubicBezTo>
                  <a:pt x="5343" y="397"/>
                  <a:pt x="5346" y="393"/>
                  <a:pt x="5348" y="393"/>
                </a:cubicBezTo>
                <a:cubicBezTo>
                  <a:pt x="5348" y="394"/>
                  <a:pt x="5349" y="394"/>
                  <a:pt x="5349" y="394"/>
                </a:cubicBezTo>
                <a:cubicBezTo>
                  <a:pt x="5350" y="394"/>
                  <a:pt x="5351" y="393"/>
                  <a:pt x="5352" y="392"/>
                </a:cubicBezTo>
                <a:cubicBezTo>
                  <a:pt x="5354" y="392"/>
                  <a:pt x="5354" y="391"/>
                  <a:pt x="5355" y="391"/>
                </a:cubicBezTo>
                <a:cubicBezTo>
                  <a:pt x="5355" y="391"/>
                  <a:pt x="5355" y="391"/>
                  <a:pt x="5355" y="391"/>
                </a:cubicBezTo>
                <a:cubicBezTo>
                  <a:pt x="5355" y="393"/>
                  <a:pt x="5353" y="395"/>
                  <a:pt x="5350" y="399"/>
                </a:cubicBezTo>
                <a:cubicBezTo>
                  <a:pt x="5349" y="400"/>
                  <a:pt x="5348" y="400"/>
                  <a:pt x="5347" y="400"/>
                </a:cubicBezTo>
                <a:lnTo>
                  <a:pt x="5347" y="400"/>
                </a:lnTo>
                <a:lnTo>
                  <a:pt x="5348" y="398"/>
                </a:lnTo>
                <a:cubicBezTo>
                  <a:pt x="5348" y="398"/>
                  <a:pt x="5348" y="397"/>
                  <a:pt x="5348" y="397"/>
                </a:cubicBezTo>
                <a:lnTo>
                  <a:pt x="5346" y="399"/>
                </a:lnTo>
                <a:cubicBezTo>
                  <a:pt x="5346" y="399"/>
                  <a:pt x="5346" y="400"/>
                  <a:pt x="5346" y="401"/>
                </a:cubicBezTo>
                <a:lnTo>
                  <a:pt x="5346" y="404"/>
                </a:lnTo>
                <a:cubicBezTo>
                  <a:pt x="5346" y="405"/>
                  <a:pt x="5346" y="406"/>
                  <a:pt x="5344" y="407"/>
                </a:cubicBezTo>
                <a:cubicBezTo>
                  <a:pt x="5343" y="409"/>
                  <a:pt x="5342" y="409"/>
                  <a:pt x="5340" y="409"/>
                </a:cubicBezTo>
                <a:lnTo>
                  <a:pt x="5338" y="409"/>
                </a:lnTo>
                <a:lnTo>
                  <a:pt x="5339" y="411"/>
                </a:lnTo>
                <a:cubicBezTo>
                  <a:pt x="5339" y="413"/>
                  <a:pt x="5338" y="414"/>
                  <a:pt x="5337" y="417"/>
                </a:cubicBezTo>
                <a:cubicBezTo>
                  <a:pt x="5336" y="419"/>
                  <a:pt x="5335" y="422"/>
                  <a:pt x="5333" y="425"/>
                </a:cubicBezTo>
                <a:cubicBezTo>
                  <a:pt x="5331" y="429"/>
                  <a:pt x="5329" y="432"/>
                  <a:pt x="5327" y="435"/>
                </a:cubicBezTo>
                <a:cubicBezTo>
                  <a:pt x="5325" y="438"/>
                  <a:pt x="5324" y="441"/>
                  <a:pt x="5323" y="442"/>
                </a:cubicBezTo>
                <a:cubicBezTo>
                  <a:pt x="5322" y="444"/>
                  <a:pt x="5321" y="446"/>
                  <a:pt x="5319" y="447"/>
                </a:cubicBezTo>
                <a:cubicBezTo>
                  <a:pt x="5316" y="448"/>
                  <a:pt x="5315" y="449"/>
                  <a:pt x="5313" y="449"/>
                </a:cubicBezTo>
                <a:close/>
                <a:moveTo>
                  <a:pt x="5349" y="391"/>
                </a:moveTo>
                <a:cubicBezTo>
                  <a:pt x="5349" y="391"/>
                  <a:pt x="5349" y="391"/>
                  <a:pt x="5349" y="391"/>
                </a:cubicBezTo>
                <a:cubicBezTo>
                  <a:pt x="5349" y="389"/>
                  <a:pt x="5353" y="384"/>
                  <a:pt x="5360" y="373"/>
                </a:cubicBezTo>
                <a:cubicBezTo>
                  <a:pt x="5367" y="365"/>
                  <a:pt x="5370" y="359"/>
                  <a:pt x="5370" y="356"/>
                </a:cubicBezTo>
                <a:cubicBezTo>
                  <a:pt x="5370" y="355"/>
                  <a:pt x="5370" y="355"/>
                  <a:pt x="5370" y="354"/>
                </a:cubicBezTo>
                <a:cubicBezTo>
                  <a:pt x="5369" y="353"/>
                  <a:pt x="5369" y="353"/>
                  <a:pt x="5369" y="351"/>
                </a:cubicBezTo>
                <a:cubicBezTo>
                  <a:pt x="5369" y="350"/>
                  <a:pt x="5370" y="349"/>
                  <a:pt x="5371" y="347"/>
                </a:cubicBezTo>
                <a:cubicBezTo>
                  <a:pt x="5373" y="345"/>
                  <a:pt x="5374" y="344"/>
                  <a:pt x="5374" y="344"/>
                </a:cubicBezTo>
                <a:lnTo>
                  <a:pt x="5374" y="345"/>
                </a:lnTo>
                <a:lnTo>
                  <a:pt x="5371" y="353"/>
                </a:lnTo>
                <a:cubicBezTo>
                  <a:pt x="5372" y="353"/>
                  <a:pt x="5373" y="352"/>
                  <a:pt x="5376" y="348"/>
                </a:cubicBezTo>
                <a:cubicBezTo>
                  <a:pt x="5378" y="346"/>
                  <a:pt x="5379" y="345"/>
                  <a:pt x="5380" y="345"/>
                </a:cubicBezTo>
                <a:cubicBezTo>
                  <a:pt x="5381" y="345"/>
                  <a:pt x="5381" y="345"/>
                  <a:pt x="5381" y="346"/>
                </a:cubicBezTo>
                <a:cubicBezTo>
                  <a:pt x="5381" y="348"/>
                  <a:pt x="5380" y="350"/>
                  <a:pt x="5378" y="353"/>
                </a:cubicBezTo>
                <a:lnTo>
                  <a:pt x="5377" y="355"/>
                </a:lnTo>
                <a:lnTo>
                  <a:pt x="5380" y="354"/>
                </a:lnTo>
                <a:cubicBezTo>
                  <a:pt x="5380" y="354"/>
                  <a:pt x="5381" y="354"/>
                  <a:pt x="5381" y="355"/>
                </a:cubicBezTo>
                <a:cubicBezTo>
                  <a:pt x="5381" y="356"/>
                  <a:pt x="5377" y="362"/>
                  <a:pt x="5370" y="372"/>
                </a:cubicBezTo>
                <a:cubicBezTo>
                  <a:pt x="5361" y="384"/>
                  <a:pt x="5356" y="389"/>
                  <a:pt x="5355" y="389"/>
                </a:cubicBezTo>
                <a:cubicBezTo>
                  <a:pt x="5354" y="389"/>
                  <a:pt x="5353" y="390"/>
                  <a:pt x="5352" y="390"/>
                </a:cubicBezTo>
                <a:cubicBezTo>
                  <a:pt x="5351" y="391"/>
                  <a:pt x="5350" y="391"/>
                  <a:pt x="5349" y="391"/>
                </a:cubicBezTo>
                <a:close/>
                <a:moveTo>
                  <a:pt x="5364" y="374"/>
                </a:moveTo>
                <a:cubicBezTo>
                  <a:pt x="5365" y="374"/>
                  <a:pt x="5366" y="373"/>
                  <a:pt x="5368" y="370"/>
                </a:cubicBezTo>
                <a:lnTo>
                  <a:pt x="5370" y="368"/>
                </a:lnTo>
                <a:lnTo>
                  <a:pt x="5370" y="367"/>
                </a:lnTo>
                <a:cubicBezTo>
                  <a:pt x="5370" y="367"/>
                  <a:pt x="5369" y="368"/>
                  <a:pt x="5368" y="369"/>
                </a:cubicBezTo>
                <a:cubicBezTo>
                  <a:pt x="5367" y="370"/>
                  <a:pt x="5366" y="370"/>
                  <a:pt x="5365" y="371"/>
                </a:cubicBezTo>
                <a:cubicBezTo>
                  <a:pt x="5364" y="372"/>
                  <a:pt x="5364" y="373"/>
                  <a:pt x="5364" y="373"/>
                </a:cubicBezTo>
                <a:cubicBezTo>
                  <a:pt x="5364" y="374"/>
                  <a:pt x="5364" y="374"/>
                  <a:pt x="5364" y="374"/>
                </a:cubicBezTo>
                <a:close/>
                <a:moveTo>
                  <a:pt x="5371" y="365"/>
                </a:moveTo>
                <a:cubicBezTo>
                  <a:pt x="5372" y="365"/>
                  <a:pt x="5372" y="365"/>
                  <a:pt x="5373" y="364"/>
                </a:cubicBezTo>
                <a:cubicBezTo>
                  <a:pt x="5374" y="363"/>
                  <a:pt x="5374" y="362"/>
                  <a:pt x="5375" y="361"/>
                </a:cubicBezTo>
                <a:lnTo>
                  <a:pt x="5377" y="359"/>
                </a:lnTo>
                <a:lnTo>
                  <a:pt x="5377" y="358"/>
                </a:lnTo>
                <a:lnTo>
                  <a:pt x="5374" y="360"/>
                </a:lnTo>
                <a:cubicBezTo>
                  <a:pt x="5372" y="362"/>
                  <a:pt x="5370" y="364"/>
                  <a:pt x="5370" y="365"/>
                </a:cubicBezTo>
                <a:cubicBezTo>
                  <a:pt x="5370" y="365"/>
                  <a:pt x="5371" y="365"/>
                  <a:pt x="5371" y="365"/>
                </a:cubicBezTo>
                <a:close/>
                <a:moveTo>
                  <a:pt x="5304" y="475"/>
                </a:moveTo>
                <a:cubicBezTo>
                  <a:pt x="5303" y="475"/>
                  <a:pt x="5303" y="474"/>
                  <a:pt x="5303" y="472"/>
                </a:cubicBezTo>
                <a:cubicBezTo>
                  <a:pt x="5303" y="469"/>
                  <a:pt x="5304" y="468"/>
                  <a:pt x="5305" y="468"/>
                </a:cubicBezTo>
                <a:cubicBezTo>
                  <a:pt x="5306" y="468"/>
                  <a:pt x="5306" y="469"/>
                  <a:pt x="5306" y="470"/>
                </a:cubicBezTo>
                <a:cubicBezTo>
                  <a:pt x="5306" y="470"/>
                  <a:pt x="5306" y="471"/>
                  <a:pt x="5306" y="472"/>
                </a:cubicBezTo>
                <a:cubicBezTo>
                  <a:pt x="5306" y="473"/>
                  <a:pt x="5305" y="474"/>
                  <a:pt x="5305" y="474"/>
                </a:cubicBezTo>
                <a:cubicBezTo>
                  <a:pt x="5305" y="475"/>
                  <a:pt x="5304" y="475"/>
                  <a:pt x="5304" y="475"/>
                </a:cubicBezTo>
                <a:close/>
                <a:moveTo>
                  <a:pt x="5743" y="218"/>
                </a:moveTo>
                <a:lnTo>
                  <a:pt x="5742" y="218"/>
                </a:lnTo>
                <a:cubicBezTo>
                  <a:pt x="5741" y="218"/>
                  <a:pt x="5741" y="217"/>
                  <a:pt x="5740" y="215"/>
                </a:cubicBezTo>
                <a:lnTo>
                  <a:pt x="5739" y="212"/>
                </a:lnTo>
                <a:lnTo>
                  <a:pt x="5739" y="212"/>
                </a:lnTo>
                <a:lnTo>
                  <a:pt x="5741" y="213"/>
                </a:lnTo>
                <a:cubicBezTo>
                  <a:pt x="5742" y="215"/>
                  <a:pt x="5743" y="216"/>
                  <a:pt x="5743" y="216"/>
                </a:cubicBezTo>
                <a:lnTo>
                  <a:pt x="5743" y="218"/>
                </a:lnTo>
                <a:close/>
                <a:moveTo>
                  <a:pt x="5670" y="355"/>
                </a:moveTo>
                <a:cubicBezTo>
                  <a:pt x="5669" y="355"/>
                  <a:pt x="5669" y="355"/>
                  <a:pt x="5669" y="355"/>
                </a:cubicBezTo>
                <a:cubicBezTo>
                  <a:pt x="5669" y="354"/>
                  <a:pt x="5669" y="353"/>
                  <a:pt x="5670" y="351"/>
                </a:cubicBezTo>
                <a:cubicBezTo>
                  <a:pt x="5670" y="350"/>
                  <a:pt x="5671" y="350"/>
                  <a:pt x="5671" y="349"/>
                </a:cubicBezTo>
                <a:cubicBezTo>
                  <a:pt x="5671" y="348"/>
                  <a:pt x="5672" y="348"/>
                  <a:pt x="5672" y="348"/>
                </a:cubicBezTo>
                <a:cubicBezTo>
                  <a:pt x="5673" y="348"/>
                  <a:pt x="5673" y="348"/>
                  <a:pt x="5673" y="350"/>
                </a:cubicBezTo>
                <a:cubicBezTo>
                  <a:pt x="5673" y="352"/>
                  <a:pt x="5673" y="354"/>
                  <a:pt x="5671" y="355"/>
                </a:cubicBezTo>
                <a:lnTo>
                  <a:pt x="5670" y="355"/>
                </a:lnTo>
                <a:close/>
                <a:moveTo>
                  <a:pt x="5805" y="307"/>
                </a:moveTo>
                <a:lnTo>
                  <a:pt x="5808" y="301"/>
                </a:lnTo>
                <a:cubicBezTo>
                  <a:pt x="5810" y="298"/>
                  <a:pt x="5812" y="295"/>
                  <a:pt x="5812" y="294"/>
                </a:cubicBezTo>
                <a:cubicBezTo>
                  <a:pt x="5813" y="292"/>
                  <a:pt x="5814" y="292"/>
                  <a:pt x="5814" y="292"/>
                </a:cubicBezTo>
                <a:lnTo>
                  <a:pt x="5814" y="293"/>
                </a:lnTo>
                <a:cubicBezTo>
                  <a:pt x="5814" y="295"/>
                  <a:pt x="5812" y="298"/>
                  <a:pt x="5808" y="302"/>
                </a:cubicBezTo>
                <a:lnTo>
                  <a:pt x="5805" y="307"/>
                </a:lnTo>
                <a:close/>
                <a:moveTo>
                  <a:pt x="5654" y="686"/>
                </a:moveTo>
                <a:cubicBezTo>
                  <a:pt x="5654" y="685"/>
                  <a:pt x="5656" y="682"/>
                  <a:pt x="5660" y="676"/>
                </a:cubicBezTo>
                <a:cubicBezTo>
                  <a:pt x="5667" y="665"/>
                  <a:pt x="5671" y="659"/>
                  <a:pt x="5672" y="659"/>
                </a:cubicBezTo>
                <a:cubicBezTo>
                  <a:pt x="5672" y="660"/>
                  <a:pt x="5670" y="664"/>
                  <a:pt x="5666" y="670"/>
                </a:cubicBezTo>
                <a:cubicBezTo>
                  <a:pt x="5659" y="681"/>
                  <a:pt x="5655" y="686"/>
                  <a:pt x="5654" y="686"/>
                </a:cubicBezTo>
                <a:close/>
                <a:moveTo>
                  <a:pt x="5634" y="718"/>
                </a:moveTo>
                <a:cubicBezTo>
                  <a:pt x="5632" y="718"/>
                  <a:pt x="5632" y="718"/>
                  <a:pt x="5632" y="718"/>
                </a:cubicBezTo>
                <a:lnTo>
                  <a:pt x="5633" y="717"/>
                </a:lnTo>
                <a:cubicBezTo>
                  <a:pt x="5635" y="716"/>
                  <a:pt x="5636" y="714"/>
                  <a:pt x="5636" y="712"/>
                </a:cubicBezTo>
                <a:cubicBezTo>
                  <a:pt x="5636" y="710"/>
                  <a:pt x="5637" y="709"/>
                  <a:pt x="5639" y="709"/>
                </a:cubicBezTo>
                <a:cubicBezTo>
                  <a:pt x="5639" y="709"/>
                  <a:pt x="5639" y="710"/>
                  <a:pt x="5639" y="710"/>
                </a:cubicBezTo>
                <a:cubicBezTo>
                  <a:pt x="5639" y="711"/>
                  <a:pt x="5639" y="712"/>
                  <a:pt x="5639" y="713"/>
                </a:cubicBezTo>
                <a:cubicBezTo>
                  <a:pt x="5638" y="715"/>
                  <a:pt x="5637" y="716"/>
                  <a:pt x="5636" y="717"/>
                </a:cubicBezTo>
                <a:cubicBezTo>
                  <a:pt x="5635" y="718"/>
                  <a:pt x="5634" y="718"/>
                  <a:pt x="5634" y="718"/>
                </a:cubicBezTo>
                <a:close/>
                <a:moveTo>
                  <a:pt x="5854" y="677"/>
                </a:moveTo>
                <a:cubicBezTo>
                  <a:pt x="5851" y="677"/>
                  <a:pt x="5848" y="676"/>
                  <a:pt x="5846" y="674"/>
                </a:cubicBezTo>
                <a:cubicBezTo>
                  <a:pt x="5844" y="672"/>
                  <a:pt x="5843" y="671"/>
                  <a:pt x="5843" y="671"/>
                </a:cubicBezTo>
                <a:cubicBezTo>
                  <a:pt x="5843" y="671"/>
                  <a:pt x="5843" y="670"/>
                  <a:pt x="5844" y="670"/>
                </a:cubicBezTo>
                <a:cubicBezTo>
                  <a:pt x="5845" y="670"/>
                  <a:pt x="5847" y="671"/>
                  <a:pt x="5851" y="674"/>
                </a:cubicBezTo>
                <a:cubicBezTo>
                  <a:pt x="5854" y="675"/>
                  <a:pt x="5855" y="676"/>
                  <a:pt x="5855" y="676"/>
                </a:cubicBezTo>
                <a:cubicBezTo>
                  <a:pt x="5855" y="677"/>
                  <a:pt x="5854" y="677"/>
                  <a:pt x="5854" y="677"/>
                </a:cubicBezTo>
                <a:close/>
                <a:moveTo>
                  <a:pt x="5668" y="644"/>
                </a:moveTo>
                <a:lnTo>
                  <a:pt x="5668" y="642"/>
                </a:lnTo>
                <a:cubicBezTo>
                  <a:pt x="5669" y="640"/>
                  <a:pt x="5671" y="638"/>
                  <a:pt x="5672" y="636"/>
                </a:cubicBezTo>
                <a:cubicBezTo>
                  <a:pt x="5673" y="634"/>
                  <a:pt x="5675" y="633"/>
                  <a:pt x="5676" y="632"/>
                </a:cubicBezTo>
                <a:cubicBezTo>
                  <a:pt x="5678" y="631"/>
                  <a:pt x="5679" y="630"/>
                  <a:pt x="5679" y="630"/>
                </a:cubicBezTo>
                <a:cubicBezTo>
                  <a:pt x="5679" y="630"/>
                  <a:pt x="5680" y="630"/>
                  <a:pt x="5680" y="630"/>
                </a:cubicBezTo>
                <a:cubicBezTo>
                  <a:pt x="5680" y="631"/>
                  <a:pt x="5678" y="634"/>
                  <a:pt x="5673" y="639"/>
                </a:cubicBezTo>
                <a:cubicBezTo>
                  <a:pt x="5670" y="642"/>
                  <a:pt x="5669" y="644"/>
                  <a:pt x="5668" y="644"/>
                </a:cubicBezTo>
                <a:close/>
                <a:moveTo>
                  <a:pt x="5612" y="767"/>
                </a:moveTo>
                <a:cubicBezTo>
                  <a:pt x="5611" y="767"/>
                  <a:pt x="5610" y="766"/>
                  <a:pt x="5609" y="764"/>
                </a:cubicBezTo>
                <a:lnTo>
                  <a:pt x="5609" y="763"/>
                </a:lnTo>
                <a:cubicBezTo>
                  <a:pt x="5609" y="762"/>
                  <a:pt x="5609" y="761"/>
                  <a:pt x="5610" y="760"/>
                </a:cubicBezTo>
                <a:cubicBezTo>
                  <a:pt x="5611" y="758"/>
                  <a:pt x="5611" y="758"/>
                  <a:pt x="5612" y="758"/>
                </a:cubicBezTo>
                <a:cubicBezTo>
                  <a:pt x="5612" y="758"/>
                  <a:pt x="5613" y="758"/>
                  <a:pt x="5613" y="759"/>
                </a:cubicBezTo>
                <a:cubicBezTo>
                  <a:pt x="5614" y="760"/>
                  <a:pt x="5614" y="761"/>
                  <a:pt x="5614" y="761"/>
                </a:cubicBezTo>
                <a:cubicBezTo>
                  <a:pt x="5614" y="762"/>
                  <a:pt x="5613" y="762"/>
                  <a:pt x="5612" y="762"/>
                </a:cubicBezTo>
                <a:cubicBezTo>
                  <a:pt x="5611" y="762"/>
                  <a:pt x="5611" y="762"/>
                  <a:pt x="5611" y="763"/>
                </a:cubicBezTo>
                <a:lnTo>
                  <a:pt x="5612" y="766"/>
                </a:lnTo>
                <a:lnTo>
                  <a:pt x="5612" y="767"/>
                </a:lnTo>
                <a:close/>
                <a:moveTo>
                  <a:pt x="5641" y="707"/>
                </a:moveTo>
                <a:cubicBezTo>
                  <a:pt x="5641" y="706"/>
                  <a:pt x="5641" y="705"/>
                  <a:pt x="5642" y="704"/>
                </a:cubicBezTo>
                <a:cubicBezTo>
                  <a:pt x="5643" y="702"/>
                  <a:pt x="5644" y="700"/>
                  <a:pt x="5645" y="698"/>
                </a:cubicBezTo>
                <a:cubicBezTo>
                  <a:pt x="5646" y="697"/>
                  <a:pt x="5647" y="695"/>
                  <a:pt x="5649" y="693"/>
                </a:cubicBezTo>
                <a:cubicBezTo>
                  <a:pt x="5650" y="691"/>
                  <a:pt x="5651" y="691"/>
                  <a:pt x="5651" y="691"/>
                </a:cubicBezTo>
                <a:cubicBezTo>
                  <a:pt x="5651" y="691"/>
                  <a:pt x="5651" y="692"/>
                  <a:pt x="5650" y="694"/>
                </a:cubicBezTo>
                <a:cubicBezTo>
                  <a:pt x="5649" y="696"/>
                  <a:pt x="5647" y="699"/>
                  <a:pt x="5644" y="703"/>
                </a:cubicBezTo>
                <a:cubicBezTo>
                  <a:pt x="5642" y="705"/>
                  <a:pt x="5641" y="707"/>
                  <a:pt x="5641" y="707"/>
                </a:cubicBezTo>
                <a:close/>
                <a:moveTo>
                  <a:pt x="5622" y="743"/>
                </a:moveTo>
                <a:cubicBezTo>
                  <a:pt x="5621" y="743"/>
                  <a:pt x="5621" y="742"/>
                  <a:pt x="5621" y="742"/>
                </a:cubicBezTo>
                <a:lnTo>
                  <a:pt x="5620" y="740"/>
                </a:lnTo>
                <a:cubicBezTo>
                  <a:pt x="5620" y="739"/>
                  <a:pt x="5621" y="738"/>
                  <a:pt x="5621" y="737"/>
                </a:cubicBezTo>
                <a:lnTo>
                  <a:pt x="5623" y="737"/>
                </a:lnTo>
                <a:cubicBezTo>
                  <a:pt x="5624" y="737"/>
                  <a:pt x="5624" y="737"/>
                  <a:pt x="5625" y="738"/>
                </a:cubicBezTo>
                <a:cubicBezTo>
                  <a:pt x="5625" y="739"/>
                  <a:pt x="5624" y="740"/>
                  <a:pt x="5624" y="741"/>
                </a:cubicBezTo>
                <a:cubicBezTo>
                  <a:pt x="5623" y="742"/>
                  <a:pt x="5622" y="743"/>
                  <a:pt x="5622" y="743"/>
                </a:cubicBezTo>
                <a:close/>
                <a:moveTo>
                  <a:pt x="5616" y="757"/>
                </a:moveTo>
                <a:cubicBezTo>
                  <a:pt x="5616" y="757"/>
                  <a:pt x="5615" y="757"/>
                  <a:pt x="5614" y="756"/>
                </a:cubicBezTo>
                <a:cubicBezTo>
                  <a:pt x="5613" y="755"/>
                  <a:pt x="5613" y="755"/>
                  <a:pt x="5613" y="754"/>
                </a:cubicBezTo>
                <a:cubicBezTo>
                  <a:pt x="5613" y="753"/>
                  <a:pt x="5614" y="752"/>
                  <a:pt x="5614" y="751"/>
                </a:cubicBezTo>
                <a:cubicBezTo>
                  <a:pt x="5615" y="749"/>
                  <a:pt x="5616" y="748"/>
                  <a:pt x="5617" y="747"/>
                </a:cubicBezTo>
                <a:cubicBezTo>
                  <a:pt x="5617" y="746"/>
                  <a:pt x="5619" y="746"/>
                  <a:pt x="5619" y="746"/>
                </a:cubicBezTo>
                <a:lnTo>
                  <a:pt x="5621" y="746"/>
                </a:lnTo>
                <a:cubicBezTo>
                  <a:pt x="5621" y="747"/>
                  <a:pt x="5620" y="747"/>
                  <a:pt x="5619" y="747"/>
                </a:cubicBezTo>
                <a:cubicBezTo>
                  <a:pt x="5618" y="747"/>
                  <a:pt x="5617" y="748"/>
                  <a:pt x="5617" y="750"/>
                </a:cubicBezTo>
                <a:lnTo>
                  <a:pt x="5618" y="751"/>
                </a:lnTo>
                <a:cubicBezTo>
                  <a:pt x="5618" y="752"/>
                  <a:pt x="5618" y="753"/>
                  <a:pt x="5617" y="753"/>
                </a:cubicBezTo>
                <a:cubicBezTo>
                  <a:pt x="5616" y="753"/>
                  <a:pt x="5616" y="753"/>
                  <a:pt x="5616" y="754"/>
                </a:cubicBezTo>
                <a:lnTo>
                  <a:pt x="5616" y="757"/>
                </a:lnTo>
                <a:close/>
                <a:moveTo>
                  <a:pt x="5625" y="734"/>
                </a:moveTo>
                <a:cubicBezTo>
                  <a:pt x="5624" y="734"/>
                  <a:pt x="5623" y="734"/>
                  <a:pt x="5623" y="734"/>
                </a:cubicBezTo>
                <a:lnTo>
                  <a:pt x="5625" y="732"/>
                </a:lnTo>
                <a:cubicBezTo>
                  <a:pt x="5626" y="732"/>
                  <a:pt x="5627" y="731"/>
                  <a:pt x="5627" y="730"/>
                </a:cubicBezTo>
                <a:lnTo>
                  <a:pt x="5627" y="730"/>
                </a:lnTo>
                <a:cubicBezTo>
                  <a:pt x="5627" y="728"/>
                  <a:pt x="5628" y="726"/>
                  <a:pt x="5630" y="724"/>
                </a:cubicBezTo>
                <a:cubicBezTo>
                  <a:pt x="5632" y="722"/>
                  <a:pt x="5633" y="721"/>
                  <a:pt x="5633" y="721"/>
                </a:cubicBezTo>
                <a:lnTo>
                  <a:pt x="5634" y="721"/>
                </a:lnTo>
                <a:cubicBezTo>
                  <a:pt x="5634" y="722"/>
                  <a:pt x="5633" y="724"/>
                  <a:pt x="5631" y="727"/>
                </a:cubicBezTo>
                <a:cubicBezTo>
                  <a:pt x="5629" y="732"/>
                  <a:pt x="5627" y="734"/>
                  <a:pt x="5625" y="734"/>
                </a:cubicBezTo>
                <a:close/>
                <a:moveTo>
                  <a:pt x="5597" y="750"/>
                </a:moveTo>
                <a:lnTo>
                  <a:pt x="5596" y="750"/>
                </a:lnTo>
                <a:cubicBezTo>
                  <a:pt x="5596" y="750"/>
                  <a:pt x="5595" y="750"/>
                  <a:pt x="5595" y="750"/>
                </a:cubicBezTo>
                <a:lnTo>
                  <a:pt x="5595" y="749"/>
                </a:lnTo>
                <a:cubicBezTo>
                  <a:pt x="5598" y="743"/>
                  <a:pt x="5600" y="738"/>
                  <a:pt x="5603" y="733"/>
                </a:cubicBezTo>
                <a:cubicBezTo>
                  <a:pt x="5605" y="729"/>
                  <a:pt x="5607" y="727"/>
                  <a:pt x="5608" y="727"/>
                </a:cubicBezTo>
                <a:cubicBezTo>
                  <a:pt x="5609" y="727"/>
                  <a:pt x="5609" y="727"/>
                  <a:pt x="5609" y="728"/>
                </a:cubicBezTo>
                <a:cubicBezTo>
                  <a:pt x="5609" y="728"/>
                  <a:pt x="5609" y="729"/>
                  <a:pt x="5608" y="730"/>
                </a:cubicBezTo>
                <a:cubicBezTo>
                  <a:pt x="5607" y="730"/>
                  <a:pt x="5606" y="732"/>
                  <a:pt x="5605" y="735"/>
                </a:cubicBezTo>
                <a:cubicBezTo>
                  <a:pt x="5604" y="738"/>
                  <a:pt x="5603" y="740"/>
                  <a:pt x="5601" y="743"/>
                </a:cubicBezTo>
                <a:cubicBezTo>
                  <a:pt x="5600" y="745"/>
                  <a:pt x="5599" y="747"/>
                  <a:pt x="5599" y="747"/>
                </a:cubicBezTo>
                <a:lnTo>
                  <a:pt x="5599" y="748"/>
                </a:lnTo>
                <a:cubicBezTo>
                  <a:pt x="5599" y="749"/>
                  <a:pt x="5598" y="750"/>
                  <a:pt x="5597" y="750"/>
                </a:cubicBezTo>
                <a:close/>
                <a:moveTo>
                  <a:pt x="5597" y="789"/>
                </a:moveTo>
                <a:lnTo>
                  <a:pt x="5597" y="788"/>
                </a:lnTo>
                <a:cubicBezTo>
                  <a:pt x="5597" y="786"/>
                  <a:pt x="5598" y="784"/>
                  <a:pt x="5600" y="781"/>
                </a:cubicBezTo>
                <a:cubicBezTo>
                  <a:pt x="5601" y="778"/>
                  <a:pt x="5603" y="775"/>
                  <a:pt x="5605" y="772"/>
                </a:cubicBezTo>
                <a:cubicBezTo>
                  <a:pt x="5607" y="769"/>
                  <a:pt x="5608" y="768"/>
                  <a:pt x="5608" y="768"/>
                </a:cubicBezTo>
                <a:cubicBezTo>
                  <a:pt x="5609" y="768"/>
                  <a:pt x="5609" y="769"/>
                  <a:pt x="5609" y="770"/>
                </a:cubicBezTo>
                <a:cubicBezTo>
                  <a:pt x="5609" y="771"/>
                  <a:pt x="5609" y="771"/>
                  <a:pt x="5608" y="771"/>
                </a:cubicBezTo>
                <a:cubicBezTo>
                  <a:pt x="5607" y="771"/>
                  <a:pt x="5607" y="771"/>
                  <a:pt x="5607" y="772"/>
                </a:cubicBezTo>
                <a:lnTo>
                  <a:pt x="5607" y="774"/>
                </a:lnTo>
                <a:cubicBezTo>
                  <a:pt x="5607" y="775"/>
                  <a:pt x="5607" y="776"/>
                  <a:pt x="5606" y="776"/>
                </a:cubicBezTo>
                <a:cubicBezTo>
                  <a:pt x="5605" y="776"/>
                  <a:pt x="5603" y="778"/>
                  <a:pt x="5601" y="783"/>
                </a:cubicBezTo>
                <a:cubicBezTo>
                  <a:pt x="5599" y="787"/>
                  <a:pt x="5598" y="789"/>
                  <a:pt x="5597" y="789"/>
                </a:cubicBezTo>
                <a:close/>
                <a:moveTo>
                  <a:pt x="5717" y="383"/>
                </a:moveTo>
                <a:cubicBezTo>
                  <a:pt x="5717" y="382"/>
                  <a:pt x="5718" y="381"/>
                  <a:pt x="5720" y="378"/>
                </a:cubicBezTo>
                <a:cubicBezTo>
                  <a:pt x="5722" y="375"/>
                  <a:pt x="5724" y="374"/>
                  <a:pt x="5725" y="374"/>
                </a:cubicBezTo>
                <a:lnTo>
                  <a:pt x="5725" y="375"/>
                </a:lnTo>
                <a:cubicBezTo>
                  <a:pt x="5725" y="375"/>
                  <a:pt x="5724" y="376"/>
                  <a:pt x="5722" y="379"/>
                </a:cubicBezTo>
                <a:cubicBezTo>
                  <a:pt x="5720" y="382"/>
                  <a:pt x="5718" y="383"/>
                  <a:pt x="5717" y="383"/>
                </a:cubicBezTo>
                <a:close/>
                <a:moveTo>
                  <a:pt x="5609" y="722"/>
                </a:moveTo>
                <a:cubicBezTo>
                  <a:pt x="5609" y="722"/>
                  <a:pt x="5609" y="722"/>
                  <a:pt x="5609" y="721"/>
                </a:cubicBezTo>
                <a:lnTo>
                  <a:pt x="5610" y="718"/>
                </a:lnTo>
                <a:cubicBezTo>
                  <a:pt x="5612" y="715"/>
                  <a:pt x="5612" y="714"/>
                  <a:pt x="5613" y="714"/>
                </a:cubicBezTo>
                <a:cubicBezTo>
                  <a:pt x="5614" y="714"/>
                  <a:pt x="5614" y="715"/>
                  <a:pt x="5614" y="717"/>
                </a:cubicBezTo>
                <a:cubicBezTo>
                  <a:pt x="5614" y="719"/>
                  <a:pt x="5613" y="721"/>
                  <a:pt x="5611" y="721"/>
                </a:cubicBezTo>
                <a:lnTo>
                  <a:pt x="5609" y="722"/>
                </a:lnTo>
                <a:close/>
                <a:moveTo>
                  <a:pt x="5585" y="839"/>
                </a:moveTo>
                <a:cubicBezTo>
                  <a:pt x="5582" y="839"/>
                  <a:pt x="5579" y="838"/>
                  <a:pt x="5574" y="835"/>
                </a:cubicBezTo>
                <a:cubicBezTo>
                  <a:pt x="5561" y="826"/>
                  <a:pt x="5552" y="813"/>
                  <a:pt x="5546" y="795"/>
                </a:cubicBezTo>
                <a:cubicBezTo>
                  <a:pt x="5545" y="791"/>
                  <a:pt x="5544" y="785"/>
                  <a:pt x="5544" y="777"/>
                </a:cubicBezTo>
                <a:cubicBezTo>
                  <a:pt x="5544" y="760"/>
                  <a:pt x="5547" y="738"/>
                  <a:pt x="5551" y="710"/>
                </a:cubicBezTo>
                <a:cubicBezTo>
                  <a:pt x="5556" y="683"/>
                  <a:pt x="5562" y="655"/>
                  <a:pt x="5570" y="628"/>
                </a:cubicBezTo>
                <a:cubicBezTo>
                  <a:pt x="5585" y="577"/>
                  <a:pt x="5601" y="529"/>
                  <a:pt x="5618" y="484"/>
                </a:cubicBezTo>
                <a:cubicBezTo>
                  <a:pt x="5623" y="470"/>
                  <a:pt x="5626" y="463"/>
                  <a:pt x="5626" y="461"/>
                </a:cubicBezTo>
                <a:cubicBezTo>
                  <a:pt x="5627" y="456"/>
                  <a:pt x="5636" y="436"/>
                  <a:pt x="5651" y="400"/>
                </a:cubicBezTo>
                <a:cubicBezTo>
                  <a:pt x="5657" y="385"/>
                  <a:pt x="5660" y="376"/>
                  <a:pt x="5660" y="373"/>
                </a:cubicBezTo>
                <a:cubicBezTo>
                  <a:pt x="5660" y="371"/>
                  <a:pt x="5661" y="370"/>
                  <a:pt x="5662" y="370"/>
                </a:cubicBezTo>
                <a:cubicBezTo>
                  <a:pt x="5663" y="370"/>
                  <a:pt x="5664" y="369"/>
                  <a:pt x="5664" y="369"/>
                </a:cubicBezTo>
                <a:lnTo>
                  <a:pt x="5664" y="368"/>
                </a:lnTo>
                <a:cubicBezTo>
                  <a:pt x="5664" y="366"/>
                  <a:pt x="5664" y="365"/>
                  <a:pt x="5665" y="364"/>
                </a:cubicBezTo>
                <a:cubicBezTo>
                  <a:pt x="5666" y="360"/>
                  <a:pt x="5668" y="358"/>
                  <a:pt x="5669" y="358"/>
                </a:cubicBezTo>
                <a:lnTo>
                  <a:pt x="5669" y="359"/>
                </a:lnTo>
                <a:cubicBezTo>
                  <a:pt x="5669" y="360"/>
                  <a:pt x="5668" y="364"/>
                  <a:pt x="5666" y="370"/>
                </a:cubicBezTo>
                <a:cubicBezTo>
                  <a:pt x="5664" y="377"/>
                  <a:pt x="5661" y="383"/>
                  <a:pt x="5659" y="390"/>
                </a:cubicBezTo>
                <a:cubicBezTo>
                  <a:pt x="5656" y="397"/>
                  <a:pt x="5653" y="403"/>
                  <a:pt x="5651" y="407"/>
                </a:cubicBezTo>
                <a:cubicBezTo>
                  <a:pt x="5651" y="409"/>
                  <a:pt x="5650" y="410"/>
                  <a:pt x="5650" y="411"/>
                </a:cubicBezTo>
                <a:cubicBezTo>
                  <a:pt x="5650" y="412"/>
                  <a:pt x="5650" y="413"/>
                  <a:pt x="5651" y="413"/>
                </a:cubicBezTo>
                <a:cubicBezTo>
                  <a:pt x="5651" y="414"/>
                  <a:pt x="5651" y="414"/>
                  <a:pt x="5651" y="415"/>
                </a:cubicBezTo>
                <a:cubicBezTo>
                  <a:pt x="5651" y="415"/>
                  <a:pt x="5651" y="416"/>
                  <a:pt x="5649" y="416"/>
                </a:cubicBezTo>
                <a:cubicBezTo>
                  <a:pt x="5648" y="416"/>
                  <a:pt x="5648" y="419"/>
                  <a:pt x="5648" y="424"/>
                </a:cubicBezTo>
                <a:lnTo>
                  <a:pt x="5648" y="430"/>
                </a:lnTo>
                <a:cubicBezTo>
                  <a:pt x="5648" y="430"/>
                  <a:pt x="5649" y="428"/>
                  <a:pt x="5651" y="423"/>
                </a:cubicBezTo>
                <a:lnTo>
                  <a:pt x="5651" y="421"/>
                </a:lnTo>
                <a:cubicBezTo>
                  <a:pt x="5655" y="411"/>
                  <a:pt x="5657" y="406"/>
                  <a:pt x="5659" y="404"/>
                </a:cubicBezTo>
                <a:cubicBezTo>
                  <a:pt x="5662" y="401"/>
                  <a:pt x="5663" y="398"/>
                  <a:pt x="5664" y="396"/>
                </a:cubicBezTo>
                <a:cubicBezTo>
                  <a:pt x="5664" y="392"/>
                  <a:pt x="5666" y="387"/>
                  <a:pt x="5669" y="383"/>
                </a:cubicBezTo>
                <a:lnTo>
                  <a:pt x="5671" y="376"/>
                </a:lnTo>
                <a:lnTo>
                  <a:pt x="5672" y="372"/>
                </a:lnTo>
                <a:lnTo>
                  <a:pt x="5672" y="371"/>
                </a:lnTo>
                <a:cubicBezTo>
                  <a:pt x="5672" y="370"/>
                  <a:pt x="5672" y="370"/>
                  <a:pt x="5673" y="370"/>
                </a:cubicBezTo>
                <a:cubicBezTo>
                  <a:pt x="5674" y="370"/>
                  <a:pt x="5675" y="369"/>
                  <a:pt x="5675" y="368"/>
                </a:cubicBezTo>
                <a:lnTo>
                  <a:pt x="5674" y="365"/>
                </a:lnTo>
                <a:cubicBezTo>
                  <a:pt x="5674" y="362"/>
                  <a:pt x="5675" y="361"/>
                  <a:pt x="5676" y="361"/>
                </a:cubicBezTo>
                <a:cubicBezTo>
                  <a:pt x="5677" y="360"/>
                  <a:pt x="5677" y="360"/>
                  <a:pt x="5677" y="360"/>
                </a:cubicBezTo>
                <a:lnTo>
                  <a:pt x="5676" y="357"/>
                </a:lnTo>
                <a:cubicBezTo>
                  <a:pt x="5676" y="357"/>
                  <a:pt x="5677" y="356"/>
                  <a:pt x="5678" y="356"/>
                </a:cubicBezTo>
                <a:cubicBezTo>
                  <a:pt x="5679" y="356"/>
                  <a:pt x="5679" y="356"/>
                  <a:pt x="5679" y="355"/>
                </a:cubicBezTo>
                <a:cubicBezTo>
                  <a:pt x="5679" y="355"/>
                  <a:pt x="5679" y="354"/>
                  <a:pt x="5678" y="353"/>
                </a:cubicBezTo>
                <a:cubicBezTo>
                  <a:pt x="5677" y="352"/>
                  <a:pt x="5676" y="351"/>
                  <a:pt x="5676" y="350"/>
                </a:cubicBezTo>
                <a:cubicBezTo>
                  <a:pt x="5676" y="350"/>
                  <a:pt x="5677" y="350"/>
                  <a:pt x="5679" y="350"/>
                </a:cubicBezTo>
                <a:lnTo>
                  <a:pt x="5681" y="350"/>
                </a:lnTo>
                <a:cubicBezTo>
                  <a:pt x="5683" y="350"/>
                  <a:pt x="5683" y="350"/>
                  <a:pt x="5683" y="349"/>
                </a:cubicBezTo>
                <a:lnTo>
                  <a:pt x="5682" y="345"/>
                </a:lnTo>
                <a:cubicBezTo>
                  <a:pt x="5682" y="345"/>
                  <a:pt x="5682" y="345"/>
                  <a:pt x="5683" y="345"/>
                </a:cubicBezTo>
                <a:lnTo>
                  <a:pt x="5686" y="347"/>
                </a:lnTo>
                <a:lnTo>
                  <a:pt x="5686" y="346"/>
                </a:lnTo>
                <a:cubicBezTo>
                  <a:pt x="5686" y="346"/>
                  <a:pt x="5686" y="345"/>
                  <a:pt x="5685" y="345"/>
                </a:cubicBezTo>
                <a:cubicBezTo>
                  <a:pt x="5684" y="344"/>
                  <a:pt x="5684" y="343"/>
                  <a:pt x="5684" y="342"/>
                </a:cubicBezTo>
                <a:cubicBezTo>
                  <a:pt x="5684" y="335"/>
                  <a:pt x="5689" y="321"/>
                  <a:pt x="5700" y="299"/>
                </a:cubicBezTo>
                <a:cubicBezTo>
                  <a:pt x="5700" y="299"/>
                  <a:pt x="5701" y="299"/>
                  <a:pt x="5701" y="299"/>
                </a:cubicBezTo>
                <a:lnTo>
                  <a:pt x="5704" y="291"/>
                </a:lnTo>
                <a:lnTo>
                  <a:pt x="5705" y="285"/>
                </a:lnTo>
                <a:cubicBezTo>
                  <a:pt x="5705" y="280"/>
                  <a:pt x="5706" y="278"/>
                  <a:pt x="5707" y="278"/>
                </a:cubicBezTo>
                <a:lnTo>
                  <a:pt x="5708" y="279"/>
                </a:lnTo>
                <a:cubicBezTo>
                  <a:pt x="5709" y="279"/>
                  <a:pt x="5714" y="272"/>
                  <a:pt x="5720" y="260"/>
                </a:cubicBezTo>
                <a:cubicBezTo>
                  <a:pt x="5727" y="247"/>
                  <a:pt x="5730" y="240"/>
                  <a:pt x="5730" y="239"/>
                </a:cubicBezTo>
                <a:cubicBezTo>
                  <a:pt x="5730" y="236"/>
                  <a:pt x="5731" y="235"/>
                  <a:pt x="5733" y="235"/>
                </a:cubicBezTo>
                <a:cubicBezTo>
                  <a:pt x="5734" y="235"/>
                  <a:pt x="5735" y="234"/>
                  <a:pt x="5735" y="233"/>
                </a:cubicBezTo>
                <a:cubicBezTo>
                  <a:pt x="5735" y="231"/>
                  <a:pt x="5736" y="230"/>
                  <a:pt x="5736" y="229"/>
                </a:cubicBezTo>
                <a:lnTo>
                  <a:pt x="5736" y="226"/>
                </a:lnTo>
                <a:cubicBezTo>
                  <a:pt x="5736" y="224"/>
                  <a:pt x="5737" y="223"/>
                  <a:pt x="5739" y="223"/>
                </a:cubicBezTo>
                <a:cubicBezTo>
                  <a:pt x="5741" y="223"/>
                  <a:pt x="5742" y="222"/>
                  <a:pt x="5743" y="220"/>
                </a:cubicBezTo>
                <a:cubicBezTo>
                  <a:pt x="5744" y="218"/>
                  <a:pt x="5745" y="215"/>
                  <a:pt x="5745" y="213"/>
                </a:cubicBezTo>
                <a:cubicBezTo>
                  <a:pt x="5745" y="211"/>
                  <a:pt x="5746" y="208"/>
                  <a:pt x="5748" y="205"/>
                </a:cubicBezTo>
                <a:cubicBezTo>
                  <a:pt x="5753" y="196"/>
                  <a:pt x="5757" y="191"/>
                  <a:pt x="5759" y="191"/>
                </a:cubicBezTo>
                <a:cubicBezTo>
                  <a:pt x="5760" y="191"/>
                  <a:pt x="5761" y="191"/>
                  <a:pt x="5761" y="190"/>
                </a:cubicBezTo>
                <a:cubicBezTo>
                  <a:pt x="5761" y="190"/>
                  <a:pt x="5763" y="189"/>
                  <a:pt x="5764" y="187"/>
                </a:cubicBezTo>
                <a:cubicBezTo>
                  <a:pt x="5764" y="187"/>
                  <a:pt x="5764" y="187"/>
                  <a:pt x="5764" y="187"/>
                </a:cubicBezTo>
                <a:lnTo>
                  <a:pt x="5761" y="188"/>
                </a:lnTo>
                <a:lnTo>
                  <a:pt x="5761" y="187"/>
                </a:lnTo>
                <a:lnTo>
                  <a:pt x="5765" y="184"/>
                </a:lnTo>
                <a:lnTo>
                  <a:pt x="5767" y="180"/>
                </a:lnTo>
                <a:lnTo>
                  <a:pt x="5766" y="181"/>
                </a:lnTo>
                <a:lnTo>
                  <a:pt x="5766" y="181"/>
                </a:lnTo>
                <a:lnTo>
                  <a:pt x="5769" y="178"/>
                </a:lnTo>
                <a:cubicBezTo>
                  <a:pt x="5771" y="176"/>
                  <a:pt x="5772" y="174"/>
                  <a:pt x="5772" y="174"/>
                </a:cubicBezTo>
                <a:lnTo>
                  <a:pt x="5771" y="174"/>
                </a:lnTo>
                <a:lnTo>
                  <a:pt x="5770" y="174"/>
                </a:lnTo>
                <a:cubicBezTo>
                  <a:pt x="5770" y="174"/>
                  <a:pt x="5770" y="174"/>
                  <a:pt x="5770" y="174"/>
                </a:cubicBezTo>
                <a:cubicBezTo>
                  <a:pt x="5770" y="173"/>
                  <a:pt x="5771" y="172"/>
                  <a:pt x="5773" y="171"/>
                </a:cubicBezTo>
                <a:cubicBezTo>
                  <a:pt x="5776" y="167"/>
                  <a:pt x="5778" y="165"/>
                  <a:pt x="5778" y="164"/>
                </a:cubicBezTo>
                <a:cubicBezTo>
                  <a:pt x="5778" y="163"/>
                  <a:pt x="5781" y="159"/>
                  <a:pt x="5786" y="152"/>
                </a:cubicBezTo>
                <a:cubicBezTo>
                  <a:pt x="5792" y="145"/>
                  <a:pt x="5797" y="139"/>
                  <a:pt x="5801" y="133"/>
                </a:cubicBezTo>
                <a:cubicBezTo>
                  <a:pt x="5804" y="127"/>
                  <a:pt x="5807" y="125"/>
                  <a:pt x="5808" y="125"/>
                </a:cubicBezTo>
                <a:cubicBezTo>
                  <a:pt x="5808" y="125"/>
                  <a:pt x="5811" y="122"/>
                  <a:pt x="5814" y="116"/>
                </a:cubicBezTo>
                <a:cubicBezTo>
                  <a:pt x="5815" y="113"/>
                  <a:pt x="5817" y="111"/>
                  <a:pt x="5818" y="110"/>
                </a:cubicBezTo>
                <a:cubicBezTo>
                  <a:pt x="5819" y="108"/>
                  <a:pt x="5820" y="107"/>
                  <a:pt x="5821" y="107"/>
                </a:cubicBezTo>
                <a:cubicBezTo>
                  <a:pt x="5822" y="107"/>
                  <a:pt x="5822" y="107"/>
                  <a:pt x="5823" y="106"/>
                </a:cubicBezTo>
                <a:cubicBezTo>
                  <a:pt x="5823" y="106"/>
                  <a:pt x="5823" y="105"/>
                  <a:pt x="5823" y="104"/>
                </a:cubicBezTo>
                <a:lnTo>
                  <a:pt x="5823" y="103"/>
                </a:lnTo>
                <a:cubicBezTo>
                  <a:pt x="5823" y="101"/>
                  <a:pt x="5824" y="99"/>
                  <a:pt x="5826" y="98"/>
                </a:cubicBezTo>
                <a:cubicBezTo>
                  <a:pt x="5827" y="96"/>
                  <a:pt x="5829" y="96"/>
                  <a:pt x="5831" y="96"/>
                </a:cubicBezTo>
                <a:cubicBezTo>
                  <a:pt x="5831" y="96"/>
                  <a:pt x="5832" y="95"/>
                  <a:pt x="5832" y="95"/>
                </a:cubicBezTo>
                <a:cubicBezTo>
                  <a:pt x="5833" y="94"/>
                  <a:pt x="5833" y="93"/>
                  <a:pt x="5833" y="92"/>
                </a:cubicBezTo>
                <a:cubicBezTo>
                  <a:pt x="5833" y="91"/>
                  <a:pt x="5834" y="89"/>
                  <a:pt x="5837" y="86"/>
                </a:cubicBezTo>
                <a:cubicBezTo>
                  <a:pt x="5840" y="82"/>
                  <a:pt x="5844" y="78"/>
                  <a:pt x="5848" y="74"/>
                </a:cubicBezTo>
                <a:cubicBezTo>
                  <a:pt x="5855" y="68"/>
                  <a:pt x="5859" y="64"/>
                  <a:pt x="5859" y="64"/>
                </a:cubicBezTo>
                <a:cubicBezTo>
                  <a:pt x="5858" y="64"/>
                  <a:pt x="5858" y="64"/>
                  <a:pt x="5857" y="65"/>
                </a:cubicBezTo>
                <a:cubicBezTo>
                  <a:pt x="5854" y="68"/>
                  <a:pt x="5852" y="69"/>
                  <a:pt x="5852" y="69"/>
                </a:cubicBezTo>
                <a:cubicBezTo>
                  <a:pt x="5852" y="68"/>
                  <a:pt x="5854" y="67"/>
                  <a:pt x="5857" y="63"/>
                </a:cubicBezTo>
                <a:lnTo>
                  <a:pt x="5861" y="59"/>
                </a:lnTo>
                <a:lnTo>
                  <a:pt x="5865" y="57"/>
                </a:lnTo>
                <a:cubicBezTo>
                  <a:pt x="5867" y="57"/>
                  <a:pt x="5869" y="56"/>
                  <a:pt x="5871" y="54"/>
                </a:cubicBezTo>
                <a:cubicBezTo>
                  <a:pt x="5875" y="50"/>
                  <a:pt x="5880" y="47"/>
                  <a:pt x="5884" y="44"/>
                </a:cubicBezTo>
                <a:cubicBezTo>
                  <a:pt x="5889" y="41"/>
                  <a:pt x="5892" y="39"/>
                  <a:pt x="5893" y="39"/>
                </a:cubicBezTo>
                <a:cubicBezTo>
                  <a:pt x="5895" y="39"/>
                  <a:pt x="5896" y="38"/>
                  <a:pt x="5897" y="37"/>
                </a:cubicBezTo>
                <a:cubicBezTo>
                  <a:pt x="5900" y="35"/>
                  <a:pt x="5902" y="34"/>
                  <a:pt x="5902" y="33"/>
                </a:cubicBezTo>
                <a:lnTo>
                  <a:pt x="5897" y="34"/>
                </a:lnTo>
                <a:cubicBezTo>
                  <a:pt x="5897" y="32"/>
                  <a:pt x="5900" y="30"/>
                  <a:pt x="5904" y="29"/>
                </a:cubicBezTo>
                <a:cubicBezTo>
                  <a:pt x="5907" y="28"/>
                  <a:pt x="5911" y="27"/>
                  <a:pt x="5914" y="27"/>
                </a:cubicBezTo>
                <a:cubicBezTo>
                  <a:pt x="5919" y="27"/>
                  <a:pt x="5924" y="30"/>
                  <a:pt x="5929" y="34"/>
                </a:cubicBezTo>
                <a:cubicBezTo>
                  <a:pt x="5932" y="36"/>
                  <a:pt x="5933" y="38"/>
                  <a:pt x="5933" y="40"/>
                </a:cubicBezTo>
                <a:lnTo>
                  <a:pt x="5932" y="41"/>
                </a:lnTo>
                <a:lnTo>
                  <a:pt x="5932" y="41"/>
                </a:lnTo>
                <a:cubicBezTo>
                  <a:pt x="5930" y="41"/>
                  <a:pt x="5929" y="40"/>
                  <a:pt x="5928" y="38"/>
                </a:cubicBezTo>
                <a:cubicBezTo>
                  <a:pt x="5927" y="36"/>
                  <a:pt x="5926" y="35"/>
                  <a:pt x="5926" y="35"/>
                </a:cubicBezTo>
                <a:cubicBezTo>
                  <a:pt x="5926" y="39"/>
                  <a:pt x="5930" y="43"/>
                  <a:pt x="5937" y="47"/>
                </a:cubicBezTo>
                <a:cubicBezTo>
                  <a:pt x="5942" y="48"/>
                  <a:pt x="5944" y="50"/>
                  <a:pt x="5946" y="53"/>
                </a:cubicBezTo>
                <a:cubicBezTo>
                  <a:pt x="5948" y="56"/>
                  <a:pt x="5949" y="59"/>
                  <a:pt x="5949" y="64"/>
                </a:cubicBezTo>
                <a:cubicBezTo>
                  <a:pt x="5949" y="74"/>
                  <a:pt x="5947" y="86"/>
                  <a:pt x="5943" y="101"/>
                </a:cubicBezTo>
                <a:cubicBezTo>
                  <a:pt x="5940" y="110"/>
                  <a:pt x="5937" y="117"/>
                  <a:pt x="5935" y="122"/>
                </a:cubicBezTo>
                <a:cubicBezTo>
                  <a:pt x="5933" y="124"/>
                  <a:pt x="5933" y="125"/>
                  <a:pt x="5933" y="126"/>
                </a:cubicBezTo>
                <a:cubicBezTo>
                  <a:pt x="5933" y="126"/>
                  <a:pt x="5933" y="127"/>
                  <a:pt x="5933" y="127"/>
                </a:cubicBezTo>
                <a:cubicBezTo>
                  <a:pt x="5934" y="127"/>
                  <a:pt x="5934" y="127"/>
                  <a:pt x="5934" y="127"/>
                </a:cubicBezTo>
                <a:cubicBezTo>
                  <a:pt x="5934" y="127"/>
                  <a:pt x="5933" y="128"/>
                  <a:pt x="5932" y="129"/>
                </a:cubicBezTo>
                <a:cubicBezTo>
                  <a:pt x="5930" y="130"/>
                  <a:pt x="5929" y="133"/>
                  <a:pt x="5929" y="136"/>
                </a:cubicBezTo>
                <a:cubicBezTo>
                  <a:pt x="5929" y="139"/>
                  <a:pt x="5928" y="142"/>
                  <a:pt x="5927" y="142"/>
                </a:cubicBezTo>
                <a:lnTo>
                  <a:pt x="5926" y="141"/>
                </a:lnTo>
                <a:cubicBezTo>
                  <a:pt x="5926" y="141"/>
                  <a:pt x="5926" y="142"/>
                  <a:pt x="5926" y="142"/>
                </a:cubicBezTo>
                <a:lnTo>
                  <a:pt x="5926" y="144"/>
                </a:lnTo>
                <a:cubicBezTo>
                  <a:pt x="5926" y="146"/>
                  <a:pt x="5926" y="147"/>
                  <a:pt x="5924" y="148"/>
                </a:cubicBezTo>
                <a:cubicBezTo>
                  <a:pt x="5922" y="149"/>
                  <a:pt x="5922" y="150"/>
                  <a:pt x="5922" y="152"/>
                </a:cubicBezTo>
                <a:lnTo>
                  <a:pt x="5922" y="157"/>
                </a:lnTo>
                <a:cubicBezTo>
                  <a:pt x="5922" y="158"/>
                  <a:pt x="5922" y="158"/>
                  <a:pt x="5922" y="158"/>
                </a:cubicBezTo>
                <a:lnTo>
                  <a:pt x="5919" y="157"/>
                </a:lnTo>
                <a:cubicBezTo>
                  <a:pt x="5919" y="157"/>
                  <a:pt x="5919" y="157"/>
                  <a:pt x="5919" y="158"/>
                </a:cubicBezTo>
                <a:lnTo>
                  <a:pt x="5920" y="162"/>
                </a:lnTo>
                <a:lnTo>
                  <a:pt x="5917" y="161"/>
                </a:lnTo>
                <a:lnTo>
                  <a:pt x="5918" y="166"/>
                </a:lnTo>
                <a:cubicBezTo>
                  <a:pt x="5918" y="167"/>
                  <a:pt x="5918" y="167"/>
                  <a:pt x="5917" y="167"/>
                </a:cubicBezTo>
                <a:lnTo>
                  <a:pt x="5915" y="166"/>
                </a:lnTo>
                <a:cubicBezTo>
                  <a:pt x="5915" y="166"/>
                  <a:pt x="5914" y="166"/>
                  <a:pt x="5914" y="167"/>
                </a:cubicBezTo>
                <a:lnTo>
                  <a:pt x="5916" y="171"/>
                </a:lnTo>
                <a:cubicBezTo>
                  <a:pt x="5916" y="171"/>
                  <a:pt x="5915" y="171"/>
                  <a:pt x="5915" y="171"/>
                </a:cubicBezTo>
                <a:lnTo>
                  <a:pt x="5913" y="171"/>
                </a:lnTo>
                <a:cubicBezTo>
                  <a:pt x="5913" y="171"/>
                  <a:pt x="5912" y="171"/>
                  <a:pt x="5912" y="172"/>
                </a:cubicBezTo>
                <a:lnTo>
                  <a:pt x="5914" y="179"/>
                </a:lnTo>
                <a:lnTo>
                  <a:pt x="5912" y="178"/>
                </a:lnTo>
                <a:cubicBezTo>
                  <a:pt x="5912" y="177"/>
                  <a:pt x="5911" y="176"/>
                  <a:pt x="5911" y="176"/>
                </a:cubicBezTo>
                <a:cubicBezTo>
                  <a:pt x="5910" y="176"/>
                  <a:pt x="5909" y="178"/>
                  <a:pt x="5909" y="182"/>
                </a:cubicBezTo>
                <a:cubicBezTo>
                  <a:pt x="5909" y="183"/>
                  <a:pt x="5909" y="184"/>
                  <a:pt x="5909" y="185"/>
                </a:cubicBezTo>
                <a:cubicBezTo>
                  <a:pt x="5910" y="186"/>
                  <a:pt x="5910" y="186"/>
                  <a:pt x="5910" y="187"/>
                </a:cubicBezTo>
                <a:cubicBezTo>
                  <a:pt x="5910" y="188"/>
                  <a:pt x="5909" y="188"/>
                  <a:pt x="5909" y="188"/>
                </a:cubicBezTo>
                <a:lnTo>
                  <a:pt x="5907" y="188"/>
                </a:lnTo>
                <a:cubicBezTo>
                  <a:pt x="5906" y="188"/>
                  <a:pt x="5905" y="189"/>
                  <a:pt x="5905" y="191"/>
                </a:cubicBezTo>
                <a:cubicBezTo>
                  <a:pt x="5905" y="193"/>
                  <a:pt x="5905" y="194"/>
                  <a:pt x="5904" y="194"/>
                </a:cubicBezTo>
                <a:lnTo>
                  <a:pt x="5903" y="194"/>
                </a:lnTo>
                <a:cubicBezTo>
                  <a:pt x="5902" y="194"/>
                  <a:pt x="5901" y="195"/>
                  <a:pt x="5900" y="197"/>
                </a:cubicBezTo>
                <a:cubicBezTo>
                  <a:pt x="5900" y="199"/>
                  <a:pt x="5899" y="201"/>
                  <a:pt x="5899" y="201"/>
                </a:cubicBezTo>
                <a:cubicBezTo>
                  <a:pt x="5899" y="202"/>
                  <a:pt x="5899" y="202"/>
                  <a:pt x="5900" y="202"/>
                </a:cubicBezTo>
                <a:lnTo>
                  <a:pt x="5903" y="200"/>
                </a:lnTo>
                <a:cubicBezTo>
                  <a:pt x="5903" y="201"/>
                  <a:pt x="5903" y="201"/>
                  <a:pt x="5902" y="202"/>
                </a:cubicBezTo>
                <a:cubicBezTo>
                  <a:pt x="5902" y="203"/>
                  <a:pt x="5901" y="204"/>
                  <a:pt x="5900" y="204"/>
                </a:cubicBezTo>
                <a:lnTo>
                  <a:pt x="5899" y="203"/>
                </a:lnTo>
                <a:cubicBezTo>
                  <a:pt x="5897" y="203"/>
                  <a:pt x="5896" y="205"/>
                  <a:pt x="5895" y="208"/>
                </a:cubicBezTo>
                <a:lnTo>
                  <a:pt x="5894" y="213"/>
                </a:lnTo>
                <a:lnTo>
                  <a:pt x="5896" y="212"/>
                </a:lnTo>
                <a:cubicBezTo>
                  <a:pt x="5897" y="212"/>
                  <a:pt x="5897" y="212"/>
                  <a:pt x="5897" y="213"/>
                </a:cubicBezTo>
                <a:cubicBezTo>
                  <a:pt x="5897" y="213"/>
                  <a:pt x="5896" y="213"/>
                  <a:pt x="5896" y="215"/>
                </a:cubicBezTo>
                <a:cubicBezTo>
                  <a:pt x="5895" y="216"/>
                  <a:pt x="5895" y="216"/>
                  <a:pt x="5893" y="216"/>
                </a:cubicBezTo>
                <a:lnTo>
                  <a:pt x="5892" y="216"/>
                </a:lnTo>
                <a:cubicBezTo>
                  <a:pt x="5891" y="216"/>
                  <a:pt x="5891" y="218"/>
                  <a:pt x="5891" y="220"/>
                </a:cubicBezTo>
                <a:lnTo>
                  <a:pt x="5891" y="222"/>
                </a:lnTo>
                <a:cubicBezTo>
                  <a:pt x="5891" y="222"/>
                  <a:pt x="5891" y="222"/>
                  <a:pt x="5891" y="222"/>
                </a:cubicBezTo>
                <a:lnTo>
                  <a:pt x="5890" y="222"/>
                </a:lnTo>
                <a:cubicBezTo>
                  <a:pt x="5889" y="222"/>
                  <a:pt x="5887" y="224"/>
                  <a:pt x="5885" y="228"/>
                </a:cubicBezTo>
                <a:lnTo>
                  <a:pt x="5882" y="234"/>
                </a:lnTo>
                <a:cubicBezTo>
                  <a:pt x="5883" y="234"/>
                  <a:pt x="5884" y="233"/>
                  <a:pt x="5886" y="230"/>
                </a:cubicBezTo>
                <a:lnTo>
                  <a:pt x="5890" y="227"/>
                </a:lnTo>
                <a:lnTo>
                  <a:pt x="5889" y="228"/>
                </a:lnTo>
                <a:cubicBezTo>
                  <a:pt x="5888" y="229"/>
                  <a:pt x="5886" y="232"/>
                  <a:pt x="5884" y="237"/>
                </a:cubicBezTo>
                <a:cubicBezTo>
                  <a:pt x="5881" y="242"/>
                  <a:pt x="5878" y="247"/>
                  <a:pt x="5874" y="253"/>
                </a:cubicBezTo>
                <a:cubicBezTo>
                  <a:pt x="5871" y="259"/>
                  <a:pt x="5868" y="264"/>
                  <a:pt x="5865" y="267"/>
                </a:cubicBezTo>
                <a:cubicBezTo>
                  <a:pt x="5863" y="272"/>
                  <a:pt x="5861" y="274"/>
                  <a:pt x="5861" y="274"/>
                </a:cubicBezTo>
                <a:cubicBezTo>
                  <a:pt x="5860" y="274"/>
                  <a:pt x="5860" y="273"/>
                  <a:pt x="5860" y="273"/>
                </a:cubicBezTo>
                <a:lnTo>
                  <a:pt x="5862" y="269"/>
                </a:lnTo>
                <a:cubicBezTo>
                  <a:pt x="5862" y="269"/>
                  <a:pt x="5861" y="269"/>
                  <a:pt x="5860" y="270"/>
                </a:cubicBezTo>
                <a:cubicBezTo>
                  <a:pt x="5859" y="271"/>
                  <a:pt x="5859" y="272"/>
                  <a:pt x="5859" y="275"/>
                </a:cubicBezTo>
                <a:lnTo>
                  <a:pt x="5859" y="276"/>
                </a:lnTo>
                <a:cubicBezTo>
                  <a:pt x="5859" y="277"/>
                  <a:pt x="5859" y="277"/>
                  <a:pt x="5858" y="278"/>
                </a:cubicBezTo>
                <a:cubicBezTo>
                  <a:pt x="5857" y="279"/>
                  <a:pt x="5856" y="280"/>
                  <a:pt x="5855" y="281"/>
                </a:cubicBezTo>
                <a:cubicBezTo>
                  <a:pt x="5855" y="282"/>
                  <a:pt x="5854" y="283"/>
                  <a:pt x="5854" y="283"/>
                </a:cubicBezTo>
                <a:cubicBezTo>
                  <a:pt x="5854" y="282"/>
                  <a:pt x="5854" y="281"/>
                  <a:pt x="5855" y="279"/>
                </a:cubicBezTo>
                <a:cubicBezTo>
                  <a:pt x="5857" y="278"/>
                  <a:pt x="5857" y="277"/>
                  <a:pt x="5857" y="277"/>
                </a:cubicBezTo>
                <a:cubicBezTo>
                  <a:pt x="5857" y="276"/>
                  <a:pt x="5857" y="276"/>
                  <a:pt x="5857" y="276"/>
                </a:cubicBezTo>
                <a:lnTo>
                  <a:pt x="5856" y="277"/>
                </a:lnTo>
                <a:cubicBezTo>
                  <a:pt x="5855" y="277"/>
                  <a:pt x="5855" y="278"/>
                  <a:pt x="5854" y="279"/>
                </a:cubicBezTo>
                <a:cubicBezTo>
                  <a:pt x="5853" y="280"/>
                  <a:pt x="5852" y="281"/>
                  <a:pt x="5851" y="283"/>
                </a:cubicBezTo>
                <a:cubicBezTo>
                  <a:pt x="5850" y="285"/>
                  <a:pt x="5850" y="286"/>
                  <a:pt x="5850" y="286"/>
                </a:cubicBezTo>
                <a:cubicBezTo>
                  <a:pt x="5850" y="286"/>
                  <a:pt x="5850" y="287"/>
                  <a:pt x="5850" y="287"/>
                </a:cubicBezTo>
                <a:lnTo>
                  <a:pt x="5852" y="286"/>
                </a:lnTo>
                <a:cubicBezTo>
                  <a:pt x="5852" y="286"/>
                  <a:pt x="5851" y="288"/>
                  <a:pt x="5848" y="291"/>
                </a:cubicBezTo>
                <a:cubicBezTo>
                  <a:pt x="5840" y="299"/>
                  <a:pt x="5833" y="308"/>
                  <a:pt x="5828" y="318"/>
                </a:cubicBezTo>
                <a:cubicBezTo>
                  <a:pt x="5825" y="322"/>
                  <a:pt x="5824" y="324"/>
                  <a:pt x="5823" y="324"/>
                </a:cubicBezTo>
                <a:cubicBezTo>
                  <a:pt x="5822" y="324"/>
                  <a:pt x="5821" y="325"/>
                  <a:pt x="5821" y="326"/>
                </a:cubicBezTo>
                <a:cubicBezTo>
                  <a:pt x="5821" y="328"/>
                  <a:pt x="5819" y="331"/>
                  <a:pt x="5814" y="337"/>
                </a:cubicBezTo>
                <a:cubicBezTo>
                  <a:pt x="5812" y="339"/>
                  <a:pt x="5810" y="342"/>
                  <a:pt x="5808" y="345"/>
                </a:cubicBezTo>
                <a:cubicBezTo>
                  <a:pt x="5784" y="375"/>
                  <a:pt x="5760" y="402"/>
                  <a:pt x="5733" y="427"/>
                </a:cubicBezTo>
                <a:cubicBezTo>
                  <a:pt x="5721" y="438"/>
                  <a:pt x="5714" y="445"/>
                  <a:pt x="5710" y="446"/>
                </a:cubicBezTo>
                <a:cubicBezTo>
                  <a:pt x="5709" y="446"/>
                  <a:pt x="5707" y="447"/>
                  <a:pt x="5704" y="450"/>
                </a:cubicBezTo>
                <a:cubicBezTo>
                  <a:pt x="5702" y="451"/>
                  <a:pt x="5701" y="451"/>
                  <a:pt x="5699" y="451"/>
                </a:cubicBezTo>
                <a:lnTo>
                  <a:pt x="5695" y="451"/>
                </a:lnTo>
                <a:cubicBezTo>
                  <a:pt x="5693" y="451"/>
                  <a:pt x="5693" y="451"/>
                  <a:pt x="5693" y="452"/>
                </a:cubicBezTo>
                <a:cubicBezTo>
                  <a:pt x="5693" y="453"/>
                  <a:pt x="5691" y="454"/>
                  <a:pt x="5687" y="454"/>
                </a:cubicBezTo>
                <a:lnTo>
                  <a:pt x="5684" y="453"/>
                </a:lnTo>
                <a:cubicBezTo>
                  <a:pt x="5683" y="453"/>
                  <a:pt x="5682" y="454"/>
                  <a:pt x="5681" y="456"/>
                </a:cubicBezTo>
                <a:cubicBezTo>
                  <a:pt x="5679" y="458"/>
                  <a:pt x="5678" y="461"/>
                  <a:pt x="5676" y="465"/>
                </a:cubicBezTo>
                <a:cubicBezTo>
                  <a:pt x="5659" y="508"/>
                  <a:pt x="5639" y="563"/>
                  <a:pt x="5619" y="629"/>
                </a:cubicBezTo>
                <a:cubicBezTo>
                  <a:pt x="5610" y="656"/>
                  <a:pt x="5606" y="672"/>
                  <a:pt x="5605" y="679"/>
                </a:cubicBezTo>
                <a:cubicBezTo>
                  <a:pt x="5605" y="684"/>
                  <a:pt x="5604" y="687"/>
                  <a:pt x="5603" y="687"/>
                </a:cubicBezTo>
                <a:lnTo>
                  <a:pt x="5597" y="709"/>
                </a:lnTo>
                <a:cubicBezTo>
                  <a:pt x="5594" y="722"/>
                  <a:pt x="5592" y="729"/>
                  <a:pt x="5591" y="729"/>
                </a:cubicBezTo>
                <a:lnTo>
                  <a:pt x="5590" y="728"/>
                </a:lnTo>
                <a:cubicBezTo>
                  <a:pt x="5589" y="728"/>
                  <a:pt x="5589" y="731"/>
                  <a:pt x="5589" y="736"/>
                </a:cubicBezTo>
                <a:lnTo>
                  <a:pt x="5590" y="742"/>
                </a:lnTo>
                <a:cubicBezTo>
                  <a:pt x="5589" y="742"/>
                  <a:pt x="5589" y="742"/>
                  <a:pt x="5589" y="740"/>
                </a:cubicBezTo>
                <a:cubicBezTo>
                  <a:pt x="5588" y="739"/>
                  <a:pt x="5588" y="738"/>
                  <a:pt x="5587" y="738"/>
                </a:cubicBezTo>
                <a:cubicBezTo>
                  <a:pt x="5587" y="738"/>
                  <a:pt x="5587" y="739"/>
                  <a:pt x="5587" y="740"/>
                </a:cubicBezTo>
                <a:lnTo>
                  <a:pt x="5588" y="753"/>
                </a:lnTo>
                <a:cubicBezTo>
                  <a:pt x="5588" y="755"/>
                  <a:pt x="5588" y="755"/>
                  <a:pt x="5587" y="755"/>
                </a:cubicBezTo>
                <a:cubicBezTo>
                  <a:pt x="5587" y="755"/>
                  <a:pt x="5587" y="755"/>
                  <a:pt x="5586" y="753"/>
                </a:cubicBezTo>
                <a:cubicBezTo>
                  <a:pt x="5586" y="752"/>
                  <a:pt x="5585" y="751"/>
                  <a:pt x="5585" y="751"/>
                </a:cubicBezTo>
                <a:cubicBezTo>
                  <a:pt x="5585" y="751"/>
                  <a:pt x="5584" y="753"/>
                  <a:pt x="5584" y="758"/>
                </a:cubicBezTo>
                <a:cubicBezTo>
                  <a:pt x="5584" y="763"/>
                  <a:pt x="5585" y="766"/>
                  <a:pt x="5586" y="766"/>
                </a:cubicBezTo>
                <a:cubicBezTo>
                  <a:pt x="5587" y="766"/>
                  <a:pt x="5589" y="764"/>
                  <a:pt x="5591" y="759"/>
                </a:cubicBezTo>
                <a:cubicBezTo>
                  <a:pt x="5591" y="758"/>
                  <a:pt x="5592" y="757"/>
                  <a:pt x="5592" y="756"/>
                </a:cubicBezTo>
                <a:cubicBezTo>
                  <a:pt x="5593" y="756"/>
                  <a:pt x="5594" y="755"/>
                  <a:pt x="5595" y="754"/>
                </a:cubicBezTo>
                <a:cubicBezTo>
                  <a:pt x="5596" y="754"/>
                  <a:pt x="5597" y="755"/>
                  <a:pt x="5597" y="755"/>
                </a:cubicBezTo>
                <a:cubicBezTo>
                  <a:pt x="5597" y="756"/>
                  <a:pt x="5596" y="757"/>
                  <a:pt x="5595" y="757"/>
                </a:cubicBezTo>
                <a:cubicBezTo>
                  <a:pt x="5594" y="757"/>
                  <a:pt x="5594" y="758"/>
                  <a:pt x="5594" y="759"/>
                </a:cubicBezTo>
                <a:lnTo>
                  <a:pt x="5594" y="760"/>
                </a:lnTo>
                <a:cubicBezTo>
                  <a:pt x="5594" y="761"/>
                  <a:pt x="5594" y="762"/>
                  <a:pt x="5593" y="762"/>
                </a:cubicBezTo>
                <a:cubicBezTo>
                  <a:pt x="5592" y="762"/>
                  <a:pt x="5592" y="762"/>
                  <a:pt x="5592" y="764"/>
                </a:cubicBezTo>
                <a:lnTo>
                  <a:pt x="5592" y="765"/>
                </a:lnTo>
                <a:cubicBezTo>
                  <a:pt x="5592" y="766"/>
                  <a:pt x="5592" y="767"/>
                  <a:pt x="5591" y="767"/>
                </a:cubicBezTo>
                <a:cubicBezTo>
                  <a:pt x="5590" y="767"/>
                  <a:pt x="5589" y="768"/>
                  <a:pt x="5588" y="770"/>
                </a:cubicBezTo>
                <a:cubicBezTo>
                  <a:pt x="5585" y="775"/>
                  <a:pt x="5583" y="781"/>
                  <a:pt x="5582" y="789"/>
                </a:cubicBezTo>
                <a:cubicBezTo>
                  <a:pt x="5582" y="791"/>
                  <a:pt x="5583" y="792"/>
                  <a:pt x="5583" y="792"/>
                </a:cubicBezTo>
                <a:cubicBezTo>
                  <a:pt x="5584" y="792"/>
                  <a:pt x="5586" y="786"/>
                  <a:pt x="5591" y="776"/>
                </a:cubicBezTo>
                <a:cubicBezTo>
                  <a:pt x="5597" y="763"/>
                  <a:pt x="5602" y="752"/>
                  <a:pt x="5607" y="742"/>
                </a:cubicBezTo>
                <a:cubicBezTo>
                  <a:pt x="5612" y="732"/>
                  <a:pt x="5616" y="726"/>
                  <a:pt x="5617" y="725"/>
                </a:cubicBezTo>
                <a:lnTo>
                  <a:pt x="5619" y="723"/>
                </a:lnTo>
                <a:cubicBezTo>
                  <a:pt x="5619" y="723"/>
                  <a:pt x="5618" y="723"/>
                  <a:pt x="5618" y="723"/>
                </a:cubicBezTo>
                <a:cubicBezTo>
                  <a:pt x="5618" y="723"/>
                  <a:pt x="5617" y="723"/>
                  <a:pt x="5617" y="723"/>
                </a:cubicBezTo>
                <a:cubicBezTo>
                  <a:pt x="5617" y="722"/>
                  <a:pt x="5618" y="721"/>
                  <a:pt x="5619" y="720"/>
                </a:cubicBezTo>
                <a:cubicBezTo>
                  <a:pt x="5621" y="718"/>
                  <a:pt x="5622" y="717"/>
                  <a:pt x="5622" y="717"/>
                </a:cubicBezTo>
                <a:lnTo>
                  <a:pt x="5622" y="716"/>
                </a:lnTo>
                <a:cubicBezTo>
                  <a:pt x="5622" y="714"/>
                  <a:pt x="5622" y="714"/>
                  <a:pt x="5624" y="714"/>
                </a:cubicBezTo>
                <a:cubicBezTo>
                  <a:pt x="5625" y="714"/>
                  <a:pt x="5625" y="713"/>
                  <a:pt x="5625" y="713"/>
                </a:cubicBezTo>
                <a:cubicBezTo>
                  <a:pt x="5625" y="713"/>
                  <a:pt x="5625" y="712"/>
                  <a:pt x="5625" y="712"/>
                </a:cubicBezTo>
                <a:cubicBezTo>
                  <a:pt x="5624" y="712"/>
                  <a:pt x="5624" y="712"/>
                  <a:pt x="5624" y="711"/>
                </a:cubicBezTo>
                <a:cubicBezTo>
                  <a:pt x="5624" y="710"/>
                  <a:pt x="5625" y="709"/>
                  <a:pt x="5626" y="708"/>
                </a:cubicBezTo>
                <a:cubicBezTo>
                  <a:pt x="5628" y="707"/>
                  <a:pt x="5629" y="707"/>
                  <a:pt x="5629" y="706"/>
                </a:cubicBezTo>
                <a:cubicBezTo>
                  <a:pt x="5629" y="706"/>
                  <a:pt x="5628" y="706"/>
                  <a:pt x="5627" y="706"/>
                </a:cubicBezTo>
                <a:cubicBezTo>
                  <a:pt x="5621" y="706"/>
                  <a:pt x="5618" y="705"/>
                  <a:pt x="5618" y="705"/>
                </a:cubicBezTo>
                <a:cubicBezTo>
                  <a:pt x="5618" y="704"/>
                  <a:pt x="5619" y="703"/>
                  <a:pt x="5619" y="702"/>
                </a:cubicBezTo>
                <a:cubicBezTo>
                  <a:pt x="5620" y="701"/>
                  <a:pt x="5621" y="701"/>
                  <a:pt x="5622" y="701"/>
                </a:cubicBezTo>
                <a:cubicBezTo>
                  <a:pt x="5622" y="701"/>
                  <a:pt x="5623" y="701"/>
                  <a:pt x="5624" y="702"/>
                </a:cubicBezTo>
                <a:cubicBezTo>
                  <a:pt x="5624" y="703"/>
                  <a:pt x="5624" y="704"/>
                  <a:pt x="5625" y="704"/>
                </a:cubicBezTo>
                <a:cubicBezTo>
                  <a:pt x="5626" y="704"/>
                  <a:pt x="5627" y="703"/>
                  <a:pt x="5628" y="701"/>
                </a:cubicBezTo>
                <a:cubicBezTo>
                  <a:pt x="5629" y="700"/>
                  <a:pt x="5629" y="698"/>
                  <a:pt x="5629" y="696"/>
                </a:cubicBezTo>
                <a:cubicBezTo>
                  <a:pt x="5629" y="694"/>
                  <a:pt x="5630" y="693"/>
                  <a:pt x="5631" y="693"/>
                </a:cubicBezTo>
                <a:cubicBezTo>
                  <a:pt x="5633" y="693"/>
                  <a:pt x="5634" y="692"/>
                  <a:pt x="5635" y="689"/>
                </a:cubicBezTo>
                <a:cubicBezTo>
                  <a:pt x="5636" y="686"/>
                  <a:pt x="5637" y="683"/>
                  <a:pt x="5640" y="681"/>
                </a:cubicBezTo>
                <a:cubicBezTo>
                  <a:pt x="5641" y="679"/>
                  <a:pt x="5641" y="678"/>
                  <a:pt x="5641" y="676"/>
                </a:cubicBezTo>
                <a:cubicBezTo>
                  <a:pt x="5641" y="672"/>
                  <a:pt x="5639" y="670"/>
                  <a:pt x="5636" y="670"/>
                </a:cubicBezTo>
                <a:lnTo>
                  <a:pt x="5635" y="670"/>
                </a:lnTo>
                <a:cubicBezTo>
                  <a:pt x="5634" y="670"/>
                  <a:pt x="5634" y="671"/>
                  <a:pt x="5634" y="671"/>
                </a:cubicBezTo>
                <a:lnTo>
                  <a:pt x="5636" y="671"/>
                </a:lnTo>
                <a:cubicBezTo>
                  <a:pt x="5637" y="672"/>
                  <a:pt x="5638" y="673"/>
                  <a:pt x="5638" y="674"/>
                </a:cubicBezTo>
                <a:cubicBezTo>
                  <a:pt x="5638" y="677"/>
                  <a:pt x="5637" y="679"/>
                  <a:pt x="5635" y="681"/>
                </a:cubicBezTo>
                <a:cubicBezTo>
                  <a:pt x="5634" y="684"/>
                  <a:pt x="5632" y="685"/>
                  <a:pt x="5629" y="685"/>
                </a:cubicBezTo>
                <a:lnTo>
                  <a:pt x="5626" y="685"/>
                </a:lnTo>
                <a:lnTo>
                  <a:pt x="5627" y="687"/>
                </a:lnTo>
                <a:cubicBezTo>
                  <a:pt x="5627" y="688"/>
                  <a:pt x="5626" y="689"/>
                  <a:pt x="5626" y="690"/>
                </a:cubicBezTo>
                <a:cubicBezTo>
                  <a:pt x="5625" y="690"/>
                  <a:pt x="5624" y="689"/>
                  <a:pt x="5624" y="688"/>
                </a:cubicBezTo>
                <a:cubicBezTo>
                  <a:pt x="5624" y="684"/>
                  <a:pt x="5626" y="683"/>
                  <a:pt x="5629" y="683"/>
                </a:cubicBezTo>
                <a:cubicBezTo>
                  <a:pt x="5630" y="683"/>
                  <a:pt x="5631" y="683"/>
                  <a:pt x="5631" y="682"/>
                </a:cubicBezTo>
                <a:lnTo>
                  <a:pt x="5631" y="679"/>
                </a:lnTo>
                <a:cubicBezTo>
                  <a:pt x="5631" y="678"/>
                  <a:pt x="5631" y="676"/>
                  <a:pt x="5632" y="674"/>
                </a:cubicBezTo>
                <a:cubicBezTo>
                  <a:pt x="5632" y="672"/>
                  <a:pt x="5633" y="671"/>
                  <a:pt x="5634" y="669"/>
                </a:cubicBezTo>
                <a:cubicBezTo>
                  <a:pt x="5634" y="668"/>
                  <a:pt x="5635" y="667"/>
                  <a:pt x="5636" y="667"/>
                </a:cubicBezTo>
                <a:lnTo>
                  <a:pt x="5637" y="667"/>
                </a:lnTo>
                <a:cubicBezTo>
                  <a:pt x="5637" y="667"/>
                  <a:pt x="5638" y="667"/>
                  <a:pt x="5638" y="666"/>
                </a:cubicBezTo>
                <a:lnTo>
                  <a:pt x="5637" y="664"/>
                </a:lnTo>
                <a:cubicBezTo>
                  <a:pt x="5637" y="663"/>
                  <a:pt x="5638" y="662"/>
                  <a:pt x="5639" y="661"/>
                </a:cubicBezTo>
                <a:cubicBezTo>
                  <a:pt x="5639" y="661"/>
                  <a:pt x="5640" y="660"/>
                  <a:pt x="5640" y="659"/>
                </a:cubicBezTo>
                <a:lnTo>
                  <a:pt x="5639" y="657"/>
                </a:lnTo>
                <a:cubicBezTo>
                  <a:pt x="5639" y="655"/>
                  <a:pt x="5640" y="654"/>
                  <a:pt x="5641" y="654"/>
                </a:cubicBezTo>
                <a:cubicBezTo>
                  <a:pt x="5642" y="654"/>
                  <a:pt x="5644" y="652"/>
                  <a:pt x="5646" y="647"/>
                </a:cubicBezTo>
                <a:cubicBezTo>
                  <a:pt x="5651" y="637"/>
                  <a:pt x="5659" y="625"/>
                  <a:pt x="5671" y="612"/>
                </a:cubicBezTo>
                <a:cubicBezTo>
                  <a:pt x="5683" y="598"/>
                  <a:pt x="5694" y="587"/>
                  <a:pt x="5707" y="576"/>
                </a:cubicBezTo>
                <a:cubicBezTo>
                  <a:pt x="5719" y="566"/>
                  <a:pt x="5727" y="561"/>
                  <a:pt x="5733" y="561"/>
                </a:cubicBezTo>
                <a:cubicBezTo>
                  <a:pt x="5733" y="561"/>
                  <a:pt x="5734" y="561"/>
                  <a:pt x="5734" y="561"/>
                </a:cubicBezTo>
                <a:cubicBezTo>
                  <a:pt x="5735" y="561"/>
                  <a:pt x="5735" y="562"/>
                  <a:pt x="5735" y="562"/>
                </a:cubicBezTo>
                <a:cubicBezTo>
                  <a:pt x="5736" y="562"/>
                  <a:pt x="5736" y="561"/>
                  <a:pt x="5736" y="559"/>
                </a:cubicBezTo>
                <a:cubicBezTo>
                  <a:pt x="5736" y="558"/>
                  <a:pt x="5739" y="557"/>
                  <a:pt x="5743" y="557"/>
                </a:cubicBezTo>
                <a:cubicBezTo>
                  <a:pt x="5748" y="557"/>
                  <a:pt x="5755" y="558"/>
                  <a:pt x="5762" y="559"/>
                </a:cubicBezTo>
                <a:cubicBezTo>
                  <a:pt x="5770" y="561"/>
                  <a:pt x="5777" y="563"/>
                  <a:pt x="5783" y="566"/>
                </a:cubicBezTo>
                <a:cubicBezTo>
                  <a:pt x="5790" y="568"/>
                  <a:pt x="5794" y="570"/>
                  <a:pt x="5796" y="572"/>
                </a:cubicBezTo>
                <a:lnTo>
                  <a:pt x="5799" y="575"/>
                </a:lnTo>
                <a:cubicBezTo>
                  <a:pt x="5799" y="576"/>
                  <a:pt x="5799" y="576"/>
                  <a:pt x="5798" y="576"/>
                </a:cubicBezTo>
                <a:lnTo>
                  <a:pt x="5795" y="574"/>
                </a:lnTo>
                <a:lnTo>
                  <a:pt x="5796" y="575"/>
                </a:lnTo>
                <a:cubicBezTo>
                  <a:pt x="5797" y="577"/>
                  <a:pt x="5798" y="577"/>
                  <a:pt x="5799" y="578"/>
                </a:cubicBezTo>
                <a:cubicBezTo>
                  <a:pt x="5800" y="578"/>
                  <a:pt x="5802" y="578"/>
                  <a:pt x="5803" y="578"/>
                </a:cubicBezTo>
                <a:cubicBezTo>
                  <a:pt x="5805" y="579"/>
                  <a:pt x="5807" y="582"/>
                  <a:pt x="5811" y="587"/>
                </a:cubicBezTo>
                <a:cubicBezTo>
                  <a:pt x="5814" y="591"/>
                  <a:pt x="5815" y="593"/>
                  <a:pt x="5815" y="593"/>
                </a:cubicBezTo>
                <a:cubicBezTo>
                  <a:pt x="5815" y="593"/>
                  <a:pt x="5813" y="591"/>
                  <a:pt x="5809" y="587"/>
                </a:cubicBezTo>
                <a:cubicBezTo>
                  <a:pt x="5805" y="583"/>
                  <a:pt x="5803" y="581"/>
                  <a:pt x="5802" y="581"/>
                </a:cubicBezTo>
                <a:cubicBezTo>
                  <a:pt x="5802" y="582"/>
                  <a:pt x="5804" y="584"/>
                  <a:pt x="5807" y="588"/>
                </a:cubicBezTo>
                <a:cubicBezTo>
                  <a:pt x="5812" y="594"/>
                  <a:pt x="5815" y="597"/>
                  <a:pt x="5817" y="597"/>
                </a:cubicBezTo>
                <a:cubicBezTo>
                  <a:pt x="5820" y="597"/>
                  <a:pt x="5821" y="597"/>
                  <a:pt x="5821" y="597"/>
                </a:cubicBezTo>
                <a:cubicBezTo>
                  <a:pt x="5821" y="598"/>
                  <a:pt x="5820" y="598"/>
                  <a:pt x="5819" y="598"/>
                </a:cubicBezTo>
                <a:cubicBezTo>
                  <a:pt x="5818" y="599"/>
                  <a:pt x="5817" y="600"/>
                  <a:pt x="5817" y="601"/>
                </a:cubicBezTo>
                <a:cubicBezTo>
                  <a:pt x="5817" y="602"/>
                  <a:pt x="5818" y="603"/>
                  <a:pt x="5820" y="604"/>
                </a:cubicBezTo>
                <a:cubicBezTo>
                  <a:pt x="5822" y="606"/>
                  <a:pt x="5823" y="608"/>
                  <a:pt x="5824" y="611"/>
                </a:cubicBezTo>
                <a:cubicBezTo>
                  <a:pt x="5825" y="614"/>
                  <a:pt x="5826" y="616"/>
                  <a:pt x="5827" y="617"/>
                </a:cubicBezTo>
                <a:cubicBezTo>
                  <a:pt x="5828" y="618"/>
                  <a:pt x="5829" y="619"/>
                  <a:pt x="5829" y="619"/>
                </a:cubicBezTo>
                <a:cubicBezTo>
                  <a:pt x="5829" y="620"/>
                  <a:pt x="5829" y="620"/>
                  <a:pt x="5829" y="620"/>
                </a:cubicBezTo>
                <a:cubicBezTo>
                  <a:pt x="5828" y="620"/>
                  <a:pt x="5828" y="620"/>
                  <a:pt x="5828" y="620"/>
                </a:cubicBezTo>
                <a:cubicBezTo>
                  <a:pt x="5828" y="621"/>
                  <a:pt x="5829" y="623"/>
                  <a:pt x="5831" y="625"/>
                </a:cubicBezTo>
                <a:cubicBezTo>
                  <a:pt x="5831" y="625"/>
                  <a:pt x="5831" y="626"/>
                  <a:pt x="5831" y="626"/>
                </a:cubicBezTo>
                <a:lnTo>
                  <a:pt x="5837" y="635"/>
                </a:lnTo>
                <a:cubicBezTo>
                  <a:pt x="5840" y="642"/>
                  <a:pt x="5843" y="647"/>
                  <a:pt x="5847" y="652"/>
                </a:cubicBezTo>
                <a:cubicBezTo>
                  <a:pt x="5850" y="657"/>
                  <a:pt x="5854" y="661"/>
                  <a:pt x="5857" y="662"/>
                </a:cubicBezTo>
                <a:cubicBezTo>
                  <a:pt x="5860" y="664"/>
                  <a:pt x="5862" y="665"/>
                  <a:pt x="5863" y="665"/>
                </a:cubicBezTo>
                <a:cubicBezTo>
                  <a:pt x="5864" y="665"/>
                  <a:pt x="5864" y="665"/>
                  <a:pt x="5864" y="665"/>
                </a:cubicBezTo>
                <a:cubicBezTo>
                  <a:pt x="5864" y="664"/>
                  <a:pt x="5863" y="662"/>
                  <a:pt x="5861" y="660"/>
                </a:cubicBezTo>
                <a:cubicBezTo>
                  <a:pt x="5860" y="659"/>
                  <a:pt x="5859" y="659"/>
                  <a:pt x="5859" y="658"/>
                </a:cubicBezTo>
                <a:cubicBezTo>
                  <a:pt x="5860" y="658"/>
                  <a:pt x="5861" y="659"/>
                  <a:pt x="5864" y="662"/>
                </a:cubicBezTo>
                <a:cubicBezTo>
                  <a:pt x="5869" y="666"/>
                  <a:pt x="5876" y="668"/>
                  <a:pt x="5884" y="668"/>
                </a:cubicBezTo>
                <a:cubicBezTo>
                  <a:pt x="5907" y="668"/>
                  <a:pt x="5937" y="654"/>
                  <a:pt x="5974" y="627"/>
                </a:cubicBezTo>
                <a:cubicBezTo>
                  <a:pt x="5989" y="615"/>
                  <a:pt x="6004" y="604"/>
                  <a:pt x="6018" y="594"/>
                </a:cubicBezTo>
                <a:cubicBezTo>
                  <a:pt x="6035" y="583"/>
                  <a:pt x="6045" y="578"/>
                  <a:pt x="6048" y="578"/>
                </a:cubicBezTo>
                <a:cubicBezTo>
                  <a:pt x="6050" y="578"/>
                  <a:pt x="6050" y="578"/>
                  <a:pt x="6050" y="580"/>
                </a:cubicBezTo>
                <a:lnTo>
                  <a:pt x="6050" y="580"/>
                </a:lnTo>
                <a:cubicBezTo>
                  <a:pt x="6048" y="580"/>
                  <a:pt x="6043" y="584"/>
                  <a:pt x="6035" y="592"/>
                </a:cubicBezTo>
                <a:cubicBezTo>
                  <a:pt x="5983" y="646"/>
                  <a:pt x="5938" y="672"/>
                  <a:pt x="5900" y="672"/>
                </a:cubicBezTo>
                <a:lnTo>
                  <a:pt x="5897" y="672"/>
                </a:lnTo>
                <a:cubicBezTo>
                  <a:pt x="5890" y="672"/>
                  <a:pt x="5887" y="673"/>
                  <a:pt x="5887" y="674"/>
                </a:cubicBezTo>
                <a:lnTo>
                  <a:pt x="5894" y="675"/>
                </a:lnTo>
                <a:cubicBezTo>
                  <a:pt x="5897" y="676"/>
                  <a:pt x="5900" y="676"/>
                  <a:pt x="5904" y="676"/>
                </a:cubicBezTo>
                <a:cubicBezTo>
                  <a:pt x="5922" y="676"/>
                  <a:pt x="5943" y="669"/>
                  <a:pt x="5966" y="655"/>
                </a:cubicBezTo>
                <a:cubicBezTo>
                  <a:pt x="5973" y="651"/>
                  <a:pt x="5978" y="649"/>
                  <a:pt x="5980" y="649"/>
                </a:cubicBezTo>
                <a:lnTo>
                  <a:pt x="5981" y="649"/>
                </a:lnTo>
                <a:lnTo>
                  <a:pt x="5981" y="648"/>
                </a:lnTo>
                <a:cubicBezTo>
                  <a:pt x="5981" y="645"/>
                  <a:pt x="5994" y="634"/>
                  <a:pt x="6018" y="613"/>
                </a:cubicBezTo>
                <a:cubicBezTo>
                  <a:pt x="6022" y="610"/>
                  <a:pt x="6025" y="607"/>
                  <a:pt x="6028" y="605"/>
                </a:cubicBezTo>
                <a:lnTo>
                  <a:pt x="6033" y="603"/>
                </a:lnTo>
                <a:cubicBezTo>
                  <a:pt x="6033" y="603"/>
                  <a:pt x="6033" y="602"/>
                  <a:pt x="6033" y="600"/>
                </a:cubicBezTo>
                <a:cubicBezTo>
                  <a:pt x="6033" y="599"/>
                  <a:pt x="6034" y="598"/>
                  <a:pt x="6036" y="598"/>
                </a:cubicBezTo>
                <a:cubicBezTo>
                  <a:pt x="6037" y="598"/>
                  <a:pt x="6038" y="598"/>
                  <a:pt x="6038" y="596"/>
                </a:cubicBezTo>
                <a:cubicBezTo>
                  <a:pt x="6038" y="595"/>
                  <a:pt x="6039" y="593"/>
                  <a:pt x="6041" y="591"/>
                </a:cubicBezTo>
                <a:cubicBezTo>
                  <a:pt x="6044" y="590"/>
                  <a:pt x="6045" y="588"/>
                  <a:pt x="6045" y="586"/>
                </a:cubicBezTo>
                <a:cubicBezTo>
                  <a:pt x="6045" y="584"/>
                  <a:pt x="6046" y="583"/>
                  <a:pt x="6047" y="583"/>
                </a:cubicBezTo>
                <a:cubicBezTo>
                  <a:pt x="6048" y="583"/>
                  <a:pt x="6049" y="583"/>
                  <a:pt x="6049" y="585"/>
                </a:cubicBezTo>
                <a:cubicBezTo>
                  <a:pt x="6049" y="588"/>
                  <a:pt x="6047" y="593"/>
                  <a:pt x="6042" y="600"/>
                </a:cubicBezTo>
                <a:cubicBezTo>
                  <a:pt x="6038" y="607"/>
                  <a:pt x="6030" y="616"/>
                  <a:pt x="6018" y="627"/>
                </a:cubicBezTo>
                <a:lnTo>
                  <a:pt x="6006" y="639"/>
                </a:lnTo>
                <a:cubicBezTo>
                  <a:pt x="6001" y="643"/>
                  <a:pt x="5998" y="645"/>
                  <a:pt x="5997" y="645"/>
                </a:cubicBezTo>
                <a:cubicBezTo>
                  <a:pt x="5995" y="645"/>
                  <a:pt x="5994" y="646"/>
                  <a:pt x="5993" y="648"/>
                </a:cubicBezTo>
                <a:cubicBezTo>
                  <a:pt x="5990" y="652"/>
                  <a:pt x="5987" y="655"/>
                  <a:pt x="5983" y="658"/>
                </a:cubicBezTo>
                <a:cubicBezTo>
                  <a:pt x="5977" y="662"/>
                  <a:pt x="5974" y="664"/>
                  <a:pt x="5973" y="665"/>
                </a:cubicBezTo>
                <a:cubicBezTo>
                  <a:pt x="5973" y="666"/>
                  <a:pt x="5972" y="666"/>
                  <a:pt x="5970" y="666"/>
                </a:cubicBezTo>
                <a:lnTo>
                  <a:pt x="5966" y="666"/>
                </a:lnTo>
                <a:lnTo>
                  <a:pt x="5965" y="667"/>
                </a:lnTo>
                <a:lnTo>
                  <a:pt x="5965" y="668"/>
                </a:lnTo>
                <a:cubicBezTo>
                  <a:pt x="5965" y="669"/>
                  <a:pt x="5964" y="670"/>
                  <a:pt x="5963" y="672"/>
                </a:cubicBezTo>
                <a:lnTo>
                  <a:pt x="5961" y="674"/>
                </a:lnTo>
                <a:cubicBezTo>
                  <a:pt x="5960" y="674"/>
                  <a:pt x="5960" y="674"/>
                  <a:pt x="5960" y="674"/>
                </a:cubicBezTo>
                <a:lnTo>
                  <a:pt x="5959" y="674"/>
                </a:lnTo>
                <a:cubicBezTo>
                  <a:pt x="5958" y="674"/>
                  <a:pt x="5956" y="674"/>
                  <a:pt x="5952" y="676"/>
                </a:cubicBezTo>
                <a:cubicBezTo>
                  <a:pt x="5938" y="684"/>
                  <a:pt x="5923" y="688"/>
                  <a:pt x="5907" y="688"/>
                </a:cubicBezTo>
                <a:cubicBezTo>
                  <a:pt x="5897" y="688"/>
                  <a:pt x="5887" y="686"/>
                  <a:pt x="5876" y="683"/>
                </a:cubicBezTo>
                <a:cubicBezTo>
                  <a:pt x="5864" y="680"/>
                  <a:pt x="5859" y="678"/>
                  <a:pt x="5858" y="677"/>
                </a:cubicBezTo>
                <a:cubicBezTo>
                  <a:pt x="5858" y="676"/>
                  <a:pt x="5854" y="673"/>
                  <a:pt x="5849" y="668"/>
                </a:cubicBezTo>
                <a:cubicBezTo>
                  <a:pt x="5843" y="663"/>
                  <a:pt x="5839" y="661"/>
                  <a:pt x="5837" y="661"/>
                </a:cubicBezTo>
                <a:cubicBezTo>
                  <a:pt x="5837" y="661"/>
                  <a:pt x="5836" y="661"/>
                  <a:pt x="5836" y="662"/>
                </a:cubicBezTo>
                <a:cubicBezTo>
                  <a:pt x="5836" y="663"/>
                  <a:pt x="5837" y="664"/>
                  <a:pt x="5837" y="665"/>
                </a:cubicBezTo>
                <a:cubicBezTo>
                  <a:pt x="5838" y="666"/>
                  <a:pt x="5838" y="666"/>
                  <a:pt x="5838" y="667"/>
                </a:cubicBezTo>
                <a:cubicBezTo>
                  <a:pt x="5838" y="667"/>
                  <a:pt x="5838" y="667"/>
                  <a:pt x="5837" y="667"/>
                </a:cubicBezTo>
                <a:cubicBezTo>
                  <a:pt x="5837" y="667"/>
                  <a:pt x="5836" y="666"/>
                  <a:pt x="5835" y="665"/>
                </a:cubicBezTo>
                <a:cubicBezTo>
                  <a:pt x="5833" y="664"/>
                  <a:pt x="5833" y="662"/>
                  <a:pt x="5833" y="660"/>
                </a:cubicBezTo>
                <a:cubicBezTo>
                  <a:pt x="5833" y="658"/>
                  <a:pt x="5832" y="657"/>
                  <a:pt x="5832" y="657"/>
                </a:cubicBezTo>
                <a:lnTo>
                  <a:pt x="5831" y="657"/>
                </a:lnTo>
                <a:cubicBezTo>
                  <a:pt x="5830" y="657"/>
                  <a:pt x="5828" y="655"/>
                  <a:pt x="5827" y="652"/>
                </a:cubicBezTo>
                <a:cubicBezTo>
                  <a:pt x="5825" y="650"/>
                  <a:pt x="5824" y="648"/>
                  <a:pt x="5822" y="646"/>
                </a:cubicBezTo>
                <a:cubicBezTo>
                  <a:pt x="5820" y="643"/>
                  <a:pt x="5817" y="637"/>
                  <a:pt x="5812" y="629"/>
                </a:cubicBezTo>
                <a:cubicBezTo>
                  <a:pt x="5807" y="622"/>
                  <a:pt x="5803" y="615"/>
                  <a:pt x="5800" y="609"/>
                </a:cubicBezTo>
                <a:cubicBezTo>
                  <a:pt x="5793" y="598"/>
                  <a:pt x="5788" y="590"/>
                  <a:pt x="5784" y="586"/>
                </a:cubicBezTo>
                <a:cubicBezTo>
                  <a:pt x="5779" y="581"/>
                  <a:pt x="5775" y="579"/>
                  <a:pt x="5770" y="579"/>
                </a:cubicBezTo>
                <a:lnTo>
                  <a:pt x="5768" y="579"/>
                </a:lnTo>
                <a:cubicBezTo>
                  <a:pt x="5755" y="583"/>
                  <a:pt x="5740" y="591"/>
                  <a:pt x="5722" y="605"/>
                </a:cubicBezTo>
                <a:cubicBezTo>
                  <a:pt x="5704" y="619"/>
                  <a:pt x="5691" y="634"/>
                  <a:pt x="5682" y="648"/>
                </a:cubicBezTo>
                <a:cubicBezTo>
                  <a:pt x="5680" y="652"/>
                  <a:pt x="5678" y="654"/>
                  <a:pt x="5676" y="655"/>
                </a:cubicBezTo>
                <a:cubicBezTo>
                  <a:pt x="5675" y="655"/>
                  <a:pt x="5675" y="655"/>
                  <a:pt x="5675" y="655"/>
                </a:cubicBezTo>
                <a:cubicBezTo>
                  <a:pt x="5675" y="653"/>
                  <a:pt x="5678" y="649"/>
                  <a:pt x="5684" y="642"/>
                </a:cubicBezTo>
                <a:cubicBezTo>
                  <a:pt x="5714" y="605"/>
                  <a:pt x="5741" y="583"/>
                  <a:pt x="5764" y="576"/>
                </a:cubicBezTo>
                <a:cubicBezTo>
                  <a:pt x="5768" y="575"/>
                  <a:pt x="5770" y="574"/>
                  <a:pt x="5770" y="573"/>
                </a:cubicBezTo>
                <a:cubicBezTo>
                  <a:pt x="5770" y="572"/>
                  <a:pt x="5769" y="571"/>
                  <a:pt x="5768" y="571"/>
                </a:cubicBezTo>
                <a:cubicBezTo>
                  <a:pt x="5768" y="571"/>
                  <a:pt x="5766" y="570"/>
                  <a:pt x="5765" y="570"/>
                </a:cubicBezTo>
                <a:cubicBezTo>
                  <a:pt x="5761" y="570"/>
                  <a:pt x="5754" y="573"/>
                  <a:pt x="5744" y="580"/>
                </a:cubicBezTo>
                <a:cubicBezTo>
                  <a:pt x="5735" y="586"/>
                  <a:pt x="5725" y="593"/>
                  <a:pt x="5716" y="602"/>
                </a:cubicBezTo>
                <a:cubicBezTo>
                  <a:pt x="5705" y="612"/>
                  <a:pt x="5699" y="617"/>
                  <a:pt x="5698" y="617"/>
                </a:cubicBezTo>
                <a:cubicBezTo>
                  <a:pt x="5698" y="617"/>
                  <a:pt x="5700" y="614"/>
                  <a:pt x="5704" y="610"/>
                </a:cubicBezTo>
                <a:cubicBezTo>
                  <a:pt x="5711" y="601"/>
                  <a:pt x="5718" y="593"/>
                  <a:pt x="5727" y="587"/>
                </a:cubicBezTo>
                <a:cubicBezTo>
                  <a:pt x="5731" y="583"/>
                  <a:pt x="5734" y="581"/>
                  <a:pt x="5734" y="580"/>
                </a:cubicBezTo>
                <a:cubicBezTo>
                  <a:pt x="5734" y="580"/>
                  <a:pt x="5734" y="579"/>
                  <a:pt x="5733" y="579"/>
                </a:cubicBezTo>
                <a:cubicBezTo>
                  <a:pt x="5733" y="579"/>
                  <a:pt x="5731" y="581"/>
                  <a:pt x="5727" y="583"/>
                </a:cubicBezTo>
                <a:cubicBezTo>
                  <a:pt x="5718" y="590"/>
                  <a:pt x="5711" y="596"/>
                  <a:pt x="5707" y="601"/>
                </a:cubicBezTo>
                <a:cubicBezTo>
                  <a:pt x="5706" y="602"/>
                  <a:pt x="5705" y="603"/>
                  <a:pt x="5704" y="604"/>
                </a:cubicBezTo>
                <a:cubicBezTo>
                  <a:pt x="5702" y="605"/>
                  <a:pt x="5701" y="606"/>
                  <a:pt x="5700" y="606"/>
                </a:cubicBezTo>
                <a:cubicBezTo>
                  <a:pt x="5698" y="606"/>
                  <a:pt x="5695" y="609"/>
                  <a:pt x="5692" y="614"/>
                </a:cubicBezTo>
                <a:cubicBezTo>
                  <a:pt x="5689" y="620"/>
                  <a:pt x="5685" y="624"/>
                  <a:pt x="5681" y="627"/>
                </a:cubicBezTo>
                <a:cubicBezTo>
                  <a:pt x="5676" y="629"/>
                  <a:pt x="5672" y="634"/>
                  <a:pt x="5667" y="640"/>
                </a:cubicBezTo>
                <a:lnTo>
                  <a:pt x="5662" y="648"/>
                </a:lnTo>
                <a:lnTo>
                  <a:pt x="5667" y="646"/>
                </a:lnTo>
                <a:cubicBezTo>
                  <a:pt x="5667" y="647"/>
                  <a:pt x="5663" y="653"/>
                  <a:pt x="5656" y="662"/>
                </a:cubicBezTo>
                <a:cubicBezTo>
                  <a:pt x="5643" y="680"/>
                  <a:pt x="5637" y="690"/>
                  <a:pt x="5637" y="692"/>
                </a:cubicBezTo>
                <a:cubicBezTo>
                  <a:pt x="5637" y="692"/>
                  <a:pt x="5637" y="693"/>
                  <a:pt x="5637" y="693"/>
                </a:cubicBezTo>
                <a:lnTo>
                  <a:pt x="5641" y="691"/>
                </a:lnTo>
                <a:cubicBezTo>
                  <a:pt x="5641" y="691"/>
                  <a:pt x="5640" y="692"/>
                  <a:pt x="5640" y="692"/>
                </a:cubicBezTo>
                <a:cubicBezTo>
                  <a:pt x="5639" y="693"/>
                  <a:pt x="5639" y="693"/>
                  <a:pt x="5638" y="694"/>
                </a:cubicBezTo>
                <a:cubicBezTo>
                  <a:pt x="5638" y="694"/>
                  <a:pt x="5637" y="695"/>
                  <a:pt x="5637" y="696"/>
                </a:cubicBezTo>
                <a:cubicBezTo>
                  <a:pt x="5636" y="696"/>
                  <a:pt x="5635" y="697"/>
                  <a:pt x="5635" y="697"/>
                </a:cubicBezTo>
                <a:lnTo>
                  <a:pt x="5633" y="696"/>
                </a:lnTo>
                <a:cubicBezTo>
                  <a:pt x="5632" y="696"/>
                  <a:pt x="5632" y="697"/>
                  <a:pt x="5632" y="698"/>
                </a:cubicBezTo>
                <a:cubicBezTo>
                  <a:pt x="5632" y="700"/>
                  <a:pt x="5632" y="702"/>
                  <a:pt x="5632" y="704"/>
                </a:cubicBezTo>
                <a:cubicBezTo>
                  <a:pt x="5631" y="709"/>
                  <a:pt x="5629" y="712"/>
                  <a:pt x="5627" y="714"/>
                </a:cubicBezTo>
                <a:cubicBezTo>
                  <a:pt x="5627" y="715"/>
                  <a:pt x="5625" y="719"/>
                  <a:pt x="5621" y="727"/>
                </a:cubicBezTo>
                <a:cubicBezTo>
                  <a:pt x="5610" y="750"/>
                  <a:pt x="5602" y="768"/>
                  <a:pt x="5597" y="779"/>
                </a:cubicBezTo>
                <a:cubicBezTo>
                  <a:pt x="5591" y="794"/>
                  <a:pt x="5588" y="804"/>
                  <a:pt x="5588" y="808"/>
                </a:cubicBezTo>
                <a:lnTo>
                  <a:pt x="5589" y="809"/>
                </a:lnTo>
                <a:cubicBezTo>
                  <a:pt x="5590" y="807"/>
                  <a:pt x="5591" y="806"/>
                  <a:pt x="5591" y="803"/>
                </a:cubicBezTo>
                <a:cubicBezTo>
                  <a:pt x="5591" y="801"/>
                  <a:pt x="5591" y="799"/>
                  <a:pt x="5593" y="797"/>
                </a:cubicBezTo>
                <a:lnTo>
                  <a:pt x="5593" y="797"/>
                </a:lnTo>
                <a:cubicBezTo>
                  <a:pt x="5593" y="797"/>
                  <a:pt x="5594" y="799"/>
                  <a:pt x="5594" y="801"/>
                </a:cubicBezTo>
                <a:lnTo>
                  <a:pt x="5593" y="804"/>
                </a:lnTo>
                <a:cubicBezTo>
                  <a:pt x="5593" y="805"/>
                  <a:pt x="5593" y="805"/>
                  <a:pt x="5594" y="805"/>
                </a:cubicBezTo>
                <a:lnTo>
                  <a:pt x="5594" y="804"/>
                </a:lnTo>
                <a:cubicBezTo>
                  <a:pt x="5597" y="801"/>
                  <a:pt x="5599" y="799"/>
                  <a:pt x="5600" y="798"/>
                </a:cubicBezTo>
                <a:lnTo>
                  <a:pt x="5603" y="796"/>
                </a:lnTo>
                <a:cubicBezTo>
                  <a:pt x="5603" y="797"/>
                  <a:pt x="5603" y="798"/>
                  <a:pt x="5602" y="800"/>
                </a:cubicBezTo>
                <a:cubicBezTo>
                  <a:pt x="5600" y="804"/>
                  <a:pt x="5598" y="806"/>
                  <a:pt x="5595" y="808"/>
                </a:cubicBezTo>
                <a:cubicBezTo>
                  <a:pt x="5592" y="810"/>
                  <a:pt x="5591" y="812"/>
                  <a:pt x="5591" y="813"/>
                </a:cubicBezTo>
                <a:cubicBezTo>
                  <a:pt x="5591" y="814"/>
                  <a:pt x="5591" y="815"/>
                  <a:pt x="5592" y="815"/>
                </a:cubicBezTo>
                <a:cubicBezTo>
                  <a:pt x="5592" y="816"/>
                  <a:pt x="5593" y="816"/>
                  <a:pt x="5593" y="816"/>
                </a:cubicBezTo>
                <a:lnTo>
                  <a:pt x="5590" y="816"/>
                </a:lnTo>
                <a:cubicBezTo>
                  <a:pt x="5589" y="816"/>
                  <a:pt x="5588" y="816"/>
                  <a:pt x="5588" y="817"/>
                </a:cubicBezTo>
                <a:cubicBezTo>
                  <a:pt x="5588" y="818"/>
                  <a:pt x="5587" y="818"/>
                  <a:pt x="5586" y="818"/>
                </a:cubicBezTo>
                <a:lnTo>
                  <a:pt x="5585" y="818"/>
                </a:lnTo>
                <a:lnTo>
                  <a:pt x="5586" y="821"/>
                </a:lnTo>
                <a:cubicBezTo>
                  <a:pt x="5587" y="824"/>
                  <a:pt x="5588" y="826"/>
                  <a:pt x="5590" y="826"/>
                </a:cubicBezTo>
                <a:cubicBezTo>
                  <a:pt x="5590" y="826"/>
                  <a:pt x="5590" y="826"/>
                  <a:pt x="5590" y="826"/>
                </a:cubicBezTo>
                <a:cubicBezTo>
                  <a:pt x="5590" y="825"/>
                  <a:pt x="5590" y="824"/>
                  <a:pt x="5590" y="823"/>
                </a:cubicBezTo>
                <a:cubicBezTo>
                  <a:pt x="5589" y="823"/>
                  <a:pt x="5589" y="822"/>
                  <a:pt x="5589" y="821"/>
                </a:cubicBezTo>
                <a:lnTo>
                  <a:pt x="5590" y="822"/>
                </a:lnTo>
                <a:cubicBezTo>
                  <a:pt x="5591" y="824"/>
                  <a:pt x="5592" y="827"/>
                  <a:pt x="5592" y="830"/>
                </a:cubicBezTo>
                <a:cubicBezTo>
                  <a:pt x="5592" y="833"/>
                  <a:pt x="5591" y="835"/>
                  <a:pt x="5590" y="837"/>
                </a:cubicBezTo>
                <a:cubicBezTo>
                  <a:pt x="5589" y="838"/>
                  <a:pt x="5587" y="839"/>
                  <a:pt x="5585" y="839"/>
                </a:cubicBezTo>
                <a:close/>
                <a:moveTo>
                  <a:pt x="5564" y="732"/>
                </a:moveTo>
                <a:lnTo>
                  <a:pt x="5564" y="730"/>
                </a:lnTo>
                <a:lnTo>
                  <a:pt x="5564" y="726"/>
                </a:lnTo>
                <a:cubicBezTo>
                  <a:pt x="5563" y="726"/>
                  <a:pt x="5562" y="727"/>
                  <a:pt x="5562" y="728"/>
                </a:cubicBezTo>
                <a:cubicBezTo>
                  <a:pt x="5562" y="730"/>
                  <a:pt x="5563" y="732"/>
                  <a:pt x="5564" y="732"/>
                </a:cubicBezTo>
                <a:close/>
                <a:moveTo>
                  <a:pt x="5565" y="723"/>
                </a:moveTo>
                <a:lnTo>
                  <a:pt x="5566" y="719"/>
                </a:lnTo>
                <a:cubicBezTo>
                  <a:pt x="5567" y="717"/>
                  <a:pt x="5568" y="715"/>
                  <a:pt x="5568" y="713"/>
                </a:cubicBezTo>
                <a:cubicBezTo>
                  <a:pt x="5568" y="711"/>
                  <a:pt x="5569" y="710"/>
                  <a:pt x="5569" y="709"/>
                </a:cubicBezTo>
                <a:lnTo>
                  <a:pt x="5569" y="707"/>
                </a:lnTo>
                <a:cubicBezTo>
                  <a:pt x="5568" y="707"/>
                  <a:pt x="5568" y="708"/>
                  <a:pt x="5567" y="709"/>
                </a:cubicBezTo>
                <a:cubicBezTo>
                  <a:pt x="5565" y="711"/>
                  <a:pt x="5565" y="714"/>
                  <a:pt x="5565" y="718"/>
                </a:cubicBezTo>
                <a:cubicBezTo>
                  <a:pt x="5565" y="721"/>
                  <a:pt x="5565" y="723"/>
                  <a:pt x="5565" y="723"/>
                </a:cubicBezTo>
                <a:close/>
                <a:moveTo>
                  <a:pt x="5947" y="676"/>
                </a:moveTo>
                <a:cubicBezTo>
                  <a:pt x="5948" y="676"/>
                  <a:pt x="5949" y="675"/>
                  <a:pt x="5952" y="674"/>
                </a:cubicBezTo>
                <a:cubicBezTo>
                  <a:pt x="5954" y="673"/>
                  <a:pt x="5956" y="672"/>
                  <a:pt x="5956" y="671"/>
                </a:cubicBezTo>
                <a:lnTo>
                  <a:pt x="5955" y="671"/>
                </a:lnTo>
                <a:cubicBezTo>
                  <a:pt x="5954" y="671"/>
                  <a:pt x="5953" y="671"/>
                  <a:pt x="5951" y="672"/>
                </a:cubicBezTo>
                <a:cubicBezTo>
                  <a:pt x="5948" y="674"/>
                  <a:pt x="5947" y="675"/>
                  <a:pt x="5947" y="676"/>
                </a:cubicBezTo>
                <a:close/>
                <a:moveTo>
                  <a:pt x="5934" y="681"/>
                </a:moveTo>
                <a:cubicBezTo>
                  <a:pt x="5937" y="681"/>
                  <a:pt x="5939" y="681"/>
                  <a:pt x="5939" y="679"/>
                </a:cubicBezTo>
                <a:lnTo>
                  <a:pt x="5940" y="678"/>
                </a:lnTo>
                <a:cubicBezTo>
                  <a:pt x="5940" y="677"/>
                  <a:pt x="5939" y="677"/>
                  <a:pt x="5939" y="677"/>
                </a:cubicBezTo>
                <a:cubicBezTo>
                  <a:pt x="5937" y="677"/>
                  <a:pt x="5936" y="678"/>
                  <a:pt x="5934" y="679"/>
                </a:cubicBezTo>
                <a:cubicBezTo>
                  <a:pt x="5933" y="680"/>
                  <a:pt x="5932" y="681"/>
                  <a:pt x="5932" y="681"/>
                </a:cubicBezTo>
                <a:cubicBezTo>
                  <a:pt x="5932" y="681"/>
                  <a:pt x="5933" y="681"/>
                  <a:pt x="5934" y="681"/>
                </a:cubicBezTo>
                <a:close/>
                <a:moveTo>
                  <a:pt x="5925" y="683"/>
                </a:moveTo>
                <a:cubicBezTo>
                  <a:pt x="5927" y="683"/>
                  <a:pt x="5928" y="683"/>
                  <a:pt x="5928" y="683"/>
                </a:cubicBezTo>
                <a:cubicBezTo>
                  <a:pt x="5928" y="683"/>
                  <a:pt x="5928" y="682"/>
                  <a:pt x="5928" y="682"/>
                </a:cubicBezTo>
                <a:cubicBezTo>
                  <a:pt x="5927" y="682"/>
                  <a:pt x="5926" y="681"/>
                  <a:pt x="5926" y="681"/>
                </a:cubicBezTo>
                <a:cubicBezTo>
                  <a:pt x="5925" y="681"/>
                  <a:pt x="5924" y="682"/>
                  <a:pt x="5922" y="683"/>
                </a:cubicBezTo>
                <a:cubicBezTo>
                  <a:pt x="5922" y="683"/>
                  <a:pt x="5922" y="683"/>
                  <a:pt x="5922" y="683"/>
                </a:cubicBezTo>
                <a:cubicBezTo>
                  <a:pt x="5922" y="683"/>
                  <a:pt x="5923" y="683"/>
                  <a:pt x="5925" y="683"/>
                </a:cubicBezTo>
                <a:close/>
                <a:moveTo>
                  <a:pt x="5916" y="686"/>
                </a:moveTo>
                <a:cubicBezTo>
                  <a:pt x="5917" y="686"/>
                  <a:pt x="5918" y="686"/>
                  <a:pt x="5918" y="685"/>
                </a:cubicBezTo>
                <a:lnTo>
                  <a:pt x="5918" y="685"/>
                </a:lnTo>
                <a:lnTo>
                  <a:pt x="5916" y="684"/>
                </a:lnTo>
                <a:lnTo>
                  <a:pt x="5914" y="685"/>
                </a:lnTo>
                <a:cubicBezTo>
                  <a:pt x="5913" y="685"/>
                  <a:pt x="5913" y="685"/>
                  <a:pt x="5913" y="686"/>
                </a:cubicBezTo>
                <a:cubicBezTo>
                  <a:pt x="5913" y="686"/>
                  <a:pt x="5914" y="686"/>
                  <a:pt x="5916" y="686"/>
                </a:cubicBezTo>
                <a:close/>
                <a:moveTo>
                  <a:pt x="5884" y="679"/>
                </a:moveTo>
                <a:cubicBezTo>
                  <a:pt x="5886" y="679"/>
                  <a:pt x="5888" y="679"/>
                  <a:pt x="5888" y="679"/>
                </a:cubicBezTo>
                <a:cubicBezTo>
                  <a:pt x="5888" y="678"/>
                  <a:pt x="5886" y="677"/>
                  <a:pt x="5882" y="675"/>
                </a:cubicBezTo>
                <a:cubicBezTo>
                  <a:pt x="5879" y="673"/>
                  <a:pt x="5874" y="672"/>
                  <a:pt x="5870" y="672"/>
                </a:cubicBezTo>
                <a:cubicBezTo>
                  <a:pt x="5867" y="672"/>
                  <a:pt x="5865" y="673"/>
                  <a:pt x="5865" y="674"/>
                </a:cubicBezTo>
                <a:cubicBezTo>
                  <a:pt x="5865" y="674"/>
                  <a:pt x="5867" y="674"/>
                  <a:pt x="5871" y="676"/>
                </a:cubicBezTo>
                <a:cubicBezTo>
                  <a:pt x="5877" y="678"/>
                  <a:pt x="5881" y="679"/>
                  <a:pt x="5884" y="679"/>
                </a:cubicBezTo>
                <a:close/>
                <a:moveTo>
                  <a:pt x="5737" y="578"/>
                </a:moveTo>
                <a:cubicBezTo>
                  <a:pt x="5739" y="578"/>
                  <a:pt x="5741" y="578"/>
                  <a:pt x="5742" y="577"/>
                </a:cubicBezTo>
                <a:cubicBezTo>
                  <a:pt x="5744" y="576"/>
                  <a:pt x="5745" y="575"/>
                  <a:pt x="5745" y="574"/>
                </a:cubicBezTo>
                <a:cubicBezTo>
                  <a:pt x="5745" y="574"/>
                  <a:pt x="5744" y="574"/>
                  <a:pt x="5744" y="574"/>
                </a:cubicBezTo>
                <a:cubicBezTo>
                  <a:pt x="5743" y="574"/>
                  <a:pt x="5741" y="574"/>
                  <a:pt x="5738" y="576"/>
                </a:cubicBezTo>
                <a:cubicBezTo>
                  <a:pt x="5737" y="577"/>
                  <a:pt x="5737" y="578"/>
                  <a:pt x="5737" y="578"/>
                </a:cubicBezTo>
                <a:cubicBezTo>
                  <a:pt x="5737" y="578"/>
                  <a:pt x="5737" y="578"/>
                  <a:pt x="5737" y="578"/>
                </a:cubicBezTo>
                <a:close/>
                <a:moveTo>
                  <a:pt x="5644" y="674"/>
                </a:moveTo>
                <a:cubicBezTo>
                  <a:pt x="5644" y="674"/>
                  <a:pt x="5645" y="674"/>
                  <a:pt x="5646" y="673"/>
                </a:cubicBezTo>
                <a:cubicBezTo>
                  <a:pt x="5647" y="672"/>
                  <a:pt x="5647" y="670"/>
                  <a:pt x="5647" y="668"/>
                </a:cubicBezTo>
                <a:cubicBezTo>
                  <a:pt x="5647" y="666"/>
                  <a:pt x="5648" y="665"/>
                  <a:pt x="5650" y="664"/>
                </a:cubicBezTo>
                <a:cubicBezTo>
                  <a:pt x="5653" y="663"/>
                  <a:pt x="5655" y="661"/>
                  <a:pt x="5655" y="659"/>
                </a:cubicBezTo>
                <a:cubicBezTo>
                  <a:pt x="5655" y="658"/>
                  <a:pt x="5655" y="658"/>
                  <a:pt x="5654" y="658"/>
                </a:cubicBezTo>
                <a:cubicBezTo>
                  <a:pt x="5654" y="658"/>
                  <a:pt x="5652" y="659"/>
                  <a:pt x="5650" y="662"/>
                </a:cubicBezTo>
                <a:cubicBezTo>
                  <a:pt x="5645" y="666"/>
                  <a:pt x="5643" y="670"/>
                  <a:pt x="5643" y="673"/>
                </a:cubicBezTo>
                <a:cubicBezTo>
                  <a:pt x="5643" y="674"/>
                  <a:pt x="5643" y="674"/>
                  <a:pt x="5644" y="674"/>
                </a:cubicBezTo>
                <a:close/>
                <a:moveTo>
                  <a:pt x="5583" y="775"/>
                </a:moveTo>
                <a:cubicBezTo>
                  <a:pt x="5584" y="774"/>
                  <a:pt x="5584" y="773"/>
                  <a:pt x="5584" y="772"/>
                </a:cubicBezTo>
                <a:lnTo>
                  <a:pt x="5584" y="770"/>
                </a:lnTo>
                <a:lnTo>
                  <a:pt x="5582" y="769"/>
                </a:lnTo>
                <a:cubicBezTo>
                  <a:pt x="5582" y="769"/>
                  <a:pt x="5582" y="770"/>
                  <a:pt x="5582" y="772"/>
                </a:cubicBezTo>
                <a:cubicBezTo>
                  <a:pt x="5582" y="774"/>
                  <a:pt x="5582" y="775"/>
                  <a:pt x="5583" y="775"/>
                </a:cubicBezTo>
                <a:close/>
                <a:moveTo>
                  <a:pt x="5627" y="574"/>
                </a:moveTo>
                <a:cubicBezTo>
                  <a:pt x="5628" y="574"/>
                  <a:pt x="5629" y="574"/>
                  <a:pt x="5629" y="573"/>
                </a:cubicBezTo>
                <a:cubicBezTo>
                  <a:pt x="5630" y="572"/>
                  <a:pt x="5631" y="571"/>
                  <a:pt x="5631" y="569"/>
                </a:cubicBezTo>
                <a:cubicBezTo>
                  <a:pt x="5632" y="567"/>
                  <a:pt x="5633" y="565"/>
                  <a:pt x="5633" y="563"/>
                </a:cubicBezTo>
                <a:lnTo>
                  <a:pt x="5633" y="561"/>
                </a:lnTo>
                <a:cubicBezTo>
                  <a:pt x="5633" y="561"/>
                  <a:pt x="5633" y="561"/>
                  <a:pt x="5633" y="561"/>
                </a:cubicBezTo>
                <a:lnTo>
                  <a:pt x="5634" y="560"/>
                </a:lnTo>
                <a:cubicBezTo>
                  <a:pt x="5635" y="560"/>
                  <a:pt x="5636" y="559"/>
                  <a:pt x="5636" y="557"/>
                </a:cubicBezTo>
                <a:cubicBezTo>
                  <a:pt x="5636" y="556"/>
                  <a:pt x="5636" y="556"/>
                  <a:pt x="5636" y="556"/>
                </a:cubicBezTo>
                <a:lnTo>
                  <a:pt x="5634" y="557"/>
                </a:lnTo>
                <a:cubicBezTo>
                  <a:pt x="5633" y="557"/>
                  <a:pt x="5632" y="556"/>
                  <a:pt x="5630" y="555"/>
                </a:cubicBezTo>
                <a:lnTo>
                  <a:pt x="5628" y="553"/>
                </a:lnTo>
                <a:lnTo>
                  <a:pt x="5627" y="553"/>
                </a:lnTo>
                <a:lnTo>
                  <a:pt x="5629" y="556"/>
                </a:lnTo>
                <a:cubicBezTo>
                  <a:pt x="5629" y="557"/>
                  <a:pt x="5629" y="558"/>
                  <a:pt x="5627" y="558"/>
                </a:cubicBezTo>
                <a:cubicBezTo>
                  <a:pt x="5626" y="558"/>
                  <a:pt x="5626" y="558"/>
                  <a:pt x="5626" y="559"/>
                </a:cubicBezTo>
                <a:lnTo>
                  <a:pt x="5627" y="560"/>
                </a:lnTo>
                <a:cubicBezTo>
                  <a:pt x="5628" y="561"/>
                  <a:pt x="5629" y="563"/>
                  <a:pt x="5629" y="565"/>
                </a:cubicBezTo>
                <a:cubicBezTo>
                  <a:pt x="5629" y="568"/>
                  <a:pt x="5628" y="570"/>
                  <a:pt x="5625" y="570"/>
                </a:cubicBezTo>
                <a:lnTo>
                  <a:pt x="5621" y="569"/>
                </a:lnTo>
                <a:cubicBezTo>
                  <a:pt x="5621" y="570"/>
                  <a:pt x="5622" y="571"/>
                  <a:pt x="5624" y="572"/>
                </a:cubicBezTo>
                <a:cubicBezTo>
                  <a:pt x="5625" y="573"/>
                  <a:pt x="5627" y="574"/>
                  <a:pt x="5627" y="574"/>
                </a:cubicBezTo>
                <a:close/>
                <a:moveTo>
                  <a:pt x="5619" y="539"/>
                </a:moveTo>
                <a:lnTo>
                  <a:pt x="5621" y="539"/>
                </a:lnTo>
                <a:cubicBezTo>
                  <a:pt x="5621" y="538"/>
                  <a:pt x="5622" y="536"/>
                  <a:pt x="5622" y="534"/>
                </a:cubicBezTo>
                <a:cubicBezTo>
                  <a:pt x="5623" y="533"/>
                  <a:pt x="5624" y="531"/>
                  <a:pt x="5624" y="529"/>
                </a:cubicBezTo>
                <a:cubicBezTo>
                  <a:pt x="5624" y="528"/>
                  <a:pt x="5625" y="527"/>
                  <a:pt x="5625" y="526"/>
                </a:cubicBezTo>
                <a:cubicBezTo>
                  <a:pt x="5625" y="525"/>
                  <a:pt x="5624" y="525"/>
                  <a:pt x="5624" y="525"/>
                </a:cubicBezTo>
                <a:cubicBezTo>
                  <a:pt x="5624" y="525"/>
                  <a:pt x="5622" y="528"/>
                  <a:pt x="5620" y="535"/>
                </a:cubicBezTo>
                <a:lnTo>
                  <a:pt x="5619" y="539"/>
                </a:lnTo>
                <a:close/>
                <a:moveTo>
                  <a:pt x="5680" y="435"/>
                </a:moveTo>
                <a:cubicBezTo>
                  <a:pt x="5681" y="435"/>
                  <a:pt x="5682" y="434"/>
                  <a:pt x="5683" y="431"/>
                </a:cubicBezTo>
                <a:cubicBezTo>
                  <a:pt x="5685" y="427"/>
                  <a:pt x="5686" y="425"/>
                  <a:pt x="5686" y="424"/>
                </a:cubicBezTo>
                <a:cubicBezTo>
                  <a:pt x="5686" y="424"/>
                  <a:pt x="5686" y="424"/>
                  <a:pt x="5685" y="424"/>
                </a:cubicBezTo>
                <a:cubicBezTo>
                  <a:pt x="5684" y="424"/>
                  <a:pt x="5683" y="424"/>
                  <a:pt x="5682" y="425"/>
                </a:cubicBezTo>
                <a:cubicBezTo>
                  <a:pt x="5680" y="426"/>
                  <a:pt x="5679" y="428"/>
                  <a:pt x="5679" y="430"/>
                </a:cubicBezTo>
                <a:lnTo>
                  <a:pt x="5679" y="432"/>
                </a:lnTo>
                <a:cubicBezTo>
                  <a:pt x="5679" y="434"/>
                  <a:pt x="5680" y="435"/>
                  <a:pt x="5680" y="435"/>
                </a:cubicBezTo>
                <a:close/>
                <a:moveTo>
                  <a:pt x="5687" y="418"/>
                </a:moveTo>
                <a:cubicBezTo>
                  <a:pt x="5688" y="418"/>
                  <a:pt x="5689" y="416"/>
                  <a:pt x="5691" y="413"/>
                </a:cubicBezTo>
                <a:lnTo>
                  <a:pt x="5692" y="409"/>
                </a:lnTo>
                <a:lnTo>
                  <a:pt x="5692" y="409"/>
                </a:lnTo>
                <a:cubicBezTo>
                  <a:pt x="5691" y="409"/>
                  <a:pt x="5691" y="409"/>
                  <a:pt x="5690" y="410"/>
                </a:cubicBezTo>
                <a:cubicBezTo>
                  <a:pt x="5690" y="411"/>
                  <a:pt x="5689" y="412"/>
                  <a:pt x="5688" y="414"/>
                </a:cubicBezTo>
                <a:cubicBezTo>
                  <a:pt x="5688" y="415"/>
                  <a:pt x="5687" y="416"/>
                  <a:pt x="5687" y="417"/>
                </a:cubicBezTo>
                <a:lnTo>
                  <a:pt x="5687" y="418"/>
                </a:lnTo>
                <a:close/>
                <a:moveTo>
                  <a:pt x="5695" y="402"/>
                </a:moveTo>
                <a:cubicBezTo>
                  <a:pt x="5696" y="402"/>
                  <a:pt x="5697" y="401"/>
                  <a:pt x="5697" y="399"/>
                </a:cubicBezTo>
                <a:cubicBezTo>
                  <a:pt x="5697" y="399"/>
                  <a:pt x="5697" y="398"/>
                  <a:pt x="5696" y="397"/>
                </a:cubicBezTo>
                <a:cubicBezTo>
                  <a:pt x="5696" y="397"/>
                  <a:pt x="5695" y="397"/>
                  <a:pt x="5695" y="397"/>
                </a:cubicBezTo>
                <a:cubicBezTo>
                  <a:pt x="5694" y="397"/>
                  <a:pt x="5694" y="397"/>
                  <a:pt x="5694" y="399"/>
                </a:cubicBezTo>
                <a:cubicBezTo>
                  <a:pt x="5694" y="401"/>
                  <a:pt x="5694" y="402"/>
                  <a:pt x="5695" y="402"/>
                </a:cubicBezTo>
                <a:close/>
                <a:moveTo>
                  <a:pt x="5710" y="442"/>
                </a:moveTo>
                <a:cubicBezTo>
                  <a:pt x="5711" y="441"/>
                  <a:pt x="5711" y="441"/>
                  <a:pt x="5711" y="440"/>
                </a:cubicBezTo>
                <a:cubicBezTo>
                  <a:pt x="5711" y="439"/>
                  <a:pt x="5711" y="438"/>
                  <a:pt x="5710" y="438"/>
                </a:cubicBezTo>
                <a:cubicBezTo>
                  <a:pt x="5709" y="437"/>
                  <a:pt x="5709" y="436"/>
                  <a:pt x="5708" y="436"/>
                </a:cubicBezTo>
                <a:cubicBezTo>
                  <a:pt x="5707" y="436"/>
                  <a:pt x="5706" y="437"/>
                  <a:pt x="5706" y="439"/>
                </a:cubicBezTo>
                <a:cubicBezTo>
                  <a:pt x="5706" y="440"/>
                  <a:pt x="5706" y="440"/>
                  <a:pt x="5707" y="441"/>
                </a:cubicBezTo>
                <a:cubicBezTo>
                  <a:pt x="5708" y="442"/>
                  <a:pt x="5709" y="442"/>
                  <a:pt x="5709" y="442"/>
                </a:cubicBezTo>
                <a:lnTo>
                  <a:pt x="5710" y="442"/>
                </a:lnTo>
                <a:close/>
                <a:moveTo>
                  <a:pt x="5720" y="431"/>
                </a:moveTo>
                <a:cubicBezTo>
                  <a:pt x="5722" y="431"/>
                  <a:pt x="5723" y="429"/>
                  <a:pt x="5723" y="427"/>
                </a:cubicBezTo>
                <a:lnTo>
                  <a:pt x="5723" y="426"/>
                </a:lnTo>
                <a:cubicBezTo>
                  <a:pt x="5723" y="425"/>
                  <a:pt x="5723" y="425"/>
                  <a:pt x="5722" y="425"/>
                </a:cubicBezTo>
                <a:lnTo>
                  <a:pt x="5722" y="426"/>
                </a:lnTo>
                <a:cubicBezTo>
                  <a:pt x="5721" y="428"/>
                  <a:pt x="5720" y="428"/>
                  <a:pt x="5719" y="428"/>
                </a:cubicBezTo>
                <a:lnTo>
                  <a:pt x="5717" y="427"/>
                </a:lnTo>
                <a:lnTo>
                  <a:pt x="5718" y="429"/>
                </a:lnTo>
                <a:cubicBezTo>
                  <a:pt x="5718" y="430"/>
                  <a:pt x="5719" y="431"/>
                  <a:pt x="5720" y="431"/>
                </a:cubicBezTo>
                <a:close/>
                <a:moveTo>
                  <a:pt x="5733" y="419"/>
                </a:moveTo>
                <a:cubicBezTo>
                  <a:pt x="5734" y="419"/>
                  <a:pt x="5734" y="419"/>
                  <a:pt x="5734" y="419"/>
                </a:cubicBezTo>
                <a:cubicBezTo>
                  <a:pt x="5734" y="417"/>
                  <a:pt x="5733" y="417"/>
                  <a:pt x="5731" y="417"/>
                </a:cubicBezTo>
                <a:cubicBezTo>
                  <a:pt x="5729" y="417"/>
                  <a:pt x="5729" y="417"/>
                  <a:pt x="5729" y="418"/>
                </a:cubicBezTo>
                <a:cubicBezTo>
                  <a:pt x="5729" y="419"/>
                  <a:pt x="5730" y="419"/>
                  <a:pt x="5731" y="419"/>
                </a:cubicBezTo>
                <a:lnTo>
                  <a:pt x="5733" y="419"/>
                </a:lnTo>
                <a:close/>
                <a:moveTo>
                  <a:pt x="5745" y="404"/>
                </a:moveTo>
                <a:cubicBezTo>
                  <a:pt x="5746" y="404"/>
                  <a:pt x="5747" y="403"/>
                  <a:pt x="5750" y="402"/>
                </a:cubicBezTo>
                <a:cubicBezTo>
                  <a:pt x="5752" y="400"/>
                  <a:pt x="5753" y="398"/>
                  <a:pt x="5753" y="397"/>
                </a:cubicBezTo>
                <a:cubicBezTo>
                  <a:pt x="5753" y="396"/>
                  <a:pt x="5753" y="395"/>
                  <a:pt x="5753" y="395"/>
                </a:cubicBezTo>
                <a:cubicBezTo>
                  <a:pt x="5752" y="395"/>
                  <a:pt x="5751" y="397"/>
                  <a:pt x="5748" y="399"/>
                </a:cubicBezTo>
                <a:cubicBezTo>
                  <a:pt x="5746" y="402"/>
                  <a:pt x="5745" y="404"/>
                  <a:pt x="5745" y="404"/>
                </a:cubicBezTo>
                <a:close/>
                <a:moveTo>
                  <a:pt x="5756" y="392"/>
                </a:moveTo>
                <a:cubicBezTo>
                  <a:pt x="5756" y="392"/>
                  <a:pt x="5757" y="392"/>
                  <a:pt x="5759" y="391"/>
                </a:cubicBezTo>
                <a:cubicBezTo>
                  <a:pt x="5761" y="389"/>
                  <a:pt x="5762" y="388"/>
                  <a:pt x="5763" y="387"/>
                </a:cubicBezTo>
                <a:cubicBezTo>
                  <a:pt x="5764" y="387"/>
                  <a:pt x="5765" y="386"/>
                  <a:pt x="5765" y="385"/>
                </a:cubicBezTo>
                <a:cubicBezTo>
                  <a:pt x="5765" y="384"/>
                  <a:pt x="5764" y="384"/>
                  <a:pt x="5764" y="384"/>
                </a:cubicBezTo>
                <a:cubicBezTo>
                  <a:pt x="5763" y="384"/>
                  <a:pt x="5761" y="385"/>
                  <a:pt x="5759" y="388"/>
                </a:cubicBezTo>
                <a:cubicBezTo>
                  <a:pt x="5756" y="390"/>
                  <a:pt x="5755" y="392"/>
                  <a:pt x="5755" y="392"/>
                </a:cubicBezTo>
                <a:lnTo>
                  <a:pt x="5756" y="392"/>
                </a:lnTo>
                <a:close/>
                <a:moveTo>
                  <a:pt x="5783" y="367"/>
                </a:moveTo>
                <a:cubicBezTo>
                  <a:pt x="5783" y="367"/>
                  <a:pt x="5785" y="366"/>
                  <a:pt x="5786" y="364"/>
                </a:cubicBezTo>
                <a:lnTo>
                  <a:pt x="5788" y="362"/>
                </a:lnTo>
                <a:lnTo>
                  <a:pt x="5788" y="361"/>
                </a:lnTo>
                <a:lnTo>
                  <a:pt x="5786" y="362"/>
                </a:lnTo>
                <a:cubicBezTo>
                  <a:pt x="5783" y="363"/>
                  <a:pt x="5782" y="364"/>
                  <a:pt x="5782" y="366"/>
                </a:cubicBezTo>
                <a:cubicBezTo>
                  <a:pt x="5782" y="367"/>
                  <a:pt x="5782" y="367"/>
                  <a:pt x="5783" y="367"/>
                </a:cubicBezTo>
                <a:close/>
                <a:moveTo>
                  <a:pt x="5852" y="267"/>
                </a:moveTo>
                <a:cubicBezTo>
                  <a:pt x="5853" y="267"/>
                  <a:pt x="5854" y="265"/>
                  <a:pt x="5856" y="262"/>
                </a:cubicBezTo>
                <a:lnTo>
                  <a:pt x="5858" y="260"/>
                </a:lnTo>
                <a:lnTo>
                  <a:pt x="5858" y="259"/>
                </a:lnTo>
                <a:lnTo>
                  <a:pt x="5855" y="262"/>
                </a:lnTo>
                <a:cubicBezTo>
                  <a:pt x="5853" y="264"/>
                  <a:pt x="5851" y="265"/>
                  <a:pt x="5851" y="266"/>
                </a:cubicBezTo>
                <a:cubicBezTo>
                  <a:pt x="5851" y="266"/>
                  <a:pt x="5852" y="267"/>
                  <a:pt x="5852" y="267"/>
                </a:cubicBezTo>
                <a:close/>
                <a:moveTo>
                  <a:pt x="5858" y="231"/>
                </a:moveTo>
                <a:cubicBezTo>
                  <a:pt x="5860" y="231"/>
                  <a:pt x="5862" y="228"/>
                  <a:pt x="5866" y="220"/>
                </a:cubicBezTo>
                <a:cubicBezTo>
                  <a:pt x="5869" y="216"/>
                  <a:pt x="5870" y="214"/>
                  <a:pt x="5870" y="213"/>
                </a:cubicBezTo>
                <a:lnTo>
                  <a:pt x="5869" y="213"/>
                </a:lnTo>
                <a:cubicBezTo>
                  <a:pt x="5869" y="213"/>
                  <a:pt x="5868" y="213"/>
                  <a:pt x="5867" y="215"/>
                </a:cubicBezTo>
                <a:cubicBezTo>
                  <a:pt x="5865" y="218"/>
                  <a:pt x="5864" y="219"/>
                  <a:pt x="5864" y="220"/>
                </a:cubicBezTo>
                <a:lnTo>
                  <a:pt x="5864" y="222"/>
                </a:lnTo>
                <a:cubicBezTo>
                  <a:pt x="5864" y="223"/>
                  <a:pt x="5864" y="223"/>
                  <a:pt x="5863" y="223"/>
                </a:cubicBezTo>
                <a:cubicBezTo>
                  <a:pt x="5862" y="223"/>
                  <a:pt x="5862" y="223"/>
                  <a:pt x="5861" y="224"/>
                </a:cubicBezTo>
                <a:cubicBezTo>
                  <a:pt x="5860" y="225"/>
                  <a:pt x="5860" y="225"/>
                  <a:pt x="5860" y="226"/>
                </a:cubicBezTo>
                <a:cubicBezTo>
                  <a:pt x="5860" y="227"/>
                  <a:pt x="5860" y="228"/>
                  <a:pt x="5859" y="229"/>
                </a:cubicBezTo>
                <a:cubicBezTo>
                  <a:pt x="5859" y="230"/>
                  <a:pt x="5859" y="230"/>
                  <a:pt x="5858" y="231"/>
                </a:cubicBezTo>
                <a:lnTo>
                  <a:pt x="5857" y="231"/>
                </a:lnTo>
                <a:lnTo>
                  <a:pt x="5858" y="231"/>
                </a:lnTo>
                <a:close/>
                <a:moveTo>
                  <a:pt x="5871" y="209"/>
                </a:moveTo>
                <a:cubicBezTo>
                  <a:pt x="5872" y="209"/>
                  <a:pt x="5873" y="208"/>
                  <a:pt x="5874" y="206"/>
                </a:cubicBezTo>
                <a:cubicBezTo>
                  <a:pt x="5875" y="203"/>
                  <a:pt x="5877" y="201"/>
                  <a:pt x="5879" y="197"/>
                </a:cubicBezTo>
                <a:cubicBezTo>
                  <a:pt x="5881" y="192"/>
                  <a:pt x="5882" y="189"/>
                  <a:pt x="5882" y="188"/>
                </a:cubicBezTo>
                <a:lnTo>
                  <a:pt x="5882" y="188"/>
                </a:lnTo>
                <a:lnTo>
                  <a:pt x="5880" y="190"/>
                </a:lnTo>
                <a:cubicBezTo>
                  <a:pt x="5877" y="193"/>
                  <a:pt x="5876" y="195"/>
                  <a:pt x="5876" y="195"/>
                </a:cubicBezTo>
                <a:cubicBezTo>
                  <a:pt x="5876" y="199"/>
                  <a:pt x="5874" y="203"/>
                  <a:pt x="5872" y="206"/>
                </a:cubicBezTo>
                <a:cubicBezTo>
                  <a:pt x="5870" y="207"/>
                  <a:pt x="5870" y="208"/>
                  <a:pt x="5870" y="208"/>
                </a:cubicBezTo>
                <a:cubicBezTo>
                  <a:pt x="5870" y="209"/>
                  <a:pt x="5870" y="209"/>
                  <a:pt x="5871" y="209"/>
                </a:cubicBezTo>
                <a:close/>
                <a:moveTo>
                  <a:pt x="5876" y="246"/>
                </a:moveTo>
                <a:cubicBezTo>
                  <a:pt x="5877" y="246"/>
                  <a:pt x="5878" y="244"/>
                  <a:pt x="5879" y="241"/>
                </a:cubicBezTo>
                <a:cubicBezTo>
                  <a:pt x="5880" y="239"/>
                  <a:pt x="5881" y="238"/>
                  <a:pt x="5881" y="237"/>
                </a:cubicBezTo>
                <a:lnTo>
                  <a:pt x="5881" y="237"/>
                </a:lnTo>
                <a:cubicBezTo>
                  <a:pt x="5880" y="237"/>
                  <a:pt x="5879" y="238"/>
                  <a:pt x="5878" y="240"/>
                </a:cubicBezTo>
                <a:cubicBezTo>
                  <a:pt x="5877" y="243"/>
                  <a:pt x="5876" y="245"/>
                  <a:pt x="5876" y="245"/>
                </a:cubicBezTo>
                <a:lnTo>
                  <a:pt x="5876" y="246"/>
                </a:lnTo>
                <a:close/>
                <a:moveTo>
                  <a:pt x="5871" y="236"/>
                </a:moveTo>
                <a:cubicBezTo>
                  <a:pt x="5872" y="236"/>
                  <a:pt x="5872" y="236"/>
                  <a:pt x="5872" y="235"/>
                </a:cubicBezTo>
                <a:cubicBezTo>
                  <a:pt x="5874" y="232"/>
                  <a:pt x="5875" y="228"/>
                  <a:pt x="5878" y="224"/>
                </a:cubicBezTo>
                <a:cubicBezTo>
                  <a:pt x="5880" y="221"/>
                  <a:pt x="5885" y="211"/>
                  <a:pt x="5894" y="195"/>
                </a:cubicBezTo>
                <a:cubicBezTo>
                  <a:pt x="5902" y="179"/>
                  <a:pt x="5907" y="171"/>
                  <a:pt x="5908" y="171"/>
                </a:cubicBezTo>
                <a:lnTo>
                  <a:pt x="5910" y="171"/>
                </a:lnTo>
                <a:lnTo>
                  <a:pt x="5909" y="167"/>
                </a:lnTo>
                <a:cubicBezTo>
                  <a:pt x="5909" y="163"/>
                  <a:pt x="5910" y="159"/>
                  <a:pt x="5912" y="155"/>
                </a:cubicBezTo>
                <a:cubicBezTo>
                  <a:pt x="5915" y="148"/>
                  <a:pt x="5919" y="139"/>
                  <a:pt x="5922" y="129"/>
                </a:cubicBezTo>
                <a:cubicBezTo>
                  <a:pt x="5931" y="104"/>
                  <a:pt x="5935" y="87"/>
                  <a:pt x="5935" y="80"/>
                </a:cubicBezTo>
                <a:cubicBezTo>
                  <a:pt x="5935" y="78"/>
                  <a:pt x="5935" y="78"/>
                  <a:pt x="5934" y="78"/>
                </a:cubicBezTo>
                <a:cubicBezTo>
                  <a:pt x="5933" y="78"/>
                  <a:pt x="5932" y="81"/>
                  <a:pt x="5931" y="88"/>
                </a:cubicBezTo>
                <a:cubicBezTo>
                  <a:pt x="5930" y="93"/>
                  <a:pt x="5928" y="101"/>
                  <a:pt x="5925" y="112"/>
                </a:cubicBezTo>
                <a:cubicBezTo>
                  <a:pt x="5922" y="122"/>
                  <a:pt x="5919" y="131"/>
                  <a:pt x="5915" y="140"/>
                </a:cubicBezTo>
                <a:cubicBezTo>
                  <a:pt x="5911" y="148"/>
                  <a:pt x="5904" y="164"/>
                  <a:pt x="5893" y="188"/>
                </a:cubicBezTo>
                <a:cubicBezTo>
                  <a:pt x="5882" y="212"/>
                  <a:pt x="5875" y="225"/>
                  <a:pt x="5874" y="227"/>
                </a:cubicBezTo>
                <a:cubicBezTo>
                  <a:pt x="5872" y="229"/>
                  <a:pt x="5871" y="232"/>
                  <a:pt x="5871" y="234"/>
                </a:cubicBezTo>
                <a:lnTo>
                  <a:pt x="5871" y="236"/>
                </a:lnTo>
                <a:close/>
                <a:moveTo>
                  <a:pt x="5922" y="38"/>
                </a:moveTo>
                <a:cubicBezTo>
                  <a:pt x="5922" y="38"/>
                  <a:pt x="5923" y="38"/>
                  <a:pt x="5923" y="38"/>
                </a:cubicBezTo>
                <a:cubicBezTo>
                  <a:pt x="5923" y="37"/>
                  <a:pt x="5922" y="36"/>
                  <a:pt x="5921" y="34"/>
                </a:cubicBezTo>
                <a:cubicBezTo>
                  <a:pt x="5920" y="33"/>
                  <a:pt x="5916" y="32"/>
                  <a:pt x="5911" y="32"/>
                </a:cubicBezTo>
                <a:lnTo>
                  <a:pt x="5909" y="32"/>
                </a:lnTo>
                <a:cubicBezTo>
                  <a:pt x="5906" y="32"/>
                  <a:pt x="5905" y="32"/>
                  <a:pt x="5905" y="32"/>
                </a:cubicBezTo>
                <a:cubicBezTo>
                  <a:pt x="5905" y="34"/>
                  <a:pt x="5908" y="35"/>
                  <a:pt x="5914" y="37"/>
                </a:cubicBezTo>
                <a:cubicBezTo>
                  <a:pt x="5917" y="38"/>
                  <a:pt x="5920" y="38"/>
                  <a:pt x="5922" y="38"/>
                </a:cubicBezTo>
                <a:close/>
                <a:moveTo>
                  <a:pt x="5844" y="113"/>
                </a:moveTo>
                <a:cubicBezTo>
                  <a:pt x="5844" y="113"/>
                  <a:pt x="5845" y="112"/>
                  <a:pt x="5847" y="109"/>
                </a:cubicBezTo>
                <a:lnTo>
                  <a:pt x="5849" y="106"/>
                </a:lnTo>
                <a:cubicBezTo>
                  <a:pt x="5849" y="106"/>
                  <a:pt x="5848" y="107"/>
                  <a:pt x="5847" y="108"/>
                </a:cubicBezTo>
                <a:cubicBezTo>
                  <a:pt x="5844" y="110"/>
                  <a:pt x="5843" y="111"/>
                  <a:pt x="5843" y="112"/>
                </a:cubicBezTo>
                <a:cubicBezTo>
                  <a:pt x="5843" y="113"/>
                  <a:pt x="5843" y="113"/>
                  <a:pt x="5844" y="113"/>
                </a:cubicBezTo>
                <a:close/>
                <a:moveTo>
                  <a:pt x="5835" y="143"/>
                </a:moveTo>
                <a:cubicBezTo>
                  <a:pt x="5836" y="143"/>
                  <a:pt x="5837" y="141"/>
                  <a:pt x="5839" y="139"/>
                </a:cubicBezTo>
                <a:lnTo>
                  <a:pt x="5841" y="136"/>
                </a:lnTo>
                <a:lnTo>
                  <a:pt x="5840" y="136"/>
                </a:lnTo>
                <a:lnTo>
                  <a:pt x="5838" y="138"/>
                </a:lnTo>
                <a:cubicBezTo>
                  <a:pt x="5835" y="140"/>
                  <a:pt x="5834" y="141"/>
                  <a:pt x="5834" y="142"/>
                </a:cubicBezTo>
                <a:cubicBezTo>
                  <a:pt x="5834" y="142"/>
                  <a:pt x="5834" y="143"/>
                  <a:pt x="5835" y="143"/>
                </a:cubicBezTo>
                <a:close/>
                <a:moveTo>
                  <a:pt x="5826" y="136"/>
                </a:moveTo>
                <a:cubicBezTo>
                  <a:pt x="5827" y="136"/>
                  <a:pt x="5827" y="136"/>
                  <a:pt x="5828" y="134"/>
                </a:cubicBezTo>
                <a:cubicBezTo>
                  <a:pt x="5833" y="127"/>
                  <a:pt x="5835" y="123"/>
                  <a:pt x="5835" y="122"/>
                </a:cubicBezTo>
                <a:cubicBezTo>
                  <a:pt x="5835" y="122"/>
                  <a:pt x="5833" y="124"/>
                  <a:pt x="5830" y="129"/>
                </a:cubicBezTo>
                <a:cubicBezTo>
                  <a:pt x="5827" y="133"/>
                  <a:pt x="5826" y="135"/>
                  <a:pt x="5826" y="136"/>
                </a:cubicBezTo>
                <a:close/>
                <a:moveTo>
                  <a:pt x="5811" y="155"/>
                </a:moveTo>
                <a:cubicBezTo>
                  <a:pt x="5811" y="155"/>
                  <a:pt x="5812" y="155"/>
                  <a:pt x="5813" y="154"/>
                </a:cubicBezTo>
                <a:cubicBezTo>
                  <a:pt x="5814" y="154"/>
                  <a:pt x="5815" y="152"/>
                  <a:pt x="5817" y="151"/>
                </a:cubicBezTo>
                <a:cubicBezTo>
                  <a:pt x="5818" y="149"/>
                  <a:pt x="5819" y="148"/>
                  <a:pt x="5820" y="146"/>
                </a:cubicBezTo>
                <a:cubicBezTo>
                  <a:pt x="5820" y="144"/>
                  <a:pt x="5821" y="144"/>
                  <a:pt x="5821" y="143"/>
                </a:cubicBezTo>
                <a:lnTo>
                  <a:pt x="5821" y="143"/>
                </a:lnTo>
                <a:cubicBezTo>
                  <a:pt x="5820" y="143"/>
                  <a:pt x="5817" y="145"/>
                  <a:pt x="5814" y="150"/>
                </a:cubicBezTo>
                <a:cubicBezTo>
                  <a:pt x="5812" y="153"/>
                  <a:pt x="5811" y="155"/>
                  <a:pt x="5811" y="155"/>
                </a:cubicBezTo>
                <a:close/>
                <a:moveTo>
                  <a:pt x="5795" y="178"/>
                </a:moveTo>
                <a:cubicBezTo>
                  <a:pt x="5795" y="178"/>
                  <a:pt x="5796" y="178"/>
                  <a:pt x="5797" y="177"/>
                </a:cubicBezTo>
                <a:cubicBezTo>
                  <a:pt x="5798" y="176"/>
                  <a:pt x="5799" y="175"/>
                  <a:pt x="5800" y="173"/>
                </a:cubicBezTo>
                <a:cubicBezTo>
                  <a:pt x="5801" y="172"/>
                  <a:pt x="5802" y="170"/>
                  <a:pt x="5803" y="169"/>
                </a:cubicBezTo>
                <a:cubicBezTo>
                  <a:pt x="5804" y="168"/>
                  <a:pt x="5805" y="167"/>
                  <a:pt x="5805" y="166"/>
                </a:cubicBezTo>
                <a:cubicBezTo>
                  <a:pt x="5804" y="166"/>
                  <a:pt x="5802" y="167"/>
                  <a:pt x="5800" y="170"/>
                </a:cubicBezTo>
                <a:cubicBezTo>
                  <a:pt x="5797" y="172"/>
                  <a:pt x="5796" y="174"/>
                  <a:pt x="5796" y="175"/>
                </a:cubicBezTo>
                <a:lnTo>
                  <a:pt x="5796" y="175"/>
                </a:lnTo>
                <a:cubicBezTo>
                  <a:pt x="5797" y="175"/>
                  <a:pt x="5797" y="175"/>
                  <a:pt x="5797" y="176"/>
                </a:cubicBezTo>
                <a:lnTo>
                  <a:pt x="5796" y="178"/>
                </a:lnTo>
                <a:lnTo>
                  <a:pt x="5795" y="178"/>
                </a:lnTo>
                <a:close/>
                <a:moveTo>
                  <a:pt x="5800" y="193"/>
                </a:moveTo>
                <a:cubicBezTo>
                  <a:pt x="5801" y="193"/>
                  <a:pt x="5802" y="192"/>
                  <a:pt x="5804" y="189"/>
                </a:cubicBezTo>
                <a:lnTo>
                  <a:pt x="5806" y="187"/>
                </a:lnTo>
                <a:lnTo>
                  <a:pt x="5806" y="186"/>
                </a:lnTo>
                <a:lnTo>
                  <a:pt x="5803" y="188"/>
                </a:lnTo>
                <a:cubicBezTo>
                  <a:pt x="5800" y="191"/>
                  <a:pt x="5799" y="192"/>
                  <a:pt x="5799" y="193"/>
                </a:cubicBezTo>
                <a:cubicBezTo>
                  <a:pt x="5799" y="193"/>
                  <a:pt x="5799" y="193"/>
                  <a:pt x="5800" y="193"/>
                </a:cubicBezTo>
                <a:close/>
                <a:moveTo>
                  <a:pt x="5784" y="221"/>
                </a:moveTo>
                <a:cubicBezTo>
                  <a:pt x="5785" y="221"/>
                  <a:pt x="5785" y="220"/>
                  <a:pt x="5785" y="220"/>
                </a:cubicBezTo>
                <a:cubicBezTo>
                  <a:pt x="5786" y="219"/>
                  <a:pt x="5787" y="218"/>
                  <a:pt x="5788" y="216"/>
                </a:cubicBezTo>
                <a:cubicBezTo>
                  <a:pt x="5788" y="214"/>
                  <a:pt x="5790" y="213"/>
                  <a:pt x="5790" y="210"/>
                </a:cubicBezTo>
                <a:cubicBezTo>
                  <a:pt x="5791" y="209"/>
                  <a:pt x="5792" y="207"/>
                  <a:pt x="5793" y="205"/>
                </a:cubicBezTo>
                <a:cubicBezTo>
                  <a:pt x="5794" y="204"/>
                  <a:pt x="5794" y="203"/>
                  <a:pt x="5794" y="202"/>
                </a:cubicBezTo>
                <a:cubicBezTo>
                  <a:pt x="5793" y="202"/>
                  <a:pt x="5792" y="205"/>
                  <a:pt x="5789" y="210"/>
                </a:cubicBezTo>
                <a:cubicBezTo>
                  <a:pt x="5786" y="215"/>
                  <a:pt x="5784" y="218"/>
                  <a:pt x="5784" y="220"/>
                </a:cubicBezTo>
                <a:lnTo>
                  <a:pt x="5784" y="221"/>
                </a:lnTo>
                <a:close/>
                <a:moveTo>
                  <a:pt x="5776" y="209"/>
                </a:moveTo>
                <a:lnTo>
                  <a:pt x="5781" y="203"/>
                </a:lnTo>
                <a:cubicBezTo>
                  <a:pt x="5788" y="193"/>
                  <a:pt x="5791" y="187"/>
                  <a:pt x="5791" y="185"/>
                </a:cubicBezTo>
                <a:lnTo>
                  <a:pt x="5791" y="185"/>
                </a:lnTo>
                <a:lnTo>
                  <a:pt x="5786" y="190"/>
                </a:lnTo>
                <a:cubicBezTo>
                  <a:pt x="5782" y="195"/>
                  <a:pt x="5780" y="198"/>
                  <a:pt x="5780" y="198"/>
                </a:cubicBezTo>
                <a:cubicBezTo>
                  <a:pt x="5780" y="198"/>
                  <a:pt x="5780" y="201"/>
                  <a:pt x="5778" y="205"/>
                </a:cubicBezTo>
                <a:lnTo>
                  <a:pt x="5776" y="209"/>
                </a:lnTo>
                <a:close/>
                <a:moveTo>
                  <a:pt x="5764" y="230"/>
                </a:moveTo>
                <a:cubicBezTo>
                  <a:pt x="5764" y="230"/>
                  <a:pt x="5766" y="227"/>
                  <a:pt x="5770" y="220"/>
                </a:cubicBezTo>
                <a:cubicBezTo>
                  <a:pt x="5773" y="216"/>
                  <a:pt x="5774" y="213"/>
                  <a:pt x="5774" y="212"/>
                </a:cubicBezTo>
                <a:lnTo>
                  <a:pt x="5774" y="211"/>
                </a:lnTo>
                <a:cubicBezTo>
                  <a:pt x="5772" y="211"/>
                  <a:pt x="5771" y="213"/>
                  <a:pt x="5769" y="217"/>
                </a:cubicBezTo>
                <a:cubicBezTo>
                  <a:pt x="5767" y="221"/>
                  <a:pt x="5766" y="223"/>
                  <a:pt x="5765" y="223"/>
                </a:cubicBezTo>
                <a:cubicBezTo>
                  <a:pt x="5764" y="223"/>
                  <a:pt x="5763" y="224"/>
                  <a:pt x="5763" y="227"/>
                </a:cubicBezTo>
                <a:cubicBezTo>
                  <a:pt x="5763" y="228"/>
                  <a:pt x="5763" y="229"/>
                  <a:pt x="5764" y="230"/>
                </a:cubicBezTo>
                <a:close/>
                <a:moveTo>
                  <a:pt x="5755" y="243"/>
                </a:moveTo>
                <a:cubicBezTo>
                  <a:pt x="5757" y="242"/>
                  <a:pt x="5759" y="240"/>
                  <a:pt x="5760" y="237"/>
                </a:cubicBezTo>
                <a:cubicBezTo>
                  <a:pt x="5761" y="235"/>
                  <a:pt x="5762" y="233"/>
                  <a:pt x="5762" y="233"/>
                </a:cubicBezTo>
                <a:lnTo>
                  <a:pt x="5762" y="232"/>
                </a:lnTo>
                <a:cubicBezTo>
                  <a:pt x="5761" y="232"/>
                  <a:pt x="5759" y="234"/>
                  <a:pt x="5757" y="238"/>
                </a:cubicBezTo>
                <a:cubicBezTo>
                  <a:pt x="5756" y="240"/>
                  <a:pt x="5755" y="242"/>
                  <a:pt x="5755" y="242"/>
                </a:cubicBezTo>
                <a:lnTo>
                  <a:pt x="5755" y="243"/>
                </a:lnTo>
                <a:close/>
                <a:moveTo>
                  <a:pt x="5746" y="286"/>
                </a:moveTo>
                <a:lnTo>
                  <a:pt x="5749" y="283"/>
                </a:lnTo>
                <a:cubicBezTo>
                  <a:pt x="5750" y="281"/>
                  <a:pt x="5751" y="279"/>
                  <a:pt x="5752" y="278"/>
                </a:cubicBezTo>
                <a:cubicBezTo>
                  <a:pt x="5753" y="276"/>
                  <a:pt x="5753" y="275"/>
                  <a:pt x="5753" y="275"/>
                </a:cubicBezTo>
                <a:lnTo>
                  <a:pt x="5753" y="274"/>
                </a:lnTo>
                <a:cubicBezTo>
                  <a:pt x="5753" y="274"/>
                  <a:pt x="5753" y="274"/>
                  <a:pt x="5753" y="274"/>
                </a:cubicBezTo>
                <a:cubicBezTo>
                  <a:pt x="5752" y="274"/>
                  <a:pt x="5750" y="277"/>
                  <a:pt x="5747" y="284"/>
                </a:cubicBezTo>
                <a:lnTo>
                  <a:pt x="5746" y="286"/>
                </a:lnTo>
                <a:close/>
                <a:moveTo>
                  <a:pt x="5717" y="301"/>
                </a:moveTo>
                <a:cubicBezTo>
                  <a:pt x="5718" y="301"/>
                  <a:pt x="5719" y="300"/>
                  <a:pt x="5719" y="297"/>
                </a:cubicBezTo>
                <a:lnTo>
                  <a:pt x="5720" y="296"/>
                </a:lnTo>
                <a:cubicBezTo>
                  <a:pt x="5720" y="295"/>
                  <a:pt x="5720" y="295"/>
                  <a:pt x="5719" y="295"/>
                </a:cubicBezTo>
                <a:lnTo>
                  <a:pt x="5719" y="295"/>
                </a:lnTo>
                <a:cubicBezTo>
                  <a:pt x="5717" y="296"/>
                  <a:pt x="5717" y="297"/>
                  <a:pt x="5717" y="299"/>
                </a:cubicBezTo>
                <a:cubicBezTo>
                  <a:pt x="5717" y="300"/>
                  <a:pt x="5717" y="301"/>
                  <a:pt x="5717" y="301"/>
                </a:cubicBezTo>
                <a:close/>
                <a:moveTo>
                  <a:pt x="5702" y="333"/>
                </a:moveTo>
                <a:cubicBezTo>
                  <a:pt x="5702" y="333"/>
                  <a:pt x="5703" y="332"/>
                  <a:pt x="5703" y="331"/>
                </a:cubicBezTo>
                <a:cubicBezTo>
                  <a:pt x="5704" y="330"/>
                  <a:pt x="5704" y="330"/>
                  <a:pt x="5705" y="330"/>
                </a:cubicBezTo>
                <a:lnTo>
                  <a:pt x="5708" y="330"/>
                </a:lnTo>
                <a:lnTo>
                  <a:pt x="5707" y="328"/>
                </a:lnTo>
                <a:cubicBezTo>
                  <a:pt x="5707" y="326"/>
                  <a:pt x="5707" y="324"/>
                  <a:pt x="5708" y="321"/>
                </a:cubicBezTo>
                <a:cubicBezTo>
                  <a:pt x="5709" y="319"/>
                  <a:pt x="5710" y="316"/>
                  <a:pt x="5711" y="314"/>
                </a:cubicBezTo>
                <a:cubicBezTo>
                  <a:pt x="5713" y="312"/>
                  <a:pt x="5714" y="311"/>
                  <a:pt x="5714" y="311"/>
                </a:cubicBezTo>
                <a:lnTo>
                  <a:pt x="5715" y="311"/>
                </a:lnTo>
                <a:cubicBezTo>
                  <a:pt x="5716" y="311"/>
                  <a:pt x="5716" y="311"/>
                  <a:pt x="5716" y="311"/>
                </a:cubicBezTo>
                <a:cubicBezTo>
                  <a:pt x="5716" y="310"/>
                  <a:pt x="5715" y="309"/>
                  <a:pt x="5715" y="308"/>
                </a:cubicBezTo>
                <a:cubicBezTo>
                  <a:pt x="5714" y="307"/>
                  <a:pt x="5714" y="306"/>
                  <a:pt x="5714" y="306"/>
                </a:cubicBezTo>
                <a:cubicBezTo>
                  <a:pt x="5713" y="306"/>
                  <a:pt x="5712" y="308"/>
                  <a:pt x="5711" y="310"/>
                </a:cubicBezTo>
                <a:cubicBezTo>
                  <a:pt x="5709" y="313"/>
                  <a:pt x="5708" y="314"/>
                  <a:pt x="5708" y="315"/>
                </a:cubicBezTo>
                <a:cubicBezTo>
                  <a:pt x="5707" y="316"/>
                  <a:pt x="5706" y="316"/>
                  <a:pt x="5706" y="317"/>
                </a:cubicBezTo>
                <a:lnTo>
                  <a:pt x="5707" y="318"/>
                </a:lnTo>
                <a:cubicBezTo>
                  <a:pt x="5707" y="318"/>
                  <a:pt x="5706" y="321"/>
                  <a:pt x="5705" y="324"/>
                </a:cubicBezTo>
                <a:cubicBezTo>
                  <a:pt x="5703" y="328"/>
                  <a:pt x="5702" y="330"/>
                  <a:pt x="5702" y="332"/>
                </a:cubicBezTo>
                <a:lnTo>
                  <a:pt x="5702" y="333"/>
                </a:lnTo>
                <a:close/>
                <a:moveTo>
                  <a:pt x="5702" y="383"/>
                </a:moveTo>
                <a:cubicBezTo>
                  <a:pt x="5703" y="383"/>
                  <a:pt x="5703" y="383"/>
                  <a:pt x="5704" y="382"/>
                </a:cubicBezTo>
                <a:cubicBezTo>
                  <a:pt x="5705" y="381"/>
                  <a:pt x="5705" y="380"/>
                  <a:pt x="5705" y="380"/>
                </a:cubicBezTo>
                <a:cubicBezTo>
                  <a:pt x="5705" y="379"/>
                  <a:pt x="5704" y="379"/>
                  <a:pt x="5704" y="379"/>
                </a:cubicBezTo>
                <a:cubicBezTo>
                  <a:pt x="5702" y="379"/>
                  <a:pt x="5702" y="380"/>
                  <a:pt x="5701" y="381"/>
                </a:cubicBezTo>
                <a:cubicBezTo>
                  <a:pt x="5701" y="383"/>
                  <a:pt x="5702" y="383"/>
                  <a:pt x="5702" y="383"/>
                </a:cubicBezTo>
                <a:close/>
                <a:moveTo>
                  <a:pt x="5695" y="420"/>
                </a:moveTo>
                <a:cubicBezTo>
                  <a:pt x="5697" y="420"/>
                  <a:pt x="5704" y="413"/>
                  <a:pt x="5716" y="400"/>
                </a:cubicBezTo>
                <a:lnTo>
                  <a:pt x="5721" y="396"/>
                </a:lnTo>
                <a:cubicBezTo>
                  <a:pt x="5733" y="383"/>
                  <a:pt x="5741" y="376"/>
                  <a:pt x="5743" y="376"/>
                </a:cubicBezTo>
                <a:cubicBezTo>
                  <a:pt x="5744" y="376"/>
                  <a:pt x="5745" y="377"/>
                  <a:pt x="5745" y="379"/>
                </a:cubicBezTo>
                <a:cubicBezTo>
                  <a:pt x="5745" y="379"/>
                  <a:pt x="5745" y="380"/>
                  <a:pt x="5744" y="381"/>
                </a:cubicBezTo>
                <a:cubicBezTo>
                  <a:pt x="5743" y="382"/>
                  <a:pt x="5742" y="384"/>
                  <a:pt x="5741" y="385"/>
                </a:cubicBezTo>
                <a:cubicBezTo>
                  <a:pt x="5740" y="387"/>
                  <a:pt x="5739" y="388"/>
                  <a:pt x="5739" y="388"/>
                </a:cubicBezTo>
                <a:lnTo>
                  <a:pt x="5740" y="379"/>
                </a:lnTo>
                <a:cubicBezTo>
                  <a:pt x="5740" y="379"/>
                  <a:pt x="5739" y="380"/>
                  <a:pt x="5738" y="382"/>
                </a:cubicBezTo>
                <a:cubicBezTo>
                  <a:pt x="5738" y="383"/>
                  <a:pt x="5737" y="385"/>
                  <a:pt x="5736" y="386"/>
                </a:cubicBezTo>
                <a:cubicBezTo>
                  <a:pt x="5735" y="387"/>
                  <a:pt x="5734" y="388"/>
                  <a:pt x="5733" y="389"/>
                </a:cubicBezTo>
                <a:cubicBezTo>
                  <a:pt x="5732" y="389"/>
                  <a:pt x="5732" y="389"/>
                  <a:pt x="5732" y="390"/>
                </a:cubicBezTo>
                <a:cubicBezTo>
                  <a:pt x="5732" y="390"/>
                  <a:pt x="5732" y="390"/>
                  <a:pt x="5733" y="390"/>
                </a:cubicBezTo>
                <a:cubicBezTo>
                  <a:pt x="5734" y="390"/>
                  <a:pt x="5734" y="391"/>
                  <a:pt x="5734" y="391"/>
                </a:cubicBezTo>
                <a:cubicBezTo>
                  <a:pt x="5734" y="393"/>
                  <a:pt x="5731" y="398"/>
                  <a:pt x="5723" y="406"/>
                </a:cubicBezTo>
                <a:lnTo>
                  <a:pt x="5720" y="409"/>
                </a:lnTo>
                <a:cubicBezTo>
                  <a:pt x="5720" y="409"/>
                  <a:pt x="5726" y="404"/>
                  <a:pt x="5736" y="393"/>
                </a:cubicBezTo>
                <a:cubicBezTo>
                  <a:pt x="5764" y="363"/>
                  <a:pt x="5784" y="340"/>
                  <a:pt x="5796" y="324"/>
                </a:cubicBezTo>
                <a:lnTo>
                  <a:pt x="5800" y="320"/>
                </a:lnTo>
                <a:cubicBezTo>
                  <a:pt x="5805" y="313"/>
                  <a:pt x="5813" y="303"/>
                  <a:pt x="5822" y="290"/>
                </a:cubicBezTo>
                <a:cubicBezTo>
                  <a:pt x="5845" y="257"/>
                  <a:pt x="5857" y="238"/>
                  <a:pt x="5857" y="235"/>
                </a:cubicBezTo>
                <a:cubicBezTo>
                  <a:pt x="5857" y="235"/>
                  <a:pt x="5856" y="235"/>
                  <a:pt x="5855" y="235"/>
                </a:cubicBezTo>
                <a:cubicBezTo>
                  <a:pt x="5855" y="235"/>
                  <a:pt x="5854" y="235"/>
                  <a:pt x="5854" y="236"/>
                </a:cubicBezTo>
                <a:cubicBezTo>
                  <a:pt x="5853" y="237"/>
                  <a:pt x="5852" y="237"/>
                  <a:pt x="5852" y="238"/>
                </a:cubicBezTo>
                <a:lnTo>
                  <a:pt x="5853" y="240"/>
                </a:lnTo>
                <a:cubicBezTo>
                  <a:pt x="5853" y="241"/>
                  <a:pt x="5852" y="241"/>
                  <a:pt x="5851" y="241"/>
                </a:cubicBezTo>
                <a:cubicBezTo>
                  <a:pt x="5850" y="241"/>
                  <a:pt x="5849" y="242"/>
                  <a:pt x="5849" y="244"/>
                </a:cubicBezTo>
                <a:cubicBezTo>
                  <a:pt x="5849" y="246"/>
                  <a:pt x="5849" y="247"/>
                  <a:pt x="5847" y="249"/>
                </a:cubicBezTo>
                <a:cubicBezTo>
                  <a:pt x="5845" y="250"/>
                  <a:pt x="5844" y="251"/>
                  <a:pt x="5844" y="252"/>
                </a:cubicBezTo>
                <a:lnTo>
                  <a:pt x="5844" y="254"/>
                </a:lnTo>
                <a:cubicBezTo>
                  <a:pt x="5844" y="255"/>
                  <a:pt x="5844" y="255"/>
                  <a:pt x="5842" y="255"/>
                </a:cubicBezTo>
                <a:cubicBezTo>
                  <a:pt x="5841" y="255"/>
                  <a:pt x="5841" y="256"/>
                  <a:pt x="5841" y="257"/>
                </a:cubicBezTo>
                <a:cubicBezTo>
                  <a:pt x="5841" y="259"/>
                  <a:pt x="5840" y="261"/>
                  <a:pt x="5837" y="263"/>
                </a:cubicBezTo>
                <a:cubicBezTo>
                  <a:pt x="5835" y="264"/>
                  <a:pt x="5835" y="264"/>
                  <a:pt x="5835" y="266"/>
                </a:cubicBezTo>
                <a:lnTo>
                  <a:pt x="5835" y="267"/>
                </a:lnTo>
                <a:cubicBezTo>
                  <a:pt x="5835" y="267"/>
                  <a:pt x="5834" y="269"/>
                  <a:pt x="5832" y="271"/>
                </a:cubicBezTo>
                <a:cubicBezTo>
                  <a:pt x="5830" y="273"/>
                  <a:pt x="5829" y="275"/>
                  <a:pt x="5827" y="277"/>
                </a:cubicBezTo>
                <a:cubicBezTo>
                  <a:pt x="5825" y="278"/>
                  <a:pt x="5824" y="279"/>
                  <a:pt x="5823" y="279"/>
                </a:cubicBezTo>
                <a:cubicBezTo>
                  <a:pt x="5822" y="279"/>
                  <a:pt x="5821" y="279"/>
                  <a:pt x="5821" y="280"/>
                </a:cubicBezTo>
                <a:cubicBezTo>
                  <a:pt x="5820" y="281"/>
                  <a:pt x="5820" y="281"/>
                  <a:pt x="5819" y="282"/>
                </a:cubicBezTo>
                <a:cubicBezTo>
                  <a:pt x="5819" y="283"/>
                  <a:pt x="5819" y="284"/>
                  <a:pt x="5819" y="284"/>
                </a:cubicBezTo>
                <a:lnTo>
                  <a:pt x="5819" y="285"/>
                </a:lnTo>
                <a:lnTo>
                  <a:pt x="5820" y="283"/>
                </a:lnTo>
                <a:cubicBezTo>
                  <a:pt x="5821" y="282"/>
                  <a:pt x="5822" y="281"/>
                  <a:pt x="5822" y="281"/>
                </a:cubicBezTo>
                <a:cubicBezTo>
                  <a:pt x="5823" y="281"/>
                  <a:pt x="5824" y="282"/>
                  <a:pt x="5824" y="283"/>
                </a:cubicBezTo>
                <a:cubicBezTo>
                  <a:pt x="5824" y="284"/>
                  <a:pt x="5823" y="285"/>
                  <a:pt x="5822" y="286"/>
                </a:cubicBezTo>
                <a:cubicBezTo>
                  <a:pt x="5821" y="287"/>
                  <a:pt x="5820" y="288"/>
                  <a:pt x="5818" y="289"/>
                </a:cubicBezTo>
                <a:cubicBezTo>
                  <a:pt x="5817" y="290"/>
                  <a:pt x="5815" y="290"/>
                  <a:pt x="5814" y="291"/>
                </a:cubicBezTo>
                <a:cubicBezTo>
                  <a:pt x="5813" y="291"/>
                  <a:pt x="5811" y="293"/>
                  <a:pt x="5809" y="296"/>
                </a:cubicBezTo>
                <a:cubicBezTo>
                  <a:pt x="5806" y="299"/>
                  <a:pt x="5804" y="303"/>
                  <a:pt x="5802" y="306"/>
                </a:cubicBezTo>
                <a:cubicBezTo>
                  <a:pt x="5799" y="310"/>
                  <a:pt x="5798" y="313"/>
                  <a:pt x="5798" y="314"/>
                </a:cubicBezTo>
                <a:lnTo>
                  <a:pt x="5798" y="315"/>
                </a:lnTo>
                <a:cubicBezTo>
                  <a:pt x="5798" y="316"/>
                  <a:pt x="5798" y="318"/>
                  <a:pt x="5796" y="319"/>
                </a:cubicBezTo>
                <a:cubicBezTo>
                  <a:pt x="5795" y="321"/>
                  <a:pt x="5794" y="321"/>
                  <a:pt x="5793" y="321"/>
                </a:cubicBezTo>
                <a:cubicBezTo>
                  <a:pt x="5793" y="321"/>
                  <a:pt x="5793" y="321"/>
                  <a:pt x="5793" y="321"/>
                </a:cubicBezTo>
                <a:cubicBezTo>
                  <a:pt x="5793" y="320"/>
                  <a:pt x="5793" y="320"/>
                  <a:pt x="5792" y="320"/>
                </a:cubicBezTo>
                <a:cubicBezTo>
                  <a:pt x="5792" y="320"/>
                  <a:pt x="5790" y="321"/>
                  <a:pt x="5787" y="324"/>
                </a:cubicBezTo>
                <a:cubicBezTo>
                  <a:pt x="5784" y="326"/>
                  <a:pt x="5782" y="327"/>
                  <a:pt x="5781" y="327"/>
                </a:cubicBezTo>
                <a:cubicBezTo>
                  <a:pt x="5780" y="327"/>
                  <a:pt x="5780" y="327"/>
                  <a:pt x="5780" y="326"/>
                </a:cubicBezTo>
                <a:cubicBezTo>
                  <a:pt x="5780" y="325"/>
                  <a:pt x="5780" y="324"/>
                  <a:pt x="5779" y="324"/>
                </a:cubicBezTo>
                <a:lnTo>
                  <a:pt x="5778" y="325"/>
                </a:lnTo>
                <a:cubicBezTo>
                  <a:pt x="5778" y="326"/>
                  <a:pt x="5778" y="326"/>
                  <a:pt x="5778" y="327"/>
                </a:cubicBezTo>
                <a:cubicBezTo>
                  <a:pt x="5778" y="329"/>
                  <a:pt x="5779" y="330"/>
                  <a:pt x="5781" y="330"/>
                </a:cubicBezTo>
                <a:cubicBezTo>
                  <a:pt x="5781" y="330"/>
                  <a:pt x="5782" y="329"/>
                  <a:pt x="5783" y="328"/>
                </a:cubicBezTo>
                <a:cubicBezTo>
                  <a:pt x="5784" y="328"/>
                  <a:pt x="5785" y="327"/>
                  <a:pt x="5786" y="327"/>
                </a:cubicBezTo>
                <a:cubicBezTo>
                  <a:pt x="5786" y="327"/>
                  <a:pt x="5787" y="328"/>
                  <a:pt x="5787" y="329"/>
                </a:cubicBezTo>
                <a:cubicBezTo>
                  <a:pt x="5787" y="331"/>
                  <a:pt x="5786" y="332"/>
                  <a:pt x="5785" y="333"/>
                </a:cubicBezTo>
                <a:cubicBezTo>
                  <a:pt x="5784" y="334"/>
                  <a:pt x="5783" y="335"/>
                  <a:pt x="5782" y="335"/>
                </a:cubicBezTo>
                <a:cubicBezTo>
                  <a:pt x="5782" y="335"/>
                  <a:pt x="5782" y="335"/>
                  <a:pt x="5782" y="334"/>
                </a:cubicBezTo>
                <a:cubicBezTo>
                  <a:pt x="5782" y="334"/>
                  <a:pt x="5781" y="334"/>
                  <a:pt x="5781" y="334"/>
                </a:cubicBezTo>
                <a:cubicBezTo>
                  <a:pt x="5781" y="334"/>
                  <a:pt x="5779" y="335"/>
                  <a:pt x="5777" y="336"/>
                </a:cubicBezTo>
                <a:cubicBezTo>
                  <a:pt x="5775" y="338"/>
                  <a:pt x="5773" y="339"/>
                  <a:pt x="5772" y="339"/>
                </a:cubicBezTo>
                <a:lnTo>
                  <a:pt x="5770" y="339"/>
                </a:lnTo>
                <a:cubicBezTo>
                  <a:pt x="5770" y="339"/>
                  <a:pt x="5769" y="339"/>
                  <a:pt x="5768" y="339"/>
                </a:cubicBezTo>
                <a:cubicBezTo>
                  <a:pt x="5768" y="340"/>
                  <a:pt x="5767" y="340"/>
                  <a:pt x="5767" y="341"/>
                </a:cubicBezTo>
                <a:cubicBezTo>
                  <a:pt x="5767" y="342"/>
                  <a:pt x="5767" y="342"/>
                  <a:pt x="5767" y="342"/>
                </a:cubicBezTo>
                <a:lnTo>
                  <a:pt x="5771" y="340"/>
                </a:lnTo>
                <a:cubicBezTo>
                  <a:pt x="5771" y="341"/>
                  <a:pt x="5769" y="343"/>
                  <a:pt x="5766" y="346"/>
                </a:cubicBezTo>
                <a:cubicBezTo>
                  <a:pt x="5764" y="348"/>
                  <a:pt x="5763" y="348"/>
                  <a:pt x="5763" y="348"/>
                </a:cubicBezTo>
                <a:lnTo>
                  <a:pt x="5764" y="346"/>
                </a:lnTo>
                <a:cubicBezTo>
                  <a:pt x="5766" y="344"/>
                  <a:pt x="5766" y="343"/>
                  <a:pt x="5766" y="342"/>
                </a:cubicBezTo>
                <a:cubicBezTo>
                  <a:pt x="5765" y="342"/>
                  <a:pt x="5759" y="348"/>
                  <a:pt x="5747" y="361"/>
                </a:cubicBezTo>
                <a:cubicBezTo>
                  <a:pt x="5738" y="370"/>
                  <a:pt x="5734" y="375"/>
                  <a:pt x="5733" y="375"/>
                </a:cubicBezTo>
                <a:lnTo>
                  <a:pt x="5734" y="373"/>
                </a:lnTo>
                <a:cubicBezTo>
                  <a:pt x="5735" y="372"/>
                  <a:pt x="5736" y="371"/>
                  <a:pt x="5737" y="370"/>
                </a:cubicBezTo>
                <a:cubicBezTo>
                  <a:pt x="5738" y="368"/>
                  <a:pt x="5738" y="367"/>
                  <a:pt x="5738" y="367"/>
                </a:cubicBezTo>
                <a:lnTo>
                  <a:pt x="5737" y="365"/>
                </a:lnTo>
                <a:cubicBezTo>
                  <a:pt x="5737" y="363"/>
                  <a:pt x="5738" y="362"/>
                  <a:pt x="5739" y="362"/>
                </a:cubicBezTo>
                <a:cubicBezTo>
                  <a:pt x="5741" y="360"/>
                  <a:pt x="5744" y="359"/>
                  <a:pt x="5747" y="359"/>
                </a:cubicBezTo>
                <a:cubicBezTo>
                  <a:pt x="5749" y="359"/>
                  <a:pt x="5751" y="355"/>
                  <a:pt x="5755" y="348"/>
                </a:cubicBezTo>
                <a:cubicBezTo>
                  <a:pt x="5759" y="343"/>
                  <a:pt x="5763" y="338"/>
                  <a:pt x="5767" y="333"/>
                </a:cubicBezTo>
                <a:cubicBezTo>
                  <a:pt x="5771" y="330"/>
                  <a:pt x="5773" y="327"/>
                  <a:pt x="5773" y="325"/>
                </a:cubicBezTo>
                <a:cubicBezTo>
                  <a:pt x="5773" y="323"/>
                  <a:pt x="5775" y="321"/>
                  <a:pt x="5778" y="319"/>
                </a:cubicBezTo>
                <a:cubicBezTo>
                  <a:pt x="5781" y="316"/>
                  <a:pt x="5783" y="314"/>
                  <a:pt x="5783" y="313"/>
                </a:cubicBezTo>
                <a:lnTo>
                  <a:pt x="5783" y="313"/>
                </a:lnTo>
                <a:cubicBezTo>
                  <a:pt x="5783" y="311"/>
                  <a:pt x="5785" y="308"/>
                  <a:pt x="5787" y="304"/>
                </a:cubicBezTo>
                <a:cubicBezTo>
                  <a:pt x="5790" y="301"/>
                  <a:pt x="5791" y="298"/>
                  <a:pt x="5791" y="296"/>
                </a:cubicBezTo>
                <a:lnTo>
                  <a:pt x="5790" y="294"/>
                </a:lnTo>
                <a:lnTo>
                  <a:pt x="5793" y="295"/>
                </a:lnTo>
                <a:cubicBezTo>
                  <a:pt x="5794" y="295"/>
                  <a:pt x="5796" y="294"/>
                  <a:pt x="5797" y="293"/>
                </a:cubicBezTo>
                <a:cubicBezTo>
                  <a:pt x="5798" y="291"/>
                  <a:pt x="5799" y="290"/>
                  <a:pt x="5799" y="289"/>
                </a:cubicBezTo>
                <a:lnTo>
                  <a:pt x="5798" y="287"/>
                </a:lnTo>
                <a:cubicBezTo>
                  <a:pt x="5798" y="285"/>
                  <a:pt x="5799" y="283"/>
                  <a:pt x="5801" y="281"/>
                </a:cubicBezTo>
                <a:cubicBezTo>
                  <a:pt x="5803" y="280"/>
                  <a:pt x="5805" y="279"/>
                  <a:pt x="5807" y="279"/>
                </a:cubicBezTo>
                <a:cubicBezTo>
                  <a:pt x="5809" y="279"/>
                  <a:pt x="5811" y="278"/>
                  <a:pt x="5812" y="277"/>
                </a:cubicBezTo>
                <a:cubicBezTo>
                  <a:pt x="5812" y="274"/>
                  <a:pt x="5812" y="272"/>
                  <a:pt x="5813" y="269"/>
                </a:cubicBezTo>
                <a:cubicBezTo>
                  <a:pt x="5815" y="266"/>
                  <a:pt x="5816" y="265"/>
                  <a:pt x="5817" y="265"/>
                </a:cubicBezTo>
                <a:lnTo>
                  <a:pt x="5819" y="266"/>
                </a:lnTo>
                <a:cubicBezTo>
                  <a:pt x="5820" y="266"/>
                  <a:pt x="5821" y="265"/>
                  <a:pt x="5822" y="265"/>
                </a:cubicBezTo>
                <a:cubicBezTo>
                  <a:pt x="5822" y="264"/>
                  <a:pt x="5823" y="264"/>
                  <a:pt x="5823" y="263"/>
                </a:cubicBezTo>
                <a:lnTo>
                  <a:pt x="5822" y="262"/>
                </a:lnTo>
                <a:lnTo>
                  <a:pt x="5820" y="264"/>
                </a:lnTo>
                <a:cubicBezTo>
                  <a:pt x="5819" y="264"/>
                  <a:pt x="5819" y="263"/>
                  <a:pt x="5819" y="263"/>
                </a:cubicBezTo>
                <a:cubicBezTo>
                  <a:pt x="5819" y="262"/>
                  <a:pt x="5822" y="256"/>
                  <a:pt x="5829" y="245"/>
                </a:cubicBezTo>
                <a:cubicBezTo>
                  <a:pt x="5836" y="233"/>
                  <a:pt x="5840" y="226"/>
                  <a:pt x="5842" y="224"/>
                </a:cubicBezTo>
                <a:cubicBezTo>
                  <a:pt x="5844" y="222"/>
                  <a:pt x="5845" y="220"/>
                  <a:pt x="5845" y="219"/>
                </a:cubicBezTo>
                <a:cubicBezTo>
                  <a:pt x="5845" y="217"/>
                  <a:pt x="5849" y="211"/>
                  <a:pt x="5859" y="200"/>
                </a:cubicBezTo>
                <a:cubicBezTo>
                  <a:pt x="5860" y="199"/>
                  <a:pt x="5860" y="197"/>
                  <a:pt x="5860" y="196"/>
                </a:cubicBezTo>
                <a:lnTo>
                  <a:pt x="5860" y="196"/>
                </a:lnTo>
                <a:cubicBezTo>
                  <a:pt x="5860" y="195"/>
                  <a:pt x="5861" y="193"/>
                  <a:pt x="5863" y="191"/>
                </a:cubicBezTo>
                <a:cubicBezTo>
                  <a:pt x="5864" y="188"/>
                  <a:pt x="5865" y="186"/>
                  <a:pt x="5866" y="184"/>
                </a:cubicBezTo>
                <a:cubicBezTo>
                  <a:pt x="5867" y="182"/>
                  <a:pt x="5868" y="180"/>
                  <a:pt x="5870" y="178"/>
                </a:cubicBezTo>
                <a:cubicBezTo>
                  <a:pt x="5872" y="177"/>
                  <a:pt x="5872" y="176"/>
                  <a:pt x="5872" y="176"/>
                </a:cubicBezTo>
                <a:lnTo>
                  <a:pt x="5870" y="176"/>
                </a:lnTo>
                <a:lnTo>
                  <a:pt x="5870" y="176"/>
                </a:lnTo>
                <a:cubicBezTo>
                  <a:pt x="5870" y="176"/>
                  <a:pt x="5871" y="174"/>
                  <a:pt x="5873" y="171"/>
                </a:cubicBezTo>
                <a:cubicBezTo>
                  <a:pt x="5876" y="167"/>
                  <a:pt x="5878" y="164"/>
                  <a:pt x="5878" y="162"/>
                </a:cubicBezTo>
                <a:cubicBezTo>
                  <a:pt x="5878" y="160"/>
                  <a:pt x="5879" y="157"/>
                  <a:pt x="5882" y="152"/>
                </a:cubicBezTo>
                <a:cubicBezTo>
                  <a:pt x="5884" y="146"/>
                  <a:pt x="5885" y="142"/>
                  <a:pt x="5885" y="140"/>
                </a:cubicBezTo>
                <a:lnTo>
                  <a:pt x="5885" y="137"/>
                </a:lnTo>
                <a:cubicBezTo>
                  <a:pt x="5885" y="137"/>
                  <a:pt x="5885" y="137"/>
                  <a:pt x="5885" y="137"/>
                </a:cubicBezTo>
                <a:lnTo>
                  <a:pt x="5886" y="137"/>
                </a:lnTo>
                <a:cubicBezTo>
                  <a:pt x="5887" y="137"/>
                  <a:pt x="5887" y="136"/>
                  <a:pt x="5888" y="134"/>
                </a:cubicBezTo>
                <a:cubicBezTo>
                  <a:pt x="5889" y="133"/>
                  <a:pt x="5890" y="131"/>
                  <a:pt x="5892" y="128"/>
                </a:cubicBezTo>
                <a:cubicBezTo>
                  <a:pt x="5893" y="125"/>
                  <a:pt x="5894" y="122"/>
                  <a:pt x="5895" y="119"/>
                </a:cubicBezTo>
                <a:cubicBezTo>
                  <a:pt x="5897" y="115"/>
                  <a:pt x="5898" y="113"/>
                  <a:pt x="5899" y="111"/>
                </a:cubicBezTo>
                <a:cubicBezTo>
                  <a:pt x="5899" y="109"/>
                  <a:pt x="5900" y="107"/>
                  <a:pt x="5901" y="105"/>
                </a:cubicBezTo>
                <a:cubicBezTo>
                  <a:pt x="5901" y="103"/>
                  <a:pt x="5902" y="102"/>
                  <a:pt x="5902" y="100"/>
                </a:cubicBezTo>
                <a:cubicBezTo>
                  <a:pt x="5902" y="99"/>
                  <a:pt x="5902" y="98"/>
                  <a:pt x="5903" y="98"/>
                </a:cubicBezTo>
                <a:lnTo>
                  <a:pt x="5905" y="99"/>
                </a:lnTo>
                <a:cubicBezTo>
                  <a:pt x="5905" y="98"/>
                  <a:pt x="5905" y="98"/>
                  <a:pt x="5905" y="98"/>
                </a:cubicBezTo>
                <a:cubicBezTo>
                  <a:pt x="5905" y="97"/>
                  <a:pt x="5904" y="97"/>
                  <a:pt x="5904" y="96"/>
                </a:cubicBezTo>
                <a:cubicBezTo>
                  <a:pt x="5904" y="90"/>
                  <a:pt x="5906" y="83"/>
                  <a:pt x="5910" y="76"/>
                </a:cubicBezTo>
                <a:lnTo>
                  <a:pt x="5911" y="73"/>
                </a:lnTo>
                <a:cubicBezTo>
                  <a:pt x="5909" y="73"/>
                  <a:pt x="5904" y="77"/>
                  <a:pt x="5896" y="85"/>
                </a:cubicBezTo>
                <a:cubicBezTo>
                  <a:pt x="5887" y="94"/>
                  <a:pt x="5879" y="103"/>
                  <a:pt x="5871" y="113"/>
                </a:cubicBezTo>
                <a:lnTo>
                  <a:pt x="5861" y="125"/>
                </a:lnTo>
                <a:cubicBezTo>
                  <a:pt x="5852" y="136"/>
                  <a:pt x="5843" y="149"/>
                  <a:pt x="5833" y="162"/>
                </a:cubicBezTo>
                <a:cubicBezTo>
                  <a:pt x="5824" y="176"/>
                  <a:pt x="5816" y="188"/>
                  <a:pt x="5810" y="198"/>
                </a:cubicBezTo>
                <a:cubicBezTo>
                  <a:pt x="5804" y="206"/>
                  <a:pt x="5801" y="210"/>
                  <a:pt x="5800" y="210"/>
                </a:cubicBezTo>
                <a:lnTo>
                  <a:pt x="5799" y="210"/>
                </a:lnTo>
                <a:cubicBezTo>
                  <a:pt x="5798" y="210"/>
                  <a:pt x="5798" y="211"/>
                  <a:pt x="5798" y="213"/>
                </a:cubicBezTo>
                <a:lnTo>
                  <a:pt x="5798" y="215"/>
                </a:lnTo>
                <a:cubicBezTo>
                  <a:pt x="5798" y="216"/>
                  <a:pt x="5797" y="216"/>
                  <a:pt x="5796" y="217"/>
                </a:cubicBezTo>
                <a:cubicBezTo>
                  <a:pt x="5795" y="217"/>
                  <a:pt x="5794" y="217"/>
                  <a:pt x="5793" y="218"/>
                </a:cubicBezTo>
                <a:cubicBezTo>
                  <a:pt x="5792" y="219"/>
                  <a:pt x="5791" y="220"/>
                  <a:pt x="5791" y="220"/>
                </a:cubicBezTo>
                <a:lnTo>
                  <a:pt x="5794" y="219"/>
                </a:lnTo>
                <a:cubicBezTo>
                  <a:pt x="5795" y="219"/>
                  <a:pt x="5795" y="219"/>
                  <a:pt x="5795" y="220"/>
                </a:cubicBezTo>
                <a:cubicBezTo>
                  <a:pt x="5795" y="221"/>
                  <a:pt x="5793" y="224"/>
                  <a:pt x="5791" y="228"/>
                </a:cubicBezTo>
                <a:cubicBezTo>
                  <a:pt x="5788" y="233"/>
                  <a:pt x="5786" y="235"/>
                  <a:pt x="5784" y="235"/>
                </a:cubicBezTo>
                <a:lnTo>
                  <a:pt x="5783" y="235"/>
                </a:lnTo>
                <a:cubicBezTo>
                  <a:pt x="5782" y="235"/>
                  <a:pt x="5782" y="235"/>
                  <a:pt x="5782" y="235"/>
                </a:cubicBezTo>
                <a:lnTo>
                  <a:pt x="5783" y="237"/>
                </a:lnTo>
                <a:cubicBezTo>
                  <a:pt x="5783" y="240"/>
                  <a:pt x="5778" y="250"/>
                  <a:pt x="5769" y="266"/>
                </a:cubicBezTo>
                <a:cubicBezTo>
                  <a:pt x="5761" y="280"/>
                  <a:pt x="5749" y="303"/>
                  <a:pt x="5733" y="335"/>
                </a:cubicBezTo>
                <a:cubicBezTo>
                  <a:pt x="5718" y="367"/>
                  <a:pt x="5710" y="384"/>
                  <a:pt x="5710" y="386"/>
                </a:cubicBezTo>
                <a:cubicBezTo>
                  <a:pt x="5710" y="387"/>
                  <a:pt x="5710" y="387"/>
                  <a:pt x="5711" y="387"/>
                </a:cubicBezTo>
                <a:lnTo>
                  <a:pt x="5713" y="386"/>
                </a:lnTo>
                <a:cubicBezTo>
                  <a:pt x="5714" y="386"/>
                  <a:pt x="5714" y="387"/>
                  <a:pt x="5714" y="387"/>
                </a:cubicBezTo>
                <a:cubicBezTo>
                  <a:pt x="5714" y="388"/>
                  <a:pt x="5713" y="390"/>
                  <a:pt x="5713" y="391"/>
                </a:cubicBezTo>
                <a:cubicBezTo>
                  <a:pt x="5712" y="393"/>
                  <a:pt x="5711" y="394"/>
                  <a:pt x="5710" y="396"/>
                </a:cubicBezTo>
                <a:cubicBezTo>
                  <a:pt x="5709" y="397"/>
                  <a:pt x="5708" y="397"/>
                  <a:pt x="5708" y="397"/>
                </a:cubicBezTo>
                <a:cubicBezTo>
                  <a:pt x="5708" y="397"/>
                  <a:pt x="5709" y="396"/>
                  <a:pt x="5710" y="394"/>
                </a:cubicBezTo>
                <a:cubicBezTo>
                  <a:pt x="5711" y="393"/>
                  <a:pt x="5711" y="392"/>
                  <a:pt x="5711" y="391"/>
                </a:cubicBezTo>
                <a:cubicBezTo>
                  <a:pt x="5711" y="390"/>
                  <a:pt x="5711" y="389"/>
                  <a:pt x="5709" y="389"/>
                </a:cubicBezTo>
                <a:cubicBezTo>
                  <a:pt x="5708" y="389"/>
                  <a:pt x="5707" y="390"/>
                  <a:pt x="5706" y="393"/>
                </a:cubicBezTo>
                <a:cubicBezTo>
                  <a:pt x="5704" y="398"/>
                  <a:pt x="5702" y="404"/>
                  <a:pt x="5698" y="411"/>
                </a:cubicBezTo>
                <a:cubicBezTo>
                  <a:pt x="5696" y="415"/>
                  <a:pt x="5695" y="418"/>
                  <a:pt x="5695" y="419"/>
                </a:cubicBezTo>
                <a:lnTo>
                  <a:pt x="5695" y="420"/>
                </a:lnTo>
                <a:close/>
                <a:moveTo>
                  <a:pt x="5693" y="353"/>
                </a:moveTo>
                <a:cubicBezTo>
                  <a:pt x="5694" y="353"/>
                  <a:pt x="5696" y="350"/>
                  <a:pt x="5698" y="344"/>
                </a:cubicBezTo>
                <a:cubicBezTo>
                  <a:pt x="5699" y="340"/>
                  <a:pt x="5700" y="338"/>
                  <a:pt x="5700" y="336"/>
                </a:cubicBezTo>
                <a:cubicBezTo>
                  <a:pt x="5700" y="334"/>
                  <a:pt x="5699" y="333"/>
                  <a:pt x="5698" y="333"/>
                </a:cubicBezTo>
                <a:cubicBezTo>
                  <a:pt x="5698" y="333"/>
                  <a:pt x="5698" y="333"/>
                  <a:pt x="5698" y="334"/>
                </a:cubicBezTo>
                <a:lnTo>
                  <a:pt x="5698" y="336"/>
                </a:lnTo>
                <a:cubicBezTo>
                  <a:pt x="5698" y="337"/>
                  <a:pt x="5698" y="338"/>
                  <a:pt x="5698" y="338"/>
                </a:cubicBezTo>
                <a:cubicBezTo>
                  <a:pt x="5697" y="338"/>
                  <a:pt x="5697" y="338"/>
                  <a:pt x="5696" y="338"/>
                </a:cubicBezTo>
                <a:cubicBezTo>
                  <a:pt x="5696" y="338"/>
                  <a:pt x="5696" y="340"/>
                  <a:pt x="5695" y="342"/>
                </a:cubicBezTo>
                <a:cubicBezTo>
                  <a:pt x="5695" y="345"/>
                  <a:pt x="5694" y="347"/>
                  <a:pt x="5694" y="349"/>
                </a:cubicBezTo>
                <a:cubicBezTo>
                  <a:pt x="5693" y="351"/>
                  <a:pt x="5693" y="352"/>
                  <a:pt x="5693" y="353"/>
                </a:cubicBezTo>
                <a:cubicBezTo>
                  <a:pt x="5693" y="353"/>
                  <a:pt x="5693" y="353"/>
                  <a:pt x="5693" y="353"/>
                </a:cubicBezTo>
                <a:close/>
                <a:moveTo>
                  <a:pt x="5689" y="337"/>
                </a:moveTo>
                <a:lnTo>
                  <a:pt x="5693" y="333"/>
                </a:lnTo>
                <a:cubicBezTo>
                  <a:pt x="5694" y="330"/>
                  <a:pt x="5695" y="328"/>
                  <a:pt x="5695" y="328"/>
                </a:cubicBezTo>
                <a:cubicBezTo>
                  <a:pt x="5695" y="327"/>
                  <a:pt x="5695" y="326"/>
                  <a:pt x="5695" y="326"/>
                </a:cubicBezTo>
                <a:cubicBezTo>
                  <a:pt x="5694" y="326"/>
                  <a:pt x="5693" y="328"/>
                  <a:pt x="5691" y="333"/>
                </a:cubicBezTo>
                <a:lnTo>
                  <a:pt x="5689" y="337"/>
                </a:lnTo>
                <a:close/>
                <a:moveTo>
                  <a:pt x="5672" y="402"/>
                </a:moveTo>
                <a:cubicBezTo>
                  <a:pt x="5673" y="402"/>
                  <a:pt x="5676" y="395"/>
                  <a:pt x="5682" y="382"/>
                </a:cubicBezTo>
                <a:cubicBezTo>
                  <a:pt x="5687" y="370"/>
                  <a:pt x="5690" y="363"/>
                  <a:pt x="5690" y="362"/>
                </a:cubicBezTo>
                <a:cubicBezTo>
                  <a:pt x="5690" y="362"/>
                  <a:pt x="5690" y="362"/>
                  <a:pt x="5689" y="362"/>
                </a:cubicBezTo>
                <a:lnTo>
                  <a:pt x="5688" y="362"/>
                </a:lnTo>
                <a:cubicBezTo>
                  <a:pt x="5686" y="362"/>
                  <a:pt x="5684" y="362"/>
                  <a:pt x="5684" y="363"/>
                </a:cubicBezTo>
                <a:lnTo>
                  <a:pt x="5684" y="364"/>
                </a:lnTo>
                <a:cubicBezTo>
                  <a:pt x="5684" y="367"/>
                  <a:pt x="5683" y="372"/>
                  <a:pt x="5680" y="379"/>
                </a:cubicBezTo>
                <a:cubicBezTo>
                  <a:pt x="5674" y="392"/>
                  <a:pt x="5672" y="400"/>
                  <a:pt x="5672" y="402"/>
                </a:cubicBezTo>
                <a:close/>
                <a:moveTo>
                  <a:pt x="5633" y="555"/>
                </a:moveTo>
                <a:cubicBezTo>
                  <a:pt x="5634" y="555"/>
                  <a:pt x="5634" y="554"/>
                  <a:pt x="5636" y="554"/>
                </a:cubicBezTo>
                <a:cubicBezTo>
                  <a:pt x="5637" y="553"/>
                  <a:pt x="5638" y="552"/>
                  <a:pt x="5638" y="552"/>
                </a:cubicBezTo>
                <a:lnTo>
                  <a:pt x="5638" y="551"/>
                </a:lnTo>
                <a:cubicBezTo>
                  <a:pt x="5638" y="550"/>
                  <a:pt x="5639" y="548"/>
                  <a:pt x="5640" y="547"/>
                </a:cubicBezTo>
                <a:cubicBezTo>
                  <a:pt x="5641" y="545"/>
                  <a:pt x="5642" y="544"/>
                  <a:pt x="5642" y="541"/>
                </a:cubicBezTo>
                <a:lnTo>
                  <a:pt x="5641" y="539"/>
                </a:lnTo>
                <a:cubicBezTo>
                  <a:pt x="5641" y="538"/>
                  <a:pt x="5642" y="537"/>
                  <a:pt x="5643" y="537"/>
                </a:cubicBezTo>
                <a:cubicBezTo>
                  <a:pt x="5644" y="537"/>
                  <a:pt x="5645" y="536"/>
                  <a:pt x="5645" y="534"/>
                </a:cubicBezTo>
                <a:cubicBezTo>
                  <a:pt x="5645" y="533"/>
                  <a:pt x="5655" y="506"/>
                  <a:pt x="5674" y="453"/>
                </a:cubicBezTo>
                <a:lnTo>
                  <a:pt x="5675" y="452"/>
                </a:lnTo>
                <a:cubicBezTo>
                  <a:pt x="5675" y="451"/>
                  <a:pt x="5674" y="450"/>
                  <a:pt x="5672" y="450"/>
                </a:cubicBezTo>
                <a:cubicBezTo>
                  <a:pt x="5670" y="450"/>
                  <a:pt x="5669" y="451"/>
                  <a:pt x="5669" y="452"/>
                </a:cubicBezTo>
                <a:lnTo>
                  <a:pt x="5670" y="456"/>
                </a:lnTo>
                <a:cubicBezTo>
                  <a:pt x="5670" y="456"/>
                  <a:pt x="5670" y="457"/>
                  <a:pt x="5669" y="457"/>
                </a:cubicBezTo>
                <a:cubicBezTo>
                  <a:pt x="5668" y="457"/>
                  <a:pt x="5666" y="462"/>
                  <a:pt x="5661" y="473"/>
                </a:cubicBezTo>
                <a:cubicBezTo>
                  <a:pt x="5657" y="484"/>
                  <a:pt x="5654" y="490"/>
                  <a:pt x="5654" y="492"/>
                </a:cubicBezTo>
                <a:lnTo>
                  <a:pt x="5655" y="493"/>
                </a:lnTo>
                <a:cubicBezTo>
                  <a:pt x="5655" y="494"/>
                  <a:pt x="5654" y="495"/>
                  <a:pt x="5652" y="497"/>
                </a:cubicBezTo>
                <a:cubicBezTo>
                  <a:pt x="5651" y="499"/>
                  <a:pt x="5650" y="501"/>
                  <a:pt x="5650" y="503"/>
                </a:cubicBezTo>
                <a:lnTo>
                  <a:pt x="5651" y="506"/>
                </a:lnTo>
                <a:cubicBezTo>
                  <a:pt x="5651" y="507"/>
                  <a:pt x="5650" y="507"/>
                  <a:pt x="5649" y="507"/>
                </a:cubicBezTo>
                <a:cubicBezTo>
                  <a:pt x="5648" y="507"/>
                  <a:pt x="5647" y="510"/>
                  <a:pt x="5645" y="516"/>
                </a:cubicBezTo>
                <a:cubicBezTo>
                  <a:pt x="5643" y="522"/>
                  <a:pt x="5641" y="525"/>
                  <a:pt x="5639" y="525"/>
                </a:cubicBezTo>
                <a:lnTo>
                  <a:pt x="5638" y="524"/>
                </a:lnTo>
                <a:lnTo>
                  <a:pt x="5637" y="525"/>
                </a:lnTo>
                <a:cubicBezTo>
                  <a:pt x="5637" y="526"/>
                  <a:pt x="5637" y="527"/>
                  <a:pt x="5638" y="528"/>
                </a:cubicBezTo>
                <a:cubicBezTo>
                  <a:pt x="5639" y="529"/>
                  <a:pt x="5639" y="530"/>
                  <a:pt x="5639" y="532"/>
                </a:cubicBezTo>
                <a:cubicBezTo>
                  <a:pt x="5639" y="535"/>
                  <a:pt x="5637" y="537"/>
                  <a:pt x="5634" y="537"/>
                </a:cubicBezTo>
                <a:cubicBezTo>
                  <a:pt x="5633" y="537"/>
                  <a:pt x="5632" y="537"/>
                  <a:pt x="5632" y="537"/>
                </a:cubicBezTo>
                <a:cubicBezTo>
                  <a:pt x="5632" y="538"/>
                  <a:pt x="5633" y="538"/>
                  <a:pt x="5634" y="539"/>
                </a:cubicBezTo>
                <a:cubicBezTo>
                  <a:pt x="5635" y="540"/>
                  <a:pt x="5635" y="541"/>
                  <a:pt x="5635" y="542"/>
                </a:cubicBezTo>
                <a:cubicBezTo>
                  <a:pt x="5635" y="544"/>
                  <a:pt x="5635" y="545"/>
                  <a:pt x="5634" y="547"/>
                </a:cubicBezTo>
                <a:cubicBezTo>
                  <a:pt x="5633" y="551"/>
                  <a:pt x="5632" y="553"/>
                  <a:pt x="5632" y="554"/>
                </a:cubicBezTo>
                <a:cubicBezTo>
                  <a:pt x="5632" y="554"/>
                  <a:pt x="5632" y="555"/>
                  <a:pt x="5633" y="555"/>
                </a:cubicBezTo>
                <a:close/>
                <a:moveTo>
                  <a:pt x="5626" y="521"/>
                </a:moveTo>
                <a:cubicBezTo>
                  <a:pt x="5626" y="521"/>
                  <a:pt x="5631" y="509"/>
                  <a:pt x="5641" y="485"/>
                </a:cubicBezTo>
                <a:cubicBezTo>
                  <a:pt x="5649" y="464"/>
                  <a:pt x="5653" y="452"/>
                  <a:pt x="5653" y="448"/>
                </a:cubicBezTo>
                <a:cubicBezTo>
                  <a:pt x="5652" y="449"/>
                  <a:pt x="5647" y="461"/>
                  <a:pt x="5638" y="483"/>
                </a:cubicBezTo>
                <a:cubicBezTo>
                  <a:pt x="5630" y="506"/>
                  <a:pt x="5625" y="518"/>
                  <a:pt x="5625" y="520"/>
                </a:cubicBezTo>
                <a:cubicBezTo>
                  <a:pt x="5625" y="520"/>
                  <a:pt x="5625" y="521"/>
                  <a:pt x="5626" y="521"/>
                </a:cubicBezTo>
                <a:close/>
                <a:moveTo>
                  <a:pt x="5604" y="537"/>
                </a:moveTo>
                <a:cubicBezTo>
                  <a:pt x="5604" y="537"/>
                  <a:pt x="5610" y="524"/>
                  <a:pt x="5620" y="498"/>
                </a:cubicBezTo>
                <a:cubicBezTo>
                  <a:pt x="5629" y="476"/>
                  <a:pt x="5635" y="460"/>
                  <a:pt x="5639" y="452"/>
                </a:cubicBezTo>
                <a:cubicBezTo>
                  <a:pt x="5643" y="443"/>
                  <a:pt x="5645" y="437"/>
                  <a:pt x="5645" y="433"/>
                </a:cubicBezTo>
                <a:cubicBezTo>
                  <a:pt x="5645" y="431"/>
                  <a:pt x="5645" y="430"/>
                  <a:pt x="5644" y="430"/>
                </a:cubicBezTo>
                <a:cubicBezTo>
                  <a:pt x="5643" y="430"/>
                  <a:pt x="5639" y="437"/>
                  <a:pt x="5635" y="451"/>
                </a:cubicBezTo>
                <a:cubicBezTo>
                  <a:pt x="5614" y="505"/>
                  <a:pt x="5604" y="533"/>
                  <a:pt x="5604" y="536"/>
                </a:cubicBezTo>
                <a:cubicBezTo>
                  <a:pt x="5604" y="537"/>
                  <a:pt x="5604" y="537"/>
                  <a:pt x="5604" y="537"/>
                </a:cubicBezTo>
                <a:close/>
                <a:moveTo>
                  <a:pt x="5606" y="577"/>
                </a:moveTo>
                <a:cubicBezTo>
                  <a:pt x="5606" y="577"/>
                  <a:pt x="5609" y="572"/>
                  <a:pt x="5613" y="563"/>
                </a:cubicBezTo>
                <a:cubicBezTo>
                  <a:pt x="5617" y="552"/>
                  <a:pt x="5619" y="546"/>
                  <a:pt x="5619" y="544"/>
                </a:cubicBezTo>
                <a:lnTo>
                  <a:pt x="5619" y="544"/>
                </a:lnTo>
                <a:cubicBezTo>
                  <a:pt x="5617" y="544"/>
                  <a:pt x="5615" y="549"/>
                  <a:pt x="5612" y="558"/>
                </a:cubicBezTo>
                <a:cubicBezTo>
                  <a:pt x="5608" y="569"/>
                  <a:pt x="5606" y="575"/>
                  <a:pt x="5606" y="577"/>
                </a:cubicBezTo>
                <a:close/>
                <a:moveTo>
                  <a:pt x="5603" y="589"/>
                </a:moveTo>
                <a:cubicBezTo>
                  <a:pt x="5603" y="589"/>
                  <a:pt x="5604" y="588"/>
                  <a:pt x="5604" y="588"/>
                </a:cubicBezTo>
                <a:cubicBezTo>
                  <a:pt x="5605" y="587"/>
                  <a:pt x="5605" y="585"/>
                  <a:pt x="5605" y="584"/>
                </a:cubicBezTo>
                <a:cubicBezTo>
                  <a:pt x="5605" y="583"/>
                  <a:pt x="5605" y="582"/>
                  <a:pt x="5605" y="582"/>
                </a:cubicBezTo>
                <a:cubicBezTo>
                  <a:pt x="5604" y="582"/>
                  <a:pt x="5604" y="583"/>
                  <a:pt x="5603" y="585"/>
                </a:cubicBezTo>
                <a:lnTo>
                  <a:pt x="5603" y="589"/>
                </a:lnTo>
                <a:close/>
                <a:moveTo>
                  <a:pt x="5582" y="730"/>
                </a:moveTo>
                <a:cubicBezTo>
                  <a:pt x="5584" y="730"/>
                  <a:pt x="5586" y="722"/>
                  <a:pt x="5590" y="707"/>
                </a:cubicBezTo>
                <a:cubicBezTo>
                  <a:pt x="5591" y="700"/>
                  <a:pt x="5595" y="687"/>
                  <a:pt x="5600" y="668"/>
                </a:cubicBezTo>
                <a:cubicBezTo>
                  <a:pt x="5615" y="620"/>
                  <a:pt x="5624" y="592"/>
                  <a:pt x="5627" y="583"/>
                </a:cubicBezTo>
                <a:cubicBezTo>
                  <a:pt x="5628" y="581"/>
                  <a:pt x="5629" y="580"/>
                  <a:pt x="5629" y="579"/>
                </a:cubicBezTo>
                <a:cubicBezTo>
                  <a:pt x="5629" y="578"/>
                  <a:pt x="5628" y="578"/>
                  <a:pt x="5627" y="577"/>
                </a:cubicBezTo>
                <a:cubicBezTo>
                  <a:pt x="5625" y="576"/>
                  <a:pt x="5622" y="575"/>
                  <a:pt x="5621" y="575"/>
                </a:cubicBezTo>
                <a:cubicBezTo>
                  <a:pt x="5619" y="575"/>
                  <a:pt x="5619" y="575"/>
                  <a:pt x="5619" y="576"/>
                </a:cubicBezTo>
                <a:cubicBezTo>
                  <a:pt x="5619" y="577"/>
                  <a:pt x="5619" y="579"/>
                  <a:pt x="5621" y="580"/>
                </a:cubicBezTo>
                <a:lnTo>
                  <a:pt x="5623" y="583"/>
                </a:lnTo>
                <a:lnTo>
                  <a:pt x="5623" y="583"/>
                </a:lnTo>
                <a:lnTo>
                  <a:pt x="5619" y="581"/>
                </a:lnTo>
                <a:cubicBezTo>
                  <a:pt x="5619" y="581"/>
                  <a:pt x="5619" y="581"/>
                  <a:pt x="5619" y="582"/>
                </a:cubicBezTo>
                <a:lnTo>
                  <a:pt x="5619" y="584"/>
                </a:lnTo>
                <a:cubicBezTo>
                  <a:pt x="5619" y="586"/>
                  <a:pt x="5619" y="589"/>
                  <a:pt x="5617" y="591"/>
                </a:cubicBezTo>
                <a:cubicBezTo>
                  <a:pt x="5614" y="594"/>
                  <a:pt x="5612" y="600"/>
                  <a:pt x="5609" y="610"/>
                </a:cubicBezTo>
                <a:lnTo>
                  <a:pt x="5604" y="632"/>
                </a:lnTo>
                <a:cubicBezTo>
                  <a:pt x="5604" y="633"/>
                  <a:pt x="5603" y="635"/>
                  <a:pt x="5602" y="639"/>
                </a:cubicBezTo>
                <a:cubicBezTo>
                  <a:pt x="5600" y="644"/>
                  <a:pt x="5599" y="647"/>
                  <a:pt x="5599" y="648"/>
                </a:cubicBezTo>
                <a:cubicBezTo>
                  <a:pt x="5599" y="648"/>
                  <a:pt x="5599" y="648"/>
                  <a:pt x="5599" y="648"/>
                </a:cubicBezTo>
                <a:lnTo>
                  <a:pt x="5602" y="647"/>
                </a:lnTo>
                <a:lnTo>
                  <a:pt x="5602" y="648"/>
                </a:lnTo>
                <a:lnTo>
                  <a:pt x="5600" y="650"/>
                </a:lnTo>
                <a:cubicBezTo>
                  <a:pt x="5599" y="651"/>
                  <a:pt x="5598" y="653"/>
                  <a:pt x="5598" y="656"/>
                </a:cubicBezTo>
                <a:lnTo>
                  <a:pt x="5598" y="659"/>
                </a:lnTo>
                <a:cubicBezTo>
                  <a:pt x="5598" y="660"/>
                  <a:pt x="5598" y="661"/>
                  <a:pt x="5597" y="661"/>
                </a:cubicBezTo>
                <a:cubicBezTo>
                  <a:pt x="5596" y="661"/>
                  <a:pt x="5595" y="664"/>
                  <a:pt x="5595" y="669"/>
                </a:cubicBezTo>
                <a:cubicBezTo>
                  <a:pt x="5594" y="672"/>
                  <a:pt x="5593" y="680"/>
                  <a:pt x="5590" y="693"/>
                </a:cubicBezTo>
                <a:lnTo>
                  <a:pt x="5588" y="702"/>
                </a:lnTo>
                <a:cubicBezTo>
                  <a:pt x="5584" y="717"/>
                  <a:pt x="5582" y="726"/>
                  <a:pt x="5582" y="728"/>
                </a:cubicBezTo>
                <a:cubicBezTo>
                  <a:pt x="5582" y="729"/>
                  <a:pt x="5582" y="730"/>
                  <a:pt x="5582" y="730"/>
                </a:cubicBezTo>
                <a:close/>
                <a:moveTo>
                  <a:pt x="5578" y="752"/>
                </a:moveTo>
                <a:cubicBezTo>
                  <a:pt x="5579" y="752"/>
                  <a:pt x="5579" y="750"/>
                  <a:pt x="5580" y="747"/>
                </a:cubicBezTo>
                <a:cubicBezTo>
                  <a:pt x="5581" y="742"/>
                  <a:pt x="5582" y="738"/>
                  <a:pt x="5582" y="736"/>
                </a:cubicBezTo>
                <a:cubicBezTo>
                  <a:pt x="5582" y="734"/>
                  <a:pt x="5581" y="733"/>
                  <a:pt x="5581" y="733"/>
                </a:cubicBezTo>
                <a:cubicBezTo>
                  <a:pt x="5581" y="733"/>
                  <a:pt x="5580" y="734"/>
                  <a:pt x="5580" y="737"/>
                </a:cubicBezTo>
                <a:cubicBezTo>
                  <a:pt x="5579" y="740"/>
                  <a:pt x="5578" y="743"/>
                  <a:pt x="5578" y="748"/>
                </a:cubicBezTo>
                <a:lnTo>
                  <a:pt x="5578" y="752"/>
                </a:lnTo>
                <a:close/>
                <a:moveTo>
                  <a:pt x="5577" y="761"/>
                </a:moveTo>
                <a:cubicBezTo>
                  <a:pt x="5577" y="761"/>
                  <a:pt x="5577" y="760"/>
                  <a:pt x="5577" y="759"/>
                </a:cubicBezTo>
                <a:lnTo>
                  <a:pt x="5577" y="757"/>
                </a:lnTo>
                <a:lnTo>
                  <a:pt x="5576" y="756"/>
                </a:lnTo>
                <a:cubicBezTo>
                  <a:pt x="5576" y="756"/>
                  <a:pt x="5576" y="757"/>
                  <a:pt x="5575" y="758"/>
                </a:cubicBezTo>
                <a:cubicBezTo>
                  <a:pt x="5575" y="760"/>
                  <a:pt x="5576" y="761"/>
                  <a:pt x="5576" y="761"/>
                </a:cubicBezTo>
                <a:lnTo>
                  <a:pt x="5577" y="761"/>
                </a:lnTo>
                <a:close/>
                <a:moveTo>
                  <a:pt x="5754" y="368"/>
                </a:moveTo>
                <a:cubicBezTo>
                  <a:pt x="5754" y="368"/>
                  <a:pt x="5753" y="367"/>
                  <a:pt x="5753" y="367"/>
                </a:cubicBezTo>
                <a:cubicBezTo>
                  <a:pt x="5753" y="366"/>
                  <a:pt x="5754" y="366"/>
                  <a:pt x="5755" y="365"/>
                </a:cubicBezTo>
                <a:cubicBezTo>
                  <a:pt x="5756" y="364"/>
                  <a:pt x="5756" y="363"/>
                  <a:pt x="5758" y="362"/>
                </a:cubicBezTo>
                <a:lnTo>
                  <a:pt x="5760" y="360"/>
                </a:lnTo>
                <a:lnTo>
                  <a:pt x="5760" y="360"/>
                </a:lnTo>
                <a:lnTo>
                  <a:pt x="5758" y="364"/>
                </a:lnTo>
                <a:cubicBezTo>
                  <a:pt x="5756" y="366"/>
                  <a:pt x="5755" y="368"/>
                  <a:pt x="5754" y="368"/>
                </a:cubicBezTo>
                <a:close/>
                <a:moveTo>
                  <a:pt x="5728" y="371"/>
                </a:moveTo>
                <a:close/>
                <a:moveTo>
                  <a:pt x="5753" y="367"/>
                </a:moveTo>
                <a:close/>
                <a:moveTo>
                  <a:pt x="5758" y="357"/>
                </a:moveTo>
                <a:close/>
                <a:moveTo>
                  <a:pt x="5758" y="359"/>
                </a:moveTo>
                <a:cubicBezTo>
                  <a:pt x="5758" y="359"/>
                  <a:pt x="5758" y="358"/>
                  <a:pt x="5758" y="357"/>
                </a:cubicBezTo>
                <a:cubicBezTo>
                  <a:pt x="5758" y="357"/>
                  <a:pt x="5758" y="357"/>
                  <a:pt x="5759" y="356"/>
                </a:cubicBezTo>
                <a:cubicBezTo>
                  <a:pt x="5760" y="355"/>
                  <a:pt x="5761" y="354"/>
                  <a:pt x="5762" y="353"/>
                </a:cubicBezTo>
                <a:lnTo>
                  <a:pt x="5764" y="351"/>
                </a:lnTo>
                <a:lnTo>
                  <a:pt x="5765" y="351"/>
                </a:lnTo>
                <a:lnTo>
                  <a:pt x="5763" y="355"/>
                </a:lnTo>
                <a:cubicBezTo>
                  <a:pt x="5760" y="357"/>
                  <a:pt x="5759" y="359"/>
                  <a:pt x="5758" y="359"/>
                </a:cubicBezTo>
                <a:close/>
                <a:moveTo>
                  <a:pt x="5745" y="356"/>
                </a:moveTo>
                <a:cubicBezTo>
                  <a:pt x="5745" y="356"/>
                  <a:pt x="5745" y="356"/>
                  <a:pt x="5745" y="355"/>
                </a:cubicBezTo>
                <a:cubicBezTo>
                  <a:pt x="5745" y="355"/>
                  <a:pt x="5745" y="354"/>
                  <a:pt x="5746" y="353"/>
                </a:cubicBezTo>
                <a:cubicBezTo>
                  <a:pt x="5747" y="352"/>
                  <a:pt x="5748" y="351"/>
                  <a:pt x="5750" y="350"/>
                </a:cubicBezTo>
                <a:lnTo>
                  <a:pt x="5751" y="349"/>
                </a:lnTo>
                <a:lnTo>
                  <a:pt x="5752" y="350"/>
                </a:lnTo>
                <a:lnTo>
                  <a:pt x="5750" y="352"/>
                </a:lnTo>
                <a:cubicBezTo>
                  <a:pt x="5748" y="355"/>
                  <a:pt x="5746" y="356"/>
                  <a:pt x="5745" y="356"/>
                </a:cubicBezTo>
                <a:close/>
                <a:moveTo>
                  <a:pt x="5745" y="355"/>
                </a:moveTo>
                <a:close/>
                <a:moveTo>
                  <a:pt x="5728" y="372"/>
                </a:moveTo>
                <a:cubicBezTo>
                  <a:pt x="5728" y="372"/>
                  <a:pt x="5728" y="372"/>
                  <a:pt x="5728" y="371"/>
                </a:cubicBezTo>
                <a:cubicBezTo>
                  <a:pt x="5728" y="370"/>
                  <a:pt x="5729" y="369"/>
                  <a:pt x="5731" y="367"/>
                </a:cubicBezTo>
                <a:lnTo>
                  <a:pt x="5734" y="365"/>
                </a:lnTo>
                <a:cubicBezTo>
                  <a:pt x="5734" y="365"/>
                  <a:pt x="5733" y="367"/>
                  <a:pt x="5732" y="368"/>
                </a:cubicBezTo>
                <a:cubicBezTo>
                  <a:pt x="5730" y="371"/>
                  <a:pt x="5729" y="372"/>
                  <a:pt x="5728" y="372"/>
                </a:cubicBezTo>
                <a:close/>
                <a:moveTo>
                  <a:pt x="6050" y="800"/>
                </a:moveTo>
                <a:cubicBezTo>
                  <a:pt x="6046" y="800"/>
                  <a:pt x="6042" y="799"/>
                  <a:pt x="6038" y="798"/>
                </a:cubicBezTo>
                <a:lnTo>
                  <a:pt x="6038" y="798"/>
                </a:lnTo>
                <a:cubicBezTo>
                  <a:pt x="6036" y="797"/>
                  <a:pt x="6035" y="796"/>
                  <a:pt x="6034" y="795"/>
                </a:cubicBezTo>
                <a:lnTo>
                  <a:pt x="6033" y="793"/>
                </a:lnTo>
                <a:lnTo>
                  <a:pt x="6033" y="793"/>
                </a:lnTo>
                <a:cubicBezTo>
                  <a:pt x="6031" y="794"/>
                  <a:pt x="6030" y="794"/>
                  <a:pt x="6030" y="794"/>
                </a:cubicBezTo>
                <a:cubicBezTo>
                  <a:pt x="6029" y="795"/>
                  <a:pt x="6028" y="795"/>
                  <a:pt x="6027" y="795"/>
                </a:cubicBezTo>
                <a:cubicBezTo>
                  <a:pt x="6026" y="795"/>
                  <a:pt x="6024" y="794"/>
                  <a:pt x="6021" y="794"/>
                </a:cubicBezTo>
                <a:cubicBezTo>
                  <a:pt x="6019" y="793"/>
                  <a:pt x="6016" y="792"/>
                  <a:pt x="6014" y="790"/>
                </a:cubicBezTo>
                <a:cubicBezTo>
                  <a:pt x="6011" y="788"/>
                  <a:pt x="6010" y="786"/>
                  <a:pt x="6010" y="784"/>
                </a:cubicBezTo>
                <a:lnTo>
                  <a:pt x="6009" y="783"/>
                </a:lnTo>
                <a:lnTo>
                  <a:pt x="6007" y="784"/>
                </a:lnTo>
                <a:cubicBezTo>
                  <a:pt x="6006" y="784"/>
                  <a:pt x="6005" y="783"/>
                  <a:pt x="6003" y="781"/>
                </a:cubicBezTo>
                <a:cubicBezTo>
                  <a:pt x="6001" y="779"/>
                  <a:pt x="5999" y="776"/>
                  <a:pt x="5997" y="772"/>
                </a:cubicBezTo>
                <a:cubicBezTo>
                  <a:pt x="5991" y="760"/>
                  <a:pt x="5988" y="747"/>
                  <a:pt x="5988" y="730"/>
                </a:cubicBezTo>
                <a:cubicBezTo>
                  <a:pt x="5988" y="715"/>
                  <a:pt x="5990" y="697"/>
                  <a:pt x="5996" y="676"/>
                </a:cubicBezTo>
                <a:cubicBezTo>
                  <a:pt x="5999" y="664"/>
                  <a:pt x="6001" y="658"/>
                  <a:pt x="6001" y="657"/>
                </a:cubicBezTo>
                <a:cubicBezTo>
                  <a:pt x="6001" y="656"/>
                  <a:pt x="6001" y="655"/>
                  <a:pt x="6002" y="653"/>
                </a:cubicBezTo>
                <a:cubicBezTo>
                  <a:pt x="6003" y="651"/>
                  <a:pt x="6004" y="648"/>
                  <a:pt x="6005" y="645"/>
                </a:cubicBezTo>
                <a:cubicBezTo>
                  <a:pt x="6007" y="640"/>
                  <a:pt x="6008" y="636"/>
                  <a:pt x="6008" y="634"/>
                </a:cubicBezTo>
                <a:lnTo>
                  <a:pt x="6008" y="632"/>
                </a:lnTo>
                <a:cubicBezTo>
                  <a:pt x="6008" y="631"/>
                  <a:pt x="6008" y="631"/>
                  <a:pt x="6008" y="630"/>
                </a:cubicBezTo>
                <a:cubicBezTo>
                  <a:pt x="6008" y="630"/>
                  <a:pt x="6008" y="630"/>
                  <a:pt x="6009" y="630"/>
                </a:cubicBezTo>
                <a:cubicBezTo>
                  <a:pt x="6010" y="630"/>
                  <a:pt x="6011" y="630"/>
                  <a:pt x="6011" y="628"/>
                </a:cubicBezTo>
                <a:cubicBezTo>
                  <a:pt x="6012" y="627"/>
                  <a:pt x="6013" y="625"/>
                  <a:pt x="6013" y="624"/>
                </a:cubicBezTo>
                <a:cubicBezTo>
                  <a:pt x="6013" y="622"/>
                  <a:pt x="6012" y="621"/>
                  <a:pt x="6011" y="620"/>
                </a:cubicBezTo>
                <a:cubicBezTo>
                  <a:pt x="6011" y="619"/>
                  <a:pt x="6011" y="619"/>
                  <a:pt x="6011" y="618"/>
                </a:cubicBezTo>
                <a:cubicBezTo>
                  <a:pt x="6011" y="617"/>
                  <a:pt x="6012" y="616"/>
                  <a:pt x="6014" y="615"/>
                </a:cubicBezTo>
                <a:cubicBezTo>
                  <a:pt x="6016" y="615"/>
                  <a:pt x="6017" y="613"/>
                  <a:pt x="6017" y="611"/>
                </a:cubicBezTo>
                <a:lnTo>
                  <a:pt x="6016" y="608"/>
                </a:lnTo>
                <a:lnTo>
                  <a:pt x="6016" y="605"/>
                </a:lnTo>
                <a:cubicBezTo>
                  <a:pt x="6016" y="603"/>
                  <a:pt x="6017" y="602"/>
                  <a:pt x="6019" y="602"/>
                </a:cubicBezTo>
                <a:cubicBezTo>
                  <a:pt x="6021" y="602"/>
                  <a:pt x="6022" y="602"/>
                  <a:pt x="6022" y="602"/>
                </a:cubicBezTo>
                <a:cubicBezTo>
                  <a:pt x="6022" y="601"/>
                  <a:pt x="6021" y="601"/>
                  <a:pt x="6020" y="600"/>
                </a:cubicBezTo>
                <a:cubicBezTo>
                  <a:pt x="6019" y="599"/>
                  <a:pt x="6019" y="598"/>
                  <a:pt x="6019" y="598"/>
                </a:cubicBezTo>
                <a:cubicBezTo>
                  <a:pt x="6019" y="597"/>
                  <a:pt x="6019" y="595"/>
                  <a:pt x="6020" y="594"/>
                </a:cubicBezTo>
                <a:cubicBezTo>
                  <a:pt x="6021" y="592"/>
                  <a:pt x="6021" y="591"/>
                  <a:pt x="6022" y="590"/>
                </a:cubicBezTo>
                <a:cubicBezTo>
                  <a:pt x="6022" y="589"/>
                  <a:pt x="6021" y="588"/>
                  <a:pt x="6021" y="588"/>
                </a:cubicBezTo>
                <a:cubicBezTo>
                  <a:pt x="6021" y="587"/>
                  <a:pt x="6023" y="584"/>
                  <a:pt x="6027" y="579"/>
                </a:cubicBezTo>
                <a:lnTo>
                  <a:pt x="6032" y="571"/>
                </a:lnTo>
                <a:cubicBezTo>
                  <a:pt x="6032" y="571"/>
                  <a:pt x="6032" y="571"/>
                  <a:pt x="6032" y="571"/>
                </a:cubicBezTo>
                <a:lnTo>
                  <a:pt x="6031" y="571"/>
                </a:lnTo>
                <a:cubicBezTo>
                  <a:pt x="6031" y="570"/>
                  <a:pt x="6032" y="568"/>
                  <a:pt x="6035" y="565"/>
                </a:cubicBezTo>
                <a:cubicBezTo>
                  <a:pt x="6038" y="560"/>
                  <a:pt x="6039" y="557"/>
                  <a:pt x="6039" y="557"/>
                </a:cubicBezTo>
                <a:cubicBezTo>
                  <a:pt x="6039" y="556"/>
                  <a:pt x="6039" y="556"/>
                  <a:pt x="6039" y="556"/>
                </a:cubicBezTo>
                <a:cubicBezTo>
                  <a:pt x="6039" y="555"/>
                  <a:pt x="6040" y="553"/>
                  <a:pt x="6043" y="549"/>
                </a:cubicBezTo>
                <a:cubicBezTo>
                  <a:pt x="6046" y="545"/>
                  <a:pt x="6047" y="542"/>
                  <a:pt x="6047" y="541"/>
                </a:cubicBezTo>
                <a:cubicBezTo>
                  <a:pt x="6047" y="541"/>
                  <a:pt x="6045" y="539"/>
                  <a:pt x="6041" y="538"/>
                </a:cubicBezTo>
                <a:cubicBezTo>
                  <a:pt x="6039" y="537"/>
                  <a:pt x="6037" y="536"/>
                  <a:pt x="6036" y="535"/>
                </a:cubicBezTo>
                <a:cubicBezTo>
                  <a:pt x="6035" y="534"/>
                  <a:pt x="6034" y="534"/>
                  <a:pt x="6034" y="533"/>
                </a:cubicBezTo>
                <a:cubicBezTo>
                  <a:pt x="6034" y="532"/>
                  <a:pt x="6033" y="531"/>
                  <a:pt x="6032" y="531"/>
                </a:cubicBezTo>
                <a:cubicBezTo>
                  <a:pt x="6031" y="531"/>
                  <a:pt x="6030" y="531"/>
                  <a:pt x="6029" y="531"/>
                </a:cubicBezTo>
                <a:cubicBezTo>
                  <a:pt x="6028" y="531"/>
                  <a:pt x="6027" y="531"/>
                  <a:pt x="6026" y="530"/>
                </a:cubicBezTo>
                <a:lnTo>
                  <a:pt x="6026" y="530"/>
                </a:lnTo>
                <a:lnTo>
                  <a:pt x="6026" y="529"/>
                </a:lnTo>
                <a:cubicBezTo>
                  <a:pt x="6026" y="529"/>
                  <a:pt x="6028" y="527"/>
                  <a:pt x="6031" y="526"/>
                </a:cubicBezTo>
                <a:cubicBezTo>
                  <a:pt x="6034" y="524"/>
                  <a:pt x="6038" y="523"/>
                  <a:pt x="6042" y="521"/>
                </a:cubicBezTo>
                <a:cubicBezTo>
                  <a:pt x="6046" y="519"/>
                  <a:pt x="6050" y="518"/>
                  <a:pt x="6053" y="517"/>
                </a:cubicBezTo>
                <a:cubicBezTo>
                  <a:pt x="6056" y="515"/>
                  <a:pt x="6058" y="515"/>
                  <a:pt x="6059" y="515"/>
                </a:cubicBezTo>
                <a:cubicBezTo>
                  <a:pt x="6060" y="515"/>
                  <a:pt x="6061" y="514"/>
                  <a:pt x="6062" y="513"/>
                </a:cubicBezTo>
                <a:cubicBezTo>
                  <a:pt x="6063" y="512"/>
                  <a:pt x="6064" y="512"/>
                  <a:pt x="6064" y="510"/>
                </a:cubicBezTo>
                <a:cubicBezTo>
                  <a:pt x="6065" y="509"/>
                  <a:pt x="6065" y="508"/>
                  <a:pt x="6065" y="508"/>
                </a:cubicBezTo>
                <a:cubicBezTo>
                  <a:pt x="6065" y="507"/>
                  <a:pt x="6065" y="507"/>
                  <a:pt x="6064" y="507"/>
                </a:cubicBezTo>
                <a:lnTo>
                  <a:pt x="6063" y="507"/>
                </a:lnTo>
                <a:cubicBezTo>
                  <a:pt x="6062" y="507"/>
                  <a:pt x="6059" y="508"/>
                  <a:pt x="6054" y="511"/>
                </a:cubicBezTo>
                <a:cubicBezTo>
                  <a:pt x="6049" y="514"/>
                  <a:pt x="6046" y="515"/>
                  <a:pt x="6045" y="515"/>
                </a:cubicBezTo>
                <a:cubicBezTo>
                  <a:pt x="6044" y="515"/>
                  <a:pt x="6043" y="515"/>
                  <a:pt x="6043" y="515"/>
                </a:cubicBezTo>
                <a:lnTo>
                  <a:pt x="6043" y="517"/>
                </a:lnTo>
                <a:cubicBezTo>
                  <a:pt x="6043" y="517"/>
                  <a:pt x="6043" y="518"/>
                  <a:pt x="6041" y="519"/>
                </a:cubicBezTo>
                <a:cubicBezTo>
                  <a:pt x="6038" y="520"/>
                  <a:pt x="6034" y="521"/>
                  <a:pt x="6028" y="521"/>
                </a:cubicBezTo>
                <a:cubicBezTo>
                  <a:pt x="6025" y="521"/>
                  <a:pt x="6024" y="520"/>
                  <a:pt x="6024" y="519"/>
                </a:cubicBezTo>
                <a:cubicBezTo>
                  <a:pt x="6024" y="519"/>
                  <a:pt x="6024" y="518"/>
                  <a:pt x="6025" y="518"/>
                </a:cubicBezTo>
                <a:cubicBezTo>
                  <a:pt x="6025" y="518"/>
                  <a:pt x="6026" y="518"/>
                  <a:pt x="6027" y="518"/>
                </a:cubicBezTo>
                <a:cubicBezTo>
                  <a:pt x="6036" y="518"/>
                  <a:pt x="6040" y="517"/>
                  <a:pt x="6040" y="515"/>
                </a:cubicBezTo>
                <a:cubicBezTo>
                  <a:pt x="6040" y="513"/>
                  <a:pt x="6038" y="512"/>
                  <a:pt x="6035" y="511"/>
                </a:cubicBezTo>
                <a:cubicBezTo>
                  <a:pt x="6033" y="510"/>
                  <a:pt x="6033" y="509"/>
                  <a:pt x="6033" y="509"/>
                </a:cubicBezTo>
                <a:cubicBezTo>
                  <a:pt x="6034" y="508"/>
                  <a:pt x="6041" y="505"/>
                  <a:pt x="6053" y="500"/>
                </a:cubicBezTo>
                <a:cubicBezTo>
                  <a:pt x="6070" y="493"/>
                  <a:pt x="6079" y="490"/>
                  <a:pt x="6081" y="490"/>
                </a:cubicBezTo>
                <a:cubicBezTo>
                  <a:pt x="6083" y="490"/>
                  <a:pt x="6085" y="488"/>
                  <a:pt x="6087" y="486"/>
                </a:cubicBezTo>
                <a:cubicBezTo>
                  <a:pt x="6089" y="484"/>
                  <a:pt x="6090" y="482"/>
                  <a:pt x="6091" y="482"/>
                </a:cubicBezTo>
                <a:cubicBezTo>
                  <a:pt x="6092" y="482"/>
                  <a:pt x="6093" y="482"/>
                  <a:pt x="6094" y="481"/>
                </a:cubicBezTo>
                <a:cubicBezTo>
                  <a:pt x="6098" y="479"/>
                  <a:pt x="6105" y="477"/>
                  <a:pt x="6115" y="473"/>
                </a:cubicBezTo>
                <a:cubicBezTo>
                  <a:pt x="6135" y="466"/>
                  <a:pt x="6150" y="462"/>
                  <a:pt x="6158" y="460"/>
                </a:cubicBezTo>
                <a:cubicBezTo>
                  <a:pt x="6160" y="460"/>
                  <a:pt x="6162" y="460"/>
                  <a:pt x="6164" y="459"/>
                </a:cubicBezTo>
                <a:cubicBezTo>
                  <a:pt x="6171" y="457"/>
                  <a:pt x="6175" y="456"/>
                  <a:pt x="6177" y="456"/>
                </a:cubicBezTo>
                <a:cubicBezTo>
                  <a:pt x="6179" y="456"/>
                  <a:pt x="6180" y="456"/>
                  <a:pt x="6180" y="456"/>
                </a:cubicBezTo>
                <a:cubicBezTo>
                  <a:pt x="6181" y="456"/>
                  <a:pt x="6181" y="456"/>
                  <a:pt x="6182" y="456"/>
                </a:cubicBezTo>
                <a:cubicBezTo>
                  <a:pt x="6183" y="456"/>
                  <a:pt x="6183" y="455"/>
                  <a:pt x="6184" y="454"/>
                </a:cubicBezTo>
                <a:cubicBezTo>
                  <a:pt x="6184" y="453"/>
                  <a:pt x="6185" y="453"/>
                  <a:pt x="6187" y="453"/>
                </a:cubicBezTo>
                <a:lnTo>
                  <a:pt x="6190" y="453"/>
                </a:lnTo>
                <a:cubicBezTo>
                  <a:pt x="6192" y="453"/>
                  <a:pt x="6194" y="453"/>
                  <a:pt x="6195" y="452"/>
                </a:cubicBezTo>
                <a:cubicBezTo>
                  <a:pt x="6196" y="452"/>
                  <a:pt x="6198" y="451"/>
                  <a:pt x="6199" y="451"/>
                </a:cubicBezTo>
                <a:cubicBezTo>
                  <a:pt x="6200" y="452"/>
                  <a:pt x="6200" y="453"/>
                  <a:pt x="6201" y="455"/>
                </a:cubicBezTo>
                <a:cubicBezTo>
                  <a:pt x="6202" y="458"/>
                  <a:pt x="6203" y="459"/>
                  <a:pt x="6205" y="459"/>
                </a:cubicBezTo>
                <a:cubicBezTo>
                  <a:pt x="6205" y="459"/>
                  <a:pt x="6206" y="459"/>
                  <a:pt x="6206" y="459"/>
                </a:cubicBezTo>
                <a:lnTo>
                  <a:pt x="6206" y="458"/>
                </a:lnTo>
                <a:lnTo>
                  <a:pt x="6205" y="456"/>
                </a:lnTo>
                <a:cubicBezTo>
                  <a:pt x="6205" y="456"/>
                  <a:pt x="6205" y="456"/>
                  <a:pt x="6206" y="456"/>
                </a:cubicBezTo>
                <a:lnTo>
                  <a:pt x="6207" y="456"/>
                </a:lnTo>
                <a:lnTo>
                  <a:pt x="6210" y="456"/>
                </a:lnTo>
                <a:cubicBezTo>
                  <a:pt x="6211" y="456"/>
                  <a:pt x="6211" y="455"/>
                  <a:pt x="6211" y="454"/>
                </a:cubicBezTo>
                <a:cubicBezTo>
                  <a:pt x="6211" y="453"/>
                  <a:pt x="6212" y="453"/>
                  <a:pt x="6215" y="453"/>
                </a:cubicBezTo>
                <a:lnTo>
                  <a:pt x="6224" y="453"/>
                </a:lnTo>
                <a:cubicBezTo>
                  <a:pt x="6225" y="453"/>
                  <a:pt x="6226" y="453"/>
                  <a:pt x="6226" y="452"/>
                </a:cubicBezTo>
                <a:cubicBezTo>
                  <a:pt x="6226" y="451"/>
                  <a:pt x="6228" y="451"/>
                  <a:pt x="6231" y="451"/>
                </a:cubicBezTo>
                <a:cubicBezTo>
                  <a:pt x="6234" y="451"/>
                  <a:pt x="6236" y="451"/>
                  <a:pt x="6236" y="450"/>
                </a:cubicBezTo>
                <a:lnTo>
                  <a:pt x="6236" y="448"/>
                </a:lnTo>
                <a:cubicBezTo>
                  <a:pt x="6236" y="447"/>
                  <a:pt x="6237" y="446"/>
                  <a:pt x="6238" y="446"/>
                </a:cubicBezTo>
                <a:cubicBezTo>
                  <a:pt x="6240" y="446"/>
                  <a:pt x="6241" y="446"/>
                  <a:pt x="6241" y="447"/>
                </a:cubicBezTo>
                <a:cubicBezTo>
                  <a:pt x="6241" y="448"/>
                  <a:pt x="6242" y="448"/>
                  <a:pt x="6243" y="448"/>
                </a:cubicBezTo>
                <a:cubicBezTo>
                  <a:pt x="6251" y="448"/>
                  <a:pt x="6254" y="447"/>
                  <a:pt x="6254" y="443"/>
                </a:cubicBezTo>
                <a:cubicBezTo>
                  <a:pt x="6254" y="442"/>
                  <a:pt x="6255" y="441"/>
                  <a:pt x="6255" y="441"/>
                </a:cubicBezTo>
                <a:cubicBezTo>
                  <a:pt x="6255" y="441"/>
                  <a:pt x="6256" y="442"/>
                  <a:pt x="6257" y="443"/>
                </a:cubicBezTo>
                <a:cubicBezTo>
                  <a:pt x="6257" y="445"/>
                  <a:pt x="6261" y="446"/>
                  <a:pt x="6268" y="446"/>
                </a:cubicBezTo>
                <a:cubicBezTo>
                  <a:pt x="6285" y="446"/>
                  <a:pt x="6293" y="447"/>
                  <a:pt x="6293" y="449"/>
                </a:cubicBezTo>
                <a:lnTo>
                  <a:pt x="6293" y="450"/>
                </a:lnTo>
                <a:cubicBezTo>
                  <a:pt x="6293" y="451"/>
                  <a:pt x="6294" y="451"/>
                  <a:pt x="6296" y="451"/>
                </a:cubicBezTo>
                <a:cubicBezTo>
                  <a:pt x="6299" y="451"/>
                  <a:pt x="6300" y="451"/>
                  <a:pt x="6300" y="448"/>
                </a:cubicBezTo>
                <a:lnTo>
                  <a:pt x="6300" y="448"/>
                </a:lnTo>
                <a:cubicBezTo>
                  <a:pt x="6299" y="446"/>
                  <a:pt x="6298" y="445"/>
                  <a:pt x="6297" y="445"/>
                </a:cubicBezTo>
                <a:lnTo>
                  <a:pt x="6296" y="445"/>
                </a:lnTo>
                <a:cubicBezTo>
                  <a:pt x="6295" y="445"/>
                  <a:pt x="6295" y="445"/>
                  <a:pt x="6295" y="444"/>
                </a:cubicBezTo>
                <a:cubicBezTo>
                  <a:pt x="6295" y="444"/>
                  <a:pt x="6295" y="443"/>
                  <a:pt x="6296" y="443"/>
                </a:cubicBezTo>
                <a:cubicBezTo>
                  <a:pt x="6296" y="442"/>
                  <a:pt x="6296" y="442"/>
                  <a:pt x="6297" y="442"/>
                </a:cubicBezTo>
                <a:cubicBezTo>
                  <a:pt x="6299" y="442"/>
                  <a:pt x="6300" y="443"/>
                  <a:pt x="6301" y="444"/>
                </a:cubicBezTo>
                <a:cubicBezTo>
                  <a:pt x="6302" y="446"/>
                  <a:pt x="6303" y="448"/>
                  <a:pt x="6303" y="450"/>
                </a:cubicBezTo>
                <a:lnTo>
                  <a:pt x="6302" y="454"/>
                </a:lnTo>
                <a:cubicBezTo>
                  <a:pt x="6302" y="457"/>
                  <a:pt x="6304" y="459"/>
                  <a:pt x="6306" y="459"/>
                </a:cubicBezTo>
                <a:cubicBezTo>
                  <a:pt x="6309" y="459"/>
                  <a:pt x="6310" y="460"/>
                  <a:pt x="6310" y="461"/>
                </a:cubicBezTo>
                <a:lnTo>
                  <a:pt x="6310" y="463"/>
                </a:lnTo>
                <a:lnTo>
                  <a:pt x="6310" y="463"/>
                </a:lnTo>
                <a:cubicBezTo>
                  <a:pt x="6310" y="463"/>
                  <a:pt x="6311" y="464"/>
                  <a:pt x="6312" y="464"/>
                </a:cubicBezTo>
                <a:cubicBezTo>
                  <a:pt x="6313" y="464"/>
                  <a:pt x="6314" y="465"/>
                  <a:pt x="6314" y="468"/>
                </a:cubicBezTo>
                <a:cubicBezTo>
                  <a:pt x="6314" y="470"/>
                  <a:pt x="6315" y="472"/>
                  <a:pt x="6317" y="473"/>
                </a:cubicBezTo>
                <a:cubicBezTo>
                  <a:pt x="6319" y="473"/>
                  <a:pt x="6320" y="475"/>
                  <a:pt x="6320" y="478"/>
                </a:cubicBezTo>
                <a:cubicBezTo>
                  <a:pt x="6320" y="479"/>
                  <a:pt x="6320" y="480"/>
                  <a:pt x="6321" y="481"/>
                </a:cubicBezTo>
                <a:cubicBezTo>
                  <a:pt x="6321" y="482"/>
                  <a:pt x="6322" y="483"/>
                  <a:pt x="6323" y="484"/>
                </a:cubicBezTo>
                <a:cubicBezTo>
                  <a:pt x="6324" y="485"/>
                  <a:pt x="6324" y="487"/>
                  <a:pt x="6324" y="490"/>
                </a:cubicBezTo>
                <a:lnTo>
                  <a:pt x="6324" y="495"/>
                </a:lnTo>
                <a:lnTo>
                  <a:pt x="6323" y="502"/>
                </a:lnTo>
                <a:cubicBezTo>
                  <a:pt x="6323" y="502"/>
                  <a:pt x="6323" y="502"/>
                  <a:pt x="6324" y="502"/>
                </a:cubicBezTo>
                <a:cubicBezTo>
                  <a:pt x="6324" y="502"/>
                  <a:pt x="6325" y="502"/>
                  <a:pt x="6326" y="500"/>
                </a:cubicBezTo>
                <a:cubicBezTo>
                  <a:pt x="6327" y="500"/>
                  <a:pt x="6328" y="499"/>
                  <a:pt x="6329" y="499"/>
                </a:cubicBezTo>
                <a:cubicBezTo>
                  <a:pt x="6329" y="499"/>
                  <a:pt x="6329" y="499"/>
                  <a:pt x="6329" y="500"/>
                </a:cubicBezTo>
                <a:cubicBezTo>
                  <a:pt x="6329" y="502"/>
                  <a:pt x="6326" y="510"/>
                  <a:pt x="6319" y="523"/>
                </a:cubicBezTo>
                <a:cubicBezTo>
                  <a:pt x="6311" y="541"/>
                  <a:pt x="6305" y="556"/>
                  <a:pt x="6299" y="571"/>
                </a:cubicBezTo>
                <a:cubicBezTo>
                  <a:pt x="6293" y="589"/>
                  <a:pt x="6289" y="598"/>
                  <a:pt x="6288" y="601"/>
                </a:cubicBezTo>
                <a:cubicBezTo>
                  <a:pt x="6287" y="603"/>
                  <a:pt x="6286" y="605"/>
                  <a:pt x="6286" y="607"/>
                </a:cubicBezTo>
                <a:lnTo>
                  <a:pt x="6279" y="628"/>
                </a:lnTo>
                <a:lnTo>
                  <a:pt x="6277" y="637"/>
                </a:lnTo>
                <a:cubicBezTo>
                  <a:pt x="6275" y="642"/>
                  <a:pt x="6274" y="645"/>
                  <a:pt x="6274" y="645"/>
                </a:cubicBezTo>
                <a:cubicBezTo>
                  <a:pt x="6273" y="646"/>
                  <a:pt x="6273" y="647"/>
                  <a:pt x="6273" y="647"/>
                </a:cubicBezTo>
                <a:cubicBezTo>
                  <a:pt x="6273" y="647"/>
                  <a:pt x="6273" y="648"/>
                  <a:pt x="6273" y="648"/>
                </a:cubicBezTo>
                <a:cubicBezTo>
                  <a:pt x="6273" y="649"/>
                  <a:pt x="6272" y="649"/>
                  <a:pt x="6272" y="649"/>
                </a:cubicBezTo>
                <a:cubicBezTo>
                  <a:pt x="6272" y="650"/>
                  <a:pt x="6272" y="650"/>
                  <a:pt x="6271" y="651"/>
                </a:cubicBezTo>
                <a:cubicBezTo>
                  <a:pt x="6271" y="652"/>
                  <a:pt x="6271" y="652"/>
                  <a:pt x="6271" y="653"/>
                </a:cubicBezTo>
                <a:cubicBezTo>
                  <a:pt x="6269" y="664"/>
                  <a:pt x="6266" y="671"/>
                  <a:pt x="6261" y="676"/>
                </a:cubicBezTo>
                <a:lnTo>
                  <a:pt x="6260" y="677"/>
                </a:lnTo>
                <a:lnTo>
                  <a:pt x="6260" y="678"/>
                </a:lnTo>
                <a:lnTo>
                  <a:pt x="6262" y="677"/>
                </a:lnTo>
                <a:cubicBezTo>
                  <a:pt x="6263" y="677"/>
                  <a:pt x="6264" y="679"/>
                  <a:pt x="6264" y="682"/>
                </a:cubicBezTo>
                <a:cubicBezTo>
                  <a:pt x="6264" y="686"/>
                  <a:pt x="6263" y="688"/>
                  <a:pt x="6262" y="688"/>
                </a:cubicBezTo>
                <a:cubicBezTo>
                  <a:pt x="6261" y="688"/>
                  <a:pt x="6261" y="689"/>
                  <a:pt x="6261" y="690"/>
                </a:cubicBezTo>
                <a:lnTo>
                  <a:pt x="6261" y="698"/>
                </a:lnTo>
                <a:cubicBezTo>
                  <a:pt x="6261" y="701"/>
                  <a:pt x="6261" y="702"/>
                  <a:pt x="6260" y="702"/>
                </a:cubicBezTo>
                <a:cubicBezTo>
                  <a:pt x="6259" y="702"/>
                  <a:pt x="6258" y="703"/>
                  <a:pt x="6257" y="705"/>
                </a:cubicBezTo>
                <a:cubicBezTo>
                  <a:pt x="6257" y="707"/>
                  <a:pt x="6257" y="709"/>
                  <a:pt x="6257" y="712"/>
                </a:cubicBezTo>
                <a:cubicBezTo>
                  <a:pt x="6257" y="719"/>
                  <a:pt x="6257" y="723"/>
                  <a:pt x="6258" y="723"/>
                </a:cubicBezTo>
                <a:cubicBezTo>
                  <a:pt x="6260" y="723"/>
                  <a:pt x="6266" y="720"/>
                  <a:pt x="6276" y="713"/>
                </a:cubicBezTo>
                <a:cubicBezTo>
                  <a:pt x="6286" y="708"/>
                  <a:pt x="6292" y="704"/>
                  <a:pt x="6292" y="703"/>
                </a:cubicBezTo>
                <a:cubicBezTo>
                  <a:pt x="6292" y="702"/>
                  <a:pt x="6293" y="702"/>
                  <a:pt x="6295" y="702"/>
                </a:cubicBezTo>
                <a:cubicBezTo>
                  <a:pt x="6297" y="702"/>
                  <a:pt x="6306" y="695"/>
                  <a:pt x="6321" y="682"/>
                </a:cubicBezTo>
                <a:cubicBezTo>
                  <a:pt x="6337" y="670"/>
                  <a:pt x="6345" y="662"/>
                  <a:pt x="6345" y="659"/>
                </a:cubicBezTo>
                <a:cubicBezTo>
                  <a:pt x="6345" y="659"/>
                  <a:pt x="6344" y="659"/>
                  <a:pt x="6344" y="659"/>
                </a:cubicBezTo>
                <a:lnTo>
                  <a:pt x="6343" y="659"/>
                </a:lnTo>
                <a:cubicBezTo>
                  <a:pt x="6343" y="659"/>
                  <a:pt x="6341" y="660"/>
                  <a:pt x="6338" y="662"/>
                </a:cubicBezTo>
                <a:lnTo>
                  <a:pt x="6342" y="657"/>
                </a:lnTo>
                <a:cubicBezTo>
                  <a:pt x="6347" y="652"/>
                  <a:pt x="6350" y="649"/>
                  <a:pt x="6351" y="649"/>
                </a:cubicBezTo>
                <a:lnTo>
                  <a:pt x="6349" y="652"/>
                </a:lnTo>
                <a:lnTo>
                  <a:pt x="6353" y="650"/>
                </a:lnTo>
                <a:cubicBezTo>
                  <a:pt x="6356" y="647"/>
                  <a:pt x="6357" y="645"/>
                  <a:pt x="6357" y="643"/>
                </a:cubicBezTo>
                <a:cubicBezTo>
                  <a:pt x="6357" y="643"/>
                  <a:pt x="6357" y="643"/>
                  <a:pt x="6357" y="643"/>
                </a:cubicBezTo>
                <a:lnTo>
                  <a:pt x="6353" y="644"/>
                </a:lnTo>
                <a:cubicBezTo>
                  <a:pt x="6353" y="644"/>
                  <a:pt x="6353" y="643"/>
                  <a:pt x="6355" y="640"/>
                </a:cubicBezTo>
                <a:cubicBezTo>
                  <a:pt x="6356" y="638"/>
                  <a:pt x="6358" y="636"/>
                  <a:pt x="6360" y="634"/>
                </a:cubicBezTo>
                <a:cubicBezTo>
                  <a:pt x="6361" y="633"/>
                  <a:pt x="6362" y="632"/>
                  <a:pt x="6363" y="632"/>
                </a:cubicBezTo>
                <a:cubicBezTo>
                  <a:pt x="6363" y="632"/>
                  <a:pt x="6363" y="632"/>
                  <a:pt x="6363" y="632"/>
                </a:cubicBezTo>
                <a:cubicBezTo>
                  <a:pt x="6364" y="632"/>
                  <a:pt x="6364" y="631"/>
                  <a:pt x="6364" y="631"/>
                </a:cubicBezTo>
                <a:lnTo>
                  <a:pt x="6363" y="628"/>
                </a:lnTo>
                <a:cubicBezTo>
                  <a:pt x="6363" y="628"/>
                  <a:pt x="6364" y="628"/>
                  <a:pt x="6365" y="628"/>
                </a:cubicBezTo>
                <a:cubicBezTo>
                  <a:pt x="6365" y="628"/>
                  <a:pt x="6366" y="628"/>
                  <a:pt x="6366" y="627"/>
                </a:cubicBezTo>
                <a:lnTo>
                  <a:pt x="6366" y="626"/>
                </a:lnTo>
                <a:lnTo>
                  <a:pt x="6366" y="625"/>
                </a:lnTo>
                <a:cubicBezTo>
                  <a:pt x="6366" y="623"/>
                  <a:pt x="6366" y="621"/>
                  <a:pt x="6368" y="619"/>
                </a:cubicBezTo>
                <a:cubicBezTo>
                  <a:pt x="6370" y="615"/>
                  <a:pt x="6371" y="607"/>
                  <a:pt x="6371" y="595"/>
                </a:cubicBezTo>
                <a:lnTo>
                  <a:pt x="6371" y="581"/>
                </a:lnTo>
                <a:cubicBezTo>
                  <a:pt x="6371" y="573"/>
                  <a:pt x="6370" y="563"/>
                  <a:pt x="6367" y="550"/>
                </a:cubicBezTo>
                <a:cubicBezTo>
                  <a:pt x="6365" y="539"/>
                  <a:pt x="6364" y="530"/>
                  <a:pt x="6364" y="525"/>
                </a:cubicBezTo>
                <a:cubicBezTo>
                  <a:pt x="6364" y="525"/>
                  <a:pt x="6364" y="523"/>
                  <a:pt x="6365" y="520"/>
                </a:cubicBezTo>
                <a:cubicBezTo>
                  <a:pt x="6365" y="517"/>
                  <a:pt x="6367" y="514"/>
                  <a:pt x="6371" y="512"/>
                </a:cubicBezTo>
                <a:cubicBezTo>
                  <a:pt x="6373" y="511"/>
                  <a:pt x="6375" y="510"/>
                  <a:pt x="6377" y="509"/>
                </a:cubicBezTo>
                <a:cubicBezTo>
                  <a:pt x="6378" y="507"/>
                  <a:pt x="6380" y="506"/>
                  <a:pt x="6381" y="505"/>
                </a:cubicBezTo>
                <a:cubicBezTo>
                  <a:pt x="6381" y="505"/>
                  <a:pt x="6382" y="505"/>
                  <a:pt x="6383" y="504"/>
                </a:cubicBezTo>
                <a:cubicBezTo>
                  <a:pt x="6383" y="504"/>
                  <a:pt x="6383" y="504"/>
                  <a:pt x="6384" y="504"/>
                </a:cubicBezTo>
                <a:cubicBezTo>
                  <a:pt x="6384" y="504"/>
                  <a:pt x="6384" y="504"/>
                  <a:pt x="6384" y="505"/>
                </a:cubicBezTo>
                <a:cubicBezTo>
                  <a:pt x="6386" y="505"/>
                  <a:pt x="6389" y="504"/>
                  <a:pt x="6391" y="503"/>
                </a:cubicBezTo>
                <a:cubicBezTo>
                  <a:pt x="6393" y="502"/>
                  <a:pt x="6395" y="501"/>
                  <a:pt x="6397" y="501"/>
                </a:cubicBezTo>
                <a:cubicBezTo>
                  <a:pt x="6398" y="501"/>
                  <a:pt x="6399" y="502"/>
                  <a:pt x="6400" y="503"/>
                </a:cubicBezTo>
                <a:cubicBezTo>
                  <a:pt x="6400" y="505"/>
                  <a:pt x="6398" y="508"/>
                  <a:pt x="6395" y="511"/>
                </a:cubicBezTo>
                <a:cubicBezTo>
                  <a:pt x="6391" y="513"/>
                  <a:pt x="6390" y="516"/>
                  <a:pt x="6390" y="517"/>
                </a:cubicBezTo>
                <a:cubicBezTo>
                  <a:pt x="6390" y="517"/>
                  <a:pt x="6390" y="518"/>
                  <a:pt x="6390" y="518"/>
                </a:cubicBezTo>
                <a:lnTo>
                  <a:pt x="6390" y="518"/>
                </a:lnTo>
                <a:cubicBezTo>
                  <a:pt x="6390" y="519"/>
                  <a:pt x="6390" y="519"/>
                  <a:pt x="6388" y="519"/>
                </a:cubicBezTo>
                <a:cubicBezTo>
                  <a:pt x="6386" y="519"/>
                  <a:pt x="6385" y="519"/>
                  <a:pt x="6385" y="521"/>
                </a:cubicBezTo>
                <a:lnTo>
                  <a:pt x="6386" y="522"/>
                </a:lnTo>
                <a:cubicBezTo>
                  <a:pt x="6386" y="523"/>
                  <a:pt x="6385" y="524"/>
                  <a:pt x="6385" y="524"/>
                </a:cubicBezTo>
                <a:cubicBezTo>
                  <a:pt x="6384" y="524"/>
                  <a:pt x="6383" y="525"/>
                  <a:pt x="6383" y="526"/>
                </a:cubicBezTo>
                <a:cubicBezTo>
                  <a:pt x="6383" y="528"/>
                  <a:pt x="6383" y="530"/>
                  <a:pt x="6384" y="531"/>
                </a:cubicBezTo>
                <a:cubicBezTo>
                  <a:pt x="6386" y="532"/>
                  <a:pt x="6386" y="532"/>
                  <a:pt x="6386" y="532"/>
                </a:cubicBezTo>
                <a:cubicBezTo>
                  <a:pt x="6386" y="532"/>
                  <a:pt x="6387" y="532"/>
                  <a:pt x="6388" y="534"/>
                </a:cubicBezTo>
                <a:lnTo>
                  <a:pt x="6395" y="573"/>
                </a:lnTo>
                <a:cubicBezTo>
                  <a:pt x="6397" y="585"/>
                  <a:pt x="6398" y="598"/>
                  <a:pt x="6398" y="613"/>
                </a:cubicBezTo>
                <a:cubicBezTo>
                  <a:pt x="6398" y="629"/>
                  <a:pt x="6398" y="640"/>
                  <a:pt x="6397" y="646"/>
                </a:cubicBezTo>
                <a:lnTo>
                  <a:pt x="6397" y="649"/>
                </a:lnTo>
                <a:cubicBezTo>
                  <a:pt x="6397" y="649"/>
                  <a:pt x="6398" y="649"/>
                  <a:pt x="6399" y="649"/>
                </a:cubicBezTo>
                <a:cubicBezTo>
                  <a:pt x="6400" y="649"/>
                  <a:pt x="6401" y="649"/>
                  <a:pt x="6401" y="650"/>
                </a:cubicBezTo>
                <a:lnTo>
                  <a:pt x="6401" y="652"/>
                </a:lnTo>
                <a:cubicBezTo>
                  <a:pt x="6401" y="652"/>
                  <a:pt x="6400" y="654"/>
                  <a:pt x="6398" y="656"/>
                </a:cubicBezTo>
                <a:cubicBezTo>
                  <a:pt x="6396" y="657"/>
                  <a:pt x="6396" y="659"/>
                  <a:pt x="6396" y="661"/>
                </a:cubicBezTo>
                <a:lnTo>
                  <a:pt x="6396" y="664"/>
                </a:lnTo>
                <a:cubicBezTo>
                  <a:pt x="6395" y="664"/>
                  <a:pt x="6395" y="663"/>
                  <a:pt x="6393" y="661"/>
                </a:cubicBezTo>
                <a:cubicBezTo>
                  <a:pt x="6392" y="659"/>
                  <a:pt x="6391" y="658"/>
                  <a:pt x="6390" y="658"/>
                </a:cubicBezTo>
                <a:lnTo>
                  <a:pt x="6390" y="661"/>
                </a:lnTo>
                <a:cubicBezTo>
                  <a:pt x="6390" y="664"/>
                  <a:pt x="6390" y="667"/>
                  <a:pt x="6388" y="671"/>
                </a:cubicBezTo>
                <a:cubicBezTo>
                  <a:pt x="6386" y="675"/>
                  <a:pt x="6385" y="679"/>
                  <a:pt x="6382" y="683"/>
                </a:cubicBezTo>
                <a:cubicBezTo>
                  <a:pt x="6380" y="686"/>
                  <a:pt x="6378" y="688"/>
                  <a:pt x="6377" y="688"/>
                </a:cubicBezTo>
                <a:cubicBezTo>
                  <a:pt x="6376" y="688"/>
                  <a:pt x="6375" y="689"/>
                  <a:pt x="6375" y="692"/>
                </a:cubicBezTo>
                <a:cubicBezTo>
                  <a:pt x="6375" y="694"/>
                  <a:pt x="6368" y="702"/>
                  <a:pt x="6352" y="716"/>
                </a:cubicBezTo>
                <a:cubicBezTo>
                  <a:pt x="6337" y="730"/>
                  <a:pt x="6328" y="737"/>
                  <a:pt x="6325" y="737"/>
                </a:cubicBezTo>
                <a:cubicBezTo>
                  <a:pt x="6324" y="737"/>
                  <a:pt x="6323" y="737"/>
                  <a:pt x="6322" y="739"/>
                </a:cubicBezTo>
                <a:cubicBezTo>
                  <a:pt x="6321" y="740"/>
                  <a:pt x="6317" y="742"/>
                  <a:pt x="6310" y="746"/>
                </a:cubicBezTo>
                <a:cubicBezTo>
                  <a:pt x="6303" y="749"/>
                  <a:pt x="6296" y="752"/>
                  <a:pt x="6288" y="755"/>
                </a:cubicBezTo>
                <a:cubicBezTo>
                  <a:pt x="6280" y="758"/>
                  <a:pt x="6275" y="759"/>
                  <a:pt x="6272" y="759"/>
                </a:cubicBezTo>
                <a:cubicBezTo>
                  <a:pt x="6266" y="759"/>
                  <a:pt x="6262" y="758"/>
                  <a:pt x="6257" y="755"/>
                </a:cubicBezTo>
                <a:cubicBezTo>
                  <a:pt x="6252" y="752"/>
                  <a:pt x="6250" y="750"/>
                  <a:pt x="6250" y="747"/>
                </a:cubicBezTo>
                <a:cubicBezTo>
                  <a:pt x="6250" y="746"/>
                  <a:pt x="6249" y="745"/>
                  <a:pt x="6248" y="743"/>
                </a:cubicBezTo>
                <a:cubicBezTo>
                  <a:pt x="6247" y="742"/>
                  <a:pt x="6245" y="741"/>
                  <a:pt x="6243" y="740"/>
                </a:cubicBezTo>
                <a:cubicBezTo>
                  <a:pt x="6238" y="738"/>
                  <a:pt x="6234" y="735"/>
                  <a:pt x="6229" y="730"/>
                </a:cubicBezTo>
                <a:cubicBezTo>
                  <a:pt x="6224" y="725"/>
                  <a:pt x="6221" y="720"/>
                  <a:pt x="6220" y="717"/>
                </a:cubicBezTo>
                <a:cubicBezTo>
                  <a:pt x="6218" y="713"/>
                  <a:pt x="6217" y="708"/>
                  <a:pt x="6217" y="702"/>
                </a:cubicBezTo>
                <a:cubicBezTo>
                  <a:pt x="6217" y="682"/>
                  <a:pt x="6225" y="648"/>
                  <a:pt x="6241" y="598"/>
                </a:cubicBezTo>
                <a:cubicBezTo>
                  <a:pt x="6243" y="593"/>
                  <a:pt x="6245" y="589"/>
                  <a:pt x="6246" y="585"/>
                </a:cubicBezTo>
                <a:lnTo>
                  <a:pt x="6246" y="579"/>
                </a:lnTo>
                <a:cubicBezTo>
                  <a:pt x="6246" y="579"/>
                  <a:pt x="6246" y="579"/>
                  <a:pt x="6246" y="579"/>
                </a:cubicBezTo>
                <a:cubicBezTo>
                  <a:pt x="6246" y="579"/>
                  <a:pt x="6246" y="578"/>
                  <a:pt x="6247" y="577"/>
                </a:cubicBezTo>
                <a:cubicBezTo>
                  <a:pt x="6248" y="577"/>
                  <a:pt x="6250" y="572"/>
                  <a:pt x="6253" y="563"/>
                </a:cubicBezTo>
                <a:cubicBezTo>
                  <a:pt x="6254" y="559"/>
                  <a:pt x="6256" y="556"/>
                  <a:pt x="6257" y="553"/>
                </a:cubicBezTo>
                <a:cubicBezTo>
                  <a:pt x="6258" y="550"/>
                  <a:pt x="6259" y="549"/>
                  <a:pt x="6260" y="549"/>
                </a:cubicBezTo>
                <a:cubicBezTo>
                  <a:pt x="6261" y="549"/>
                  <a:pt x="6261" y="547"/>
                  <a:pt x="6261" y="544"/>
                </a:cubicBezTo>
                <a:cubicBezTo>
                  <a:pt x="6261" y="542"/>
                  <a:pt x="6261" y="540"/>
                  <a:pt x="6262" y="539"/>
                </a:cubicBezTo>
                <a:cubicBezTo>
                  <a:pt x="6262" y="538"/>
                  <a:pt x="6263" y="537"/>
                  <a:pt x="6264" y="537"/>
                </a:cubicBezTo>
                <a:cubicBezTo>
                  <a:pt x="6265" y="537"/>
                  <a:pt x="6266" y="536"/>
                  <a:pt x="6266" y="535"/>
                </a:cubicBezTo>
                <a:lnTo>
                  <a:pt x="6265" y="534"/>
                </a:lnTo>
                <a:lnTo>
                  <a:pt x="6265" y="530"/>
                </a:lnTo>
                <a:cubicBezTo>
                  <a:pt x="6265" y="528"/>
                  <a:pt x="6266" y="525"/>
                  <a:pt x="6267" y="524"/>
                </a:cubicBezTo>
                <a:cubicBezTo>
                  <a:pt x="6268" y="523"/>
                  <a:pt x="6269" y="523"/>
                  <a:pt x="6270" y="523"/>
                </a:cubicBezTo>
                <a:lnTo>
                  <a:pt x="6271" y="523"/>
                </a:lnTo>
                <a:cubicBezTo>
                  <a:pt x="6271" y="523"/>
                  <a:pt x="6272" y="523"/>
                  <a:pt x="6272" y="522"/>
                </a:cubicBezTo>
                <a:lnTo>
                  <a:pt x="6271" y="515"/>
                </a:lnTo>
                <a:cubicBezTo>
                  <a:pt x="6271" y="513"/>
                  <a:pt x="6271" y="512"/>
                  <a:pt x="6273" y="512"/>
                </a:cubicBezTo>
                <a:cubicBezTo>
                  <a:pt x="6274" y="512"/>
                  <a:pt x="6275" y="512"/>
                  <a:pt x="6276" y="511"/>
                </a:cubicBezTo>
                <a:cubicBezTo>
                  <a:pt x="6278" y="510"/>
                  <a:pt x="6278" y="508"/>
                  <a:pt x="6278" y="505"/>
                </a:cubicBezTo>
                <a:cubicBezTo>
                  <a:pt x="6278" y="504"/>
                  <a:pt x="6278" y="504"/>
                  <a:pt x="6278" y="504"/>
                </a:cubicBezTo>
                <a:lnTo>
                  <a:pt x="6274" y="505"/>
                </a:lnTo>
                <a:cubicBezTo>
                  <a:pt x="6274" y="505"/>
                  <a:pt x="6274" y="504"/>
                  <a:pt x="6275" y="504"/>
                </a:cubicBezTo>
                <a:cubicBezTo>
                  <a:pt x="6275" y="504"/>
                  <a:pt x="6276" y="503"/>
                  <a:pt x="6278" y="501"/>
                </a:cubicBezTo>
                <a:lnTo>
                  <a:pt x="6278" y="502"/>
                </a:lnTo>
                <a:cubicBezTo>
                  <a:pt x="6280" y="502"/>
                  <a:pt x="6281" y="501"/>
                  <a:pt x="6283" y="499"/>
                </a:cubicBezTo>
                <a:cubicBezTo>
                  <a:pt x="6284" y="498"/>
                  <a:pt x="6284" y="497"/>
                  <a:pt x="6284" y="496"/>
                </a:cubicBezTo>
                <a:lnTo>
                  <a:pt x="6284" y="496"/>
                </a:lnTo>
                <a:lnTo>
                  <a:pt x="6284" y="495"/>
                </a:lnTo>
                <a:cubicBezTo>
                  <a:pt x="6284" y="495"/>
                  <a:pt x="6285" y="492"/>
                  <a:pt x="6288" y="487"/>
                </a:cubicBezTo>
                <a:cubicBezTo>
                  <a:pt x="6290" y="483"/>
                  <a:pt x="6291" y="480"/>
                  <a:pt x="6291" y="479"/>
                </a:cubicBezTo>
                <a:cubicBezTo>
                  <a:pt x="6291" y="478"/>
                  <a:pt x="6291" y="478"/>
                  <a:pt x="6290" y="478"/>
                </a:cubicBezTo>
                <a:cubicBezTo>
                  <a:pt x="6278" y="478"/>
                  <a:pt x="6245" y="485"/>
                  <a:pt x="6191" y="498"/>
                </a:cubicBezTo>
                <a:cubicBezTo>
                  <a:pt x="6177" y="502"/>
                  <a:pt x="6168" y="504"/>
                  <a:pt x="6164" y="505"/>
                </a:cubicBezTo>
                <a:lnTo>
                  <a:pt x="6163" y="505"/>
                </a:lnTo>
                <a:cubicBezTo>
                  <a:pt x="6163" y="504"/>
                  <a:pt x="6167" y="503"/>
                  <a:pt x="6176" y="500"/>
                </a:cubicBezTo>
                <a:cubicBezTo>
                  <a:pt x="6185" y="497"/>
                  <a:pt x="6190" y="495"/>
                  <a:pt x="6190" y="493"/>
                </a:cubicBezTo>
                <a:lnTo>
                  <a:pt x="6189" y="492"/>
                </a:lnTo>
                <a:lnTo>
                  <a:pt x="6191" y="492"/>
                </a:lnTo>
                <a:cubicBezTo>
                  <a:pt x="6197" y="492"/>
                  <a:pt x="6203" y="492"/>
                  <a:pt x="6209" y="490"/>
                </a:cubicBezTo>
                <a:cubicBezTo>
                  <a:pt x="6217" y="488"/>
                  <a:pt x="6222" y="486"/>
                  <a:pt x="6222" y="485"/>
                </a:cubicBezTo>
                <a:cubicBezTo>
                  <a:pt x="6222" y="483"/>
                  <a:pt x="6220" y="482"/>
                  <a:pt x="6215" y="481"/>
                </a:cubicBezTo>
                <a:cubicBezTo>
                  <a:pt x="6208" y="481"/>
                  <a:pt x="6204" y="482"/>
                  <a:pt x="6203" y="485"/>
                </a:cubicBezTo>
                <a:lnTo>
                  <a:pt x="6202" y="486"/>
                </a:lnTo>
                <a:cubicBezTo>
                  <a:pt x="6202" y="487"/>
                  <a:pt x="6202" y="487"/>
                  <a:pt x="6203" y="487"/>
                </a:cubicBezTo>
                <a:cubicBezTo>
                  <a:pt x="6203" y="487"/>
                  <a:pt x="6204" y="487"/>
                  <a:pt x="6206" y="486"/>
                </a:cubicBezTo>
                <a:lnTo>
                  <a:pt x="6209" y="485"/>
                </a:lnTo>
                <a:cubicBezTo>
                  <a:pt x="6209" y="486"/>
                  <a:pt x="6208" y="487"/>
                  <a:pt x="6207" y="487"/>
                </a:cubicBezTo>
                <a:cubicBezTo>
                  <a:pt x="6206" y="488"/>
                  <a:pt x="6205" y="489"/>
                  <a:pt x="6204" y="489"/>
                </a:cubicBezTo>
                <a:cubicBezTo>
                  <a:pt x="6204" y="489"/>
                  <a:pt x="6203" y="488"/>
                  <a:pt x="6201" y="487"/>
                </a:cubicBezTo>
                <a:cubicBezTo>
                  <a:pt x="6200" y="485"/>
                  <a:pt x="6199" y="485"/>
                  <a:pt x="6197" y="485"/>
                </a:cubicBezTo>
                <a:lnTo>
                  <a:pt x="6197" y="485"/>
                </a:lnTo>
                <a:cubicBezTo>
                  <a:pt x="6196" y="485"/>
                  <a:pt x="6196" y="485"/>
                  <a:pt x="6196" y="486"/>
                </a:cubicBezTo>
                <a:lnTo>
                  <a:pt x="6197" y="490"/>
                </a:lnTo>
                <a:cubicBezTo>
                  <a:pt x="6197" y="491"/>
                  <a:pt x="6196" y="492"/>
                  <a:pt x="6195" y="492"/>
                </a:cubicBezTo>
                <a:cubicBezTo>
                  <a:pt x="6194" y="491"/>
                  <a:pt x="6193" y="490"/>
                  <a:pt x="6191" y="487"/>
                </a:cubicBezTo>
                <a:cubicBezTo>
                  <a:pt x="6189" y="484"/>
                  <a:pt x="6187" y="482"/>
                  <a:pt x="6186" y="482"/>
                </a:cubicBezTo>
                <a:cubicBezTo>
                  <a:pt x="6186" y="482"/>
                  <a:pt x="6185" y="483"/>
                  <a:pt x="6185" y="484"/>
                </a:cubicBezTo>
                <a:lnTo>
                  <a:pt x="6186" y="487"/>
                </a:lnTo>
                <a:cubicBezTo>
                  <a:pt x="6186" y="490"/>
                  <a:pt x="6184" y="490"/>
                  <a:pt x="6180" y="490"/>
                </a:cubicBezTo>
                <a:cubicBezTo>
                  <a:pt x="6176" y="490"/>
                  <a:pt x="6174" y="490"/>
                  <a:pt x="6174" y="489"/>
                </a:cubicBezTo>
                <a:cubicBezTo>
                  <a:pt x="6174" y="488"/>
                  <a:pt x="6173" y="488"/>
                  <a:pt x="6173" y="488"/>
                </a:cubicBezTo>
                <a:lnTo>
                  <a:pt x="6171" y="491"/>
                </a:lnTo>
                <a:cubicBezTo>
                  <a:pt x="6170" y="494"/>
                  <a:pt x="6168" y="496"/>
                  <a:pt x="6164" y="496"/>
                </a:cubicBezTo>
                <a:cubicBezTo>
                  <a:pt x="6159" y="496"/>
                  <a:pt x="6156" y="497"/>
                  <a:pt x="6155" y="499"/>
                </a:cubicBezTo>
                <a:cubicBezTo>
                  <a:pt x="6155" y="499"/>
                  <a:pt x="6154" y="499"/>
                  <a:pt x="6152" y="499"/>
                </a:cubicBezTo>
                <a:lnTo>
                  <a:pt x="6149" y="499"/>
                </a:lnTo>
                <a:cubicBezTo>
                  <a:pt x="6149" y="499"/>
                  <a:pt x="6148" y="499"/>
                  <a:pt x="6148" y="499"/>
                </a:cubicBezTo>
                <a:cubicBezTo>
                  <a:pt x="6147" y="499"/>
                  <a:pt x="6147" y="500"/>
                  <a:pt x="6147" y="500"/>
                </a:cubicBezTo>
                <a:cubicBezTo>
                  <a:pt x="6147" y="501"/>
                  <a:pt x="6147" y="502"/>
                  <a:pt x="6147" y="502"/>
                </a:cubicBezTo>
                <a:lnTo>
                  <a:pt x="6143" y="502"/>
                </a:lnTo>
                <a:cubicBezTo>
                  <a:pt x="6143" y="502"/>
                  <a:pt x="6142" y="502"/>
                  <a:pt x="6142" y="503"/>
                </a:cubicBezTo>
                <a:cubicBezTo>
                  <a:pt x="6142" y="504"/>
                  <a:pt x="6141" y="504"/>
                  <a:pt x="6140" y="504"/>
                </a:cubicBezTo>
                <a:lnTo>
                  <a:pt x="6138" y="504"/>
                </a:lnTo>
                <a:lnTo>
                  <a:pt x="6138" y="504"/>
                </a:lnTo>
                <a:cubicBezTo>
                  <a:pt x="6136" y="504"/>
                  <a:pt x="6135" y="504"/>
                  <a:pt x="6133" y="505"/>
                </a:cubicBezTo>
                <a:cubicBezTo>
                  <a:pt x="6132" y="507"/>
                  <a:pt x="6131" y="507"/>
                  <a:pt x="6130" y="508"/>
                </a:cubicBezTo>
                <a:cubicBezTo>
                  <a:pt x="6129" y="508"/>
                  <a:pt x="6128" y="509"/>
                  <a:pt x="6128" y="509"/>
                </a:cubicBezTo>
                <a:cubicBezTo>
                  <a:pt x="6127" y="509"/>
                  <a:pt x="6127" y="509"/>
                  <a:pt x="6127" y="511"/>
                </a:cubicBezTo>
                <a:lnTo>
                  <a:pt x="6127" y="512"/>
                </a:lnTo>
                <a:cubicBezTo>
                  <a:pt x="6128" y="515"/>
                  <a:pt x="6129" y="517"/>
                  <a:pt x="6129" y="517"/>
                </a:cubicBezTo>
                <a:cubicBezTo>
                  <a:pt x="6130" y="517"/>
                  <a:pt x="6130" y="516"/>
                  <a:pt x="6130" y="514"/>
                </a:cubicBezTo>
                <a:cubicBezTo>
                  <a:pt x="6130" y="513"/>
                  <a:pt x="6130" y="512"/>
                  <a:pt x="6130" y="511"/>
                </a:cubicBezTo>
                <a:lnTo>
                  <a:pt x="6131" y="511"/>
                </a:lnTo>
                <a:cubicBezTo>
                  <a:pt x="6132" y="511"/>
                  <a:pt x="6133" y="511"/>
                  <a:pt x="6133" y="513"/>
                </a:cubicBezTo>
                <a:cubicBezTo>
                  <a:pt x="6133" y="514"/>
                  <a:pt x="6133" y="514"/>
                  <a:pt x="6133" y="515"/>
                </a:cubicBezTo>
                <a:lnTo>
                  <a:pt x="6133" y="516"/>
                </a:lnTo>
                <a:cubicBezTo>
                  <a:pt x="6133" y="516"/>
                  <a:pt x="6134" y="516"/>
                  <a:pt x="6135" y="514"/>
                </a:cubicBezTo>
                <a:cubicBezTo>
                  <a:pt x="6137" y="513"/>
                  <a:pt x="6137" y="513"/>
                  <a:pt x="6138" y="513"/>
                </a:cubicBezTo>
                <a:cubicBezTo>
                  <a:pt x="6138" y="513"/>
                  <a:pt x="6138" y="513"/>
                  <a:pt x="6138" y="513"/>
                </a:cubicBezTo>
                <a:lnTo>
                  <a:pt x="6137" y="515"/>
                </a:lnTo>
                <a:cubicBezTo>
                  <a:pt x="6136" y="518"/>
                  <a:pt x="6135" y="519"/>
                  <a:pt x="6132" y="519"/>
                </a:cubicBezTo>
                <a:cubicBezTo>
                  <a:pt x="6129" y="519"/>
                  <a:pt x="6128" y="520"/>
                  <a:pt x="6128" y="521"/>
                </a:cubicBezTo>
                <a:lnTo>
                  <a:pt x="6128" y="522"/>
                </a:lnTo>
                <a:cubicBezTo>
                  <a:pt x="6128" y="523"/>
                  <a:pt x="6129" y="524"/>
                  <a:pt x="6131" y="524"/>
                </a:cubicBezTo>
                <a:cubicBezTo>
                  <a:pt x="6133" y="525"/>
                  <a:pt x="6134" y="527"/>
                  <a:pt x="6134" y="527"/>
                </a:cubicBezTo>
                <a:lnTo>
                  <a:pt x="6133" y="530"/>
                </a:lnTo>
                <a:cubicBezTo>
                  <a:pt x="6133" y="530"/>
                  <a:pt x="6133" y="530"/>
                  <a:pt x="6135" y="530"/>
                </a:cubicBezTo>
                <a:lnTo>
                  <a:pt x="6136" y="530"/>
                </a:lnTo>
                <a:cubicBezTo>
                  <a:pt x="6136" y="530"/>
                  <a:pt x="6137" y="531"/>
                  <a:pt x="6138" y="532"/>
                </a:cubicBezTo>
                <a:cubicBezTo>
                  <a:pt x="6138" y="534"/>
                  <a:pt x="6138" y="536"/>
                  <a:pt x="6139" y="536"/>
                </a:cubicBezTo>
                <a:lnTo>
                  <a:pt x="6140" y="537"/>
                </a:lnTo>
                <a:cubicBezTo>
                  <a:pt x="6140" y="537"/>
                  <a:pt x="6140" y="537"/>
                  <a:pt x="6140" y="536"/>
                </a:cubicBezTo>
                <a:cubicBezTo>
                  <a:pt x="6140" y="536"/>
                  <a:pt x="6139" y="535"/>
                  <a:pt x="6139" y="534"/>
                </a:cubicBezTo>
                <a:lnTo>
                  <a:pt x="6139" y="534"/>
                </a:lnTo>
                <a:cubicBezTo>
                  <a:pt x="6139" y="533"/>
                  <a:pt x="6140" y="533"/>
                  <a:pt x="6140" y="533"/>
                </a:cubicBezTo>
                <a:cubicBezTo>
                  <a:pt x="6142" y="533"/>
                  <a:pt x="6143" y="534"/>
                  <a:pt x="6144" y="537"/>
                </a:cubicBezTo>
                <a:cubicBezTo>
                  <a:pt x="6145" y="539"/>
                  <a:pt x="6148" y="544"/>
                  <a:pt x="6152" y="550"/>
                </a:cubicBezTo>
                <a:cubicBezTo>
                  <a:pt x="6175" y="573"/>
                  <a:pt x="6186" y="600"/>
                  <a:pt x="6186" y="628"/>
                </a:cubicBezTo>
                <a:cubicBezTo>
                  <a:pt x="6186" y="654"/>
                  <a:pt x="6176" y="683"/>
                  <a:pt x="6157" y="713"/>
                </a:cubicBezTo>
                <a:cubicBezTo>
                  <a:pt x="6138" y="742"/>
                  <a:pt x="6117" y="765"/>
                  <a:pt x="6095" y="781"/>
                </a:cubicBezTo>
                <a:cubicBezTo>
                  <a:pt x="6078" y="794"/>
                  <a:pt x="6063" y="800"/>
                  <a:pt x="6050" y="800"/>
                </a:cubicBezTo>
                <a:close/>
                <a:moveTo>
                  <a:pt x="6396" y="615"/>
                </a:moveTo>
                <a:cubicBezTo>
                  <a:pt x="6396" y="615"/>
                  <a:pt x="6397" y="614"/>
                  <a:pt x="6397" y="611"/>
                </a:cubicBezTo>
                <a:cubicBezTo>
                  <a:pt x="6397" y="608"/>
                  <a:pt x="6396" y="607"/>
                  <a:pt x="6396" y="607"/>
                </a:cubicBezTo>
                <a:cubicBezTo>
                  <a:pt x="6395" y="607"/>
                  <a:pt x="6395" y="609"/>
                  <a:pt x="6395" y="615"/>
                </a:cubicBezTo>
                <a:lnTo>
                  <a:pt x="6396" y="615"/>
                </a:lnTo>
                <a:close/>
                <a:moveTo>
                  <a:pt x="6274" y="752"/>
                </a:moveTo>
                <a:cubicBezTo>
                  <a:pt x="6276" y="752"/>
                  <a:pt x="6278" y="752"/>
                  <a:pt x="6279" y="751"/>
                </a:cubicBezTo>
                <a:cubicBezTo>
                  <a:pt x="6281" y="750"/>
                  <a:pt x="6282" y="750"/>
                  <a:pt x="6282" y="749"/>
                </a:cubicBezTo>
                <a:cubicBezTo>
                  <a:pt x="6282" y="749"/>
                  <a:pt x="6281" y="748"/>
                  <a:pt x="6278" y="748"/>
                </a:cubicBezTo>
                <a:cubicBezTo>
                  <a:pt x="6270" y="748"/>
                  <a:pt x="6266" y="749"/>
                  <a:pt x="6266" y="751"/>
                </a:cubicBezTo>
                <a:cubicBezTo>
                  <a:pt x="6266" y="752"/>
                  <a:pt x="6267" y="752"/>
                  <a:pt x="6270" y="752"/>
                </a:cubicBezTo>
                <a:lnTo>
                  <a:pt x="6274" y="752"/>
                </a:lnTo>
                <a:close/>
                <a:moveTo>
                  <a:pt x="6343" y="718"/>
                </a:moveTo>
                <a:cubicBezTo>
                  <a:pt x="6343" y="718"/>
                  <a:pt x="6344" y="718"/>
                  <a:pt x="6345" y="717"/>
                </a:cubicBezTo>
                <a:cubicBezTo>
                  <a:pt x="6346" y="716"/>
                  <a:pt x="6348" y="715"/>
                  <a:pt x="6350" y="713"/>
                </a:cubicBezTo>
                <a:cubicBezTo>
                  <a:pt x="6352" y="711"/>
                  <a:pt x="6355" y="709"/>
                  <a:pt x="6356" y="706"/>
                </a:cubicBezTo>
                <a:cubicBezTo>
                  <a:pt x="6359" y="703"/>
                  <a:pt x="6360" y="701"/>
                  <a:pt x="6360" y="701"/>
                </a:cubicBezTo>
                <a:cubicBezTo>
                  <a:pt x="6360" y="701"/>
                  <a:pt x="6357" y="703"/>
                  <a:pt x="6353" y="708"/>
                </a:cubicBezTo>
                <a:cubicBezTo>
                  <a:pt x="6346" y="713"/>
                  <a:pt x="6342" y="717"/>
                  <a:pt x="6342" y="718"/>
                </a:cubicBezTo>
                <a:cubicBezTo>
                  <a:pt x="6342" y="718"/>
                  <a:pt x="6342" y="718"/>
                  <a:pt x="6343" y="718"/>
                </a:cubicBezTo>
                <a:close/>
                <a:moveTo>
                  <a:pt x="6365" y="699"/>
                </a:moveTo>
                <a:cubicBezTo>
                  <a:pt x="6365" y="699"/>
                  <a:pt x="6367" y="698"/>
                  <a:pt x="6369" y="696"/>
                </a:cubicBezTo>
                <a:cubicBezTo>
                  <a:pt x="6371" y="693"/>
                  <a:pt x="6372" y="691"/>
                  <a:pt x="6372" y="690"/>
                </a:cubicBezTo>
                <a:cubicBezTo>
                  <a:pt x="6371" y="690"/>
                  <a:pt x="6370" y="691"/>
                  <a:pt x="6368" y="694"/>
                </a:cubicBezTo>
                <a:cubicBezTo>
                  <a:pt x="6366" y="696"/>
                  <a:pt x="6365" y="698"/>
                  <a:pt x="6365" y="699"/>
                </a:cubicBezTo>
                <a:close/>
                <a:moveTo>
                  <a:pt x="6378" y="681"/>
                </a:moveTo>
                <a:lnTo>
                  <a:pt x="6382" y="677"/>
                </a:lnTo>
                <a:cubicBezTo>
                  <a:pt x="6384" y="674"/>
                  <a:pt x="6386" y="672"/>
                  <a:pt x="6386" y="671"/>
                </a:cubicBezTo>
                <a:lnTo>
                  <a:pt x="6386" y="671"/>
                </a:lnTo>
                <a:lnTo>
                  <a:pt x="6385" y="671"/>
                </a:lnTo>
                <a:cubicBezTo>
                  <a:pt x="6384" y="671"/>
                  <a:pt x="6383" y="672"/>
                  <a:pt x="6381" y="675"/>
                </a:cubicBezTo>
                <a:cubicBezTo>
                  <a:pt x="6379" y="679"/>
                  <a:pt x="6378" y="680"/>
                  <a:pt x="6378" y="681"/>
                </a:cubicBezTo>
                <a:close/>
                <a:moveTo>
                  <a:pt x="6382" y="612"/>
                </a:moveTo>
                <a:cubicBezTo>
                  <a:pt x="6383" y="612"/>
                  <a:pt x="6383" y="611"/>
                  <a:pt x="6384" y="610"/>
                </a:cubicBezTo>
                <a:cubicBezTo>
                  <a:pt x="6385" y="609"/>
                  <a:pt x="6385" y="608"/>
                  <a:pt x="6385" y="608"/>
                </a:cubicBezTo>
                <a:cubicBezTo>
                  <a:pt x="6385" y="606"/>
                  <a:pt x="6384" y="606"/>
                  <a:pt x="6383" y="606"/>
                </a:cubicBezTo>
                <a:cubicBezTo>
                  <a:pt x="6382" y="606"/>
                  <a:pt x="6381" y="607"/>
                  <a:pt x="6381" y="608"/>
                </a:cubicBezTo>
                <a:cubicBezTo>
                  <a:pt x="6381" y="611"/>
                  <a:pt x="6381" y="612"/>
                  <a:pt x="6382" y="612"/>
                </a:cubicBezTo>
                <a:close/>
                <a:moveTo>
                  <a:pt x="6380" y="517"/>
                </a:moveTo>
                <a:cubicBezTo>
                  <a:pt x="6381" y="517"/>
                  <a:pt x="6383" y="516"/>
                  <a:pt x="6387" y="514"/>
                </a:cubicBezTo>
                <a:cubicBezTo>
                  <a:pt x="6392" y="510"/>
                  <a:pt x="6396" y="507"/>
                  <a:pt x="6397" y="506"/>
                </a:cubicBezTo>
                <a:cubicBezTo>
                  <a:pt x="6396" y="506"/>
                  <a:pt x="6396" y="506"/>
                  <a:pt x="6394" y="507"/>
                </a:cubicBezTo>
                <a:cubicBezTo>
                  <a:pt x="6393" y="507"/>
                  <a:pt x="6391" y="508"/>
                  <a:pt x="6388" y="510"/>
                </a:cubicBezTo>
                <a:cubicBezTo>
                  <a:pt x="6386" y="511"/>
                  <a:pt x="6384" y="513"/>
                  <a:pt x="6382" y="514"/>
                </a:cubicBezTo>
                <a:cubicBezTo>
                  <a:pt x="6380" y="516"/>
                  <a:pt x="6379" y="517"/>
                  <a:pt x="6379" y="517"/>
                </a:cubicBezTo>
                <a:lnTo>
                  <a:pt x="6380" y="517"/>
                </a:lnTo>
                <a:close/>
                <a:moveTo>
                  <a:pt x="6376" y="634"/>
                </a:moveTo>
                <a:cubicBezTo>
                  <a:pt x="6376" y="634"/>
                  <a:pt x="6377" y="633"/>
                  <a:pt x="6378" y="629"/>
                </a:cubicBezTo>
                <a:cubicBezTo>
                  <a:pt x="6380" y="623"/>
                  <a:pt x="6381" y="619"/>
                  <a:pt x="6381" y="617"/>
                </a:cubicBezTo>
                <a:lnTo>
                  <a:pt x="6381" y="616"/>
                </a:lnTo>
                <a:cubicBezTo>
                  <a:pt x="6381" y="616"/>
                  <a:pt x="6380" y="619"/>
                  <a:pt x="6378" y="623"/>
                </a:cubicBezTo>
                <a:cubicBezTo>
                  <a:pt x="6376" y="630"/>
                  <a:pt x="6375" y="633"/>
                  <a:pt x="6375" y="634"/>
                </a:cubicBezTo>
                <a:lnTo>
                  <a:pt x="6376" y="634"/>
                </a:lnTo>
                <a:close/>
                <a:moveTo>
                  <a:pt x="6366" y="665"/>
                </a:moveTo>
                <a:cubicBezTo>
                  <a:pt x="6367" y="665"/>
                  <a:pt x="6368" y="664"/>
                  <a:pt x="6368" y="663"/>
                </a:cubicBezTo>
                <a:cubicBezTo>
                  <a:pt x="6369" y="662"/>
                  <a:pt x="6370" y="661"/>
                  <a:pt x="6370" y="661"/>
                </a:cubicBezTo>
                <a:cubicBezTo>
                  <a:pt x="6370" y="658"/>
                  <a:pt x="6371" y="655"/>
                  <a:pt x="6373" y="653"/>
                </a:cubicBezTo>
                <a:cubicBezTo>
                  <a:pt x="6375" y="648"/>
                  <a:pt x="6378" y="645"/>
                  <a:pt x="6380" y="645"/>
                </a:cubicBezTo>
                <a:cubicBezTo>
                  <a:pt x="6381" y="645"/>
                  <a:pt x="6381" y="645"/>
                  <a:pt x="6382" y="646"/>
                </a:cubicBezTo>
                <a:cubicBezTo>
                  <a:pt x="6383" y="646"/>
                  <a:pt x="6383" y="646"/>
                  <a:pt x="6384" y="646"/>
                </a:cubicBezTo>
                <a:cubicBezTo>
                  <a:pt x="6384" y="646"/>
                  <a:pt x="6383" y="645"/>
                  <a:pt x="6382" y="644"/>
                </a:cubicBezTo>
                <a:cubicBezTo>
                  <a:pt x="6381" y="642"/>
                  <a:pt x="6381" y="641"/>
                  <a:pt x="6381" y="639"/>
                </a:cubicBezTo>
                <a:lnTo>
                  <a:pt x="6381" y="637"/>
                </a:lnTo>
                <a:cubicBezTo>
                  <a:pt x="6381" y="637"/>
                  <a:pt x="6381" y="637"/>
                  <a:pt x="6380" y="637"/>
                </a:cubicBezTo>
                <a:cubicBezTo>
                  <a:pt x="6378" y="637"/>
                  <a:pt x="6377" y="638"/>
                  <a:pt x="6377" y="641"/>
                </a:cubicBezTo>
                <a:cubicBezTo>
                  <a:pt x="6377" y="643"/>
                  <a:pt x="6376" y="644"/>
                  <a:pt x="6375" y="644"/>
                </a:cubicBezTo>
                <a:cubicBezTo>
                  <a:pt x="6374" y="645"/>
                  <a:pt x="6372" y="645"/>
                  <a:pt x="6371" y="645"/>
                </a:cubicBezTo>
                <a:cubicBezTo>
                  <a:pt x="6370" y="646"/>
                  <a:pt x="6369" y="646"/>
                  <a:pt x="6368" y="646"/>
                </a:cubicBezTo>
                <a:lnTo>
                  <a:pt x="6367" y="646"/>
                </a:lnTo>
                <a:cubicBezTo>
                  <a:pt x="6367" y="647"/>
                  <a:pt x="6368" y="648"/>
                  <a:pt x="6369" y="650"/>
                </a:cubicBezTo>
                <a:cubicBezTo>
                  <a:pt x="6370" y="651"/>
                  <a:pt x="6370" y="652"/>
                  <a:pt x="6370" y="653"/>
                </a:cubicBezTo>
                <a:cubicBezTo>
                  <a:pt x="6370" y="653"/>
                  <a:pt x="6370" y="653"/>
                  <a:pt x="6369" y="653"/>
                </a:cubicBezTo>
                <a:cubicBezTo>
                  <a:pt x="6368" y="653"/>
                  <a:pt x="6367" y="654"/>
                  <a:pt x="6366" y="654"/>
                </a:cubicBezTo>
                <a:lnTo>
                  <a:pt x="6365" y="662"/>
                </a:lnTo>
                <a:cubicBezTo>
                  <a:pt x="6365" y="664"/>
                  <a:pt x="6365" y="665"/>
                  <a:pt x="6366" y="665"/>
                </a:cubicBezTo>
                <a:close/>
                <a:moveTo>
                  <a:pt x="6346" y="658"/>
                </a:moveTo>
                <a:cubicBezTo>
                  <a:pt x="6348" y="658"/>
                  <a:pt x="6349" y="657"/>
                  <a:pt x="6349" y="656"/>
                </a:cubicBezTo>
                <a:cubicBezTo>
                  <a:pt x="6349" y="654"/>
                  <a:pt x="6348" y="653"/>
                  <a:pt x="6348" y="653"/>
                </a:cubicBezTo>
                <a:cubicBezTo>
                  <a:pt x="6347" y="653"/>
                  <a:pt x="6346" y="654"/>
                  <a:pt x="6346" y="655"/>
                </a:cubicBezTo>
                <a:cubicBezTo>
                  <a:pt x="6345" y="656"/>
                  <a:pt x="6345" y="657"/>
                  <a:pt x="6345" y="657"/>
                </a:cubicBezTo>
                <a:cubicBezTo>
                  <a:pt x="6345" y="658"/>
                  <a:pt x="6346" y="658"/>
                  <a:pt x="6346" y="658"/>
                </a:cubicBezTo>
                <a:close/>
                <a:moveTo>
                  <a:pt x="6299" y="719"/>
                </a:moveTo>
                <a:cubicBezTo>
                  <a:pt x="6301" y="718"/>
                  <a:pt x="6302" y="717"/>
                  <a:pt x="6302" y="715"/>
                </a:cubicBezTo>
                <a:cubicBezTo>
                  <a:pt x="6302" y="715"/>
                  <a:pt x="6301" y="714"/>
                  <a:pt x="6301" y="713"/>
                </a:cubicBezTo>
                <a:cubicBezTo>
                  <a:pt x="6301" y="713"/>
                  <a:pt x="6300" y="712"/>
                  <a:pt x="6299" y="712"/>
                </a:cubicBezTo>
                <a:cubicBezTo>
                  <a:pt x="6298" y="712"/>
                  <a:pt x="6297" y="714"/>
                  <a:pt x="6297" y="717"/>
                </a:cubicBezTo>
                <a:cubicBezTo>
                  <a:pt x="6297" y="718"/>
                  <a:pt x="6298" y="719"/>
                  <a:pt x="6298" y="719"/>
                </a:cubicBezTo>
                <a:lnTo>
                  <a:pt x="6299" y="719"/>
                </a:lnTo>
                <a:close/>
                <a:moveTo>
                  <a:pt x="6291" y="720"/>
                </a:moveTo>
                <a:cubicBezTo>
                  <a:pt x="6291" y="720"/>
                  <a:pt x="6292" y="720"/>
                  <a:pt x="6293" y="719"/>
                </a:cubicBezTo>
                <a:cubicBezTo>
                  <a:pt x="6293" y="718"/>
                  <a:pt x="6293" y="717"/>
                  <a:pt x="6293" y="716"/>
                </a:cubicBezTo>
                <a:cubicBezTo>
                  <a:pt x="6293" y="715"/>
                  <a:pt x="6292" y="714"/>
                  <a:pt x="6291" y="714"/>
                </a:cubicBezTo>
                <a:cubicBezTo>
                  <a:pt x="6291" y="714"/>
                  <a:pt x="6290" y="715"/>
                  <a:pt x="6290" y="717"/>
                </a:cubicBezTo>
                <a:cubicBezTo>
                  <a:pt x="6290" y="719"/>
                  <a:pt x="6291" y="720"/>
                  <a:pt x="6291" y="720"/>
                </a:cubicBezTo>
                <a:close/>
                <a:moveTo>
                  <a:pt x="6286" y="727"/>
                </a:moveTo>
                <a:cubicBezTo>
                  <a:pt x="6286" y="727"/>
                  <a:pt x="6287" y="726"/>
                  <a:pt x="6289" y="725"/>
                </a:cubicBezTo>
                <a:cubicBezTo>
                  <a:pt x="6290" y="725"/>
                  <a:pt x="6291" y="724"/>
                  <a:pt x="6291" y="723"/>
                </a:cubicBezTo>
                <a:lnTo>
                  <a:pt x="6290" y="723"/>
                </a:lnTo>
                <a:cubicBezTo>
                  <a:pt x="6289" y="723"/>
                  <a:pt x="6288" y="723"/>
                  <a:pt x="6287" y="724"/>
                </a:cubicBezTo>
                <a:cubicBezTo>
                  <a:pt x="6286" y="725"/>
                  <a:pt x="6286" y="726"/>
                  <a:pt x="6286" y="727"/>
                </a:cubicBezTo>
                <a:close/>
                <a:moveTo>
                  <a:pt x="6274" y="730"/>
                </a:moveTo>
                <a:cubicBezTo>
                  <a:pt x="6275" y="730"/>
                  <a:pt x="6276" y="729"/>
                  <a:pt x="6276" y="728"/>
                </a:cubicBezTo>
                <a:cubicBezTo>
                  <a:pt x="6277" y="728"/>
                  <a:pt x="6278" y="727"/>
                  <a:pt x="6278" y="726"/>
                </a:cubicBezTo>
                <a:lnTo>
                  <a:pt x="6278" y="726"/>
                </a:lnTo>
                <a:cubicBezTo>
                  <a:pt x="6277" y="726"/>
                  <a:pt x="6276" y="726"/>
                  <a:pt x="6275" y="727"/>
                </a:cubicBezTo>
                <a:cubicBezTo>
                  <a:pt x="6273" y="727"/>
                  <a:pt x="6273" y="728"/>
                  <a:pt x="6273" y="728"/>
                </a:cubicBezTo>
                <a:cubicBezTo>
                  <a:pt x="6272" y="728"/>
                  <a:pt x="6272" y="729"/>
                  <a:pt x="6272" y="729"/>
                </a:cubicBezTo>
                <a:cubicBezTo>
                  <a:pt x="6272" y="729"/>
                  <a:pt x="6273" y="730"/>
                  <a:pt x="6274" y="730"/>
                </a:cubicBezTo>
                <a:close/>
                <a:moveTo>
                  <a:pt x="6271" y="745"/>
                </a:moveTo>
                <a:cubicBezTo>
                  <a:pt x="6277" y="745"/>
                  <a:pt x="6283" y="743"/>
                  <a:pt x="6288" y="740"/>
                </a:cubicBezTo>
                <a:cubicBezTo>
                  <a:pt x="6290" y="738"/>
                  <a:pt x="6292" y="737"/>
                  <a:pt x="6293" y="737"/>
                </a:cubicBezTo>
                <a:lnTo>
                  <a:pt x="6295" y="739"/>
                </a:lnTo>
                <a:cubicBezTo>
                  <a:pt x="6296" y="739"/>
                  <a:pt x="6296" y="738"/>
                  <a:pt x="6296" y="736"/>
                </a:cubicBezTo>
                <a:cubicBezTo>
                  <a:pt x="6296" y="735"/>
                  <a:pt x="6297" y="734"/>
                  <a:pt x="6299" y="734"/>
                </a:cubicBezTo>
                <a:cubicBezTo>
                  <a:pt x="6300" y="734"/>
                  <a:pt x="6305" y="731"/>
                  <a:pt x="6313" y="726"/>
                </a:cubicBezTo>
                <a:cubicBezTo>
                  <a:pt x="6321" y="720"/>
                  <a:pt x="6330" y="714"/>
                  <a:pt x="6339" y="706"/>
                </a:cubicBezTo>
                <a:cubicBezTo>
                  <a:pt x="6348" y="699"/>
                  <a:pt x="6355" y="693"/>
                  <a:pt x="6360" y="688"/>
                </a:cubicBezTo>
                <a:cubicBezTo>
                  <a:pt x="6369" y="679"/>
                  <a:pt x="6377" y="668"/>
                  <a:pt x="6383" y="657"/>
                </a:cubicBezTo>
                <a:cubicBezTo>
                  <a:pt x="6389" y="648"/>
                  <a:pt x="6392" y="640"/>
                  <a:pt x="6392" y="636"/>
                </a:cubicBezTo>
                <a:lnTo>
                  <a:pt x="6392" y="632"/>
                </a:lnTo>
                <a:cubicBezTo>
                  <a:pt x="6392" y="631"/>
                  <a:pt x="6392" y="630"/>
                  <a:pt x="6393" y="630"/>
                </a:cubicBezTo>
                <a:cubicBezTo>
                  <a:pt x="6394" y="630"/>
                  <a:pt x="6394" y="628"/>
                  <a:pt x="6394" y="625"/>
                </a:cubicBezTo>
                <a:cubicBezTo>
                  <a:pt x="6393" y="621"/>
                  <a:pt x="6393" y="619"/>
                  <a:pt x="6392" y="619"/>
                </a:cubicBezTo>
                <a:cubicBezTo>
                  <a:pt x="6391" y="619"/>
                  <a:pt x="6391" y="619"/>
                  <a:pt x="6391" y="620"/>
                </a:cubicBezTo>
                <a:lnTo>
                  <a:pt x="6392" y="625"/>
                </a:lnTo>
                <a:cubicBezTo>
                  <a:pt x="6391" y="625"/>
                  <a:pt x="6391" y="625"/>
                  <a:pt x="6390" y="625"/>
                </a:cubicBezTo>
                <a:cubicBezTo>
                  <a:pt x="6389" y="625"/>
                  <a:pt x="6389" y="626"/>
                  <a:pt x="6388" y="627"/>
                </a:cubicBezTo>
                <a:lnTo>
                  <a:pt x="6388" y="630"/>
                </a:lnTo>
                <a:lnTo>
                  <a:pt x="6389" y="632"/>
                </a:lnTo>
                <a:cubicBezTo>
                  <a:pt x="6389" y="634"/>
                  <a:pt x="6388" y="635"/>
                  <a:pt x="6387" y="635"/>
                </a:cubicBezTo>
                <a:cubicBezTo>
                  <a:pt x="6385" y="636"/>
                  <a:pt x="6384" y="638"/>
                  <a:pt x="6384" y="640"/>
                </a:cubicBezTo>
                <a:lnTo>
                  <a:pt x="6385" y="644"/>
                </a:lnTo>
                <a:cubicBezTo>
                  <a:pt x="6385" y="649"/>
                  <a:pt x="6384" y="652"/>
                  <a:pt x="6383" y="654"/>
                </a:cubicBezTo>
                <a:cubicBezTo>
                  <a:pt x="6381" y="656"/>
                  <a:pt x="6380" y="658"/>
                  <a:pt x="6380" y="658"/>
                </a:cubicBezTo>
                <a:lnTo>
                  <a:pt x="6380" y="657"/>
                </a:lnTo>
                <a:lnTo>
                  <a:pt x="6383" y="650"/>
                </a:lnTo>
                <a:cubicBezTo>
                  <a:pt x="6383" y="649"/>
                  <a:pt x="6383" y="649"/>
                  <a:pt x="6382" y="649"/>
                </a:cubicBezTo>
                <a:cubicBezTo>
                  <a:pt x="6380" y="649"/>
                  <a:pt x="6378" y="650"/>
                  <a:pt x="6377" y="652"/>
                </a:cubicBezTo>
                <a:cubicBezTo>
                  <a:pt x="6375" y="654"/>
                  <a:pt x="6375" y="657"/>
                  <a:pt x="6374" y="660"/>
                </a:cubicBezTo>
                <a:cubicBezTo>
                  <a:pt x="6374" y="661"/>
                  <a:pt x="6374" y="662"/>
                  <a:pt x="6374" y="662"/>
                </a:cubicBezTo>
                <a:cubicBezTo>
                  <a:pt x="6374" y="662"/>
                  <a:pt x="6373" y="663"/>
                  <a:pt x="6373" y="663"/>
                </a:cubicBezTo>
                <a:cubicBezTo>
                  <a:pt x="6371" y="663"/>
                  <a:pt x="6367" y="666"/>
                  <a:pt x="6363" y="673"/>
                </a:cubicBezTo>
                <a:cubicBezTo>
                  <a:pt x="6355" y="681"/>
                  <a:pt x="6345" y="691"/>
                  <a:pt x="6331" y="702"/>
                </a:cubicBezTo>
                <a:cubicBezTo>
                  <a:pt x="6325" y="706"/>
                  <a:pt x="6321" y="709"/>
                  <a:pt x="6320" y="709"/>
                </a:cubicBezTo>
                <a:cubicBezTo>
                  <a:pt x="6318" y="709"/>
                  <a:pt x="6316" y="710"/>
                  <a:pt x="6313" y="713"/>
                </a:cubicBezTo>
                <a:cubicBezTo>
                  <a:pt x="6311" y="715"/>
                  <a:pt x="6309" y="716"/>
                  <a:pt x="6308" y="716"/>
                </a:cubicBezTo>
                <a:lnTo>
                  <a:pt x="6307" y="716"/>
                </a:lnTo>
                <a:lnTo>
                  <a:pt x="6307" y="716"/>
                </a:lnTo>
                <a:cubicBezTo>
                  <a:pt x="6307" y="714"/>
                  <a:pt x="6308" y="713"/>
                  <a:pt x="6311" y="711"/>
                </a:cubicBezTo>
                <a:cubicBezTo>
                  <a:pt x="6316" y="709"/>
                  <a:pt x="6319" y="706"/>
                  <a:pt x="6321" y="703"/>
                </a:cubicBezTo>
                <a:lnTo>
                  <a:pt x="6324" y="701"/>
                </a:lnTo>
                <a:cubicBezTo>
                  <a:pt x="6324" y="701"/>
                  <a:pt x="6325" y="701"/>
                  <a:pt x="6325" y="701"/>
                </a:cubicBezTo>
                <a:cubicBezTo>
                  <a:pt x="6325" y="701"/>
                  <a:pt x="6326" y="701"/>
                  <a:pt x="6327" y="700"/>
                </a:cubicBezTo>
                <a:cubicBezTo>
                  <a:pt x="6328" y="699"/>
                  <a:pt x="6329" y="698"/>
                  <a:pt x="6331" y="696"/>
                </a:cubicBezTo>
                <a:cubicBezTo>
                  <a:pt x="6333" y="694"/>
                  <a:pt x="6334" y="692"/>
                  <a:pt x="6335" y="691"/>
                </a:cubicBezTo>
                <a:lnTo>
                  <a:pt x="6337" y="688"/>
                </a:lnTo>
                <a:cubicBezTo>
                  <a:pt x="6337" y="686"/>
                  <a:pt x="6338" y="684"/>
                  <a:pt x="6340" y="682"/>
                </a:cubicBezTo>
                <a:cubicBezTo>
                  <a:pt x="6343" y="680"/>
                  <a:pt x="6344" y="679"/>
                  <a:pt x="6345" y="679"/>
                </a:cubicBezTo>
                <a:cubicBezTo>
                  <a:pt x="6345" y="679"/>
                  <a:pt x="6344" y="680"/>
                  <a:pt x="6342" y="682"/>
                </a:cubicBezTo>
                <a:cubicBezTo>
                  <a:pt x="6340" y="684"/>
                  <a:pt x="6339" y="686"/>
                  <a:pt x="6339" y="688"/>
                </a:cubicBezTo>
                <a:cubicBezTo>
                  <a:pt x="6339" y="688"/>
                  <a:pt x="6340" y="689"/>
                  <a:pt x="6341" y="689"/>
                </a:cubicBezTo>
                <a:cubicBezTo>
                  <a:pt x="6342" y="689"/>
                  <a:pt x="6343" y="688"/>
                  <a:pt x="6343" y="688"/>
                </a:cubicBezTo>
                <a:cubicBezTo>
                  <a:pt x="6344" y="687"/>
                  <a:pt x="6345" y="686"/>
                  <a:pt x="6345" y="684"/>
                </a:cubicBezTo>
                <a:cubicBezTo>
                  <a:pt x="6346" y="683"/>
                  <a:pt x="6346" y="682"/>
                  <a:pt x="6346" y="681"/>
                </a:cubicBezTo>
                <a:lnTo>
                  <a:pt x="6345" y="677"/>
                </a:lnTo>
                <a:cubicBezTo>
                  <a:pt x="6345" y="677"/>
                  <a:pt x="6345" y="677"/>
                  <a:pt x="6346" y="677"/>
                </a:cubicBezTo>
                <a:lnTo>
                  <a:pt x="6349" y="677"/>
                </a:lnTo>
                <a:cubicBezTo>
                  <a:pt x="6350" y="677"/>
                  <a:pt x="6350" y="676"/>
                  <a:pt x="6352" y="674"/>
                </a:cubicBezTo>
                <a:lnTo>
                  <a:pt x="6355" y="672"/>
                </a:lnTo>
                <a:cubicBezTo>
                  <a:pt x="6355" y="672"/>
                  <a:pt x="6354" y="674"/>
                  <a:pt x="6352" y="676"/>
                </a:cubicBezTo>
                <a:cubicBezTo>
                  <a:pt x="6350" y="679"/>
                  <a:pt x="6349" y="681"/>
                  <a:pt x="6349" y="683"/>
                </a:cubicBezTo>
                <a:cubicBezTo>
                  <a:pt x="6350" y="683"/>
                  <a:pt x="6352" y="680"/>
                  <a:pt x="6355" y="675"/>
                </a:cubicBezTo>
                <a:cubicBezTo>
                  <a:pt x="6357" y="673"/>
                  <a:pt x="6358" y="671"/>
                  <a:pt x="6359" y="670"/>
                </a:cubicBezTo>
                <a:lnTo>
                  <a:pt x="6363" y="668"/>
                </a:lnTo>
                <a:cubicBezTo>
                  <a:pt x="6363" y="668"/>
                  <a:pt x="6364" y="668"/>
                  <a:pt x="6364" y="667"/>
                </a:cubicBezTo>
                <a:cubicBezTo>
                  <a:pt x="6364" y="666"/>
                  <a:pt x="6363" y="665"/>
                  <a:pt x="6362" y="665"/>
                </a:cubicBezTo>
                <a:lnTo>
                  <a:pt x="6355" y="666"/>
                </a:lnTo>
                <a:cubicBezTo>
                  <a:pt x="6355" y="666"/>
                  <a:pt x="6356" y="665"/>
                  <a:pt x="6357" y="664"/>
                </a:cubicBezTo>
                <a:cubicBezTo>
                  <a:pt x="6359" y="663"/>
                  <a:pt x="6360" y="662"/>
                  <a:pt x="6361" y="661"/>
                </a:cubicBezTo>
                <a:cubicBezTo>
                  <a:pt x="6362" y="659"/>
                  <a:pt x="6363" y="658"/>
                  <a:pt x="6363" y="657"/>
                </a:cubicBezTo>
                <a:cubicBezTo>
                  <a:pt x="6364" y="656"/>
                  <a:pt x="6364" y="656"/>
                  <a:pt x="6365" y="655"/>
                </a:cubicBezTo>
                <a:cubicBezTo>
                  <a:pt x="6359" y="660"/>
                  <a:pt x="6351" y="668"/>
                  <a:pt x="6340" y="679"/>
                </a:cubicBezTo>
                <a:cubicBezTo>
                  <a:pt x="6324" y="696"/>
                  <a:pt x="6315" y="705"/>
                  <a:pt x="6312" y="705"/>
                </a:cubicBezTo>
                <a:cubicBezTo>
                  <a:pt x="6311" y="705"/>
                  <a:pt x="6310" y="706"/>
                  <a:pt x="6309" y="708"/>
                </a:cubicBezTo>
                <a:cubicBezTo>
                  <a:pt x="6308" y="709"/>
                  <a:pt x="6307" y="711"/>
                  <a:pt x="6306" y="713"/>
                </a:cubicBezTo>
                <a:cubicBezTo>
                  <a:pt x="6304" y="719"/>
                  <a:pt x="6302" y="722"/>
                  <a:pt x="6300" y="722"/>
                </a:cubicBezTo>
                <a:cubicBezTo>
                  <a:pt x="6298" y="723"/>
                  <a:pt x="6296" y="724"/>
                  <a:pt x="6296" y="725"/>
                </a:cubicBezTo>
                <a:cubicBezTo>
                  <a:pt x="6296" y="725"/>
                  <a:pt x="6294" y="727"/>
                  <a:pt x="6290" y="728"/>
                </a:cubicBezTo>
                <a:cubicBezTo>
                  <a:pt x="6288" y="729"/>
                  <a:pt x="6286" y="729"/>
                  <a:pt x="6285" y="730"/>
                </a:cubicBezTo>
                <a:cubicBezTo>
                  <a:pt x="6284" y="731"/>
                  <a:pt x="6283" y="731"/>
                  <a:pt x="6283" y="731"/>
                </a:cubicBezTo>
                <a:cubicBezTo>
                  <a:pt x="6283" y="732"/>
                  <a:pt x="6282" y="732"/>
                  <a:pt x="6280" y="734"/>
                </a:cubicBezTo>
                <a:cubicBezTo>
                  <a:pt x="6278" y="735"/>
                  <a:pt x="6275" y="736"/>
                  <a:pt x="6272" y="737"/>
                </a:cubicBezTo>
                <a:cubicBezTo>
                  <a:pt x="6266" y="740"/>
                  <a:pt x="6263" y="741"/>
                  <a:pt x="6263" y="742"/>
                </a:cubicBezTo>
                <a:cubicBezTo>
                  <a:pt x="6263" y="744"/>
                  <a:pt x="6266" y="745"/>
                  <a:pt x="6271" y="745"/>
                </a:cubicBezTo>
                <a:close/>
                <a:moveTo>
                  <a:pt x="6201" y="482"/>
                </a:moveTo>
                <a:cubicBezTo>
                  <a:pt x="6201" y="482"/>
                  <a:pt x="6202" y="482"/>
                  <a:pt x="6202" y="481"/>
                </a:cubicBezTo>
                <a:cubicBezTo>
                  <a:pt x="6203" y="480"/>
                  <a:pt x="6204" y="480"/>
                  <a:pt x="6204" y="479"/>
                </a:cubicBezTo>
                <a:cubicBezTo>
                  <a:pt x="6204" y="478"/>
                  <a:pt x="6203" y="478"/>
                  <a:pt x="6202" y="478"/>
                </a:cubicBezTo>
                <a:cubicBezTo>
                  <a:pt x="6201" y="478"/>
                  <a:pt x="6200" y="478"/>
                  <a:pt x="6200" y="480"/>
                </a:cubicBezTo>
                <a:cubicBezTo>
                  <a:pt x="6200" y="482"/>
                  <a:pt x="6200" y="482"/>
                  <a:pt x="6201" y="482"/>
                </a:cubicBezTo>
                <a:close/>
                <a:moveTo>
                  <a:pt x="6232" y="484"/>
                </a:moveTo>
                <a:cubicBezTo>
                  <a:pt x="6235" y="484"/>
                  <a:pt x="6238" y="483"/>
                  <a:pt x="6241" y="482"/>
                </a:cubicBezTo>
                <a:cubicBezTo>
                  <a:pt x="6242" y="482"/>
                  <a:pt x="6242" y="481"/>
                  <a:pt x="6242" y="481"/>
                </a:cubicBezTo>
                <a:cubicBezTo>
                  <a:pt x="6242" y="480"/>
                  <a:pt x="6242" y="480"/>
                  <a:pt x="6241" y="480"/>
                </a:cubicBezTo>
                <a:lnTo>
                  <a:pt x="6237" y="481"/>
                </a:lnTo>
                <a:cubicBezTo>
                  <a:pt x="6231" y="481"/>
                  <a:pt x="6228" y="480"/>
                  <a:pt x="6228" y="479"/>
                </a:cubicBezTo>
                <a:cubicBezTo>
                  <a:pt x="6228" y="478"/>
                  <a:pt x="6227" y="478"/>
                  <a:pt x="6225" y="478"/>
                </a:cubicBezTo>
                <a:cubicBezTo>
                  <a:pt x="6223" y="478"/>
                  <a:pt x="6222" y="478"/>
                  <a:pt x="6222" y="480"/>
                </a:cubicBezTo>
                <a:cubicBezTo>
                  <a:pt x="6222" y="481"/>
                  <a:pt x="6223" y="482"/>
                  <a:pt x="6225" y="483"/>
                </a:cubicBezTo>
                <a:cubicBezTo>
                  <a:pt x="6227" y="484"/>
                  <a:pt x="6229" y="484"/>
                  <a:pt x="6231" y="484"/>
                </a:cubicBezTo>
                <a:lnTo>
                  <a:pt x="6232" y="484"/>
                </a:lnTo>
                <a:close/>
                <a:moveTo>
                  <a:pt x="6231" y="479"/>
                </a:moveTo>
                <a:cubicBezTo>
                  <a:pt x="6232" y="479"/>
                  <a:pt x="6233" y="478"/>
                  <a:pt x="6234" y="478"/>
                </a:cubicBezTo>
                <a:cubicBezTo>
                  <a:pt x="6235" y="478"/>
                  <a:pt x="6236" y="478"/>
                  <a:pt x="6236" y="477"/>
                </a:cubicBezTo>
                <a:cubicBezTo>
                  <a:pt x="6237" y="477"/>
                  <a:pt x="6237" y="477"/>
                  <a:pt x="6237" y="476"/>
                </a:cubicBezTo>
                <a:cubicBezTo>
                  <a:pt x="6237" y="475"/>
                  <a:pt x="6236" y="475"/>
                  <a:pt x="6234" y="475"/>
                </a:cubicBezTo>
                <a:cubicBezTo>
                  <a:pt x="6232" y="475"/>
                  <a:pt x="6231" y="476"/>
                  <a:pt x="6231" y="478"/>
                </a:cubicBezTo>
                <a:cubicBezTo>
                  <a:pt x="6231" y="478"/>
                  <a:pt x="6231" y="478"/>
                  <a:pt x="6231" y="479"/>
                </a:cubicBezTo>
                <a:close/>
                <a:moveTo>
                  <a:pt x="6291" y="492"/>
                </a:moveTo>
                <a:lnTo>
                  <a:pt x="6293" y="486"/>
                </a:lnTo>
                <a:lnTo>
                  <a:pt x="6293" y="485"/>
                </a:lnTo>
                <a:cubicBezTo>
                  <a:pt x="6293" y="485"/>
                  <a:pt x="6292" y="485"/>
                  <a:pt x="6292" y="486"/>
                </a:cubicBezTo>
                <a:cubicBezTo>
                  <a:pt x="6291" y="486"/>
                  <a:pt x="6291" y="487"/>
                  <a:pt x="6290" y="487"/>
                </a:cubicBezTo>
                <a:cubicBezTo>
                  <a:pt x="6290" y="488"/>
                  <a:pt x="6289" y="489"/>
                  <a:pt x="6289" y="490"/>
                </a:cubicBezTo>
                <a:cubicBezTo>
                  <a:pt x="6289" y="491"/>
                  <a:pt x="6289" y="492"/>
                  <a:pt x="6290" y="492"/>
                </a:cubicBezTo>
                <a:lnTo>
                  <a:pt x="6291" y="492"/>
                </a:lnTo>
                <a:close/>
                <a:moveTo>
                  <a:pt x="6268" y="572"/>
                </a:moveTo>
                <a:cubicBezTo>
                  <a:pt x="6269" y="572"/>
                  <a:pt x="6270" y="571"/>
                  <a:pt x="6270" y="569"/>
                </a:cubicBezTo>
                <a:lnTo>
                  <a:pt x="6269" y="565"/>
                </a:lnTo>
                <a:cubicBezTo>
                  <a:pt x="6269" y="565"/>
                  <a:pt x="6269" y="566"/>
                  <a:pt x="6268" y="567"/>
                </a:cubicBezTo>
                <a:cubicBezTo>
                  <a:pt x="6267" y="568"/>
                  <a:pt x="6267" y="569"/>
                  <a:pt x="6267" y="570"/>
                </a:cubicBezTo>
                <a:cubicBezTo>
                  <a:pt x="6267" y="572"/>
                  <a:pt x="6267" y="572"/>
                  <a:pt x="6268" y="572"/>
                </a:cubicBezTo>
                <a:close/>
                <a:moveTo>
                  <a:pt x="6264" y="583"/>
                </a:moveTo>
                <a:cubicBezTo>
                  <a:pt x="6264" y="583"/>
                  <a:pt x="6264" y="583"/>
                  <a:pt x="6265" y="582"/>
                </a:cubicBezTo>
                <a:cubicBezTo>
                  <a:pt x="6266" y="580"/>
                  <a:pt x="6267" y="579"/>
                  <a:pt x="6267" y="578"/>
                </a:cubicBezTo>
                <a:cubicBezTo>
                  <a:pt x="6267" y="578"/>
                  <a:pt x="6268" y="577"/>
                  <a:pt x="6268" y="576"/>
                </a:cubicBezTo>
                <a:cubicBezTo>
                  <a:pt x="6268" y="575"/>
                  <a:pt x="6267" y="575"/>
                  <a:pt x="6267" y="575"/>
                </a:cubicBezTo>
                <a:cubicBezTo>
                  <a:pt x="6267" y="575"/>
                  <a:pt x="6266" y="576"/>
                  <a:pt x="6265" y="577"/>
                </a:cubicBezTo>
                <a:cubicBezTo>
                  <a:pt x="6264" y="579"/>
                  <a:pt x="6264" y="581"/>
                  <a:pt x="6264" y="583"/>
                </a:cubicBezTo>
                <a:close/>
                <a:moveTo>
                  <a:pt x="6262" y="604"/>
                </a:moveTo>
                <a:cubicBezTo>
                  <a:pt x="6262" y="604"/>
                  <a:pt x="6263" y="603"/>
                  <a:pt x="6265" y="602"/>
                </a:cubicBezTo>
                <a:cubicBezTo>
                  <a:pt x="6266" y="601"/>
                  <a:pt x="6267" y="600"/>
                  <a:pt x="6267" y="599"/>
                </a:cubicBezTo>
                <a:lnTo>
                  <a:pt x="6267" y="599"/>
                </a:lnTo>
                <a:cubicBezTo>
                  <a:pt x="6267" y="598"/>
                  <a:pt x="6266" y="598"/>
                  <a:pt x="6266" y="598"/>
                </a:cubicBezTo>
                <a:cubicBezTo>
                  <a:pt x="6264" y="598"/>
                  <a:pt x="6263" y="599"/>
                  <a:pt x="6262" y="600"/>
                </a:cubicBezTo>
                <a:cubicBezTo>
                  <a:pt x="6262" y="601"/>
                  <a:pt x="6261" y="602"/>
                  <a:pt x="6261" y="603"/>
                </a:cubicBezTo>
                <a:cubicBezTo>
                  <a:pt x="6261" y="603"/>
                  <a:pt x="6261" y="604"/>
                  <a:pt x="6262" y="604"/>
                </a:cubicBezTo>
                <a:close/>
                <a:moveTo>
                  <a:pt x="6258" y="600"/>
                </a:moveTo>
                <a:cubicBezTo>
                  <a:pt x="6258" y="600"/>
                  <a:pt x="6259" y="600"/>
                  <a:pt x="6259" y="598"/>
                </a:cubicBezTo>
                <a:cubicBezTo>
                  <a:pt x="6260" y="597"/>
                  <a:pt x="6261" y="596"/>
                  <a:pt x="6261" y="595"/>
                </a:cubicBezTo>
                <a:cubicBezTo>
                  <a:pt x="6261" y="594"/>
                  <a:pt x="6261" y="594"/>
                  <a:pt x="6260" y="594"/>
                </a:cubicBezTo>
                <a:cubicBezTo>
                  <a:pt x="6260" y="594"/>
                  <a:pt x="6259" y="594"/>
                  <a:pt x="6259" y="595"/>
                </a:cubicBezTo>
                <a:cubicBezTo>
                  <a:pt x="6259" y="595"/>
                  <a:pt x="6258" y="596"/>
                  <a:pt x="6258" y="597"/>
                </a:cubicBezTo>
                <a:cubicBezTo>
                  <a:pt x="6257" y="598"/>
                  <a:pt x="6257" y="599"/>
                  <a:pt x="6257" y="600"/>
                </a:cubicBezTo>
                <a:cubicBezTo>
                  <a:pt x="6257" y="600"/>
                  <a:pt x="6257" y="600"/>
                  <a:pt x="6258" y="600"/>
                </a:cubicBezTo>
                <a:close/>
                <a:moveTo>
                  <a:pt x="6266" y="655"/>
                </a:moveTo>
                <a:cubicBezTo>
                  <a:pt x="6266" y="655"/>
                  <a:pt x="6267" y="653"/>
                  <a:pt x="6269" y="649"/>
                </a:cubicBezTo>
                <a:cubicBezTo>
                  <a:pt x="6271" y="645"/>
                  <a:pt x="6272" y="642"/>
                  <a:pt x="6272" y="639"/>
                </a:cubicBezTo>
                <a:lnTo>
                  <a:pt x="6272" y="639"/>
                </a:lnTo>
                <a:cubicBezTo>
                  <a:pt x="6271" y="639"/>
                  <a:pt x="6270" y="640"/>
                  <a:pt x="6269" y="644"/>
                </a:cubicBezTo>
                <a:cubicBezTo>
                  <a:pt x="6267" y="649"/>
                  <a:pt x="6266" y="653"/>
                  <a:pt x="6266" y="654"/>
                </a:cubicBezTo>
                <a:lnTo>
                  <a:pt x="6266" y="655"/>
                </a:lnTo>
                <a:close/>
                <a:moveTo>
                  <a:pt x="6274" y="635"/>
                </a:moveTo>
                <a:cubicBezTo>
                  <a:pt x="6275" y="635"/>
                  <a:pt x="6275" y="635"/>
                  <a:pt x="6276" y="634"/>
                </a:cubicBezTo>
                <a:cubicBezTo>
                  <a:pt x="6276" y="633"/>
                  <a:pt x="6275" y="632"/>
                  <a:pt x="6275" y="632"/>
                </a:cubicBezTo>
                <a:cubicBezTo>
                  <a:pt x="6275" y="631"/>
                  <a:pt x="6274" y="630"/>
                  <a:pt x="6274" y="629"/>
                </a:cubicBezTo>
                <a:lnTo>
                  <a:pt x="6273" y="628"/>
                </a:lnTo>
                <a:cubicBezTo>
                  <a:pt x="6273" y="628"/>
                  <a:pt x="6272" y="629"/>
                  <a:pt x="6272" y="632"/>
                </a:cubicBezTo>
                <a:cubicBezTo>
                  <a:pt x="6272" y="634"/>
                  <a:pt x="6273" y="635"/>
                  <a:pt x="6274" y="635"/>
                </a:cubicBezTo>
                <a:close/>
                <a:moveTo>
                  <a:pt x="6277" y="618"/>
                </a:moveTo>
                <a:cubicBezTo>
                  <a:pt x="6277" y="618"/>
                  <a:pt x="6278" y="616"/>
                  <a:pt x="6280" y="612"/>
                </a:cubicBezTo>
                <a:cubicBezTo>
                  <a:pt x="6282" y="608"/>
                  <a:pt x="6283" y="605"/>
                  <a:pt x="6283" y="603"/>
                </a:cubicBezTo>
                <a:cubicBezTo>
                  <a:pt x="6283" y="602"/>
                  <a:pt x="6283" y="602"/>
                  <a:pt x="6282" y="602"/>
                </a:cubicBezTo>
                <a:cubicBezTo>
                  <a:pt x="6281" y="602"/>
                  <a:pt x="6281" y="603"/>
                  <a:pt x="6280" y="607"/>
                </a:cubicBezTo>
                <a:cubicBezTo>
                  <a:pt x="6278" y="613"/>
                  <a:pt x="6277" y="616"/>
                  <a:pt x="6277" y="617"/>
                </a:cubicBezTo>
                <a:lnTo>
                  <a:pt x="6277" y="618"/>
                </a:lnTo>
                <a:close/>
                <a:moveTo>
                  <a:pt x="6293" y="575"/>
                </a:moveTo>
                <a:cubicBezTo>
                  <a:pt x="6293" y="575"/>
                  <a:pt x="6294" y="574"/>
                  <a:pt x="6294" y="573"/>
                </a:cubicBezTo>
                <a:cubicBezTo>
                  <a:pt x="6295" y="573"/>
                  <a:pt x="6296" y="572"/>
                  <a:pt x="6296" y="571"/>
                </a:cubicBezTo>
                <a:cubicBezTo>
                  <a:pt x="6296" y="571"/>
                  <a:pt x="6295" y="570"/>
                  <a:pt x="6294" y="570"/>
                </a:cubicBezTo>
                <a:cubicBezTo>
                  <a:pt x="6293" y="570"/>
                  <a:pt x="6292" y="571"/>
                  <a:pt x="6292" y="572"/>
                </a:cubicBezTo>
                <a:cubicBezTo>
                  <a:pt x="6292" y="574"/>
                  <a:pt x="6292" y="575"/>
                  <a:pt x="6293" y="575"/>
                </a:cubicBezTo>
                <a:close/>
                <a:moveTo>
                  <a:pt x="6298" y="562"/>
                </a:moveTo>
                <a:lnTo>
                  <a:pt x="6299" y="561"/>
                </a:lnTo>
                <a:cubicBezTo>
                  <a:pt x="6300" y="561"/>
                  <a:pt x="6300" y="559"/>
                  <a:pt x="6300" y="557"/>
                </a:cubicBezTo>
                <a:cubicBezTo>
                  <a:pt x="6300" y="556"/>
                  <a:pt x="6300" y="555"/>
                  <a:pt x="6299" y="555"/>
                </a:cubicBezTo>
                <a:cubicBezTo>
                  <a:pt x="6299" y="555"/>
                  <a:pt x="6298" y="556"/>
                  <a:pt x="6298" y="558"/>
                </a:cubicBezTo>
                <a:cubicBezTo>
                  <a:pt x="6297" y="560"/>
                  <a:pt x="6297" y="561"/>
                  <a:pt x="6297" y="562"/>
                </a:cubicBezTo>
                <a:cubicBezTo>
                  <a:pt x="6297" y="562"/>
                  <a:pt x="6297" y="562"/>
                  <a:pt x="6298" y="562"/>
                </a:cubicBezTo>
                <a:close/>
                <a:moveTo>
                  <a:pt x="6303" y="546"/>
                </a:moveTo>
                <a:cubicBezTo>
                  <a:pt x="6303" y="546"/>
                  <a:pt x="6304" y="545"/>
                  <a:pt x="6305" y="544"/>
                </a:cubicBezTo>
                <a:cubicBezTo>
                  <a:pt x="6306" y="542"/>
                  <a:pt x="6308" y="539"/>
                  <a:pt x="6309" y="535"/>
                </a:cubicBezTo>
                <a:cubicBezTo>
                  <a:pt x="6311" y="531"/>
                  <a:pt x="6313" y="528"/>
                  <a:pt x="6314" y="525"/>
                </a:cubicBezTo>
                <a:cubicBezTo>
                  <a:pt x="6315" y="523"/>
                  <a:pt x="6316" y="521"/>
                  <a:pt x="6316" y="520"/>
                </a:cubicBezTo>
                <a:lnTo>
                  <a:pt x="6316" y="520"/>
                </a:lnTo>
                <a:cubicBezTo>
                  <a:pt x="6315" y="520"/>
                  <a:pt x="6313" y="524"/>
                  <a:pt x="6309" y="531"/>
                </a:cubicBezTo>
                <a:cubicBezTo>
                  <a:pt x="6305" y="540"/>
                  <a:pt x="6303" y="545"/>
                  <a:pt x="6303" y="546"/>
                </a:cubicBezTo>
                <a:close/>
                <a:moveTo>
                  <a:pt x="6317" y="517"/>
                </a:moveTo>
                <a:cubicBezTo>
                  <a:pt x="6317" y="517"/>
                  <a:pt x="6318" y="516"/>
                  <a:pt x="6319" y="514"/>
                </a:cubicBezTo>
                <a:cubicBezTo>
                  <a:pt x="6320" y="512"/>
                  <a:pt x="6321" y="511"/>
                  <a:pt x="6321" y="510"/>
                </a:cubicBezTo>
                <a:cubicBezTo>
                  <a:pt x="6322" y="509"/>
                  <a:pt x="6322" y="508"/>
                  <a:pt x="6322" y="507"/>
                </a:cubicBezTo>
                <a:cubicBezTo>
                  <a:pt x="6322" y="506"/>
                  <a:pt x="6322" y="506"/>
                  <a:pt x="6322" y="506"/>
                </a:cubicBezTo>
                <a:cubicBezTo>
                  <a:pt x="6321" y="506"/>
                  <a:pt x="6320" y="507"/>
                  <a:pt x="6319" y="508"/>
                </a:cubicBezTo>
                <a:cubicBezTo>
                  <a:pt x="6318" y="511"/>
                  <a:pt x="6317" y="514"/>
                  <a:pt x="6317" y="516"/>
                </a:cubicBezTo>
                <a:lnTo>
                  <a:pt x="6317" y="517"/>
                </a:lnTo>
                <a:close/>
                <a:moveTo>
                  <a:pt x="6246" y="723"/>
                </a:moveTo>
                <a:cubicBezTo>
                  <a:pt x="6247" y="723"/>
                  <a:pt x="6247" y="721"/>
                  <a:pt x="6247" y="718"/>
                </a:cubicBezTo>
                <a:cubicBezTo>
                  <a:pt x="6247" y="711"/>
                  <a:pt x="6249" y="700"/>
                  <a:pt x="6253" y="683"/>
                </a:cubicBezTo>
                <a:cubicBezTo>
                  <a:pt x="6264" y="640"/>
                  <a:pt x="6275" y="602"/>
                  <a:pt x="6288" y="568"/>
                </a:cubicBezTo>
                <a:cubicBezTo>
                  <a:pt x="6289" y="563"/>
                  <a:pt x="6290" y="560"/>
                  <a:pt x="6290" y="558"/>
                </a:cubicBezTo>
                <a:cubicBezTo>
                  <a:pt x="6290" y="555"/>
                  <a:pt x="6290" y="554"/>
                  <a:pt x="6289" y="553"/>
                </a:cubicBezTo>
                <a:cubicBezTo>
                  <a:pt x="6288" y="553"/>
                  <a:pt x="6288" y="552"/>
                  <a:pt x="6288" y="552"/>
                </a:cubicBezTo>
                <a:cubicBezTo>
                  <a:pt x="6288" y="552"/>
                  <a:pt x="6289" y="551"/>
                  <a:pt x="6291" y="551"/>
                </a:cubicBezTo>
                <a:cubicBezTo>
                  <a:pt x="6292" y="551"/>
                  <a:pt x="6298" y="542"/>
                  <a:pt x="6307" y="524"/>
                </a:cubicBezTo>
                <a:cubicBezTo>
                  <a:pt x="6316" y="506"/>
                  <a:pt x="6320" y="494"/>
                  <a:pt x="6320" y="490"/>
                </a:cubicBezTo>
                <a:cubicBezTo>
                  <a:pt x="6320" y="487"/>
                  <a:pt x="6320" y="485"/>
                  <a:pt x="6319" y="485"/>
                </a:cubicBezTo>
                <a:cubicBezTo>
                  <a:pt x="6319" y="485"/>
                  <a:pt x="6318" y="487"/>
                  <a:pt x="6317" y="492"/>
                </a:cubicBezTo>
                <a:cubicBezTo>
                  <a:pt x="6317" y="494"/>
                  <a:pt x="6316" y="497"/>
                  <a:pt x="6314" y="500"/>
                </a:cubicBezTo>
                <a:cubicBezTo>
                  <a:pt x="6313" y="504"/>
                  <a:pt x="6312" y="507"/>
                  <a:pt x="6310" y="509"/>
                </a:cubicBezTo>
                <a:cubicBezTo>
                  <a:pt x="6309" y="512"/>
                  <a:pt x="6308" y="514"/>
                  <a:pt x="6307" y="514"/>
                </a:cubicBezTo>
                <a:cubicBezTo>
                  <a:pt x="6306" y="514"/>
                  <a:pt x="6306" y="515"/>
                  <a:pt x="6306" y="515"/>
                </a:cubicBezTo>
                <a:cubicBezTo>
                  <a:pt x="6306" y="516"/>
                  <a:pt x="6306" y="517"/>
                  <a:pt x="6306" y="517"/>
                </a:cubicBezTo>
                <a:cubicBezTo>
                  <a:pt x="6306" y="517"/>
                  <a:pt x="6307" y="518"/>
                  <a:pt x="6307" y="518"/>
                </a:cubicBezTo>
                <a:lnTo>
                  <a:pt x="6307" y="519"/>
                </a:lnTo>
                <a:cubicBezTo>
                  <a:pt x="6306" y="519"/>
                  <a:pt x="6306" y="519"/>
                  <a:pt x="6305" y="519"/>
                </a:cubicBezTo>
                <a:cubicBezTo>
                  <a:pt x="6304" y="519"/>
                  <a:pt x="6304" y="519"/>
                  <a:pt x="6304" y="520"/>
                </a:cubicBezTo>
                <a:cubicBezTo>
                  <a:pt x="6303" y="521"/>
                  <a:pt x="6303" y="522"/>
                  <a:pt x="6303" y="524"/>
                </a:cubicBezTo>
                <a:cubicBezTo>
                  <a:pt x="6303" y="525"/>
                  <a:pt x="6303" y="526"/>
                  <a:pt x="6302" y="527"/>
                </a:cubicBezTo>
                <a:cubicBezTo>
                  <a:pt x="6302" y="528"/>
                  <a:pt x="6301" y="528"/>
                  <a:pt x="6301" y="528"/>
                </a:cubicBezTo>
                <a:cubicBezTo>
                  <a:pt x="6300" y="528"/>
                  <a:pt x="6299" y="529"/>
                  <a:pt x="6299" y="529"/>
                </a:cubicBezTo>
                <a:cubicBezTo>
                  <a:pt x="6299" y="529"/>
                  <a:pt x="6299" y="529"/>
                  <a:pt x="6299" y="530"/>
                </a:cubicBezTo>
                <a:lnTo>
                  <a:pt x="6300" y="532"/>
                </a:lnTo>
                <a:cubicBezTo>
                  <a:pt x="6300" y="533"/>
                  <a:pt x="6299" y="533"/>
                  <a:pt x="6299" y="533"/>
                </a:cubicBezTo>
                <a:cubicBezTo>
                  <a:pt x="6298" y="533"/>
                  <a:pt x="6297" y="533"/>
                  <a:pt x="6297" y="534"/>
                </a:cubicBezTo>
                <a:lnTo>
                  <a:pt x="6298" y="537"/>
                </a:lnTo>
                <a:cubicBezTo>
                  <a:pt x="6297" y="538"/>
                  <a:pt x="6296" y="538"/>
                  <a:pt x="6296" y="538"/>
                </a:cubicBezTo>
                <a:cubicBezTo>
                  <a:pt x="6295" y="538"/>
                  <a:pt x="6294" y="539"/>
                  <a:pt x="6294" y="539"/>
                </a:cubicBezTo>
                <a:cubicBezTo>
                  <a:pt x="6294" y="543"/>
                  <a:pt x="6294" y="544"/>
                  <a:pt x="6294" y="544"/>
                </a:cubicBezTo>
                <a:cubicBezTo>
                  <a:pt x="6293" y="544"/>
                  <a:pt x="6293" y="544"/>
                  <a:pt x="6292" y="542"/>
                </a:cubicBezTo>
                <a:cubicBezTo>
                  <a:pt x="6291" y="541"/>
                  <a:pt x="6290" y="541"/>
                  <a:pt x="6290" y="541"/>
                </a:cubicBezTo>
                <a:lnTo>
                  <a:pt x="6290" y="544"/>
                </a:lnTo>
                <a:cubicBezTo>
                  <a:pt x="6290" y="546"/>
                  <a:pt x="6289" y="549"/>
                  <a:pt x="6288" y="550"/>
                </a:cubicBezTo>
                <a:cubicBezTo>
                  <a:pt x="6286" y="552"/>
                  <a:pt x="6286" y="553"/>
                  <a:pt x="6286" y="554"/>
                </a:cubicBezTo>
                <a:lnTo>
                  <a:pt x="6286" y="554"/>
                </a:lnTo>
                <a:cubicBezTo>
                  <a:pt x="6286" y="554"/>
                  <a:pt x="6286" y="555"/>
                  <a:pt x="6287" y="556"/>
                </a:cubicBezTo>
                <a:cubicBezTo>
                  <a:pt x="6288" y="556"/>
                  <a:pt x="6288" y="557"/>
                  <a:pt x="6288" y="558"/>
                </a:cubicBezTo>
                <a:lnTo>
                  <a:pt x="6288" y="558"/>
                </a:lnTo>
                <a:cubicBezTo>
                  <a:pt x="6288" y="558"/>
                  <a:pt x="6288" y="559"/>
                  <a:pt x="6286" y="559"/>
                </a:cubicBezTo>
                <a:cubicBezTo>
                  <a:pt x="6285" y="560"/>
                  <a:pt x="6284" y="560"/>
                  <a:pt x="6284" y="561"/>
                </a:cubicBezTo>
                <a:cubicBezTo>
                  <a:pt x="6284" y="561"/>
                  <a:pt x="6284" y="561"/>
                  <a:pt x="6284" y="562"/>
                </a:cubicBezTo>
                <a:lnTo>
                  <a:pt x="6284" y="563"/>
                </a:lnTo>
                <a:cubicBezTo>
                  <a:pt x="6284" y="564"/>
                  <a:pt x="6283" y="566"/>
                  <a:pt x="6281" y="570"/>
                </a:cubicBezTo>
                <a:cubicBezTo>
                  <a:pt x="6279" y="572"/>
                  <a:pt x="6279" y="574"/>
                  <a:pt x="6278" y="576"/>
                </a:cubicBezTo>
                <a:cubicBezTo>
                  <a:pt x="6277" y="578"/>
                  <a:pt x="6276" y="579"/>
                  <a:pt x="6276" y="580"/>
                </a:cubicBezTo>
                <a:cubicBezTo>
                  <a:pt x="6276" y="581"/>
                  <a:pt x="6276" y="583"/>
                  <a:pt x="6275" y="585"/>
                </a:cubicBezTo>
                <a:cubicBezTo>
                  <a:pt x="6274" y="586"/>
                  <a:pt x="6273" y="587"/>
                  <a:pt x="6273" y="588"/>
                </a:cubicBezTo>
                <a:cubicBezTo>
                  <a:pt x="6273" y="590"/>
                  <a:pt x="6271" y="595"/>
                  <a:pt x="6268" y="605"/>
                </a:cubicBezTo>
                <a:lnTo>
                  <a:pt x="6264" y="615"/>
                </a:lnTo>
                <a:cubicBezTo>
                  <a:pt x="6262" y="628"/>
                  <a:pt x="6259" y="634"/>
                  <a:pt x="6257" y="634"/>
                </a:cubicBezTo>
                <a:cubicBezTo>
                  <a:pt x="6256" y="634"/>
                  <a:pt x="6256" y="632"/>
                  <a:pt x="6255" y="628"/>
                </a:cubicBezTo>
                <a:cubicBezTo>
                  <a:pt x="6256" y="623"/>
                  <a:pt x="6257" y="621"/>
                  <a:pt x="6258" y="621"/>
                </a:cubicBezTo>
                <a:cubicBezTo>
                  <a:pt x="6260" y="621"/>
                  <a:pt x="6260" y="620"/>
                  <a:pt x="6260" y="617"/>
                </a:cubicBezTo>
                <a:lnTo>
                  <a:pt x="6260" y="613"/>
                </a:lnTo>
                <a:cubicBezTo>
                  <a:pt x="6261" y="612"/>
                  <a:pt x="6261" y="612"/>
                  <a:pt x="6261" y="611"/>
                </a:cubicBezTo>
                <a:cubicBezTo>
                  <a:pt x="6261" y="610"/>
                  <a:pt x="6262" y="609"/>
                  <a:pt x="6262" y="607"/>
                </a:cubicBezTo>
                <a:cubicBezTo>
                  <a:pt x="6261" y="607"/>
                  <a:pt x="6261" y="606"/>
                  <a:pt x="6259" y="605"/>
                </a:cubicBezTo>
                <a:cubicBezTo>
                  <a:pt x="6258" y="604"/>
                  <a:pt x="6257" y="603"/>
                  <a:pt x="6257" y="603"/>
                </a:cubicBezTo>
                <a:cubicBezTo>
                  <a:pt x="6257" y="603"/>
                  <a:pt x="6257" y="603"/>
                  <a:pt x="6257" y="604"/>
                </a:cubicBezTo>
                <a:lnTo>
                  <a:pt x="6258" y="610"/>
                </a:lnTo>
                <a:cubicBezTo>
                  <a:pt x="6258" y="611"/>
                  <a:pt x="6258" y="611"/>
                  <a:pt x="6258" y="611"/>
                </a:cubicBezTo>
                <a:cubicBezTo>
                  <a:pt x="6257" y="611"/>
                  <a:pt x="6257" y="611"/>
                  <a:pt x="6256" y="610"/>
                </a:cubicBezTo>
                <a:cubicBezTo>
                  <a:pt x="6256" y="610"/>
                  <a:pt x="6255" y="609"/>
                  <a:pt x="6255" y="609"/>
                </a:cubicBezTo>
                <a:cubicBezTo>
                  <a:pt x="6255" y="610"/>
                  <a:pt x="6256" y="610"/>
                  <a:pt x="6256" y="612"/>
                </a:cubicBezTo>
                <a:cubicBezTo>
                  <a:pt x="6257" y="613"/>
                  <a:pt x="6258" y="615"/>
                  <a:pt x="6258" y="616"/>
                </a:cubicBezTo>
                <a:cubicBezTo>
                  <a:pt x="6258" y="617"/>
                  <a:pt x="6257" y="618"/>
                  <a:pt x="6255" y="618"/>
                </a:cubicBezTo>
                <a:cubicBezTo>
                  <a:pt x="6255" y="618"/>
                  <a:pt x="6254" y="617"/>
                  <a:pt x="6254" y="617"/>
                </a:cubicBezTo>
                <a:cubicBezTo>
                  <a:pt x="6254" y="617"/>
                  <a:pt x="6254" y="616"/>
                  <a:pt x="6253" y="616"/>
                </a:cubicBezTo>
                <a:lnTo>
                  <a:pt x="6253" y="618"/>
                </a:lnTo>
                <a:lnTo>
                  <a:pt x="6254" y="619"/>
                </a:lnTo>
                <a:cubicBezTo>
                  <a:pt x="6254" y="619"/>
                  <a:pt x="6254" y="620"/>
                  <a:pt x="6254" y="620"/>
                </a:cubicBezTo>
                <a:cubicBezTo>
                  <a:pt x="6253" y="621"/>
                  <a:pt x="6252" y="622"/>
                  <a:pt x="6250" y="625"/>
                </a:cubicBezTo>
                <a:lnTo>
                  <a:pt x="6250" y="625"/>
                </a:lnTo>
                <a:lnTo>
                  <a:pt x="6254" y="624"/>
                </a:lnTo>
                <a:cubicBezTo>
                  <a:pt x="6254" y="624"/>
                  <a:pt x="6254" y="624"/>
                  <a:pt x="6254" y="625"/>
                </a:cubicBezTo>
                <a:lnTo>
                  <a:pt x="6254" y="625"/>
                </a:lnTo>
                <a:cubicBezTo>
                  <a:pt x="6254" y="626"/>
                  <a:pt x="6253" y="627"/>
                  <a:pt x="6251" y="629"/>
                </a:cubicBezTo>
                <a:cubicBezTo>
                  <a:pt x="6249" y="631"/>
                  <a:pt x="6248" y="632"/>
                  <a:pt x="6248" y="632"/>
                </a:cubicBezTo>
                <a:lnTo>
                  <a:pt x="6254" y="630"/>
                </a:lnTo>
                <a:cubicBezTo>
                  <a:pt x="6254" y="631"/>
                  <a:pt x="6253" y="633"/>
                  <a:pt x="6250" y="635"/>
                </a:cubicBezTo>
                <a:cubicBezTo>
                  <a:pt x="6248" y="638"/>
                  <a:pt x="6247" y="640"/>
                  <a:pt x="6247" y="642"/>
                </a:cubicBezTo>
                <a:cubicBezTo>
                  <a:pt x="6247" y="642"/>
                  <a:pt x="6247" y="642"/>
                  <a:pt x="6247" y="642"/>
                </a:cubicBezTo>
                <a:lnTo>
                  <a:pt x="6247" y="643"/>
                </a:lnTo>
                <a:cubicBezTo>
                  <a:pt x="6247" y="643"/>
                  <a:pt x="6247" y="644"/>
                  <a:pt x="6246" y="645"/>
                </a:cubicBezTo>
                <a:cubicBezTo>
                  <a:pt x="6245" y="646"/>
                  <a:pt x="6245" y="647"/>
                  <a:pt x="6245" y="649"/>
                </a:cubicBezTo>
                <a:lnTo>
                  <a:pt x="6245" y="651"/>
                </a:lnTo>
                <a:lnTo>
                  <a:pt x="6245" y="652"/>
                </a:lnTo>
                <a:cubicBezTo>
                  <a:pt x="6245" y="652"/>
                  <a:pt x="6244" y="653"/>
                  <a:pt x="6244" y="654"/>
                </a:cubicBezTo>
                <a:cubicBezTo>
                  <a:pt x="6243" y="655"/>
                  <a:pt x="6243" y="656"/>
                  <a:pt x="6243" y="657"/>
                </a:cubicBezTo>
                <a:lnTo>
                  <a:pt x="6243" y="660"/>
                </a:lnTo>
                <a:cubicBezTo>
                  <a:pt x="6243" y="661"/>
                  <a:pt x="6243" y="661"/>
                  <a:pt x="6242" y="662"/>
                </a:cubicBezTo>
                <a:cubicBezTo>
                  <a:pt x="6242" y="663"/>
                  <a:pt x="6241" y="667"/>
                  <a:pt x="6240" y="672"/>
                </a:cubicBezTo>
                <a:cubicBezTo>
                  <a:pt x="6239" y="678"/>
                  <a:pt x="6239" y="682"/>
                  <a:pt x="6238" y="683"/>
                </a:cubicBezTo>
                <a:cubicBezTo>
                  <a:pt x="6237" y="686"/>
                  <a:pt x="6236" y="688"/>
                  <a:pt x="6236" y="692"/>
                </a:cubicBezTo>
                <a:cubicBezTo>
                  <a:pt x="6236" y="702"/>
                  <a:pt x="6237" y="710"/>
                  <a:pt x="6240" y="715"/>
                </a:cubicBezTo>
                <a:cubicBezTo>
                  <a:pt x="6242" y="719"/>
                  <a:pt x="6244" y="722"/>
                  <a:pt x="6245" y="723"/>
                </a:cubicBezTo>
                <a:lnTo>
                  <a:pt x="6246" y="723"/>
                </a:lnTo>
                <a:close/>
                <a:moveTo>
                  <a:pt x="6284" y="463"/>
                </a:moveTo>
                <a:lnTo>
                  <a:pt x="6284" y="463"/>
                </a:lnTo>
                <a:cubicBezTo>
                  <a:pt x="6284" y="462"/>
                  <a:pt x="6283" y="462"/>
                  <a:pt x="6281" y="462"/>
                </a:cubicBezTo>
                <a:cubicBezTo>
                  <a:pt x="6278" y="462"/>
                  <a:pt x="6276" y="462"/>
                  <a:pt x="6276" y="463"/>
                </a:cubicBezTo>
                <a:cubicBezTo>
                  <a:pt x="6276" y="463"/>
                  <a:pt x="6278" y="463"/>
                  <a:pt x="6282" y="463"/>
                </a:cubicBezTo>
                <a:lnTo>
                  <a:pt x="6284" y="463"/>
                </a:lnTo>
                <a:close/>
                <a:moveTo>
                  <a:pt x="6270" y="457"/>
                </a:moveTo>
                <a:cubicBezTo>
                  <a:pt x="6271" y="457"/>
                  <a:pt x="6271" y="457"/>
                  <a:pt x="6271" y="456"/>
                </a:cubicBezTo>
                <a:cubicBezTo>
                  <a:pt x="6272" y="456"/>
                  <a:pt x="6272" y="455"/>
                  <a:pt x="6272" y="455"/>
                </a:cubicBezTo>
                <a:cubicBezTo>
                  <a:pt x="6272" y="454"/>
                  <a:pt x="6272" y="453"/>
                  <a:pt x="6272" y="453"/>
                </a:cubicBezTo>
                <a:lnTo>
                  <a:pt x="6269" y="453"/>
                </a:lnTo>
                <a:cubicBezTo>
                  <a:pt x="6268" y="453"/>
                  <a:pt x="6268" y="453"/>
                  <a:pt x="6268" y="452"/>
                </a:cubicBezTo>
                <a:cubicBezTo>
                  <a:pt x="6268" y="451"/>
                  <a:pt x="6267" y="450"/>
                  <a:pt x="6267" y="450"/>
                </a:cubicBezTo>
                <a:cubicBezTo>
                  <a:pt x="6266" y="450"/>
                  <a:pt x="6266" y="451"/>
                  <a:pt x="6266" y="452"/>
                </a:cubicBezTo>
                <a:cubicBezTo>
                  <a:pt x="6266" y="452"/>
                  <a:pt x="6266" y="453"/>
                  <a:pt x="6266" y="453"/>
                </a:cubicBezTo>
                <a:cubicBezTo>
                  <a:pt x="6266" y="454"/>
                  <a:pt x="6267" y="455"/>
                  <a:pt x="6268" y="456"/>
                </a:cubicBezTo>
                <a:cubicBezTo>
                  <a:pt x="6269" y="457"/>
                  <a:pt x="6269" y="457"/>
                  <a:pt x="6270" y="457"/>
                </a:cubicBezTo>
                <a:close/>
                <a:moveTo>
                  <a:pt x="6262" y="466"/>
                </a:moveTo>
                <a:cubicBezTo>
                  <a:pt x="6264" y="466"/>
                  <a:pt x="6265" y="466"/>
                  <a:pt x="6265" y="465"/>
                </a:cubicBezTo>
                <a:lnTo>
                  <a:pt x="6265" y="465"/>
                </a:lnTo>
                <a:cubicBezTo>
                  <a:pt x="6265" y="464"/>
                  <a:pt x="6264" y="464"/>
                  <a:pt x="6263" y="464"/>
                </a:cubicBezTo>
                <a:cubicBezTo>
                  <a:pt x="6261" y="464"/>
                  <a:pt x="6260" y="465"/>
                  <a:pt x="6260" y="465"/>
                </a:cubicBezTo>
                <a:cubicBezTo>
                  <a:pt x="6260" y="465"/>
                  <a:pt x="6261" y="466"/>
                  <a:pt x="6262" y="466"/>
                </a:cubicBezTo>
                <a:close/>
                <a:moveTo>
                  <a:pt x="6258" y="458"/>
                </a:moveTo>
                <a:cubicBezTo>
                  <a:pt x="6259" y="458"/>
                  <a:pt x="6260" y="458"/>
                  <a:pt x="6261" y="457"/>
                </a:cubicBezTo>
                <a:cubicBezTo>
                  <a:pt x="6262" y="456"/>
                  <a:pt x="6263" y="454"/>
                  <a:pt x="6263" y="451"/>
                </a:cubicBezTo>
                <a:lnTo>
                  <a:pt x="6263" y="450"/>
                </a:lnTo>
                <a:cubicBezTo>
                  <a:pt x="6263" y="450"/>
                  <a:pt x="6262" y="451"/>
                  <a:pt x="6261" y="453"/>
                </a:cubicBezTo>
                <a:cubicBezTo>
                  <a:pt x="6261" y="456"/>
                  <a:pt x="6260" y="457"/>
                  <a:pt x="6260" y="457"/>
                </a:cubicBezTo>
                <a:cubicBezTo>
                  <a:pt x="6259" y="457"/>
                  <a:pt x="6259" y="456"/>
                  <a:pt x="6259" y="453"/>
                </a:cubicBezTo>
                <a:cubicBezTo>
                  <a:pt x="6259" y="451"/>
                  <a:pt x="6258" y="450"/>
                  <a:pt x="6257" y="450"/>
                </a:cubicBezTo>
                <a:cubicBezTo>
                  <a:pt x="6256" y="450"/>
                  <a:pt x="6255" y="452"/>
                  <a:pt x="6255" y="456"/>
                </a:cubicBezTo>
                <a:cubicBezTo>
                  <a:pt x="6255" y="457"/>
                  <a:pt x="6256" y="458"/>
                  <a:pt x="6258" y="458"/>
                </a:cubicBezTo>
                <a:close/>
                <a:moveTo>
                  <a:pt x="6248" y="481"/>
                </a:moveTo>
                <a:lnTo>
                  <a:pt x="6256" y="479"/>
                </a:lnTo>
                <a:lnTo>
                  <a:pt x="6278" y="475"/>
                </a:lnTo>
                <a:cubicBezTo>
                  <a:pt x="6281" y="475"/>
                  <a:pt x="6284" y="474"/>
                  <a:pt x="6288" y="473"/>
                </a:cubicBezTo>
                <a:cubicBezTo>
                  <a:pt x="6292" y="473"/>
                  <a:pt x="6294" y="473"/>
                  <a:pt x="6294" y="471"/>
                </a:cubicBezTo>
                <a:cubicBezTo>
                  <a:pt x="6294" y="470"/>
                  <a:pt x="6294" y="469"/>
                  <a:pt x="6293" y="469"/>
                </a:cubicBezTo>
                <a:cubicBezTo>
                  <a:pt x="6293" y="469"/>
                  <a:pt x="6291" y="470"/>
                  <a:pt x="6290" y="470"/>
                </a:cubicBezTo>
                <a:cubicBezTo>
                  <a:pt x="6288" y="471"/>
                  <a:pt x="6286" y="472"/>
                  <a:pt x="6283" y="472"/>
                </a:cubicBezTo>
                <a:cubicBezTo>
                  <a:pt x="6278" y="472"/>
                  <a:pt x="6275" y="471"/>
                  <a:pt x="6273" y="470"/>
                </a:cubicBezTo>
                <a:cubicBezTo>
                  <a:pt x="6272" y="470"/>
                  <a:pt x="6272" y="470"/>
                  <a:pt x="6271" y="470"/>
                </a:cubicBezTo>
                <a:cubicBezTo>
                  <a:pt x="6270" y="470"/>
                  <a:pt x="6269" y="470"/>
                  <a:pt x="6268" y="472"/>
                </a:cubicBezTo>
                <a:cubicBezTo>
                  <a:pt x="6267" y="474"/>
                  <a:pt x="6266" y="475"/>
                  <a:pt x="6264" y="475"/>
                </a:cubicBezTo>
                <a:cubicBezTo>
                  <a:pt x="6264" y="475"/>
                  <a:pt x="6263" y="475"/>
                  <a:pt x="6261" y="474"/>
                </a:cubicBezTo>
                <a:cubicBezTo>
                  <a:pt x="6258" y="472"/>
                  <a:pt x="6256" y="471"/>
                  <a:pt x="6254" y="471"/>
                </a:cubicBezTo>
                <a:cubicBezTo>
                  <a:pt x="6254" y="471"/>
                  <a:pt x="6253" y="471"/>
                  <a:pt x="6253" y="472"/>
                </a:cubicBezTo>
                <a:lnTo>
                  <a:pt x="6254" y="474"/>
                </a:lnTo>
                <a:cubicBezTo>
                  <a:pt x="6254" y="475"/>
                  <a:pt x="6253" y="475"/>
                  <a:pt x="6252" y="475"/>
                </a:cubicBezTo>
                <a:cubicBezTo>
                  <a:pt x="6252" y="475"/>
                  <a:pt x="6251" y="475"/>
                  <a:pt x="6249" y="474"/>
                </a:cubicBezTo>
                <a:cubicBezTo>
                  <a:pt x="6248" y="474"/>
                  <a:pt x="6247" y="474"/>
                  <a:pt x="6245" y="474"/>
                </a:cubicBezTo>
                <a:cubicBezTo>
                  <a:pt x="6244" y="474"/>
                  <a:pt x="6243" y="474"/>
                  <a:pt x="6243" y="475"/>
                </a:cubicBezTo>
                <a:lnTo>
                  <a:pt x="6243" y="475"/>
                </a:lnTo>
                <a:cubicBezTo>
                  <a:pt x="6243" y="477"/>
                  <a:pt x="6244" y="478"/>
                  <a:pt x="6246" y="480"/>
                </a:cubicBezTo>
                <a:cubicBezTo>
                  <a:pt x="6246" y="481"/>
                  <a:pt x="6247" y="481"/>
                  <a:pt x="6248" y="481"/>
                </a:cubicBezTo>
                <a:close/>
                <a:moveTo>
                  <a:pt x="6252" y="468"/>
                </a:moveTo>
                <a:lnTo>
                  <a:pt x="6252" y="467"/>
                </a:lnTo>
                <a:lnTo>
                  <a:pt x="6250" y="466"/>
                </a:lnTo>
                <a:cubicBezTo>
                  <a:pt x="6249" y="466"/>
                  <a:pt x="6248" y="466"/>
                  <a:pt x="6248" y="467"/>
                </a:cubicBezTo>
                <a:cubicBezTo>
                  <a:pt x="6247" y="467"/>
                  <a:pt x="6247" y="468"/>
                  <a:pt x="6247" y="468"/>
                </a:cubicBezTo>
                <a:cubicBezTo>
                  <a:pt x="6247" y="468"/>
                  <a:pt x="6248" y="468"/>
                  <a:pt x="6252" y="468"/>
                </a:cubicBezTo>
                <a:close/>
                <a:moveTo>
                  <a:pt x="6222" y="465"/>
                </a:moveTo>
                <a:cubicBezTo>
                  <a:pt x="6226" y="465"/>
                  <a:pt x="6229" y="464"/>
                  <a:pt x="6231" y="462"/>
                </a:cubicBezTo>
                <a:cubicBezTo>
                  <a:pt x="6234" y="461"/>
                  <a:pt x="6235" y="460"/>
                  <a:pt x="6235" y="459"/>
                </a:cubicBezTo>
                <a:cubicBezTo>
                  <a:pt x="6235" y="458"/>
                  <a:pt x="6235" y="458"/>
                  <a:pt x="6235" y="458"/>
                </a:cubicBezTo>
                <a:cubicBezTo>
                  <a:pt x="6236" y="458"/>
                  <a:pt x="6236" y="458"/>
                  <a:pt x="6237" y="460"/>
                </a:cubicBezTo>
                <a:cubicBezTo>
                  <a:pt x="6238" y="461"/>
                  <a:pt x="6238" y="462"/>
                  <a:pt x="6239" y="462"/>
                </a:cubicBezTo>
                <a:cubicBezTo>
                  <a:pt x="6240" y="462"/>
                  <a:pt x="6241" y="461"/>
                  <a:pt x="6241" y="460"/>
                </a:cubicBezTo>
                <a:cubicBezTo>
                  <a:pt x="6242" y="458"/>
                  <a:pt x="6243" y="458"/>
                  <a:pt x="6243" y="458"/>
                </a:cubicBezTo>
                <a:cubicBezTo>
                  <a:pt x="6243" y="458"/>
                  <a:pt x="6243" y="458"/>
                  <a:pt x="6243" y="458"/>
                </a:cubicBezTo>
                <a:cubicBezTo>
                  <a:pt x="6243" y="459"/>
                  <a:pt x="6244" y="460"/>
                  <a:pt x="6245" y="460"/>
                </a:cubicBezTo>
                <a:lnTo>
                  <a:pt x="6248" y="460"/>
                </a:lnTo>
                <a:cubicBezTo>
                  <a:pt x="6250" y="459"/>
                  <a:pt x="6251" y="458"/>
                  <a:pt x="6251" y="456"/>
                </a:cubicBezTo>
                <a:cubicBezTo>
                  <a:pt x="6250" y="454"/>
                  <a:pt x="6249" y="453"/>
                  <a:pt x="6249" y="453"/>
                </a:cubicBezTo>
                <a:cubicBezTo>
                  <a:pt x="6248" y="453"/>
                  <a:pt x="6248" y="454"/>
                  <a:pt x="6247" y="454"/>
                </a:cubicBezTo>
                <a:cubicBezTo>
                  <a:pt x="6247" y="455"/>
                  <a:pt x="6246" y="455"/>
                  <a:pt x="6244" y="456"/>
                </a:cubicBezTo>
                <a:lnTo>
                  <a:pt x="6239" y="456"/>
                </a:lnTo>
                <a:cubicBezTo>
                  <a:pt x="6236" y="456"/>
                  <a:pt x="6233" y="457"/>
                  <a:pt x="6231" y="459"/>
                </a:cubicBezTo>
                <a:lnTo>
                  <a:pt x="6229" y="460"/>
                </a:lnTo>
                <a:lnTo>
                  <a:pt x="6229" y="460"/>
                </a:lnTo>
                <a:cubicBezTo>
                  <a:pt x="6229" y="458"/>
                  <a:pt x="6228" y="457"/>
                  <a:pt x="6226" y="457"/>
                </a:cubicBezTo>
                <a:cubicBezTo>
                  <a:pt x="6223" y="457"/>
                  <a:pt x="6222" y="458"/>
                  <a:pt x="6222" y="459"/>
                </a:cubicBezTo>
                <a:cubicBezTo>
                  <a:pt x="6222" y="460"/>
                  <a:pt x="6222" y="460"/>
                  <a:pt x="6221" y="460"/>
                </a:cubicBezTo>
                <a:cubicBezTo>
                  <a:pt x="6221" y="460"/>
                  <a:pt x="6220" y="460"/>
                  <a:pt x="6219" y="459"/>
                </a:cubicBezTo>
                <a:cubicBezTo>
                  <a:pt x="6218" y="458"/>
                  <a:pt x="6217" y="458"/>
                  <a:pt x="6216" y="458"/>
                </a:cubicBezTo>
                <a:cubicBezTo>
                  <a:pt x="6215" y="458"/>
                  <a:pt x="6214" y="458"/>
                  <a:pt x="6214" y="459"/>
                </a:cubicBezTo>
                <a:cubicBezTo>
                  <a:pt x="6214" y="460"/>
                  <a:pt x="6213" y="460"/>
                  <a:pt x="6211" y="460"/>
                </a:cubicBezTo>
                <a:cubicBezTo>
                  <a:pt x="6211" y="460"/>
                  <a:pt x="6211" y="460"/>
                  <a:pt x="6211" y="460"/>
                </a:cubicBezTo>
                <a:cubicBezTo>
                  <a:pt x="6210" y="460"/>
                  <a:pt x="6210" y="460"/>
                  <a:pt x="6209" y="460"/>
                </a:cubicBezTo>
                <a:cubicBezTo>
                  <a:pt x="6209" y="460"/>
                  <a:pt x="6209" y="461"/>
                  <a:pt x="6211" y="463"/>
                </a:cubicBezTo>
                <a:cubicBezTo>
                  <a:pt x="6212" y="464"/>
                  <a:pt x="6212" y="465"/>
                  <a:pt x="6213" y="465"/>
                </a:cubicBezTo>
                <a:cubicBezTo>
                  <a:pt x="6214" y="465"/>
                  <a:pt x="6215" y="464"/>
                  <a:pt x="6216" y="462"/>
                </a:cubicBezTo>
                <a:lnTo>
                  <a:pt x="6217" y="460"/>
                </a:lnTo>
                <a:cubicBezTo>
                  <a:pt x="6217" y="460"/>
                  <a:pt x="6218" y="460"/>
                  <a:pt x="6218" y="462"/>
                </a:cubicBezTo>
                <a:cubicBezTo>
                  <a:pt x="6219" y="463"/>
                  <a:pt x="6219" y="464"/>
                  <a:pt x="6220" y="464"/>
                </a:cubicBezTo>
                <a:cubicBezTo>
                  <a:pt x="6221" y="465"/>
                  <a:pt x="6222" y="465"/>
                  <a:pt x="6222" y="465"/>
                </a:cubicBezTo>
                <a:close/>
                <a:moveTo>
                  <a:pt x="6199" y="459"/>
                </a:moveTo>
                <a:cubicBezTo>
                  <a:pt x="6200" y="459"/>
                  <a:pt x="6200" y="458"/>
                  <a:pt x="6200" y="457"/>
                </a:cubicBezTo>
                <a:cubicBezTo>
                  <a:pt x="6200" y="456"/>
                  <a:pt x="6199" y="455"/>
                  <a:pt x="6197" y="455"/>
                </a:cubicBezTo>
                <a:cubicBezTo>
                  <a:pt x="6197" y="455"/>
                  <a:pt x="6196" y="455"/>
                  <a:pt x="6196" y="455"/>
                </a:cubicBezTo>
                <a:cubicBezTo>
                  <a:pt x="6196" y="455"/>
                  <a:pt x="6196" y="456"/>
                  <a:pt x="6196" y="456"/>
                </a:cubicBezTo>
                <a:cubicBezTo>
                  <a:pt x="6196" y="456"/>
                  <a:pt x="6197" y="457"/>
                  <a:pt x="6197" y="458"/>
                </a:cubicBezTo>
                <a:cubicBezTo>
                  <a:pt x="6197" y="459"/>
                  <a:pt x="6198" y="459"/>
                  <a:pt x="6199" y="459"/>
                </a:cubicBezTo>
                <a:close/>
                <a:moveTo>
                  <a:pt x="6194" y="462"/>
                </a:moveTo>
                <a:cubicBezTo>
                  <a:pt x="6194" y="462"/>
                  <a:pt x="6195" y="461"/>
                  <a:pt x="6195" y="460"/>
                </a:cubicBezTo>
                <a:lnTo>
                  <a:pt x="6195" y="460"/>
                </a:lnTo>
                <a:cubicBezTo>
                  <a:pt x="6195" y="460"/>
                  <a:pt x="6195" y="459"/>
                  <a:pt x="6194" y="459"/>
                </a:cubicBezTo>
                <a:cubicBezTo>
                  <a:pt x="6194" y="458"/>
                  <a:pt x="6193" y="458"/>
                  <a:pt x="6193" y="458"/>
                </a:cubicBezTo>
                <a:cubicBezTo>
                  <a:pt x="6192" y="457"/>
                  <a:pt x="6191" y="457"/>
                  <a:pt x="6191" y="457"/>
                </a:cubicBezTo>
                <a:cubicBezTo>
                  <a:pt x="6190" y="457"/>
                  <a:pt x="6190" y="457"/>
                  <a:pt x="6190" y="457"/>
                </a:cubicBezTo>
                <a:cubicBezTo>
                  <a:pt x="6190" y="458"/>
                  <a:pt x="6190" y="458"/>
                  <a:pt x="6190" y="458"/>
                </a:cubicBezTo>
                <a:cubicBezTo>
                  <a:pt x="6190" y="458"/>
                  <a:pt x="6190" y="459"/>
                  <a:pt x="6191" y="460"/>
                </a:cubicBezTo>
                <a:cubicBezTo>
                  <a:pt x="6191" y="461"/>
                  <a:pt x="6192" y="462"/>
                  <a:pt x="6194" y="462"/>
                </a:cubicBezTo>
                <a:close/>
                <a:moveTo>
                  <a:pt x="6184" y="463"/>
                </a:moveTo>
                <a:cubicBezTo>
                  <a:pt x="6184" y="463"/>
                  <a:pt x="6185" y="462"/>
                  <a:pt x="6186" y="461"/>
                </a:cubicBezTo>
                <a:cubicBezTo>
                  <a:pt x="6187" y="461"/>
                  <a:pt x="6187" y="460"/>
                  <a:pt x="6187" y="459"/>
                </a:cubicBezTo>
                <a:cubicBezTo>
                  <a:pt x="6187" y="458"/>
                  <a:pt x="6187" y="458"/>
                  <a:pt x="6186" y="458"/>
                </a:cubicBezTo>
                <a:lnTo>
                  <a:pt x="6185" y="458"/>
                </a:lnTo>
                <a:cubicBezTo>
                  <a:pt x="6185" y="458"/>
                  <a:pt x="6184" y="458"/>
                  <a:pt x="6183" y="458"/>
                </a:cubicBezTo>
                <a:cubicBezTo>
                  <a:pt x="6182" y="459"/>
                  <a:pt x="6182" y="460"/>
                  <a:pt x="6182" y="461"/>
                </a:cubicBezTo>
                <a:cubicBezTo>
                  <a:pt x="6182" y="462"/>
                  <a:pt x="6182" y="463"/>
                  <a:pt x="6183" y="463"/>
                </a:cubicBezTo>
                <a:lnTo>
                  <a:pt x="6184" y="463"/>
                </a:lnTo>
                <a:close/>
                <a:moveTo>
                  <a:pt x="6177" y="465"/>
                </a:moveTo>
                <a:lnTo>
                  <a:pt x="6178" y="464"/>
                </a:lnTo>
                <a:cubicBezTo>
                  <a:pt x="6178" y="463"/>
                  <a:pt x="6177" y="462"/>
                  <a:pt x="6176" y="461"/>
                </a:cubicBezTo>
                <a:lnTo>
                  <a:pt x="6174" y="460"/>
                </a:lnTo>
                <a:lnTo>
                  <a:pt x="6174" y="460"/>
                </a:lnTo>
                <a:cubicBezTo>
                  <a:pt x="6174" y="460"/>
                  <a:pt x="6174" y="461"/>
                  <a:pt x="6175" y="462"/>
                </a:cubicBezTo>
                <a:cubicBezTo>
                  <a:pt x="6175" y="464"/>
                  <a:pt x="6176" y="464"/>
                  <a:pt x="6176" y="465"/>
                </a:cubicBezTo>
                <a:lnTo>
                  <a:pt x="6177" y="465"/>
                </a:lnTo>
                <a:close/>
                <a:moveTo>
                  <a:pt x="6159" y="481"/>
                </a:moveTo>
                <a:cubicBezTo>
                  <a:pt x="6159" y="481"/>
                  <a:pt x="6160" y="480"/>
                  <a:pt x="6161" y="479"/>
                </a:cubicBezTo>
                <a:cubicBezTo>
                  <a:pt x="6162" y="478"/>
                  <a:pt x="6163" y="477"/>
                  <a:pt x="6164" y="477"/>
                </a:cubicBezTo>
                <a:cubicBezTo>
                  <a:pt x="6165" y="477"/>
                  <a:pt x="6165" y="477"/>
                  <a:pt x="6165" y="478"/>
                </a:cubicBezTo>
                <a:cubicBezTo>
                  <a:pt x="6166" y="479"/>
                  <a:pt x="6166" y="479"/>
                  <a:pt x="6167" y="479"/>
                </a:cubicBezTo>
                <a:cubicBezTo>
                  <a:pt x="6168" y="479"/>
                  <a:pt x="6169" y="478"/>
                  <a:pt x="6170" y="476"/>
                </a:cubicBezTo>
                <a:cubicBezTo>
                  <a:pt x="6172" y="475"/>
                  <a:pt x="6173" y="474"/>
                  <a:pt x="6173" y="474"/>
                </a:cubicBezTo>
                <a:cubicBezTo>
                  <a:pt x="6173" y="474"/>
                  <a:pt x="6174" y="474"/>
                  <a:pt x="6174" y="475"/>
                </a:cubicBezTo>
                <a:lnTo>
                  <a:pt x="6174" y="475"/>
                </a:lnTo>
                <a:cubicBezTo>
                  <a:pt x="6174" y="477"/>
                  <a:pt x="6174" y="477"/>
                  <a:pt x="6174" y="477"/>
                </a:cubicBezTo>
                <a:cubicBezTo>
                  <a:pt x="6175" y="477"/>
                  <a:pt x="6175" y="476"/>
                  <a:pt x="6177" y="474"/>
                </a:cubicBezTo>
                <a:cubicBezTo>
                  <a:pt x="6178" y="473"/>
                  <a:pt x="6179" y="472"/>
                  <a:pt x="6180" y="472"/>
                </a:cubicBezTo>
                <a:cubicBezTo>
                  <a:pt x="6180" y="472"/>
                  <a:pt x="6180" y="472"/>
                  <a:pt x="6180" y="473"/>
                </a:cubicBezTo>
                <a:cubicBezTo>
                  <a:pt x="6180" y="474"/>
                  <a:pt x="6181" y="474"/>
                  <a:pt x="6182" y="474"/>
                </a:cubicBezTo>
                <a:cubicBezTo>
                  <a:pt x="6186" y="474"/>
                  <a:pt x="6190" y="473"/>
                  <a:pt x="6193" y="469"/>
                </a:cubicBezTo>
                <a:cubicBezTo>
                  <a:pt x="6194" y="467"/>
                  <a:pt x="6194" y="466"/>
                  <a:pt x="6195" y="466"/>
                </a:cubicBezTo>
                <a:lnTo>
                  <a:pt x="6195" y="467"/>
                </a:lnTo>
                <a:cubicBezTo>
                  <a:pt x="6195" y="468"/>
                  <a:pt x="6194" y="468"/>
                  <a:pt x="6194" y="470"/>
                </a:cubicBezTo>
                <a:cubicBezTo>
                  <a:pt x="6193" y="471"/>
                  <a:pt x="6193" y="472"/>
                  <a:pt x="6193" y="472"/>
                </a:cubicBezTo>
                <a:cubicBezTo>
                  <a:pt x="6193" y="473"/>
                  <a:pt x="6193" y="473"/>
                  <a:pt x="6194" y="473"/>
                </a:cubicBezTo>
                <a:cubicBezTo>
                  <a:pt x="6194" y="473"/>
                  <a:pt x="6195" y="472"/>
                  <a:pt x="6197" y="471"/>
                </a:cubicBezTo>
                <a:cubicBezTo>
                  <a:pt x="6199" y="469"/>
                  <a:pt x="6200" y="469"/>
                  <a:pt x="6201" y="469"/>
                </a:cubicBezTo>
                <a:cubicBezTo>
                  <a:pt x="6202" y="469"/>
                  <a:pt x="6203" y="469"/>
                  <a:pt x="6204" y="469"/>
                </a:cubicBezTo>
                <a:cubicBezTo>
                  <a:pt x="6204" y="469"/>
                  <a:pt x="6205" y="470"/>
                  <a:pt x="6206" y="470"/>
                </a:cubicBezTo>
                <a:cubicBezTo>
                  <a:pt x="6207" y="470"/>
                  <a:pt x="6208" y="469"/>
                  <a:pt x="6209" y="469"/>
                </a:cubicBezTo>
                <a:cubicBezTo>
                  <a:pt x="6209" y="468"/>
                  <a:pt x="6209" y="468"/>
                  <a:pt x="6209" y="467"/>
                </a:cubicBezTo>
                <a:cubicBezTo>
                  <a:pt x="6209" y="466"/>
                  <a:pt x="6209" y="465"/>
                  <a:pt x="6207" y="464"/>
                </a:cubicBezTo>
                <a:cubicBezTo>
                  <a:pt x="6206" y="462"/>
                  <a:pt x="6205" y="462"/>
                  <a:pt x="6204" y="462"/>
                </a:cubicBezTo>
                <a:cubicBezTo>
                  <a:pt x="6204" y="462"/>
                  <a:pt x="6203" y="462"/>
                  <a:pt x="6202" y="463"/>
                </a:cubicBezTo>
                <a:cubicBezTo>
                  <a:pt x="6202" y="465"/>
                  <a:pt x="6201" y="465"/>
                  <a:pt x="6200" y="465"/>
                </a:cubicBezTo>
                <a:cubicBezTo>
                  <a:pt x="6200" y="465"/>
                  <a:pt x="6199" y="465"/>
                  <a:pt x="6199" y="464"/>
                </a:cubicBezTo>
                <a:cubicBezTo>
                  <a:pt x="6198" y="463"/>
                  <a:pt x="6197" y="463"/>
                  <a:pt x="6196" y="463"/>
                </a:cubicBezTo>
                <a:cubicBezTo>
                  <a:pt x="6194" y="463"/>
                  <a:pt x="6190" y="464"/>
                  <a:pt x="6187" y="468"/>
                </a:cubicBezTo>
                <a:cubicBezTo>
                  <a:pt x="6186" y="470"/>
                  <a:pt x="6185" y="470"/>
                  <a:pt x="6185" y="470"/>
                </a:cubicBezTo>
                <a:lnTo>
                  <a:pt x="6186" y="468"/>
                </a:lnTo>
                <a:cubicBezTo>
                  <a:pt x="6186" y="467"/>
                  <a:pt x="6186" y="467"/>
                  <a:pt x="6185" y="466"/>
                </a:cubicBezTo>
                <a:cubicBezTo>
                  <a:pt x="6185" y="466"/>
                  <a:pt x="6185" y="466"/>
                  <a:pt x="6184" y="466"/>
                </a:cubicBezTo>
                <a:cubicBezTo>
                  <a:pt x="6182" y="466"/>
                  <a:pt x="6177" y="468"/>
                  <a:pt x="6169" y="470"/>
                </a:cubicBezTo>
                <a:cubicBezTo>
                  <a:pt x="6160" y="473"/>
                  <a:pt x="6155" y="475"/>
                  <a:pt x="6155" y="477"/>
                </a:cubicBezTo>
                <a:cubicBezTo>
                  <a:pt x="6155" y="478"/>
                  <a:pt x="6156" y="478"/>
                  <a:pt x="6159" y="478"/>
                </a:cubicBezTo>
                <a:lnTo>
                  <a:pt x="6160" y="479"/>
                </a:lnTo>
                <a:cubicBezTo>
                  <a:pt x="6160" y="480"/>
                  <a:pt x="6159" y="480"/>
                  <a:pt x="6159" y="480"/>
                </a:cubicBezTo>
                <a:lnTo>
                  <a:pt x="6159" y="481"/>
                </a:lnTo>
                <a:close/>
                <a:moveTo>
                  <a:pt x="6123" y="493"/>
                </a:moveTo>
                <a:cubicBezTo>
                  <a:pt x="6126" y="492"/>
                  <a:pt x="6127" y="492"/>
                  <a:pt x="6128" y="492"/>
                </a:cubicBezTo>
                <a:cubicBezTo>
                  <a:pt x="6129" y="492"/>
                  <a:pt x="6129" y="491"/>
                  <a:pt x="6129" y="491"/>
                </a:cubicBezTo>
                <a:lnTo>
                  <a:pt x="6129" y="490"/>
                </a:lnTo>
                <a:cubicBezTo>
                  <a:pt x="6129" y="490"/>
                  <a:pt x="6129" y="489"/>
                  <a:pt x="6128" y="489"/>
                </a:cubicBezTo>
                <a:cubicBezTo>
                  <a:pt x="6128" y="489"/>
                  <a:pt x="6128" y="488"/>
                  <a:pt x="6128" y="488"/>
                </a:cubicBezTo>
                <a:cubicBezTo>
                  <a:pt x="6128" y="487"/>
                  <a:pt x="6128" y="487"/>
                  <a:pt x="6129" y="487"/>
                </a:cubicBezTo>
                <a:lnTo>
                  <a:pt x="6135" y="489"/>
                </a:lnTo>
                <a:cubicBezTo>
                  <a:pt x="6135" y="489"/>
                  <a:pt x="6136" y="489"/>
                  <a:pt x="6136" y="488"/>
                </a:cubicBezTo>
                <a:lnTo>
                  <a:pt x="6135" y="485"/>
                </a:lnTo>
                <a:cubicBezTo>
                  <a:pt x="6135" y="485"/>
                  <a:pt x="6135" y="485"/>
                  <a:pt x="6135" y="485"/>
                </a:cubicBezTo>
                <a:cubicBezTo>
                  <a:pt x="6135" y="485"/>
                  <a:pt x="6136" y="485"/>
                  <a:pt x="6137" y="485"/>
                </a:cubicBezTo>
                <a:cubicBezTo>
                  <a:pt x="6138" y="486"/>
                  <a:pt x="6140" y="486"/>
                  <a:pt x="6141" y="486"/>
                </a:cubicBezTo>
                <a:cubicBezTo>
                  <a:pt x="6145" y="486"/>
                  <a:pt x="6147" y="485"/>
                  <a:pt x="6148" y="485"/>
                </a:cubicBezTo>
                <a:cubicBezTo>
                  <a:pt x="6150" y="484"/>
                  <a:pt x="6150" y="483"/>
                  <a:pt x="6150" y="482"/>
                </a:cubicBezTo>
                <a:lnTo>
                  <a:pt x="6150" y="481"/>
                </a:lnTo>
                <a:cubicBezTo>
                  <a:pt x="6150" y="481"/>
                  <a:pt x="6151" y="481"/>
                  <a:pt x="6151" y="481"/>
                </a:cubicBezTo>
                <a:lnTo>
                  <a:pt x="6155" y="482"/>
                </a:lnTo>
                <a:cubicBezTo>
                  <a:pt x="6155" y="482"/>
                  <a:pt x="6156" y="482"/>
                  <a:pt x="6156" y="481"/>
                </a:cubicBezTo>
                <a:cubicBezTo>
                  <a:pt x="6156" y="478"/>
                  <a:pt x="6154" y="477"/>
                  <a:pt x="6151" y="477"/>
                </a:cubicBezTo>
                <a:cubicBezTo>
                  <a:pt x="6147" y="477"/>
                  <a:pt x="6140" y="479"/>
                  <a:pt x="6129" y="482"/>
                </a:cubicBezTo>
                <a:cubicBezTo>
                  <a:pt x="6123" y="485"/>
                  <a:pt x="6120" y="486"/>
                  <a:pt x="6118" y="487"/>
                </a:cubicBezTo>
                <a:cubicBezTo>
                  <a:pt x="6117" y="487"/>
                  <a:pt x="6116" y="488"/>
                  <a:pt x="6116" y="489"/>
                </a:cubicBezTo>
                <a:cubicBezTo>
                  <a:pt x="6116" y="490"/>
                  <a:pt x="6117" y="490"/>
                  <a:pt x="6118" y="491"/>
                </a:cubicBezTo>
                <a:cubicBezTo>
                  <a:pt x="6119" y="492"/>
                  <a:pt x="6120" y="493"/>
                  <a:pt x="6121" y="493"/>
                </a:cubicBezTo>
                <a:lnTo>
                  <a:pt x="6123" y="493"/>
                </a:lnTo>
                <a:close/>
                <a:moveTo>
                  <a:pt x="6085" y="504"/>
                </a:moveTo>
                <a:cubicBezTo>
                  <a:pt x="6086" y="504"/>
                  <a:pt x="6086" y="504"/>
                  <a:pt x="6087" y="504"/>
                </a:cubicBezTo>
                <a:cubicBezTo>
                  <a:pt x="6089" y="503"/>
                  <a:pt x="6091" y="502"/>
                  <a:pt x="6093" y="502"/>
                </a:cubicBezTo>
                <a:cubicBezTo>
                  <a:pt x="6096" y="502"/>
                  <a:pt x="6098" y="501"/>
                  <a:pt x="6101" y="500"/>
                </a:cubicBezTo>
                <a:cubicBezTo>
                  <a:pt x="6108" y="497"/>
                  <a:pt x="6111" y="495"/>
                  <a:pt x="6111" y="493"/>
                </a:cubicBezTo>
                <a:cubicBezTo>
                  <a:pt x="6111" y="492"/>
                  <a:pt x="6110" y="492"/>
                  <a:pt x="6109" y="492"/>
                </a:cubicBezTo>
                <a:cubicBezTo>
                  <a:pt x="6109" y="492"/>
                  <a:pt x="6108" y="492"/>
                  <a:pt x="6108" y="494"/>
                </a:cubicBezTo>
                <a:cubicBezTo>
                  <a:pt x="6108" y="495"/>
                  <a:pt x="6107" y="495"/>
                  <a:pt x="6107" y="495"/>
                </a:cubicBezTo>
                <a:lnTo>
                  <a:pt x="6105" y="495"/>
                </a:lnTo>
                <a:cubicBezTo>
                  <a:pt x="6103" y="495"/>
                  <a:pt x="6101" y="495"/>
                  <a:pt x="6099" y="497"/>
                </a:cubicBezTo>
                <a:cubicBezTo>
                  <a:pt x="6096" y="500"/>
                  <a:pt x="6093" y="501"/>
                  <a:pt x="6092" y="501"/>
                </a:cubicBezTo>
                <a:cubicBezTo>
                  <a:pt x="6091" y="501"/>
                  <a:pt x="6091" y="500"/>
                  <a:pt x="6091" y="500"/>
                </a:cubicBezTo>
                <a:cubicBezTo>
                  <a:pt x="6091" y="499"/>
                  <a:pt x="6092" y="498"/>
                  <a:pt x="6093" y="497"/>
                </a:cubicBezTo>
                <a:cubicBezTo>
                  <a:pt x="6094" y="496"/>
                  <a:pt x="6095" y="495"/>
                  <a:pt x="6095" y="495"/>
                </a:cubicBezTo>
                <a:lnTo>
                  <a:pt x="6092" y="495"/>
                </a:lnTo>
                <a:cubicBezTo>
                  <a:pt x="6089" y="497"/>
                  <a:pt x="6087" y="499"/>
                  <a:pt x="6087" y="500"/>
                </a:cubicBezTo>
                <a:cubicBezTo>
                  <a:pt x="6086" y="502"/>
                  <a:pt x="6086" y="502"/>
                  <a:pt x="6085" y="502"/>
                </a:cubicBezTo>
                <a:cubicBezTo>
                  <a:pt x="6084" y="502"/>
                  <a:pt x="6084" y="502"/>
                  <a:pt x="6083" y="502"/>
                </a:cubicBezTo>
                <a:cubicBezTo>
                  <a:pt x="6083" y="501"/>
                  <a:pt x="6082" y="501"/>
                  <a:pt x="6082" y="501"/>
                </a:cubicBezTo>
                <a:cubicBezTo>
                  <a:pt x="6082" y="501"/>
                  <a:pt x="6082" y="502"/>
                  <a:pt x="6083" y="503"/>
                </a:cubicBezTo>
                <a:cubicBezTo>
                  <a:pt x="6083" y="504"/>
                  <a:pt x="6084" y="504"/>
                  <a:pt x="6085" y="504"/>
                </a:cubicBezTo>
                <a:close/>
                <a:moveTo>
                  <a:pt x="6045" y="512"/>
                </a:moveTo>
                <a:cubicBezTo>
                  <a:pt x="6047" y="512"/>
                  <a:pt x="6049" y="511"/>
                  <a:pt x="6052" y="509"/>
                </a:cubicBezTo>
                <a:lnTo>
                  <a:pt x="6056" y="506"/>
                </a:lnTo>
                <a:lnTo>
                  <a:pt x="6055" y="506"/>
                </a:lnTo>
                <a:cubicBezTo>
                  <a:pt x="6055" y="506"/>
                  <a:pt x="6054" y="506"/>
                  <a:pt x="6052" y="507"/>
                </a:cubicBezTo>
                <a:cubicBezTo>
                  <a:pt x="6050" y="508"/>
                  <a:pt x="6048" y="509"/>
                  <a:pt x="6046" y="509"/>
                </a:cubicBezTo>
                <a:lnTo>
                  <a:pt x="6044" y="509"/>
                </a:lnTo>
                <a:cubicBezTo>
                  <a:pt x="6043" y="509"/>
                  <a:pt x="6042" y="509"/>
                  <a:pt x="6042" y="509"/>
                </a:cubicBezTo>
                <a:cubicBezTo>
                  <a:pt x="6041" y="509"/>
                  <a:pt x="6041" y="509"/>
                  <a:pt x="6041" y="510"/>
                </a:cubicBezTo>
                <a:lnTo>
                  <a:pt x="6041" y="510"/>
                </a:lnTo>
                <a:cubicBezTo>
                  <a:pt x="6042" y="512"/>
                  <a:pt x="6044" y="512"/>
                  <a:pt x="6045" y="512"/>
                </a:cubicBezTo>
                <a:close/>
                <a:moveTo>
                  <a:pt x="6065" y="503"/>
                </a:moveTo>
                <a:cubicBezTo>
                  <a:pt x="6066" y="503"/>
                  <a:pt x="6068" y="503"/>
                  <a:pt x="6070" y="502"/>
                </a:cubicBezTo>
                <a:cubicBezTo>
                  <a:pt x="6071" y="501"/>
                  <a:pt x="6072" y="500"/>
                  <a:pt x="6072" y="497"/>
                </a:cubicBezTo>
                <a:cubicBezTo>
                  <a:pt x="6072" y="497"/>
                  <a:pt x="6072" y="497"/>
                  <a:pt x="6072" y="497"/>
                </a:cubicBezTo>
                <a:cubicBezTo>
                  <a:pt x="6072" y="497"/>
                  <a:pt x="6071" y="497"/>
                  <a:pt x="6071" y="498"/>
                </a:cubicBezTo>
                <a:cubicBezTo>
                  <a:pt x="6070" y="499"/>
                  <a:pt x="6068" y="499"/>
                  <a:pt x="6066" y="499"/>
                </a:cubicBezTo>
                <a:lnTo>
                  <a:pt x="6064" y="499"/>
                </a:lnTo>
                <a:cubicBezTo>
                  <a:pt x="6062" y="499"/>
                  <a:pt x="6062" y="499"/>
                  <a:pt x="6062" y="501"/>
                </a:cubicBezTo>
                <a:cubicBezTo>
                  <a:pt x="6062" y="502"/>
                  <a:pt x="6063" y="503"/>
                  <a:pt x="6065" y="503"/>
                </a:cubicBezTo>
                <a:close/>
                <a:moveTo>
                  <a:pt x="6025" y="768"/>
                </a:moveTo>
                <a:cubicBezTo>
                  <a:pt x="6025" y="768"/>
                  <a:pt x="6026" y="768"/>
                  <a:pt x="6026" y="768"/>
                </a:cubicBezTo>
                <a:lnTo>
                  <a:pt x="6025" y="765"/>
                </a:lnTo>
                <a:cubicBezTo>
                  <a:pt x="6025" y="764"/>
                  <a:pt x="6025" y="764"/>
                  <a:pt x="6026" y="764"/>
                </a:cubicBezTo>
                <a:cubicBezTo>
                  <a:pt x="6026" y="764"/>
                  <a:pt x="6026" y="764"/>
                  <a:pt x="6027" y="765"/>
                </a:cubicBezTo>
                <a:cubicBezTo>
                  <a:pt x="6028" y="765"/>
                  <a:pt x="6028" y="765"/>
                  <a:pt x="6030" y="765"/>
                </a:cubicBezTo>
                <a:cubicBezTo>
                  <a:pt x="6033" y="765"/>
                  <a:pt x="6036" y="764"/>
                  <a:pt x="6039" y="762"/>
                </a:cubicBezTo>
                <a:cubicBezTo>
                  <a:pt x="6041" y="762"/>
                  <a:pt x="6042" y="760"/>
                  <a:pt x="6042" y="759"/>
                </a:cubicBezTo>
                <a:cubicBezTo>
                  <a:pt x="6042" y="758"/>
                  <a:pt x="6043" y="757"/>
                  <a:pt x="6045" y="757"/>
                </a:cubicBezTo>
                <a:cubicBezTo>
                  <a:pt x="6047" y="757"/>
                  <a:pt x="6050" y="755"/>
                  <a:pt x="6054" y="751"/>
                </a:cubicBezTo>
                <a:cubicBezTo>
                  <a:pt x="6056" y="750"/>
                  <a:pt x="6057" y="748"/>
                  <a:pt x="6059" y="747"/>
                </a:cubicBezTo>
                <a:cubicBezTo>
                  <a:pt x="6060" y="746"/>
                  <a:pt x="6061" y="746"/>
                  <a:pt x="6061" y="746"/>
                </a:cubicBezTo>
                <a:cubicBezTo>
                  <a:pt x="6063" y="746"/>
                  <a:pt x="6069" y="741"/>
                  <a:pt x="6078" y="732"/>
                </a:cubicBezTo>
                <a:cubicBezTo>
                  <a:pt x="6086" y="723"/>
                  <a:pt x="6095" y="713"/>
                  <a:pt x="6104" y="703"/>
                </a:cubicBezTo>
                <a:cubicBezTo>
                  <a:pt x="6112" y="692"/>
                  <a:pt x="6118" y="684"/>
                  <a:pt x="6121" y="679"/>
                </a:cubicBezTo>
                <a:cubicBezTo>
                  <a:pt x="6122" y="676"/>
                  <a:pt x="6123" y="674"/>
                  <a:pt x="6125" y="672"/>
                </a:cubicBezTo>
                <a:cubicBezTo>
                  <a:pt x="6132" y="666"/>
                  <a:pt x="6139" y="651"/>
                  <a:pt x="6144" y="627"/>
                </a:cubicBezTo>
                <a:cubicBezTo>
                  <a:pt x="6146" y="618"/>
                  <a:pt x="6147" y="610"/>
                  <a:pt x="6147" y="602"/>
                </a:cubicBezTo>
                <a:cubicBezTo>
                  <a:pt x="6145" y="590"/>
                  <a:pt x="6142" y="579"/>
                  <a:pt x="6138" y="570"/>
                </a:cubicBezTo>
                <a:cubicBezTo>
                  <a:pt x="6137" y="566"/>
                  <a:pt x="6135" y="565"/>
                  <a:pt x="6134" y="565"/>
                </a:cubicBezTo>
                <a:lnTo>
                  <a:pt x="6133" y="565"/>
                </a:lnTo>
                <a:cubicBezTo>
                  <a:pt x="6132" y="565"/>
                  <a:pt x="6132" y="565"/>
                  <a:pt x="6132" y="565"/>
                </a:cubicBezTo>
                <a:lnTo>
                  <a:pt x="6133" y="563"/>
                </a:lnTo>
                <a:cubicBezTo>
                  <a:pt x="6133" y="560"/>
                  <a:pt x="6131" y="557"/>
                  <a:pt x="6127" y="553"/>
                </a:cubicBezTo>
                <a:cubicBezTo>
                  <a:pt x="6124" y="549"/>
                  <a:pt x="6122" y="548"/>
                  <a:pt x="6121" y="548"/>
                </a:cubicBezTo>
                <a:cubicBezTo>
                  <a:pt x="6121" y="548"/>
                  <a:pt x="6121" y="548"/>
                  <a:pt x="6121" y="548"/>
                </a:cubicBezTo>
                <a:cubicBezTo>
                  <a:pt x="6121" y="549"/>
                  <a:pt x="6121" y="551"/>
                  <a:pt x="6122" y="552"/>
                </a:cubicBezTo>
                <a:cubicBezTo>
                  <a:pt x="6122" y="556"/>
                  <a:pt x="6121" y="558"/>
                  <a:pt x="6120" y="558"/>
                </a:cubicBezTo>
                <a:cubicBezTo>
                  <a:pt x="6119" y="558"/>
                  <a:pt x="6118" y="558"/>
                  <a:pt x="6118" y="560"/>
                </a:cubicBezTo>
                <a:lnTo>
                  <a:pt x="6118" y="562"/>
                </a:lnTo>
                <a:cubicBezTo>
                  <a:pt x="6118" y="563"/>
                  <a:pt x="6118" y="563"/>
                  <a:pt x="6117" y="563"/>
                </a:cubicBezTo>
                <a:cubicBezTo>
                  <a:pt x="6116" y="563"/>
                  <a:pt x="6115" y="565"/>
                  <a:pt x="6113" y="567"/>
                </a:cubicBezTo>
                <a:cubicBezTo>
                  <a:pt x="6112" y="570"/>
                  <a:pt x="6111" y="574"/>
                  <a:pt x="6110" y="578"/>
                </a:cubicBezTo>
                <a:cubicBezTo>
                  <a:pt x="6108" y="581"/>
                  <a:pt x="6108" y="585"/>
                  <a:pt x="6107" y="588"/>
                </a:cubicBezTo>
                <a:cubicBezTo>
                  <a:pt x="6107" y="589"/>
                  <a:pt x="6107" y="589"/>
                  <a:pt x="6106" y="590"/>
                </a:cubicBezTo>
                <a:cubicBezTo>
                  <a:pt x="6105" y="591"/>
                  <a:pt x="6104" y="591"/>
                  <a:pt x="6102" y="591"/>
                </a:cubicBezTo>
                <a:cubicBezTo>
                  <a:pt x="6100" y="591"/>
                  <a:pt x="6099" y="591"/>
                  <a:pt x="6099" y="592"/>
                </a:cubicBezTo>
                <a:lnTo>
                  <a:pt x="6103" y="593"/>
                </a:lnTo>
                <a:cubicBezTo>
                  <a:pt x="6105" y="593"/>
                  <a:pt x="6105" y="594"/>
                  <a:pt x="6105" y="595"/>
                </a:cubicBezTo>
                <a:cubicBezTo>
                  <a:pt x="6105" y="595"/>
                  <a:pt x="6104" y="595"/>
                  <a:pt x="6102" y="595"/>
                </a:cubicBezTo>
                <a:cubicBezTo>
                  <a:pt x="6099" y="595"/>
                  <a:pt x="6098" y="596"/>
                  <a:pt x="6098" y="596"/>
                </a:cubicBezTo>
                <a:cubicBezTo>
                  <a:pt x="6098" y="597"/>
                  <a:pt x="6097" y="599"/>
                  <a:pt x="6097" y="602"/>
                </a:cubicBezTo>
                <a:lnTo>
                  <a:pt x="6098" y="605"/>
                </a:lnTo>
                <a:cubicBezTo>
                  <a:pt x="6098" y="606"/>
                  <a:pt x="6097" y="607"/>
                  <a:pt x="6096" y="607"/>
                </a:cubicBezTo>
                <a:cubicBezTo>
                  <a:pt x="6096" y="607"/>
                  <a:pt x="6096" y="606"/>
                  <a:pt x="6095" y="606"/>
                </a:cubicBezTo>
                <a:cubicBezTo>
                  <a:pt x="6095" y="606"/>
                  <a:pt x="6094" y="606"/>
                  <a:pt x="6093" y="606"/>
                </a:cubicBezTo>
                <a:cubicBezTo>
                  <a:pt x="6093" y="606"/>
                  <a:pt x="6093" y="607"/>
                  <a:pt x="6092" y="607"/>
                </a:cubicBezTo>
                <a:cubicBezTo>
                  <a:pt x="6092" y="608"/>
                  <a:pt x="6092" y="608"/>
                  <a:pt x="6092" y="609"/>
                </a:cubicBezTo>
                <a:cubicBezTo>
                  <a:pt x="6092" y="615"/>
                  <a:pt x="6089" y="618"/>
                  <a:pt x="6082" y="618"/>
                </a:cubicBezTo>
                <a:cubicBezTo>
                  <a:pt x="6081" y="618"/>
                  <a:pt x="6079" y="617"/>
                  <a:pt x="6078" y="617"/>
                </a:cubicBezTo>
                <a:cubicBezTo>
                  <a:pt x="6077" y="617"/>
                  <a:pt x="6077" y="616"/>
                  <a:pt x="6077" y="615"/>
                </a:cubicBezTo>
                <a:cubicBezTo>
                  <a:pt x="6077" y="612"/>
                  <a:pt x="6079" y="607"/>
                  <a:pt x="6082" y="599"/>
                </a:cubicBezTo>
                <a:cubicBezTo>
                  <a:pt x="6087" y="588"/>
                  <a:pt x="6091" y="581"/>
                  <a:pt x="6093" y="579"/>
                </a:cubicBezTo>
                <a:lnTo>
                  <a:pt x="6095" y="577"/>
                </a:lnTo>
                <a:cubicBezTo>
                  <a:pt x="6095" y="577"/>
                  <a:pt x="6095" y="577"/>
                  <a:pt x="6095" y="577"/>
                </a:cubicBezTo>
                <a:cubicBezTo>
                  <a:pt x="6095" y="577"/>
                  <a:pt x="6095" y="575"/>
                  <a:pt x="6096" y="573"/>
                </a:cubicBezTo>
                <a:cubicBezTo>
                  <a:pt x="6097" y="571"/>
                  <a:pt x="6097" y="568"/>
                  <a:pt x="6099" y="565"/>
                </a:cubicBezTo>
                <a:cubicBezTo>
                  <a:pt x="6102" y="556"/>
                  <a:pt x="6103" y="551"/>
                  <a:pt x="6103" y="550"/>
                </a:cubicBezTo>
                <a:cubicBezTo>
                  <a:pt x="6103" y="549"/>
                  <a:pt x="6104" y="548"/>
                  <a:pt x="6105" y="546"/>
                </a:cubicBezTo>
                <a:cubicBezTo>
                  <a:pt x="6106" y="545"/>
                  <a:pt x="6107" y="543"/>
                  <a:pt x="6107" y="541"/>
                </a:cubicBezTo>
                <a:cubicBezTo>
                  <a:pt x="6107" y="539"/>
                  <a:pt x="6107" y="538"/>
                  <a:pt x="6107" y="538"/>
                </a:cubicBezTo>
                <a:cubicBezTo>
                  <a:pt x="6105" y="538"/>
                  <a:pt x="6103" y="540"/>
                  <a:pt x="6099" y="545"/>
                </a:cubicBezTo>
                <a:cubicBezTo>
                  <a:pt x="6096" y="548"/>
                  <a:pt x="6094" y="550"/>
                  <a:pt x="6094" y="550"/>
                </a:cubicBezTo>
                <a:cubicBezTo>
                  <a:pt x="6094" y="550"/>
                  <a:pt x="6095" y="549"/>
                  <a:pt x="6097" y="546"/>
                </a:cubicBezTo>
                <a:cubicBezTo>
                  <a:pt x="6098" y="544"/>
                  <a:pt x="6099" y="542"/>
                  <a:pt x="6100" y="540"/>
                </a:cubicBezTo>
                <a:cubicBezTo>
                  <a:pt x="6101" y="539"/>
                  <a:pt x="6101" y="538"/>
                  <a:pt x="6101" y="537"/>
                </a:cubicBezTo>
                <a:cubicBezTo>
                  <a:pt x="6101" y="536"/>
                  <a:pt x="6100" y="535"/>
                  <a:pt x="6098" y="535"/>
                </a:cubicBezTo>
                <a:cubicBezTo>
                  <a:pt x="6096" y="536"/>
                  <a:pt x="6093" y="536"/>
                  <a:pt x="6091" y="537"/>
                </a:cubicBezTo>
                <a:cubicBezTo>
                  <a:pt x="6088" y="538"/>
                  <a:pt x="6085" y="540"/>
                  <a:pt x="6083" y="542"/>
                </a:cubicBezTo>
                <a:cubicBezTo>
                  <a:pt x="6080" y="544"/>
                  <a:pt x="6079" y="545"/>
                  <a:pt x="6079" y="546"/>
                </a:cubicBezTo>
                <a:lnTo>
                  <a:pt x="6081" y="546"/>
                </a:lnTo>
                <a:cubicBezTo>
                  <a:pt x="6081" y="546"/>
                  <a:pt x="6080" y="547"/>
                  <a:pt x="6078" y="549"/>
                </a:cubicBezTo>
                <a:cubicBezTo>
                  <a:pt x="6075" y="553"/>
                  <a:pt x="6074" y="555"/>
                  <a:pt x="6073" y="556"/>
                </a:cubicBezTo>
                <a:cubicBezTo>
                  <a:pt x="6073" y="559"/>
                  <a:pt x="6071" y="560"/>
                  <a:pt x="6070" y="561"/>
                </a:cubicBezTo>
                <a:cubicBezTo>
                  <a:pt x="6069" y="561"/>
                  <a:pt x="6069" y="562"/>
                  <a:pt x="6069" y="565"/>
                </a:cubicBezTo>
                <a:cubicBezTo>
                  <a:pt x="6069" y="566"/>
                  <a:pt x="6068" y="566"/>
                  <a:pt x="6068" y="567"/>
                </a:cubicBezTo>
                <a:lnTo>
                  <a:pt x="6066" y="567"/>
                </a:lnTo>
                <a:cubicBezTo>
                  <a:pt x="6065" y="567"/>
                  <a:pt x="6064" y="568"/>
                  <a:pt x="6064" y="572"/>
                </a:cubicBezTo>
                <a:cubicBezTo>
                  <a:pt x="6064" y="576"/>
                  <a:pt x="6063" y="578"/>
                  <a:pt x="6061" y="578"/>
                </a:cubicBezTo>
                <a:cubicBezTo>
                  <a:pt x="6060" y="579"/>
                  <a:pt x="6059" y="579"/>
                  <a:pt x="6059" y="580"/>
                </a:cubicBezTo>
                <a:lnTo>
                  <a:pt x="6059" y="583"/>
                </a:lnTo>
                <a:lnTo>
                  <a:pt x="6060" y="583"/>
                </a:lnTo>
                <a:lnTo>
                  <a:pt x="6059" y="583"/>
                </a:lnTo>
                <a:lnTo>
                  <a:pt x="6054" y="583"/>
                </a:lnTo>
                <a:cubicBezTo>
                  <a:pt x="6054" y="583"/>
                  <a:pt x="6054" y="583"/>
                  <a:pt x="6054" y="583"/>
                </a:cubicBezTo>
                <a:cubicBezTo>
                  <a:pt x="6054" y="583"/>
                  <a:pt x="6054" y="584"/>
                  <a:pt x="6056" y="585"/>
                </a:cubicBezTo>
                <a:cubicBezTo>
                  <a:pt x="6057" y="587"/>
                  <a:pt x="6058" y="588"/>
                  <a:pt x="6058" y="588"/>
                </a:cubicBezTo>
                <a:cubicBezTo>
                  <a:pt x="6057" y="589"/>
                  <a:pt x="6056" y="590"/>
                  <a:pt x="6055" y="592"/>
                </a:cubicBezTo>
                <a:cubicBezTo>
                  <a:pt x="6053" y="594"/>
                  <a:pt x="6052" y="596"/>
                  <a:pt x="6052" y="597"/>
                </a:cubicBezTo>
                <a:cubicBezTo>
                  <a:pt x="6051" y="602"/>
                  <a:pt x="6051" y="604"/>
                  <a:pt x="6050" y="604"/>
                </a:cubicBezTo>
                <a:lnTo>
                  <a:pt x="6048" y="603"/>
                </a:lnTo>
                <a:cubicBezTo>
                  <a:pt x="6048" y="603"/>
                  <a:pt x="6047" y="604"/>
                  <a:pt x="6047" y="605"/>
                </a:cubicBezTo>
                <a:cubicBezTo>
                  <a:pt x="6046" y="606"/>
                  <a:pt x="6046" y="607"/>
                  <a:pt x="6046" y="609"/>
                </a:cubicBezTo>
                <a:lnTo>
                  <a:pt x="6046" y="613"/>
                </a:lnTo>
                <a:cubicBezTo>
                  <a:pt x="6046" y="613"/>
                  <a:pt x="6046" y="614"/>
                  <a:pt x="6046" y="615"/>
                </a:cubicBezTo>
                <a:cubicBezTo>
                  <a:pt x="6045" y="616"/>
                  <a:pt x="6044" y="617"/>
                  <a:pt x="6043" y="619"/>
                </a:cubicBezTo>
                <a:cubicBezTo>
                  <a:pt x="6043" y="620"/>
                  <a:pt x="6042" y="621"/>
                  <a:pt x="6041" y="622"/>
                </a:cubicBezTo>
                <a:lnTo>
                  <a:pt x="6041" y="624"/>
                </a:lnTo>
                <a:lnTo>
                  <a:pt x="6042" y="625"/>
                </a:lnTo>
                <a:cubicBezTo>
                  <a:pt x="6042" y="625"/>
                  <a:pt x="6041" y="625"/>
                  <a:pt x="6040" y="625"/>
                </a:cubicBezTo>
                <a:cubicBezTo>
                  <a:pt x="6039" y="625"/>
                  <a:pt x="6038" y="626"/>
                  <a:pt x="6038" y="628"/>
                </a:cubicBezTo>
                <a:lnTo>
                  <a:pt x="6039" y="632"/>
                </a:lnTo>
                <a:cubicBezTo>
                  <a:pt x="6039" y="634"/>
                  <a:pt x="6038" y="636"/>
                  <a:pt x="6037" y="637"/>
                </a:cubicBezTo>
                <a:cubicBezTo>
                  <a:pt x="6036" y="637"/>
                  <a:pt x="6035" y="639"/>
                  <a:pt x="6035" y="640"/>
                </a:cubicBezTo>
                <a:lnTo>
                  <a:pt x="6035" y="644"/>
                </a:lnTo>
                <a:lnTo>
                  <a:pt x="6036" y="645"/>
                </a:lnTo>
                <a:cubicBezTo>
                  <a:pt x="6036" y="645"/>
                  <a:pt x="6035" y="646"/>
                  <a:pt x="6035" y="646"/>
                </a:cubicBezTo>
                <a:lnTo>
                  <a:pt x="6032" y="644"/>
                </a:lnTo>
                <a:cubicBezTo>
                  <a:pt x="6032" y="644"/>
                  <a:pt x="6032" y="645"/>
                  <a:pt x="6032" y="646"/>
                </a:cubicBezTo>
                <a:lnTo>
                  <a:pt x="6033" y="652"/>
                </a:lnTo>
                <a:cubicBezTo>
                  <a:pt x="6033" y="652"/>
                  <a:pt x="6033" y="653"/>
                  <a:pt x="6032" y="653"/>
                </a:cubicBezTo>
                <a:lnTo>
                  <a:pt x="6030" y="652"/>
                </a:lnTo>
                <a:cubicBezTo>
                  <a:pt x="6030" y="652"/>
                  <a:pt x="6029" y="652"/>
                  <a:pt x="6029" y="652"/>
                </a:cubicBezTo>
                <a:lnTo>
                  <a:pt x="6030" y="657"/>
                </a:lnTo>
                <a:cubicBezTo>
                  <a:pt x="6030" y="658"/>
                  <a:pt x="6030" y="659"/>
                  <a:pt x="6029" y="659"/>
                </a:cubicBezTo>
                <a:cubicBezTo>
                  <a:pt x="6028" y="659"/>
                  <a:pt x="6028" y="660"/>
                  <a:pt x="6028" y="662"/>
                </a:cubicBezTo>
                <a:lnTo>
                  <a:pt x="6028" y="664"/>
                </a:lnTo>
                <a:cubicBezTo>
                  <a:pt x="6028" y="665"/>
                  <a:pt x="6028" y="666"/>
                  <a:pt x="6027" y="666"/>
                </a:cubicBezTo>
                <a:cubicBezTo>
                  <a:pt x="6026" y="666"/>
                  <a:pt x="6026" y="667"/>
                  <a:pt x="6026" y="668"/>
                </a:cubicBezTo>
                <a:lnTo>
                  <a:pt x="6026" y="670"/>
                </a:lnTo>
                <a:lnTo>
                  <a:pt x="6026" y="671"/>
                </a:lnTo>
                <a:cubicBezTo>
                  <a:pt x="6026" y="673"/>
                  <a:pt x="6026" y="674"/>
                  <a:pt x="6025" y="675"/>
                </a:cubicBezTo>
                <a:cubicBezTo>
                  <a:pt x="6024" y="676"/>
                  <a:pt x="6024" y="677"/>
                  <a:pt x="6024" y="677"/>
                </a:cubicBezTo>
                <a:lnTo>
                  <a:pt x="6024" y="678"/>
                </a:lnTo>
                <a:lnTo>
                  <a:pt x="6024" y="679"/>
                </a:lnTo>
                <a:lnTo>
                  <a:pt x="6024" y="680"/>
                </a:lnTo>
                <a:cubicBezTo>
                  <a:pt x="6024" y="680"/>
                  <a:pt x="6024" y="681"/>
                  <a:pt x="6023" y="682"/>
                </a:cubicBezTo>
                <a:cubicBezTo>
                  <a:pt x="6022" y="683"/>
                  <a:pt x="6022" y="683"/>
                  <a:pt x="6022" y="685"/>
                </a:cubicBezTo>
                <a:lnTo>
                  <a:pt x="6022" y="686"/>
                </a:lnTo>
                <a:cubicBezTo>
                  <a:pt x="6022" y="687"/>
                  <a:pt x="6022" y="687"/>
                  <a:pt x="6022" y="688"/>
                </a:cubicBezTo>
                <a:cubicBezTo>
                  <a:pt x="6022" y="689"/>
                  <a:pt x="6021" y="690"/>
                  <a:pt x="6021" y="691"/>
                </a:cubicBezTo>
                <a:cubicBezTo>
                  <a:pt x="6020" y="692"/>
                  <a:pt x="6019" y="693"/>
                  <a:pt x="6019" y="695"/>
                </a:cubicBezTo>
                <a:lnTo>
                  <a:pt x="6019" y="699"/>
                </a:lnTo>
                <a:lnTo>
                  <a:pt x="6020" y="701"/>
                </a:lnTo>
                <a:cubicBezTo>
                  <a:pt x="6020" y="703"/>
                  <a:pt x="6019" y="704"/>
                  <a:pt x="6018" y="704"/>
                </a:cubicBezTo>
                <a:cubicBezTo>
                  <a:pt x="6018" y="704"/>
                  <a:pt x="6017" y="704"/>
                  <a:pt x="6017" y="705"/>
                </a:cubicBezTo>
                <a:lnTo>
                  <a:pt x="6017" y="705"/>
                </a:lnTo>
                <a:lnTo>
                  <a:pt x="6018" y="707"/>
                </a:lnTo>
                <a:cubicBezTo>
                  <a:pt x="6018" y="709"/>
                  <a:pt x="6017" y="710"/>
                  <a:pt x="6016" y="711"/>
                </a:cubicBezTo>
                <a:cubicBezTo>
                  <a:pt x="6015" y="713"/>
                  <a:pt x="6014" y="717"/>
                  <a:pt x="6014" y="723"/>
                </a:cubicBezTo>
                <a:lnTo>
                  <a:pt x="6014" y="732"/>
                </a:lnTo>
                <a:lnTo>
                  <a:pt x="6013" y="740"/>
                </a:lnTo>
                <a:cubicBezTo>
                  <a:pt x="6013" y="742"/>
                  <a:pt x="6013" y="744"/>
                  <a:pt x="6014" y="746"/>
                </a:cubicBezTo>
                <a:cubicBezTo>
                  <a:pt x="6015" y="747"/>
                  <a:pt x="6015" y="749"/>
                  <a:pt x="6015" y="749"/>
                </a:cubicBezTo>
                <a:cubicBezTo>
                  <a:pt x="6015" y="750"/>
                  <a:pt x="6014" y="750"/>
                  <a:pt x="6014" y="750"/>
                </a:cubicBezTo>
                <a:cubicBezTo>
                  <a:pt x="6013" y="750"/>
                  <a:pt x="6012" y="750"/>
                  <a:pt x="6012" y="751"/>
                </a:cubicBezTo>
                <a:cubicBezTo>
                  <a:pt x="6012" y="751"/>
                  <a:pt x="6013" y="752"/>
                  <a:pt x="6014" y="752"/>
                </a:cubicBezTo>
                <a:cubicBezTo>
                  <a:pt x="6015" y="753"/>
                  <a:pt x="6016" y="754"/>
                  <a:pt x="6016" y="754"/>
                </a:cubicBezTo>
                <a:cubicBezTo>
                  <a:pt x="6016" y="754"/>
                  <a:pt x="6015" y="755"/>
                  <a:pt x="6014" y="755"/>
                </a:cubicBezTo>
                <a:cubicBezTo>
                  <a:pt x="6013" y="755"/>
                  <a:pt x="6012" y="755"/>
                  <a:pt x="6012" y="755"/>
                </a:cubicBezTo>
                <a:cubicBezTo>
                  <a:pt x="6012" y="756"/>
                  <a:pt x="6012" y="756"/>
                  <a:pt x="6013" y="757"/>
                </a:cubicBezTo>
                <a:cubicBezTo>
                  <a:pt x="6014" y="757"/>
                  <a:pt x="6015" y="758"/>
                  <a:pt x="6016" y="759"/>
                </a:cubicBezTo>
                <a:cubicBezTo>
                  <a:pt x="6016" y="759"/>
                  <a:pt x="6016" y="760"/>
                  <a:pt x="6016" y="760"/>
                </a:cubicBezTo>
                <a:lnTo>
                  <a:pt x="6015" y="761"/>
                </a:lnTo>
                <a:cubicBezTo>
                  <a:pt x="6015" y="761"/>
                  <a:pt x="6015" y="762"/>
                  <a:pt x="6015" y="762"/>
                </a:cubicBezTo>
                <a:cubicBezTo>
                  <a:pt x="6015" y="763"/>
                  <a:pt x="6015" y="763"/>
                  <a:pt x="6016" y="764"/>
                </a:cubicBezTo>
                <a:cubicBezTo>
                  <a:pt x="6017" y="765"/>
                  <a:pt x="6018" y="766"/>
                  <a:pt x="6020" y="767"/>
                </a:cubicBezTo>
                <a:cubicBezTo>
                  <a:pt x="6021" y="768"/>
                  <a:pt x="6023" y="768"/>
                  <a:pt x="6025" y="768"/>
                </a:cubicBezTo>
                <a:close/>
                <a:moveTo>
                  <a:pt x="6137" y="703"/>
                </a:moveTo>
                <a:cubicBezTo>
                  <a:pt x="6137" y="703"/>
                  <a:pt x="6138" y="702"/>
                  <a:pt x="6138" y="701"/>
                </a:cubicBezTo>
                <a:cubicBezTo>
                  <a:pt x="6138" y="700"/>
                  <a:pt x="6137" y="699"/>
                  <a:pt x="6137" y="697"/>
                </a:cubicBezTo>
                <a:cubicBezTo>
                  <a:pt x="6136" y="696"/>
                  <a:pt x="6135" y="695"/>
                  <a:pt x="6135" y="695"/>
                </a:cubicBezTo>
                <a:cubicBezTo>
                  <a:pt x="6135" y="695"/>
                  <a:pt x="6135" y="696"/>
                  <a:pt x="6135" y="697"/>
                </a:cubicBezTo>
                <a:cubicBezTo>
                  <a:pt x="6135" y="698"/>
                  <a:pt x="6135" y="699"/>
                  <a:pt x="6135" y="700"/>
                </a:cubicBezTo>
                <a:cubicBezTo>
                  <a:pt x="6135" y="701"/>
                  <a:pt x="6135" y="701"/>
                  <a:pt x="6136" y="702"/>
                </a:cubicBezTo>
                <a:lnTo>
                  <a:pt x="6136" y="703"/>
                </a:lnTo>
                <a:lnTo>
                  <a:pt x="6137" y="703"/>
                </a:lnTo>
                <a:close/>
                <a:moveTo>
                  <a:pt x="6125" y="711"/>
                </a:moveTo>
                <a:cubicBezTo>
                  <a:pt x="6125" y="711"/>
                  <a:pt x="6126" y="710"/>
                  <a:pt x="6127" y="710"/>
                </a:cubicBezTo>
                <a:cubicBezTo>
                  <a:pt x="6128" y="709"/>
                  <a:pt x="6129" y="708"/>
                  <a:pt x="6130" y="708"/>
                </a:cubicBezTo>
                <a:cubicBezTo>
                  <a:pt x="6130" y="707"/>
                  <a:pt x="6131" y="706"/>
                  <a:pt x="6131" y="705"/>
                </a:cubicBezTo>
                <a:cubicBezTo>
                  <a:pt x="6131" y="705"/>
                  <a:pt x="6131" y="704"/>
                  <a:pt x="6130" y="704"/>
                </a:cubicBezTo>
                <a:cubicBezTo>
                  <a:pt x="6130" y="704"/>
                  <a:pt x="6129" y="705"/>
                  <a:pt x="6128" y="705"/>
                </a:cubicBezTo>
                <a:cubicBezTo>
                  <a:pt x="6127" y="706"/>
                  <a:pt x="6126" y="707"/>
                  <a:pt x="6125" y="708"/>
                </a:cubicBezTo>
                <a:cubicBezTo>
                  <a:pt x="6125" y="708"/>
                  <a:pt x="6124" y="709"/>
                  <a:pt x="6124" y="710"/>
                </a:cubicBezTo>
                <a:cubicBezTo>
                  <a:pt x="6124" y="710"/>
                  <a:pt x="6124" y="711"/>
                  <a:pt x="6125" y="711"/>
                </a:cubicBezTo>
                <a:close/>
                <a:moveTo>
                  <a:pt x="6107" y="725"/>
                </a:moveTo>
                <a:cubicBezTo>
                  <a:pt x="6107" y="725"/>
                  <a:pt x="6109" y="724"/>
                  <a:pt x="6110" y="722"/>
                </a:cubicBezTo>
                <a:cubicBezTo>
                  <a:pt x="6112" y="720"/>
                  <a:pt x="6112" y="718"/>
                  <a:pt x="6112" y="718"/>
                </a:cubicBezTo>
                <a:lnTo>
                  <a:pt x="6110" y="720"/>
                </a:lnTo>
                <a:cubicBezTo>
                  <a:pt x="6107" y="722"/>
                  <a:pt x="6106" y="724"/>
                  <a:pt x="6106" y="725"/>
                </a:cubicBezTo>
                <a:cubicBezTo>
                  <a:pt x="6106" y="725"/>
                  <a:pt x="6106" y="725"/>
                  <a:pt x="6107" y="725"/>
                </a:cubicBezTo>
                <a:close/>
                <a:moveTo>
                  <a:pt x="6060" y="766"/>
                </a:moveTo>
                <a:cubicBezTo>
                  <a:pt x="6060" y="766"/>
                  <a:pt x="6063" y="764"/>
                  <a:pt x="6067" y="761"/>
                </a:cubicBezTo>
                <a:cubicBezTo>
                  <a:pt x="6071" y="758"/>
                  <a:pt x="6074" y="757"/>
                  <a:pt x="6076" y="756"/>
                </a:cubicBezTo>
                <a:cubicBezTo>
                  <a:pt x="6079" y="756"/>
                  <a:pt x="6080" y="755"/>
                  <a:pt x="6080" y="755"/>
                </a:cubicBezTo>
                <a:lnTo>
                  <a:pt x="6080" y="754"/>
                </a:lnTo>
                <a:cubicBezTo>
                  <a:pt x="6080" y="752"/>
                  <a:pt x="6083" y="749"/>
                  <a:pt x="6087" y="744"/>
                </a:cubicBezTo>
                <a:lnTo>
                  <a:pt x="6093" y="739"/>
                </a:lnTo>
                <a:cubicBezTo>
                  <a:pt x="6092" y="739"/>
                  <a:pt x="6091" y="739"/>
                  <a:pt x="6090" y="740"/>
                </a:cubicBezTo>
                <a:cubicBezTo>
                  <a:pt x="6088" y="741"/>
                  <a:pt x="6084" y="745"/>
                  <a:pt x="6077" y="751"/>
                </a:cubicBezTo>
                <a:cubicBezTo>
                  <a:pt x="6075" y="753"/>
                  <a:pt x="6072" y="755"/>
                  <a:pt x="6070" y="757"/>
                </a:cubicBezTo>
                <a:cubicBezTo>
                  <a:pt x="6068" y="758"/>
                  <a:pt x="6066" y="758"/>
                  <a:pt x="6065" y="758"/>
                </a:cubicBezTo>
                <a:lnTo>
                  <a:pt x="6064" y="758"/>
                </a:lnTo>
                <a:cubicBezTo>
                  <a:pt x="6063" y="758"/>
                  <a:pt x="6061" y="759"/>
                  <a:pt x="6060" y="761"/>
                </a:cubicBezTo>
                <a:cubicBezTo>
                  <a:pt x="6059" y="763"/>
                  <a:pt x="6058" y="765"/>
                  <a:pt x="6058" y="765"/>
                </a:cubicBezTo>
                <a:cubicBezTo>
                  <a:pt x="6058" y="766"/>
                  <a:pt x="6059" y="766"/>
                  <a:pt x="6060" y="766"/>
                </a:cubicBezTo>
                <a:close/>
                <a:moveTo>
                  <a:pt x="6066" y="769"/>
                </a:moveTo>
                <a:cubicBezTo>
                  <a:pt x="6068" y="769"/>
                  <a:pt x="6068" y="768"/>
                  <a:pt x="6069" y="768"/>
                </a:cubicBezTo>
                <a:cubicBezTo>
                  <a:pt x="6069" y="767"/>
                  <a:pt x="6068" y="767"/>
                  <a:pt x="6067" y="766"/>
                </a:cubicBezTo>
                <a:cubicBezTo>
                  <a:pt x="6066" y="765"/>
                  <a:pt x="6065" y="765"/>
                  <a:pt x="6065" y="765"/>
                </a:cubicBezTo>
                <a:cubicBezTo>
                  <a:pt x="6065" y="765"/>
                  <a:pt x="6064" y="766"/>
                  <a:pt x="6064" y="767"/>
                </a:cubicBezTo>
                <a:cubicBezTo>
                  <a:pt x="6064" y="768"/>
                  <a:pt x="6065" y="769"/>
                  <a:pt x="6066" y="769"/>
                </a:cubicBezTo>
                <a:close/>
                <a:moveTo>
                  <a:pt x="6031" y="780"/>
                </a:moveTo>
                <a:cubicBezTo>
                  <a:pt x="6032" y="780"/>
                  <a:pt x="6033" y="780"/>
                  <a:pt x="6033" y="779"/>
                </a:cubicBezTo>
                <a:lnTo>
                  <a:pt x="6033" y="778"/>
                </a:lnTo>
                <a:lnTo>
                  <a:pt x="6033" y="777"/>
                </a:lnTo>
                <a:lnTo>
                  <a:pt x="6038" y="778"/>
                </a:lnTo>
                <a:cubicBezTo>
                  <a:pt x="6039" y="778"/>
                  <a:pt x="6040" y="778"/>
                  <a:pt x="6040" y="777"/>
                </a:cubicBezTo>
                <a:lnTo>
                  <a:pt x="6039" y="774"/>
                </a:lnTo>
                <a:cubicBezTo>
                  <a:pt x="6039" y="774"/>
                  <a:pt x="6040" y="775"/>
                  <a:pt x="6042" y="777"/>
                </a:cubicBezTo>
                <a:cubicBezTo>
                  <a:pt x="6044" y="778"/>
                  <a:pt x="6045" y="779"/>
                  <a:pt x="6046" y="779"/>
                </a:cubicBezTo>
                <a:lnTo>
                  <a:pt x="6045" y="778"/>
                </a:lnTo>
                <a:cubicBezTo>
                  <a:pt x="6045" y="776"/>
                  <a:pt x="6047" y="774"/>
                  <a:pt x="6051" y="773"/>
                </a:cubicBezTo>
                <a:cubicBezTo>
                  <a:pt x="6056" y="771"/>
                  <a:pt x="6058" y="770"/>
                  <a:pt x="6058" y="768"/>
                </a:cubicBezTo>
                <a:cubicBezTo>
                  <a:pt x="6058" y="767"/>
                  <a:pt x="6057" y="766"/>
                  <a:pt x="6056" y="764"/>
                </a:cubicBezTo>
                <a:cubicBezTo>
                  <a:pt x="6055" y="763"/>
                  <a:pt x="6054" y="762"/>
                  <a:pt x="6054" y="762"/>
                </a:cubicBezTo>
                <a:cubicBezTo>
                  <a:pt x="6053" y="762"/>
                  <a:pt x="6053" y="762"/>
                  <a:pt x="6053" y="763"/>
                </a:cubicBezTo>
                <a:lnTo>
                  <a:pt x="6053" y="764"/>
                </a:lnTo>
                <a:cubicBezTo>
                  <a:pt x="6053" y="766"/>
                  <a:pt x="6053" y="767"/>
                  <a:pt x="6052" y="768"/>
                </a:cubicBezTo>
                <a:cubicBezTo>
                  <a:pt x="6052" y="770"/>
                  <a:pt x="6051" y="770"/>
                  <a:pt x="6050" y="770"/>
                </a:cubicBezTo>
                <a:lnTo>
                  <a:pt x="6050" y="767"/>
                </a:lnTo>
                <a:cubicBezTo>
                  <a:pt x="6050" y="767"/>
                  <a:pt x="6050" y="767"/>
                  <a:pt x="6050" y="767"/>
                </a:cubicBezTo>
                <a:lnTo>
                  <a:pt x="6035" y="770"/>
                </a:lnTo>
                <a:cubicBezTo>
                  <a:pt x="6026" y="774"/>
                  <a:pt x="6021" y="776"/>
                  <a:pt x="6020" y="777"/>
                </a:cubicBezTo>
                <a:lnTo>
                  <a:pt x="6028" y="776"/>
                </a:lnTo>
                <a:cubicBezTo>
                  <a:pt x="6029" y="776"/>
                  <a:pt x="6029" y="777"/>
                  <a:pt x="6029" y="778"/>
                </a:cubicBezTo>
                <a:cubicBezTo>
                  <a:pt x="6029" y="779"/>
                  <a:pt x="6030" y="780"/>
                  <a:pt x="6031" y="780"/>
                </a:cubicBezTo>
                <a:close/>
                <a:moveTo>
                  <a:pt x="6054" y="795"/>
                </a:moveTo>
                <a:cubicBezTo>
                  <a:pt x="6057" y="795"/>
                  <a:pt x="6060" y="794"/>
                  <a:pt x="6062" y="793"/>
                </a:cubicBezTo>
                <a:cubicBezTo>
                  <a:pt x="6063" y="792"/>
                  <a:pt x="6064" y="792"/>
                  <a:pt x="6065" y="791"/>
                </a:cubicBezTo>
                <a:cubicBezTo>
                  <a:pt x="6066" y="791"/>
                  <a:pt x="6067" y="791"/>
                  <a:pt x="6068" y="791"/>
                </a:cubicBezTo>
                <a:cubicBezTo>
                  <a:pt x="6069" y="790"/>
                  <a:pt x="6071" y="790"/>
                  <a:pt x="6073" y="789"/>
                </a:cubicBezTo>
                <a:cubicBezTo>
                  <a:pt x="6075" y="788"/>
                  <a:pt x="6077" y="787"/>
                  <a:pt x="6079" y="786"/>
                </a:cubicBezTo>
                <a:cubicBezTo>
                  <a:pt x="6081" y="785"/>
                  <a:pt x="6081" y="784"/>
                  <a:pt x="6081" y="784"/>
                </a:cubicBezTo>
                <a:cubicBezTo>
                  <a:pt x="6081" y="784"/>
                  <a:pt x="6081" y="784"/>
                  <a:pt x="6081" y="784"/>
                </a:cubicBezTo>
                <a:lnTo>
                  <a:pt x="6077" y="785"/>
                </a:lnTo>
                <a:cubicBezTo>
                  <a:pt x="6076" y="785"/>
                  <a:pt x="6076" y="784"/>
                  <a:pt x="6076" y="784"/>
                </a:cubicBezTo>
                <a:lnTo>
                  <a:pt x="6076" y="782"/>
                </a:lnTo>
                <a:cubicBezTo>
                  <a:pt x="6077" y="780"/>
                  <a:pt x="6080" y="779"/>
                  <a:pt x="6083" y="779"/>
                </a:cubicBezTo>
                <a:cubicBezTo>
                  <a:pt x="6087" y="779"/>
                  <a:pt x="6089" y="779"/>
                  <a:pt x="6090" y="778"/>
                </a:cubicBezTo>
                <a:lnTo>
                  <a:pt x="6090" y="777"/>
                </a:lnTo>
                <a:lnTo>
                  <a:pt x="6090" y="776"/>
                </a:lnTo>
                <a:lnTo>
                  <a:pt x="6087" y="778"/>
                </a:lnTo>
                <a:cubicBezTo>
                  <a:pt x="6086" y="778"/>
                  <a:pt x="6086" y="777"/>
                  <a:pt x="6086" y="777"/>
                </a:cubicBezTo>
                <a:lnTo>
                  <a:pt x="6087" y="776"/>
                </a:lnTo>
                <a:cubicBezTo>
                  <a:pt x="6088" y="774"/>
                  <a:pt x="6089" y="774"/>
                  <a:pt x="6092" y="774"/>
                </a:cubicBezTo>
                <a:lnTo>
                  <a:pt x="6093" y="774"/>
                </a:lnTo>
                <a:cubicBezTo>
                  <a:pt x="6094" y="774"/>
                  <a:pt x="6094" y="774"/>
                  <a:pt x="6094" y="774"/>
                </a:cubicBezTo>
                <a:lnTo>
                  <a:pt x="6093" y="772"/>
                </a:lnTo>
                <a:cubicBezTo>
                  <a:pt x="6093" y="769"/>
                  <a:pt x="6097" y="765"/>
                  <a:pt x="6105" y="759"/>
                </a:cubicBezTo>
                <a:cubicBezTo>
                  <a:pt x="6129" y="738"/>
                  <a:pt x="6148" y="715"/>
                  <a:pt x="6162" y="689"/>
                </a:cubicBezTo>
                <a:cubicBezTo>
                  <a:pt x="6175" y="666"/>
                  <a:pt x="6182" y="645"/>
                  <a:pt x="6182" y="627"/>
                </a:cubicBezTo>
                <a:cubicBezTo>
                  <a:pt x="6182" y="621"/>
                  <a:pt x="6181" y="613"/>
                  <a:pt x="6178" y="604"/>
                </a:cubicBezTo>
                <a:cubicBezTo>
                  <a:pt x="6174" y="590"/>
                  <a:pt x="6171" y="583"/>
                  <a:pt x="6169" y="583"/>
                </a:cubicBezTo>
                <a:cubicBezTo>
                  <a:pt x="6168" y="583"/>
                  <a:pt x="6168" y="583"/>
                  <a:pt x="6168" y="583"/>
                </a:cubicBezTo>
                <a:lnTo>
                  <a:pt x="6168" y="582"/>
                </a:lnTo>
                <a:cubicBezTo>
                  <a:pt x="6168" y="579"/>
                  <a:pt x="6167" y="577"/>
                  <a:pt x="6166" y="575"/>
                </a:cubicBezTo>
                <a:cubicBezTo>
                  <a:pt x="6164" y="573"/>
                  <a:pt x="6163" y="572"/>
                  <a:pt x="6162" y="572"/>
                </a:cubicBezTo>
                <a:lnTo>
                  <a:pt x="6162" y="573"/>
                </a:lnTo>
                <a:lnTo>
                  <a:pt x="6164" y="576"/>
                </a:lnTo>
                <a:cubicBezTo>
                  <a:pt x="6167" y="585"/>
                  <a:pt x="6168" y="597"/>
                  <a:pt x="6168" y="609"/>
                </a:cubicBezTo>
                <a:cubicBezTo>
                  <a:pt x="6168" y="615"/>
                  <a:pt x="6168" y="623"/>
                  <a:pt x="6167" y="634"/>
                </a:cubicBezTo>
                <a:lnTo>
                  <a:pt x="6167" y="640"/>
                </a:lnTo>
                <a:cubicBezTo>
                  <a:pt x="6167" y="641"/>
                  <a:pt x="6166" y="642"/>
                  <a:pt x="6165" y="642"/>
                </a:cubicBezTo>
                <a:cubicBezTo>
                  <a:pt x="6164" y="642"/>
                  <a:pt x="6164" y="642"/>
                  <a:pt x="6164" y="643"/>
                </a:cubicBezTo>
                <a:lnTo>
                  <a:pt x="6164" y="645"/>
                </a:lnTo>
                <a:lnTo>
                  <a:pt x="6164" y="646"/>
                </a:lnTo>
                <a:cubicBezTo>
                  <a:pt x="6164" y="648"/>
                  <a:pt x="6164" y="649"/>
                  <a:pt x="6163" y="649"/>
                </a:cubicBezTo>
                <a:cubicBezTo>
                  <a:pt x="6162" y="650"/>
                  <a:pt x="6162" y="651"/>
                  <a:pt x="6162" y="653"/>
                </a:cubicBezTo>
                <a:lnTo>
                  <a:pt x="6162" y="656"/>
                </a:lnTo>
                <a:cubicBezTo>
                  <a:pt x="6162" y="656"/>
                  <a:pt x="6162" y="656"/>
                  <a:pt x="6162" y="657"/>
                </a:cubicBezTo>
                <a:cubicBezTo>
                  <a:pt x="6162" y="657"/>
                  <a:pt x="6161" y="658"/>
                  <a:pt x="6161" y="658"/>
                </a:cubicBezTo>
                <a:cubicBezTo>
                  <a:pt x="6160" y="658"/>
                  <a:pt x="6160" y="658"/>
                  <a:pt x="6160" y="659"/>
                </a:cubicBezTo>
                <a:lnTo>
                  <a:pt x="6160" y="662"/>
                </a:lnTo>
                <a:lnTo>
                  <a:pt x="6160" y="664"/>
                </a:lnTo>
                <a:cubicBezTo>
                  <a:pt x="6160" y="664"/>
                  <a:pt x="6160" y="664"/>
                  <a:pt x="6160" y="664"/>
                </a:cubicBezTo>
                <a:lnTo>
                  <a:pt x="6157" y="663"/>
                </a:lnTo>
                <a:cubicBezTo>
                  <a:pt x="6156" y="663"/>
                  <a:pt x="6156" y="663"/>
                  <a:pt x="6156" y="663"/>
                </a:cubicBezTo>
                <a:lnTo>
                  <a:pt x="6157" y="668"/>
                </a:lnTo>
                <a:cubicBezTo>
                  <a:pt x="6157" y="669"/>
                  <a:pt x="6156" y="669"/>
                  <a:pt x="6156" y="669"/>
                </a:cubicBezTo>
                <a:cubicBezTo>
                  <a:pt x="6155" y="669"/>
                  <a:pt x="6155" y="670"/>
                  <a:pt x="6155" y="670"/>
                </a:cubicBezTo>
                <a:lnTo>
                  <a:pt x="6155" y="672"/>
                </a:lnTo>
                <a:lnTo>
                  <a:pt x="6155" y="674"/>
                </a:lnTo>
                <a:cubicBezTo>
                  <a:pt x="6155" y="674"/>
                  <a:pt x="6155" y="674"/>
                  <a:pt x="6154" y="674"/>
                </a:cubicBezTo>
                <a:cubicBezTo>
                  <a:pt x="6153" y="674"/>
                  <a:pt x="6153" y="674"/>
                  <a:pt x="6152" y="674"/>
                </a:cubicBezTo>
                <a:lnTo>
                  <a:pt x="6153" y="678"/>
                </a:lnTo>
                <a:cubicBezTo>
                  <a:pt x="6153" y="679"/>
                  <a:pt x="6153" y="680"/>
                  <a:pt x="6152" y="681"/>
                </a:cubicBezTo>
                <a:cubicBezTo>
                  <a:pt x="6151" y="682"/>
                  <a:pt x="6150" y="683"/>
                  <a:pt x="6149" y="684"/>
                </a:cubicBezTo>
                <a:cubicBezTo>
                  <a:pt x="6148" y="684"/>
                  <a:pt x="6147" y="685"/>
                  <a:pt x="6147" y="685"/>
                </a:cubicBezTo>
                <a:cubicBezTo>
                  <a:pt x="6147" y="685"/>
                  <a:pt x="6146" y="684"/>
                  <a:pt x="6145" y="683"/>
                </a:cubicBezTo>
                <a:cubicBezTo>
                  <a:pt x="6145" y="682"/>
                  <a:pt x="6144" y="682"/>
                  <a:pt x="6143" y="682"/>
                </a:cubicBezTo>
                <a:cubicBezTo>
                  <a:pt x="6143" y="682"/>
                  <a:pt x="6143" y="682"/>
                  <a:pt x="6142" y="683"/>
                </a:cubicBezTo>
                <a:cubicBezTo>
                  <a:pt x="6142" y="683"/>
                  <a:pt x="6142" y="684"/>
                  <a:pt x="6142" y="684"/>
                </a:cubicBezTo>
                <a:cubicBezTo>
                  <a:pt x="6142" y="685"/>
                  <a:pt x="6143" y="686"/>
                  <a:pt x="6144" y="686"/>
                </a:cubicBezTo>
                <a:cubicBezTo>
                  <a:pt x="6146" y="687"/>
                  <a:pt x="6147" y="688"/>
                  <a:pt x="6147" y="688"/>
                </a:cubicBezTo>
                <a:cubicBezTo>
                  <a:pt x="6147" y="689"/>
                  <a:pt x="6146" y="690"/>
                  <a:pt x="6144" y="691"/>
                </a:cubicBezTo>
                <a:cubicBezTo>
                  <a:pt x="6143" y="693"/>
                  <a:pt x="6142" y="693"/>
                  <a:pt x="6142" y="694"/>
                </a:cubicBezTo>
                <a:lnTo>
                  <a:pt x="6144" y="693"/>
                </a:lnTo>
                <a:lnTo>
                  <a:pt x="6144" y="694"/>
                </a:lnTo>
                <a:cubicBezTo>
                  <a:pt x="6144" y="695"/>
                  <a:pt x="6141" y="699"/>
                  <a:pt x="6133" y="708"/>
                </a:cubicBezTo>
                <a:cubicBezTo>
                  <a:pt x="6128" y="713"/>
                  <a:pt x="6124" y="718"/>
                  <a:pt x="6123" y="721"/>
                </a:cubicBezTo>
                <a:cubicBezTo>
                  <a:pt x="6120" y="725"/>
                  <a:pt x="6118" y="727"/>
                  <a:pt x="6115" y="727"/>
                </a:cubicBezTo>
                <a:lnTo>
                  <a:pt x="6115" y="727"/>
                </a:lnTo>
                <a:cubicBezTo>
                  <a:pt x="6113" y="727"/>
                  <a:pt x="6107" y="731"/>
                  <a:pt x="6098" y="739"/>
                </a:cubicBezTo>
                <a:cubicBezTo>
                  <a:pt x="6089" y="748"/>
                  <a:pt x="6085" y="753"/>
                  <a:pt x="6085" y="755"/>
                </a:cubicBezTo>
                <a:lnTo>
                  <a:pt x="6085" y="756"/>
                </a:lnTo>
                <a:cubicBezTo>
                  <a:pt x="6085" y="758"/>
                  <a:pt x="6083" y="761"/>
                  <a:pt x="6079" y="764"/>
                </a:cubicBezTo>
                <a:cubicBezTo>
                  <a:pt x="6075" y="769"/>
                  <a:pt x="6071" y="771"/>
                  <a:pt x="6069" y="771"/>
                </a:cubicBezTo>
                <a:cubicBezTo>
                  <a:pt x="6067" y="771"/>
                  <a:pt x="6066" y="772"/>
                  <a:pt x="6066" y="773"/>
                </a:cubicBezTo>
                <a:cubicBezTo>
                  <a:pt x="6066" y="775"/>
                  <a:pt x="6064" y="777"/>
                  <a:pt x="6059" y="778"/>
                </a:cubicBezTo>
                <a:cubicBezTo>
                  <a:pt x="6058" y="778"/>
                  <a:pt x="6057" y="779"/>
                  <a:pt x="6055" y="779"/>
                </a:cubicBezTo>
                <a:lnTo>
                  <a:pt x="6054" y="779"/>
                </a:lnTo>
                <a:lnTo>
                  <a:pt x="6054" y="781"/>
                </a:lnTo>
                <a:cubicBezTo>
                  <a:pt x="6054" y="782"/>
                  <a:pt x="6053" y="783"/>
                  <a:pt x="6050" y="783"/>
                </a:cubicBezTo>
                <a:lnTo>
                  <a:pt x="6049" y="783"/>
                </a:lnTo>
                <a:cubicBezTo>
                  <a:pt x="6048" y="783"/>
                  <a:pt x="6048" y="783"/>
                  <a:pt x="6048" y="784"/>
                </a:cubicBezTo>
                <a:lnTo>
                  <a:pt x="6048" y="785"/>
                </a:lnTo>
                <a:cubicBezTo>
                  <a:pt x="6048" y="787"/>
                  <a:pt x="6047" y="789"/>
                  <a:pt x="6045" y="791"/>
                </a:cubicBezTo>
                <a:cubicBezTo>
                  <a:pt x="6043" y="792"/>
                  <a:pt x="6041" y="793"/>
                  <a:pt x="6041" y="793"/>
                </a:cubicBezTo>
                <a:cubicBezTo>
                  <a:pt x="6040" y="793"/>
                  <a:pt x="6040" y="793"/>
                  <a:pt x="6040" y="791"/>
                </a:cubicBezTo>
                <a:cubicBezTo>
                  <a:pt x="6039" y="790"/>
                  <a:pt x="6039" y="789"/>
                  <a:pt x="6039" y="789"/>
                </a:cubicBezTo>
                <a:cubicBezTo>
                  <a:pt x="6039" y="788"/>
                  <a:pt x="6039" y="788"/>
                  <a:pt x="6039" y="788"/>
                </a:cubicBezTo>
                <a:lnTo>
                  <a:pt x="6041" y="788"/>
                </a:lnTo>
                <a:cubicBezTo>
                  <a:pt x="6043" y="788"/>
                  <a:pt x="6044" y="788"/>
                  <a:pt x="6044" y="786"/>
                </a:cubicBezTo>
                <a:cubicBezTo>
                  <a:pt x="6044" y="785"/>
                  <a:pt x="6043" y="784"/>
                  <a:pt x="6042" y="783"/>
                </a:cubicBezTo>
                <a:cubicBezTo>
                  <a:pt x="6041" y="782"/>
                  <a:pt x="6040" y="781"/>
                  <a:pt x="6039" y="781"/>
                </a:cubicBezTo>
                <a:cubicBezTo>
                  <a:pt x="6039" y="781"/>
                  <a:pt x="6039" y="782"/>
                  <a:pt x="6039" y="783"/>
                </a:cubicBezTo>
                <a:lnTo>
                  <a:pt x="6039" y="784"/>
                </a:lnTo>
                <a:cubicBezTo>
                  <a:pt x="6039" y="785"/>
                  <a:pt x="6039" y="785"/>
                  <a:pt x="6038" y="785"/>
                </a:cubicBezTo>
                <a:cubicBezTo>
                  <a:pt x="6036" y="785"/>
                  <a:pt x="6033" y="785"/>
                  <a:pt x="6029" y="786"/>
                </a:cubicBezTo>
                <a:lnTo>
                  <a:pt x="6024" y="787"/>
                </a:lnTo>
                <a:cubicBezTo>
                  <a:pt x="6024" y="786"/>
                  <a:pt x="6025" y="786"/>
                  <a:pt x="6027" y="785"/>
                </a:cubicBezTo>
                <a:cubicBezTo>
                  <a:pt x="6028" y="784"/>
                  <a:pt x="6029" y="783"/>
                  <a:pt x="6029" y="783"/>
                </a:cubicBezTo>
                <a:cubicBezTo>
                  <a:pt x="6025" y="783"/>
                  <a:pt x="6021" y="782"/>
                  <a:pt x="6018" y="779"/>
                </a:cubicBezTo>
                <a:cubicBezTo>
                  <a:pt x="6014" y="777"/>
                  <a:pt x="6013" y="776"/>
                  <a:pt x="6011" y="776"/>
                </a:cubicBezTo>
                <a:cubicBezTo>
                  <a:pt x="6010" y="776"/>
                  <a:pt x="6009" y="777"/>
                  <a:pt x="6009" y="779"/>
                </a:cubicBezTo>
                <a:cubicBezTo>
                  <a:pt x="6009" y="780"/>
                  <a:pt x="6011" y="781"/>
                  <a:pt x="6014" y="783"/>
                </a:cubicBezTo>
                <a:cubicBezTo>
                  <a:pt x="6019" y="787"/>
                  <a:pt x="6025" y="789"/>
                  <a:pt x="6031" y="789"/>
                </a:cubicBezTo>
                <a:lnTo>
                  <a:pt x="6033" y="788"/>
                </a:lnTo>
                <a:cubicBezTo>
                  <a:pt x="6035" y="788"/>
                  <a:pt x="6036" y="789"/>
                  <a:pt x="6038" y="792"/>
                </a:cubicBezTo>
                <a:cubicBezTo>
                  <a:pt x="6039" y="794"/>
                  <a:pt x="6043" y="795"/>
                  <a:pt x="6050" y="795"/>
                </a:cubicBezTo>
                <a:lnTo>
                  <a:pt x="6054" y="795"/>
                </a:lnTo>
                <a:close/>
                <a:moveTo>
                  <a:pt x="6009" y="741"/>
                </a:moveTo>
                <a:lnTo>
                  <a:pt x="6009" y="739"/>
                </a:lnTo>
                <a:cubicBezTo>
                  <a:pt x="6009" y="738"/>
                  <a:pt x="6009" y="737"/>
                  <a:pt x="6009" y="736"/>
                </a:cubicBezTo>
                <a:lnTo>
                  <a:pt x="6008" y="735"/>
                </a:lnTo>
                <a:cubicBezTo>
                  <a:pt x="6008" y="735"/>
                  <a:pt x="6008" y="736"/>
                  <a:pt x="6007" y="737"/>
                </a:cubicBezTo>
                <a:cubicBezTo>
                  <a:pt x="6007" y="740"/>
                  <a:pt x="6008" y="741"/>
                  <a:pt x="6008" y="741"/>
                </a:cubicBezTo>
                <a:lnTo>
                  <a:pt x="6009" y="741"/>
                </a:lnTo>
                <a:close/>
                <a:moveTo>
                  <a:pt x="6207" y="453"/>
                </a:moveTo>
                <a:lnTo>
                  <a:pt x="6205" y="453"/>
                </a:lnTo>
                <a:cubicBezTo>
                  <a:pt x="6203" y="453"/>
                  <a:pt x="6202" y="453"/>
                  <a:pt x="6202" y="453"/>
                </a:cubicBezTo>
                <a:cubicBezTo>
                  <a:pt x="6202" y="452"/>
                  <a:pt x="6203" y="451"/>
                  <a:pt x="6204" y="451"/>
                </a:cubicBezTo>
                <a:cubicBezTo>
                  <a:pt x="6204" y="450"/>
                  <a:pt x="6205" y="449"/>
                  <a:pt x="6207" y="448"/>
                </a:cubicBezTo>
                <a:cubicBezTo>
                  <a:pt x="6208" y="448"/>
                  <a:pt x="6209" y="448"/>
                  <a:pt x="6210" y="448"/>
                </a:cubicBezTo>
                <a:cubicBezTo>
                  <a:pt x="6211" y="448"/>
                  <a:pt x="6211" y="448"/>
                  <a:pt x="6211" y="448"/>
                </a:cubicBezTo>
                <a:cubicBezTo>
                  <a:pt x="6211" y="451"/>
                  <a:pt x="6209" y="452"/>
                  <a:pt x="6207" y="453"/>
                </a:cubicBezTo>
                <a:close/>
                <a:moveTo>
                  <a:pt x="6088" y="754"/>
                </a:moveTo>
                <a:cubicBezTo>
                  <a:pt x="6087" y="754"/>
                  <a:pt x="6087" y="754"/>
                  <a:pt x="6087" y="754"/>
                </a:cubicBezTo>
                <a:cubicBezTo>
                  <a:pt x="6087" y="752"/>
                  <a:pt x="6091" y="748"/>
                  <a:pt x="6099" y="741"/>
                </a:cubicBezTo>
                <a:cubicBezTo>
                  <a:pt x="6108" y="732"/>
                  <a:pt x="6113" y="728"/>
                  <a:pt x="6113" y="728"/>
                </a:cubicBezTo>
                <a:cubicBezTo>
                  <a:pt x="6113" y="728"/>
                  <a:pt x="6113" y="730"/>
                  <a:pt x="6111" y="733"/>
                </a:cubicBezTo>
                <a:cubicBezTo>
                  <a:pt x="6108" y="738"/>
                  <a:pt x="6104" y="742"/>
                  <a:pt x="6100" y="746"/>
                </a:cubicBezTo>
                <a:cubicBezTo>
                  <a:pt x="6094" y="751"/>
                  <a:pt x="6090" y="754"/>
                  <a:pt x="6088" y="754"/>
                </a:cubicBezTo>
                <a:close/>
                <a:moveTo>
                  <a:pt x="6175" y="620"/>
                </a:moveTo>
                <a:lnTo>
                  <a:pt x="6175" y="620"/>
                </a:lnTo>
                <a:cubicBezTo>
                  <a:pt x="6175" y="620"/>
                  <a:pt x="6174" y="620"/>
                  <a:pt x="6174" y="619"/>
                </a:cubicBezTo>
                <a:cubicBezTo>
                  <a:pt x="6174" y="617"/>
                  <a:pt x="6175" y="616"/>
                  <a:pt x="6175" y="614"/>
                </a:cubicBezTo>
                <a:cubicBezTo>
                  <a:pt x="6176" y="613"/>
                  <a:pt x="6177" y="612"/>
                  <a:pt x="6177" y="612"/>
                </a:cubicBezTo>
                <a:cubicBezTo>
                  <a:pt x="6177" y="612"/>
                  <a:pt x="6177" y="613"/>
                  <a:pt x="6177" y="615"/>
                </a:cubicBezTo>
                <a:cubicBezTo>
                  <a:pt x="6176" y="618"/>
                  <a:pt x="6176" y="620"/>
                  <a:pt x="6175" y="620"/>
                </a:cubicBezTo>
                <a:close/>
                <a:moveTo>
                  <a:pt x="6216" y="450"/>
                </a:moveTo>
                <a:cubicBezTo>
                  <a:pt x="6214" y="450"/>
                  <a:pt x="6214" y="449"/>
                  <a:pt x="6214" y="449"/>
                </a:cubicBezTo>
                <a:cubicBezTo>
                  <a:pt x="6214" y="448"/>
                  <a:pt x="6215" y="448"/>
                  <a:pt x="6217" y="448"/>
                </a:cubicBezTo>
                <a:cubicBezTo>
                  <a:pt x="6218" y="448"/>
                  <a:pt x="6219" y="448"/>
                  <a:pt x="6219" y="449"/>
                </a:cubicBezTo>
                <a:cubicBezTo>
                  <a:pt x="6219" y="450"/>
                  <a:pt x="6218" y="450"/>
                  <a:pt x="6216" y="450"/>
                </a:cubicBezTo>
                <a:close/>
                <a:moveTo>
                  <a:pt x="6051" y="644"/>
                </a:moveTo>
                <a:cubicBezTo>
                  <a:pt x="6051" y="644"/>
                  <a:pt x="6051" y="643"/>
                  <a:pt x="6051" y="643"/>
                </a:cubicBezTo>
                <a:cubicBezTo>
                  <a:pt x="6051" y="642"/>
                  <a:pt x="6051" y="642"/>
                  <a:pt x="6052" y="640"/>
                </a:cubicBezTo>
                <a:cubicBezTo>
                  <a:pt x="6052" y="639"/>
                  <a:pt x="6053" y="638"/>
                  <a:pt x="6053" y="637"/>
                </a:cubicBezTo>
                <a:cubicBezTo>
                  <a:pt x="6054" y="636"/>
                  <a:pt x="6055" y="635"/>
                  <a:pt x="6055" y="635"/>
                </a:cubicBezTo>
                <a:cubicBezTo>
                  <a:pt x="6055" y="635"/>
                  <a:pt x="6055" y="635"/>
                  <a:pt x="6055" y="636"/>
                </a:cubicBezTo>
                <a:cubicBezTo>
                  <a:pt x="6055" y="638"/>
                  <a:pt x="6055" y="639"/>
                  <a:pt x="6053" y="641"/>
                </a:cubicBezTo>
                <a:cubicBezTo>
                  <a:pt x="6052" y="643"/>
                  <a:pt x="6052" y="644"/>
                  <a:pt x="6051" y="644"/>
                </a:cubicBezTo>
                <a:close/>
                <a:moveTo>
                  <a:pt x="6264" y="442"/>
                </a:moveTo>
                <a:cubicBezTo>
                  <a:pt x="6262" y="442"/>
                  <a:pt x="6261" y="442"/>
                  <a:pt x="6261" y="442"/>
                </a:cubicBezTo>
                <a:cubicBezTo>
                  <a:pt x="6261" y="441"/>
                  <a:pt x="6262" y="441"/>
                  <a:pt x="6266" y="441"/>
                </a:cubicBezTo>
                <a:cubicBezTo>
                  <a:pt x="6268" y="441"/>
                  <a:pt x="6269" y="441"/>
                  <a:pt x="6269" y="442"/>
                </a:cubicBezTo>
                <a:cubicBezTo>
                  <a:pt x="6269" y="442"/>
                  <a:pt x="6267" y="442"/>
                  <a:pt x="6264" y="442"/>
                </a:cubicBezTo>
                <a:close/>
                <a:moveTo>
                  <a:pt x="6319" y="461"/>
                </a:moveTo>
                <a:lnTo>
                  <a:pt x="6319" y="461"/>
                </a:lnTo>
                <a:cubicBezTo>
                  <a:pt x="6316" y="461"/>
                  <a:pt x="6314" y="461"/>
                  <a:pt x="6314" y="460"/>
                </a:cubicBezTo>
                <a:cubicBezTo>
                  <a:pt x="6314" y="460"/>
                  <a:pt x="6315" y="460"/>
                  <a:pt x="6318" y="460"/>
                </a:cubicBezTo>
                <a:cubicBezTo>
                  <a:pt x="6319" y="460"/>
                  <a:pt x="6320" y="460"/>
                  <a:pt x="6320" y="460"/>
                </a:cubicBezTo>
                <a:lnTo>
                  <a:pt x="6319" y="461"/>
                </a:lnTo>
                <a:close/>
                <a:moveTo>
                  <a:pt x="6329" y="496"/>
                </a:moveTo>
                <a:cubicBezTo>
                  <a:pt x="6328" y="496"/>
                  <a:pt x="6327" y="495"/>
                  <a:pt x="6327" y="494"/>
                </a:cubicBezTo>
                <a:cubicBezTo>
                  <a:pt x="6327" y="493"/>
                  <a:pt x="6327" y="492"/>
                  <a:pt x="6328" y="492"/>
                </a:cubicBezTo>
                <a:cubicBezTo>
                  <a:pt x="6328" y="491"/>
                  <a:pt x="6329" y="490"/>
                  <a:pt x="6330" y="490"/>
                </a:cubicBezTo>
                <a:cubicBezTo>
                  <a:pt x="6331" y="490"/>
                  <a:pt x="6331" y="491"/>
                  <a:pt x="6331" y="492"/>
                </a:cubicBezTo>
                <a:cubicBezTo>
                  <a:pt x="6331" y="495"/>
                  <a:pt x="6330" y="496"/>
                  <a:pt x="6329" y="496"/>
                </a:cubicBezTo>
                <a:close/>
                <a:moveTo>
                  <a:pt x="6286" y="442"/>
                </a:moveTo>
                <a:cubicBezTo>
                  <a:pt x="6282" y="442"/>
                  <a:pt x="6280" y="441"/>
                  <a:pt x="6280" y="440"/>
                </a:cubicBezTo>
                <a:cubicBezTo>
                  <a:pt x="6280" y="440"/>
                  <a:pt x="6281" y="439"/>
                  <a:pt x="6283" y="439"/>
                </a:cubicBezTo>
                <a:cubicBezTo>
                  <a:pt x="6288" y="439"/>
                  <a:pt x="6290" y="440"/>
                  <a:pt x="6290" y="441"/>
                </a:cubicBezTo>
                <a:lnTo>
                  <a:pt x="6290" y="441"/>
                </a:lnTo>
                <a:cubicBezTo>
                  <a:pt x="6289" y="442"/>
                  <a:pt x="6288" y="442"/>
                  <a:pt x="6286" y="442"/>
                </a:cubicBezTo>
                <a:close/>
                <a:moveTo>
                  <a:pt x="6076" y="584"/>
                </a:moveTo>
                <a:lnTo>
                  <a:pt x="6076" y="584"/>
                </a:lnTo>
                <a:cubicBezTo>
                  <a:pt x="6075" y="584"/>
                  <a:pt x="6075" y="583"/>
                  <a:pt x="6075" y="582"/>
                </a:cubicBezTo>
                <a:cubicBezTo>
                  <a:pt x="6075" y="581"/>
                  <a:pt x="6076" y="580"/>
                  <a:pt x="6076" y="579"/>
                </a:cubicBezTo>
                <a:cubicBezTo>
                  <a:pt x="6076" y="578"/>
                  <a:pt x="6077" y="578"/>
                  <a:pt x="6078" y="578"/>
                </a:cubicBezTo>
                <a:lnTo>
                  <a:pt x="6079" y="578"/>
                </a:lnTo>
                <a:cubicBezTo>
                  <a:pt x="6079" y="579"/>
                  <a:pt x="6078" y="580"/>
                  <a:pt x="6078" y="581"/>
                </a:cubicBezTo>
                <a:cubicBezTo>
                  <a:pt x="6078" y="583"/>
                  <a:pt x="6077" y="584"/>
                  <a:pt x="6076" y="584"/>
                </a:cubicBezTo>
                <a:close/>
                <a:moveTo>
                  <a:pt x="6254" y="644"/>
                </a:moveTo>
                <a:cubicBezTo>
                  <a:pt x="6254" y="644"/>
                  <a:pt x="6253" y="644"/>
                  <a:pt x="6253" y="643"/>
                </a:cubicBezTo>
                <a:cubicBezTo>
                  <a:pt x="6253" y="642"/>
                  <a:pt x="6254" y="642"/>
                  <a:pt x="6254" y="641"/>
                </a:cubicBezTo>
                <a:cubicBezTo>
                  <a:pt x="6254" y="640"/>
                  <a:pt x="6255" y="639"/>
                  <a:pt x="6256" y="638"/>
                </a:cubicBezTo>
                <a:cubicBezTo>
                  <a:pt x="6256" y="637"/>
                  <a:pt x="6256" y="637"/>
                  <a:pt x="6257" y="637"/>
                </a:cubicBezTo>
                <a:cubicBezTo>
                  <a:pt x="6257" y="637"/>
                  <a:pt x="6258" y="637"/>
                  <a:pt x="6258" y="638"/>
                </a:cubicBezTo>
                <a:cubicBezTo>
                  <a:pt x="6258" y="638"/>
                  <a:pt x="6258" y="639"/>
                  <a:pt x="6258" y="639"/>
                </a:cubicBezTo>
                <a:cubicBezTo>
                  <a:pt x="6258" y="639"/>
                  <a:pt x="6258" y="640"/>
                  <a:pt x="6257" y="641"/>
                </a:cubicBezTo>
                <a:cubicBezTo>
                  <a:pt x="6257" y="642"/>
                  <a:pt x="6256" y="642"/>
                  <a:pt x="6256" y="643"/>
                </a:cubicBezTo>
                <a:cubicBezTo>
                  <a:pt x="6256" y="644"/>
                  <a:pt x="6255" y="644"/>
                  <a:pt x="6254" y="644"/>
                </a:cubicBezTo>
                <a:close/>
                <a:moveTo>
                  <a:pt x="6244" y="674"/>
                </a:moveTo>
                <a:cubicBezTo>
                  <a:pt x="6244" y="674"/>
                  <a:pt x="6244" y="674"/>
                  <a:pt x="6244" y="674"/>
                </a:cubicBezTo>
                <a:lnTo>
                  <a:pt x="6245" y="672"/>
                </a:lnTo>
                <a:cubicBezTo>
                  <a:pt x="6246" y="671"/>
                  <a:pt x="6247" y="669"/>
                  <a:pt x="6247" y="668"/>
                </a:cubicBezTo>
                <a:lnTo>
                  <a:pt x="6247" y="663"/>
                </a:lnTo>
                <a:lnTo>
                  <a:pt x="6249" y="664"/>
                </a:lnTo>
                <a:cubicBezTo>
                  <a:pt x="6249" y="664"/>
                  <a:pt x="6250" y="662"/>
                  <a:pt x="6250" y="660"/>
                </a:cubicBezTo>
                <a:lnTo>
                  <a:pt x="6250" y="658"/>
                </a:lnTo>
                <a:cubicBezTo>
                  <a:pt x="6250" y="655"/>
                  <a:pt x="6250" y="653"/>
                  <a:pt x="6251" y="650"/>
                </a:cubicBezTo>
                <a:cubicBezTo>
                  <a:pt x="6252" y="647"/>
                  <a:pt x="6254" y="646"/>
                  <a:pt x="6255" y="646"/>
                </a:cubicBezTo>
                <a:cubicBezTo>
                  <a:pt x="6256" y="646"/>
                  <a:pt x="6256" y="647"/>
                  <a:pt x="6256" y="647"/>
                </a:cubicBezTo>
                <a:cubicBezTo>
                  <a:pt x="6256" y="648"/>
                  <a:pt x="6256" y="649"/>
                  <a:pt x="6255" y="650"/>
                </a:cubicBezTo>
                <a:cubicBezTo>
                  <a:pt x="6255" y="651"/>
                  <a:pt x="6254" y="654"/>
                  <a:pt x="6252" y="661"/>
                </a:cubicBezTo>
                <a:lnTo>
                  <a:pt x="6251" y="665"/>
                </a:lnTo>
                <a:cubicBezTo>
                  <a:pt x="6250" y="667"/>
                  <a:pt x="6249" y="669"/>
                  <a:pt x="6249" y="670"/>
                </a:cubicBezTo>
                <a:cubicBezTo>
                  <a:pt x="6249" y="671"/>
                  <a:pt x="6249" y="672"/>
                  <a:pt x="6248" y="673"/>
                </a:cubicBezTo>
                <a:cubicBezTo>
                  <a:pt x="6247" y="674"/>
                  <a:pt x="6246" y="674"/>
                  <a:pt x="6244" y="674"/>
                </a:cubicBezTo>
                <a:close/>
                <a:moveTo>
                  <a:pt x="6347" y="697"/>
                </a:moveTo>
                <a:cubicBezTo>
                  <a:pt x="6346" y="697"/>
                  <a:pt x="6346" y="697"/>
                  <a:pt x="6346" y="696"/>
                </a:cubicBezTo>
                <a:cubicBezTo>
                  <a:pt x="6346" y="696"/>
                  <a:pt x="6347" y="695"/>
                  <a:pt x="6348" y="695"/>
                </a:cubicBezTo>
                <a:cubicBezTo>
                  <a:pt x="6348" y="694"/>
                  <a:pt x="6349" y="693"/>
                  <a:pt x="6351" y="692"/>
                </a:cubicBezTo>
                <a:cubicBezTo>
                  <a:pt x="6352" y="691"/>
                  <a:pt x="6353" y="690"/>
                  <a:pt x="6353" y="690"/>
                </a:cubicBezTo>
                <a:cubicBezTo>
                  <a:pt x="6353" y="691"/>
                  <a:pt x="6353" y="691"/>
                  <a:pt x="6351" y="693"/>
                </a:cubicBezTo>
                <a:cubicBezTo>
                  <a:pt x="6349" y="696"/>
                  <a:pt x="6348" y="697"/>
                  <a:pt x="6347" y="697"/>
                </a:cubicBezTo>
                <a:close/>
                <a:moveTo>
                  <a:pt x="6082" y="569"/>
                </a:moveTo>
                <a:close/>
                <a:moveTo>
                  <a:pt x="6365" y="676"/>
                </a:moveTo>
                <a:lnTo>
                  <a:pt x="6364" y="676"/>
                </a:lnTo>
                <a:cubicBezTo>
                  <a:pt x="6364" y="674"/>
                  <a:pt x="6365" y="673"/>
                  <a:pt x="6368" y="672"/>
                </a:cubicBezTo>
                <a:cubicBezTo>
                  <a:pt x="6370" y="671"/>
                  <a:pt x="6372" y="670"/>
                  <a:pt x="6372" y="670"/>
                </a:cubicBezTo>
                <a:lnTo>
                  <a:pt x="6373" y="670"/>
                </a:lnTo>
                <a:cubicBezTo>
                  <a:pt x="6373" y="671"/>
                  <a:pt x="6372" y="671"/>
                  <a:pt x="6371" y="672"/>
                </a:cubicBezTo>
                <a:cubicBezTo>
                  <a:pt x="6370" y="673"/>
                  <a:pt x="6368" y="674"/>
                  <a:pt x="6365" y="676"/>
                </a:cubicBezTo>
                <a:close/>
                <a:moveTo>
                  <a:pt x="6058" y="625"/>
                </a:moveTo>
                <a:cubicBezTo>
                  <a:pt x="6058" y="625"/>
                  <a:pt x="6058" y="625"/>
                  <a:pt x="6058" y="625"/>
                </a:cubicBezTo>
                <a:cubicBezTo>
                  <a:pt x="6058" y="622"/>
                  <a:pt x="6058" y="620"/>
                  <a:pt x="6060" y="619"/>
                </a:cubicBezTo>
                <a:lnTo>
                  <a:pt x="6061" y="617"/>
                </a:lnTo>
                <a:cubicBezTo>
                  <a:pt x="6062" y="617"/>
                  <a:pt x="6062" y="617"/>
                  <a:pt x="6062" y="617"/>
                </a:cubicBezTo>
                <a:cubicBezTo>
                  <a:pt x="6062" y="618"/>
                  <a:pt x="6061" y="619"/>
                  <a:pt x="6061" y="620"/>
                </a:cubicBezTo>
                <a:cubicBezTo>
                  <a:pt x="6061" y="621"/>
                  <a:pt x="6060" y="622"/>
                  <a:pt x="6060" y="624"/>
                </a:cubicBezTo>
                <a:cubicBezTo>
                  <a:pt x="6059" y="625"/>
                  <a:pt x="6058" y="625"/>
                  <a:pt x="6058" y="625"/>
                </a:cubicBezTo>
                <a:close/>
                <a:moveTo>
                  <a:pt x="6062" y="613"/>
                </a:moveTo>
                <a:cubicBezTo>
                  <a:pt x="6062" y="613"/>
                  <a:pt x="6062" y="613"/>
                  <a:pt x="6062" y="613"/>
                </a:cubicBezTo>
                <a:cubicBezTo>
                  <a:pt x="6062" y="611"/>
                  <a:pt x="6063" y="609"/>
                  <a:pt x="6065" y="605"/>
                </a:cubicBezTo>
                <a:cubicBezTo>
                  <a:pt x="6067" y="602"/>
                  <a:pt x="6068" y="601"/>
                  <a:pt x="6069" y="601"/>
                </a:cubicBezTo>
                <a:lnTo>
                  <a:pt x="6069" y="601"/>
                </a:lnTo>
                <a:cubicBezTo>
                  <a:pt x="6069" y="603"/>
                  <a:pt x="6068" y="605"/>
                  <a:pt x="6065" y="609"/>
                </a:cubicBezTo>
                <a:cubicBezTo>
                  <a:pt x="6064" y="612"/>
                  <a:pt x="6063" y="613"/>
                  <a:pt x="6062" y="613"/>
                </a:cubicBezTo>
                <a:close/>
                <a:moveTo>
                  <a:pt x="6081" y="574"/>
                </a:moveTo>
                <a:cubicBezTo>
                  <a:pt x="6081" y="572"/>
                  <a:pt x="6082" y="568"/>
                  <a:pt x="6086" y="562"/>
                </a:cubicBezTo>
                <a:cubicBezTo>
                  <a:pt x="6088" y="558"/>
                  <a:pt x="6090" y="556"/>
                  <a:pt x="6090" y="556"/>
                </a:cubicBezTo>
                <a:lnTo>
                  <a:pt x="6091" y="557"/>
                </a:lnTo>
                <a:lnTo>
                  <a:pt x="6088" y="562"/>
                </a:lnTo>
                <a:cubicBezTo>
                  <a:pt x="6084" y="570"/>
                  <a:pt x="6081" y="574"/>
                  <a:pt x="6081" y="574"/>
                </a:cubicBezTo>
                <a:close/>
                <a:moveTo>
                  <a:pt x="6070" y="598"/>
                </a:moveTo>
                <a:lnTo>
                  <a:pt x="6069" y="598"/>
                </a:lnTo>
                <a:cubicBezTo>
                  <a:pt x="6069" y="598"/>
                  <a:pt x="6069" y="597"/>
                  <a:pt x="6069" y="595"/>
                </a:cubicBezTo>
                <a:cubicBezTo>
                  <a:pt x="6069" y="595"/>
                  <a:pt x="6069" y="594"/>
                  <a:pt x="6070" y="593"/>
                </a:cubicBezTo>
                <a:cubicBezTo>
                  <a:pt x="6070" y="592"/>
                  <a:pt x="6071" y="592"/>
                  <a:pt x="6071" y="592"/>
                </a:cubicBezTo>
                <a:lnTo>
                  <a:pt x="6072" y="593"/>
                </a:lnTo>
                <a:lnTo>
                  <a:pt x="6071" y="594"/>
                </a:lnTo>
                <a:cubicBezTo>
                  <a:pt x="6071" y="596"/>
                  <a:pt x="6070" y="597"/>
                  <a:pt x="6070" y="598"/>
                </a:cubicBezTo>
                <a:close/>
                <a:moveTo>
                  <a:pt x="6314" y="683"/>
                </a:moveTo>
                <a:cubicBezTo>
                  <a:pt x="6314" y="683"/>
                  <a:pt x="6314" y="683"/>
                  <a:pt x="6314" y="683"/>
                </a:cubicBezTo>
                <a:lnTo>
                  <a:pt x="6323" y="674"/>
                </a:lnTo>
                <a:lnTo>
                  <a:pt x="6329" y="669"/>
                </a:lnTo>
                <a:lnTo>
                  <a:pt x="6329" y="669"/>
                </a:lnTo>
                <a:cubicBezTo>
                  <a:pt x="6329" y="670"/>
                  <a:pt x="6326" y="673"/>
                  <a:pt x="6321" y="679"/>
                </a:cubicBezTo>
                <a:cubicBezTo>
                  <a:pt x="6317" y="681"/>
                  <a:pt x="6315" y="683"/>
                  <a:pt x="6314" y="683"/>
                </a:cubicBezTo>
                <a:close/>
                <a:moveTo>
                  <a:pt x="6416" y="627"/>
                </a:moveTo>
                <a:lnTo>
                  <a:pt x="6415" y="627"/>
                </a:lnTo>
                <a:cubicBezTo>
                  <a:pt x="6415" y="627"/>
                  <a:pt x="6414" y="627"/>
                  <a:pt x="6414" y="625"/>
                </a:cubicBezTo>
                <a:cubicBezTo>
                  <a:pt x="6415" y="623"/>
                  <a:pt x="6415" y="622"/>
                  <a:pt x="6415" y="622"/>
                </a:cubicBezTo>
                <a:lnTo>
                  <a:pt x="6416" y="623"/>
                </a:lnTo>
                <a:cubicBezTo>
                  <a:pt x="6416" y="624"/>
                  <a:pt x="6416" y="625"/>
                  <a:pt x="6416" y="625"/>
                </a:cubicBezTo>
                <a:lnTo>
                  <a:pt x="6416" y="627"/>
                </a:lnTo>
                <a:close/>
                <a:moveTo>
                  <a:pt x="6142" y="531"/>
                </a:moveTo>
                <a:cubicBezTo>
                  <a:pt x="6142" y="531"/>
                  <a:pt x="6141" y="530"/>
                  <a:pt x="6140" y="529"/>
                </a:cubicBezTo>
                <a:cubicBezTo>
                  <a:pt x="6139" y="527"/>
                  <a:pt x="6139" y="526"/>
                  <a:pt x="6139" y="525"/>
                </a:cubicBezTo>
                <a:cubicBezTo>
                  <a:pt x="6139" y="525"/>
                  <a:pt x="6139" y="525"/>
                  <a:pt x="6139" y="525"/>
                </a:cubicBezTo>
                <a:cubicBezTo>
                  <a:pt x="6140" y="525"/>
                  <a:pt x="6140" y="525"/>
                  <a:pt x="6141" y="526"/>
                </a:cubicBezTo>
                <a:cubicBezTo>
                  <a:pt x="6142" y="527"/>
                  <a:pt x="6142" y="528"/>
                  <a:pt x="6142" y="530"/>
                </a:cubicBezTo>
                <a:lnTo>
                  <a:pt x="6142" y="531"/>
                </a:lnTo>
                <a:close/>
                <a:moveTo>
                  <a:pt x="6405" y="639"/>
                </a:moveTo>
                <a:cubicBezTo>
                  <a:pt x="6405" y="639"/>
                  <a:pt x="6404" y="639"/>
                  <a:pt x="6404" y="638"/>
                </a:cubicBezTo>
                <a:cubicBezTo>
                  <a:pt x="6403" y="637"/>
                  <a:pt x="6403" y="636"/>
                  <a:pt x="6402" y="635"/>
                </a:cubicBezTo>
                <a:cubicBezTo>
                  <a:pt x="6402" y="634"/>
                  <a:pt x="6402" y="632"/>
                  <a:pt x="6402" y="631"/>
                </a:cubicBezTo>
                <a:cubicBezTo>
                  <a:pt x="6402" y="629"/>
                  <a:pt x="6402" y="628"/>
                  <a:pt x="6403" y="627"/>
                </a:cubicBezTo>
                <a:cubicBezTo>
                  <a:pt x="6403" y="625"/>
                  <a:pt x="6404" y="622"/>
                  <a:pt x="6404" y="617"/>
                </a:cubicBezTo>
                <a:lnTo>
                  <a:pt x="6402" y="599"/>
                </a:lnTo>
                <a:lnTo>
                  <a:pt x="6403" y="599"/>
                </a:lnTo>
                <a:cubicBezTo>
                  <a:pt x="6403" y="599"/>
                  <a:pt x="6403" y="599"/>
                  <a:pt x="6403" y="599"/>
                </a:cubicBezTo>
                <a:lnTo>
                  <a:pt x="6404" y="599"/>
                </a:lnTo>
                <a:cubicBezTo>
                  <a:pt x="6405" y="599"/>
                  <a:pt x="6406" y="598"/>
                  <a:pt x="6406" y="595"/>
                </a:cubicBezTo>
                <a:cubicBezTo>
                  <a:pt x="6406" y="593"/>
                  <a:pt x="6405" y="592"/>
                  <a:pt x="6405" y="592"/>
                </a:cubicBezTo>
                <a:lnTo>
                  <a:pt x="6403" y="593"/>
                </a:lnTo>
                <a:cubicBezTo>
                  <a:pt x="6403" y="593"/>
                  <a:pt x="6402" y="593"/>
                  <a:pt x="6402" y="592"/>
                </a:cubicBezTo>
                <a:cubicBezTo>
                  <a:pt x="6401" y="590"/>
                  <a:pt x="6400" y="586"/>
                  <a:pt x="6400" y="579"/>
                </a:cubicBezTo>
                <a:cubicBezTo>
                  <a:pt x="6400" y="576"/>
                  <a:pt x="6400" y="574"/>
                  <a:pt x="6401" y="573"/>
                </a:cubicBezTo>
                <a:cubicBezTo>
                  <a:pt x="6401" y="572"/>
                  <a:pt x="6401" y="572"/>
                  <a:pt x="6401" y="571"/>
                </a:cubicBezTo>
                <a:cubicBezTo>
                  <a:pt x="6401" y="571"/>
                  <a:pt x="6401" y="570"/>
                  <a:pt x="6400" y="570"/>
                </a:cubicBezTo>
                <a:lnTo>
                  <a:pt x="6399" y="571"/>
                </a:lnTo>
                <a:cubicBezTo>
                  <a:pt x="6399" y="571"/>
                  <a:pt x="6398" y="570"/>
                  <a:pt x="6398" y="569"/>
                </a:cubicBezTo>
                <a:cubicBezTo>
                  <a:pt x="6397" y="568"/>
                  <a:pt x="6396" y="566"/>
                  <a:pt x="6396" y="564"/>
                </a:cubicBezTo>
                <a:cubicBezTo>
                  <a:pt x="6395" y="562"/>
                  <a:pt x="6395" y="560"/>
                  <a:pt x="6395" y="558"/>
                </a:cubicBezTo>
                <a:cubicBezTo>
                  <a:pt x="6395" y="556"/>
                  <a:pt x="6395" y="555"/>
                  <a:pt x="6396" y="554"/>
                </a:cubicBezTo>
                <a:lnTo>
                  <a:pt x="6397" y="553"/>
                </a:lnTo>
                <a:cubicBezTo>
                  <a:pt x="6397" y="552"/>
                  <a:pt x="6397" y="552"/>
                  <a:pt x="6396" y="552"/>
                </a:cubicBezTo>
                <a:lnTo>
                  <a:pt x="6393" y="554"/>
                </a:lnTo>
                <a:cubicBezTo>
                  <a:pt x="6393" y="554"/>
                  <a:pt x="6393" y="553"/>
                  <a:pt x="6393" y="552"/>
                </a:cubicBezTo>
                <a:lnTo>
                  <a:pt x="6394" y="543"/>
                </a:lnTo>
                <a:cubicBezTo>
                  <a:pt x="6394" y="541"/>
                  <a:pt x="6393" y="541"/>
                  <a:pt x="6393" y="541"/>
                </a:cubicBezTo>
                <a:lnTo>
                  <a:pt x="6392" y="541"/>
                </a:lnTo>
                <a:cubicBezTo>
                  <a:pt x="6392" y="541"/>
                  <a:pt x="6391" y="541"/>
                  <a:pt x="6391" y="540"/>
                </a:cubicBezTo>
                <a:cubicBezTo>
                  <a:pt x="6390" y="540"/>
                  <a:pt x="6390" y="537"/>
                  <a:pt x="6390" y="532"/>
                </a:cubicBezTo>
                <a:lnTo>
                  <a:pt x="6390" y="528"/>
                </a:lnTo>
                <a:cubicBezTo>
                  <a:pt x="6390" y="527"/>
                  <a:pt x="6390" y="526"/>
                  <a:pt x="6391" y="525"/>
                </a:cubicBezTo>
                <a:cubicBezTo>
                  <a:pt x="6391" y="524"/>
                  <a:pt x="6392" y="524"/>
                  <a:pt x="6394" y="524"/>
                </a:cubicBezTo>
                <a:cubicBezTo>
                  <a:pt x="6395" y="524"/>
                  <a:pt x="6395" y="524"/>
                  <a:pt x="6395" y="524"/>
                </a:cubicBezTo>
                <a:cubicBezTo>
                  <a:pt x="6395" y="525"/>
                  <a:pt x="6394" y="525"/>
                  <a:pt x="6393" y="527"/>
                </a:cubicBezTo>
                <a:cubicBezTo>
                  <a:pt x="6392" y="528"/>
                  <a:pt x="6392" y="529"/>
                  <a:pt x="6392" y="530"/>
                </a:cubicBezTo>
                <a:cubicBezTo>
                  <a:pt x="6392" y="531"/>
                  <a:pt x="6392" y="532"/>
                  <a:pt x="6393" y="534"/>
                </a:cubicBezTo>
                <a:cubicBezTo>
                  <a:pt x="6395" y="535"/>
                  <a:pt x="6395" y="536"/>
                  <a:pt x="6396" y="536"/>
                </a:cubicBezTo>
                <a:lnTo>
                  <a:pt x="6397" y="536"/>
                </a:lnTo>
                <a:lnTo>
                  <a:pt x="6397" y="536"/>
                </a:lnTo>
                <a:cubicBezTo>
                  <a:pt x="6397" y="535"/>
                  <a:pt x="6397" y="535"/>
                  <a:pt x="6396" y="534"/>
                </a:cubicBezTo>
                <a:cubicBezTo>
                  <a:pt x="6396" y="533"/>
                  <a:pt x="6395" y="533"/>
                  <a:pt x="6395" y="532"/>
                </a:cubicBezTo>
                <a:cubicBezTo>
                  <a:pt x="6395" y="532"/>
                  <a:pt x="6394" y="531"/>
                  <a:pt x="6394" y="530"/>
                </a:cubicBezTo>
                <a:cubicBezTo>
                  <a:pt x="6394" y="527"/>
                  <a:pt x="6396" y="524"/>
                  <a:pt x="6398" y="519"/>
                </a:cubicBezTo>
                <a:cubicBezTo>
                  <a:pt x="6400" y="516"/>
                  <a:pt x="6402" y="514"/>
                  <a:pt x="6403" y="512"/>
                </a:cubicBezTo>
                <a:cubicBezTo>
                  <a:pt x="6405" y="511"/>
                  <a:pt x="6405" y="509"/>
                  <a:pt x="6406" y="509"/>
                </a:cubicBezTo>
                <a:cubicBezTo>
                  <a:pt x="6406" y="508"/>
                  <a:pt x="6407" y="507"/>
                  <a:pt x="6407" y="506"/>
                </a:cubicBezTo>
                <a:lnTo>
                  <a:pt x="6407" y="505"/>
                </a:lnTo>
                <a:cubicBezTo>
                  <a:pt x="6407" y="504"/>
                  <a:pt x="6407" y="504"/>
                  <a:pt x="6407" y="503"/>
                </a:cubicBezTo>
                <a:cubicBezTo>
                  <a:pt x="6407" y="503"/>
                  <a:pt x="6407" y="502"/>
                  <a:pt x="6408" y="502"/>
                </a:cubicBezTo>
                <a:lnTo>
                  <a:pt x="6408" y="502"/>
                </a:lnTo>
                <a:cubicBezTo>
                  <a:pt x="6408" y="502"/>
                  <a:pt x="6409" y="502"/>
                  <a:pt x="6410" y="502"/>
                </a:cubicBezTo>
                <a:cubicBezTo>
                  <a:pt x="6410" y="503"/>
                  <a:pt x="6410" y="503"/>
                  <a:pt x="6411" y="504"/>
                </a:cubicBezTo>
                <a:cubicBezTo>
                  <a:pt x="6411" y="505"/>
                  <a:pt x="6412" y="505"/>
                  <a:pt x="6412" y="506"/>
                </a:cubicBezTo>
                <a:cubicBezTo>
                  <a:pt x="6412" y="508"/>
                  <a:pt x="6411" y="509"/>
                  <a:pt x="6410" y="509"/>
                </a:cubicBezTo>
                <a:cubicBezTo>
                  <a:pt x="6409" y="510"/>
                  <a:pt x="6408" y="511"/>
                  <a:pt x="6408" y="512"/>
                </a:cubicBezTo>
                <a:cubicBezTo>
                  <a:pt x="6407" y="512"/>
                  <a:pt x="6407" y="513"/>
                  <a:pt x="6407" y="514"/>
                </a:cubicBezTo>
                <a:cubicBezTo>
                  <a:pt x="6407" y="514"/>
                  <a:pt x="6407" y="515"/>
                  <a:pt x="6407" y="515"/>
                </a:cubicBezTo>
                <a:cubicBezTo>
                  <a:pt x="6407" y="515"/>
                  <a:pt x="6406" y="515"/>
                  <a:pt x="6405" y="515"/>
                </a:cubicBezTo>
                <a:cubicBezTo>
                  <a:pt x="6404" y="515"/>
                  <a:pt x="6404" y="515"/>
                  <a:pt x="6404" y="516"/>
                </a:cubicBezTo>
                <a:cubicBezTo>
                  <a:pt x="6404" y="516"/>
                  <a:pt x="6404" y="517"/>
                  <a:pt x="6404" y="517"/>
                </a:cubicBezTo>
                <a:cubicBezTo>
                  <a:pt x="6405" y="517"/>
                  <a:pt x="6405" y="518"/>
                  <a:pt x="6405" y="519"/>
                </a:cubicBezTo>
                <a:cubicBezTo>
                  <a:pt x="6405" y="521"/>
                  <a:pt x="6404" y="522"/>
                  <a:pt x="6403" y="523"/>
                </a:cubicBezTo>
                <a:cubicBezTo>
                  <a:pt x="6403" y="524"/>
                  <a:pt x="6402" y="526"/>
                  <a:pt x="6402" y="528"/>
                </a:cubicBezTo>
                <a:cubicBezTo>
                  <a:pt x="6402" y="532"/>
                  <a:pt x="6403" y="538"/>
                  <a:pt x="6406" y="546"/>
                </a:cubicBezTo>
                <a:cubicBezTo>
                  <a:pt x="6408" y="555"/>
                  <a:pt x="6409" y="561"/>
                  <a:pt x="6409" y="565"/>
                </a:cubicBezTo>
                <a:lnTo>
                  <a:pt x="6409" y="568"/>
                </a:lnTo>
                <a:cubicBezTo>
                  <a:pt x="6409" y="570"/>
                  <a:pt x="6409" y="570"/>
                  <a:pt x="6410" y="570"/>
                </a:cubicBezTo>
                <a:cubicBezTo>
                  <a:pt x="6411" y="570"/>
                  <a:pt x="6411" y="571"/>
                  <a:pt x="6412" y="571"/>
                </a:cubicBezTo>
                <a:cubicBezTo>
                  <a:pt x="6412" y="571"/>
                  <a:pt x="6412" y="571"/>
                  <a:pt x="6412" y="572"/>
                </a:cubicBezTo>
                <a:cubicBezTo>
                  <a:pt x="6412" y="572"/>
                  <a:pt x="6412" y="573"/>
                  <a:pt x="6412" y="573"/>
                </a:cubicBezTo>
                <a:cubicBezTo>
                  <a:pt x="6411" y="574"/>
                  <a:pt x="6411" y="576"/>
                  <a:pt x="6411" y="576"/>
                </a:cubicBezTo>
                <a:cubicBezTo>
                  <a:pt x="6411" y="577"/>
                  <a:pt x="6411" y="578"/>
                  <a:pt x="6412" y="578"/>
                </a:cubicBezTo>
                <a:cubicBezTo>
                  <a:pt x="6413" y="578"/>
                  <a:pt x="6413" y="579"/>
                  <a:pt x="6413" y="580"/>
                </a:cubicBezTo>
                <a:cubicBezTo>
                  <a:pt x="6413" y="581"/>
                  <a:pt x="6413" y="582"/>
                  <a:pt x="6413" y="583"/>
                </a:cubicBezTo>
                <a:lnTo>
                  <a:pt x="6413" y="585"/>
                </a:lnTo>
                <a:cubicBezTo>
                  <a:pt x="6413" y="590"/>
                  <a:pt x="6413" y="595"/>
                  <a:pt x="6414" y="598"/>
                </a:cubicBezTo>
                <a:cubicBezTo>
                  <a:pt x="6415" y="600"/>
                  <a:pt x="6415" y="602"/>
                  <a:pt x="6415" y="603"/>
                </a:cubicBezTo>
                <a:cubicBezTo>
                  <a:pt x="6415" y="604"/>
                  <a:pt x="6414" y="605"/>
                  <a:pt x="6413" y="605"/>
                </a:cubicBezTo>
                <a:cubicBezTo>
                  <a:pt x="6412" y="605"/>
                  <a:pt x="6411" y="604"/>
                  <a:pt x="6411" y="603"/>
                </a:cubicBezTo>
                <a:lnTo>
                  <a:pt x="6412" y="600"/>
                </a:lnTo>
                <a:cubicBezTo>
                  <a:pt x="6412" y="599"/>
                  <a:pt x="6412" y="599"/>
                  <a:pt x="6412" y="598"/>
                </a:cubicBezTo>
                <a:cubicBezTo>
                  <a:pt x="6412" y="598"/>
                  <a:pt x="6411" y="598"/>
                  <a:pt x="6410" y="598"/>
                </a:cubicBezTo>
                <a:cubicBezTo>
                  <a:pt x="6409" y="598"/>
                  <a:pt x="6409" y="598"/>
                  <a:pt x="6409" y="600"/>
                </a:cubicBezTo>
                <a:cubicBezTo>
                  <a:pt x="6409" y="601"/>
                  <a:pt x="6409" y="602"/>
                  <a:pt x="6410" y="604"/>
                </a:cubicBezTo>
                <a:cubicBezTo>
                  <a:pt x="6410" y="605"/>
                  <a:pt x="6411" y="606"/>
                  <a:pt x="6412" y="607"/>
                </a:cubicBezTo>
                <a:cubicBezTo>
                  <a:pt x="6413" y="608"/>
                  <a:pt x="6414" y="608"/>
                  <a:pt x="6414" y="609"/>
                </a:cubicBezTo>
                <a:cubicBezTo>
                  <a:pt x="6414" y="609"/>
                  <a:pt x="6413" y="609"/>
                  <a:pt x="6412" y="610"/>
                </a:cubicBezTo>
                <a:cubicBezTo>
                  <a:pt x="6412" y="610"/>
                  <a:pt x="6411" y="610"/>
                  <a:pt x="6410" y="612"/>
                </a:cubicBezTo>
                <a:cubicBezTo>
                  <a:pt x="6409" y="613"/>
                  <a:pt x="6409" y="615"/>
                  <a:pt x="6409" y="616"/>
                </a:cubicBezTo>
                <a:cubicBezTo>
                  <a:pt x="6409" y="618"/>
                  <a:pt x="6410" y="620"/>
                  <a:pt x="6411" y="621"/>
                </a:cubicBezTo>
                <a:cubicBezTo>
                  <a:pt x="6412" y="622"/>
                  <a:pt x="6412" y="622"/>
                  <a:pt x="6412" y="623"/>
                </a:cubicBezTo>
                <a:cubicBezTo>
                  <a:pt x="6412" y="623"/>
                  <a:pt x="6411" y="622"/>
                  <a:pt x="6411" y="622"/>
                </a:cubicBezTo>
                <a:cubicBezTo>
                  <a:pt x="6410" y="622"/>
                  <a:pt x="6410" y="622"/>
                  <a:pt x="6409" y="622"/>
                </a:cubicBezTo>
                <a:cubicBezTo>
                  <a:pt x="6408" y="622"/>
                  <a:pt x="6408" y="623"/>
                  <a:pt x="6408" y="625"/>
                </a:cubicBezTo>
                <a:cubicBezTo>
                  <a:pt x="6408" y="628"/>
                  <a:pt x="6408" y="629"/>
                  <a:pt x="6410" y="629"/>
                </a:cubicBezTo>
                <a:lnTo>
                  <a:pt x="6412" y="628"/>
                </a:lnTo>
                <a:cubicBezTo>
                  <a:pt x="6412" y="628"/>
                  <a:pt x="6412" y="629"/>
                  <a:pt x="6412" y="629"/>
                </a:cubicBezTo>
                <a:lnTo>
                  <a:pt x="6412" y="630"/>
                </a:lnTo>
                <a:cubicBezTo>
                  <a:pt x="6411" y="631"/>
                  <a:pt x="6410" y="631"/>
                  <a:pt x="6409" y="632"/>
                </a:cubicBezTo>
                <a:cubicBezTo>
                  <a:pt x="6408" y="632"/>
                  <a:pt x="6407" y="632"/>
                  <a:pt x="6406" y="632"/>
                </a:cubicBezTo>
                <a:cubicBezTo>
                  <a:pt x="6405" y="632"/>
                  <a:pt x="6405" y="634"/>
                  <a:pt x="6405" y="636"/>
                </a:cubicBezTo>
                <a:lnTo>
                  <a:pt x="6405" y="639"/>
                </a:lnTo>
                <a:cubicBezTo>
                  <a:pt x="6405" y="639"/>
                  <a:pt x="6405" y="639"/>
                  <a:pt x="6405" y="639"/>
                </a:cubicBezTo>
                <a:close/>
                <a:moveTo>
                  <a:pt x="6409" y="595"/>
                </a:moveTo>
                <a:cubicBezTo>
                  <a:pt x="6409" y="595"/>
                  <a:pt x="6410" y="595"/>
                  <a:pt x="6410" y="593"/>
                </a:cubicBezTo>
                <a:cubicBezTo>
                  <a:pt x="6410" y="590"/>
                  <a:pt x="6409" y="589"/>
                  <a:pt x="6408" y="587"/>
                </a:cubicBezTo>
                <a:cubicBezTo>
                  <a:pt x="6407" y="585"/>
                  <a:pt x="6406" y="584"/>
                  <a:pt x="6406" y="584"/>
                </a:cubicBezTo>
                <a:cubicBezTo>
                  <a:pt x="6406" y="584"/>
                  <a:pt x="6406" y="585"/>
                  <a:pt x="6407" y="587"/>
                </a:cubicBezTo>
                <a:cubicBezTo>
                  <a:pt x="6407" y="588"/>
                  <a:pt x="6407" y="590"/>
                  <a:pt x="6407" y="591"/>
                </a:cubicBezTo>
                <a:cubicBezTo>
                  <a:pt x="6408" y="592"/>
                  <a:pt x="6408" y="593"/>
                  <a:pt x="6408" y="594"/>
                </a:cubicBezTo>
                <a:cubicBezTo>
                  <a:pt x="6408" y="595"/>
                  <a:pt x="6408" y="595"/>
                  <a:pt x="6409" y="595"/>
                </a:cubicBezTo>
                <a:close/>
                <a:moveTo>
                  <a:pt x="6405" y="572"/>
                </a:moveTo>
                <a:cubicBezTo>
                  <a:pt x="6405" y="571"/>
                  <a:pt x="6405" y="571"/>
                  <a:pt x="6405" y="570"/>
                </a:cubicBezTo>
                <a:lnTo>
                  <a:pt x="6405" y="567"/>
                </a:lnTo>
                <a:lnTo>
                  <a:pt x="6404" y="566"/>
                </a:lnTo>
                <a:cubicBezTo>
                  <a:pt x="6404" y="566"/>
                  <a:pt x="6404" y="567"/>
                  <a:pt x="6403" y="569"/>
                </a:cubicBezTo>
                <a:cubicBezTo>
                  <a:pt x="6403" y="571"/>
                  <a:pt x="6404" y="572"/>
                  <a:pt x="6404" y="572"/>
                </a:cubicBezTo>
                <a:lnTo>
                  <a:pt x="6405" y="572"/>
                </a:lnTo>
                <a:close/>
                <a:moveTo>
                  <a:pt x="6402" y="562"/>
                </a:moveTo>
                <a:cubicBezTo>
                  <a:pt x="6403" y="562"/>
                  <a:pt x="6403" y="562"/>
                  <a:pt x="6403" y="561"/>
                </a:cubicBezTo>
                <a:cubicBezTo>
                  <a:pt x="6403" y="560"/>
                  <a:pt x="6403" y="558"/>
                  <a:pt x="6402" y="556"/>
                </a:cubicBezTo>
                <a:cubicBezTo>
                  <a:pt x="6402" y="554"/>
                  <a:pt x="6401" y="551"/>
                  <a:pt x="6401" y="549"/>
                </a:cubicBezTo>
                <a:cubicBezTo>
                  <a:pt x="6401" y="547"/>
                  <a:pt x="6400" y="546"/>
                  <a:pt x="6400" y="544"/>
                </a:cubicBezTo>
                <a:cubicBezTo>
                  <a:pt x="6400" y="543"/>
                  <a:pt x="6400" y="542"/>
                  <a:pt x="6400" y="541"/>
                </a:cubicBezTo>
                <a:cubicBezTo>
                  <a:pt x="6400" y="540"/>
                  <a:pt x="6399" y="540"/>
                  <a:pt x="6398" y="540"/>
                </a:cubicBezTo>
                <a:cubicBezTo>
                  <a:pt x="6398" y="540"/>
                  <a:pt x="6398" y="541"/>
                  <a:pt x="6398" y="543"/>
                </a:cubicBezTo>
                <a:cubicBezTo>
                  <a:pt x="6398" y="545"/>
                  <a:pt x="6398" y="548"/>
                  <a:pt x="6398" y="552"/>
                </a:cubicBezTo>
                <a:cubicBezTo>
                  <a:pt x="6398" y="558"/>
                  <a:pt x="6398" y="561"/>
                  <a:pt x="6398" y="561"/>
                </a:cubicBezTo>
                <a:cubicBezTo>
                  <a:pt x="6399" y="560"/>
                  <a:pt x="6399" y="560"/>
                  <a:pt x="6400" y="560"/>
                </a:cubicBezTo>
                <a:cubicBezTo>
                  <a:pt x="6400" y="560"/>
                  <a:pt x="6401" y="560"/>
                  <a:pt x="6402" y="561"/>
                </a:cubicBezTo>
                <a:cubicBezTo>
                  <a:pt x="6402" y="562"/>
                  <a:pt x="6402" y="562"/>
                  <a:pt x="6402" y="562"/>
                </a:cubicBezTo>
                <a:close/>
                <a:moveTo>
                  <a:pt x="6333" y="487"/>
                </a:moveTo>
                <a:cubicBezTo>
                  <a:pt x="6333" y="487"/>
                  <a:pt x="6332" y="486"/>
                  <a:pt x="6331" y="485"/>
                </a:cubicBezTo>
                <a:cubicBezTo>
                  <a:pt x="6330" y="485"/>
                  <a:pt x="6329" y="484"/>
                  <a:pt x="6327" y="482"/>
                </a:cubicBezTo>
                <a:lnTo>
                  <a:pt x="6325" y="480"/>
                </a:lnTo>
                <a:lnTo>
                  <a:pt x="6326" y="481"/>
                </a:lnTo>
                <a:cubicBezTo>
                  <a:pt x="6326" y="481"/>
                  <a:pt x="6327" y="481"/>
                  <a:pt x="6328" y="481"/>
                </a:cubicBezTo>
                <a:cubicBezTo>
                  <a:pt x="6329" y="481"/>
                  <a:pt x="6329" y="481"/>
                  <a:pt x="6329" y="481"/>
                </a:cubicBezTo>
                <a:lnTo>
                  <a:pt x="6330" y="480"/>
                </a:lnTo>
                <a:cubicBezTo>
                  <a:pt x="6331" y="480"/>
                  <a:pt x="6331" y="481"/>
                  <a:pt x="6331" y="482"/>
                </a:cubicBezTo>
                <a:cubicBezTo>
                  <a:pt x="6331" y="484"/>
                  <a:pt x="6331" y="484"/>
                  <a:pt x="6331" y="484"/>
                </a:cubicBezTo>
                <a:cubicBezTo>
                  <a:pt x="6332" y="484"/>
                  <a:pt x="6333" y="484"/>
                  <a:pt x="6334" y="482"/>
                </a:cubicBezTo>
                <a:cubicBezTo>
                  <a:pt x="6334" y="481"/>
                  <a:pt x="6334" y="480"/>
                  <a:pt x="6335" y="480"/>
                </a:cubicBezTo>
                <a:cubicBezTo>
                  <a:pt x="6335" y="480"/>
                  <a:pt x="6335" y="481"/>
                  <a:pt x="6335" y="481"/>
                </a:cubicBezTo>
                <a:cubicBezTo>
                  <a:pt x="6335" y="485"/>
                  <a:pt x="6335" y="487"/>
                  <a:pt x="6333" y="487"/>
                </a:cubicBezTo>
                <a:close/>
                <a:moveTo>
                  <a:pt x="6302" y="692"/>
                </a:moveTo>
                <a:lnTo>
                  <a:pt x="6300" y="692"/>
                </a:lnTo>
                <a:cubicBezTo>
                  <a:pt x="6300" y="691"/>
                  <a:pt x="6302" y="690"/>
                  <a:pt x="6304" y="688"/>
                </a:cubicBezTo>
                <a:cubicBezTo>
                  <a:pt x="6307" y="687"/>
                  <a:pt x="6308" y="686"/>
                  <a:pt x="6309" y="686"/>
                </a:cubicBezTo>
                <a:lnTo>
                  <a:pt x="6309" y="686"/>
                </a:lnTo>
                <a:cubicBezTo>
                  <a:pt x="6309" y="687"/>
                  <a:pt x="6309" y="687"/>
                  <a:pt x="6308" y="688"/>
                </a:cubicBezTo>
                <a:cubicBezTo>
                  <a:pt x="6307" y="689"/>
                  <a:pt x="6306" y="689"/>
                  <a:pt x="6305" y="690"/>
                </a:cubicBezTo>
                <a:cubicBezTo>
                  <a:pt x="6304" y="691"/>
                  <a:pt x="6303" y="691"/>
                  <a:pt x="6302" y="692"/>
                </a:cubicBezTo>
                <a:close/>
                <a:moveTo>
                  <a:pt x="6397" y="648"/>
                </a:moveTo>
                <a:lnTo>
                  <a:pt x="6397" y="648"/>
                </a:lnTo>
                <a:cubicBezTo>
                  <a:pt x="6397" y="647"/>
                  <a:pt x="6397" y="647"/>
                  <a:pt x="6398" y="646"/>
                </a:cubicBezTo>
                <a:cubicBezTo>
                  <a:pt x="6399" y="645"/>
                  <a:pt x="6400" y="644"/>
                  <a:pt x="6400" y="643"/>
                </a:cubicBezTo>
                <a:cubicBezTo>
                  <a:pt x="6400" y="642"/>
                  <a:pt x="6400" y="640"/>
                  <a:pt x="6400" y="639"/>
                </a:cubicBezTo>
                <a:cubicBezTo>
                  <a:pt x="6399" y="639"/>
                  <a:pt x="6399" y="638"/>
                  <a:pt x="6399" y="637"/>
                </a:cubicBezTo>
                <a:lnTo>
                  <a:pt x="6399" y="637"/>
                </a:lnTo>
                <a:cubicBezTo>
                  <a:pt x="6399" y="637"/>
                  <a:pt x="6400" y="638"/>
                  <a:pt x="6402" y="640"/>
                </a:cubicBezTo>
                <a:cubicBezTo>
                  <a:pt x="6403" y="642"/>
                  <a:pt x="6403" y="644"/>
                  <a:pt x="6403" y="644"/>
                </a:cubicBezTo>
                <a:cubicBezTo>
                  <a:pt x="6403" y="646"/>
                  <a:pt x="6402" y="647"/>
                  <a:pt x="6400" y="647"/>
                </a:cubicBezTo>
                <a:cubicBezTo>
                  <a:pt x="6398" y="648"/>
                  <a:pt x="6397" y="648"/>
                  <a:pt x="6397" y="648"/>
                </a:cubicBezTo>
                <a:close/>
                <a:moveTo>
                  <a:pt x="6150" y="510"/>
                </a:moveTo>
                <a:cubicBezTo>
                  <a:pt x="6148" y="510"/>
                  <a:pt x="6148" y="509"/>
                  <a:pt x="6148" y="509"/>
                </a:cubicBezTo>
                <a:cubicBezTo>
                  <a:pt x="6148" y="509"/>
                  <a:pt x="6149" y="508"/>
                  <a:pt x="6150" y="508"/>
                </a:cubicBezTo>
                <a:cubicBezTo>
                  <a:pt x="6152" y="507"/>
                  <a:pt x="6153" y="507"/>
                  <a:pt x="6155" y="506"/>
                </a:cubicBezTo>
                <a:cubicBezTo>
                  <a:pt x="6156" y="506"/>
                  <a:pt x="6157" y="506"/>
                  <a:pt x="6158" y="506"/>
                </a:cubicBezTo>
                <a:cubicBezTo>
                  <a:pt x="6159" y="506"/>
                  <a:pt x="6160" y="506"/>
                  <a:pt x="6160" y="506"/>
                </a:cubicBezTo>
                <a:cubicBezTo>
                  <a:pt x="6160" y="506"/>
                  <a:pt x="6159" y="507"/>
                  <a:pt x="6157" y="508"/>
                </a:cubicBezTo>
                <a:cubicBezTo>
                  <a:pt x="6154" y="509"/>
                  <a:pt x="6152" y="510"/>
                  <a:pt x="6150" y="510"/>
                </a:cubicBezTo>
                <a:close/>
                <a:moveTo>
                  <a:pt x="7030" y="585"/>
                </a:moveTo>
                <a:cubicBezTo>
                  <a:pt x="7029" y="585"/>
                  <a:pt x="7028" y="585"/>
                  <a:pt x="7028" y="584"/>
                </a:cubicBezTo>
                <a:lnTo>
                  <a:pt x="7028" y="583"/>
                </a:lnTo>
                <a:cubicBezTo>
                  <a:pt x="7028" y="583"/>
                  <a:pt x="7028" y="582"/>
                  <a:pt x="7029" y="581"/>
                </a:cubicBezTo>
                <a:cubicBezTo>
                  <a:pt x="7030" y="581"/>
                  <a:pt x="7031" y="580"/>
                  <a:pt x="7031" y="580"/>
                </a:cubicBezTo>
                <a:cubicBezTo>
                  <a:pt x="7032" y="580"/>
                  <a:pt x="7032" y="580"/>
                  <a:pt x="7032" y="581"/>
                </a:cubicBezTo>
                <a:lnTo>
                  <a:pt x="7032" y="583"/>
                </a:lnTo>
                <a:cubicBezTo>
                  <a:pt x="7031" y="585"/>
                  <a:pt x="7030" y="585"/>
                  <a:pt x="7030" y="585"/>
                </a:cubicBezTo>
                <a:close/>
                <a:moveTo>
                  <a:pt x="6810" y="813"/>
                </a:moveTo>
                <a:cubicBezTo>
                  <a:pt x="6809" y="813"/>
                  <a:pt x="6808" y="812"/>
                  <a:pt x="6806" y="810"/>
                </a:cubicBezTo>
                <a:cubicBezTo>
                  <a:pt x="6805" y="809"/>
                  <a:pt x="6804" y="808"/>
                  <a:pt x="6804" y="807"/>
                </a:cubicBezTo>
                <a:cubicBezTo>
                  <a:pt x="6804" y="804"/>
                  <a:pt x="6805" y="803"/>
                  <a:pt x="6807" y="803"/>
                </a:cubicBezTo>
                <a:lnTo>
                  <a:pt x="6811" y="804"/>
                </a:lnTo>
                <a:cubicBezTo>
                  <a:pt x="6811" y="804"/>
                  <a:pt x="6811" y="804"/>
                  <a:pt x="6811" y="803"/>
                </a:cubicBezTo>
                <a:lnTo>
                  <a:pt x="6810" y="799"/>
                </a:lnTo>
                <a:cubicBezTo>
                  <a:pt x="6810" y="799"/>
                  <a:pt x="6811" y="800"/>
                  <a:pt x="6811" y="800"/>
                </a:cubicBezTo>
                <a:cubicBezTo>
                  <a:pt x="6812" y="800"/>
                  <a:pt x="6812" y="800"/>
                  <a:pt x="6813" y="800"/>
                </a:cubicBezTo>
                <a:cubicBezTo>
                  <a:pt x="6815" y="800"/>
                  <a:pt x="6818" y="800"/>
                  <a:pt x="6821" y="798"/>
                </a:cubicBezTo>
                <a:cubicBezTo>
                  <a:pt x="6824" y="797"/>
                  <a:pt x="6827" y="796"/>
                  <a:pt x="6828" y="796"/>
                </a:cubicBezTo>
                <a:cubicBezTo>
                  <a:pt x="6829" y="796"/>
                  <a:pt x="6830" y="796"/>
                  <a:pt x="6831" y="797"/>
                </a:cubicBezTo>
                <a:cubicBezTo>
                  <a:pt x="6832" y="798"/>
                  <a:pt x="6832" y="798"/>
                  <a:pt x="6833" y="798"/>
                </a:cubicBezTo>
                <a:cubicBezTo>
                  <a:pt x="6834" y="798"/>
                  <a:pt x="6836" y="798"/>
                  <a:pt x="6837" y="797"/>
                </a:cubicBezTo>
                <a:cubicBezTo>
                  <a:pt x="6839" y="796"/>
                  <a:pt x="6840" y="795"/>
                  <a:pt x="6840" y="795"/>
                </a:cubicBezTo>
                <a:lnTo>
                  <a:pt x="6835" y="796"/>
                </a:lnTo>
                <a:cubicBezTo>
                  <a:pt x="6833" y="796"/>
                  <a:pt x="6832" y="795"/>
                  <a:pt x="6832" y="794"/>
                </a:cubicBezTo>
                <a:cubicBezTo>
                  <a:pt x="6832" y="793"/>
                  <a:pt x="6833" y="792"/>
                  <a:pt x="6834" y="792"/>
                </a:cubicBezTo>
                <a:cubicBezTo>
                  <a:pt x="6835" y="791"/>
                  <a:pt x="6835" y="791"/>
                  <a:pt x="6836" y="791"/>
                </a:cubicBezTo>
                <a:cubicBezTo>
                  <a:pt x="6836" y="791"/>
                  <a:pt x="6837" y="791"/>
                  <a:pt x="6838" y="792"/>
                </a:cubicBezTo>
                <a:cubicBezTo>
                  <a:pt x="6838" y="792"/>
                  <a:pt x="6839" y="792"/>
                  <a:pt x="6839" y="793"/>
                </a:cubicBezTo>
                <a:cubicBezTo>
                  <a:pt x="6840" y="794"/>
                  <a:pt x="6841" y="794"/>
                  <a:pt x="6841" y="794"/>
                </a:cubicBezTo>
                <a:cubicBezTo>
                  <a:pt x="6842" y="794"/>
                  <a:pt x="6843" y="792"/>
                  <a:pt x="6844" y="789"/>
                </a:cubicBezTo>
                <a:cubicBezTo>
                  <a:pt x="6845" y="786"/>
                  <a:pt x="6846" y="784"/>
                  <a:pt x="6847" y="784"/>
                </a:cubicBezTo>
                <a:cubicBezTo>
                  <a:pt x="6848" y="784"/>
                  <a:pt x="6849" y="784"/>
                  <a:pt x="6849" y="785"/>
                </a:cubicBezTo>
                <a:cubicBezTo>
                  <a:pt x="6851" y="787"/>
                  <a:pt x="6852" y="788"/>
                  <a:pt x="6853" y="788"/>
                </a:cubicBezTo>
                <a:cubicBezTo>
                  <a:pt x="6854" y="788"/>
                  <a:pt x="6855" y="786"/>
                  <a:pt x="6855" y="784"/>
                </a:cubicBezTo>
                <a:cubicBezTo>
                  <a:pt x="6855" y="782"/>
                  <a:pt x="6855" y="781"/>
                  <a:pt x="6856" y="781"/>
                </a:cubicBezTo>
                <a:cubicBezTo>
                  <a:pt x="6856" y="781"/>
                  <a:pt x="6856" y="782"/>
                  <a:pt x="6857" y="783"/>
                </a:cubicBezTo>
                <a:cubicBezTo>
                  <a:pt x="6857" y="784"/>
                  <a:pt x="6858" y="785"/>
                  <a:pt x="6859" y="785"/>
                </a:cubicBezTo>
                <a:cubicBezTo>
                  <a:pt x="6859" y="785"/>
                  <a:pt x="6860" y="784"/>
                  <a:pt x="6861" y="782"/>
                </a:cubicBezTo>
                <a:cubicBezTo>
                  <a:pt x="6861" y="780"/>
                  <a:pt x="6862" y="778"/>
                  <a:pt x="6862" y="778"/>
                </a:cubicBezTo>
                <a:cubicBezTo>
                  <a:pt x="6862" y="777"/>
                  <a:pt x="6861" y="777"/>
                  <a:pt x="6861" y="777"/>
                </a:cubicBezTo>
                <a:cubicBezTo>
                  <a:pt x="6861" y="777"/>
                  <a:pt x="6860" y="777"/>
                  <a:pt x="6859" y="778"/>
                </a:cubicBezTo>
                <a:cubicBezTo>
                  <a:pt x="6858" y="778"/>
                  <a:pt x="6858" y="779"/>
                  <a:pt x="6857" y="779"/>
                </a:cubicBezTo>
                <a:lnTo>
                  <a:pt x="6857" y="778"/>
                </a:lnTo>
                <a:cubicBezTo>
                  <a:pt x="6857" y="778"/>
                  <a:pt x="6858" y="777"/>
                  <a:pt x="6859" y="776"/>
                </a:cubicBezTo>
                <a:cubicBezTo>
                  <a:pt x="6860" y="774"/>
                  <a:pt x="6861" y="773"/>
                  <a:pt x="6861" y="772"/>
                </a:cubicBezTo>
                <a:cubicBezTo>
                  <a:pt x="6861" y="772"/>
                  <a:pt x="6860" y="771"/>
                  <a:pt x="6859" y="771"/>
                </a:cubicBezTo>
                <a:cubicBezTo>
                  <a:pt x="6858" y="771"/>
                  <a:pt x="6857" y="770"/>
                  <a:pt x="6857" y="770"/>
                </a:cubicBezTo>
                <a:cubicBezTo>
                  <a:pt x="6857" y="770"/>
                  <a:pt x="6858" y="769"/>
                  <a:pt x="6859" y="769"/>
                </a:cubicBezTo>
                <a:cubicBezTo>
                  <a:pt x="6859" y="768"/>
                  <a:pt x="6860" y="768"/>
                  <a:pt x="6860" y="768"/>
                </a:cubicBezTo>
                <a:cubicBezTo>
                  <a:pt x="6861" y="768"/>
                  <a:pt x="6862" y="768"/>
                  <a:pt x="6862" y="769"/>
                </a:cubicBezTo>
                <a:cubicBezTo>
                  <a:pt x="6862" y="770"/>
                  <a:pt x="6862" y="770"/>
                  <a:pt x="6862" y="771"/>
                </a:cubicBezTo>
                <a:cubicBezTo>
                  <a:pt x="6863" y="771"/>
                  <a:pt x="6863" y="772"/>
                  <a:pt x="6864" y="772"/>
                </a:cubicBezTo>
                <a:cubicBezTo>
                  <a:pt x="6864" y="772"/>
                  <a:pt x="6865" y="771"/>
                  <a:pt x="6865" y="770"/>
                </a:cubicBezTo>
                <a:lnTo>
                  <a:pt x="6864" y="768"/>
                </a:lnTo>
                <a:cubicBezTo>
                  <a:pt x="6864" y="766"/>
                  <a:pt x="6865" y="764"/>
                  <a:pt x="6866" y="764"/>
                </a:cubicBezTo>
                <a:cubicBezTo>
                  <a:pt x="6866" y="764"/>
                  <a:pt x="6867" y="763"/>
                  <a:pt x="6867" y="763"/>
                </a:cubicBezTo>
                <a:cubicBezTo>
                  <a:pt x="6867" y="763"/>
                  <a:pt x="6867" y="764"/>
                  <a:pt x="6867" y="765"/>
                </a:cubicBezTo>
                <a:lnTo>
                  <a:pt x="6867" y="772"/>
                </a:lnTo>
                <a:cubicBezTo>
                  <a:pt x="6867" y="773"/>
                  <a:pt x="6866" y="774"/>
                  <a:pt x="6866" y="775"/>
                </a:cubicBezTo>
                <a:cubicBezTo>
                  <a:pt x="6866" y="775"/>
                  <a:pt x="6866" y="776"/>
                  <a:pt x="6865" y="776"/>
                </a:cubicBezTo>
                <a:lnTo>
                  <a:pt x="6862" y="774"/>
                </a:lnTo>
                <a:cubicBezTo>
                  <a:pt x="6862" y="776"/>
                  <a:pt x="6863" y="777"/>
                  <a:pt x="6864" y="777"/>
                </a:cubicBezTo>
                <a:cubicBezTo>
                  <a:pt x="6867" y="777"/>
                  <a:pt x="6872" y="774"/>
                  <a:pt x="6879" y="769"/>
                </a:cubicBezTo>
                <a:cubicBezTo>
                  <a:pt x="6885" y="763"/>
                  <a:pt x="6897" y="752"/>
                  <a:pt x="6914" y="737"/>
                </a:cubicBezTo>
                <a:lnTo>
                  <a:pt x="6936" y="715"/>
                </a:lnTo>
                <a:cubicBezTo>
                  <a:pt x="6943" y="709"/>
                  <a:pt x="6946" y="705"/>
                  <a:pt x="6946" y="703"/>
                </a:cubicBezTo>
                <a:cubicBezTo>
                  <a:pt x="6946" y="702"/>
                  <a:pt x="6947" y="700"/>
                  <a:pt x="6949" y="699"/>
                </a:cubicBezTo>
                <a:cubicBezTo>
                  <a:pt x="6951" y="697"/>
                  <a:pt x="6952" y="696"/>
                  <a:pt x="6952" y="695"/>
                </a:cubicBezTo>
                <a:cubicBezTo>
                  <a:pt x="6952" y="694"/>
                  <a:pt x="6951" y="694"/>
                  <a:pt x="6951" y="693"/>
                </a:cubicBezTo>
                <a:cubicBezTo>
                  <a:pt x="6951" y="692"/>
                  <a:pt x="6950" y="691"/>
                  <a:pt x="6950" y="691"/>
                </a:cubicBezTo>
                <a:cubicBezTo>
                  <a:pt x="6950" y="689"/>
                  <a:pt x="6951" y="688"/>
                  <a:pt x="6952" y="687"/>
                </a:cubicBezTo>
                <a:cubicBezTo>
                  <a:pt x="6953" y="686"/>
                  <a:pt x="6954" y="685"/>
                  <a:pt x="6955" y="685"/>
                </a:cubicBezTo>
                <a:cubicBezTo>
                  <a:pt x="6956" y="685"/>
                  <a:pt x="6956" y="685"/>
                  <a:pt x="6957" y="686"/>
                </a:cubicBezTo>
                <a:cubicBezTo>
                  <a:pt x="6957" y="686"/>
                  <a:pt x="6958" y="686"/>
                  <a:pt x="6958" y="686"/>
                </a:cubicBezTo>
                <a:cubicBezTo>
                  <a:pt x="6960" y="686"/>
                  <a:pt x="6960" y="686"/>
                  <a:pt x="6961" y="685"/>
                </a:cubicBezTo>
                <a:cubicBezTo>
                  <a:pt x="6961" y="684"/>
                  <a:pt x="6961" y="684"/>
                  <a:pt x="6961" y="683"/>
                </a:cubicBezTo>
                <a:cubicBezTo>
                  <a:pt x="6961" y="682"/>
                  <a:pt x="6960" y="681"/>
                  <a:pt x="6958" y="681"/>
                </a:cubicBezTo>
                <a:cubicBezTo>
                  <a:pt x="6956" y="681"/>
                  <a:pt x="6953" y="683"/>
                  <a:pt x="6951" y="685"/>
                </a:cubicBezTo>
                <a:cubicBezTo>
                  <a:pt x="6949" y="687"/>
                  <a:pt x="6948" y="689"/>
                  <a:pt x="6948" y="691"/>
                </a:cubicBezTo>
                <a:cubicBezTo>
                  <a:pt x="6948" y="691"/>
                  <a:pt x="6948" y="692"/>
                  <a:pt x="6949" y="693"/>
                </a:cubicBezTo>
                <a:cubicBezTo>
                  <a:pt x="6950" y="694"/>
                  <a:pt x="6950" y="694"/>
                  <a:pt x="6950" y="695"/>
                </a:cubicBezTo>
                <a:cubicBezTo>
                  <a:pt x="6950" y="696"/>
                  <a:pt x="6949" y="697"/>
                  <a:pt x="6947" y="698"/>
                </a:cubicBezTo>
                <a:cubicBezTo>
                  <a:pt x="6945" y="698"/>
                  <a:pt x="6943" y="700"/>
                  <a:pt x="6941" y="701"/>
                </a:cubicBezTo>
                <a:cubicBezTo>
                  <a:pt x="6939" y="703"/>
                  <a:pt x="6937" y="705"/>
                  <a:pt x="6935" y="706"/>
                </a:cubicBezTo>
                <a:cubicBezTo>
                  <a:pt x="6933" y="708"/>
                  <a:pt x="6933" y="709"/>
                  <a:pt x="6933" y="710"/>
                </a:cubicBezTo>
                <a:lnTo>
                  <a:pt x="6933" y="711"/>
                </a:lnTo>
                <a:cubicBezTo>
                  <a:pt x="6933" y="712"/>
                  <a:pt x="6931" y="713"/>
                  <a:pt x="6929" y="714"/>
                </a:cubicBezTo>
                <a:cubicBezTo>
                  <a:pt x="6928" y="715"/>
                  <a:pt x="6926" y="716"/>
                  <a:pt x="6924" y="718"/>
                </a:cubicBezTo>
                <a:cubicBezTo>
                  <a:pt x="6922" y="720"/>
                  <a:pt x="6920" y="722"/>
                  <a:pt x="6918" y="724"/>
                </a:cubicBezTo>
                <a:cubicBezTo>
                  <a:pt x="6916" y="726"/>
                  <a:pt x="6915" y="727"/>
                  <a:pt x="6914" y="727"/>
                </a:cubicBezTo>
                <a:cubicBezTo>
                  <a:pt x="6914" y="727"/>
                  <a:pt x="6914" y="727"/>
                  <a:pt x="6914" y="727"/>
                </a:cubicBezTo>
                <a:cubicBezTo>
                  <a:pt x="6914" y="725"/>
                  <a:pt x="6918" y="720"/>
                  <a:pt x="6925" y="712"/>
                </a:cubicBezTo>
                <a:lnTo>
                  <a:pt x="6944" y="691"/>
                </a:lnTo>
                <a:cubicBezTo>
                  <a:pt x="6959" y="673"/>
                  <a:pt x="6967" y="663"/>
                  <a:pt x="6967" y="661"/>
                </a:cubicBezTo>
                <a:cubicBezTo>
                  <a:pt x="6967" y="660"/>
                  <a:pt x="6970" y="657"/>
                  <a:pt x="6975" y="653"/>
                </a:cubicBezTo>
                <a:cubicBezTo>
                  <a:pt x="6977" y="651"/>
                  <a:pt x="6979" y="650"/>
                  <a:pt x="6980" y="650"/>
                </a:cubicBezTo>
                <a:cubicBezTo>
                  <a:pt x="6980" y="650"/>
                  <a:pt x="6981" y="649"/>
                  <a:pt x="6981" y="649"/>
                </a:cubicBezTo>
                <a:lnTo>
                  <a:pt x="6980" y="646"/>
                </a:lnTo>
                <a:cubicBezTo>
                  <a:pt x="6980" y="643"/>
                  <a:pt x="6982" y="641"/>
                  <a:pt x="6986" y="640"/>
                </a:cubicBezTo>
                <a:cubicBezTo>
                  <a:pt x="6988" y="640"/>
                  <a:pt x="6989" y="639"/>
                  <a:pt x="6989" y="637"/>
                </a:cubicBezTo>
                <a:lnTo>
                  <a:pt x="6988" y="634"/>
                </a:lnTo>
                <a:cubicBezTo>
                  <a:pt x="6988" y="632"/>
                  <a:pt x="6989" y="632"/>
                  <a:pt x="6991" y="632"/>
                </a:cubicBezTo>
                <a:cubicBezTo>
                  <a:pt x="6993" y="632"/>
                  <a:pt x="6994" y="632"/>
                  <a:pt x="6994" y="632"/>
                </a:cubicBezTo>
                <a:cubicBezTo>
                  <a:pt x="6994" y="631"/>
                  <a:pt x="6993" y="630"/>
                  <a:pt x="6992" y="630"/>
                </a:cubicBezTo>
                <a:cubicBezTo>
                  <a:pt x="6991" y="629"/>
                  <a:pt x="6990" y="628"/>
                  <a:pt x="6990" y="628"/>
                </a:cubicBezTo>
                <a:cubicBezTo>
                  <a:pt x="6990" y="627"/>
                  <a:pt x="6991" y="626"/>
                  <a:pt x="6993" y="625"/>
                </a:cubicBezTo>
                <a:cubicBezTo>
                  <a:pt x="6995" y="625"/>
                  <a:pt x="6996" y="623"/>
                  <a:pt x="6996" y="621"/>
                </a:cubicBezTo>
                <a:cubicBezTo>
                  <a:pt x="6996" y="619"/>
                  <a:pt x="6998" y="617"/>
                  <a:pt x="7000" y="616"/>
                </a:cubicBezTo>
                <a:cubicBezTo>
                  <a:pt x="7002" y="615"/>
                  <a:pt x="7002" y="615"/>
                  <a:pt x="7002" y="614"/>
                </a:cubicBezTo>
                <a:cubicBezTo>
                  <a:pt x="7002" y="613"/>
                  <a:pt x="7002" y="613"/>
                  <a:pt x="7002" y="613"/>
                </a:cubicBezTo>
                <a:cubicBezTo>
                  <a:pt x="7002" y="613"/>
                  <a:pt x="7002" y="613"/>
                  <a:pt x="7002" y="613"/>
                </a:cubicBezTo>
                <a:cubicBezTo>
                  <a:pt x="7002" y="612"/>
                  <a:pt x="7003" y="611"/>
                  <a:pt x="7005" y="607"/>
                </a:cubicBezTo>
                <a:cubicBezTo>
                  <a:pt x="7008" y="605"/>
                  <a:pt x="7009" y="602"/>
                  <a:pt x="7009" y="599"/>
                </a:cubicBezTo>
                <a:lnTo>
                  <a:pt x="7008" y="595"/>
                </a:lnTo>
                <a:cubicBezTo>
                  <a:pt x="7008" y="595"/>
                  <a:pt x="7009" y="596"/>
                  <a:pt x="7010" y="598"/>
                </a:cubicBezTo>
                <a:cubicBezTo>
                  <a:pt x="7012" y="600"/>
                  <a:pt x="7013" y="602"/>
                  <a:pt x="7013" y="602"/>
                </a:cubicBezTo>
                <a:lnTo>
                  <a:pt x="7014" y="601"/>
                </a:lnTo>
                <a:cubicBezTo>
                  <a:pt x="7014" y="600"/>
                  <a:pt x="7013" y="599"/>
                  <a:pt x="7013" y="597"/>
                </a:cubicBezTo>
                <a:cubicBezTo>
                  <a:pt x="7013" y="595"/>
                  <a:pt x="7013" y="593"/>
                  <a:pt x="7013" y="592"/>
                </a:cubicBezTo>
                <a:cubicBezTo>
                  <a:pt x="7013" y="590"/>
                  <a:pt x="7013" y="590"/>
                  <a:pt x="7015" y="590"/>
                </a:cubicBezTo>
                <a:lnTo>
                  <a:pt x="7016" y="590"/>
                </a:lnTo>
                <a:cubicBezTo>
                  <a:pt x="7018" y="590"/>
                  <a:pt x="7018" y="589"/>
                  <a:pt x="7018" y="588"/>
                </a:cubicBezTo>
                <a:cubicBezTo>
                  <a:pt x="7018" y="583"/>
                  <a:pt x="7021" y="580"/>
                  <a:pt x="7027" y="578"/>
                </a:cubicBezTo>
                <a:lnTo>
                  <a:pt x="7031" y="577"/>
                </a:lnTo>
                <a:cubicBezTo>
                  <a:pt x="7031" y="577"/>
                  <a:pt x="7030" y="578"/>
                  <a:pt x="7028" y="579"/>
                </a:cubicBezTo>
                <a:cubicBezTo>
                  <a:pt x="7026" y="581"/>
                  <a:pt x="7025" y="582"/>
                  <a:pt x="7025" y="583"/>
                </a:cubicBezTo>
                <a:cubicBezTo>
                  <a:pt x="7025" y="584"/>
                  <a:pt x="7026" y="585"/>
                  <a:pt x="7027" y="585"/>
                </a:cubicBezTo>
                <a:cubicBezTo>
                  <a:pt x="7029" y="586"/>
                  <a:pt x="7030" y="587"/>
                  <a:pt x="7030" y="587"/>
                </a:cubicBezTo>
                <a:cubicBezTo>
                  <a:pt x="7031" y="587"/>
                  <a:pt x="7032" y="586"/>
                  <a:pt x="7033" y="584"/>
                </a:cubicBezTo>
                <a:cubicBezTo>
                  <a:pt x="7034" y="583"/>
                  <a:pt x="7034" y="581"/>
                  <a:pt x="7034" y="580"/>
                </a:cubicBezTo>
                <a:cubicBezTo>
                  <a:pt x="7034" y="578"/>
                  <a:pt x="7032" y="576"/>
                  <a:pt x="7027" y="574"/>
                </a:cubicBezTo>
                <a:cubicBezTo>
                  <a:pt x="7027" y="574"/>
                  <a:pt x="7027" y="573"/>
                  <a:pt x="7027" y="573"/>
                </a:cubicBezTo>
                <a:cubicBezTo>
                  <a:pt x="7027" y="572"/>
                  <a:pt x="7027" y="571"/>
                  <a:pt x="7028" y="570"/>
                </a:cubicBezTo>
                <a:cubicBezTo>
                  <a:pt x="7029" y="569"/>
                  <a:pt x="7030" y="568"/>
                  <a:pt x="7031" y="568"/>
                </a:cubicBezTo>
                <a:cubicBezTo>
                  <a:pt x="7031" y="568"/>
                  <a:pt x="7031" y="569"/>
                  <a:pt x="7031" y="571"/>
                </a:cubicBezTo>
                <a:cubicBezTo>
                  <a:pt x="7031" y="573"/>
                  <a:pt x="7033" y="575"/>
                  <a:pt x="7035" y="575"/>
                </a:cubicBezTo>
                <a:lnTo>
                  <a:pt x="7037" y="576"/>
                </a:lnTo>
                <a:lnTo>
                  <a:pt x="7037" y="575"/>
                </a:lnTo>
                <a:cubicBezTo>
                  <a:pt x="7037" y="575"/>
                  <a:pt x="7037" y="575"/>
                  <a:pt x="7037" y="574"/>
                </a:cubicBezTo>
                <a:cubicBezTo>
                  <a:pt x="7037" y="573"/>
                  <a:pt x="7037" y="571"/>
                  <a:pt x="7039" y="569"/>
                </a:cubicBezTo>
                <a:cubicBezTo>
                  <a:pt x="7040" y="568"/>
                  <a:pt x="7041" y="566"/>
                  <a:pt x="7041" y="566"/>
                </a:cubicBezTo>
                <a:cubicBezTo>
                  <a:pt x="7041" y="566"/>
                  <a:pt x="7041" y="565"/>
                  <a:pt x="7041" y="565"/>
                </a:cubicBezTo>
                <a:cubicBezTo>
                  <a:pt x="7041" y="565"/>
                  <a:pt x="7040" y="565"/>
                  <a:pt x="7040" y="565"/>
                </a:cubicBezTo>
                <a:cubicBezTo>
                  <a:pt x="7040" y="564"/>
                  <a:pt x="7041" y="563"/>
                  <a:pt x="7042" y="562"/>
                </a:cubicBezTo>
                <a:cubicBezTo>
                  <a:pt x="7043" y="560"/>
                  <a:pt x="7044" y="559"/>
                  <a:pt x="7044" y="558"/>
                </a:cubicBezTo>
                <a:cubicBezTo>
                  <a:pt x="7044" y="557"/>
                  <a:pt x="7043" y="557"/>
                  <a:pt x="7042" y="556"/>
                </a:cubicBezTo>
                <a:cubicBezTo>
                  <a:pt x="7041" y="556"/>
                  <a:pt x="7041" y="555"/>
                  <a:pt x="7041" y="555"/>
                </a:cubicBezTo>
                <a:cubicBezTo>
                  <a:pt x="7041" y="554"/>
                  <a:pt x="7042" y="553"/>
                  <a:pt x="7043" y="553"/>
                </a:cubicBezTo>
                <a:cubicBezTo>
                  <a:pt x="7045" y="553"/>
                  <a:pt x="7046" y="552"/>
                  <a:pt x="7046" y="552"/>
                </a:cubicBezTo>
                <a:lnTo>
                  <a:pt x="7043" y="552"/>
                </a:lnTo>
                <a:cubicBezTo>
                  <a:pt x="7041" y="552"/>
                  <a:pt x="7040" y="551"/>
                  <a:pt x="7040" y="549"/>
                </a:cubicBezTo>
                <a:cubicBezTo>
                  <a:pt x="7040" y="548"/>
                  <a:pt x="7040" y="548"/>
                  <a:pt x="7041" y="548"/>
                </a:cubicBezTo>
                <a:lnTo>
                  <a:pt x="7043" y="549"/>
                </a:lnTo>
                <a:cubicBezTo>
                  <a:pt x="7045" y="549"/>
                  <a:pt x="7047" y="548"/>
                  <a:pt x="7048" y="546"/>
                </a:cubicBezTo>
                <a:lnTo>
                  <a:pt x="7051" y="545"/>
                </a:lnTo>
                <a:cubicBezTo>
                  <a:pt x="7051" y="546"/>
                  <a:pt x="7050" y="547"/>
                  <a:pt x="7050" y="548"/>
                </a:cubicBezTo>
                <a:cubicBezTo>
                  <a:pt x="7049" y="549"/>
                  <a:pt x="7048" y="551"/>
                  <a:pt x="7048" y="555"/>
                </a:cubicBezTo>
                <a:cubicBezTo>
                  <a:pt x="7047" y="558"/>
                  <a:pt x="7046" y="561"/>
                  <a:pt x="7045" y="565"/>
                </a:cubicBezTo>
                <a:cubicBezTo>
                  <a:pt x="7041" y="580"/>
                  <a:pt x="7032" y="600"/>
                  <a:pt x="7019" y="622"/>
                </a:cubicBezTo>
                <a:cubicBezTo>
                  <a:pt x="7005" y="645"/>
                  <a:pt x="6991" y="666"/>
                  <a:pt x="6975" y="685"/>
                </a:cubicBezTo>
                <a:cubicBezTo>
                  <a:pt x="6962" y="699"/>
                  <a:pt x="6948" y="714"/>
                  <a:pt x="6933" y="729"/>
                </a:cubicBezTo>
                <a:cubicBezTo>
                  <a:pt x="6918" y="744"/>
                  <a:pt x="6904" y="756"/>
                  <a:pt x="6893" y="766"/>
                </a:cubicBezTo>
                <a:cubicBezTo>
                  <a:pt x="6880" y="777"/>
                  <a:pt x="6872" y="781"/>
                  <a:pt x="6869" y="781"/>
                </a:cubicBezTo>
                <a:lnTo>
                  <a:pt x="6868" y="781"/>
                </a:lnTo>
                <a:cubicBezTo>
                  <a:pt x="6867" y="781"/>
                  <a:pt x="6867" y="781"/>
                  <a:pt x="6866" y="782"/>
                </a:cubicBezTo>
                <a:cubicBezTo>
                  <a:pt x="6865" y="783"/>
                  <a:pt x="6857" y="788"/>
                  <a:pt x="6844" y="796"/>
                </a:cubicBezTo>
                <a:cubicBezTo>
                  <a:pt x="6829" y="804"/>
                  <a:pt x="6821" y="808"/>
                  <a:pt x="6819" y="808"/>
                </a:cubicBezTo>
                <a:cubicBezTo>
                  <a:pt x="6819" y="808"/>
                  <a:pt x="6819" y="808"/>
                  <a:pt x="6819" y="807"/>
                </a:cubicBezTo>
                <a:lnTo>
                  <a:pt x="6819" y="804"/>
                </a:lnTo>
                <a:cubicBezTo>
                  <a:pt x="6819" y="804"/>
                  <a:pt x="6819" y="805"/>
                  <a:pt x="6817" y="807"/>
                </a:cubicBezTo>
                <a:cubicBezTo>
                  <a:pt x="6816" y="808"/>
                  <a:pt x="6815" y="809"/>
                  <a:pt x="6814" y="809"/>
                </a:cubicBezTo>
                <a:cubicBezTo>
                  <a:pt x="6814" y="809"/>
                  <a:pt x="6814" y="808"/>
                  <a:pt x="6813" y="808"/>
                </a:cubicBezTo>
                <a:cubicBezTo>
                  <a:pt x="6813" y="807"/>
                  <a:pt x="6812" y="806"/>
                  <a:pt x="6811" y="806"/>
                </a:cubicBezTo>
                <a:cubicBezTo>
                  <a:pt x="6811" y="806"/>
                  <a:pt x="6810" y="807"/>
                  <a:pt x="6809" y="807"/>
                </a:cubicBezTo>
                <a:cubicBezTo>
                  <a:pt x="6809" y="808"/>
                  <a:pt x="6808" y="808"/>
                  <a:pt x="6808" y="809"/>
                </a:cubicBezTo>
                <a:cubicBezTo>
                  <a:pt x="6808" y="810"/>
                  <a:pt x="6809" y="810"/>
                  <a:pt x="6810" y="811"/>
                </a:cubicBezTo>
                <a:cubicBezTo>
                  <a:pt x="6811" y="812"/>
                  <a:pt x="6811" y="812"/>
                  <a:pt x="6811" y="812"/>
                </a:cubicBezTo>
                <a:cubicBezTo>
                  <a:pt x="6811" y="813"/>
                  <a:pt x="6811" y="813"/>
                  <a:pt x="6810" y="813"/>
                </a:cubicBezTo>
                <a:close/>
                <a:moveTo>
                  <a:pt x="6824" y="804"/>
                </a:moveTo>
                <a:cubicBezTo>
                  <a:pt x="6825" y="804"/>
                  <a:pt x="6827" y="803"/>
                  <a:pt x="6829" y="801"/>
                </a:cubicBezTo>
                <a:cubicBezTo>
                  <a:pt x="6830" y="801"/>
                  <a:pt x="6831" y="800"/>
                  <a:pt x="6831" y="800"/>
                </a:cubicBezTo>
                <a:lnTo>
                  <a:pt x="6830" y="800"/>
                </a:lnTo>
                <a:cubicBezTo>
                  <a:pt x="6825" y="800"/>
                  <a:pt x="6822" y="800"/>
                  <a:pt x="6822" y="802"/>
                </a:cubicBezTo>
                <a:cubicBezTo>
                  <a:pt x="6822" y="803"/>
                  <a:pt x="6823" y="804"/>
                  <a:pt x="6824" y="804"/>
                </a:cubicBezTo>
                <a:close/>
                <a:moveTo>
                  <a:pt x="6849" y="790"/>
                </a:moveTo>
                <a:cubicBezTo>
                  <a:pt x="6850" y="790"/>
                  <a:pt x="6851" y="790"/>
                  <a:pt x="6851" y="789"/>
                </a:cubicBezTo>
                <a:cubicBezTo>
                  <a:pt x="6851" y="789"/>
                  <a:pt x="6850" y="788"/>
                  <a:pt x="6850" y="787"/>
                </a:cubicBezTo>
                <a:cubicBezTo>
                  <a:pt x="6849" y="786"/>
                  <a:pt x="6848" y="786"/>
                  <a:pt x="6847" y="786"/>
                </a:cubicBezTo>
                <a:cubicBezTo>
                  <a:pt x="6847" y="786"/>
                  <a:pt x="6846" y="787"/>
                  <a:pt x="6846" y="788"/>
                </a:cubicBezTo>
                <a:cubicBezTo>
                  <a:pt x="6846" y="789"/>
                  <a:pt x="6847" y="790"/>
                  <a:pt x="6849" y="790"/>
                </a:cubicBezTo>
                <a:close/>
                <a:moveTo>
                  <a:pt x="6960" y="676"/>
                </a:moveTo>
                <a:cubicBezTo>
                  <a:pt x="6961" y="676"/>
                  <a:pt x="6962" y="674"/>
                  <a:pt x="6964" y="671"/>
                </a:cubicBezTo>
                <a:lnTo>
                  <a:pt x="6966" y="669"/>
                </a:lnTo>
                <a:lnTo>
                  <a:pt x="6966" y="668"/>
                </a:lnTo>
                <a:lnTo>
                  <a:pt x="6964" y="670"/>
                </a:lnTo>
                <a:cubicBezTo>
                  <a:pt x="6963" y="671"/>
                  <a:pt x="6962" y="672"/>
                  <a:pt x="6961" y="673"/>
                </a:cubicBezTo>
                <a:cubicBezTo>
                  <a:pt x="6960" y="674"/>
                  <a:pt x="6959" y="674"/>
                  <a:pt x="6959" y="674"/>
                </a:cubicBezTo>
                <a:cubicBezTo>
                  <a:pt x="6959" y="675"/>
                  <a:pt x="6960" y="676"/>
                  <a:pt x="6960" y="676"/>
                </a:cubicBezTo>
                <a:close/>
                <a:moveTo>
                  <a:pt x="6965" y="684"/>
                </a:moveTo>
                <a:cubicBezTo>
                  <a:pt x="6966" y="684"/>
                  <a:pt x="6967" y="683"/>
                  <a:pt x="6968" y="681"/>
                </a:cubicBezTo>
                <a:lnTo>
                  <a:pt x="6970" y="679"/>
                </a:lnTo>
                <a:cubicBezTo>
                  <a:pt x="6972" y="677"/>
                  <a:pt x="6973" y="676"/>
                  <a:pt x="6973" y="675"/>
                </a:cubicBezTo>
                <a:cubicBezTo>
                  <a:pt x="6973" y="674"/>
                  <a:pt x="6972" y="674"/>
                  <a:pt x="6971" y="674"/>
                </a:cubicBezTo>
                <a:cubicBezTo>
                  <a:pt x="6970" y="674"/>
                  <a:pt x="6968" y="674"/>
                  <a:pt x="6968" y="675"/>
                </a:cubicBezTo>
                <a:lnTo>
                  <a:pt x="6968" y="676"/>
                </a:lnTo>
                <a:cubicBezTo>
                  <a:pt x="6968" y="678"/>
                  <a:pt x="6968" y="679"/>
                  <a:pt x="6968" y="679"/>
                </a:cubicBezTo>
                <a:cubicBezTo>
                  <a:pt x="6967" y="679"/>
                  <a:pt x="6967" y="679"/>
                  <a:pt x="6966" y="677"/>
                </a:cubicBezTo>
                <a:cubicBezTo>
                  <a:pt x="6965" y="676"/>
                  <a:pt x="6965" y="676"/>
                  <a:pt x="6965" y="676"/>
                </a:cubicBezTo>
                <a:cubicBezTo>
                  <a:pt x="6964" y="676"/>
                  <a:pt x="6964" y="677"/>
                  <a:pt x="6964" y="679"/>
                </a:cubicBezTo>
                <a:lnTo>
                  <a:pt x="6964" y="681"/>
                </a:lnTo>
                <a:cubicBezTo>
                  <a:pt x="6964" y="683"/>
                  <a:pt x="6965" y="684"/>
                  <a:pt x="6965" y="684"/>
                </a:cubicBezTo>
                <a:close/>
                <a:moveTo>
                  <a:pt x="6971" y="671"/>
                </a:moveTo>
                <a:lnTo>
                  <a:pt x="6975" y="667"/>
                </a:lnTo>
                <a:cubicBezTo>
                  <a:pt x="6976" y="666"/>
                  <a:pt x="6976" y="665"/>
                  <a:pt x="6976" y="664"/>
                </a:cubicBezTo>
                <a:cubicBezTo>
                  <a:pt x="6976" y="664"/>
                  <a:pt x="6976" y="664"/>
                  <a:pt x="6975" y="664"/>
                </a:cubicBezTo>
                <a:cubicBezTo>
                  <a:pt x="6974" y="664"/>
                  <a:pt x="6973" y="665"/>
                  <a:pt x="6972" y="666"/>
                </a:cubicBezTo>
                <a:cubicBezTo>
                  <a:pt x="6971" y="669"/>
                  <a:pt x="6971" y="670"/>
                  <a:pt x="6971" y="670"/>
                </a:cubicBezTo>
                <a:lnTo>
                  <a:pt x="6971" y="671"/>
                </a:lnTo>
                <a:close/>
                <a:moveTo>
                  <a:pt x="6990" y="647"/>
                </a:moveTo>
                <a:cubicBezTo>
                  <a:pt x="6992" y="647"/>
                  <a:pt x="6995" y="646"/>
                  <a:pt x="6997" y="643"/>
                </a:cubicBezTo>
                <a:lnTo>
                  <a:pt x="6999" y="641"/>
                </a:lnTo>
                <a:cubicBezTo>
                  <a:pt x="6998" y="641"/>
                  <a:pt x="6997" y="642"/>
                  <a:pt x="6996" y="643"/>
                </a:cubicBezTo>
                <a:cubicBezTo>
                  <a:pt x="6995" y="644"/>
                  <a:pt x="6993" y="644"/>
                  <a:pt x="6992" y="644"/>
                </a:cubicBezTo>
                <a:lnTo>
                  <a:pt x="6991" y="644"/>
                </a:lnTo>
                <a:cubicBezTo>
                  <a:pt x="6991" y="644"/>
                  <a:pt x="6990" y="644"/>
                  <a:pt x="6990" y="644"/>
                </a:cubicBezTo>
                <a:cubicBezTo>
                  <a:pt x="6989" y="645"/>
                  <a:pt x="6989" y="645"/>
                  <a:pt x="6989" y="646"/>
                </a:cubicBezTo>
                <a:cubicBezTo>
                  <a:pt x="6989" y="647"/>
                  <a:pt x="6989" y="647"/>
                  <a:pt x="6990" y="647"/>
                </a:cubicBezTo>
                <a:close/>
                <a:moveTo>
                  <a:pt x="7004" y="632"/>
                </a:moveTo>
                <a:cubicBezTo>
                  <a:pt x="7005" y="632"/>
                  <a:pt x="7005" y="631"/>
                  <a:pt x="7006" y="630"/>
                </a:cubicBezTo>
                <a:lnTo>
                  <a:pt x="7006" y="630"/>
                </a:lnTo>
                <a:cubicBezTo>
                  <a:pt x="7006" y="629"/>
                  <a:pt x="7005" y="628"/>
                  <a:pt x="7004" y="628"/>
                </a:cubicBezTo>
                <a:cubicBezTo>
                  <a:pt x="7003" y="628"/>
                  <a:pt x="7002" y="629"/>
                  <a:pt x="7002" y="630"/>
                </a:cubicBezTo>
                <a:lnTo>
                  <a:pt x="7002" y="630"/>
                </a:lnTo>
                <a:cubicBezTo>
                  <a:pt x="7003" y="631"/>
                  <a:pt x="7003" y="632"/>
                  <a:pt x="7004" y="632"/>
                </a:cubicBezTo>
                <a:close/>
                <a:moveTo>
                  <a:pt x="7010" y="622"/>
                </a:moveTo>
                <a:cubicBezTo>
                  <a:pt x="7011" y="622"/>
                  <a:pt x="7013" y="620"/>
                  <a:pt x="7015" y="617"/>
                </a:cubicBezTo>
                <a:cubicBezTo>
                  <a:pt x="7017" y="614"/>
                  <a:pt x="7018" y="612"/>
                  <a:pt x="7018" y="611"/>
                </a:cubicBezTo>
                <a:lnTo>
                  <a:pt x="7018" y="608"/>
                </a:lnTo>
                <a:cubicBezTo>
                  <a:pt x="7018" y="607"/>
                  <a:pt x="7018" y="607"/>
                  <a:pt x="7017" y="607"/>
                </a:cubicBezTo>
                <a:cubicBezTo>
                  <a:pt x="7017" y="607"/>
                  <a:pt x="7017" y="607"/>
                  <a:pt x="7016" y="607"/>
                </a:cubicBezTo>
                <a:cubicBezTo>
                  <a:pt x="7016" y="607"/>
                  <a:pt x="7015" y="608"/>
                  <a:pt x="7015" y="609"/>
                </a:cubicBezTo>
                <a:lnTo>
                  <a:pt x="7015" y="610"/>
                </a:lnTo>
                <a:cubicBezTo>
                  <a:pt x="7015" y="611"/>
                  <a:pt x="7015" y="611"/>
                  <a:pt x="7014" y="611"/>
                </a:cubicBezTo>
                <a:cubicBezTo>
                  <a:pt x="7013" y="611"/>
                  <a:pt x="7012" y="612"/>
                  <a:pt x="7012" y="612"/>
                </a:cubicBezTo>
                <a:lnTo>
                  <a:pt x="7013" y="616"/>
                </a:lnTo>
                <a:cubicBezTo>
                  <a:pt x="7013" y="618"/>
                  <a:pt x="7012" y="619"/>
                  <a:pt x="7011" y="619"/>
                </a:cubicBezTo>
                <a:cubicBezTo>
                  <a:pt x="7010" y="619"/>
                  <a:pt x="7009" y="619"/>
                  <a:pt x="7007" y="617"/>
                </a:cubicBezTo>
                <a:lnTo>
                  <a:pt x="7005" y="616"/>
                </a:lnTo>
                <a:lnTo>
                  <a:pt x="7007" y="619"/>
                </a:lnTo>
                <a:cubicBezTo>
                  <a:pt x="7009" y="621"/>
                  <a:pt x="7010" y="622"/>
                  <a:pt x="7010" y="622"/>
                </a:cubicBezTo>
                <a:close/>
                <a:moveTo>
                  <a:pt x="7022" y="604"/>
                </a:moveTo>
                <a:cubicBezTo>
                  <a:pt x="7022" y="604"/>
                  <a:pt x="7023" y="603"/>
                  <a:pt x="7023" y="602"/>
                </a:cubicBezTo>
                <a:lnTo>
                  <a:pt x="7025" y="600"/>
                </a:lnTo>
                <a:lnTo>
                  <a:pt x="7024" y="600"/>
                </a:lnTo>
                <a:lnTo>
                  <a:pt x="7023" y="600"/>
                </a:lnTo>
                <a:cubicBezTo>
                  <a:pt x="7023" y="600"/>
                  <a:pt x="7023" y="601"/>
                  <a:pt x="7022" y="601"/>
                </a:cubicBezTo>
                <a:cubicBezTo>
                  <a:pt x="7021" y="601"/>
                  <a:pt x="7020" y="600"/>
                  <a:pt x="7018" y="599"/>
                </a:cubicBezTo>
                <a:cubicBezTo>
                  <a:pt x="7017" y="598"/>
                  <a:pt x="7016" y="597"/>
                  <a:pt x="7016" y="597"/>
                </a:cubicBezTo>
                <a:lnTo>
                  <a:pt x="7016" y="598"/>
                </a:lnTo>
                <a:lnTo>
                  <a:pt x="7018" y="601"/>
                </a:lnTo>
                <a:cubicBezTo>
                  <a:pt x="7019" y="603"/>
                  <a:pt x="7021" y="604"/>
                  <a:pt x="7022" y="604"/>
                </a:cubicBezTo>
                <a:close/>
                <a:moveTo>
                  <a:pt x="7025" y="597"/>
                </a:moveTo>
                <a:cubicBezTo>
                  <a:pt x="7026" y="597"/>
                  <a:pt x="7027" y="596"/>
                  <a:pt x="7027" y="595"/>
                </a:cubicBezTo>
                <a:cubicBezTo>
                  <a:pt x="7028" y="594"/>
                  <a:pt x="7028" y="594"/>
                  <a:pt x="7028" y="593"/>
                </a:cubicBezTo>
                <a:cubicBezTo>
                  <a:pt x="7028" y="592"/>
                  <a:pt x="7027" y="591"/>
                  <a:pt x="7026" y="590"/>
                </a:cubicBezTo>
                <a:lnTo>
                  <a:pt x="7023" y="587"/>
                </a:lnTo>
                <a:lnTo>
                  <a:pt x="7023" y="588"/>
                </a:lnTo>
                <a:cubicBezTo>
                  <a:pt x="7023" y="589"/>
                  <a:pt x="7022" y="590"/>
                  <a:pt x="7020" y="592"/>
                </a:cubicBezTo>
                <a:cubicBezTo>
                  <a:pt x="7018" y="593"/>
                  <a:pt x="7017" y="594"/>
                  <a:pt x="7017" y="595"/>
                </a:cubicBezTo>
                <a:lnTo>
                  <a:pt x="7020" y="594"/>
                </a:lnTo>
                <a:cubicBezTo>
                  <a:pt x="7022" y="594"/>
                  <a:pt x="7023" y="594"/>
                  <a:pt x="7023" y="595"/>
                </a:cubicBezTo>
                <a:cubicBezTo>
                  <a:pt x="7024" y="596"/>
                  <a:pt x="7024" y="597"/>
                  <a:pt x="7025" y="597"/>
                </a:cubicBezTo>
                <a:close/>
                <a:moveTo>
                  <a:pt x="6450" y="744"/>
                </a:moveTo>
                <a:lnTo>
                  <a:pt x="6450" y="744"/>
                </a:lnTo>
                <a:cubicBezTo>
                  <a:pt x="6449" y="744"/>
                  <a:pt x="6449" y="743"/>
                  <a:pt x="6449" y="741"/>
                </a:cubicBezTo>
                <a:cubicBezTo>
                  <a:pt x="6449" y="739"/>
                  <a:pt x="6450" y="738"/>
                  <a:pt x="6450" y="738"/>
                </a:cubicBezTo>
                <a:cubicBezTo>
                  <a:pt x="6450" y="738"/>
                  <a:pt x="6451" y="739"/>
                  <a:pt x="6451" y="742"/>
                </a:cubicBezTo>
                <a:lnTo>
                  <a:pt x="6450" y="744"/>
                </a:lnTo>
                <a:close/>
                <a:moveTo>
                  <a:pt x="6533" y="558"/>
                </a:moveTo>
                <a:cubicBezTo>
                  <a:pt x="6533" y="557"/>
                  <a:pt x="6535" y="555"/>
                  <a:pt x="6540" y="550"/>
                </a:cubicBezTo>
                <a:cubicBezTo>
                  <a:pt x="6551" y="538"/>
                  <a:pt x="6558" y="532"/>
                  <a:pt x="6559" y="532"/>
                </a:cubicBezTo>
                <a:cubicBezTo>
                  <a:pt x="6559" y="533"/>
                  <a:pt x="6558" y="535"/>
                  <a:pt x="6554" y="538"/>
                </a:cubicBezTo>
                <a:cubicBezTo>
                  <a:pt x="6541" y="551"/>
                  <a:pt x="6533" y="558"/>
                  <a:pt x="6533" y="558"/>
                </a:cubicBezTo>
                <a:close/>
                <a:moveTo>
                  <a:pt x="6637" y="541"/>
                </a:moveTo>
                <a:cubicBezTo>
                  <a:pt x="6635" y="541"/>
                  <a:pt x="6634" y="540"/>
                  <a:pt x="6634" y="537"/>
                </a:cubicBezTo>
                <a:lnTo>
                  <a:pt x="6634" y="536"/>
                </a:lnTo>
                <a:cubicBezTo>
                  <a:pt x="6634" y="535"/>
                  <a:pt x="6635" y="534"/>
                  <a:pt x="6636" y="534"/>
                </a:cubicBezTo>
                <a:cubicBezTo>
                  <a:pt x="6637" y="534"/>
                  <a:pt x="6637" y="534"/>
                  <a:pt x="6638" y="535"/>
                </a:cubicBezTo>
                <a:cubicBezTo>
                  <a:pt x="6639" y="535"/>
                  <a:pt x="6640" y="535"/>
                  <a:pt x="6640" y="535"/>
                </a:cubicBezTo>
                <a:cubicBezTo>
                  <a:pt x="6641" y="535"/>
                  <a:pt x="6642" y="535"/>
                  <a:pt x="6643" y="535"/>
                </a:cubicBezTo>
                <a:cubicBezTo>
                  <a:pt x="6644" y="535"/>
                  <a:pt x="6644" y="536"/>
                  <a:pt x="6644" y="538"/>
                </a:cubicBezTo>
                <a:cubicBezTo>
                  <a:pt x="6644" y="539"/>
                  <a:pt x="6644" y="539"/>
                  <a:pt x="6644" y="539"/>
                </a:cubicBezTo>
                <a:cubicBezTo>
                  <a:pt x="6643" y="539"/>
                  <a:pt x="6642" y="538"/>
                  <a:pt x="6641" y="537"/>
                </a:cubicBezTo>
                <a:lnTo>
                  <a:pt x="6638" y="535"/>
                </a:lnTo>
                <a:lnTo>
                  <a:pt x="6638" y="536"/>
                </a:lnTo>
                <a:lnTo>
                  <a:pt x="6638" y="539"/>
                </a:lnTo>
                <a:cubicBezTo>
                  <a:pt x="6638" y="541"/>
                  <a:pt x="6638" y="541"/>
                  <a:pt x="6637" y="541"/>
                </a:cubicBezTo>
                <a:close/>
                <a:moveTo>
                  <a:pt x="6638" y="521"/>
                </a:moveTo>
                <a:cubicBezTo>
                  <a:pt x="6637" y="521"/>
                  <a:pt x="6635" y="520"/>
                  <a:pt x="6633" y="518"/>
                </a:cubicBezTo>
                <a:cubicBezTo>
                  <a:pt x="6631" y="517"/>
                  <a:pt x="6630" y="516"/>
                  <a:pt x="6630" y="515"/>
                </a:cubicBezTo>
                <a:cubicBezTo>
                  <a:pt x="6630" y="515"/>
                  <a:pt x="6631" y="515"/>
                  <a:pt x="6631" y="515"/>
                </a:cubicBezTo>
                <a:cubicBezTo>
                  <a:pt x="6632" y="515"/>
                  <a:pt x="6634" y="516"/>
                  <a:pt x="6636" y="518"/>
                </a:cubicBezTo>
                <a:cubicBezTo>
                  <a:pt x="6637" y="520"/>
                  <a:pt x="6638" y="521"/>
                  <a:pt x="6638" y="521"/>
                </a:cubicBezTo>
                <a:close/>
                <a:moveTo>
                  <a:pt x="6629" y="524"/>
                </a:moveTo>
                <a:close/>
                <a:moveTo>
                  <a:pt x="6631" y="526"/>
                </a:moveTo>
                <a:cubicBezTo>
                  <a:pt x="6630" y="526"/>
                  <a:pt x="6629" y="525"/>
                  <a:pt x="6629" y="524"/>
                </a:cubicBezTo>
                <a:cubicBezTo>
                  <a:pt x="6629" y="523"/>
                  <a:pt x="6630" y="522"/>
                  <a:pt x="6630" y="522"/>
                </a:cubicBezTo>
                <a:lnTo>
                  <a:pt x="6631" y="523"/>
                </a:lnTo>
                <a:cubicBezTo>
                  <a:pt x="6633" y="524"/>
                  <a:pt x="6634" y="525"/>
                  <a:pt x="6634" y="525"/>
                </a:cubicBezTo>
                <a:cubicBezTo>
                  <a:pt x="6634" y="526"/>
                  <a:pt x="6633" y="526"/>
                  <a:pt x="6631" y="526"/>
                </a:cubicBezTo>
                <a:close/>
                <a:moveTo>
                  <a:pt x="6648" y="535"/>
                </a:moveTo>
                <a:cubicBezTo>
                  <a:pt x="6647" y="535"/>
                  <a:pt x="6646" y="534"/>
                  <a:pt x="6645" y="533"/>
                </a:cubicBezTo>
                <a:cubicBezTo>
                  <a:pt x="6645" y="532"/>
                  <a:pt x="6645" y="531"/>
                  <a:pt x="6645" y="530"/>
                </a:cubicBezTo>
                <a:lnTo>
                  <a:pt x="6645" y="529"/>
                </a:lnTo>
                <a:lnTo>
                  <a:pt x="6646" y="529"/>
                </a:lnTo>
                <a:cubicBezTo>
                  <a:pt x="6646" y="529"/>
                  <a:pt x="6646" y="530"/>
                  <a:pt x="6647" y="531"/>
                </a:cubicBezTo>
                <a:cubicBezTo>
                  <a:pt x="6648" y="533"/>
                  <a:pt x="6648" y="534"/>
                  <a:pt x="6648" y="535"/>
                </a:cubicBezTo>
                <a:close/>
                <a:moveTo>
                  <a:pt x="6569" y="528"/>
                </a:moveTo>
                <a:lnTo>
                  <a:pt x="6569" y="528"/>
                </a:lnTo>
                <a:lnTo>
                  <a:pt x="6571" y="526"/>
                </a:lnTo>
                <a:cubicBezTo>
                  <a:pt x="6573" y="524"/>
                  <a:pt x="6574" y="523"/>
                  <a:pt x="6574" y="522"/>
                </a:cubicBezTo>
                <a:lnTo>
                  <a:pt x="6573" y="520"/>
                </a:lnTo>
                <a:lnTo>
                  <a:pt x="6573" y="520"/>
                </a:lnTo>
                <a:lnTo>
                  <a:pt x="6576" y="521"/>
                </a:lnTo>
                <a:cubicBezTo>
                  <a:pt x="6578" y="522"/>
                  <a:pt x="6579" y="522"/>
                  <a:pt x="6579" y="522"/>
                </a:cubicBezTo>
                <a:cubicBezTo>
                  <a:pt x="6579" y="523"/>
                  <a:pt x="6577" y="524"/>
                  <a:pt x="6573" y="526"/>
                </a:cubicBezTo>
                <a:lnTo>
                  <a:pt x="6569" y="528"/>
                </a:lnTo>
                <a:close/>
                <a:moveTo>
                  <a:pt x="6478" y="785"/>
                </a:moveTo>
                <a:cubicBezTo>
                  <a:pt x="6477" y="785"/>
                  <a:pt x="6477" y="785"/>
                  <a:pt x="6477" y="785"/>
                </a:cubicBezTo>
                <a:cubicBezTo>
                  <a:pt x="6477" y="784"/>
                  <a:pt x="6478" y="784"/>
                  <a:pt x="6479" y="783"/>
                </a:cubicBezTo>
                <a:cubicBezTo>
                  <a:pt x="6480" y="782"/>
                  <a:pt x="6481" y="781"/>
                  <a:pt x="6482" y="781"/>
                </a:cubicBezTo>
                <a:lnTo>
                  <a:pt x="6483" y="782"/>
                </a:lnTo>
                <a:lnTo>
                  <a:pt x="6482" y="783"/>
                </a:lnTo>
                <a:cubicBezTo>
                  <a:pt x="6482" y="784"/>
                  <a:pt x="6480" y="785"/>
                  <a:pt x="6478" y="785"/>
                </a:cubicBezTo>
                <a:close/>
                <a:moveTo>
                  <a:pt x="6474" y="788"/>
                </a:moveTo>
                <a:lnTo>
                  <a:pt x="6473" y="788"/>
                </a:lnTo>
                <a:cubicBezTo>
                  <a:pt x="6471" y="788"/>
                  <a:pt x="6471" y="787"/>
                  <a:pt x="6470" y="785"/>
                </a:cubicBezTo>
                <a:cubicBezTo>
                  <a:pt x="6470" y="784"/>
                  <a:pt x="6471" y="784"/>
                  <a:pt x="6472" y="784"/>
                </a:cubicBezTo>
                <a:cubicBezTo>
                  <a:pt x="6472" y="784"/>
                  <a:pt x="6473" y="784"/>
                  <a:pt x="6473" y="784"/>
                </a:cubicBezTo>
                <a:cubicBezTo>
                  <a:pt x="6473" y="785"/>
                  <a:pt x="6474" y="785"/>
                  <a:pt x="6474" y="786"/>
                </a:cubicBezTo>
                <a:cubicBezTo>
                  <a:pt x="6475" y="786"/>
                  <a:pt x="6475" y="786"/>
                  <a:pt x="6475" y="787"/>
                </a:cubicBezTo>
                <a:cubicBezTo>
                  <a:pt x="6475" y="787"/>
                  <a:pt x="6475" y="787"/>
                  <a:pt x="6474" y="788"/>
                </a:cubicBezTo>
                <a:close/>
                <a:moveTo>
                  <a:pt x="6470" y="785"/>
                </a:moveTo>
                <a:close/>
                <a:moveTo>
                  <a:pt x="6460" y="792"/>
                </a:moveTo>
                <a:cubicBezTo>
                  <a:pt x="6459" y="792"/>
                  <a:pt x="6457" y="791"/>
                  <a:pt x="6455" y="791"/>
                </a:cubicBezTo>
                <a:cubicBezTo>
                  <a:pt x="6453" y="790"/>
                  <a:pt x="6451" y="788"/>
                  <a:pt x="6448" y="786"/>
                </a:cubicBezTo>
                <a:cubicBezTo>
                  <a:pt x="6446" y="783"/>
                  <a:pt x="6445" y="781"/>
                  <a:pt x="6445" y="780"/>
                </a:cubicBezTo>
                <a:cubicBezTo>
                  <a:pt x="6445" y="779"/>
                  <a:pt x="6445" y="779"/>
                  <a:pt x="6445" y="779"/>
                </a:cubicBezTo>
                <a:lnTo>
                  <a:pt x="6448" y="781"/>
                </a:lnTo>
                <a:cubicBezTo>
                  <a:pt x="6448" y="781"/>
                  <a:pt x="6449" y="780"/>
                  <a:pt x="6449" y="780"/>
                </a:cubicBezTo>
                <a:cubicBezTo>
                  <a:pt x="6449" y="779"/>
                  <a:pt x="6448" y="779"/>
                  <a:pt x="6447" y="778"/>
                </a:cubicBezTo>
                <a:cubicBezTo>
                  <a:pt x="6445" y="777"/>
                  <a:pt x="6443" y="776"/>
                  <a:pt x="6441" y="775"/>
                </a:cubicBezTo>
                <a:cubicBezTo>
                  <a:pt x="6439" y="774"/>
                  <a:pt x="6437" y="773"/>
                  <a:pt x="6434" y="771"/>
                </a:cubicBezTo>
                <a:cubicBezTo>
                  <a:pt x="6432" y="769"/>
                  <a:pt x="6430" y="767"/>
                  <a:pt x="6428" y="766"/>
                </a:cubicBezTo>
                <a:cubicBezTo>
                  <a:pt x="6426" y="764"/>
                  <a:pt x="6425" y="764"/>
                  <a:pt x="6425" y="763"/>
                </a:cubicBezTo>
                <a:lnTo>
                  <a:pt x="6426" y="762"/>
                </a:lnTo>
                <a:cubicBezTo>
                  <a:pt x="6426" y="762"/>
                  <a:pt x="6425" y="757"/>
                  <a:pt x="6422" y="751"/>
                </a:cubicBezTo>
                <a:cubicBezTo>
                  <a:pt x="6420" y="747"/>
                  <a:pt x="6419" y="743"/>
                  <a:pt x="6418" y="740"/>
                </a:cubicBezTo>
                <a:cubicBezTo>
                  <a:pt x="6418" y="737"/>
                  <a:pt x="6417" y="729"/>
                  <a:pt x="6417" y="718"/>
                </a:cubicBezTo>
                <a:cubicBezTo>
                  <a:pt x="6418" y="698"/>
                  <a:pt x="6420" y="687"/>
                  <a:pt x="6421" y="685"/>
                </a:cubicBezTo>
                <a:cubicBezTo>
                  <a:pt x="6421" y="684"/>
                  <a:pt x="6422" y="683"/>
                  <a:pt x="6422" y="681"/>
                </a:cubicBezTo>
                <a:cubicBezTo>
                  <a:pt x="6422" y="679"/>
                  <a:pt x="6422" y="676"/>
                  <a:pt x="6423" y="675"/>
                </a:cubicBezTo>
                <a:cubicBezTo>
                  <a:pt x="6424" y="673"/>
                  <a:pt x="6425" y="669"/>
                  <a:pt x="6426" y="664"/>
                </a:cubicBezTo>
                <a:cubicBezTo>
                  <a:pt x="6431" y="640"/>
                  <a:pt x="6442" y="612"/>
                  <a:pt x="6460" y="581"/>
                </a:cubicBezTo>
                <a:cubicBezTo>
                  <a:pt x="6478" y="550"/>
                  <a:pt x="6495" y="527"/>
                  <a:pt x="6511" y="514"/>
                </a:cubicBezTo>
                <a:cubicBezTo>
                  <a:pt x="6515" y="510"/>
                  <a:pt x="6517" y="509"/>
                  <a:pt x="6517" y="509"/>
                </a:cubicBezTo>
                <a:lnTo>
                  <a:pt x="6517" y="509"/>
                </a:lnTo>
                <a:cubicBezTo>
                  <a:pt x="6517" y="509"/>
                  <a:pt x="6516" y="512"/>
                  <a:pt x="6513" y="515"/>
                </a:cubicBezTo>
                <a:cubicBezTo>
                  <a:pt x="6510" y="519"/>
                  <a:pt x="6508" y="520"/>
                  <a:pt x="6508" y="521"/>
                </a:cubicBezTo>
                <a:cubicBezTo>
                  <a:pt x="6509" y="521"/>
                  <a:pt x="6512" y="518"/>
                  <a:pt x="6517" y="514"/>
                </a:cubicBezTo>
                <a:cubicBezTo>
                  <a:pt x="6524" y="508"/>
                  <a:pt x="6527" y="505"/>
                  <a:pt x="6527" y="504"/>
                </a:cubicBezTo>
                <a:lnTo>
                  <a:pt x="6521" y="508"/>
                </a:lnTo>
                <a:lnTo>
                  <a:pt x="6523" y="505"/>
                </a:lnTo>
                <a:cubicBezTo>
                  <a:pt x="6524" y="503"/>
                  <a:pt x="6526" y="501"/>
                  <a:pt x="6528" y="500"/>
                </a:cubicBezTo>
                <a:cubicBezTo>
                  <a:pt x="6530" y="498"/>
                  <a:pt x="6532" y="496"/>
                  <a:pt x="6535" y="495"/>
                </a:cubicBezTo>
                <a:cubicBezTo>
                  <a:pt x="6537" y="494"/>
                  <a:pt x="6538" y="493"/>
                  <a:pt x="6539" y="493"/>
                </a:cubicBezTo>
                <a:cubicBezTo>
                  <a:pt x="6539" y="493"/>
                  <a:pt x="6540" y="493"/>
                  <a:pt x="6540" y="494"/>
                </a:cubicBezTo>
                <a:lnTo>
                  <a:pt x="6539" y="495"/>
                </a:lnTo>
                <a:cubicBezTo>
                  <a:pt x="6539" y="496"/>
                  <a:pt x="6540" y="497"/>
                  <a:pt x="6541" y="497"/>
                </a:cubicBezTo>
                <a:cubicBezTo>
                  <a:pt x="6544" y="497"/>
                  <a:pt x="6549" y="496"/>
                  <a:pt x="6556" y="494"/>
                </a:cubicBezTo>
                <a:cubicBezTo>
                  <a:pt x="6562" y="492"/>
                  <a:pt x="6569" y="491"/>
                  <a:pt x="6574" y="491"/>
                </a:cubicBezTo>
                <a:cubicBezTo>
                  <a:pt x="6590" y="491"/>
                  <a:pt x="6604" y="499"/>
                  <a:pt x="6615" y="514"/>
                </a:cubicBezTo>
                <a:cubicBezTo>
                  <a:pt x="6617" y="516"/>
                  <a:pt x="6619" y="518"/>
                  <a:pt x="6621" y="520"/>
                </a:cubicBezTo>
                <a:lnTo>
                  <a:pt x="6625" y="522"/>
                </a:lnTo>
                <a:cubicBezTo>
                  <a:pt x="6626" y="522"/>
                  <a:pt x="6627" y="524"/>
                  <a:pt x="6627" y="526"/>
                </a:cubicBezTo>
                <a:cubicBezTo>
                  <a:pt x="6627" y="529"/>
                  <a:pt x="6628" y="530"/>
                  <a:pt x="6628" y="530"/>
                </a:cubicBezTo>
                <a:lnTo>
                  <a:pt x="6631" y="529"/>
                </a:lnTo>
                <a:cubicBezTo>
                  <a:pt x="6631" y="529"/>
                  <a:pt x="6631" y="530"/>
                  <a:pt x="6630" y="531"/>
                </a:cubicBezTo>
                <a:cubicBezTo>
                  <a:pt x="6629" y="532"/>
                  <a:pt x="6628" y="533"/>
                  <a:pt x="6628" y="534"/>
                </a:cubicBezTo>
                <a:cubicBezTo>
                  <a:pt x="6628" y="536"/>
                  <a:pt x="6629" y="539"/>
                  <a:pt x="6631" y="542"/>
                </a:cubicBezTo>
                <a:cubicBezTo>
                  <a:pt x="6632" y="545"/>
                  <a:pt x="6634" y="552"/>
                  <a:pt x="6636" y="561"/>
                </a:cubicBezTo>
                <a:cubicBezTo>
                  <a:pt x="6636" y="567"/>
                  <a:pt x="6637" y="570"/>
                  <a:pt x="6638" y="570"/>
                </a:cubicBezTo>
                <a:cubicBezTo>
                  <a:pt x="6638" y="570"/>
                  <a:pt x="6639" y="570"/>
                  <a:pt x="6639" y="568"/>
                </a:cubicBezTo>
                <a:cubicBezTo>
                  <a:pt x="6640" y="566"/>
                  <a:pt x="6641" y="564"/>
                  <a:pt x="6642" y="564"/>
                </a:cubicBezTo>
                <a:lnTo>
                  <a:pt x="6642" y="564"/>
                </a:lnTo>
                <a:cubicBezTo>
                  <a:pt x="6644" y="564"/>
                  <a:pt x="6644" y="563"/>
                  <a:pt x="6644" y="562"/>
                </a:cubicBezTo>
                <a:cubicBezTo>
                  <a:pt x="6644" y="560"/>
                  <a:pt x="6645" y="558"/>
                  <a:pt x="6647" y="558"/>
                </a:cubicBezTo>
                <a:cubicBezTo>
                  <a:pt x="6648" y="558"/>
                  <a:pt x="6649" y="557"/>
                  <a:pt x="6649" y="556"/>
                </a:cubicBezTo>
                <a:cubicBezTo>
                  <a:pt x="6649" y="555"/>
                  <a:pt x="6648" y="553"/>
                  <a:pt x="6647" y="551"/>
                </a:cubicBezTo>
                <a:cubicBezTo>
                  <a:pt x="6646" y="549"/>
                  <a:pt x="6646" y="547"/>
                  <a:pt x="6646" y="546"/>
                </a:cubicBezTo>
                <a:cubicBezTo>
                  <a:pt x="6646" y="545"/>
                  <a:pt x="6646" y="544"/>
                  <a:pt x="6647" y="544"/>
                </a:cubicBezTo>
                <a:cubicBezTo>
                  <a:pt x="6648" y="544"/>
                  <a:pt x="6649" y="546"/>
                  <a:pt x="6649" y="548"/>
                </a:cubicBezTo>
                <a:cubicBezTo>
                  <a:pt x="6649" y="551"/>
                  <a:pt x="6649" y="552"/>
                  <a:pt x="6650" y="552"/>
                </a:cubicBezTo>
                <a:cubicBezTo>
                  <a:pt x="6652" y="552"/>
                  <a:pt x="6656" y="548"/>
                  <a:pt x="6661" y="539"/>
                </a:cubicBezTo>
                <a:cubicBezTo>
                  <a:pt x="6665" y="533"/>
                  <a:pt x="6671" y="526"/>
                  <a:pt x="6677" y="517"/>
                </a:cubicBezTo>
                <a:cubicBezTo>
                  <a:pt x="6683" y="511"/>
                  <a:pt x="6686" y="507"/>
                  <a:pt x="6686" y="505"/>
                </a:cubicBezTo>
                <a:lnTo>
                  <a:pt x="6686" y="505"/>
                </a:lnTo>
                <a:cubicBezTo>
                  <a:pt x="6686" y="504"/>
                  <a:pt x="6687" y="502"/>
                  <a:pt x="6689" y="501"/>
                </a:cubicBezTo>
                <a:cubicBezTo>
                  <a:pt x="6695" y="496"/>
                  <a:pt x="6699" y="493"/>
                  <a:pt x="6701" y="493"/>
                </a:cubicBezTo>
                <a:lnTo>
                  <a:pt x="6703" y="494"/>
                </a:lnTo>
                <a:cubicBezTo>
                  <a:pt x="6703" y="494"/>
                  <a:pt x="6703" y="493"/>
                  <a:pt x="6703" y="492"/>
                </a:cubicBezTo>
                <a:cubicBezTo>
                  <a:pt x="6702" y="492"/>
                  <a:pt x="6702" y="492"/>
                  <a:pt x="6702" y="491"/>
                </a:cubicBezTo>
                <a:cubicBezTo>
                  <a:pt x="6701" y="490"/>
                  <a:pt x="6701" y="490"/>
                  <a:pt x="6701" y="489"/>
                </a:cubicBezTo>
                <a:cubicBezTo>
                  <a:pt x="6701" y="486"/>
                  <a:pt x="6704" y="483"/>
                  <a:pt x="6710" y="479"/>
                </a:cubicBezTo>
                <a:lnTo>
                  <a:pt x="6712" y="478"/>
                </a:lnTo>
                <a:cubicBezTo>
                  <a:pt x="6712" y="479"/>
                  <a:pt x="6711" y="480"/>
                  <a:pt x="6710" y="482"/>
                </a:cubicBezTo>
                <a:cubicBezTo>
                  <a:pt x="6708" y="484"/>
                  <a:pt x="6707" y="486"/>
                  <a:pt x="6707" y="488"/>
                </a:cubicBezTo>
                <a:cubicBezTo>
                  <a:pt x="6706" y="490"/>
                  <a:pt x="6704" y="494"/>
                  <a:pt x="6701" y="501"/>
                </a:cubicBezTo>
                <a:cubicBezTo>
                  <a:pt x="6699" y="507"/>
                  <a:pt x="6698" y="511"/>
                  <a:pt x="6698" y="514"/>
                </a:cubicBezTo>
                <a:lnTo>
                  <a:pt x="6698" y="517"/>
                </a:lnTo>
                <a:lnTo>
                  <a:pt x="6697" y="516"/>
                </a:lnTo>
                <a:cubicBezTo>
                  <a:pt x="6695" y="514"/>
                  <a:pt x="6693" y="513"/>
                  <a:pt x="6691" y="513"/>
                </a:cubicBezTo>
                <a:cubicBezTo>
                  <a:pt x="6689" y="513"/>
                  <a:pt x="6688" y="513"/>
                  <a:pt x="6688" y="514"/>
                </a:cubicBezTo>
                <a:lnTo>
                  <a:pt x="6689" y="514"/>
                </a:lnTo>
                <a:cubicBezTo>
                  <a:pt x="6690" y="515"/>
                  <a:pt x="6690" y="516"/>
                  <a:pt x="6691" y="517"/>
                </a:cubicBezTo>
                <a:cubicBezTo>
                  <a:pt x="6692" y="518"/>
                  <a:pt x="6692" y="519"/>
                  <a:pt x="6692" y="519"/>
                </a:cubicBezTo>
                <a:cubicBezTo>
                  <a:pt x="6692" y="521"/>
                  <a:pt x="6691" y="521"/>
                  <a:pt x="6690" y="522"/>
                </a:cubicBezTo>
                <a:cubicBezTo>
                  <a:pt x="6689" y="522"/>
                  <a:pt x="6688" y="522"/>
                  <a:pt x="6688" y="522"/>
                </a:cubicBezTo>
                <a:cubicBezTo>
                  <a:pt x="6688" y="523"/>
                  <a:pt x="6689" y="523"/>
                  <a:pt x="6690" y="524"/>
                </a:cubicBezTo>
                <a:cubicBezTo>
                  <a:pt x="6692" y="525"/>
                  <a:pt x="6692" y="526"/>
                  <a:pt x="6692" y="526"/>
                </a:cubicBezTo>
                <a:cubicBezTo>
                  <a:pt x="6692" y="526"/>
                  <a:pt x="6691" y="526"/>
                  <a:pt x="6689" y="526"/>
                </a:cubicBezTo>
                <a:cubicBezTo>
                  <a:pt x="6687" y="526"/>
                  <a:pt x="6686" y="528"/>
                  <a:pt x="6684" y="532"/>
                </a:cubicBezTo>
                <a:cubicBezTo>
                  <a:pt x="6683" y="537"/>
                  <a:pt x="6677" y="547"/>
                  <a:pt x="6668" y="563"/>
                </a:cubicBezTo>
                <a:cubicBezTo>
                  <a:pt x="6659" y="577"/>
                  <a:pt x="6653" y="585"/>
                  <a:pt x="6650" y="588"/>
                </a:cubicBezTo>
                <a:lnTo>
                  <a:pt x="6650" y="590"/>
                </a:lnTo>
                <a:cubicBezTo>
                  <a:pt x="6650" y="591"/>
                  <a:pt x="6650" y="592"/>
                  <a:pt x="6650" y="593"/>
                </a:cubicBezTo>
                <a:cubicBezTo>
                  <a:pt x="6650" y="594"/>
                  <a:pt x="6650" y="594"/>
                  <a:pt x="6650" y="595"/>
                </a:cubicBezTo>
                <a:lnTo>
                  <a:pt x="6647" y="593"/>
                </a:lnTo>
                <a:cubicBezTo>
                  <a:pt x="6647" y="593"/>
                  <a:pt x="6647" y="593"/>
                  <a:pt x="6647" y="593"/>
                </a:cubicBezTo>
                <a:cubicBezTo>
                  <a:pt x="6647" y="594"/>
                  <a:pt x="6647" y="595"/>
                  <a:pt x="6648" y="597"/>
                </a:cubicBezTo>
                <a:lnTo>
                  <a:pt x="6648" y="600"/>
                </a:lnTo>
                <a:cubicBezTo>
                  <a:pt x="6648" y="600"/>
                  <a:pt x="6648" y="599"/>
                  <a:pt x="6648" y="599"/>
                </a:cubicBezTo>
                <a:lnTo>
                  <a:pt x="6647" y="599"/>
                </a:lnTo>
                <a:cubicBezTo>
                  <a:pt x="6645" y="599"/>
                  <a:pt x="6641" y="603"/>
                  <a:pt x="6633" y="613"/>
                </a:cubicBezTo>
                <a:cubicBezTo>
                  <a:pt x="6633" y="614"/>
                  <a:pt x="6632" y="615"/>
                  <a:pt x="6632" y="616"/>
                </a:cubicBezTo>
                <a:cubicBezTo>
                  <a:pt x="6632" y="617"/>
                  <a:pt x="6633" y="617"/>
                  <a:pt x="6633" y="618"/>
                </a:cubicBezTo>
                <a:cubicBezTo>
                  <a:pt x="6633" y="619"/>
                  <a:pt x="6633" y="620"/>
                  <a:pt x="6633" y="620"/>
                </a:cubicBezTo>
                <a:lnTo>
                  <a:pt x="6631" y="619"/>
                </a:lnTo>
                <a:cubicBezTo>
                  <a:pt x="6630" y="619"/>
                  <a:pt x="6628" y="620"/>
                  <a:pt x="6626" y="623"/>
                </a:cubicBezTo>
                <a:lnTo>
                  <a:pt x="6624" y="627"/>
                </a:lnTo>
                <a:lnTo>
                  <a:pt x="6624" y="627"/>
                </a:lnTo>
                <a:cubicBezTo>
                  <a:pt x="6624" y="628"/>
                  <a:pt x="6623" y="630"/>
                  <a:pt x="6622" y="632"/>
                </a:cubicBezTo>
                <a:cubicBezTo>
                  <a:pt x="6621" y="634"/>
                  <a:pt x="6620" y="636"/>
                  <a:pt x="6620" y="637"/>
                </a:cubicBezTo>
                <a:cubicBezTo>
                  <a:pt x="6620" y="638"/>
                  <a:pt x="6621" y="639"/>
                  <a:pt x="6622" y="640"/>
                </a:cubicBezTo>
                <a:cubicBezTo>
                  <a:pt x="6624" y="641"/>
                  <a:pt x="6624" y="642"/>
                  <a:pt x="6624" y="642"/>
                </a:cubicBezTo>
                <a:cubicBezTo>
                  <a:pt x="6624" y="642"/>
                  <a:pt x="6624" y="643"/>
                  <a:pt x="6624" y="643"/>
                </a:cubicBezTo>
                <a:lnTo>
                  <a:pt x="6618" y="642"/>
                </a:lnTo>
                <a:lnTo>
                  <a:pt x="6618" y="644"/>
                </a:lnTo>
                <a:cubicBezTo>
                  <a:pt x="6618" y="645"/>
                  <a:pt x="6616" y="647"/>
                  <a:pt x="6614" y="651"/>
                </a:cubicBezTo>
                <a:cubicBezTo>
                  <a:pt x="6612" y="655"/>
                  <a:pt x="6611" y="657"/>
                  <a:pt x="6611" y="658"/>
                </a:cubicBezTo>
                <a:cubicBezTo>
                  <a:pt x="6611" y="660"/>
                  <a:pt x="6611" y="661"/>
                  <a:pt x="6613" y="661"/>
                </a:cubicBezTo>
                <a:cubicBezTo>
                  <a:pt x="6615" y="662"/>
                  <a:pt x="6616" y="663"/>
                  <a:pt x="6616" y="663"/>
                </a:cubicBezTo>
                <a:cubicBezTo>
                  <a:pt x="6616" y="664"/>
                  <a:pt x="6615" y="665"/>
                  <a:pt x="6613" y="665"/>
                </a:cubicBezTo>
                <a:cubicBezTo>
                  <a:pt x="6608" y="668"/>
                  <a:pt x="6604" y="671"/>
                  <a:pt x="6604" y="674"/>
                </a:cubicBezTo>
                <a:cubicBezTo>
                  <a:pt x="6603" y="675"/>
                  <a:pt x="6603" y="677"/>
                  <a:pt x="6601" y="680"/>
                </a:cubicBezTo>
                <a:cubicBezTo>
                  <a:pt x="6600" y="683"/>
                  <a:pt x="6599" y="686"/>
                  <a:pt x="6598" y="689"/>
                </a:cubicBezTo>
                <a:cubicBezTo>
                  <a:pt x="6596" y="692"/>
                  <a:pt x="6595" y="694"/>
                  <a:pt x="6594" y="694"/>
                </a:cubicBezTo>
                <a:cubicBezTo>
                  <a:pt x="6594" y="694"/>
                  <a:pt x="6593" y="693"/>
                  <a:pt x="6591" y="692"/>
                </a:cubicBezTo>
                <a:cubicBezTo>
                  <a:pt x="6590" y="691"/>
                  <a:pt x="6589" y="691"/>
                  <a:pt x="6589" y="690"/>
                </a:cubicBezTo>
                <a:cubicBezTo>
                  <a:pt x="6588" y="689"/>
                  <a:pt x="6587" y="688"/>
                  <a:pt x="6587" y="686"/>
                </a:cubicBezTo>
                <a:lnTo>
                  <a:pt x="6588" y="686"/>
                </a:lnTo>
                <a:lnTo>
                  <a:pt x="6587" y="686"/>
                </a:lnTo>
                <a:cubicBezTo>
                  <a:pt x="6587" y="686"/>
                  <a:pt x="6586" y="686"/>
                  <a:pt x="6584" y="688"/>
                </a:cubicBezTo>
                <a:cubicBezTo>
                  <a:pt x="6582" y="689"/>
                  <a:pt x="6581" y="690"/>
                  <a:pt x="6581" y="690"/>
                </a:cubicBezTo>
                <a:lnTo>
                  <a:pt x="6581" y="688"/>
                </a:lnTo>
                <a:cubicBezTo>
                  <a:pt x="6582" y="688"/>
                  <a:pt x="6583" y="687"/>
                  <a:pt x="6583" y="685"/>
                </a:cubicBezTo>
                <a:cubicBezTo>
                  <a:pt x="6583" y="684"/>
                  <a:pt x="6583" y="682"/>
                  <a:pt x="6583" y="681"/>
                </a:cubicBezTo>
                <a:cubicBezTo>
                  <a:pt x="6583" y="680"/>
                  <a:pt x="6583" y="679"/>
                  <a:pt x="6583" y="679"/>
                </a:cubicBezTo>
                <a:cubicBezTo>
                  <a:pt x="6582" y="679"/>
                  <a:pt x="6582" y="679"/>
                  <a:pt x="6581" y="679"/>
                </a:cubicBezTo>
                <a:cubicBezTo>
                  <a:pt x="6580" y="679"/>
                  <a:pt x="6580" y="680"/>
                  <a:pt x="6580" y="681"/>
                </a:cubicBezTo>
                <a:lnTo>
                  <a:pt x="6581" y="683"/>
                </a:lnTo>
                <a:cubicBezTo>
                  <a:pt x="6581" y="684"/>
                  <a:pt x="6579" y="686"/>
                  <a:pt x="6576" y="688"/>
                </a:cubicBezTo>
                <a:cubicBezTo>
                  <a:pt x="6573" y="692"/>
                  <a:pt x="6571" y="694"/>
                  <a:pt x="6571" y="695"/>
                </a:cubicBezTo>
                <a:cubicBezTo>
                  <a:pt x="6571" y="696"/>
                  <a:pt x="6570" y="697"/>
                  <a:pt x="6570" y="697"/>
                </a:cubicBezTo>
                <a:cubicBezTo>
                  <a:pt x="6569" y="698"/>
                  <a:pt x="6568" y="698"/>
                  <a:pt x="6568" y="698"/>
                </a:cubicBezTo>
                <a:cubicBezTo>
                  <a:pt x="6567" y="698"/>
                  <a:pt x="6566" y="698"/>
                  <a:pt x="6565" y="699"/>
                </a:cubicBezTo>
                <a:cubicBezTo>
                  <a:pt x="6561" y="702"/>
                  <a:pt x="6559" y="703"/>
                  <a:pt x="6559" y="705"/>
                </a:cubicBezTo>
                <a:cubicBezTo>
                  <a:pt x="6559" y="705"/>
                  <a:pt x="6560" y="705"/>
                  <a:pt x="6560" y="705"/>
                </a:cubicBezTo>
                <a:lnTo>
                  <a:pt x="6564" y="703"/>
                </a:lnTo>
                <a:cubicBezTo>
                  <a:pt x="6564" y="704"/>
                  <a:pt x="6563" y="706"/>
                  <a:pt x="6560" y="708"/>
                </a:cubicBezTo>
                <a:lnTo>
                  <a:pt x="6557" y="709"/>
                </a:lnTo>
                <a:lnTo>
                  <a:pt x="6557" y="708"/>
                </a:lnTo>
                <a:cubicBezTo>
                  <a:pt x="6556" y="708"/>
                  <a:pt x="6554" y="710"/>
                  <a:pt x="6552" y="712"/>
                </a:cubicBezTo>
                <a:cubicBezTo>
                  <a:pt x="6550" y="715"/>
                  <a:pt x="6549" y="716"/>
                  <a:pt x="6549" y="716"/>
                </a:cubicBezTo>
                <a:cubicBezTo>
                  <a:pt x="6549" y="716"/>
                  <a:pt x="6551" y="715"/>
                  <a:pt x="6552" y="714"/>
                </a:cubicBezTo>
                <a:cubicBezTo>
                  <a:pt x="6554" y="713"/>
                  <a:pt x="6555" y="712"/>
                  <a:pt x="6556" y="712"/>
                </a:cubicBezTo>
                <a:cubicBezTo>
                  <a:pt x="6556" y="712"/>
                  <a:pt x="6554" y="713"/>
                  <a:pt x="6552" y="716"/>
                </a:cubicBezTo>
                <a:cubicBezTo>
                  <a:pt x="6551" y="719"/>
                  <a:pt x="6549" y="720"/>
                  <a:pt x="6547" y="720"/>
                </a:cubicBezTo>
                <a:lnTo>
                  <a:pt x="6546" y="719"/>
                </a:lnTo>
                <a:lnTo>
                  <a:pt x="6545" y="719"/>
                </a:lnTo>
                <a:lnTo>
                  <a:pt x="6545" y="721"/>
                </a:lnTo>
                <a:cubicBezTo>
                  <a:pt x="6545" y="722"/>
                  <a:pt x="6544" y="723"/>
                  <a:pt x="6543" y="725"/>
                </a:cubicBezTo>
                <a:cubicBezTo>
                  <a:pt x="6542" y="727"/>
                  <a:pt x="6541" y="728"/>
                  <a:pt x="6540" y="730"/>
                </a:cubicBezTo>
                <a:cubicBezTo>
                  <a:pt x="6538" y="731"/>
                  <a:pt x="6537" y="732"/>
                  <a:pt x="6536" y="732"/>
                </a:cubicBezTo>
                <a:lnTo>
                  <a:pt x="6534" y="731"/>
                </a:lnTo>
                <a:lnTo>
                  <a:pt x="6535" y="732"/>
                </a:lnTo>
                <a:cubicBezTo>
                  <a:pt x="6535" y="732"/>
                  <a:pt x="6535" y="732"/>
                  <a:pt x="6535" y="732"/>
                </a:cubicBezTo>
                <a:cubicBezTo>
                  <a:pt x="6535" y="734"/>
                  <a:pt x="6531" y="738"/>
                  <a:pt x="6522" y="746"/>
                </a:cubicBezTo>
                <a:lnTo>
                  <a:pt x="6518" y="750"/>
                </a:lnTo>
                <a:cubicBezTo>
                  <a:pt x="6495" y="770"/>
                  <a:pt x="6475" y="781"/>
                  <a:pt x="6460" y="783"/>
                </a:cubicBezTo>
                <a:cubicBezTo>
                  <a:pt x="6459" y="783"/>
                  <a:pt x="6459" y="783"/>
                  <a:pt x="6459" y="784"/>
                </a:cubicBezTo>
                <a:cubicBezTo>
                  <a:pt x="6459" y="784"/>
                  <a:pt x="6459" y="784"/>
                  <a:pt x="6459" y="785"/>
                </a:cubicBezTo>
                <a:cubicBezTo>
                  <a:pt x="6459" y="785"/>
                  <a:pt x="6459" y="786"/>
                  <a:pt x="6460" y="786"/>
                </a:cubicBezTo>
                <a:cubicBezTo>
                  <a:pt x="6462" y="787"/>
                  <a:pt x="6463" y="788"/>
                  <a:pt x="6465" y="788"/>
                </a:cubicBezTo>
                <a:cubicBezTo>
                  <a:pt x="6467" y="788"/>
                  <a:pt x="6469" y="788"/>
                  <a:pt x="6469" y="788"/>
                </a:cubicBezTo>
                <a:cubicBezTo>
                  <a:pt x="6469" y="789"/>
                  <a:pt x="6467" y="789"/>
                  <a:pt x="6465" y="790"/>
                </a:cubicBezTo>
                <a:cubicBezTo>
                  <a:pt x="6463" y="791"/>
                  <a:pt x="6461" y="792"/>
                  <a:pt x="6460" y="792"/>
                </a:cubicBezTo>
                <a:close/>
                <a:moveTo>
                  <a:pt x="6457" y="764"/>
                </a:moveTo>
                <a:cubicBezTo>
                  <a:pt x="6459" y="764"/>
                  <a:pt x="6463" y="763"/>
                  <a:pt x="6469" y="760"/>
                </a:cubicBezTo>
                <a:cubicBezTo>
                  <a:pt x="6471" y="759"/>
                  <a:pt x="6473" y="757"/>
                  <a:pt x="6475" y="756"/>
                </a:cubicBezTo>
                <a:cubicBezTo>
                  <a:pt x="6477" y="754"/>
                  <a:pt x="6479" y="753"/>
                  <a:pt x="6479" y="752"/>
                </a:cubicBezTo>
                <a:cubicBezTo>
                  <a:pt x="6478" y="752"/>
                  <a:pt x="6475" y="753"/>
                  <a:pt x="6472" y="755"/>
                </a:cubicBezTo>
                <a:cubicBezTo>
                  <a:pt x="6470" y="757"/>
                  <a:pt x="6467" y="758"/>
                  <a:pt x="6465" y="759"/>
                </a:cubicBezTo>
                <a:cubicBezTo>
                  <a:pt x="6462" y="761"/>
                  <a:pt x="6460" y="762"/>
                  <a:pt x="6458" y="762"/>
                </a:cubicBezTo>
                <a:cubicBezTo>
                  <a:pt x="6456" y="763"/>
                  <a:pt x="6455" y="764"/>
                  <a:pt x="6455" y="764"/>
                </a:cubicBezTo>
                <a:lnTo>
                  <a:pt x="6457" y="764"/>
                </a:lnTo>
                <a:close/>
                <a:moveTo>
                  <a:pt x="6472" y="772"/>
                </a:moveTo>
                <a:cubicBezTo>
                  <a:pt x="6474" y="772"/>
                  <a:pt x="6476" y="770"/>
                  <a:pt x="6479" y="768"/>
                </a:cubicBezTo>
                <a:lnTo>
                  <a:pt x="6481" y="765"/>
                </a:lnTo>
                <a:lnTo>
                  <a:pt x="6477" y="767"/>
                </a:lnTo>
                <a:cubicBezTo>
                  <a:pt x="6473" y="769"/>
                  <a:pt x="6471" y="771"/>
                  <a:pt x="6471" y="771"/>
                </a:cubicBezTo>
                <a:cubicBezTo>
                  <a:pt x="6471" y="771"/>
                  <a:pt x="6471" y="772"/>
                  <a:pt x="6472" y="772"/>
                </a:cubicBezTo>
                <a:close/>
                <a:moveTo>
                  <a:pt x="6486" y="762"/>
                </a:moveTo>
                <a:cubicBezTo>
                  <a:pt x="6487" y="762"/>
                  <a:pt x="6487" y="762"/>
                  <a:pt x="6489" y="761"/>
                </a:cubicBezTo>
                <a:cubicBezTo>
                  <a:pt x="6490" y="760"/>
                  <a:pt x="6492" y="759"/>
                  <a:pt x="6493" y="757"/>
                </a:cubicBezTo>
                <a:cubicBezTo>
                  <a:pt x="6495" y="756"/>
                  <a:pt x="6496" y="755"/>
                  <a:pt x="6497" y="754"/>
                </a:cubicBezTo>
                <a:lnTo>
                  <a:pt x="6498" y="753"/>
                </a:lnTo>
                <a:lnTo>
                  <a:pt x="6497" y="753"/>
                </a:lnTo>
                <a:cubicBezTo>
                  <a:pt x="6497" y="753"/>
                  <a:pt x="6495" y="754"/>
                  <a:pt x="6493" y="755"/>
                </a:cubicBezTo>
                <a:cubicBezTo>
                  <a:pt x="6491" y="757"/>
                  <a:pt x="6489" y="758"/>
                  <a:pt x="6488" y="759"/>
                </a:cubicBezTo>
                <a:cubicBezTo>
                  <a:pt x="6487" y="761"/>
                  <a:pt x="6486" y="762"/>
                  <a:pt x="6486" y="762"/>
                </a:cubicBezTo>
                <a:close/>
                <a:moveTo>
                  <a:pt x="6502" y="750"/>
                </a:moveTo>
                <a:cubicBezTo>
                  <a:pt x="6503" y="750"/>
                  <a:pt x="6503" y="750"/>
                  <a:pt x="6504" y="750"/>
                </a:cubicBezTo>
                <a:cubicBezTo>
                  <a:pt x="6504" y="749"/>
                  <a:pt x="6505" y="749"/>
                  <a:pt x="6506" y="748"/>
                </a:cubicBezTo>
                <a:cubicBezTo>
                  <a:pt x="6508" y="747"/>
                  <a:pt x="6509" y="746"/>
                  <a:pt x="6509" y="744"/>
                </a:cubicBezTo>
                <a:lnTo>
                  <a:pt x="6511" y="740"/>
                </a:lnTo>
                <a:cubicBezTo>
                  <a:pt x="6511" y="740"/>
                  <a:pt x="6509" y="742"/>
                  <a:pt x="6505" y="745"/>
                </a:cubicBezTo>
                <a:cubicBezTo>
                  <a:pt x="6503" y="747"/>
                  <a:pt x="6502" y="749"/>
                  <a:pt x="6502" y="750"/>
                </a:cubicBezTo>
                <a:close/>
                <a:moveTo>
                  <a:pt x="6484" y="748"/>
                </a:moveTo>
                <a:cubicBezTo>
                  <a:pt x="6484" y="748"/>
                  <a:pt x="6485" y="748"/>
                  <a:pt x="6488" y="747"/>
                </a:cubicBezTo>
                <a:cubicBezTo>
                  <a:pt x="6490" y="745"/>
                  <a:pt x="6495" y="740"/>
                  <a:pt x="6504" y="732"/>
                </a:cubicBezTo>
                <a:lnTo>
                  <a:pt x="6514" y="722"/>
                </a:lnTo>
                <a:lnTo>
                  <a:pt x="6501" y="733"/>
                </a:lnTo>
                <a:cubicBezTo>
                  <a:pt x="6490" y="743"/>
                  <a:pt x="6484" y="748"/>
                  <a:pt x="6484" y="748"/>
                </a:cubicBezTo>
                <a:close/>
                <a:moveTo>
                  <a:pt x="6530" y="723"/>
                </a:moveTo>
                <a:cubicBezTo>
                  <a:pt x="6531" y="723"/>
                  <a:pt x="6532" y="722"/>
                  <a:pt x="6534" y="719"/>
                </a:cubicBezTo>
                <a:lnTo>
                  <a:pt x="6536" y="717"/>
                </a:lnTo>
                <a:lnTo>
                  <a:pt x="6536" y="716"/>
                </a:lnTo>
                <a:lnTo>
                  <a:pt x="6533" y="718"/>
                </a:lnTo>
                <a:cubicBezTo>
                  <a:pt x="6531" y="720"/>
                  <a:pt x="6529" y="722"/>
                  <a:pt x="6529" y="723"/>
                </a:cubicBezTo>
                <a:cubicBezTo>
                  <a:pt x="6529" y="723"/>
                  <a:pt x="6529" y="723"/>
                  <a:pt x="6530" y="723"/>
                </a:cubicBezTo>
                <a:close/>
                <a:moveTo>
                  <a:pt x="6538" y="714"/>
                </a:moveTo>
                <a:cubicBezTo>
                  <a:pt x="6539" y="714"/>
                  <a:pt x="6541" y="713"/>
                  <a:pt x="6543" y="710"/>
                </a:cubicBezTo>
                <a:cubicBezTo>
                  <a:pt x="6546" y="708"/>
                  <a:pt x="6547" y="706"/>
                  <a:pt x="6547" y="706"/>
                </a:cubicBezTo>
                <a:lnTo>
                  <a:pt x="6546" y="705"/>
                </a:lnTo>
                <a:cubicBezTo>
                  <a:pt x="6545" y="705"/>
                  <a:pt x="6544" y="707"/>
                  <a:pt x="6542" y="709"/>
                </a:cubicBezTo>
                <a:cubicBezTo>
                  <a:pt x="6539" y="712"/>
                  <a:pt x="6538" y="714"/>
                  <a:pt x="6538" y="714"/>
                </a:cubicBezTo>
                <a:close/>
                <a:moveTo>
                  <a:pt x="6549" y="703"/>
                </a:moveTo>
                <a:cubicBezTo>
                  <a:pt x="6550" y="703"/>
                  <a:pt x="6552" y="701"/>
                  <a:pt x="6554" y="698"/>
                </a:cubicBezTo>
                <a:cubicBezTo>
                  <a:pt x="6556" y="696"/>
                  <a:pt x="6557" y="694"/>
                  <a:pt x="6557" y="694"/>
                </a:cubicBezTo>
                <a:cubicBezTo>
                  <a:pt x="6556" y="694"/>
                  <a:pt x="6554" y="695"/>
                  <a:pt x="6552" y="698"/>
                </a:cubicBezTo>
                <a:cubicBezTo>
                  <a:pt x="6550" y="700"/>
                  <a:pt x="6549" y="702"/>
                  <a:pt x="6549" y="702"/>
                </a:cubicBezTo>
                <a:lnTo>
                  <a:pt x="6549" y="703"/>
                </a:lnTo>
                <a:close/>
                <a:moveTo>
                  <a:pt x="6576" y="652"/>
                </a:moveTo>
                <a:cubicBezTo>
                  <a:pt x="6576" y="652"/>
                  <a:pt x="6577" y="652"/>
                  <a:pt x="6578" y="650"/>
                </a:cubicBezTo>
                <a:lnTo>
                  <a:pt x="6579" y="649"/>
                </a:lnTo>
                <a:cubicBezTo>
                  <a:pt x="6579" y="648"/>
                  <a:pt x="6578" y="648"/>
                  <a:pt x="6577" y="648"/>
                </a:cubicBezTo>
                <a:cubicBezTo>
                  <a:pt x="6576" y="648"/>
                  <a:pt x="6575" y="649"/>
                  <a:pt x="6575" y="650"/>
                </a:cubicBezTo>
                <a:cubicBezTo>
                  <a:pt x="6575" y="652"/>
                  <a:pt x="6575" y="652"/>
                  <a:pt x="6576" y="652"/>
                </a:cubicBezTo>
                <a:close/>
                <a:moveTo>
                  <a:pt x="6591" y="682"/>
                </a:moveTo>
                <a:cubicBezTo>
                  <a:pt x="6591" y="682"/>
                  <a:pt x="6592" y="681"/>
                  <a:pt x="6593" y="679"/>
                </a:cubicBezTo>
                <a:lnTo>
                  <a:pt x="6593" y="677"/>
                </a:lnTo>
                <a:cubicBezTo>
                  <a:pt x="6593" y="677"/>
                  <a:pt x="6593" y="676"/>
                  <a:pt x="6593" y="676"/>
                </a:cubicBezTo>
                <a:cubicBezTo>
                  <a:pt x="6593" y="676"/>
                  <a:pt x="6592" y="676"/>
                  <a:pt x="6592" y="677"/>
                </a:cubicBezTo>
                <a:cubicBezTo>
                  <a:pt x="6591" y="677"/>
                  <a:pt x="6591" y="678"/>
                  <a:pt x="6591" y="678"/>
                </a:cubicBezTo>
                <a:cubicBezTo>
                  <a:pt x="6590" y="679"/>
                  <a:pt x="6590" y="679"/>
                  <a:pt x="6590" y="680"/>
                </a:cubicBezTo>
                <a:cubicBezTo>
                  <a:pt x="6590" y="681"/>
                  <a:pt x="6590" y="682"/>
                  <a:pt x="6591" y="682"/>
                </a:cubicBezTo>
                <a:close/>
                <a:moveTo>
                  <a:pt x="6530" y="505"/>
                </a:moveTo>
                <a:cubicBezTo>
                  <a:pt x="6531" y="505"/>
                  <a:pt x="6531" y="504"/>
                  <a:pt x="6532" y="502"/>
                </a:cubicBezTo>
                <a:cubicBezTo>
                  <a:pt x="6533" y="501"/>
                  <a:pt x="6534" y="500"/>
                  <a:pt x="6536" y="500"/>
                </a:cubicBezTo>
                <a:lnTo>
                  <a:pt x="6537" y="501"/>
                </a:lnTo>
                <a:cubicBezTo>
                  <a:pt x="6537" y="499"/>
                  <a:pt x="6537" y="498"/>
                  <a:pt x="6535" y="498"/>
                </a:cubicBezTo>
                <a:cubicBezTo>
                  <a:pt x="6534" y="498"/>
                  <a:pt x="6533" y="499"/>
                  <a:pt x="6532" y="500"/>
                </a:cubicBezTo>
                <a:cubicBezTo>
                  <a:pt x="6529" y="500"/>
                  <a:pt x="6528" y="502"/>
                  <a:pt x="6528" y="503"/>
                </a:cubicBezTo>
                <a:cubicBezTo>
                  <a:pt x="6529" y="504"/>
                  <a:pt x="6529" y="505"/>
                  <a:pt x="6530" y="505"/>
                </a:cubicBezTo>
                <a:close/>
                <a:moveTo>
                  <a:pt x="6449" y="758"/>
                </a:moveTo>
                <a:cubicBezTo>
                  <a:pt x="6452" y="758"/>
                  <a:pt x="6457" y="756"/>
                  <a:pt x="6464" y="752"/>
                </a:cubicBezTo>
                <a:cubicBezTo>
                  <a:pt x="6478" y="745"/>
                  <a:pt x="6497" y="730"/>
                  <a:pt x="6519" y="708"/>
                </a:cubicBezTo>
                <a:cubicBezTo>
                  <a:pt x="6524" y="703"/>
                  <a:pt x="6529" y="698"/>
                  <a:pt x="6533" y="695"/>
                </a:cubicBezTo>
                <a:lnTo>
                  <a:pt x="6541" y="691"/>
                </a:lnTo>
                <a:lnTo>
                  <a:pt x="6542" y="691"/>
                </a:lnTo>
                <a:lnTo>
                  <a:pt x="6541" y="689"/>
                </a:lnTo>
                <a:cubicBezTo>
                  <a:pt x="6541" y="688"/>
                  <a:pt x="6542" y="687"/>
                  <a:pt x="6544" y="683"/>
                </a:cubicBezTo>
                <a:cubicBezTo>
                  <a:pt x="6546" y="681"/>
                  <a:pt x="6549" y="677"/>
                  <a:pt x="6552" y="674"/>
                </a:cubicBezTo>
                <a:lnTo>
                  <a:pt x="6572" y="651"/>
                </a:lnTo>
                <a:cubicBezTo>
                  <a:pt x="6576" y="645"/>
                  <a:pt x="6579" y="643"/>
                  <a:pt x="6581" y="643"/>
                </a:cubicBezTo>
                <a:lnTo>
                  <a:pt x="6583" y="643"/>
                </a:lnTo>
                <a:cubicBezTo>
                  <a:pt x="6583" y="643"/>
                  <a:pt x="6583" y="643"/>
                  <a:pt x="6583" y="643"/>
                </a:cubicBezTo>
                <a:lnTo>
                  <a:pt x="6583" y="641"/>
                </a:lnTo>
                <a:cubicBezTo>
                  <a:pt x="6583" y="639"/>
                  <a:pt x="6585" y="636"/>
                  <a:pt x="6590" y="630"/>
                </a:cubicBezTo>
                <a:cubicBezTo>
                  <a:pt x="6593" y="627"/>
                  <a:pt x="6595" y="625"/>
                  <a:pt x="6595" y="625"/>
                </a:cubicBezTo>
                <a:lnTo>
                  <a:pt x="6593" y="630"/>
                </a:lnTo>
                <a:lnTo>
                  <a:pt x="6596" y="626"/>
                </a:lnTo>
                <a:cubicBezTo>
                  <a:pt x="6599" y="624"/>
                  <a:pt x="6600" y="622"/>
                  <a:pt x="6600" y="619"/>
                </a:cubicBezTo>
                <a:cubicBezTo>
                  <a:pt x="6600" y="617"/>
                  <a:pt x="6601" y="615"/>
                  <a:pt x="6603" y="615"/>
                </a:cubicBezTo>
                <a:cubicBezTo>
                  <a:pt x="6604" y="615"/>
                  <a:pt x="6605" y="615"/>
                  <a:pt x="6605" y="613"/>
                </a:cubicBezTo>
                <a:cubicBezTo>
                  <a:pt x="6605" y="612"/>
                  <a:pt x="6606" y="610"/>
                  <a:pt x="6607" y="606"/>
                </a:cubicBezTo>
                <a:cubicBezTo>
                  <a:pt x="6613" y="591"/>
                  <a:pt x="6616" y="573"/>
                  <a:pt x="6616" y="553"/>
                </a:cubicBezTo>
                <a:cubicBezTo>
                  <a:pt x="6616" y="544"/>
                  <a:pt x="6615" y="538"/>
                  <a:pt x="6613" y="533"/>
                </a:cubicBezTo>
                <a:cubicBezTo>
                  <a:pt x="6611" y="529"/>
                  <a:pt x="6609" y="525"/>
                  <a:pt x="6606" y="522"/>
                </a:cubicBezTo>
                <a:cubicBezTo>
                  <a:pt x="6603" y="520"/>
                  <a:pt x="6600" y="519"/>
                  <a:pt x="6598" y="519"/>
                </a:cubicBezTo>
                <a:cubicBezTo>
                  <a:pt x="6596" y="519"/>
                  <a:pt x="6596" y="519"/>
                  <a:pt x="6595" y="520"/>
                </a:cubicBezTo>
                <a:cubicBezTo>
                  <a:pt x="6594" y="520"/>
                  <a:pt x="6594" y="521"/>
                  <a:pt x="6593" y="521"/>
                </a:cubicBezTo>
                <a:cubicBezTo>
                  <a:pt x="6592" y="521"/>
                  <a:pt x="6592" y="520"/>
                  <a:pt x="6591" y="518"/>
                </a:cubicBezTo>
                <a:cubicBezTo>
                  <a:pt x="6590" y="516"/>
                  <a:pt x="6588" y="515"/>
                  <a:pt x="6585" y="515"/>
                </a:cubicBezTo>
                <a:cubicBezTo>
                  <a:pt x="6583" y="515"/>
                  <a:pt x="6582" y="516"/>
                  <a:pt x="6581" y="517"/>
                </a:cubicBezTo>
                <a:cubicBezTo>
                  <a:pt x="6580" y="518"/>
                  <a:pt x="6579" y="518"/>
                  <a:pt x="6577" y="518"/>
                </a:cubicBezTo>
                <a:lnTo>
                  <a:pt x="6576" y="518"/>
                </a:lnTo>
                <a:cubicBezTo>
                  <a:pt x="6575" y="518"/>
                  <a:pt x="6574" y="518"/>
                  <a:pt x="6573" y="519"/>
                </a:cubicBezTo>
                <a:cubicBezTo>
                  <a:pt x="6569" y="522"/>
                  <a:pt x="6567" y="523"/>
                  <a:pt x="6566" y="523"/>
                </a:cubicBezTo>
                <a:cubicBezTo>
                  <a:pt x="6566" y="523"/>
                  <a:pt x="6566" y="523"/>
                  <a:pt x="6566" y="523"/>
                </a:cubicBezTo>
                <a:cubicBezTo>
                  <a:pt x="6566" y="523"/>
                  <a:pt x="6564" y="524"/>
                  <a:pt x="6561" y="527"/>
                </a:cubicBezTo>
                <a:cubicBezTo>
                  <a:pt x="6559" y="529"/>
                  <a:pt x="6557" y="531"/>
                  <a:pt x="6555" y="531"/>
                </a:cubicBezTo>
                <a:cubicBezTo>
                  <a:pt x="6554" y="531"/>
                  <a:pt x="6549" y="534"/>
                  <a:pt x="6543" y="541"/>
                </a:cubicBezTo>
                <a:cubicBezTo>
                  <a:pt x="6527" y="556"/>
                  <a:pt x="6514" y="572"/>
                  <a:pt x="6504" y="586"/>
                </a:cubicBezTo>
                <a:cubicBezTo>
                  <a:pt x="6500" y="591"/>
                  <a:pt x="6496" y="598"/>
                  <a:pt x="6490" y="608"/>
                </a:cubicBezTo>
                <a:cubicBezTo>
                  <a:pt x="6475" y="635"/>
                  <a:pt x="6468" y="650"/>
                  <a:pt x="6468" y="653"/>
                </a:cubicBezTo>
                <a:cubicBezTo>
                  <a:pt x="6468" y="654"/>
                  <a:pt x="6467" y="655"/>
                  <a:pt x="6466" y="655"/>
                </a:cubicBezTo>
                <a:cubicBezTo>
                  <a:pt x="6465" y="655"/>
                  <a:pt x="6465" y="655"/>
                  <a:pt x="6465" y="656"/>
                </a:cubicBezTo>
                <a:lnTo>
                  <a:pt x="6465" y="657"/>
                </a:lnTo>
                <a:cubicBezTo>
                  <a:pt x="6465" y="658"/>
                  <a:pt x="6465" y="659"/>
                  <a:pt x="6464" y="660"/>
                </a:cubicBezTo>
                <a:cubicBezTo>
                  <a:pt x="6463" y="661"/>
                  <a:pt x="6462" y="663"/>
                  <a:pt x="6462" y="666"/>
                </a:cubicBezTo>
                <a:cubicBezTo>
                  <a:pt x="6462" y="669"/>
                  <a:pt x="6461" y="671"/>
                  <a:pt x="6460" y="671"/>
                </a:cubicBezTo>
                <a:cubicBezTo>
                  <a:pt x="6459" y="671"/>
                  <a:pt x="6459" y="671"/>
                  <a:pt x="6459" y="673"/>
                </a:cubicBezTo>
                <a:cubicBezTo>
                  <a:pt x="6457" y="677"/>
                  <a:pt x="6456" y="681"/>
                  <a:pt x="6455" y="683"/>
                </a:cubicBezTo>
                <a:cubicBezTo>
                  <a:pt x="6454" y="686"/>
                  <a:pt x="6454" y="688"/>
                  <a:pt x="6453" y="689"/>
                </a:cubicBezTo>
                <a:cubicBezTo>
                  <a:pt x="6452" y="691"/>
                  <a:pt x="6450" y="696"/>
                  <a:pt x="6449" y="703"/>
                </a:cubicBezTo>
                <a:cubicBezTo>
                  <a:pt x="6444" y="723"/>
                  <a:pt x="6442" y="736"/>
                  <a:pt x="6442" y="741"/>
                </a:cubicBezTo>
                <a:cubicBezTo>
                  <a:pt x="6442" y="752"/>
                  <a:pt x="6444" y="758"/>
                  <a:pt x="6448" y="758"/>
                </a:cubicBezTo>
                <a:lnTo>
                  <a:pt x="6449" y="758"/>
                </a:lnTo>
                <a:close/>
                <a:moveTo>
                  <a:pt x="6517" y="577"/>
                </a:moveTo>
                <a:lnTo>
                  <a:pt x="6516" y="576"/>
                </a:lnTo>
                <a:cubicBezTo>
                  <a:pt x="6516" y="576"/>
                  <a:pt x="6517" y="574"/>
                  <a:pt x="6520" y="572"/>
                </a:cubicBezTo>
                <a:cubicBezTo>
                  <a:pt x="6522" y="569"/>
                  <a:pt x="6524" y="568"/>
                  <a:pt x="6524" y="568"/>
                </a:cubicBezTo>
                <a:cubicBezTo>
                  <a:pt x="6524" y="568"/>
                  <a:pt x="6524" y="570"/>
                  <a:pt x="6522" y="572"/>
                </a:cubicBezTo>
                <a:cubicBezTo>
                  <a:pt x="6519" y="576"/>
                  <a:pt x="6518" y="577"/>
                  <a:pt x="6517" y="577"/>
                </a:cubicBezTo>
                <a:close/>
                <a:moveTo>
                  <a:pt x="6536" y="750"/>
                </a:moveTo>
                <a:lnTo>
                  <a:pt x="6536" y="750"/>
                </a:lnTo>
                <a:cubicBezTo>
                  <a:pt x="6536" y="748"/>
                  <a:pt x="6543" y="739"/>
                  <a:pt x="6559" y="723"/>
                </a:cubicBezTo>
                <a:cubicBezTo>
                  <a:pt x="6575" y="705"/>
                  <a:pt x="6584" y="696"/>
                  <a:pt x="6585" y="696"/>
                </a:cubicBezTo>
                <a:lnTo>
                  <a:pt x="6585" y="696"/>
                </a:lnTo>
                <a:cubicBezTo>
                  <a:pt x="6585" y="697"/>
                  <a:pt x="6583" y="700"/>
                  <a:pt x="6578" y="706"/>
                </a:cubicBezTo>
                <a:cubicBezTo>
                  <a:pt x="6573" y="712"/>
                  <a:pt x="6571" y="715"/>
                  <a:pt x="6571" y="717"/>
                </a:cubicBezTo>
                <a:cubicBezTo>
                  <a:pt x="6571" y="718"/>
                  <a:pt x="6570" y="718"/>
                  <a:pt x="6569" y="718"/>
                </a:cubicBezTo>
                <a:lnTo>
                  <a:pt x="6569" y="718"/>
                </a:lnTo>
                <a:cubicBezTo>
                  <a:pt x="6567" y="718"/>
                  <a:pt x="6565" y="720"/>
                  <a:pt x="6563" y="723"/>
                </a:cubicBezTo>
                <a:cubicBezTo>
                  <a:pt x="6560" y="725"/>
                  <a:pt x="6559" y="727"/>
                  <a:pt x="6559" y="728"/>
                </a:cubicBezTo>
                <a:lnTo>
                  <a:pt x="6559" y="728"/>
                </a:lnTo>
                <a:cubicBezTo>
                  <a:pt x="6559" y="729"/>
                  <a:pt x="6558" y="730"/>
                  <a:pt x="6556" y="732"/>
                </a:cubicBezTo>
                <a:cubicBezTo>
                  <a:pt x="6553" y="734"/>
                  <a:pt x="6552" y="736"/>
                  <a:pt x="6552" y="737"/>
                </a:cubicBezTo>
                <a:lnTo>
                  <a:pt x="6552" y="738"/>
                </a:lnTo>
                <a:cubicBezTo>
                  <a:pt x="6552" y="739"/>
                  <a:pt x="6551" y="740"/>
                  <a:pt x="6549" y="742"/>
                </a:cubicBezTo>
                <a:cubicBezTo>
                  <a:pt x="6547" y="745"/>
                  <a:pt x="6546" y="746"/>
                  <a:pt x="6545" y="746"/>
                </a:cubicBezTo>
                <a:cubicBezTo>
                  <a:pt x="6545" y="746"/>
                  <a:pt x="6545" y="745"/>
                  <a:pt x="6545" y="745"/>
                </a:cubicBezTo>
                <a:cubicBezTo>
                  <a:pt x="6545" y="745"/>
                  <a:pt x="6544" y="745"/>
                  <a:pt x="6544" y="745"/>
                </a:cubicBezTo>
                <a:cubicBezTo>
                  <a:pt x="6544" y="745"/>
                  <a:pt x="6542" y="746"/>
                  <a:pt x="6541" y="747"/>
                </a:cubicBezTo>
                <a:cubicBezTo>
                  <a:pt x="6539" y="749"/>
                  <a:pt x="6537" y="750"/>
                  <a:pt x="6536" y="750"/>
                </a:cubicBezTo>
                <a:close/>
                <a:moveTo>
                  <a:pt x="6545" y="743"/>
                </a:moveTo>
                <a:cubicBezTo>
                  <a:pt x="6546" y="743"/>
                  <a:pt x="6547" y="742"/>
                  <a:pt x="6548" y="742"/>
                </a:cubicBezTo>
                <a:cubicBezTo>
                  <a:pt x="6549" y="740"/>
                  <a:pt x="6550" y="739"/>
                  <a:pt x="6550" y="738"/>
                </a:cubicBezTo>
                <a:lnTo>
                  <a:pt x="6549" y="737"/>
                </a:lnTo>
                <a:cubicBezTo>
                  <a:pt x="6548" y="737"/>
                  <a:pt x="6547" y="738"/>
                  <a:pt x="6546" y="739"/>
                </a:cubicBezTo>
                <a:cubicBezTo>
                  <a:pt x="6545" y="740"/>
                  <a:pt x="6545" y="741"/>
                  <a:pt x="6545" y="742"/>
                </a:cubicBezTo>
                <a:cubicBezTo>
                  <a:pt x="6545" y="743"/>
                  <a:pt x="6545" y="743"/>
                  <a:pt x="6545" y="743"/>
                </a:cubicBezTo>
                <a:close/>
                <a:moveTo>
                  <a:pt x="6470" y="797"/>
                </a:moveTo>
                <a:cubicBezTo>
                  <a:pt x="6468" y="797"/>
                  <a:pt x="6466" y="796"/>
                  <a:pt x="6466" y="795"/>
                </a:cubicBezTo>
                <a:lnTo>
                  <a:pt x="6465" y="794"/>
                </a:lnTo>
                <a:cubicBezTo>
                  <a:pt x="6465" y="794"/>
                  <a:pt x="6466" y="794"/>
                  <a:pt x="6467" y="793"/>
                </a:cubicBezTo>
                <a:cubicBezTo>
                  <a:pt x="6468" y="792"/>
                  <a:pt x="6470" y="792"/>
                  <a:pt x="6472" y="792"/>
                </a:cubicBezTo>
                <a:cubicBezTo>
                  <a:pt x="6474" y="792"/>
                  <a:pt x="6475" y="792"/>
                  <a:pt x="6475" y="793"/>
                </a:cubicBezTo>
                <a:cubicBezTo>
                  <a:pt x="6475" y="794"/>
                  <a:pt x="6475" y="794"/>
                  <a:pt x="6476" y="794"/>
                </a:cubicBezTo>
                <a:lnTo>
                  <a:pt x="6477" y="792"/>
                </a:lnTo>
                <a:cubicBezTo>
                  <a:pt x="6478" y="791"/>
                  <a:pt x="6479" y="791"/>
                  <a:pt x="6480" y="791"/>
                </a:cubicBezTo>
                <a:lnTo>
                  <a:pt x="6482" y="791"/>
                </a:lnTo>
                <a:cubicBezTo>
                  <a:pt x="6483" y="791"/>
                  <a:pt x="6484" y="791"/>
                  <a:pt x="6484" y="789"/>
                </a:cubicBezTo>
                <a:cubicBezTo>
                  <a:pt x="6484" y="788"/>
                  <a:pt x="6485" y="787"/>
                  <a:pt x="6489" y="786"/>
                </a:cubicBezTo>
                <a:cubicBezTo>
                  <a:pt x="6492" y="784"/>
                  <a:pt x="6494" y="783"/>
                  <a:pt x="6494" y="781"/>
                </a:cubicBezTo>
                <a:lnTo>
                  <a:pt x="6493" y="779"/>
                </a:lnTo>
                <a:cubicBezTo>
                  <a:pt x="6493" y="779"/>
                  <a:pt x="6493" y="779"/>
                  <a:pt x="6493" y="779"/>
                </a:cubicBezTo>
                <a:cubicBezTo>
                  <a:pt x="6494" y="779"/>
                  <a:pt x="6495" y="780"/>
                  <a:pt x="6497" y="783"/>
                </a:cubicBezTo>
                <a:cubicBezTo>
                  <a:pt x="6497" y="784"/>
                  <a:pt x="6498" y="785"/>
                  <a:pt x="6498" y="786"/>
                </a:cubicBezTo>
                <a:cubicBezTo>
                  <a:pt x="6498" y="788"/>
                  <a:pt x="6496" y="789"/>
                  <a:pt x="6493" y="791"/>
                </a:cubicBezTo>
                <a:cubicBezTo>
                  <a:pt x="6489" y="793"/>
                  <a:pt x="6485" y="794"/>
                  <a:pt x="6481" y="795"/>
                </a:cubicBezTo>
                <a:cubicBezTo>
                  <a:pt x="6477" y="796"/>
                  <a:pt x="6473" y="797"/>
                  <a:pt x="6470" y="797"/>
                </a:cubicBezTo>
                <a:close/>
                <a:moveTo>
                  <a:pt x="6486" y="792"/>
                </a:moveTo>
                <a:lnTo>
                  <a:pt x="6490" y="790"/>
                </a:lnTo>
                <a:cubicBezTo>
                  <a:pt x="6495" y="787"/>
                  <a:pt x="6497" y="786"/>
                  <a:pt x="6497" y="785"/>
                </a:cubicBezTo>
                <a:lnTo>
                  <a:pt x="6497" y="785"/>
                </a:lnTo>
                <a:cubicBezTo>
                  <a:pt x="6495" y="785"/>
                  <a:pt x="6492" y="786"/>
                  <a:pt x="6489" y="789"/>
                </a:cubicBezTo>
                <a:cubicBezTo>
                  <a:pt x="6487" y="791"/>
                  <a:pt x="6486" y="791"/>
                  <a:pt x="6486" y="792"/>
                </a:cubicBezTo>
                <a:close/>
                <a:moveTo>
                  <a:pt x="6558" y="716"/>
                </a:moveTo>
                <a:lnTo>
                  <a:pt x="6557" y="716"/>
                </a:lnTo>
                <a:cubicBezTo>
                  <a:pt x="6557" y="715"/>
                  <a:pt x="6559" y="714"/>
                  <a:pt x="6561" y="711"/>
                </a:cubicBezTo>
                <a:cubicBezTo>
                  <a:pt x="6563" y="709"/>
                  <a:pt x="6565" y="707"/>
                  <a:pt x="6566" y="707"/>
                </a:cubicBezTo>
                <a:cubicBezTo>
                  <a:pt x="6566" y="708"/>
                  <a:pt x="6565" y="710"/>
                  <a:pt x="6563" y="712"/>
                </a:cubicBezTo>
                <a:cubicBezTo>
                  <a:pt x="6561" y="715"/>
                  <a:pt x="6559" y="716"/>
                  <a:pt x="6558" y="716"/>
                </a:cubicBezTo>
                <a:close/>
                <a:moveTo>
                  <a:pt x="6502" y="784"/>
                </a:moveTo>
                <a:lnTo>
                  <a:pt x="6503" y="782"/>
                </a:lnTo>
                <a:cubicBezTo>
                  <a:pt x="6504" y="780"/>
                  <a:pt x="6505" y="779"/>
                  <a:pt x="6505" y="779"/>
                </a:cubicBezTo>
                <a:lnTo>
                  <a:pt x="6505" y="779"/>
                </a:lnTo>
                <a:lnTo>
                  <a:pt x="6500" y="780"/>
                </a:lnTo>
                <a:lnTo>
                  <a:pt x="6500" y="780"/>
                </a:lnTo>
                <a:lnTo>
                  <a:pt x="6500" y="779"/>
                </a:lnTo>
                <a:cubicBezTo>
                  <a:pt x="6519" y="761"/>
                  <a:pt x="6529" y="752"/>
                  <a:pt x="6531" y="752"/>
                </a:cubicBezTo>
                <a:lnTo>
                  <a:pt x="6531" y="753"/>
                </a:lnTo>
                <a:cubicBezTo>
                  <a:pt x="6531" y="754"/>
                  <a:pt x="6531" y="756"/>
                  <a:pt x="6529" y="757"/>
                </a:cubicBezTo>
                <a:cubicBezTo>
                  <a:pt x="6528" y="757"/>
                  <a:pt x="6528" y="758"/>
                  <a:pt x="6528" y="759"/>
                </a:cubicBezTo>
                <a:lnTo>
                  <a:pt x="6528" y="760"/>
                </a:lnTo>
                <a:cubicBezTo>
                  <a:pt x="6528" y="762"/>
                  <a:pt x="6527" y="764"/>
                  <a:pt x="6524" y="767"/>
                </a:cubicBezTo>
                <a:cubicBezTo>
                  <a:pt x="6522" y="769"/>
                  <a:pt x="6520" y="770"/>
                  <a:pt x="6519" y="770"/>
                </a:cubicBezTo>
                <a:cubicBezTo>
                  <a:pt x="6519" y="770"/>
                  <a:pt x="6518" y="770"/>
                  <a:pt x="6518" y="769"/>
                </a:cubicBezTo>
                <a:cubicBezTo>
                  <a:pt x="6518" y="768"/>
                  <a:pt x="6518" y="767"/>
                  <a:pt x="6518" y="767"/>
                </a:cubicBezTo>
                <a:lnTo>
                  <a:pt x="6517" y="768"/>
                </a:lnTo>
                <a:cubicBezTo>
                  <a:pt x="6516" y="769"/>
                  <a:pt x="6515" y="771"/>
                  <a:pt x="6515" y="772"/>
                </a:cubicBezTo>
                <a:cubicBezTo>
                  <a:pt x="6515" y="773"/>
                  <a:pt x="6512" y="776"/>
                  <a:pt x="6508" y="781"/>
                </a:cubicBezTo>
                <a:cubicBezTo>
                  <a:pt x="6505" y="783"/>
                  <a:pt x="6503" y="784"/>
                  <a:pt x="6502" y="784"/>
                </a:cubicBezTo>
                <a:close/>
                <a:moveTo>
                  <a:pt x="6507" y="779"/>
                </a:moveTo>
                <a:cubicBezTo>
                  <a:pt x="6509" y="779"/>
                  <a:pt x="6511" y="777"/>
                  <a:pt x="6512" y="774"/>
                </a:cubicBezTo>
                <a:cubicBezTo>
                  <a:pt x="6513" y="773"/>
                  <a:pt x="6514" y="772"/>
                  <a:pt x="6514" y="772"/>
                </a:cubicBezTo>
                <a:lnTo>
                  <a:pt x="6514" y="772"/>
                </a:lnTo>
                <a:lnTo>
                  <a:pt x="6510" y="774"/>
                </a:lnTo>
                <a:cubicBezTo>
                  <a:pt x="6507" y="776"/>
                  <a:pt x="6505" y="777"/>
                  <a:pt x="6505" y="778"/>
                </a:cubicBezTo>
                <a:cubicBezTo>
                  <a:pt x="6505" y="778"/>
                  <a:pt x="6506" y="779"/>
                  <a:pt x="6507" y="779"/>
                </a:cubicBezTo>
                <a:close/>
                <a:moveTo>
                  <a:pt x="6520" y="767"/>
                </a:moveTo>
                <a:cubicBezTo>
                  <a:pt x="6522" y="767"/>
                  <a:pt x="6523" y="766"/>
                  <a:pt x="6525" y="763"/>
                </a:cubicBezTo>
                <a:lnTo>
                  <a:pt x="6527" y="761"/>
                </a:lnTo>
                <a:lnTo>
                  <a:pt x="6527" y="760"/>
                </a:lnTo>
                <a:cubicBezTo>
                  <a:pt x="6527" y="760"/>
                  <a:pt x="6525" y="761"/>
                  <a:pt x="6522" y="762"/>
                </a:cubicBezTo>
                <a:cubicBezTo>
                  <a:pt x="6520" y="764"/>
                  <a:pt x="6518" y="765"/>
                  <a:pt x="6518" y="767"/>
                </a:cubicBezTo>
                <a:cubicBezTo>
                  <a:pt x="6518" y="767"/>
                  <a:pt x="6519" y="767"/>
                  <a:pt x="6520" y="767"/>
                </a:cubicBezTo>
                <a:close/>
                <a:moveTo>
                  <a:pt x="6728" y="469"/>
                </a:moveTo>
                <a:lnTo>
                  <a:pt x="6728" y="468"/>
                </a:lnTo>
                <a:cubicBezTo>
                  <a:pt x="6728" y="467"/>
                  <a:pt x="6730" y="464"/>
                  <a:pt x="6733" y="460"/>
                </a:cubicBezTo>
                <a:cubicBezTo>
                  <a:pt x="6737" y="454"/>
                  <a:pt x="6739" y="451"/>
                  <a:pt x="6739" y="451"/>
                </a:cubicBezTo>
                <a:cubicBezTo>
                  <a:pt x="6739" y="452"/>
                  <a:pt x="6738" y="455"/>
                  <a:pt x="6735" y="460"/>
                </a:cubicBezTo>
                <a:cubicBezTo>
                  <a:pt x="6732" y="466"/>
                  <a:pt x="6729" y="469"/>
                  <a:pt x="6728" y="469"/>
                </a:cubicBezTo>
                <a:close/>
                <a:moveTo>
                  <a:pt x="6730" y="551"/>
                </a:moveTo>
                <a:lnTo>
                  <a:pt x="6730" y="551"/>
                </a:lnTo>
                <a:cubicBezTo>
                  <a:pt x="6730" y="551"/>
                  <a:pt x="6730" y="551"/>
                  <a:pt x="6730" y="550"/>
                </a:cubicBezTo>
                <a:lnTo>
                  <a:pt x="6730" y="548"/>
                </a:lnTo>
                <a:cubicBezTo>
                  <a:pt x="6730" y="546"/>
                  <a:pt x="6730" y="546"/>
                  <a:pt x="6730" y="546"/>
                </a:cubicBezTo>
                <a:lnTo>
                  <a:pt x="6730" y="546"/>
                </a:lnTo>
                <a:cubicBezTo>
                  <a:pt x="6731" y="547"/>
                  <a:pt x="6731" y="548"/>
                  <a:pt x="6731" y="549"/>
                </a:cubicBezTo>
                <a:cubicBezTo>
                  <a:pt x="6731" y="549"/>
                  <a:pt x="6731" y="550"/>
                  <a:pt x="6730" y="551"/>
                </a:cubicBezTo>
                <a:close/>
                <a:moveTo>
                  <a:pt x="6613" y="679"/>
                </a:moveTo>
                <a:cubicBezTo>
                  <a:pt x="6612" y="679"/>
                  <a:pt x="6611" y="679"/>
                  <a:pt x="6611" y="678"/>
                </a:cubicBezTo>
                <a:cubicBezTo>
                  <a:pt x="6611" y="677"/>
                  <a:pt x="6611" y="676"/>
                  <a:pt x="6612" y="674"/>
                </a:cubicBezTo>
                <a:cubicBezTo>
                  <a:pt x="6614" y="671"/>
                  <a:pt x="6615" y="669"/>
                  <a:pt x="6616" y="669"/>
                </a:cubicBezTo>
                <a:cubicBezTo>
                  <a:pt x="6616" y="669"/>
                  <a:pt x="6616" y="670"/>
                  <a:pt x="6617" y="671"/>
                </a:cubicBezTo>
                <a:cubicBezTo>
                  <a:pt x="6617" y="673"/>
                  <a:pt x="6618" y="674"/>
                  <a:pt x="6618" y="674"/>
                </a:cubicBezTo>
                <a:cubicBezTo>
                  <a:pt x="6618" y="674"/>
                  <a:pt x="6617" y="674"/>
                  <a:pt x="6617" y="674"/>
                </a:cubicBezTo>
                <a:lnTo>
                  <a:pt x="6614" y="674"/>
                </a:lnTo>
                <a:cubicBezTo>
                  <a:pt x="6614" y="674"/>
                  <a:pt x="6614" y="674"/>
                  <a:pt x="6614" y="674"/>
                </a:cubicBezTo>
                <a:lnTo>
                  <a:pt x="6614" y="677"/>
                </a:lnTo>
                <a:cubicBezTo>
                  <a:pt x="6614" y="679"/>
                  <a:pt x="6614" y="679"/>
                  <a:pt x="6613" y="679"/>
                </a:cubicBezTo>
                <a:close/>
                <a:moveTo>
                  <a:pt x="6726" y="562"/>
                </a:moveTo>
                <a:lnTo>
                  <a:pt x="6726" y="561"/>
                </a:lnTo>
                <a:lnTo>
                  <a:pt x="6726" y="558"/>
                </a:lnTo>
                <a:cubicBezTo>
                  <a:pt x="6727" y="556"/>
                  <a:pt x="6727" y="555"/>
                  <a:pt x="6728" y="555"/>
                </a:cubicBezTo>
                <a:cubicBezTo>
                  <a:pt x="6728" y="555"/>
                  <a:pt x="6728" y="556"/>
                  <a:pt x="6728" y="557"/>
                </a:cubicBezTo>
                <a:cubicBezTo>
                  <a:pt x="6728" y="558"/>
                  <a:pt x="6728" y="560"/>
                  <a:pt x="6728" y="561"/>
                </a:cubicBezTo>
                <a:cubicBezTo>
                  <a:pt x="6727" y="562"/>
                  <a:pt x="6727" y="562"/>
                  <a:pt x="6726" y="562"/>
                </a:cubicBezTo>
                <a:close/>
                <a:moveTo>
                  <a:pt x="6732" y="542"/>
                </a:moveTo>
                <a:cubicBezTo>
                  <a:pt x="6732" y="542"/>
                  <a:pt x="6732" y="541"/>
                  <a:pt x="6732" y="539"/>
                </a:cubicBezTo>
                <a:cubicBezTo>
                  <a:pt x="6732" y="537"/>
                  <a:pt x="6732" y="536"/>
                  <a:pt x="6732" y="536"/>
                </a:cubicBezTo>
                <a:cubicBezTo>
                  <a:pt x="6733" y="536"/>
                  <a:pt x="6733" y="538"/>
                  <a:pt x="6733" y="540"/>
                </a:cubicBezTo>
                <a:cubicBezTo>
                  <a:pt x="6733" y="541"/>
                  <a:pt x="6733" y="542"/>
                  <a:pt x="6732" y="542"/>
                </a:cubicBezTo>
                <a:close/>
                <a:moveTo>
                  <a:pt x="6710" y="525"/>
                </a:moveTo>
                <a:lnTo>
                  <a:pt x="6710" y="525"/>
                </a:lnTo>
                <a:cubicBezTo>
                  <a:pt x="6710" y="523"/>
                  <a:pt x="6712" y="520"/>
                  <a:pt x="6715" y="514"/>
                </a:cubicBezTo>
                <a:cubicBezTo>
                  <a:pt x="6723" y="503"/>
                  <a:pt x="6727" y="497"/>
                  <a:pt x="6728" y="497"/>
                </a:cubicBezTo>
                <a:lnTo>
                  <a:pt x="6725" y="502"/>
                </a:lnTo>
                <a:cubicBezTo>
                  <a:pt x="6722" y="507"/>
                  <a:pt x="6720" y="511"/>
                  <a:pt x="6720" y="512"/>
                </a:cubicBezTo>
                <a:cubicBezTo>
                  <a:pt x="6720" y="514"/>
                  <a:pt x="6720" y="515"/>
                  <a:pt x="6719" y="515"/>
                </a:cubicBezTo>
                <a:cubicBezTo>
                  <a:pt x="6718" y="515"/>
                  <a:pt x="6718" y="515"/>
                  <a:pt x="6717" y="516"/>
                </a:cubicBezTo>
                <a:cubicBezTo>
                  <a:pt x="6716" y="517"/>
                  <a:pt x="6715" y="518"/>
                  <a:pt x="6715" y="519"/>
                </a:cubicBezTo>
                <a:cubicBezTo>
                  <a:pt x="6714" y="522"/>
                  <a:pt x="6712" y="524"/>
                  <a:pt x="6710" y="525"/>
                </a:cubicBezTo>
                <a:close/>
                <a:moveTo>
                  <a:pt x="6735" y="650"/>
                </a:moveTo>
                <a:cubicBezTo>
                  <a:pt x="6734" y="650"/>
                  <a:pt x="6734" y="650"/>
                  <a:pt x="6734" y="650"/>
                </a:cubicBezTo>
                <a:cubicBezTo>
                  <a:pt x="6734" y="649"/>
                  <a:pt x="6734" y="648"/>
                  <a:pt x="6735" y="648"/>
                </a:cubicBezTo>
                <a:cubicBezTo>
                  <a:pt x="6736" y="646"/>
                  <a:pt x="6737" y="644"/>
                  <a:pt x="6737" y="642"/>
                </a:cubicBezTo>
                <a:lnTo>
                  <a:pt x="6736" y="634"/>
                </a:lnTo>
                <a:cubicBezTo>
                  <a:pt x="6736" y="632"/>
                  <a:pt x="6736" y="632"/>
                  <a:pt x="6737" y="632"/>
                </a:cubicBezTo>
                <a:lnTo>
                  <a:pt x="6738" y="632"/>
                </a:lnTo>
                <a:cubicBezTo>
                  <a:pt x="6739" y="634"/>
                  <a:pt x="6740" y="637"/>
                  <a:pt x="6740" y="639"/>
                </a:cubicBezTo>
                <a:cubicBezTo>
                  <a:pt x="6740" y="642"/>
                  <a:pt x="6740" y="644"/>
                  <a:pt x="6739" y="647"/>
                </a:cubicBezTo>
                <a:cubicBezTo>
                  <a:pt x="6738" y="649"/>
                  <a:pt x="6736" y="650"/>
                  <a:pt x="6735" y="650"/>
                </a:cubicBezTo>
                <a:close/>
                <a:moveTo>
                  <a:pt x="6704" y="506"/>
                </a:moveTo>
                <a:cubicBezTo>
                  <a:pt x="6704" y="505"/>
                  <a:pt x="6707" y="499"/>
                  <a:pt x="6714" y="488"/>
                </a:cubicBezTo>
                <a:lnTo>
                  <a:pt x="6722" y="476"/>
                </a:lnTo>
                <a:lnTo>
                  <a:pt x="6726" y="471"/>
                </a:lnTo>
                <a:cubicBezTo>
                  <a:pt x="6726" y="472"/>
                  <a:pt x="6723" y="478"/>
                  <a:pt x="6716" y="489"/>
                </a:cubicBezTo>
                <a:cubicBezTo>
                  <a:pt x="6709" y="500"/>
                  <a:pt x="6705" y="506"/>
                  <a:pt x="6704" y="506"/>
                </a:cubicBezTo>
                <a:close/>
                <a:moveTo>
                  <a:pt x="6657" y="602"/>
                </a:moveTo>
                <a:cubicBezTo>
                  <a:pt x="6656" y="602"/>
                  <a:pt x="6656" y="602"/>
                  <a:pt x="6656" y="602"/>
                </a:cubicBezTo>
                <a:cubicBezTo>
                  <a:pt x="6656" y="601"/>
                  <a:pt x="6657" y="600"/>
                  <a:pt x="6658" y="599"/>
                </a:cubicBezTo>
                <a:cubicBezTo>
                  <a:pt x="6658" y="598"/>
                  <a:pt x="6659" y="597"/>
                  <a:pt x="6659" y="596"/>
                </a:cubicBezTo>
                <a:cubicBezTo>
                  <a:pt x="6659" y="595"/>
                  <a:pt x="6658" y="595"/>
                  <a:pt x="6658" y="595"/>
                </a:cubicBezTo>
                <a:lnTo>
                  <a:pt x="6658" y="595"/>
                </a:lnTo>
                <a:cubicBezTo>
                  <a:pt x="6658" y="594"/>
                  <a:pt x="6658" y="593"/>
                  <a:pt x="6660" y="593"/>
                </a:cubicBezTo>
                <a:cubicBezTo>
                  <a:pt x="6662" y="592"/>
                  <a:pt x="6663" y="590"/>
                  <a:pt x="6663" y="589"/>
                </a:cubicBezTo>
                <a:lnTo>
                  <a:pt x="6662" y="588"/>
                </a:lnTo>
                <a:cubicBezTo>
                  <a:pt x="6662" y="587"/>
                  <a:pt x="6663" y="587"/>
                  <a:pt x="6663" y="587"/>
                </a:cubicBezTo>
                <a:lnTo>
                  <a:pt x="6667" y="588"/>
                </a:lnTo>
                <a:cubicBezTo>
                  <a:pt x="6668" y="588"/>
                  <a:pt x="6668" y="588"/>
                  <a:pt x="6668" y="588"/>
                </a:cubicBezTo>
                <a:lnTo>
                  <a:pt x="6667" y="585"/>
                </a:lnTo>
                <a:cubicBezTo>
                  <a:pt x="6667" y="584"/>
                  <a:pt x="6668" y="583"/>
                  <a:pt x="6668" y="582"/>
                </a:cubicBezTo>
                <a:cubicBezTo>
                  <a:pt x="6669" y="582"/>
                  <a:pt x="6670" y="581"/>
                  <a:pt x="6670" y="580"/>
                </a:cubicBezTo>
                <a:lnTo>
                  <a:pt x="6670" y="579"/>
                </a:lnTo>
                <a:cubicBezTo>
                  <a:pt x="6670" y="578"/>
                  <a:pt x="6672" y="577"/>
                  <a:pt x="6676" y="577"/>
                </a:cubicBezTo>
                <a:lnTo>
                  <a:pt x="6677" y="577"/>
                </a:lnTo>
                <a:cubicBezTo>
                  <a:pt x="6677" y="578"/>
                  <a:pt x="6676" y="579"/>
                  <a:pt x="6674" y="580"/>
                </a:cubicBezTo>
                <a:cubicBezTo>
                  <a:pt x="6671" y="583"/>
                  <a:pt x="6669" y="585"/>
                  <a:pt x="6669" y="586"/>
                </a:cubicBezTo>
                <a:cubicBezTo>
                  <a:pt x="6669" y="588"/>
                  <a:pt x="6668" y="589"/>
                  <a:pt x="6666" y="591"/>
                </a:cubicBezTo>
                <a:cubicBezTo>
                  <a:pt x="6663" y="593"/>
                  <a:pt x="6662" y="594"/>
                  <a:pt x="6662" y="595"/>
                </a:cubicBezTo>
                <a:cubicBezTo>
                  <a:pt x="6662" y="595"/>
                  <a:pt x="6663" y="595"/>
                  <a:pt x="6663" y="595"/>
                </a:cubicBezTo>
                <a:cubicBezTo>
                  <a:pt x="6663" y="595"/>
                  <a:pt x="6663" y="595"/>
                  <a:pt x="6663" y="595"/>
                </a:cubicBezTo>
                <a:cubicBezTo>
                  <a:pt x="6663" y="596"/>
                  <a:pt x="6663" y="598"/>
                  <a:pt x="6661" y="599"/>
                </a:cubicBezTo>
                <a:cubicBezTo>
                  <a:pt x="6660" y="601"/>
                  <a:pt x="6659" y="602"/>
                  <a:pt x="6657" y="602"/>
                </a:cubicBezTo>
                <a:close/>
                <a:moveTo>
                  <a:pt x="6646" y="617"/>
                </a:moveTo>
                <a:lnTo>
                  <a:pt x="6644" y="617"/>
                </a:lnTo>
                <a:cubicBezTo>
                  <a:pt x="6643" y="617"/>
                  <a:pt x="6642" y="617"/>
                  <a:pt x="6642" y="616"/>
                </a:cubicBezTo>
                <a:cubicBezTo>
                  <a:pt x="6642" y="614"/>
                  <a:pt x="6643" y="613"/>
                  <a:pt x="6644" y="613"/>
                </a:cubicBezTo>
                <a:lnTo>
                  <a:pt x="6648" y="613"/>
                </a:lnTo>
                <a:cubicBezTo>
                  <a:pt x="6649" y="613"/>
                  <a:pt x="6650" y="614"/>
                  <a:pt x="6650" y="614"/>
                </a:cubicBezTo>
                <a:cubicBezTo>
                  <a:pt x="6650" y="616"/>
                  <a:pt x="6648" y="617"/>
                  <a:pt x="6646" y="617"/>
                </a:cubicBezTo>
                <a:close/>
                <a:moveTo>
                  <a:pt x="6744" y="458"/>
                </a:moveTo>
                <a:cubicBezTo>
                  <a:pt x="6743" y="458"/>
                  <a:pt x="6742" y="457"/>
                  <a:pt x="6742" y="455"/>
                </a:cubicBezTo>
                <a:cubicBezTo>
                  <a:pt x="6742" y="454"/>
                  <a:pt x="6743" y="453"/>
                  <a:pt x="6744" y="453"/>
                </a:cubicBezTo>
                <a:cubicBezTo>
                  <a:pt x="6746" y="453"/>
                  <a:pt x="6747" y="454"/>
                  <a:pt x="6747" y="455"/>
                </a:cubicBezTo>
                <a:cubicBezTo>
                  <a:pt x="6747" y="457"/>
                  <a:pt x="6746" y="458"/>
                  <a:pt x="6744" y="458"/>
                </a:cubicBezTo>
                <a:close/>
                <a:moveTo>
                  <a:pt x="6632" y="645"/>
                </a:moveTo>
                <a:cubicBezTo>
                  <a:pt x="6631" y="645"/>
                  <a:pt x="6629" y="644"/>
                  <a:pt x="6626" y="641"/>
                </a:cubicBezTo>
                <a:cubicBezTo>
                  <a:pt x="6625" y="639"/>
                  <a:pt x="6624" y="638"/>
                  <a:pt x="6624" y="637"/>
                </a:cubicBezTo>
                <a:cubicBezTo>
                  <a:pt x="6624" y="636"/>
                  <a:pt x="6625" y="633"/>
                  <a:pt x="6627" y="630"/>
                </a:cubicBezTo>
                <a:cubicBezTo>
                  <a:pt x="6629" y="627"/>
                  <a:pt x="6630" y="625"/>
                  <a:pt x="6631" y="625"/>
                </a:cubicBezTo>
                <a:lnTo>
                  <a:pt x="6631" y="626"/>
                </a:lnTo>
                <a:cubicBezTo>
                  <a:pt x="6631" y="627"/>
                  <a:pt x="6631" y="629"/>
                  <a:pt x="6629" y="632"/>
                </a:cubicBezTo>
                <a:cubicBezTo>
                  <a:pt x="6629" y="633"/>
                  <a:pt x="6628" y="634"/>
                  <a:pt x="6628" y="635"/>
                </a:cubicBezTo>
                <a:cubicBezTo>
                  <a:pt x="6628" y="637"/>
                  <a:pt x="6629" y="637"/>
                  <a:pt x="6630" y="638"/>
                </a:cubicBezTo>
                <a:cubicBezTo>
                  <a:pt x="6631" y="639"/>
                  <a:pt x="6632" y="639"/>
                  <a:pt x="6632" y="639"/>
                </a:cubicBezTo>
                <a:cubicBezTo>
                  <a:pt x="6633" y="639"/>
                  <a:pt x="6633" y="639"/>
                  <a:pt x="6633" y="637"/>
                </a:cubicBezTo>
                <a:cubicBezTo>
                  <a:pt x="6633" y="636"/>
                  <a:pt x="6632" y="635"/>
                  <a:pt x="6631" y="635"/>
                </a:cubicBezTo>
                <a:lnTo>
                  <a:pt x="6630" y="636"/>
                </a:lnTo>
                <a:lnTo>
                  <a:pt x="6629" y="635"/>
                </a:lnTo>
                <a:lnTo>
                  <a:pt x="6630" y="634"/>
                </a:lnTo>
                <a:cubicBezTo>
                  <a:pt x="6631" y="633"/>
                  <a:pt x="6632" y="632"/>
                  <a:pt x="6632" y="632"/>
                </a:cubicBezTo>
                <a:cubicBezTo>
                  <a:pt x="6634" y="632"/>
                  <a:pt x="6635" y="634"/>
                  <a:pt x="6635" y="637"/>
                </a:cubicBezTo>
                <a:cubicBezTo>
                  <a:pt x="6635" y="637"/>
                  <a:pt x="6635" y="638"/>
                  <a:pt x="6634" y="639"/>
                </a:cubicBezTo>
                <a:cubicBezTo>
                  <a:pt x="6634" y="639"/>
                  <a:pt x="6634" y="641"/>
                  <a:pt x="6634" y="642"/>
                </a:cubicBezTo>
                <a:cubicBezTo>
                  <a:pt x="6634" y="642"/>
                  <a:pt x="6634" y="643"/>
                  <a:pt x="6633" y="644"/>
                </a:cubicBezTo>
                <a:cubicBezTo>
                  <a:pt x="6633" y="645"/>
                  <a:pt x="6633" y="645"/>
                  <a:pt x="6632" y="645"/>
                </a:cubicBezTo>
                <a:close/>
                <a:moveTo>
                  <a:pt x="6653" y="609"/>
                </a:moveTo>
                <a:cubicBezTo>
                  <a:pt x="6652" y="609"/>
                  <a:pt x="6651" y="608"/>
                  <a:pt x="6650" y="607"/>
                </a:cubicBezTo>
                <a:lnTo>
                  <a:pt x="6650" y="606"/>
                </a:lnTo>
                <a:cubicBezTo>
                  <a:pt x="6650" y="605"/>
                  <a:pt x="6650" y="605"/>
                  <a:pt x="6650" y="604"/>
                </a:cubicBezTo>
                <a:cubicBezTo>
                  <a:pt x="6650" y="604"/>
                  <a:pt x="6651" y="604"/>
                  <a:pt x="6651" y="603"/>
                </a:cubicBezTo>
                <a:lnTo>
                  <a:pt x="6652" y="602"/>
                </a:lnTo>
                <a:lnTo>
                  <a:pt x="6653" y="603"/>
                </a:lnTo>
                <a:lnTo>
                  <a:pt x="6652" y="604"/>
                </a:lnTo>
                <a:cubicBezTo>
                  <a:pt x="6652" y="605"/>
                  <a:pt x="6651" y="605"/>
                  <a:pt x="6651" y="606"/>
                </a:cubicBezTo>
                <a:cubicBezTo>
                  <a:pt x="6651" y="607"/>
                  <a:pt x="6652" y="607"/>
                  <a:pt x="6652" y="607"/>
                </a:cubicBezTo>
                <a:lnTo>
                  <a:pt x="6656" y="605"/>
                </a:lnTo>
                <a:lnTo>
                  <a:pt x="6657" y="606"/>
                </a:lnTo>
                <a:cubicBezTo>
                  <a:pt x="6657" y="606"/>
                  <a:pt x="6656" y="607"/>
                  <a:pt x="6656" y="607"/>
                </a:cubicBezTo>
                <a:cubicBezTo>
                  <a:pt x="6655" y="608"/>
                  <a:pt x="6654" y="609"/>
                  <a:pt x="6653" y="609"/>
                </a:cubicBezTo>
                <a:close/>
                <a:moveTo>
                  <a:pt x="6640" y="634"/>
                </a:moveTo>
                <a:cubicBezTo>
                  <a:pt x="6639" y="634"/>
                  <a:pt x="6639" y="634"/>
                  <a:pt x="6638" y="633"/>
                </a:cubicBezTo>
                <a:cubicBezTo>
                  <a:pt x="6637" y="632"/>
                  <a:pt x="6636" y="631"/>
                  <a:pt x="6635" y="630"/>
                </a:cubicBezTo>
                <a:cubicBezTo>
                  <a:pt x="6634" y="630"/>
                  <a:pt x="6634" y="628"/>
                  <a:pt x="6634" y="627"/>
                </a:cubicBezTo>
                <a:cubicBezTo>
                  <a:pt x="6634" y="626"/>
                  <a:pt x="6634" y="625"/>
                  <a:pt x="6635" y="624"/>
                </a:cubicBezTo>
                <a:cubicBezTo>
                  <a:pt x="6636" y="623"/>
                  <a:pt x="6637" y="623"/>
                  <a:pt x="6638" y="623"/>
                </a:cubicBezTo>
                <a:cubicBezTo>
                  <a:pt x="6641" y="623"/>
                  <a:pt x="6642" y="624"/>
                  <a:pt x="6642" y="626"/>
                </a:cubicBezTo>
                <a:cubicBezTo>
                  <a:pt x="6642" y="628"/>
                  <a:pt x="6642" y="629"/>
                  <a:pt x="6640" y="629"/>
                </a:cubicBezTo>
                <a:lnTo>
                  <a:pt x="6636" y="628"/>
                </a:lnTo>
                <a:cubicBezTo>
                  <a:pt x="6636" y="628"/>
                  <a:pt x="6637" y="629"/>
                  <a:pt x="6638" y="631"/>
                </a:cubicBezTo>
                <a:cubicBezTo>
                  <a:pt x="6639" y="632"/>
                  <a:pt x="6640" y="633"/>
                  <a:pt x="6640" y="634"/>
                </a:cubicBezTo>
                <a:close/>
                <a:moveTo>
                  <a:pt x="6740" y="630"/>
                </a:moveTo>
                <a:cubicBezTo>
                  <a:pt x="6740" y="630"/>
                  <a:pt x="6740" y="630"/>
                  <a:pt x="6740" y="629"/>
                </a:cubicBezTo>
                <a:cubicBezTo>
                  <a:pt x="6739" y="626"/>
                  <a:pt x="6738" y="623"/>
                  <a:pt x="6738" y="621"/>
                </a:cubicBezTo>
                <a:cubicBezTo>
                  <a:pt x="6738" y="620"/>
                  <a:pt x="6738" y="619"/>
                  <a:pt x="6739" y="619"/>
                </a:cubicBezTo>
                <a:lnTo>
                  <a:pt x="6741" y="620"/>
                </a:lnTo>
                <a:cubicBezTo>
                  <a:pt x="6741" y="620"/>
                  <a:pt x="6742" y="619"/>
                  <a:pt x="6742" y="618"/>
                </a:cubicBezTo>
                <a:lnTo>
                  <a:pt x="6740" y="610"/>
                </a:lnTo>
                <a:cubicBezTo>
                  <a:pt x="6740" y="607"/>
                  <a:pt x="6741" y="606"/>
                  <a:pt x="6742" y="605"/>
                </a:cubicBezTo>
                <a:cubicBezTo>
                  <a:pt x="6743" y="605"/>
                  <a:pt x="6743" y="604"/>
                  <a:pt x="6743" y="603"/>
                </a:cubicBezTo>
                <a:lnTo>
                  <a:pt x="6743" y="600"/>
                </a:lnTo>
                <a:cubicBezTo>
                  <a:pt x="6743" y="598"/>
                  <a:pt x="6743" y="597"/>
                  <a:pt x="6744" y="596"/>
                </a:cubicBezTo>
                <a:cubicBezTo>
                  <a:pt x="6745" y="595"/>
                  <a:pt x="6745" y="594"/>
                  <a:pt x="6745" y="592"/>
                </a:cubicBezTo>
                <a:lnTo>
                  <a:pt x="6745" y="584"/>
                </a:lnTo>
                <a:cubicBezTo>
                  <a:pt x="6745" y="584"/>
                  <a:pt x="6746" y="585"/>
                  <a:pt x="6747" y="588"/>
                </a:cubicBezTo>
                <a:cubicBezTo>
                  <a:pt x="6747" y="590"/>
                  <a:pt x="6748" y="593"/>
                  <a:pt x="6748" y="595"/>
                </a:cubicBezTo>
                <a:cubicBezTo>
                  <a:pt x="6748" y="599"/>
                  <a:pt x="6747" y="601"/>
                  <a:pt x="6747" y="604"/>
                </a:cubicBezTo>
                <a:cubicBezTo>
                  <a:pt x="6747" y="607"/>
                  <a:pt x="6746" y="608"/>
                  <a:pt x="6745" y="608"/>
                </a:cubicBezTo>
                <a:lnTo>
                  <a:pt x="6743" y="607"/>
                </a:lnTo>
                <a:cubicBezTo>
                  <a:pt x="6743" y="607"/>
                  <a:pt x="6742" y="607"/>
                  <a:pt x="6742" y="608"/>
                </a:cubicBezTo>
                <a:cubicBezTo>
                  <a:pt x="6742" y="609"/>
                  <a:pt x="6743" y="610"/>
                  <a:pt x="6743" y="611"/>
                </a:cubicBezTo>
                <a:cubicBezTo>
                  <a:pt x="6743" y="613"/>
                  <a:pt x="6743" y="614"/>
                  <a:pt x="6743" y="616"/>
                </a:cubicBezTo>
                <a:cubicBezTo>
                  <a:pt x="6743" y="618"/>
                  <a:pt x="6743" y="620"/>
                  <a:pt x="6743" y="622"/>
                </a:cubicBezTo>
                <a:cubicBezTo>
                  <a:pt x="6743" y="625"/>
                  <a:pt x="6742" y="627"/>
                  <a:pt x="6742" y="628"/>
                </a:cubicBezTo>
                <a:cubicBezTo>
                  <a:pt x="6741" y="630"/>
                  <a:pt x="6741" y="630"/>
                  <a:pt x="6740" y="630"/>
                </a:cubicBezTo>
                <a:close/>
                <a:moveTo>
                  <a:pt x="6746" y="451"/>
                </a:moveTo>
                <a:cubicBezTo>
                  <a:pt x="6745" y="451"/>
                  <a:pt x="6745" y="450"/>
                  <a:pt x="6745" y="450"/>
                </a:cubicBezTo>
                <a:cubicBezTo>
                  <a:pt x="6745" y="449"/>
                  <a:pt x="6745" y="448"/>
                  <a:pt x="6747" y="447"/>
                </a:cubicBezTo>
                <a:cubicBezTo>
                  <a:pt x="6747" y="446"/>
                  <a:pt x="6748" y="445"/>
                  <a:pt x="6748" y="444"/>
                </a:cubicBezTo>
                <a:cubicBezTo>
                  <a:pt x="6748" y="444"/>
                  <a:pt x="6747" y="443"/>
                  <a:pt x="6747" y="443"/>
                </a:cubicBezTo>
                <a:cubicBezTo>
                  <a:pt x="6746" y="443"/>
                  <a:pt x="6744" y="444"/>
                  <a:pt x="6742" y="446"/>
                </a:cubicBezTo>
                <a:lnTo>
                  <a:pt x="6742" y="447"/>
                </a:lnTo>
                <a:cubicBezTo>
                  <a:pt x="6742" y="446"/>
                  <a:pt x="6742" y="445"/>
                  <a:pt x="6743" y="443"/>
                </a:cubicBezTo>
                <a:cubicBezTo>
                  <a:pt x="6744" y="442"/>
                  <a:pt x="6745" y="440"/>
                  <a:pt x="6746" y="439"/>
                </a:cubicBezTo>
                <a:cubicBezTo>
                  <a:pt x="6747" y="438"/>
                  <a:pt x="6748" y="438"/>
                  <a:pt x="6748" y="438"/>
                </a:cubicBezTo>
                <a:lnTo>
                  <a:pt x="6749" y="438"/>
                </a:lnTo>
                <a:cubicBezTo>
                  <a:pt x="6750" y="438"/>
                  <a:pt x="6750" y="437"/>
                  <a:pt x="6750" y="436"/>
                </a:cubicBezTo>
                <a:cubicBezTo>
                  <a:pt x="6750" y="429"/>
                  <a:pt x="6751" y="426"/>
                  <a:pt x="6754" y="425"/>
                </a:cubicBezTo>
                <a:cubicBezTo>
                  <a:pt x="6754" y="425"/>
                  <a:pt x="6754" y="426"/>
                  <a:pt x="6754" y="427"/>
                </a:cubicBezTo>
                <a:lnTo>
                  <a:pt x="6754" y="431"/>
                </a:lnTo>
                <a:cubicBezTo>
                  <a:pt x="6754" y="432"/>
                  <a:pt x="6754" y="432"/>
                  <a:pt x="6755" y="432"/>
                </a:cubicBezTo>
                <a:cubicBezTo>
                  <a:pt x="6757" y="432"/>
                  <a:pt x="6758" y="431"/>
                  <a:pt x="6758" y="428"/>
                </a:cubicBezTo>
                <a:cubicBezTo>
                  <a:pt x="6758" y="427"/>
                  <a:pt x="6757" y="425"/>
                  <a:pt x="6756" y="424"/>
                </a:cubicBezTo>
                <a:cubicBezTo>
                  <a:pt x="6754" y="424"/>
                  <a:pt x="6753" y="423"/>
                  <a:pt x="6753" y="423"/>
                </a:cubicBezTo>
                <a:cubicBezTo>
                  <a:pt x="6753" y="422"/>
                  <a:pt x="6754" y="421"/>
                  <a:pt x="6756" y="419"/>
                </a:cubicBezTo>
                <a:cubicBezTo>
                  <a:pt x="6759" y="418"/>
                  <a:pt x="6760" y="416"/>
                  <a:pt x="6760" y="414"/>
                </a:cubicBezTo>
                <a:cubicBezTo>
                  <a:pt x="6760" y="412"/>
                  <a:pt x="6759" y="411"/>
                  <a:pt x="6757" y="410"/>
                </a:cubicBezTo>
                <a:cubicBezTo>
                  <a:pt x="6755" y="409"/>
                  <a:pt x="6754" y="408"/>
                  <a:pt x="6754" y="408"/>
                </a:cubicBezTo>
                <a:cubicBezTo>
                  <a:pt x="6754" y="407"/>
                  <a:pt x="6755" y="407"/>
                  <a:pt x="6757" y="407"/>
                </a:cubicBezTo>
                <a:cubicBezTo>
                  <a:pt x="6760" y="407"/>
                  <a:pt x="6761" y="408"/>
                  <a:pt x="6761" y="409"/>
                </a:cubicBezTo>
                <a:lnTo>
                  <a:pt x="6761" y="410"/>
                </a:lnTo>
                <a:cubicBezTo>
                  <a:pt x="6761" y="411"/>
                  <a:pt x="6761" y="412"/>
                  <a:pt x="6762" y="413"/>
                </a:cubicBezTo>
                <a:cubicBezTo>
                  <a:pt x="6763" y="413"/>
                  <a:pt x="6763" y="414"/>
                  <a:pt x="6763" y="415"/>
                </a:cubicBezTo>
                <a:cubicBezTo>
                  <a:pt x="6763" y="415"/>
                  <a:pt x="6762" y="416"/>
                  <a:pt x="6762" y="418"/>
                </a:cubicBezTo>
                <a:cubicBezTo>
                  <a:pt x="6761" y="419"/>
                  <a:pt x="6760" y="421"/>
                  <a:pt x="6760" y="422"/>
                </a:cubicBezTo>
                <a:lnTo>
                  <a:pt x="6760" y="424"/>
                </a:lnTo>
                <a:cubicBezTo>
                  <a:pt x="6760" y="426"/>
                  <a:pt x="6758" y="431"/>
                  <a:pt x="6755" y="437"/>
                </a:cubicBezTo>
                <a:cubicBezTo>
                  <a:pt x="6751" y="444"/>
                  <a:pt x="6749" y="448"/>
                  <a:pt x="6749" y="449"/>
                </a:cubicBezTo>
                <a:cubicBezTo>
                  <a:pt x="6749" y="450"/>
                  <a:pt x="6748" y="451"/>
                  <a:pt x="6746" y="451"/>
                </a:cubicBezTo>
                <a:close/>
                <a:moveTo>
                  <a:pt x="6678" y="574"/>
                </a:moveTo>
                <a:cubicBezTo>
                  <a:pt x="6678" y="574"/>
                  <a:pt x="6677" y="573"/>
                  <a:pt x="6677" y="573"/>
                </a:cubicBezTo>
                <a:lnTo>
                  <a:pt x="6677" y="572"/>
                </a:lnTo>
                <a:cubicBezTo>
                  <a:pt x="6679" y="568"/>
                  <a:pt x="6685" y="560"/>
                  <a:pt x="6693" y="547"/>
                </a:cubicBezTo>
                <a:cubicBezTo>
                  <a:pt x="6702" y="535"/>
                  <a:pt x="6707" y="529"/>
                  <a:pt x="6708" y="529"/>
                </a:cubicBezTo>
                <a:cubicBezTo>
                  <a:pt x="6709" y="529"/>
                  <a:pt x="6709" y="529"/>
                  <a:pt x="6709" y="529"/>
                </a:cubicBezTo>
                <a:cubicBezTo>
                  <a:pt x="6709" y="530"/>
                  <a:pt x="6708" y="530"/>
                  <a:pt x="6707" y="531"/>
                </a:cubicBezTo>
                <a:cubicBezTo>
                  <a:pt x="6705" y="533"/>
                  <a:pt x="6703" y="535"/>
                  <a:pt x="6703" y="537"/>
                </a:cubicBezTo>
                <a:cubicBezTo>
                  <a:pt x="6703" y="539"/>
                  <a:pt x="6702" y="540"/>
                  <a:pt x="6701" y="540"/>
                </a:cubicBezTo>
                <a:cubicBezTo>
                  <a:pt x="6700" y="540"/>
                  <a:pt x="6699" y="541"/>
                  <a:pt x="6699" y="544"/>
                </a:cubicBezTo>
                <a:cubicBezTo>
                  <a:pt x="6699" y="546"/>
                  <a:pt x="6698" y="547"/>
                  <a:pt x="6697" y="547"/>
                </a:cubicBezTo>
                <a:cubicBezTo>
                  <a:pt x="6695" y="547"/>
                  <a:pt x="6695" y="548"/>
                  <a:pt x="6695" y="551"/>
                </a:cubicBezTo>
                <a:cubicBezTo>
                  <a:pt x="6695" y="553"/>
                  <a:pt x="6693" y="555"/>
                  <a:pt x="6691" y="556"/>
                </a:cubicBezTo>
                <a:cubicBezTo>
                  <a:pt x="6689" y="556"/>
                  <a:pt x="6688" y="558"/>
                  <a:pt x="6688" y="560"/>
                </a:cubicBezTo>
                <a:cubicBezTo>
                  <a:pt x="6688" y="562"/>
                  <a:pt x="6687" y="563"/>
                  <a:pt x="6685" y="564"/>
                </a:cubicBezTo>
                <a:cubicBezTo>
                  <a:pt x="6682" y="566"/>
                  <a:pt x="6681" y="568"/>
                  <a:pt x="6681" y="569"/>
                </a:cubicBezTo>
                <a:cubicBezTo>
                  <a:pt x="6681" y="571"/>
                  <a:pt x="6680" y="573"/>
                  <a:pt x="6679" y="573"/>
                </a:cubicBezTo>
                <a:lnTo>
                  <a:pt x="6678" y="574"/>
                </a:lnTo>
                <a:close/>
                <a:moveTo>
                  <a:pt x="6730" y="493"/>
                </a:moveTo>
                <a:cubicBezTo>
                  <a:pt x="6730" y="493"/>
                  <a:pt x="6731" y="490"/>
                  <a:pt x="6734" y="485"/>
                </a:cubicBezTo>
                <a:lnTo>
                  <a:pt x="6738" y="479"/>
                </a:lnTo>
                <a:lnTo>
                  <a:pt x="6741" y="476"/>
                </a:lnTo>
                <a:cubicBezTo>
                  <a:pt x="6741" y="476"/>
                  <a:pt x="6742" y="476"/>
                  <a:pt x="6742" y="476"/>
                </a:cubicBezTo>
                <a:cubicBezTo>
                  <a:pt x="6742" y="477"/>
                  <a:pt x="6741" y="478"/>
                  <a:pt x="6740" y="479"/>
                </a:cubicBezTo>
                <a:cubicBezTo>
                  <a:pt x="6739" y="481"/>
                  <a:pt x="6738" y="482"/>
                  <a:pt x="6738" y="482"/>
                </a:cubicBezTo>
                <a:lnTo>
                  <a:pt x="6738" y="483"/>
                </a:lnTo>
                <a:cubicBezTo>
                  <a:pt x="6738" y="484"/>
                  <a:pt x="6738" y="485"/>
                  <a:pt x="6737" y="485"/>
                </a:cubicBezTo>
                <a:cubicBezTo>
                  <a:pt x="6733" y="491"/>
                  <a:pt x="6731" y="493"/>
                  <a:pt x="6730" y="493"/>
                </a:cubicBezTo>
                <a:close/>
                <a:moveTo>
                  <a:pt x="6735" y="659"/>
                </a:moveTo>
                <a:cubicBezTo>
                  <a:pt x="6734" y="659"/>
                  <a:pt x="6733" y="659"/>
                  <a:pt x="6733" y="657"/>
                </a:cubicBezTo>
                <a:cubicBezTo>
                  <a:pt x="6733" y="656"/>
                  <a:pt x="6733" y="656"/>
                  <a:pt x="6734" y="655"/>
                </a:cubicBezTo>
                <a:cubicBezTo>
                  <a:pt x="6735" y="654"/>
                  <a:pt x="6735" y="654"/>
                  <a:pt x="6736" y="654"/>
                </a:cubicBezTo>
                <a:cubicBezTo>
                  <a:pt x="6737" y="654"/>
                  <a:pt x="6737" y="654"/>
                  <a:pt x="6737" y="656"/>
                </a:cubicBezTo>
                <a:cubicBezTo>
                  <a:pt x="6737" y="658"/>
                  <a:pt x="6737" y="659"/>
                  <a:pt x="6735" y="659"/>
                </a:cubicBezTo>
                <a:close/>
                <a:moveTo>
                  <a:pt x="6790" y="311"/>
                </a:moveTo>
                <a:cubicBezTo>
                  <a:pt x="6790" y="311"/>
                  <a:pt x="6790" y="310"/>
                  <a:pt x="6790" y="308"/>
                </a:cubicBezTo>
                <a:cubicBezTo>
                  <a:pt x="6790" y="308"/>
                  <a:pt x="6791" y="306"/>
                  <a:pt x="6792" y="305"/>
                </a:cubicBezTo>
                <a:lnTo>
                  <a:pt x="6793" y="305"/>
                </a:lnTo>
                <a:cubicBezTo>
                  <a:pt x="6793" y="305"/>
                  <a:pt x="6793" y="305"/>
                  <a:pt x="6793" y="306"/>
                </a:cubicBezTo>
                <a:lnTo>
                  <a:pt x="6793" y="307"/>
                </a:lnTo>
                <a:cubicBezTo>
                  <a:pt x="6792" y="309"/>
                  <a:pt x="6791" y="311"/>
                  <a:pt x="6790" y="311"/>
                </a:cubicBezTo>
                <a:close/>
                <a:moveTo>
                  <a:pt x="6734" y="685"/>
                </a:moveTo>
                <a:cubicBezTo>
                  <a:pt x="6732" y="685"/>
                  <a:pt x="6732" y="683"/>
                  <a:pt x="6732" y="681"/>
                </a:cubicBezTo>
                <a:cubicBezTo>
                  <a:pt x="6732" y="679"/>
                  <a:pt x="6732" y="677"/>
                  <a:pt x="6734" y="677"/>
                </a:cubicBezTo>
                <a:cubicBezTo>
                  <a:pt x="6735" y="677"/>
                  <a:pt x="6736" y="679"/>
                  <a:pt x="6736" y="681"/>
                </a:cubicBezTo>
                <a:cubicBezTo>
                  <a:pt x="6736" y="683"/>
                  <a:pt x="6735" y="685"/>
                  <a:pt x="6734" y="685"/>
                </a:cubicBezTo>
                <a:close/>
                <a:moveTo>
                  <a:pt x="6733" y="668"/>
                </a:moveTo>
                <a:cubicBezTo>
                  <a:pt x="6732" y="668"/>
                  <a:pt x="6732" y="668"/>
                  <a:pt x="6732" y="666"/>
                </a:cubicBezTo>
                <a:cubicBezTo>
                  <a:pt x="6732" y="666"/>
                  <a:pt x="6732" y="665"/>
                  <a:pt x="6732" y="664"/>
                </a:cubicBezTo>
                <a:cubicBezTo>
                  <a:pt x="6733" y="663"/>
                  <a:pt x="6733" y="662"/>
                  <a:pt x="6734" y="662"/>
                </a:cubicBezTo>
                <a:cubicBezTo>
                  <a:pt x="6735" y="662"/>
                  <a:pt x="6736" y="663"/>
                  <a:pt x="6736" y="665"/>
                </a:cubicBezTo>
                <a:cubicBezTo>
                  <a:pt x="6736" y="667"/>
                  <a:pt x="6735" y="668"/>
                  <a:pt x="6733" y="668"/>
                </a:cubicBezTo>
                <a:close/>
                <a:moveTo>
                  <a:pt x="6730" y="657"/>
                </a:moveTo>
                <a:cubicBezTo>
                  <a:pt x="6730" y="657"/>
                  <a:pt x="6729" y="656"/>
                  <a:pt x="6728" y="654"/>
                </a:cubicBezTo>
                <a:lnTo>
                  <a:pt x="6728" y="652"/>
                </a:lnTo>
                <a:cubicBezTo>
                  <a:pt x="6728" y="650"/>
                  <a:pt x="6728" y="649"/>
                  <a:pt x="6730" y="648"/>
                </a:cubicBezTo>
                <a:lnTo>
                  <a:pt x="6730" y="646"/>
                </a:lnTo>
                <a:cubicBezTo>
                  <a:pt x="6731" y="646"/>
                  <a:pt x="6732" y="648"/>
                  <a:pt x="6732" y="651"/>
                </a:cubicBezTo>
                <a:cubicBezTo>
                  <a:pt x="6732" y="655"/>
                  <a:pt x="6731" y="657"/>
                  <a:pt x="6730" y="657"/>
                </a:cubicBezTo>
                <a:close/>
                <a:moveTo>
                  <a:pt x="6795" y="301"/>
                </a:moveTo>
                <a:lnTo>
                  <a:pt x="6795" y="301"/>
                </a:lnTo>
                <a:cubicBezTo>
                  <a:pt x="6795" y="300"/>
                  <a:pt x="6796" y="297"/>
                  <a:pt x="6798" y="293"/>
                </a:cubicBezTo>
                <a:cubicBezTo>
                  <a:pt x="6800" y="289"/>
                  <a:pt x="6802" y="286"/>
                  <a:pt x="6802" y="286"/>
                </a:cubicBezTo>
                <a:lnTo>
                  <a:pt x="6802" y="287"/>
                </a:lnTo>
                <a:cubicBezTo>
                  <a:pt x="6802" y="288"/>
                  <a:pt x="6801" y="291"/>
                  <a:pt x="6799" y="295"/>
                </a:cubicBezTo>
                <a:cubicBezTo>
                  <a:pt x="6797" y="299"/>
                  <a:pt x="6796" y="301"/>
                  <a:pt x="6795" y="301"/>
                </a:cubicBezTo>
                <a:close/>
                <a:moveTo>
                  <a:pt x="6793" y="322"/>
                </a:moveTo>
                <a:cubicBezTo>
                  <a:pt x="6792" y="322"/>
                  <a:pt x="6791" y="322"/>
                  <a:pt x="6791" y="321"/>
                </a:cubicBezTo>
                <a:lnTo>
                  <a:pt x="6794" y="320"/>
                </a:lnTo>
                <a:cubicBezTo>
                  <a:pt x="6795" y="320"/>
                  <a:pt x="6795" y="320"/>
                  <a:pt x="6796" y="320"/>
                </a:cubicBezTo>
                <a:cubicBezTo>
                  <a:pt x="6796" y="321"/>
                  <a:pt x="6796" y="321"/>
                  <a:pt x="6796" y="321"/>
                </a:cubicBezTo>
                <a:cubicBezTo>
                  <a:pt x="6796" y="322"/>
                  <a:pt x="6795" y="322"/>
                  <a:pt x="6793" y="322"/>
                </a:cubicBezTo>
                <a:close/>
                <a:moveTo>
                  <a:pt x="6784" y="327"/>
                </a:moveTo>
                <a:cubicBezTo>
                  <a:pt x="6784" y="327"/>
                  <a:pt x="6784" y="326"/>
                  <a:pt x="6784" y="325"/>
                </a:cubicBezTo>
                <a:cubicBezTo>
                  <a:pt x="6784" y="324"/>
                  <a:pt x="6784" y="323"/>
                  <a:pt x="6784" y="322"/>
                </a:cubicBezTo>
                <a:cubicBezTo>
                  <a:pt x="6785" y="321"/>
                  <a:pt x="6785" y="321"/>
                  <a:pt x="6787" y="321"/>
                </a:cubicBezTo>
                <a:lnTo>
                  <a:pt x="6787" y="322"/>
                </a:lnTo>
                <a:lnTo>
                  <a:pt x="6787" y="323"/>
                </a:lnTo>
                <a:cubicBezTo>
                  <a:pt x="6785" y="326"/>
                  <a:pt x="6785" y="327"/>
                  <a:pt x="6784" y="327"/>
                </a:cubicBezTo>
                <a:close/>
                <a:moveTo>
                  <a:pt x="7038" y="561"/>
                </a:moveTo>
                <a:cubicBezTo>
                  <a:pt x="7037" y="561"/>
                  <a:pt x="7037" y="561"/>
                  <a:pt x="7036" y="560"/>
                </a:cubicBezTo>
                <a:cubicBezTo>
                  <a:pt x="7035" y="559"/>
                  <a:pt x="7035" y="559"/>
                  <a:pt x="7035" y="558"/>
                </a:cubicBezTo>
                <a:lnTo>
                  <a:pt x="7034" y="558"/>
                </a:lnTo>
                <a:cubicBezTo>
                  <a:pt x="7034" y="557"/>
                  <a:pt x="7034" y="557"/>
                  <a:pt x="7035" y="557"/>
                </a:cubicBezTo>
                <a:lnTo>
                  <a:pt x="7037" y="558"/>
                </a:lnTo>
                <a:cubicBezTo>
                  <a:pt x="7039" y="558"/>
                  <a:pt x="7040" y="559"/>
                  <a:pt x="7040" y="560"/>
                </a:cubicBezTo>
                <a:cubicBezTo>
                  <a:pt x="7040" y="561"/>
                  <a:pt x="7039" y="561"/>
                  <a:pt x="7038" y="561"/>
                </a:cubicBezTo>
                <a:close/>
                <a:moveTo>
                  <a:pt x="7033" y="570"/>
                </a:moveTo>
                <a:cubicBezTo>
                  <a:pt x="7033" y="570"/>
                  <a:pt x="7033" y="569"/>
                  <a:pt x="7033" y="567"/>
                </a:cubicBezTo>
                <a:cubicBezTo>
                  <a:pt x="7033" y="564"/>
                  <a:pt x="7033" y="563"/>
                  <a:pt x="7031" y="563"/>
                </a:cubicBezTo>
                <a:cubicBezTo>
                  <a:pt x="7030" y="563"/>
                  <a:pt x="7029" y="563"/>
                  <a:pt x="7029" y="562"/>
                </a:cubicBezTo>
                <a:lnTo>
                  <a:pt x="7029" y="562"/>
                </a:lnTo>
                <a:cubicBezTo>
                  <a:pt x="7030" y="561"/>
                  <a:pt x="7030" y="561"/>
                  <a:pt x="7031" y="561"/>
                </a:cubicBezTo>
                <a:cubicBezTo>
                  <a:pt x="7033" y="561"/>
                  <a:pt x="7034" y="561"/>
                  <a:pt x="7035" y="563"/>
                </a:cubicBezTo>
                <a:cubicBezTo>
                  <a:pt x="7035" y="564"/>
                  <a:pt x="7036" y="565"/>
                  <a:pt x="7036" y="566"/>
                </a:cubicBezTo>
                <a:cubicBezTo>
                  <a:pt x="7036" y="566"/>
                  <a:pt x="7036" y="567"/>
                  <a:pt x="7035" y="568"/>
                </a:cubicBezTo>
                <a:cubicBezTo>
                  <a:pt x="7034" y="569"/>
                  <a:pt x="7034" y="570"/>
                  <a:pt x="7033" y="570"/>
                </a:cubicBezTo>
                <a:close/>
                <a:moveTo>
                  <a:pt x="6871" y="763"/>
                </a:moveTo>
                <a:cubicBezTo>
                  <a:pt x="6871" y="763"/>
                  <a:pt x="6870" y="763"/>
                  <a:pt x="6870" y="762"/>
                </a:cubicBezTo>
                <a:cubicBezTo>
                  <a:pt x="6870" y="761"/>
                  <a:pt x="6872" y="759"/>
                  <a:pt x="6877" y="756"/>
                </a:cubicBezTo>
                <a:lnTo>
                  <a:pt x="6882" y="752"/>
                </a:lnTo>
                <a:lnTo>
                  <a:pt x="6882" y="754"/>
                </a:lnTo>
                <a:cubicBezTo>
                  <a:pt x="6882" y="755"/>
                  <a:pt x="6882" y="756"/>
                  <a:pt x="6883" y="756"/>
                </a:cubicBezTo>
                <a:cubicBezTo>
                  <a:pt x="6884" y="756"/>
                  <a:pt x="6885" y="756"/>
                  <a:pt x="6885" y="757"/>
                </a:cubicBezTo>
                <a:cubicBezTo>
                  <a:pt x="6885" y="757"/>
                  <a:pt x="6884" y="758"/>
                  <a:pt x="6884" y="758"/>
                </a:cubicBezTo>
                <a:cubicBezTo>
                  <a:pt x="6884" y="759"/>
                  <a:pt x="6883" y="759"/>
                  <a:pt x="6883" y="759"/>
                </a:cubicBezTo>
                <a:cubicBezTo>
                  <a:pt x="6883" y="759"/>
                  <a:pt x="6882" y="759"/>
                  <a:pt x="6882" y="758"/>
                </a:cubicBezTo>
                <a:cubicBezTo>
                  <a:pt x="6881" y="757"/>
                  <a:pt x="6881" y="757"/>
                  <a:pt x="6880" y="757"/>
                </a:cubicBezTo>
                <a:cubicBezTo>
                  <a:pt x="6879" y="757"/>
                  <a:pt x="6878" y="757"/>
                  <a:pt x="6877" y="759"/>
                </a:cubicBezTo>
                <a:cubicBezTo>
                  <a:pt x="6876" y="760"/>
                  <a:pt x="6875" y="761"/>
                  <a:pt x="6874" y="762"/>
                </a:cubicBezTo>
                <a:cubicBezTo>
                  <a:pt x="6873" y="762"/>
                  <a:pt x="6872" y="763"/>
                  <a:pt x="6871" y="763"/>
                </a:cubicBezTo>
                <a:close/>
                <a:moveTo>
                  <a:pt x="6729" y="643"/>
                </a:moveTo>
                <a:lnTo>
                  <a:pt x="6727" y="643"/>
                </a:lnTo>
                <a:cubicBezTo>
                  <a:pt x="6727" y="642"/>
                  <a:pt x="6727" y="642"/>
                  <a:pt x="6728" y="642"/>
                </a:cubicBezTo>
                <a:cubicBezTo>
                  <a:pt x="6729" y="641"/>
                  <a:pt x="6729" y="640"/>
                  <a:pt x="6730" y="638"/>
                </a:cubicBezTo>
                <a:cubicBezTo>
                  <a:pt x="6730" y="636"/>
                  <a:pt x="6730" y="634"/>
                  <a:pt x="6731" y="632"/>
                </a:cubicBezTo>
                <a:cubicBezTo>
                  <a:pt x="6731" y="630"/>
                  <a:pt x="6732" y="626"/>
                  <a:pt x="6732" y="620"/>
                </a:cubicBezTo>
                <a:cubicBezTo>
                  <a:pt x="6733" y="614"/>
                  <a:pt x="6734" y="607"/>
                  <a:pt x="6736" y="600"/>
                </a:cubicBezTo>
                <a:cubicBezTo>
                  <a:pt x="6737" y="593"/>
                  <a:pt x="6738" y="587"/>
                  <a:pt x="6740" y="582"/>
                </a:cubicBezTo>
                <a:cubicBezTo>
                  <a:pt x="6741" y="577"/>
                  <a:pt x="6742" y="575"/>
                  <a:pt x="6742" y="574"/>
                </a:cubicBezTo>
                <a:cubicBezTo>
                  <a:pt x="6743" y="573"/>
                  <a:pt x="6743" y="572"/>
                  <a:pt x="6743" y="571"/>
                </a:cubicBezTo>
                <a:cubicBezTo>
                  <a:pt x="6743" y="570"/>
                  <a:pt x="6743" y="568"/>
                  <a:pt x="6742" y="567"/>
                </a:cubicBezTo>
                <a:cubicBezTo>
                  <a:pt x="6741" y="566"/>
                  <a:pt x="6740" y="564"/>
                  <a:pt x="6740" y="564"/>
                </a:cubicBezTo>
                <a:lnTo>
                  <a:pt x="6743" y="565"/>
                </a:lnTo>
                <a:cubicBezTo>
                  <a:pt x="6744" y="565"/>
                  <a:pt x="6744" y="564"/>
                  <a:pt x="6744" y="563"/>
                </a:cubicBezTo>
                <a:lnTo>
                  <a:pt x="6744" y="560"/>
                </a:lnTo>
                <a:cubicBezTo>
                  <a:pt x="6744" y="556"/>
                  <a:pt x="6744" y="554"/>
                  <a:pt x="6745" y="554"/>
                </a:cubicBezTo>
                <a:cubicBezTo>
                  <a:pt x="6746" y="554"/>
                  <a:pt x="6746" y="553"/>
                  <a:pt x="6746" y="552"/>
                </a:cubicBezTo>
                <a:lnTo>
                  <a:pt x="6746" y="547"/>
                </a:lnTo>
                <a:cubicBezTo>
                  <a:pt x="6746" y="545"/>
                  <a:pt x="6746" y="544"/>
                  <a:pt x="6748" y="543"/>
                </a:cubicBezTo>
                <a:cubicBezTo>
                  <a:pt x="6748" y="541"/>
                  <a:pt x="6747" y="540"/>
                  <a:pt x="6747" y="539"/>
                </a:cubicBezTo>
                <a:cubicBezTo>
                  <a:pt x="6747" y="536"/>
                  <a:pt x="6748" y="535"/>
                  <a:pt x="6749" y="535"/>
                </a:cubicBezTo>
                <a:cubicBezTo>
                  <a:pt x="6750" y="535"/>
                  <a:pt x="6750" y="535"/>
                  <a:pt x="6750" y="534"/>
                </a:cubicBezTo>
                <a:lnTo>
                  <a:pt x="6750" y="531"/>
                </a:lnTo>
                <a:cubicBezTo>
                  <a:pt x="6750" y="528"/>
                  <a:pt x="6750" y="527"/>
                  <a:pt x="6751" y="527"/>
                </a:cubicBezTo>
                <a:cubicBezTo>
                  <a:pt x="6752" y="526"/>
                  <a:pt x="6752" y="525"/>
                  <a:pt x="6752" y="523"/>
                </a:cubicBezTo>
                <a:lnTo>
                  <a:pt x="6752" y="521"/>
                </a:lnTo>
                <a:cubicBezTo>
                  <a:pt x="6752" y="520"/>
                  <a:pt x="6752" y="519"/>
                  <a:pt x="6753" y="518"/>
                </a:cubicBezTo>
                <a:cubicBezTo>
                  <a:pt x="6754" y="517"/>
                  <a:pt x="6754" y="516"/>
                  <a:pt x="6754" y="514"/>
                </a:cubicBezTo>
                <a:lnTo>
                  <a:pt x="6754" y="512"/>
                </a:lnTo>
                <a:cubicBezTo>
                  <a:pt x="6754" y="511"/>
                  <a:pt x="6754" y="510"/>
                  <a:pt x="6755" y="509"/>
                </a:cubicBezTo>
                <a:cubicBezTo>
                  <a:pt x="6756" y="508"/>
                  <a:pt x="6757" y="507"/>
                  <a:pt x="6757" y="506"/>
                </a:cubicBezTo>
                <a:cubicBezTo>
                  <a:pt x="6757" y="504"/>
                  <a:pt x="6759" y="499"/>
                  <a:pt x="6762" y="490"/>
                </a:cubicBezTo>
                <a:cubicBezTo>
                  <a:pt x="6763" y="487"/>
                  <a:pt x="6763" y="485"/>
                  <a:pt x="6763" y="483"/>
                </a:cubicBezTo>
                <a:lnTo>
                  <a:pt x="6762" y="482"/>
                </a:lnTo>
                <a:cubicBezTo>
                  <a:pt x="6762" y="481"/>
                  <a:pt x="6763" y="480"/>
                  <a:pt x="6764" y="479"/>
                </a:cubicBezTo>
                <a:cubicBezTo>
                  <a:pt x="6765" y="478"/>
                  <a:pt x="6765" y="477"/>
                  <a:pt x="6765" y="476"/>
                </a:cubicBezTo>
                <a:cubicBezTo>
                  <a:pt x="6765" y="474"/>
                  <a:pt x="6765" y="473"/>
                  <a:pt x="6766" y="472"/>
                </a:cubicBezTo>
                <a:cubicBezTo>
                  <a:pt x="6767" y="471"/>
                  <a:pt x="6768" y="469"/>
                  <a:pt x="6768" y="466"/>
                </a:cubicBezTo>
                <a:cubicBezTo>
                  <a:pt x="6768" y="464"/>
                  <a:pt x="6769" y="462"/>
                  <a:pt x="6770" y="462"/>
                </a:cubicBezTo>
                <a:lnTo>
                  <a:pt x="6772" y="461"/>
                </a:lnTo>
                <a:lnTo>
                  <a:pt x="6772" y="460"/>
                </a:lnTo>
                <a:cubicBezTo>
                  <a:pt x="6772" y="459"/>
                  <a:pt x="6772" y="458"/>
                  <a:pt x="6773" y="458"/>
                </a:cubicBezTo>
                <a:cubicBezTo>
                  <a:pt x="6773" y="456"/>
                  <a:pt x="6774" y="452"/>
                  <a:pt x="6775" y="446"/>
                </a:cubicBezTo>
                <a:cubicBezTo>
                  <a:pt x="6779" y="436"/>
                  <a:pt x="6781" y="430"/>
                  <a:pt x="6781" y="429"/>
                </a:cubicBezTo>
                <a:cubicBezTo>
                  <a:pt x="6781" y="428"/>
                  <a:pt x="6782" y="425"/>
                  <a:pt x="6785" y="421"/>
                </a:cubicBezTo>
                <a:cubicBezTo>
                  <a:pt x="6786" y="418"/>
                  <a:pt x="6787" y="416"/>
                  <a:pt x="6787" y="415"/>
                </a:cubicBezTo>
                <a:cubicBezTo>
                  <a:pt x="6787" y="414"/>
                  <a:pt x="6787" y="414"/>
                  <a:pt x="6786" y="414"/>
                </a:cubicBezTo>
                <a:cubicBezTo>
                  <a:pt x="6785" y="414"/>
                  <a:pt x="6784" y="415"/>
                  <a:pt x="6782" y="417"/>
                </a:cubicBezTo>
                <a:cubicBezTo>
                  <a:pt x="6781" y="419"/>
                  <a:pt x="6780" y="422"/>
                  <a:pt x="6779" y="425"/>
                </a:cubicBezTo>
                <a:cubicBezTo>
                  <a:pt x="6777" y="431"/>
                  <a:pt x="6775" y="435"/>
                  <a:pt x="6773" y="438"/>
                </a:cubicBezTo>
                <a:cubicBezTo>
                  <a:pt x="6770" y="440"/>
                  <a:pt x="6769" y="443"/>
                  <a:pt x="6769" y="446"/>
                </a:cubicBezTo>
                <a:lnTo>
                  <a:pt x="6770" y="449"/>
                </a:lnTo>
                <a:cubicBezTo>
                  <a:pt x="6770" y="450"/>
                  <a:pt x="6770" y="450"/>
                  <a:pt x="6769" y="450"/>
                </a:cubicBezTo>
                <a:lnTo>
                  <a:pt x="6769" y="450"/>
                </a:lnTo>
                <a:cubicBezTo>
                  <a:pt x="6768" y="450"/>
                  <a:pt x="6766" y="454"/>
                  <a:pt x="6764" y="462"/>
                </a:cubicBezTo>
                <a:cubicBezTo>
                  <a:pt x="6755" y="488"/>
                  <a:pt x="6749" y="507"/>
                  <a:pt x="6746" y="519"/>
                </a:cubicBezTo>
                <a:cubicBezTo>
                  <a:pt x="6746" y="522"/>
                  <a:pt x="6745" y="524"/>
                  <a:pt x="6745" y="526"/>
                </a:cubicBezTo>
                <a:cubicBezTo>
                  <a:pt x="6744" y="527"/>
                  <a:pt x="6743" y="528"/>
                  <a:pt x="6743" y="528"/>
                </a:cubicBezTo>
                <a:lnTo>
                  <a:pt x="6743" y="527"/>
                </a:lnTo>
                <a:cubicBezTo>
                  <a:pt x="6743" y="526"/>
                  <a:pt x="6744" y="520"/>
                  <a:pt x="6747" y="509"/>
                </a:cubicBezTo>
                <a:cubicBezTo>
                  <a:pt x="6752" y="486"/>
                  <a:pt x="6755" y="473"/>
                  <a:pt x="6755" y="471"/>
                </a:cubicBezTo>
                <a:cubicBezTo>
                  <a:pt x="6755" y="470"/>
                  <a:pt x="6755" y="470"/>
                  <a:pt x="6754" y="470"/>
                </a:cubicBezTo>
                <a:cubicBezTo>
                  <a:pt x="6753" y="470"/>
                  <a:pt x="6748" y="483"/>
                  <a:pt x="6741" y="511"/>
                </a:cubicBezTo>
                <a:cubicBezTo>
                  <a:pt x="6737" y="525"/>
                  <a:pt x="6735" y="532"/>
                  <a:pt x="6734" y="532"/>
                </a:cubicBezTo>
                <a:lnTo>
                  <a:pt x="6734" y="531"/>
                </a:lnTo>
                <a:cubicBezTo>
                  <a:pt x="6734" y="527"/>
                  <a:pt x="6738" y="511"/>
                  <a:pt x="6745" y="483"/>
                </a:cubicBezTo>
                <a:lnTo>
                  <a:pt x="6750" y="466"/>
                </a:lnTo>
                <a:cubicBezTo>
                  <a:pt x="6750" y="465"/>
                  <a:pt x="6750" y="465"/>
                  <a:pt x="6750" y="465"/>
                </a:cubicBezTo>
                <a:lnTo>
                  <a:pt x="6745" y="471"/>
                </a:lnTo>
                <a:lnTo>
                  <a:pt x="6745" y="471"/>
                </a:lnTo>
                <a:lnTo>
                  <a:pt x="6749" y="464"/>
                </a:lnTo>
                <a:cubicBezTo>
                  <a:pt x="6752" y="457"/>
                  <a:pt x="6755" y="450"/>
                  <a:pt x="6758" y="442"/>
                </a:cubicBezTo>
                <a:cubicBezTo>
                  <a:pt x="6761" y="435"/>
                  <a:pt x="6762" y="429"/>
                  <a:pt x="6762" y="425"/>
                </a:cubicBezTo>
                <a:lnTo>
                  <a:pt x="6762" y="425"/>
                </a:lnTo>
                <a:cubicBezTo>
                  <a:pt x="6762" y="423"/>
                  <a:pt x="6763" y="422"/>
                  <a:pt x="6764" y="422"/>
                </a:cubicBezTo>
                <a:lnTo>
                  <a:pt x="6766" y="423"/>
                </a:lnTo>
                <a:lnTo>
                  <a:pt x="6765" y="422"/>
                </a:lnTo>
                <a:cubicBezTo>
                  <a:pt x="6765" y="422"/>
                  <a:pt x="6765" y="421"/>
                  <a:pt x="6765" y="420"/>
                </a:cubicBezTo>
                <a:cubicBezTo>
                  <a:pt x="6765" y="419"/>
                  <a:pt x="6765" y="418"/>
                  <a:pt x="6766" y="416"/>
                </a:cubicBezTo>
                <a:cubicBezTo>
                  <a:pt x="6767" y="415"/>
                  <a:pt x="6767" y="414"/>
                  <a:pt x="6767" y="413"/>
                </a:cubicBezTo>
                <a:cubicBezTo>
                  <a:pt x="6767" y="412"/>
                  <a:pt x="6767" y="411"/>
                  <a:pt x="6767" y="411"/>
                </a:cubicBezTo>
                <a:cubicBezTo>
                  <a:pt x="6766" y="411"/>
                  <a:pt x="6765" y="410"/>
                  <a:pt x="6765" y="407"/>
                </a:cubicBezTo>
                <a:lnTo>
                  <a:pt x="6766" y="404"/>
                </a:lnTo>
                <a:cubicBezTo>
                  <a:pt x="6766" y="404"/>
                  <a:pt x="6765" y="403"/>
                  <a:pt x="6764" y="403"/>
                </a:cubicBezTo>
                <a:lnTo>
                  <a:pt x="6755" y="404"/>
                </a:lnTo>
                <a:cubicBezTo>
                  <a:pt x="6755" y="404"/>
                  <a:pt x="6757" y="403"/>
                  <a:pt x="6759" y="400"/>
                </a:cubicBezTo>
                <a:lnTo>
                  <a:pt x="6762" y="397"/>
                </a:lnTo>
                <a:cubicBezTo>
                  <a:pt x="6762" y="397"/>
                  <a:pt x="6762" y="397"/>
                  <a:pt x="6762" y="397"/>
                </a:cubicBezTo>
                <a:lnTo>
                  <a:pt x="6762" y="397"/>
                </a:lnTo>
                <a:cubicBezTo>
                  <a:pt x="6762" y="396"/>
                  <a:pt x="6762" y="395"/>
                  <a:pt x="6762" y="394"/>
                </a:cubicBezTo>
                <a:cubicBezTo>
                  <a:pt x="6763" y="394"/>
                  <a:pt x="6764" y="392"/>
                  <a:pt x="6764" y="391"/>
                </a:cubicBezTo>
                <a:cubicBezTo>
                  <a:pt x="6766" y="389"/>
                  <a:pt x="6767" y="388"/>
                  <a:pt x="6767" y="387"/>
                </a:cubicBezTo>
                <a:cubicBezTo>
                  <a:pt x="6767" y="387"/>
                  <a:pt x="6767" y="386"/>
                  <a:pt x="6767" y="386"/>
                </a:cubicBezTo>
                <a:cubicBezTo>
                  <a:pt x="6767" y="386"/>
                  <a:pt x="6766" y="386"/>
                  <a:pt x="6766" y="386"/>
                </a:cubicBezTo>
                <a:lnTo>
                  <a:pt x="6767" y="385"/>
                </a:lnTo>
                <a:cubicBezTo>
                  <a:pt x="6767" y="384"/>
                  <a:pt x="6768" y="384"/>
                  <a:pt x="6769" y="383"/>
                </a:cubicBezTo>
                <a:cubicBezTo>
                  <a:pt x="6769" y="382"/>
                  <a:pt x="6769" y="381"/>
                  <a:pt x="6769" y="380"/>
                </a:cubicBezTo>
                <a:cubicBezTo>
                  <a:pt x="6769" y="380"/>
                  <a:pt x="6769" y="379"/>
                  <a:pt x="6769" y="379"/>
                </a:cubicBezTo>
                <a:lnTo>
                  <a:pt x="6769" y="378"/>
                </a:lnTo>
                <a:cubicBezTo>
                  <a:pt x="6769" y="377"/>
                  <a:pt x="6770" y="377"/>
                  <a:pt x="6771" y="377"/>
                </a:cubicBezTo>
                <a:cubicBezTo>
                  <a:pt x="6772" y="377"/>
                  <a:pt x="6772" y="377"/>
                  <a:pt x="6772" y="376"/>
                </a:cubicBezTo>
                <a:lnTo>
                  <a:pt x="6772" y="376"/>
                </a:lnTo>
                <a:cubicBezTo>
                  <a:pt x="6772" y="374"/>
                  <a:pt x="6772" y="372"/>
                  <a:pt x="6773" y="371"/>
                </a:cubicBezTo>
                <a:cubicBezTo>
                  <a:pt x="6773" y="370"/>
                  <a:pt x="6774" y="369"/>
                  <a:pt x="6774" y="369"/>
                </a:cubicBezTo>
                <a:cubicBezTo>
                  <a:pt x="6775" y="364"/>
                  <a:pt x="6776" y="360"/>
                  <a:pt x="6777" y="358"/>
                </a:cubicBezTo>
                <a:cubicBezTo>
                  <a:pt x="6778" y="356"/>
                  <a:pt x="6779" y="355"/>
                  <a:pt x="6779" y="355"/>
                </a:cubicBezTo>
                <a:lnTo>
                  <a:pt x="6780" y="356"/>
                </a:lnTo>
                <a:cubicBezTo>
                  <a:pt x="6780" y="356"/>
                  <a:pt x="6780" y="355"/>
                  <a:pt x="6780" y="353"/>
                </a:cubicBezTo>
                <a:cubicBezTo>
                  <a:pt x="6780" y="353"/>
                  <a:pt x="6780" y="353"/>
                  <a:pt x="6780" y="352"/>
                </a:cubicBezTo>
                <a:cubicBezTo>
                  <a:pt x="6780" y="350"/>
                  <a:pt x="6780" y="349"/>
                  <a:pt x="6782" y="347"/>
                </a:cubicBezTo>
                <a:cubicBezTo>
                  <a:pt x="6783" y="345"/>
                  <a:pt x="6784" y="343"/>
                  <a:pt x="6784" y="342"/>
                </a:cubicBezTo>
                <a:cubicBezTo>
                  <a:pt x="6784" y="342"/>
                  <a:pt x="6784" y="342"/>
                  <a:pt x="6784" y="341"/>
                </a:cubicBezTo>
                <a:cubicBezTo>
                  <a:pt x="6784" y="341"/>
                  <a:pt x="6784" y="341"/>
                  <a:pt x="6786" y="341"/>
                </a:cubicBezTo>
                <a:cubicBezTo>
                  <a:pt x="6788" y="341"/>
                  <a:pt x="6789" y="343"/>
                  <a:pt x="6789" y="346"/>
                </a:cubicBezTo>
                <a:cubicBezTo>
                  <a:pt x="6789" y="348"/>
                  <a:pt x="6789" y="351"/>
                  <a:pt x="6788" y="355"/>
                </a:cubicBezTo>
                <a:cubicBezTo>
                  <a:pt x="6788" y="356"/>
                  <a:pt x="6788" y="356"/>
                  <a:pt x="6787" y="356"/>
                </a:cubicBezTo>
                <a:cubicBezTo>
                  <a:pt x="6786" y="356"/>
                  <a:pt x="6786" y="356"/>
                  <a:pt x="6785" y="355"/>
                </a:cubicBezTo>
                <a:cubicBezTo>
                  <a:pt x="6784" y="355"/>
                  <a:pt x="6784" y="355"/>
                  <a:pt x="6784" y="355"/>
                </a:cubicBezTo>
                <a:lnTo>
                  <a:pt x="6785" y="357"/>
                </a:lnTo>
                <a:cubicBezTo>
                  <a:pt x="6785" y="358"/>
                  <a:pt x="6784" y="359"/>
                  <a:pt x="6782" y="360"/>
                </a:cubicBezTo>
                <a:cubicBezTo>
                  <a:pt x="6780" y="360"/>
                  <a:pt x="6780" y="361"/>
                  <a:pt x="6780" y="362"/>
                </a:cubicBezTo>
                <a:cubicBezTo>
                  <a:pt x="6780" y="363"/>
                  <a:pt x="6780" y="364"/>
                  <a:pt x="6781" y="365"/>
                </a:cubicBezTo>
                <a:cubicBezTo>
                  <a:pt x="6782" y="366"/>
                  <a:pt x="6783" y="367"/>
                  <a:pt x="6783" y="368"/>
                </a:cubicBezTo>
                <a:cubicBezTo>
                  <a:pt x="6783" y="368"/>
                  <a:pt x="6782" y="369"/>
                  <a:pt x="6780" y="369"/>
                </a:cubicBezTo>
                <a:cubicBezTo>
                  <a:pt x="6779" y="370"/>
                  <a:pt x="6778" y="371"/>
                  <a:pt x="6778" y="372"/>
                </a:cubicBezTo>
                <a:lnTo>
                  <a:pt x="6778" y="374"/>
                </a:lnTo>
                <a:cubicBezTo>
                  <a:pt x="6778" y="375"/>
                  <a:pt x="6778" y="375"/>
                  <a:pt x="6777" y="375"/>
                </a:cubicBezTo>
                <a:cubicBezTo>
                  <a:pt x="6776" y="375"/>
                  <a:pt x="6775" y="376"/>
                  <a:pt x="6775" y="378"/>
                </a:cubicBezTo>
                <a:lnTo>
                  <a:pt x="6776" y="380"/>
                </a:lnTo>
                <a:cubicBezTo>
                  <a:pt x="6776" y="381"/>
                  <a:pt x="6776" y="382"/>
                  <a:pt x="6775" y="382"/>
                </a:cubicBezTo>
                <a:cubicBezTo>
                  <a:pt x="6774" y="382"/>
                  <a:pt x="6773" y="382"/>
                  <a:pt x="6772" y="384"/>
                </a:cubicBezTo>
                <a:cubicBezTo>
                  <a:pt x="6772" y="385"/>
                  <a:pt x="6771" y="387"/>
                  <a:pt x="6771" y="389"/>
                </a:cubicBezTo>
                <a:cubicBezTo>
                  <a:pt x="6771" y="391"/>
                  <a:pt x="6772" y="392"/>
                  <a:pt x="6773" y="392"/>
                </a:cubicBezTo>
                <a:cubicBezTo>
                  <a:pt x="6774" y="392"/>
                  <a:pt x="6776" y="390"/>
                  <a:pt x="6778" y="386"/>
                </a:cubicBezTo>
                <a:cubicBezTo>
                  <a:pt x="6782" y="377"/>
                  <a:pt x="6784" y="371"/>
                  <a:pt x="6784" y="368"/>
                </a:cubicBezTo>
                <a:cubicBezTo>
                  <a:pt x="6784" y="366"/>
                  <a:pt x="6784" y="365"/>
                  <a:pt x="6784" y="365"/>
                </a:cubicBezTo>
                <a:cubicBezTo>
                  <a:pt x="6783" y="364"/>
                  <a:pt x="6783" y="364"/>
                  <a:pt x="6783" y="364"/>
                </a:cubicBezTo>
                <a:cubicBezTo>
                  <a:pt x="6783" y="363"/>
                  <a:pt x="6783" y="362"/>
                  <a:pt x="6784" y="361"/>
                </a:cubicBezTo>
                <a:cubicBezTo>
                  <a:pt x="6785" y="360"/>
                  <a:pt x="6786" y="359"/>
                  <a:pt x="6787" y="358"/>
                </a:cubicBezTo>
                <a:cubicBezTo>
                  <a:pt x="6789" y="358"/>
                  <a:pt x="6790" y="357"/>
                  <a:pt x="6791" y="357"/>
                </a:cubicBezTo>
                <a:cubicBezTo>
                  <a:pt x="6792" y="357"/>
                  <a:pt x="6792" y="357"/>
                  <a:pt x="6792" y="358"/>
                </a:cubicBezTo>
                <a:cubicBezTo>
                  <a:pt x="6793" y="358"/>
                  <a:pt x="6793" y="358"/>
                  <a:pt x="6794" y="359"/>
                </a:cubicBezTo>
                <a:lnTo>
                  <a:pt x="6793" y="357"/>
                </a:lnTo>
                <a:cubicBezTo>
                  <a:pt x="6792" y="355"/>
                  <a:pt x="6791" y="354"/>
                  <a:pt x="6791" y="353"/>
                </a:cubicBezTo>
                <a:cubicBezTo>
                  <a:pt x="6791" y="352"/>
                  <a:pt x="6792" y="350"/>
                  <a:pt x="6794" y="348"/>
                </a:cubicBezTo>
                <a:cubicBezTo>
                  <a:pt x="6795" y="346"/>
                  <a:pt x="6795" y="345"/>
                  <a:pt x="6795" y="344"/>
                </a:cubicBezTo>
                <a:cubicBezTo>
                  <a:pt x="6795" y="343"/>
                  <a:pt x="6795" y="343"/>
                  <a:pt x="6795" y="343"/>
                </a:cubicBezTo>
                <a:cubicBezTo>
                  <a:pt x="6795" y="343"/>
                  <a:pt x="6794" y="343"/>
                  <a:pt x="6793" y="342"/>
                </a:cubicBezTo>
                <a:cubicBezTo>
                  <a:pt x="6791" y="341"/>
                  <a:pt x="6790" y="340"/>
                  <a:pt x="6789" y="339"/>
                </a:cubicBezTo>
                <a:cubicBezTo>
                  <a:pt x="6787" y="338"/>
                  <a:pt x="6787" y="336"/>
                  <a:pt x="6787" y="334"/>
                </a:cubicBezTo>
                <a:cubicBezTo>
                  <a:pt x="6787" y="332"/>
                  <a:pt x="6788" y="330"/>
                  <a:pt x="6790" y="327"/>
                </a:cubicBezTo>
                <a:cubicBezTo>
                  <a:pt x="6792" y="325"/>
                  <a:pt x="6794" y="324"/>
                  <a:pt x="6797" y="324"/>
                </a:cubicBezTo>
                <a:cubicBezTo>
                  <a:pt x="6799" y="324"/>
                  <a:pt x="6800" y="324"/>
                  <a:pt x="6800" y="323"/>
                </a:cubicBezTo>
                <a:cubicBezTo>
                  <a:pt x="6800" y="322"/>
                  <a:pt x="6800" y="322"/>
                  <a:pt x="6799" y="321"/>
                </a:cubicBezTo>
                <a:cubicBezTo>
                  <a:pt x="6799" y="321"/>
                  <a:pt x="6799" y="321"/>
                  <a:pt x="6799" y="320"/>
                </a:cubicBezTo>
                <a:cubicBezTo>
                  <a:pt x="6799" y="319"/>
                  <a:pt x="6800" y="319"/>
                  <a:pt x="6803" y="319"/>
                </a:cubicBezTo>
                <a:lnTo>
                  <a:pt x="6807" y="320"/>
                </a:lnTo>
                <a:cubicBezTo>
                  <a:pt x="6807" y="320"/>
                  <a:pt x="6806" y="319"/>
                  <a:pt x="6804" y="317"/>
                </a:cubicBezTo>
                <a:cubicBezTo>
                  <a:pt x="6802" y="316"/>
                  <a:pt x="6801" y="315"/>
                  <a:pt x="6800" y="315"/>
                </a:cubicBezTo>
                <a:cubicBezTo>
                  <a:pt x="6800" y="315"/>
                  <a:pt x="6799" y="315"/>
                  <a:pt x="6799" y="316"/>
                </a:cubicBezTo>
                <a:cubicBezTo>
                  <a:pt x="6798" y="317"/>
                  <a:pt x="6797" y="318"/>
                  <a:pt x="6796" y="318"/>
                </a:cubicBezTo>
                <a:cubicBezTo>
                  <a:pt x="6796" y="318"/>
                  <a:pt x="6795" y="317"/>
                  <a:pt x="6795" y="317"/>
                </a:cubicBezTo>
                <a:cubicBezTo>
                  <a:pt x="6795" y="316"/>
                  <a:pt x="6797" y="312"/>
                  <a:pt x="6800" y="306"/>
                </a:cubicBezTo>
                <a:cubicBezTo>
                  <a:pt x="6804" y="299"/>
                  <a:pt x="6806" y="295"/>
                  <a:pt x="6807" y="295"/>
                </a:cubicBezTo>
                <a:cubicBezTo>
                  <a:pt x="6807" y="295"/>
                  <a:pt x="6807" y="295"/>
                  <a:pt x="6807" y="295"/>
                </a:cubicBezTo>
                <a:cubicBezTo>
                  <a:pt x="6807" y="296"/>
                  <a:pt x="6807" y="296"/>
                  <a:pt x="6806" y="297"/>
                </a:cubicBezTo>
                <a:cubicBezTo>
                  <a:pt x="6806" y="299"/>
                  <a:pt x="6807" y="301"/>
                  <a:pt x="6808" y="303"/>
                </a:cubicBezTo>
                <a:cubicBezTo>
                  <a:pt x="6809" y="305"/>
                  <a:pt x="6809" y="306"/>
                  <a:pt x="6809" y="308"/>
                </a:cubicBezTo>
                <a:cubicBezTo>
                  <a:pt x="6809" y="309"/>
                  <a:pt x="6809" y="311"/>
                  <a:pt x="6807" y="312"/>
                </a:cubicBezTo>
                <a:lnTo>
                  <a:pt x="6806" y="315"/>
                </a:lnTo>
                <a:cubicBezTo>
                  <a:pt x="6808" y="315"/>
                  <a:pt x="6812" y="308"/>
                  <a:pt x="6817" y="295"/>
                </a:cubicBezTo>
                <a:cubicBezTo>
                  <a:pt x="6819" y="293"/>
                  <a:pt x="6819" y="292"/>
                  <a:pt x="6819" y="290"/>
                </a:cubicBezTo>
                <a:cubicBezTo>
                  <a:pt x="6819" y="289"/>
                  <a:pt x="6819" y="289"/>
                  <a:pt x="6818" y="289"/>
                </a:cubicBezTo>
                <a:cubicBezTo>
                  <a:pt x="6816" y="289"/>
                  <a:pt x="6814" y="289"/>
                  <a:pt x="6812" y="290"/>
                </a:cubicBezTo>
                <a:lnTo>
                  <a:pt x="6812" y="290"/>
                </a:lnTo>
                <a:cubicBezTo>
                  <a:pt x="6812" y="291"/>
                  <a:pt x="6812" y="291"/>
                  <a:pt x="6812" y="291"/>
                </a:cubicBezTo>
                <a:cubicBezTo>
                  <a:pt x="6813" y="292"/>
                  <a:pt x="6813" y="293"/>
                  <a:pt x="6814" y="293"/>
                </a:cubicBezTo>
                <a:cubicBezTo>
                  <a:pt x="6814" y="294"/>
                  <a:pt x="6815" y="295"/>
                  <a:pt x="6815" y="296"/>
                </a:cubicBezTo>
                <a:cubicBezTo>
                  <a:pt x="6815" y="297"/>
                  <a:pt x="6814" y="299"/>
                  <a:pt x="6813" y="300"/>
                </a:cubicBezTo>
                <a:cubicBezTo>
                  <a:pt x="6812" y="301"/>
                  <a:pt x="6811" y="302"/>
                  <a:pt x="6810" y="302"/>
                </a:cubicBezTo>
                <a:cubicBezTo>
                  <a:pt x="6810" y="302"/>
                  <a:pt x="6809" y="302"/>
                  <a:pt x="6809" y="300"/>
                </a:cubicBezTo>
                <a:cubicBezTo>
                  <a:pt x="6809" y="298"/>
                  <a:pt x="6809" y="297"/>
                  <a:pt x="6810" y="297"/>
                </a:cubicBezTo>
                <a:cubicBezTo>
                  <a:pt x="6811" y="297"/>
                  <a:pt x="6811" y="297"/>
                  <a:pt x="6811" y="296"/>
                </a:cubicBezTo>
                <a:cubicBezTo>
                  <a:pt x="6811" y="296"/>
                  <a:pt x="6811" y="296"/>
                  <a:pt x="6810" y="295"/>
                </a:cubicBezTo>
                <a:cubicBezTo>
                  <a:pt x="6809" y="294"/>
                  <a:pt x="6808" y="293"/>
                  <a:pt x="6807" y="291"/>
                </a:cubicBezTo>
                <a:cubicBezTo>
                  <a:pt x="6806" y="290"/>
                  <a:pt x="6806" y="289"/>
                  <a:pt x="6806" y="287"/>
                </a:cubicBezTo>
                <a:cubicBezTo>
                  <a:pt x="6806" y="286"/>
                  <a:pt x="6806" y="286"/>
                  <a:pt x="6807" y="286"/>
                </a:cubicBezTo>
                <a:lnTo>
                  <a:pt x="6809" y="286"/>
                </a:lnTo>
                <a:cubicBezTo>
                  <a:pt x="6812" y="286"/>
                  <a:pt x="6813" y="285"/>
                  <a:pt x="6813" y="282"/>
                </a:cubicBezTo>
                <a:cubicBezTo>
                  <a:pt x="6813" y="280"/>
                  <a:pt x="6812" y="279"/>
                  <a:pt x="6809" y="278"/>
                </a:cubicBezTo>
                <a:lnTo>
                  <a:pt x="6807" y="279"/>
                </a:lnTo>
                <a:cubicBezTo>
                  <a:pt x="6806" y="279"/>
                  <a:pt x="6806" y="278"/>
                  <a:pt x="6806" y="277"/>
                </a:cubicBezTo>
                <a:cubicBezTo>
                  <a:pt x="6806" y="277"/>
                  <a:pt x="6806" y="276"/>
                  <a:pt x="6807" y="274"/>
                </a:cubicBezTo>
                <a:cubicBezTo>
                  <a:pt x="6807" y="273"/>
                  <a:pt x="6808" y="273"/>
                  <a:pt x="6808" y="273"/>
                </a:cubicBezTo>
                <a:cubicBezTo>
                  <a:pt x="6808" y="273"/>
                  <a:pt x="6809" y="273"/>
                  <a:pt x="6809" y="274"/>
                </a:cubicBezTo>
                <a:cubicBezTo>
                  <a:pt x="6809" y="275"/>
                  <a:pt x="6810" y="275"/>
                  <a:pt x="6810" y="276"/>
                </a:cubicBezTo>
                <a:cubicBezTo>
                  <a:pt x="6811" y="276"/>
                  <a:pt x="6812" y="277"/>
                  <a:pt x="6812" y="277"/>
                </a:cubicBezTo>
                <a:cubicBezTo>
                  <a:pt x="6813" y="277"/>
                  <a:pt x="6814" y="276"/>
                  <a:pt x="6814" y="275"/>
                </a:cubicBezTo>
                <a:lnTo>
                  <a:pt x="6813" y="272"/>
                </a:lnTo>
                <a:cubicBezTo>
                  <a:pt x="6813" y="269"/>
                  <a:pt x="6814" y="269"/>
                  <a:pt x="6814" y="269"/>
                </a:cubicBezTo>
                <a:cubicBezTo>
                  <a:pt x="6815" y="269"/>
                  <a:pt x="6816" y="269"/>
                  <a:pt x="6817" y="271"/>
                </a:cubicBezTo>
                <a:lnTo>
                  <a:pt x="6818" y="274"/>
                </a:lnTo>
                <a:cubicBezTo>
                  <a:pt x="6818" y="274"/>
                  <a:pt x="6818" y="273"/>
                  <a:pt x="6818" y="273"/>
                </a:cubicBezTo>
                <a:lnTo>
                  <a:pt x="6818" y="269"/>
                </a:lnTo>
                <a:cubicBezTo>
                  <a:pt x="6817" y="266"/>
                  <a:pt x="6816" y="264"/>
                  <a:pt x="6815" y="264"/>
                </a:cubicBezTo>
                <a:cubicBezTo>
                  <a:pt x="6813" y="264"/>
                  <a:pt x="6813" y="264"/>
                  <a:pt x="6812" y="264"/>
                </a:cubicBezTo>
                <a:lnTo>
                  <a:pt x="6814" y="260"/>
                </a:lnTo>
                <a:cubicBezTo>
                  <a:pt x="6815" y="257"/>
                  <a:pt x="6816" y="256"/>
                  <a:pt x="6817" y="256"/>
                </a:cubicBezTo>
                <a:cubicBezTo>
                  <a:pt x="6817" y="256"/>
                  <a:pt x="6818" y="256"/>
                  <a:pt x="6818" y="257"/>
                </a:cubicBezTo>
                <a:cubicBezTo>
                  <a:pt x="6818" y="257"/>
                  <a:pt x="6817" y="258"/>
                  <a:pt x="6817" y="259"/>
                </a:cubicBezTo>
                <a:lnTo>
                  <a:pt x="6816" y="262"/>
                </a:lnTo>
                <a:cubicBezTo>
                  <a:pt x="6817" y="262"/>
                  <a:pt x="6818" y="262"/>
                  <a:pt x="6819" y="260"/>
                </a:cubicBezTo>
                <a:cubicBezTo>
                  <a:pt x="6821" y="258"/>
                  <a:pt x="6822" y="256"/>
                  <a:pt x="6823" y="252"/>
                </a:cubicBezTo>
                <a:cubicBezTo>
                  <a:pt x="6824" y="249"/>
                  <a:pt x="6825" y="248"/>
                  <a:pt x="6826" y="248"/>
                </a:cubicBezTo>
                <a:cubicBezTo>
                  <a:pt x="6826" y="248"/>
                  <a:pt x="6827" y="248"/>
                  <a:pt x="6828" y="249"/>
                </a:cubicBezTo>
                <a:lnTo>
                  <a:pt x="6829" y="251"/>
                </a:lnTo>
                <a:lnTo>
                  <a:pt x="6828" y="248"/>
                </a:lnTo>
                <a:cubicBezTo>
                  <a:pt x="6828" y="245"/>
                  <a:pt x="6831" y="237"/>
                  <a:pt x="6837" y="227"/>
                </a:cubicBezTo>
                <a:cubicBezTo>
                  <a:pt x="6852" y="202"/>
                  <a:pt x="6866" y="182"/>
                  <a:pt x="6879" y="167"/>
                </a:cubicBezTo>
                <a:cubicBezTo>
                  <a:pt x="6881" y="166"/>
                  <a:pt x="6882" y="164"/>
                  <a:pt x="6883" y="164"/>
                </a:cubicBezTo>
                <a:cubicBezTo>
                  <a:pt x="6884" y="163"/>
                  <a:pt x="6886" y="162"/>
                  <a:pt x="6887" y="162"/>
                </a:cubicBezTo>
                <a:cubicBezTo>
                  <a:pt x="6888" y="162"/>
                  <a:pt x="6889" y="163"/>
                  <a:pt x="6891" y="164"/>
                </a:cubicBezTo>
                <a:cubicBezTo>
                  <a:pt x="6893" y="165"/>
                  <a:pt x="6894" y="166"/>
                  <a:pt x="6895" y="167"/>
                </a:cubicBezTo>
                <a:cubicBezTo>
                  <a:pt x="6896" y="169"/>
                  <a:pt x="6897" y="170"/>
                  <a:pt x="6897" y="171"/>
                </a:cubicBezTo>
                <a:cubicBezTo>
                  <a:pt x="6897" y="171"/>
                  <a:pt x="6897" y="172"/>
                  <a:pt x="6898" y="173"/>
                </a:cubicBezTo>
                <a:cubicBezTo>
                  <a:pt x="6898" y="173"/>
                  <a:pt x="6899" y="172"/>
                  <a:pt x="6901" y="171"/>
                </a:cubicBezTo>
                <a:cubicBezTo>
                  <a:pt x="6902" y="170"/>
                  <a:pt x="6903" y="169"/>
                  <a:pt x="6904" y="169"/>
                </a:cubicBezTo>
                <a:cubicBezTo>
                  <a:pt x="6905" y="169"/>
                  <a:pt x="6906" y="170"/>
                  <a:pt x="6907" y="172"/>
                </a:cubicBezTo>
                <a:cubicBezTo>
                  <a:pt x="6907" y="174"/>
                  <a:pt x="6909" y="175"/>
                  <a:pt x="6913" y="175"/>
                </a:cubicBezTo>
                <a:cubicBezTo>
                  <a:pt x="6916" y="175"/>
                  <a:pt x="6918" y="175"/>
                  <a:pt x="6919" y="176"/>
                </a:cubicBezTo>
                <a:cubicBezTo>
                  <a:pt x="6919" y="177"/>
                  <a:pt x="6920" y="178"/>
                  <a:pt x="6920" y="180"/>
                </a:cubicBezTo>
                <a:cubicBezTo>
                  <a:pt x="6920" y="185"/>
                  <a:pt x="6918" y="191"/>
                  <a:pt x="6915" y="196"/>
                </a:cubicBezTo>
                <a:cubicBezTo>
                  <a:pt x="6913" y="198"/>
                  <a:pt x="6913" y="199"/>
                  <a:pt x="6912" y="199"/>
                </a:cubicBezTo>
                <a:lnTo>
                  <a:pt x="6911" y="199"/>
                </a:lnTo>
                <a:cubicBezTo>
                  <a:pt x="6911" y="199"/>
                  <a:pt x="6911" y="200"/>
                  <a:pt x="6911" y="201"/>
                </a:cubicBezTo>
                <a:cubicBezTo>
                  <a:pt x="6911" y="204"/>
                  <a:pt x="6910" y="208"/>
                  <a:pt x="6908" y="212"/>
                </a:cubicBezTo>
                <a:cubicBezTo>
                  <a:pt x="6906" y="215"/>
                  <a:pt x="6904" y="219"/>
                  <a:pt x="6901" y="222"/>
                </a:cubicBezTo>
                <a:cubicBezTo>
                  <a:pt x="6899" y="225"/>
                  <a:pt x="6897" y="227"/>
                  <a:pt x="6895" y="227"/>
                </a:cubicBezTo>
                <a:lnTo>
                  <a:pt x="6892" y="226"/>
                </a:lnTo>
                <a:cubicBezTo>
                  <a:pt x="6892" y="226"/>
                  <a:pt x="6893" y="227"/>
                  <a:pt x="6894" y="228"/>
                </a:cubicBezTo>
                <a:cubicBezTo>
                  <a:pt x="6896" y="228"/>
                  <a:pt x="6896" y="229"/>
                  <a:pt x="6896" y="231"/>
                </a:cubicBezTo>
                <a:cubicBezTo>
                  <a:pt x="6896" y="232"/>
                  <a:pt x="6895" y="234"/>
                  <a:pt x="6894" y="236"/>
                </a:cubicBezTo>
                <a:cubicBezTo>
                  <a:pt x="6892" y="239"/>
                  <a:pt x="6891" y="241"/>
                  <a:pt x="6891" y="244"/>
                </a:cubicBezTo>
                <a:lnTo>
                  <a:pt x="6891" y="245"/>
                </a:lnTo>
                <a:cubicBezTo>
                  <a:pt x="6891" y="245"/>
                  <a:pt x="6889" y="245"/>
                  <a:pt x="6887" y="245"/>
                </a:cubicBezTo>
                <a:lnTo>
                  <a:pt x="6884" y="245"/>
                </a:lnTo>
                <a:cubicBezTo>
                  <a:pt x="6882" y="245"/>
                  <a:pt x="6881" y="246"/>
                  <a:pt x="6881" y="247"/>
                </a:cubicBezTo>
                <a:cubicBezTo>
                  <a:pt x="6881" y="249"/>
                  <a:pt x="6881" y="250"/>
                  <a:pt x="6880" y="250"/>
                </a:cubicBezTo>
                <a:lnTo>
                  <a:pt x="6879" y="250"/>
                </a:lnTo>
                <a:cubicBezTo>
                  <a:pt x="6878" y="250"/>
                  <a:pt x="6878" y="250"/>
                  <a:pt x="6878" y="250"/>
                </a:cubicBezTo>
                <a:cubicBezTo>
                  <a:pt x="6878" y="251"/>
                  <a:pt x="6878" y="252"/>
                  <a:pt x="6879" y="253"/>
                </a:cubicBezTo>
                <a:cubicBezTo>
                  <a:pt x="6879" y="254"/>
                  <a:pt x="6879" y="255"/>
                  <a:pt x="6880" y="255"/>
                </a:cubicBezTo>
                <a:cubicBezTo>
                  <a:pt x="6881" y="255"/>
                  <a:pt x="6881" y="254"/>
                  <a:pt x="6883" y="252"/>
                </a:cubicBezTo>
                <a:lnTo>
                  <a:pt x="6884" y="250"/>
                </a:lnTo>
                <a:lnTo>
                  <a:pt x="6882" y="254"/>
                </a:lnTo>
                <a:cubicBezTo>
                  <a:pt x="6881" y="256"/>
                  <a:pt x="6880" y="259"/>
                  <a:pt x="6880" y="262"/>
                </a:cubicBezTo>
                <a:cubicBezTo>
                  <a:pt x="6880" y="263"/>
                  <a:pt x="6879" y="264"/>
                  <a:pt x="6876" y="264"/>
                </a:cubicBezTo>
                <a:cubicBezTo>
                  <a:pt x="6874" y="264"/>
                  <a:pt x="6873" y="264"/>
                  <a:pt x="6873" y="264"/>
                </a:cubicBezTo>
                <a:cubicBezTo>
                  <a:pt x="6873" y="264"/>
                  <a:pt x="6874" y="263"/>
                  <a:pt x="6875" y="262"/>
                </a:cubicBezTo>
                <a:cubicBezTo>
                  <a:pt x="6876" y="262"/>
                  <a:pt x="6876" y="261"/>
                  <a:pt x="6876" y="261"/>
                </a:cubicBezTo>
                <a:cubicBezTo>
                  <a:pt x="6876" y="261"/>
                  <a:pt x="6876" y="260"/>
                  <a:pt x="6874" y="260"/>
                </a:cubicBezTo>
                <a:cubicBezTo>
                  <a:pt x="6873" y="260"/>
                  <a:pt x="6872" y="261"/>
                  <a:pt x="6872" y="261"/>
                </a:cubicBezTo>
                <a:cubicBezTo>
                  <a:pt x="6871" y="262"/>
                  <a:pt x="6870" y="263"/>
                  <a:pt x="6870" y="264"/>
                </a:cubicBezTo>
                <a:cubicBezTo>
                  <a:pt x="6870" y="264"/>
                  <a:pt x="6870" y="265"/>
                  <a:pt x="6870" y="266"/>
                </a:cubicBezTo>
                <a:cubicBezTo>
                  <a:pt x="6869" y="267"/>
                  <a:pt x="6869" y="268"/>
                  <a:pt x="6868" y="268"/>
                </a:cubicBezTo>
                <a:lnTo>
                  <a:pt x="6867" y="269"/>
                </a:lnTo>
                <a:cubicBezTo>
                  <a:pt x="6867" y="269"/>
                  <a:pt x="6867" y="269"/>
                  <a:pt x="6867" y="269"/>
                </a:cubicBezTo>
                <a:lnTo>
                  <a:pt x="6870" y="269"/>
                </a:lnTo>
                <a:cubicBezTo>
                  <a:pt x="6872" y="269"/>
                  <a:pt x="6874" y="269"/>
                  <a:pt x="6874" y="269"/>
                </a:cubicBezTo>
                <a:cubicBezTo>
                  <a:pt x="6874" y="270"/>
                  <a:pt x="6873" y="271"/>
                  <a:pt x="6872" y="273"/>
                </a:cubicBezTo>
                <a:cubicBezTo>
                  <a:pt x="6872" y="274"/>
                  <a:pt x="6870" y="275"/>
                  <a:pt x="6868" y="275"/>
                </a:cubicBezTo>
                <a:lnTo>
                  <a:pt x="6863" y="274"/>
                </a:lnTo>
                <a:cubicBezTo>
                  <a:pt x="6862" y="274"/>
                  <a:pt x="6862" y="274"/>
                  <a:pt x="6862" y="275"/>
                </a:cubicBezTo>
                <a:lnTo>
                  <a:pt x="6862" y="277"/>
                </a:lnTo>
                <a:lnTo>
                  <a:pt x="6862" y="279"/>
                </a:lnTo>
                <a:lnTo>
                  <a:pt x="6857" y="281"/>
                </a:lnTo>
                <a:cubicBezTo>
                  <a:pt x="6857" y="282"/>
                  <a:pt x="6858" y="283"/>
                  <a:pt x="6860" y="284"/>
                </a:cubicBezTo>
                <a:cubicBezTo>
                  <a:pt x="6862" y="285"/>
                  <a:pt x="6862" y="286"/>
                  <a:pt x="6862" y="287"/>
                </a:cubicBezTo>
                <a:cubicBezTo>
                  <a:pt x="6862" y="289"/>
                  <a:pt x="6862" y="290"/>
                  <a:pt x="6861" y="291"/>
                </a:cubicBezTo>
                <a:cubicBezTo>
                  <a:pt x="6860" y="292"/>
                  <a:pt x="6859" y="293"/>
                  <a:pt x="6857" y="293"/>
                </a:cubicBezTo>
                <a:cubicBezTo>
                  <a:pt x="6856" y="293"/>
                  <a:pt x="6856" y="293"/>
                  <a:pt x="6855" y="292"/>
                </a:cubicBezTo>
                <a:cubicBezTo>
                  <a:pt x="6854" y="291"/>
                  <a:pt x="6853" y="291"/>
                  <a:pt x="6852" y="291"/>
                </a:cubicBezTo>
                <a:cubicBezTo>
                  <a:pt x="6852" y="291"/>
                  <a:pt x="6851" y="292"/>
                  <a:pt x="6850" y="293"/>
                </a:cubicBezTo>
                <a:lnTo>
                  <a:pt x="6850" y="294"/>
                </a:lnTo>
                <a:cubicBezTo>
                  <a:pt x="6850" y="296"/>
                  <a:pt x="6851" y="296"/>
                  <a:pt x="6853" y="296"/>
                </a:cubicBezTo>
                <a:cubicBezTo>
                  <a:pt x="6854" y="296"/>
                  <a:pt x="6855" y="297"/>
                  <a:pt x="6855" y="299"/>
                </a:cubicBezTo>
                <a:cubicBezTo>
                  <a:pt x="6855" y="299"/>
                  <a:pt x="6853" y="300"/>
                  <a:pt x="6850" y="300"/>
                </a:cubicBezTo>
                <a:lnTo>
                  <a:pt x="6846" y="299"/>
                </a:lnTo>
                <a:cubicBezTo>
                  <a:pt x="6846" y="300"/>
                  <a:pt x="6847" y="301"/>
                  <a:pt x="6850" y="302"/>
                </a:cubicBezTo>
                <a:cubicBezTo>
                  <a:pt x="6852" y="304"/>
                  <a:pt x="6853" y="305"/>
                  <a:pt x="6853" y="306"/>
                </a:cubicBezTo>
                <a:cubicBezTo>
                  <a:pt x="6853" y="306"/>
                  <a:pt x="6852" y="307"/>
                  <a:pt x="6851" y="308"/>
                </a:cubicBezTo>
                <a:cubicBezTo>
                  <a:pt x="6849" y="308"/>
                  <a:pt x="6848" y="310"/>
                  <a:pt x="6848" y="311"/>
                </a:cubicBezTo>
                <a:lnTo>
                  <a:pt x="6848" y="313"/>
                </a:lnTo>
                <a:lnTo>
                  <a:pt x="6846" y="311"/>
                </a:lnTo>
                <a:cubicBezTo>
                  <a:pt x="6844" y="311"/>
                  <a:pt x="6844" y="313"/>
                  <a:pt x="6844" y="316"/>
                </a:cubicBezTo>
                <a:lnTo>
                  <a:pt x="6844" y="319"/>
                </a:lnTo>
                <a:lnTo>
                  <a:pt x="6841" y="318"/>
                </a:lnTo>
                <a:cubicBezTo>
                  <a:pt x="6840" y="318"/>
                  <a:pt x="6840" y="318"/>
                  <a:pt x="6840" y="318"/>
                </a:cubicBezTo>
                <a:lnTo>
                  <a:pt x="6841" y="323"/>
                </a:lnTo>
                <a:cubicBezTo>
                  <a:pt x="6841" y="325"/>
                  <a:pt x="6840" y="327"/>
                  <a:pt x="6838" y="327"/>
                </a:cubicBezTo>
                <a:lnTo>
                  <a:pt x="6840" y="323"/>
                </a:lnTo>
                <a:cubicBezTo>
                  <a:pt x="6840" y="323"/>
                  <a:pt x="6839" y="323"/>
                  <a:pt x="6839" y="323"/>
                </a:cubicBezTo>
                <a:lnTo>
                  <a:pt x="6838" y="324"/>
                </a:lnTo>
                <a:cubicBezTo>
                  <a:pt x="6837" y="324"/>
                  <a:pt x="6836" y="326"/>
                  <a:pt x="6836" y="328"/>
                </a:cubicBezTo>
                <a:cubicBezTo>
                  <a:pt x="6836" y="331"/>
                  <a:pt x="6835" y="333"/>
                  <a:pt x="6832" y="335"/>
                </a:cubicBezTo>
                <a:cubicBezTo>
                  <a:pt x="6831" y="336"/>
                  <a:pt x="6831" y="337"/>
                  <a:pt x="6831" y="337"/>
                </a:cubicBezTo>
                <a:lnTo>
                  <a:pt x="6832" y="337"/>
                </a:lnTo>
                <a:lnTo>
                  <a:pt x="6832" y="337"/>
                </a:lnTo>
                <a:lnTo>
                  <a:pt x="6832" y="337"/>
                </a:lnTo>
                <a:lnTo>
                  <a:pt x="6829" y="340"/>
                </a:lnTo>
                <a:cubicBezTo>
                  <a:pt x="6827" y="343"/>
                  <a:pt x="6826" y="344"/>
                  <a:pt x="6826" y="344"/>
                </a:cubicBezTo>
                <a:lnTo>
                  <a:pt x="6828" y="343"/>
                </a:lnTo>
                <a:lnTo>
                  <a:pt x="6828" y="344"/>
                </a:lnTo>
                <a:cubicBezTo>
                  <a:pt x="6828" y="344"/>
                  <a:pt x="6827" y="345"/>
                  <a:pt x="6826" y="346"/>
                </a:cubicBezTo>
                <a:cubicBezTo>
                  <a:pt x="6825" y="347"/>
                  <a:pt x="6824" y="348"/>
                  <a:pt x="6824" y="349"/>
                </a:cubicBezTo>
                <a:cubicBezTo>
                  <a:pt x="6823" y="350"/>
                  <a:pt x="6822" y="350"/>
                  <a:pt x="6822" y="351"/>
                </a:cubicBezTo>
                <a:cubicBezTo>
                  <a:pt x="6822" y="352"/>
                  <a:pt x="6821" y="354"/>
                  <a:pt x="6819" y="356"/>
                </a:cubicBezTo>
                <a:lnTo>
                  <a:pt x="6817" y="358"/>
                </a:lnTo>
                <a:lnTo>
                  <a:pt x="6819" y="357"/>
                </a:lnTo>
                <a:cubicBezTo>
                  <a:pt x="6819" y="357"/>
                  <a:pt x="6819" y="358"/>
                  <a:pt x="6819" y="359"/>
                </a:cubicBezTo>
                <a:cubicBezTo>
                  <a:pt x="6819" y="360"/>
                  <a:pt x="6819" y="361"/>
                  <a:pt x="6818" y="363"/>
                </a:cubicBezTo>
                <a:cubicBezTo>
                  <a:pt x="6817" y="365"/>
                  <a:pt x="6815" y="366"/>
                  <a:pt x="6814" y="368"/>
                </a:cubicBezTo>
                <a:lnTo>
                  <a:pt x="6812" y="370"/>
                </a:lnTo>
                <a:lnTo>
                  <a:pt x="6814" y="369"/>
                </a:lnTo>
                <a:cubicBezTo>
                  <a:pt x="6814" y="369"/>
                  <a:pt x="6814" y="370"/>
                  <a:pt x="6814" y="370"/>
                </a:cubicBezTo>
                <a:cubicBezTo>
                  <a:pt x="6814" y="372"/>
                  <a:pt x="6813" y="378"/>
                  <a:pt x="6809" y="387"/>
                </a:cubicBezTo>
                <a:lnTo>
                  <a:pt x="6800" y="411"/>
                </a:lnTo>
                <a:cubicBezTo>
                  <a:pt x="6796" y="422"/>
                  <a:pt x="6792" y="429"/>
                  <a:pt x="6790" y="432"/>
                </a:cubicBezTo>
                <a:lnTo>
                  <a:pt x="6789" y="434"/>
                </a:lnTo>
                <a:lnTo>
                  <a:pt x="6791" y="433"/>
                </a:lnTo>
                <a:cubicBezTo>
                  <a:pt x="6792" y="433"/>
                  <a:pt x="6792" y="433"/>
                  <a:pt x="6792" y="433"/>
                </a:cubicBezTo>
                <a:cubicBezTo>
                  <a:pt x="6792" y="435"/>
                  <a:pt x="6791" y="438"/>
                  <a:pt x="6789" y="445"/>
                </a:cubicBezTo>
                <a:cubicBezTo>
                  <a:pt x="6787" y="451"/>
                  <a:pt x="6785" y="455"/>
                  <a:pt x="6784" y="455"/>
                </a:cubicBezTo>
                <a:cubicBezTo>
                  <a:pt x="6783" y="455"/>
                  <a:pt x="6782" y="457"/>
                  <a:pt x="6782" y="462"/>
                </a:cubicBezTo>
                <a:cubicBezTo>
                  <a:pt x="6782" y="467"/>
                  <a:pt x="6782" y="470"/>
                  <a:pt x="6780" y="471"/>
                </a:cubicBezTo>
                <a:cubicBezTo>
                  <a:pt x="6779" y="472"/>
                  <a:pt x="6778" y="474"/>
                  <a:pt x="6777" y="477"/>
                </a:cubicBezTo>
                <a:cubicBezTo>
                  <a:pt x="6775" y="491"/>
                  <a:pt x="6773" y="498"/>
                  <a:pt x="6771" y="498"/>
                </a:cubicBezTo>
                <a:lnTo>
                  <a:pt x="6770" y="498"/>
                </a:lnTo>
                <a:cubicBezTo>
                  <a:pt x="6770" y="498"/>
                  <a:pt x="6770" y="499"/>
                  <a:pt x="6770" y="500"/>
                </a:cubicBezTo>
                <a:lnTo>
                  <a:pt x="6770" y="502"/>
                </a:lnTo>
                <a:cubicBezTo>
                  <a:pt x="6770" y="506"/>
                  <a:pt x="6770" y="508"/>
                  <a:pt x="6769" y="508"/>
                </a:cubicBezTo>
                <a:lnTo>
                  <a:pt x="6767" y="507"/>
                </a:lnTo>
                <a:cubicBezTo>
                  <a:pt x="6767" y="507"/>
                  <a:pt x="6767" y="507"/>
                  <a:pt x="6767" y="508"/>
                </a:cubicBezTo>
                <a:lnTo>
                  <a:pt x="6768" y="515"/>
                </a:lnTo>
                <a:lnTo>
                  <a:pt x="6767" y="517"/>
                </a:lnTo>
                <a:lnTo>
                  <a:pt x="6766" y="517"/>
                </a:lnTo>
                <a:cubicBezTo>
                  <a:pt x="6765" y="517"/>
                  <a:pt x="6765" y="519"/>
                  <a:pt x="6765" y="523"/>
                </a:cubicBezTo>
                <a:cubicBezTo>
                  <a:pt x="6765" y="526"/>
                  <a:pt x="6765" y="528"/>
                  <a:pt x="6764" y="529"/>
                </a:cubicBezTo>
                <a:cubicBezTo>
                  <a:pt x="6763" y="531"/>
                  <a:pt x="6763" y="533"/>
                  <a:pt x="6762" y="533"/>
                </a:cubicBezTo>
                <a:cubicBezTo>
                  <a:pt x="6761" y="533"/>
                  <a:pt x="6761" y="534"/>
                  <a:pt x="6761" y="535"/>
                </a:cubicBezTo>
                <a:lnTo>
                  <a:pt x="6761" y="535"/>
                </a:lnTo>
                <a:cubicBezTo>
                  <a:pt x="6761" y="536"/>
                  <a:pt x="6761" y="536"/>
                  <a:pt x="6761" y="538"/>
                </a:cubicBezTo>
                <a:cubicBezTo>
                  <a:pt x="6761" y="540"/>
                  <a:pt x="6761" y="543"/>
                  <a:pt x="6760" y="546"/>
                </a:cubicBezTo>
                <a:cubicBezTo>
                  <a:pt x="6759" y="549"/>
                  <a:pt x="6758" y="552"/>
                  <a:pt x="6757" y="555"/>
                </a:cubicBezTo>
                <a:cubicBezTo>
                  <a:pt x="6756" y="558"/>
                  <a:pt x="6755" y="559"/>
                  <a:pt x="6755" y="559"/>
                </a:cubicBezTo>
                <a:lnTo>
                  <a:pt x="6754" y="559"/>
                </a:lnTo>
                <a:cubicBezTo>
                  <a:pt x="6754" y="559"/>
                  <a:pt x="6754" y="559"/>
                  <a:pt x="6754" y="560"/>
                </a:cubicBezTo>
                <a:lnTo>
                  <a:pt x="6755" y="564"/>
                </a:lnTo>
                <a:cubicBezTo>
                  <a:pt x="6755" y="566"/>
                  <a:pt x="6754" y="567"/>
                  <a:pt x="6753" y="568"/>
                </a:cubicBezTo>
                <a:cubicBezTo>
                  <a:pt x="6752" y="568"/>
                  <a:pt x="6751" y="569"/>
                  <a:pt x="6751" y="569"/>
                </a:cubicBezTo>
                <a:cubicBezTo>
                  <a:pt x="6751" y="570"/>
                  <a:pt x="6752" y="570"/>
                  <a:pt x="6752" y="570"/>
                </a:cubicBezTo>
                <a:cubicBezTo>
                  <a:pt x="6753" y="570"/>
                  <a:pt x="6754" y="571"/>
                  <a:pt x="6754" y="574"/>
                </a:cubicBezTo>
                <a:cubicBezTo>
                  <a:pt x="6753" y="577"/>
                  <a:pt x="6752" y="578"/>
                  <a:pt x="6752" y="578"/>
                </a:cubicBezTo>
                <a:lnTo>
                  <a:pt x="6751" y="578"/>
                </a:lnTo>
                <a:cubicBezTo>
                  <a:pt x="6750" y="578"/>
                  <a:pt x="6750" y="580"/>
                  <a:pt x="6750" y="583"/>
                </a:cubicBezTo>
                <a:lnTo>
                  <a:pt x="6750" y="588"/>
                </a:lnTo>
                <a:cubicBezTo>
                  <a:pt x="6750" y="588"/>
                  <a:pt x="6750" y="587"/>
                  <a:pt x="6749" y="586"/>
                </a:cubicBezTo>
                <a:cubicBezTo>
                  <a:pt x="6748" y="585"/>
                  <a:pt x="6748" y="583"/>
                  <a:pt x="6748" y="580"/>
                </a:cubicBezTo>
                <a:cubicBezTo>
                  <a:pt x="6748" y="576"/>
                  <a:pt x="6748" y="571"/>
                  <a:pt x="6750" y="564"/>
                </a:cubicBezTo>
                <a:lnTo>
                  <a:pt x="6755" y="541"/>
                </a:lnTo>
                <a:cubicBezTo>
                  <a:pt x="6753" y="541"/>
                  <a:pt x="6749" y="555"/>
                  <a:pt x="6743" y="583"/>
                </a:cubicBezTo>
                <a:cubicBezTo>
                  <a:pt x="6742" y="592"/>
                  <a:pt x="6741" y="598"/>
                  <a:pt x="6741" y="601"/>
                </a:cubicBezTo>
                <a:cubicBezTo>
                  <a:pt x="6741" y="603"/>
                  <a:pt x="6741" y="604"/>
                  <a:pt x="6740" y="605"/>
                </a:cubicBezTo>
                <a:cubicBezTo>
                  <a:pt x="6739" y="605"/>
                  <a:pt x="6737" y="611"/>
                  <a:pt x="6735" y="623"/>
                </a:cubicBezTo>
                <a:cubicBezTo>
                  <a:pt x="6733" y="635"/>
                  <a:pt x="6731" y="642"/>
                  <a:pt x="6729" y="643"/>
                </a:cubicBezTo>
                <a:close/>
                <a:moveTo>
                  <a:pt x="6801" y="311"/>
                </a:moveTo>
                <a:cubicBezTo>
                  <a:pt x="6802" y="311"/>
                  <a:pt x="6802" y="310"/>
                  <a:pt x="6803" y="309"/>
                </a:cubicBezTo>
                <a:cubicBezTo>
                  <a:pt x="6805" y="308"/>
                  <a:pt x="6805" y="307"/>
                  <a:pt x="6805" y="306"/>
                </a:cubicBezTo>
                <a:cubicBezTo>
                  <a:pt x="6805" y="305"/>
                  <a:pt x="6805" y="305"/>
                  <a:pt x="6804" y="305"/>
                </a:cubicBezTo>
                <a:cubicBezTo>
                  <a:pt x="6804" y="305"/>
                  <a:pt x="6803" y="306"/>
                  <a:pt x="6802" y="308"/>
                </a:cubicBezTo>
                <a:lnTo>
                  <a:pt x="6801" y="311"/>
                </a:lnTo>
                <a:close/>
                <a:moveTo>
                  <a:pt x="6756" y="467"/>
                </a:moveTo>
                <a:lnTo>
                  <a:pt x="6757" y="465"/>
                </a:lnTo>
                <a:cubicBezTo>
                  <a:pt x="6759" y="462"/>
                  <a:pt x="6760" y="460"/>
                  <a:pt x="6760" y="458"/>
                </a:cubicBezTo>
                <a:cubicBezTo>
                  <a:pt x="6760" y="456"/>
                  <a:pt x="6759" y="455"/>
                  <a:pt x="6759" y="455"/>
                </a:cubicBezTo>
                <a:cubicBezTo>
                  <a:pt x="6759" y="455"/>
                  <a:pt x="6758" y="456"/>
                  <a:pt x="6757" y="458"/>
                </a:cubicBezTo>
                <a:cubicBezTo>
                  <a:pt x="6756" y="460"/>
                  <a:pt x="6755" y="463"/>
                  <a:pt x="6755" y="465"/>
                </a:cubicBezTo>
                <a:cubicBezTo>
                  <a:pt x="6755" y="466"/>
                  <a:pt x="6755" y="467"/>
                  <a:pt x="6756" y="467"/>
                </a:cubicBezTo>
                <a:close/>
                <a:moveTo>
                  <a:pt x="6769" y="409"/>
                </a:moveTo>
                <a:cubicBezTo>
                  <a:pt x="6770" y="409"/>
                  <a:pt x="6771" y="409"/>
                  <a:pt x="6772" y="407"/>
                </a:cubicBezTo>
                <a:lnTo>
                  <a:pt x="6772" y="406"/>
                </a:lnTo>
                <a:cubicBezTo>
                  <a:pt x="6772" y="405"/>
                  <a:pt x="6771" y="405"/>
                  <a:pt x="6771" y="405"/>
                </a:cubicBezTo>
                <a:cubicBezTo>
                  <a:pt x="6769" y="405"/>
                  <a:pt x="6768" y="406"/>
                  <a:pt x="6768" y="407"/>
                </a:cubicBezTo>
                <a:cubicBezTo>
                  <a:pt x="6768" y="409"/>
                  <a:pt x="6769" y="409"/>
                  <a:pt x="6769" y="409"/>
                </a:cubicBezTo>
                <a:close/>
                <a:moveTo>
                  <a:pt x="6768" y="402"/>
                </a:moveTo>
                <a:cubicBezTo>
                  <a:pt x="6770" y="402"/>
                  <a:pt x="6770" y="401"/>
                  <a:pt x="6771" y="399"/>
                </a:cubicBezTo>
                <a:lnTo>
                  <a:pt x="6772" y="395"/>
                </a:lnTo>
                <a:cubicBezTo>
                  <a:pt x="6772" y="393"/>
                  <a:pt x="6771" y="392"/>
                  <a:pt x="6770" y="392"/>
                </a:cubicBezTo>
                <a:cubicBezTo>
                  <a:pt x="6769" y="392"/>
                  <a:pt x="6768" y="393"/>
                  <a:pt x="6767" y="395"/>
                </a:cubicBezTo>
                <a:cubicBezTo>
                  <a:pt x="6765" y="397"/>
                  <a:pt x="6765" y="398"/>
                  <a:pt x="6765" y="399"/>
                </a:cubicBezTo>
                <a:cubicBezTo>
                  <a:pt x="6765" y="402"/>
                  <a:pt x="6766" y="402"/>
                  <a:pt x="6768" y="402"/>
                </a:cubicBezTo>
                <a:close/>
                <a:moveTo>
                  <a:pt x="6773" y="433"/>
                </a:moveTo>
                <a:cubicBezTo>
                  <a:pt x="6773" y="433"/>
                  <a:pt x="6774" y="433"/>
                  <a:pt x="6775" y="432"/>
                </a:cubicBezTo>
                <a:cubicBezTo>
                  <a:pt x="6775" y="431"/>
                  <a:pt x="6776" y="430"/>
                  <a:pt x="6776" y="428"/>
                </a:cubicBezTo>
                <a:cubicBezTo>
                  <a:pt x="6777" y="427"/>
                  <a:pt x="6777" y="426"/>
                  <a:pt x="6777" y="424"/>
                </a:cubicBezTo>
                <a:cubicBezTo>
                  <a:pt x="6777" y="424"/>
                  <a:pt x="6777" y="424"/>
                  <a:pt x="6776" y="424"/>
                </a:cubicBezTo>
                <a:cubicBezTo>
                  <a:pt x="6776" y="424"/>
                  <a:pt x="6776" y="424"/>
                  <a:pt x="6775" y="425"/>
                </a:cubicBezTo>
                <a:cubicBezTo>
                  <a:pt x="6774" y="426"/>
                  <a:pt x="6774" y="427"/>
                  <a:pt x="6773" y="429"/>
                </a:cubicBezTo>
                <a:cubicBezTo>
                  <a:pt x="6773" y="430"/>
                  <a:pt x="6773" y="431"/>
                  <a:pt x="6773" y="432"/>
                </a:cubicBezTo>
                <a:cubicBezTo>
                  <a:pt x="6773" y="433"/>
                  <a:pt x="6773" y="433"/>
                  <a:pt x="6773" y="433"/>
                </a:cubicBezTo>
                <a:close/>
                <a:moveTo>
                  <a:pt x="6759" y="541"/>
                </a:moveTo>
                <a:lnTo>
                  <a:pt x="6760" y="541"/>
                </a:lnTo>
                <a:lnTo>
                  <a:pt x="6759" y="538"/>
                </a:lnTo>
                <a:cubicBezTo>
                  <a:pt x="6758" y="536"/>
                  <a:pt x="6757" y="535"/>
                  <a:pt x="6755" y="535"/>
                </a:cubicBezTo>
                <a:cubicBezTo>
                  <a:pt x="6755" y="535"/>
                  <a:pt x="6754" y="536"/>
                  <a:pt x="6754" y="536"/>
                </a:cubicBezTo>
                <a:cubicBezTo>
                  <a:pt x="6754" y="537"/>
                  <a:pt x="6755" y="538"/>
                  <a:pt x="6756" y="539"/>
                </a:cubicBezTo>
                <a:cubicBezTo>
                  <a:pt x="6757" y="541"/>
                  <a:pt x="6759" y="541"/>
                  <a:pt x="6759" y="541"/>
                </a:cubicBezTo>
                <a:close/>
                <a:moveTo>
                  <a:pt x="6761" y="531"/>
                </a:moveTo>
                <a:lnTo>
                  <a:pt x="6762" y="530"/>
                </a:lnTo>
                <a:lnTo>
                  <a:pt x="6761" y="529"/>
                </a:lnTo>
                <a:cubicBezTo>
                  <a:pt x="6760" y="527"/>
                  <a:pt x="6758" y="526"/>
                  <a:pt x="6757" y="526"/>
                </a:cubicBezTo>
                <a:cubicBezTo>
                  <a:pt x="6756" y="526"/>
                  <a:pt x="6756" y="527"/>
                  <a:pt x="6756" y="527"/>
                </a:cubicBezTo>
                <a:cubicBezTo>
                  <a:pt x="6756" y="528"/>
                  <a:pt x="6756" y="528"/>
                  <a:pt x="6757" y="529"/>
                </a:cubicBezTo>
                <a:lnTo>
                  <a:pt x="6761" y="531"/>
                </a:lnTo>
                <a:close/>
                <a:moveTo>
                  <a:pt x="6761" y="517"/>
                </a:moveTo>
                <a:cubicBezTo>
                  <a:pt x="6761" y="516"/>
                  <a:pt x="6762" y="515"/>
                  <a:pt x="6762" y="514"/>
                </a:cubicBezTo>
                <a:lnTo>
                  <a:pt x="6761" y="512"/>
                </a:lnTo>
                <a:cubicBezTo>
                  <a:pt x="6761" y="512"/>
                  <a:pt x="6760" y="511"/>
                  <a:pt x="6760" y="511"/>
                </a:cubicBezTo>
                <a:cubicBezTo>
                  <a:pt x="6760" y="511"/>
                  <a:pt x="6760" y="512"/>
                  <a:pt x="6760" y="514"/>
                </a:cubicBezTo>
                <a:cubicBezTo>
                  <a:pt x="6760" y="516"/>
                  <a:pt x="6760" y="517"/>
                  <a:pt x="6761" y="517"/>
                </a:cubicBezTo>
                <a:close/>
                <a:moveTo>
                  <a:pt x="6762" y="508"/>
                </a:moveTo>
                <a:lnTo>
                  <a:pt x="6763" y="507"/>
                </a:lnTo>
                <a:cubicBezTo>
                  <a:pt x="6764" y="507"/>
                  <a:pt x="6764" y="506"/>
                  <a:pt x="6764" y="506"/>
                </a:cubicBezTo>
                <a:lnTo>
                  <a:pt x="6763" y="503"/>
                </a:lnTo>
                <a:lnTo>
                  <a:pt x="6762" y="502"/>
                </a:lnTo>
                <a:cubicBezTo>
                  <a:pt x="6762" y="502"/>
                  <a:pt x="6762" y="503"/>
                  <a:pt x="6762" y="506"/>
                </a:cubicBezTo>
                <a:cubicBezTo>
                  <a:pt x="6762" y="507"/>
                  <a:pt x="6762" y="507"/>
                  <a:pt x="6762" y="508"/>
                </a:cubicBezTo>
                <a:close/>
                <a:moveTo>
                  <a:pt x="6767" y="490"/>
                </a:moveTo>
                <a:cubicBezTo>
                  <a:pt x="6767" y="490"/>
                  <a:pt x="6768" y="488"/>
                  <a:pt x="6769" y="486"/>
                </a:cubicBezTo>
                <a:lnTo>
                  <a:pt x="6769" y="484"/>
                </a:lnTo>
                <a:cubicBezTo>
                  <a:pt x="6769" y="484"/>
                  <a:pt x="6769" y="484"/>
                  <a:pt x="6769" y="484"/>
                </a:cubicBezTo>
                <a:lnTo>
                  <a:pt x="6768" y="484"/>
                </a:lnTo>
                <a:cubicBezTo>
                  <a:pt x="6767" y="485"/>
                  <a:pt x="6767" y="485"/>
                  <a:pt x="6767" y="485"/>
                </a:cubicBezTo>
                <a:cubicBezTo>
                  <a:pt x="6766" y="486"/>
                  <a:pt x="6766" y="487"/>
                  <a:pt x="6766" y="487"/>
                </a:cubicBezTo>
                <a:cubicBezTo>
                  <a:pt x="6766" y="489"/>
                  <a:pt x="6766" y="490"/>
                  <a:pt x="6767" y="490"/>
                </a:cubicBezTo>
                <a:close/>
                <a:moveTo>
                  <a:pt x="6769" y="480"/>
                </a:moveTo>
                <a:lnTo>
                  <a:pt x="6771" y="479"/>
                </a:lnTo>
                <a:cubicBezTo>
                  <a:pt x="6772" y="478"/>
                  <a:pt x="6772" y="476"/>
                  <a:pt x="6772" y="475"/>
                </a:cubicBezTo>
                <a:cubicBezTo>
                  <a:pt x="6772" y="475"/>
                  <a:pt x="6772" y="474"/>
                  <a:pt x="6772" y="474"/>
                </a:cubicBezTo>
                <a:cubicBezTo>
                  <a:pt x="6771" y="474"/>
                  <a:pt x="6771" y="475"/>
                  <a:pt x="6770" y="476"/>
                </a:cubicBezTo>
                <a:cubicBezTo>
                  <a:pt x="6769" y="477"/>
                  <a:pt x="6769" y="478"/>
                  <a:pt x="6769" y="480"/>
                </a:cubicBezTo>
                <a:cubicBezTo>
                  <a:pt x="6769" y="480"/>
                  <a:pt x="6769" y="480"/>
                  <a:pt x="6769" y="480"/>
                </a:cubicBezTo>
                <a:close/>
                <a:moveTo>
                  <a:pt x="6774" y="469"/>
                </a:moveTo>
                <a:cubicBezTo>
                  <a:pt x="6774" y="469"/>
                  <a:pt x="6775" y="468"/>
                  <a:pt x="6775" y="466"/>
                </a:cubicBezTo>
                <a:lnTo>
                  <a:pt x="6776" y="464"/>
                </a:lnTo>
                <a:cubicBezTo>
                  <a:pt x="6776" y="463"/>
                  <a:pt x="6776" y="463"/>
                  <a:pt x="6775" y="463"/>
                </a:cubicBezTo>
                <a:lnTo>
                  <a:pt x="6775" y="463"/>
                </a:lnTo>
                <a:cubicBezTo>
                  <a:pt x="6773" y="465"/>
                  <a:pt x="6773" y="466"/>
                  <a:pt x="6773" y="467"/>
                </a:cubicBezTo>
                <a:cubicBezTo>
                  <a:pt x="6773" y="468"/>
                  <a:pt x="6773" y="469"/>
                  <a:pt x="6773" y="469"/>
                </a:cubicBezTo>
                <a:lnTo>
                  <a:pt x="6774" y="469"/>
                </a:lnTo>
                <a:close/>
                <a:moveTo>
                  <a:pt x="6794" y="341"/>
                </a:moveTo>
                <a:cubicBezTo>
                  <a:pt x="6795" y="341"/>
                  <a:pt x="6797" y="339"/>
                  <a:pt x="6799" y="334"/>
                </a:cubicBezTo>
                <a:cubicBezTo>
                  <a:pt x="6801" y="332"/>
                  <a:pt x="6801" y="330"/>
                  <a:pt x="6801" y="329"/>
                </a:cubicBezTo>
                <a:cubicBezTo>
                  <a:pt x="6801" y="328"/>
                  <a:pt x="6800" y="328"/>
                  <a:pt x="6799" y="328"/>
                </a:cubicBezTo>
                <a:cubicBezTo>
                  <a:pt x="6795" y="328"/>
                  <a:pt x="6793" y="328"/>
                  <a:pt x="6793" y="329"/>
                </a:cubicBezTo>
                <a:lnTo>
                  <a:pt x="6794" y="330"/>
                </a:lnTo>
                <a:cubicBezTo>
                  <a:pt x="6794" y="331"/>
                  <a:pt x="6794" y="331"/>
                  <a:pt x="6795" y="331"/>
                </a:cubicBezTo>
                <a:cubicBezTo>
                  <a:pt x="6796" y="331"/>
                  <a:pt x="6796" y="331"/>
                  <a:pt x="6797" y="330"/>
                </a:cubicBezTo>
                <a:cubicBezTo>
                  <a:pt x="6797" y="330"/>
                  <a:pt x="6798" y="330"/>
                  <a:pt x="6798" y="330"/>
                </a:cubicBezTo>
                <a:cubicBezTo>
                  <a:pt x="6798" y="330"/>
                  <a:pt x="6799" y="330"/>
                  <a:pt x="6799" y="330"/>
                </a:cubicBezTo>
                <a:cubicBezTo>
                  <a:pt x="6799" y="331"/>
                  <a:pt x="6798" y="333"/>
                  <a:pt x="6797" y="334"/>
                </a:cubicBezTo>
                <a:cubicBezTo>
                  <a:pt x="6797" y="336"/>
                  <a:pt x="6796" y="337"/>
                  <a:pt x="6795" y="337"/>
                </a:cubicBezTo>
                <a:lnTo>
                  <a:pt x="6794" y="337"/>
                </a:lnTo>
                <a:cubicBezTo>
                  <a:pt x="6793" y="337"/>
                  <a:pt x="6792" y="337"/>
                  <a:pt x="6792" y="338"/>
                </a:cubicBezTo>
                <a:cubicBezTo>
                  <a:pt x="6792" y="340"/>
                  <a:pt x="6793" y="341"/>
                  <a:pt x="6794" y="341"/>
                </a:cubicBezTo>
                <a:close/>
                <a:moveTo>
                  <a:pt x="6794" y="389"/>
                </a:moveTo>
                <a:cubicBezTo>
                  <a:pt x="6796" y="389"/>
                  <a:pt x="6797" y="388"/>
                  <a:pt x="6797" y="386"/>
                </a:cubicBezTo>
                <a:cubicBezTo>
                  <a:pt x="6797" y="385"/>
                  <a:pt x="6796" y="384"/>
                  <a:pt x="6795" y="384"/>
                </a:cubicBezTo>
                <a:cubicBezTo>
                  <a:pt x="6795" y="384"/>
                  <a:pt x="6794" y="385"/>
                  <a:pt x="6794" y="386"/>
                </a:cubicBezTo>
                <a:cubicBezTo>
                  <a:pt x="6793" y="387"/>
                  <a:pt x="6793" y="387"/>
                  <a:pt x="6793" y="388"/>
                </a:cubicBezTo>
                <a:cubicBezTo>
                  <a:pt x="6793" y="389"/>
                  <a:pt x="6793" y="389"/>
                  <a:pt x="6794" y="389"/>
                </a:cubicBezTo>
                <a:close/>
                <a:moveTo>
                  <a:pt x="6797" y="382"/>
                </a:moveTo>
                <a:cubicBezTo>
                  <a:pt x="6798" y="382"/>
                  <a:pt x="6799" y="381"/>
                  <a:pt x="6800" y="378"/>
                </a:cubicBezTo>
                <a:cubicBezTo>
                  <a:pt x="6802" y="376"/>
                  <a:pt x="6803" y="374"/>
                  <a:pt x="6803" y="372"/>
                </a:cubicBezTo>
                <a:cubicBezTo>
                  <a:pt x="6803" y="371"/>
                  <a:pt x="6802" y="371"/>
                  <a:pt x="6802" y="371"/>
                </a:cubicBezTo>
                <a:cubicBezTo>
                  <a:pt x="6802" y="371"/>
                  <a:pt x="6802" y="371"/>
                  <a:pt x="6801" y="372"/>
                </a:cubicBezTo>
                <a:cubicBezTo>
                  <a:pt x="6800" y="373"/>
                  <a:pt x="6799" y="374"/>
                  <a:pt x="6799" y="375"/>
                </a:cubicBezTo>
                <a:cubicBezTo>
                  <a:pt x="6798" y="377"/>
                  <a:pt x="6797" y="378"/>
                  <a:pt x="6797" y="379"/>
                </a:cubicBezTo>
                <a:lnTo>
                  <a:pt x="6797" y="382"/>
                </a:lnTo>
                <a:close/>
                <a:moveTo>
                  <a:pt x="6799" y="393"/>
                </a:moveTo>
                <a:lnTo>
                  <a:pt x="6801" y="392"/>
                </a:lnTo>
                <a:cubicBezTo>
                  <a:pt x="6803" y="392"/>
                  <a:pt x="6804" y="391"/>
                  <a:pt x="6804" y="390"/>
                </a:cubicBezTo>
                <a:cubicBezTo>
                  <a:pt x="6804" y="389"/>
                  <a:pt x="6804" y="389"/>
                  <a:pt x="6803" y="389"/>
                </a:cubicBezTo>
                <a:cubicBezTo>
                  <a:pt x="6802" y="389"/>
                  <a:pt x="6801" y="389"/>
                  <a:pt x="6800" y="391"/>
                </a:cubicBezTo>
                <a:lnTo>
                  <a:pt x="6799" y="392"/>
                </a:lnTo>
                <a:lnTo>
                  <a:pt x="6799" y="393"/>
                </a:lnTo>
                <a:close/>
                <a:moveTo>
                  <a:pt x="6809" y="379"/>
                </a:moveTo>
                <a:cubicBezTo>
                  <a:pt x="6809" y="379"/>
                  <a:pt x="6809" y="379"/>
                  <a:pt x="6809" y="378"/>
                </a:cubicBezTo>
                <a:cubicBezTo>
                  <a:pt x="6809" y="377"/>
                  <a:pt x="6808" y="376"/>
                  <a:pt x="6806" y="376"/>
                </a:cubicBezTo>
                <a:cubicBezTo>
                  <a:pt x="6805" y="376"/>
                  <a:pt x="6804" y="377"/>
                  <a:pt x="6804" y="377"/>
                </a:cubicBezTo>
                <a:lnTo>
                  <a:pt x="6804" y="377"/>
                </a:lnTo>
                <a:cubicBezTo>
                  <a:pt x="6804" y="378"/>
                  <a:pt x="6805" y="379"/>
                  <a:pt x="6806" y="379"/>
                </a:cubicBezTo>
                <a:lnTo>
                  <a:pt x="6809" y="379"/>
                </a:lnTo>
                <a:close/>
                <a:moveTo>
                  <a:pt x="6821" y="286"/>
                </a:moveTo>
                <a:cubicBezTo>
                  <a:pt x="6822" y="286"/>
                  <a:pt x="6825" y="281"/>
                  <a:pt x="6829" y="272"/>
                </a:cubicBezTo>
                <a:cubicBezTo>
                  <a:pt x="6833" y="264"/>
                  <a:pt x="6836" y="259"/>
                  <a:pt x="6837" y="259"/>
                </a:cubicBezTo>
                <a:lnTo>
                  <a:pt x="6838" y="259"/>
                </a:lnTo>
                <a:cubicBezTo>
                  <a:pt x="6839" y="259"/>
                  <a:pt x="6839" y="259"/>
                  <a:pt x="6839" y="259"/>
                </a:cubicBezTo>
                <a:lnTo>
                  <a:pt x="6838" y="255"/>
                </a:lnTo>
                <a:cubicBezTo>
                  <a:pt x="6838" y="254"/>
                  <a:pt x="6838" y="254"/>
                  <a:pt x="6838" y="254"/>
                </a:cubicBezTo>
                <a:lnTo>
                  <a:pt x="6841" y="255"/>
                </a:lnTo>
                <a:cubicBezTo>
                  <a:pt x="6841" y="255"/>
                  <a:pt x="6841" y="255"/>
                  <a:pt x="6841" y="255"/>
                </a:cubicBezTo>
                <a:lnTo>
                  <a:pt x="6840" y="250"/>
                </a:lnTo>
                <a:cubicBezTo>
                  <a:pt x="6840" y="250"/>
                  <a:pt x="6840" y="249"/>
                  <a:pt x="6841" y="249"/>
                </a:cubicBezTo>
                <a:lnTo>
                  <a:pt x="6842" y="250"/>
                </a:lnTo>
                <a:cubicBezTo>
                  <a:pt x="6845" y="250"/>
                  <a:pt x="6846" y="249"/>
                  <a:pt x="6846" y="247"/>
                </a:cubicBezTo>
                <a:lnTo>
                  <a:pt x="6846" y="247"/>
                </a:lnTo>
                <a:lnTo>
                  <a:pt x="6843" y="248"/>
                </a:lnTo>
                <a:cubicBezTo>
                  <a:pt x="6843" y="248"/>
                  <a:pt x="6842" y="248"/>
                  <a:pt x="6842" y="247"/>
                </a:cubicBezTo>
                <a:cubicBezTo>
                  <a:pt x="6842" y="247"/>
                  <a:pt x="6842" y="247"/>
                  <a:pt x="6843" y="246"/>
                </a:cubicBezTo>
                <a:cubicBezTo>
                  <a:pt x="6843" y="246"/>
                  <a:pt x="6843" y="245"/>
                  <a:pt x="6844" y="245"/>
                </a:cubicBezTo>
                <a:cubicBezTo>
                  <a:pt x="6845" y="244"/>
                  <a:pt x="6845" y="244"/>
                  <a:pt x="6845" y="244"/>
                </a:cubicBezTo>
                <a:lnTo>
                  <a:pt x="6846" y="244"/>
                </a:lnTo>
                <a:cubicBezTo>
                  <a:pt x="6847" y="244"/>
                  <a:pt x="6847" y="243"/>
                  <a:pt x="6847" y="242"/>
                </a:cubicBezTo>
                <a:lnTo>
                  <a:pt x="6847" y="239"/>
                </a:lnTo>
                <a:cubicBezTo>
                  <a:pt x="6847" y="238"/>
                  <a:pt x="6847" y="238"/>
                  <a:pt x="6849" y="238"/>
                </a:cubicBezTo>
                <a:lnTo>
                  <a:pt x="6850" y="238"/>
                </a:lnTo>
                <a:cubicBezTo>
                  <a:pt x="6851" y="238"/>
                  <a:pt x="6851" y="237"/>
                  <a:pt x="6851" y="236"/>
                </a:cubicBezTo>
                <a:lnTo>
                  <a:pt x="6851" y="234"/>
                </a:lnTo>
                <a:cubicBezTo>
                  <a:pt x="6851" y="232"/>
                  <a:pt x="6852" y="231"/>
                  <a:pt x="6853" y="231"/>
                </a:cubicBezTo>
                <a:lnTo>
                  <a:pt x="6854" y="231"/>
                </a:lnTo>
                <a:cubicBezTo>
                  <a:pt x="6855" y="231"/>
                  <a:pt x="6856" y="230"/>
                  <a:pt x="6856" y="229"/>
                </a:cubicBezTo>
                <a:lnTo>
                  <a:pt x="6856" y="227"/>
                </a:lnTo>
                <a:cubicBezTo>
                  <a:pt x="6856" y="225"/>
                  <a:pt x="6856" y="225"/>
                  <a:pt x="6856" y="225"/>
                </a:cubicBezTo>
                <a:lnTo>
                  <a:pt x="6857" y="225"/>
                </a:lnTo>
                <a:cubicBezTo>
                  <a:pt x="6858" y="225"/>
                  <a:pt x="6859" y="224"/>
                  <a:pt x="6859" y="222"/>
                </a:cubicBezTo>
                <a:lnTo>
                  <a:pt x="6859" y="221"/>
                </a:lnTo>
                <a:cubicBezTo>
                  <a:pt x="6859" y="219"/>
                  <a:pt x="6859" y="218"/>
                  <a:pt x="6860" y="218"/>
                </a:cubicBezTo>
                <a:lnTo>
                  <a:pt x="6861" y="218"/>
                </a:lnTo>
                <a:cubicBezTo>
                  <a:pt x="6862" y="218"/>
                  <a:pt x="6863" y="217"/>
                  <a:pt x="6863" y="215"/>
                </a:cubicBezTo>
                <a:lnTo>
                  <a:pt x="6863" y="214"/>
                </a:lnTo>
                <a:cubicBezTo>
                  <a:pt x="6863" y="212"/>
                  <a:pt x="6864" y="211"/>
                  <a:pt x="6866" y="211"/>
                </a:cubicBezTo>
                <a:cubicBezTo>
                  <a:pt x="6867" y="211"/>
                  <a:pt x="6869" y="209"/>
                  <a:pt x="6872" y="206"/>
                </a:cubicBezTo>
                <a:lnTo>
                  <a:pt x="6874" y="201"/>
                </a:lnTo>
                <a:lnTo>
                  <a:pt x="6874" y="201"/>
                </a:lnTo>
                <a:lnTo>
                  <a:pt x="6871" y="202"/>
                </a:lnTo>
                <a:lnTo>
                  <a:pt x="6873" y="200"/>
                </a:lnTo>
                <a:cubicBezTo>
                  <a:pt x="6874" y="199"/>
                  <a:pt x="6876" y="197"/>
                  <a:pt x="6878" y="193"/>
                </a:cubicBezTo>
                <a:cubicBezTo>
                  <a:pt x="6880" y="191"/>
                  <a:pt x="6882" y="188"/>
                  <a:pt x="6883" y="184"/>
                </a:cubicBezTo>
                <a:cubicBezTo>
                  <a:pt x="6885" y="181"/>
                  <a:pt x="6886" y="179"/>
                  <a:pt x="6886" y="179"/>
                </a:cubicBezTo>
                <a:cubicBezTo>
                  <a:pt x="6886" y="178"/>
                  <a:pt x="6885" y="178"/>
                  <a:pt x="6885" y="178"/>
                </a:cubicBezTo>
                <a:cubicBezTo>
                  <a:pt x="6884" y="178"/>
                  <a:pt x="6880" y="183"/>
                  <a:pt x="6872" y="194"/>
                </a:cubicBezTo>
                <a:cubicBezTo>
                  <a:pt x="6865" y="205"/>
                  <a:pt x="6857" y="217"/>
                  <a:pt x="6849" y="230"/>
                </a:cubicBezTo>
                <a:cubicBezTo>
                  <a:pt x="6841" y="244"/>
                  <a:pt x="6834" y="255"/>
                  <a:pt x="6829" y="266"/>
                </a:cubicBezTo>
                <a:cubicBezTo>
                  <a:pt x="6827" y="269"/>
                  <a:pt x="6826" y="271"/>
                  <a:pt x="6825" y="271"/>
                </a:cubicBezTo>
                <a:lnTo>
                  <a:pt x="6823" y="270"/>
                </a:lnTo>
                <a:cubicBezTo>
                  <a:pt x="6823" y="270"/>
                  <a:pt x="6823" y="271"/>
                  <a:pt x="6824" y="271"/>
                </a:cubicBezTo>
                <a:cubicBezTo>
                  <a:pt x="6824" y="272"/>
                  <a:pt x="6824" y="273"/>
                  <a:pt x="6824" y="274"/>
                </a:cubicBezTo>
                <a:cubicBezTo>
                  <a:pt x="6824" y="275"/>
                  <a:pt x="6823" y="277"/>
                  <a:pt x="6822" y="280"/>
                </a:cubicBezTo>
                <a:cubicBezTo>
                  <a:pt x="6822" y="283"/>
                  <a:pt x="6821" y="284"/>
                  <a:pt x="6821" y="285"/>
                </a:cubicBezTo>
                <a:lnTo>
                  <a:pt x="6821" y="286"/>
                </a:lnTo>
                <a:close/>
                <a:moveTo>
                  <a:pt x="6887" y="244"/>
                </a:moveTo>
                <a:cubicBezTo>
                  <a:pt x="6887" y="244"/>
                  <a:pt x="6888" y="243"/>
                  <a:pt x="6889" y="241"/>
                </a:cubicBezTo>
                <a:lnTo>
                  <a:pt x="6889" y="239"/>
                </a:lnTo>
                <a:cubicBezTo>
                  <a:pt x="6889" y="238"/>
                  <a:pt x="6888" y="237"/>
                  <a:pt x="6888" y="237"/>
                </a:cubicBezTo>
                <a:cubicBezTo>
                  <a:pt x="6887" y="237"/>
                  <a:pt x="6887" y="237"/>
                  <a:pt x="6886" y="238"/>
                </a:cubicBezTo>
                <a:cubicBezTo>
                  <a:pt x="6886" y="239"/>
                  <a:pt x="6886" y="240"/>
                  <a:pt x="6886" y="241"/>
                </a:cubicBezTo>
                <a:cubicBezTo>
                  <a:pt x="6886" y="243"/>
                  <a:pt x="6886" y="244"/>
                  <a:pt x="6887" y="244"/>
                </a:cubicBezTo>
                <a:close/>
                <a:moveTo>
                  <a:pt x="6887" y="751"/>
                </a:moveTo>
                <a:cubicBezTo>
                  <a:pt x="6886" y="751"/>
                  <a:pt x="6886" y="750"/>
                  <a:pt x="6886" y="750"/>
                </a:cubicBezTo>
                <a:cubicBezTo>
                  <a:pt x="6886" y="750"/>
                  <a:pt x="6887" y="749"/>
                  <a:pt x="6889" y="746"/>
                </a:cubicBezTo>
                <a:cubicBezTo>
                  <a:pt x="6901" y="735"/>
                  <a:pt x="6908" y="729"/>
                  <a:pt x="6909" y="729"/>
                </a:cubicBezTo>
                <a:lnTo>
                  <a:pt x="6909" y="729"/>
                </a:lnTo>
                <a:lnTo>
                  <a:pt x="6908" y="732"/>
                </a:lnTo>
                <a:cubicBezTo>
                  <a:pt x="6906" y="736"/>
                  <a:pt x="6904" y="739"/>
                  <a:pt x="6903" y="739"/>
                </a:cubicBezTo>
                <a:cubicBezTo>
                  <a:pt x="6901" y="739"/>
                  <a:pt x="6901" y="739"/>
                  <a:pt x="6900" y="741"/>
                </a:cubicBezTo>
                <a:cubicBezTo>
                  <a:pt x="6900" y="742"/>
                  <a:pt x="6899" y="743"/>
                  <a:pt x="6897" y="745"/>
                </a:cubicBezTo>
                <a:cubicBezTo>
                  <a:pt x="6893" y="749"/>
                  <a:pt x="6889" y="751"/>
                  <a:pt x="6887" y="751"/>
                </a:cubicBezTo>
                <a:close/>
                <a:moveTo>
                  <a:pt x="6890" y="749"/>
                </a:moveTo>
                <a:cubicBezTo>
                  <a:pt x="6891" y="749"/>
                  <a:pt x="6893" y="747"/>
                  <a:pt x="6895" y="745"/>
                </a:cubicBezTo>
                <a:lnTo>
                  <a:pt x="6897" y="742"/>
                </a:lnTo>
                <a:lnTo>
                  <a:pt x="6896" y="742"/>
                </a:lnTo>
                <a:lnTo>
                  <a:pt x="6894" y="744"/>
                </a:lnTo>
                <a:cubicBezTo>
                  <a:pt x="6891" y="746"/>
                  <a:pt x="6890" y="747"/>
                  <a:pt x="6890" y="748"/>
                </a:cubicBezTo>
                <a:cubicBezTo>
                  <a:pt x="6890" y="748"/>
                  <a:pt x="6890" y="749"/>
                  <a:pt x="6890" y="749"/>
                </a:cubicBezTo>
                <a:close/>
                <a:moveTo>
                  <a:pt x="6621" y="667"/>
                </a:moveTo>
                <a:cubicBezTo>
                  <a:pt x="6621" y="667"/>
                  <a:pt x="6620" y="667"/>
                  <a:pt x="6620" y="665"/>
                </a:cubicBezTo>
                <a:lnTo>
                  <a:pt x="6619" y="663"/>
                </a:lnTo>
                <a:cubicBezTo>
                  <a:pt x="6619" y="662"/>
                  <a:pt x="6619" y="661"/>
                  <a:pt x="6620" y="660"/>
                </a:cubicBezTo>
                <a:cubicBezTo>
                  <a:pt x="6621" y="660"/>
                  <a:pt x="6621" y="660"/>
                  <a:pt x="6622" y="660"/>
                </a:cubicBezTo>
                <a:cubicBezTo>
                  <a:pt x="6623" y="660"/>
                  <a:pt x="6624" y="661"/>
                  <a:pt x="6624" y="663"/>
                </a:cubicBezTo>
                <a:cubicBezTo>
                  <a:pt x="6624" y="664"/>
                  <a:pt x="6623" y="665"/>
                  <a:pt x="6623" y="666"/>
                </a:cubicBezTo>
                <a:cubicBezTo>
                  <a:pt x="6622" y="667"/>
                  <a:pt x="6621" y="667"/>
                  <a:pt x="6621" y="667"/>
                </a:cubicBezTo>
                <a:close/>
                <a:moveTo>
                  <a:pt x="6622" y="657"/>
                </a:moveTo>
                <a:lnTo>
                  <a:pt x="6619" y="655"/>
                </a:lnTo>
                <a:cubicBezTo>
                  <a:pt x="6618" y="654"/>
                  <a:pt x="6617" y="654"/>
                  <a:pt x="6617" y="653"/>
                </a:cubicBezTo>
                <a:cubicBezTo>
                  <a:pt x="6617" y="652"/>
                  <a:pt x="6618" y="652"/>
                  <a:pt x="6619" y="651"/>
                </a:cubicBezTo>
                <a:cubicBezTo>
                  <a:pt x="6622" y="648"/>
                  <a:pt x="6624" y="647"/>
                  <a:pt x="6625" y="647"/>
                </a:cubicBezTo>
                <a:cubicBezTo>
                  <a:pt x="6626" y="647"/>
                  <a:pt x="6626" y="647"/>
                  <a:pt x="6626" y="649"/>
                </a:cubicBezTo>
                <a:cubicBezTo>
                  <a:pt x="6626" y="651"/>
                  <a:pt x="6626" y="652"/>
                  <a:pt x="6624" y="652"/>
                </a:cubicBezTo>
                <a:lnTo>
                  <a:pt x="6624" y="652"/>
                </a:lnTo>
                <a:cubicBezTo>
                  <a:pt x="6623" y="652"/>
                  <a:pt x="6622" y="652"/>
                  <a:pt x="6622" y="654"/>
                </a:cubicBezTo>
                <a:lnTo>
                  <a:pt x="6622" y="656"/>
                </a:lnTo>
                <a:cubicBezTo>
                  <a:pt x="6622" y="656"/>
                  <a:pt x="6622" y="657"/>
                  <a:pt x="6622" y="657"/>
                </a:cubicBezTo>
                <a:close/>
                <a:moveTo>
                  <a:pt x="6847" y="781"/>
                </a:moveTo>
                <a:cubicBezTo>
                  <a:pt x="6847" y="781"/>
                  <a:pt x="6846" y="780"/>
                  <a:pt x="6846" y="779"/>
                </a:cubicBezTo>
                <a:cubicBezTo>
                  <a:pt x="6846" y="778"/>
                  <a:pt x="6847" y="778"/>
                  <a:pt x="6848" y="777"/>
                </a:cubicBezTo>
                <a:cubicBezTo>
                  <a:pt x="6849" y="776"/>
                  <a:pt x="6850" y="775"/>
                  <a:pt x="6852" y="774"/>
                </a:cubicBezTo>
                <a:cubicBezTo>
                  <a:pt x="6854" y="773"/>
                  <a:pt x="6855" y="772"/>
                  <a:pt x="6855" y="772"/>
                </a:cubicBezTo>
                <a:lnTo>
                  <a:pt x="6856" y="772"/>
                </a:lnTo>
                <a:cubicBezTo>
                  <a:pt x="6856" y="772"/>
                  <a:pt x="6854" y="774"/>
                  <a:pt x="6852" y="777"/>
                </a:cubicBezTo>
                <a:cubicBezTo>
                  <a:pt x="6849" y="779"/>
                  <a:pt x="6848" y="781"/>
                  <a:pt x="6847" y="781"/>
                </a:cubicBezTo>
                <a:close/>
                <a:moveTo>
                  <a:pt x="6780" y="819"/>
                </a:moveTo>
                <a:cubicBezTo>
                  <a:pt x="6769" y="819"/>
                  <a:pt x="6757" y="818"/>
                  <a:pt x="6745" y="814"/>
                </a:cubicBezTo>
                <a:cubicBezTo>
                  <a:pt x="6734" y="811"/>
                  <a:pt x="6726" y="808"/>
                  <a:pt x="6722" y="805"/>
                </a:cubicBezTo>
                <a:cubicBezTo>
                  <a:pt x="6720" y="804"/>
                  <a:pt x="6717" y="801"/>
                  <a:pt x="6714" y="797"/>
                </a:cubicBezTo>
                <a:cubicBezTo>
                  <a:pt x="6707" y="787"/>
                  <a:pt x="6703" y="780"/>
                  <a:pt x="6703" y="776"/>
                </a:cubicBezTo>
                <a:cubicBezTo>
                  <a:pt x="6703" y="773"/>
                  <a:pt x="6703" y="772"/>
                  <a:pt x="6701" y="772"/>
                </a:cubicBezTo>
                <a:cubicBezTo>
                  <a:pt x="6700" y="771"/>
                  <a:pt x="6699" y="769"/>
                  <a:pt x="6698" y="767"/>
                </a:cubicBezTo>
                <a:cubicBezTo>
                  <a:pt x="6698" y="764"/>
                  <a:pt x="6697" y="763"/>
                  <a:pt x="6696" y="761"/>
                </a:cubicBezTo>
                <a:cubicBezTo>
                  <a:pt x="6694" y="758"/>
                  <a:pt x="6693" y="750"/>
                  <a:pt x="6692" y="739"/>
                </a:cubicBezTo>
                <a:cubicBezTo>
                  <a:pt x="6690" y="727"/>
                  <a:pt x="6690" y="715"/>
                  <a:pt x="6690" y="704"/>
                </a:cubicBezTo>
                <a:cubicBezTo>
                  <a:pt x="6690" y="683"/>
                  <a:pt x="6691" y="662"/>
                  <a:pt x="6693" y="644"/>
                </a:cubicBezTo>
                <a:cubicBezTo>
                  <a:pt x="6695" y="625"/>
                  <a:pt x="6699" y="603"/>
                  <a:pt x="6704" y="575"/>
                </a:cubicBezTo>
                <a:cubicBezTo>
                  <a:pt x="6708" y="556"/>
                  <a:pt x="6712" y="546"/>
                  <a:pt x="6715" y="546"/>
                </a:cubicBezTo>
                <a:lnTo>
                  <a:pt x="6717" y="546"/>
                </a:lnTo>
                <a:cubicBezTo>
                  <a:pt x="6717" y="546"/>
                  <a:pt x="6718" y="546"/>
                  <a:pt x="6718" y="546"/>
                </a:cubicBezTo>
                <a:lnTo>
                  <a:pt x="6717" y="544"/>
                </a:lnTo>
                <a:cubicBezTo>
                  <a:pt x="6717" y="541"/>
                  <a:pt x="6718" y="539"/>
                  <a:pt x="6719" y="537"/>
                </a:cubicBezTo>
                <a:lnTo>
                  <a:pt x="6722" y="535"/>
                </a:lnTo>
                <a:cubicBezTo>
                  <a:pt x="6722" y="536"/>
                  <a:pt x="6722" y="537"/>
                  <a:pt x="6721" y="539"/>
                </a:cubicBezTo>
                <a:cubicBezTo>
                  <a:pt x="6720" y="541"/>
                  <a:pt x="6720" y="543"/>
                  <a:pt x="6720" y="546"/>
                </a:cubicBezTo>
                <a:cubicBezTo>
                  <a:pt x="6720" y="549"/>
                  <a:pt x="6719" y="551"/>
                  <a:pt x="6718" y="551"/>
                </a:cubicBezTo>
                <a:cubicBezTo>
                  <a:pt x="6717" y="552"/>
                  <a:pt x="6717" y="552"/>
                  <a:pt x="6717" y="552"/>
                </a:cubicBezTo>
                <a:cubicBezTo>
                  <a:pt x="6717" y="553"/>
                  <a:pt x="6717" y="554"/>
                  <a:pt x="6718" y="555"/>
                </a:cubicBezTo>
                <a:cubicBezTo>
                  <a:pt x="6719" y="556"/>
                  <a:pt x="6720" y="557"/>
                  <a:pt x="6720" y="558"/>
                </a:cubicBezTo>
                <a:cubicBezTo>
                  <a:pt x="6720" y="558"/>
                  <a:pt x="6719" y="559"/>
                  <a:pt x="6718" y="560"/>
                </a:cubicBezTo>
                <a:cubicBezTo>
                  <a:pt x="6716" y="561"/>
                  <a:pt x="6715" y="561"/>
                  <a:pt x="6715" y="562"/>
                </a:cubicBezTo>
                <a:cubicBezTo>
                  <a:pt x="6715" y="563"/>
                  <a:pt x="6715" y="563"/>
                  <a:pt x="6716" y="564"/>
                </a:cubicBezTo>
                <a:cubicBezTo>
                  <a:pt x="6717" y="565"/>
                  <a:pt x="6717" y="568"/>
                  <a:pt x="6717" y="571"/>
                </a:cubicBezTo>
                <a:lnTo>
                  <a:pt x="6716" y="577"/>
                </a:lnTo>
                <a:cubicBezTo>
                  <a:pt x="6715" y="584"/>
                  <a:pt x="6714" y="591"/>
                  <a:pt x="6713" y="600"/>
                </a:cubicBezTo>
                <a:cubicBezTo>
                  <a:pt x="6712" y="603"/>
                  <a:pt x="6711" y="613"/>
                  <a:pt x="6709" y="630"/>
                </a:cubicBezTo>
                <a:cubicBezTo>
                  <a:pt x="6709" y="636"/>
                  <a:pt x="6709" y="642"/>
                  <a:pt x="6708" y="648"/>
                </a:cubicBezTo>
                <a:cubicBezTo>
                  <a:pt x="6707" y="653"/>
                  <a:pt x="6707" y="658"/>
                  <a:pt x="6707" y="661"/>
                </a:cubicBezTo>
                <a:cubicBezTo>
                  <a:pt x="6705" y="666"/>
                  <a:pt x="6704" y="679"/>
                  <a:pt x="6704" y="701"/>
                </a:cubicBezTo>
                <a:cubicBezTo>
                  <a:pt x="6704" y="718"/>
                  <a:pt x="6705" y="733"/>
                  <a:pt x="6707" y="747"/>
                </a:cubicBezTo>
                <a:cubicBezTo>
                  <a:pt x="6710" y="776"/>
                  <a:pt x="6716" y="790"/>
                  <a:pt x="6724" y="790"/>
                </a:cubicBezTo>
                <a:cubicBezTo>
                  <a:pt x="6725" y="790"/>
                  <a:pt x="6726" y="791"/>
                  <a:pt x="6726" y="791"/>
                </a:cubicBezTo>
                <a:lnTo>
                  <a:pt x="6726" y="794"/>
                </a:lnTo>
                <a:cubicBezTo>
                  <a:pt x="6726" y="795"/>
                  <a:pt x="6727" y="797"/>
                  <a:pt x="6730" y="800"/>
                </a:cubicBezTo>
                <a:cubicBezTo>
                  <a:pt x="6732" y="802"/>
                  <a:pt x="6734" y="803"/>
                  <a:pt x="6735" y="803"/>
                </a:cubicBezTo>
                <a:cubicBezTo>
                  <a:pt x="6735" y="803"/>
                  <a:pt x="6735" y="803"/>
                  <a:pt x="6735" y="802"/>
                </a:cubicBezTo>
                <a:cubicBezTo>
                  <a:pt x="6735" y="800"/>
                  <a:pt x="6734" y="797"/>
                  <a:pt x="6731" y="792"/>
                </a:cubicBezTo>
                <a:cubicBezTo>
                  <a:pt x="6728" y="784"/>
                  <a:pt x="6725" y="773"/>
                  <a:pt x="6723" y="759"/>
                </a:cubicBezTo>
                <a:cubicBezTo>
                  <a:pt x="6721" y="745"/>
                  <a:pt x="6720" y="731"/>
                  <a:pt x="6720" y="719"/>
                </a:cubicBezTo>
                <a:cubicBezTo>
                  <a:pt x="6720" y="708"/>
                  <a:pt x="6721" y="700"/>
                  <a:pt x="6723" y="696"/>
                </a:cubicBezTo>
                <a:lnTo>
                  <a:pt x="6724" y="694"/>
                </a:lnTo>
                <a:lnTo>
                  <a:pt x="6723" y="695"/>
                </a:lnTo>
                <a:cubicBezTo>
                  <a:pt x="6722" y="695"/>
                  <a:pt x="6721" y="694"/>
                  <a:pt x="6721" y="692"/>
                </a:cubicBezTo>
                <a:cubicBezTo>
                  <a:pt x="6721" y="688"/>
                  <a:pt x="6722" y="686"/>
                  <a:pt x="6724" y="684"/>
                </a:cubicBezTo>
                <a:cubicBezTo>
                  <a:pt x="6726" y="683"/>
                  <a:pt x="6727" y="681"/>
                  <a:pt x="6727" y="678"/>
                </a:cubicBezTo>
                <a:cubicBezTo>
                  <a:pt x="6727" y="676"/>
                  <a:pt x="6727" y="676"/>
                  <a:pt x="6727" y="676"/>
                </a:cubicBezTo>
                <a:cubicBezTo>
                  <a:pt x="6726" y="676"/>
                  <a:pt x="6726" y="676"/>
                  <a:pt x="6725" y="677"/>
                </a:cubicBezTo>
                <a:cubicBezTo>
                  <a:pt x="6724" y="679"/>
                  <a:pt x="6723" y="679"/>
                  <a:pt x="6723" y="679"/>
                </a:cubicBezTo>
                <a:cubicBezTo>
                  <a:pt x="6723" y="679"/>
                  <a:pt x="6723" y="679"/>
                  <a:pt x="6723" y="676"/>
                </a:cubicBezTo>
                <a:cubicBezTo>
                  <a:pt x="6723" y="675"/>
                  <a:pt x="6723" y="674"/>
                  <a:pt x="6724" y="672"/>
                </a:cubicBezTo>
                <a:cubicBezTo>
                  <a:pt x="6724" y="670"/>
                  <a:pt x="6725" y="669"/>
                  <a:pt x="6726" y="667"/>
                </a:cubicBezTo>
                <a:cubicBezTo>
                  <a:pt x="6727" y="666"/>
                  <a:pt x="6728" y="665"/>
                  <a:pt x="6728" y="665"/>
                </a:cubicBezTo>
                <a:cubicBezTo>
                  <a:pt x="6729" y="665"/>
                  <a:pt x="6729" y="666"/>
                  <a:pt x="6729" y="668"/>
                </a:cubicBezTo>
                <a:cubicBezTo>
                  <a:pt x="6729" y="677"/>
                  <a:pt x="6729" y="682"/>
                  <a:pt x="6728" y="683"/>
                </a:cubicBezTo>
                <a:cubicBezTo>
                  <a:pt x="6727" y="683"/>
                  <a:pt x="6727" y="688"/>
                  <a:pt x="6727" y="695"/>
                </a:cubicBezTo>
                <a:lnTo>
                  <a:pt x="6727" y="710"/>
                </a:lnTo>
                <a:cubicBezTo>
                  <a:pt x="6727" y="718"/>
                  <a:pt x="6726" y="721"/>
                  <a:pt x="6726" y="721"/>
                </a:cubicBezTo>
                <a:cubicBezTo>
                  <a:pt x="6725" y="721"/>
                  <a:pt x="6724" y="722"/>
                  <a:pt x="6724" y="723"/>
                </a:cubicBezTo>
                <a:cubicBezTo>
                  <a:pt x="6723" y="724"/>
                  <a:pt x="6723" y="725"/>
                  <a:pt x="6723" y="727"/>
                </a:cubicBezTo>
                <a:cubicBezTo>
                  <a:pt x="6723" y="728"/>
                  <a:pt x="6723" y="729"/>
                  <a:pt x="6724" y="730"/>
                </a:cubicBezTo>
                <a:cubicBezTo>
                  <a:pt x="6724" y="730"/>
                  <a:pt x="6725" y="731"/>
                  <a:pt x="6726" y="732"/>
                </a:cubicBezTo>
                <a:lnTo>
                  <a:pt x="6726" y="732"/>
                </a:lnTo>
                <a:cubicBezTo>
                  <a:pt x="6727" y="732"/>
                  <a:pt x="6728" y="734"/>
                  <a:pt x="6728" y="737"/>
                </a:cubicBezTo>
                <a:cubicBezTo>
                  <a:pt x="6728" y="739"/>
                  <a:pt x="6728" y="741"/>
                  <a:pt x="6727" y="742"/>
                </a:cubicBezTo>
                <a:cubicBezTo>
                  <a:pt x="6727" y="744"/>
                  <a:pt x="6726" y="744"/>
                  <a:pt x="6725" y="744"/>
                </a:cubicBezTo>
                <a:cubicBezTo>
                  <a:pt x="6724" y="744"/>
                  <a:pt x="6724" y="745"/>
                  <a:pt x="6724" y="747"/>
                </a:cubicBezTo>
                <a:cubicBezTo>
                  <a:pt x="6724" y="748"/>
                  <a:pt x="6724" y="750"/>
                  <a:pt x="6725" y="752"/>
                </a:cubicBezTo>
                <a:cubicBezTo>
                  <a:pt x="6725" y="754"/>
                  <a:pt x="6726" y="755"/>
                  <a:pt x="6726" y="757"/>
                </a:cubicBezTo>
                <a:lnTo>
                  <a:pt x="6725" y="758"/>
                </a:lnTo>
                <a:cubicBezTo>
                  <a:pt x="6725" y="759"/>
                  <a:pt x="6725" y="759"/>
                  <a:pt x="6727" y="760"/>
                </a:cubicBezTo>
                <a:cubicBezTo>
                  <a:pt x="6728" y="761"/>
                  <a:pt x="6729" y="762"/>
                  <a:pt x="6729" y="762"/>
                </a:cubicBezTo>
                <a:cubicBezTo>
                  <a:pt x="6729" y="762"/>
                  <a:pt x="6728" y="762"/>
                  <a:pt x="6727" y="762"/>
                </a:cubicBezTo>
                <a:cubicBezTo>
                  <a:pt x="6726" y="762"/>
                  <a:pt x="6726" y="763"/>
                  <a:pt x="6726" y="763"/>
                </a:cubicBezTo>
                <a:cubicBezTo>
                  <a:pt x="6726" y="764"/>
                  <a:pt x="6726" y="766"/>
                  <a:pt x="6727" y="767"/>
                </a:cubicBezTo>
                <a:cubicBezTo>
                  <a:pt x="6729" y="771"/>
                  <a:pt x="6730" y="774"/>
                  <a:pt x="6730" y="777"/>
                </a:cubicBezTo>
                <a:cubicBezTo>
                  <a:pt x="6730" y="779"/>
                  <a:pt x="6730" y="780"/>
                  <a:pt x="6730" y="780"/>
                </a:cubicBezTo>
                <a:lnTo>
                  <a:pt x="6732" y="779"/>
                </a:lnTo>
                <a:cubicBezTo>
                  <a:pt x="6733" y="779"/>
                  <a:pt x="6733" y="779"/>
                  <a:pt x="6733" y="780"/>
                </a:cubicBezTo>
                <a:lnTo>
                  <a:pt x="6732" y="785"/>
                </a:lnTo>
                <a:cubicBezTo>
                  <a:pt x="6732" y="786"/>
                  <a:pt x="6732" y="787"/>
                  <a:pt x="6733" y="787"/>
                </a:cubicBezTo>
                <a:cubicBezTo>
                  <a:pt x="6733" y="787"/>
                  <a:pt x="6734" y="786"/>
                  <a:pt x="6735" y="786"/>
                </a:cubicBezTo>
                <a:cubicBezTo>
                  <a:pt x="6736" y="785"/>
                  <a:pt x="6737" y="785"/>
                  <a:pt x="6738" y="785"/>
                </a:cubicBezTo>
                <a:lnTo>
                  <a:pt x="6738" y="786"/>
                </a:lnTo>
                <a:cubicBezTo>
                  <a:pt x="6738" y="786"/>
                  <a:pt x="6737" y="787"/>
                  <a:pt x="6736" y="788"/>
                </a:cubicBezTo>
                <a:cubicBezTo>
                  <a:pt x="6735" y="790"/>
                  <a:pt x="6735" y="791"/>
                  <a:pt x="6735" y="791"/>
                </a:cubicBezTo>
                <a:cubicBezTo>
                  <a:pt x="6735" y="792"/>
                  <a:pt x="6736" y="793"/>
                  <a:pt x="6738" y="794"/>
                </a:cubicBezTo>
                <a:cubicBezTo>
                  <a:pt x="6740" y="794"/>
                  <a:pt x="6742" y="795"/>
                  <a:pt x="6742" y="796"/>
                </a:cubicBezTo>
                <a:lnTo>
                  <a:pt x="6741" y="797"/>
                </a:lnTo>
                <a:cubicBezTo>
                  <a:pt x="6741" y="797"/>
                  <a:pt x="6740" y="798"/>
                  <a:pt x="6740" y="799"/>
                </a:cubicBezTo>
                <a:cubicBezTo>
                  <a:pt x="6740" y="800"/>
                  <a:pt x="6742" y="802"/>
                  <a:pt x="6745" y="803"/>
                </a:cubicBezTo>
                <a:cubicBezTo>
                  <a:pt x="6748" y="804"/>
                  <a:pt x="6751" y="804"/>
                  <a:pt x="6755" y="804"/>
                </a:cubicBezTo>
                <a:cubicBezTo>
                  <a:pt x="6760" y="804"/>
                  <a:pt x="6765" y="804"/>
                  <a:pt x="6769" y="803"/>
                </a:cubicBezTo>
                <a:cubicBezTo>
                  <a:pt x="6781" y="800"/>
                  <a:pt x="6791" y="796"/>
                  <a:pt x="6799" y="792"/>
                </a:cubicBezTo>
                <a:cubicBezTo>
                  <a:pt x="6808" y="788"/>
                  <a:pt x="6813" y="786"/>
                  <a:pt x="6815" y="786"/>
                </a:cubicBezTo>
                <a:cubicBezTo>
                  <a:pt x="6816" y="786"/>
                  <a:pt x="6816" y="785"/>
                  <a:pt x="6817" y="785"/>
                </a:cubicBezTo>
                <a:cubicBezTo>
                  <a:pt x="6818" y="784"/>
                  <a:pt x="6818" y="784"/>
                  <a:pt x="6818" y="784"/>
                </a:cubicBezTo>
                <a:cubicBezTo>
                  <a:pt x="6818" y="783"/>
                  <a:pt x="6819" y="782"/>
                  <a:pt x="6820" y="781"/>
                </a:cubicBezTo>
                <a:cubicBezTo>
                  <a:pt x="6822" y="780"/>
                  <a:pt x="6825" y="779"/>
                  <a:pt x="6827" y="779"/>
                </a:cubicBezTo>
                <a:cubicBezTo>
                  <a:pt x="6827" y="779"/>
                  <a:pt x="6828" y="780"/>
                  <a:pt x="6828" y="780"/>
                </a:cubicBezTo>
                <a:cubicBezTo>
                  <a:pt x="6828" y="780"/>
                  <a:pt x="6827" y="782"/>
                  <a:pt x="6824" y="785"/>
                </a:cubicBezTo>
                <a:cubicBezTo>
                  <a:pt x="6823" y="786"/>
                  <a:pt x="6822" y="788"/>
                  <a:pt x="6820" y="789"/>
                </a:cubicBezTo>
                <a:cubicBezTo>
                  <a:pt x="6818" y="790"/>
                  <a:pt x="6817" y="790"/>
                  <a:pt x="6816" y="790"/>
                </a:cubicBezTo>
                <a:cubicBezTo>
                  <a:pt x="6814" y="790"/>
                  <a:pt x="6812" y="791"/>
                  <a:pt x="6812" y="793"/>
                </a:cubicBezTo>
                <a:cubicBezTo>
                  <a:pt x="6812" y="794"/>
                  <a:pt x="6802" y="799"/>
                  <a:pt x="6781" y="807"/>
                </a:cubicBezTo>
                <a:lnTo>
                  <a:pt x="6778" y="808"/>
                </a:lnTo>
                <a:cubicBezTo>
                  <a:pt x="6778" y="809"/>
                  <a:pt x="6777" y="809"/>
                  <a:pt x="6776" y="809"/>
                </a:cubicBezTo>
                <a:cubicBezTo>
                  <a:pt x="6775" y="810"/>
                  <a:pt x="6774" y="810"/>
                  <a:pt x="6773" y="811"/>
                </a:cubicBezTo>
                <a:cubicBezTo>
                  <a:pt x="6772" y="811"/>
                  <a:pt x="6771" y="811"/>
                  <a:pt x="6771" y="811"/>
                </a:cubicBezTo>
                <a:cubicBezTo>
                  <a:pt x="6770" y="811"/>
                  <a:pt x="6770" y="812"/>
                  <a:pt x="6770" y="812"/>
                </a:cubicBezTo>
                <a:cubicBezTo>
                  <a:pt x="6770" y="812"/>
                  <a:pt x="6771" y="813"/>
                  <a:pt x="6773" y="813"/>
                </a:cubicBezTo>
                <a:cubicBezTo>
                  <a:pt x="6777" y="813"/>
                  <a:pt x="6779" y="814"/>
                  <a:pt x="6780" y="815"/>
                </a:cubicBezTo>
                <a:cubicBezTo>
                  <a:pt x="6781" y="817"/>
                  <a:pt x="6782" y="818"/>
                  <a:pt x="6784" y="818"/>
                </a:cubicBezTo>
                <a:cubicBezTo>
                  <a:pt x="6785" y="818"/>
                  <a:pt x="6785" y="817"/>
                  <a:pt x="6785" y="817"/>
                </a:cubicBezTo>
                <a:cubicBezTo>
                  <a:pt x="6785" y="817"/>
                  <a:pt x="6784" y="816"/>
                  <a:pt x="6783" y="815"/>
                </a:cubicBezTo>
                <a:cubicBezTo>
                  <a:pt x="6781" y="813"/>
                  <a:pt x="6779" y="812"/>
                  <a:pt x="6779" y="811"/>
                </a:cubicBezTo>
                <a:cubicBezTo>
                  <a:pt x="6779" y="809"/>
                  <a:pt x="6784" y="808"/>
                  <a:pt x="6795" y="807"/>
                </a:cubicBezTo>
                <a:cubicBezTo>
                  <a:pt x="6797" y="807"/>
                  <a:pt x="6799" y="807"/>
                  <a:pt x="6799" y="806"/>
                </a:cubicBezTo>
                <a:cubicBezTo>
                  <a:pt x="6799" y="804"/>
                  <a:pt x="6799" y="804"/>
                  <a:pt x="6801" y="804"/>
                </a:cubicBezTo>
                <a:cubicBezTo>
                  <a:pt x="6802" y="804"/>
                  <a:pt x="6802" y="804"/>
                  <a:pt x="6802" y="805"/>
                </a:cubicBezTo>
                <a:lnTo>
                  <a:pt x="6801" y="807"/>
                </a:lnTo>
                <a:cubicBezTo>
                  <a:pt x="6801" y="810"/>
                  <a:pt x="6802" y="812"/>
                  <a:pt x="6803" y="813"/>
                </a:cubicBezTo>
                <a:cubicBezTo>
                  <a:pt x="6804" y="813"/>
                  <a:pt x="6804" y="814"/>
                  <a:pt x="6804" y="814"/>
                </a:cubicBezTo>
                <a:cubicBezTo>
                  <a:pt x="6804" y="815"/>
                  <a:pt x="6802" y="816"/>
                  <a:pt x="6797" y="816"/>
                </a:cubicBezTo>
                <a:lnTo>
                  <a:pt x="6792" y="816"/>
                </a:lnTo>
                <a:cubicBezTo>
                  <a:pt x="6789" y="816"/>
                  <a:pt x="6788" y="816"/>
                  <a:pt x="6788" y="818"/>
                </a:cubicBezTo>
                <a:cubicBezTo>
                  <a:pt x="6788" y="819"/>
                  <a:pt x="6785" y="819"/>
                  <a:pt x="6780" y="819"/>
                </a:cubicBezTo>
                <a:close/>
                <a:moveTo>
                  <a:pt x="6695" y="723"/>
                </a:moveTo>
                <a:lnTo>
                  <a:pt x="6696" y="722"/>
                </a:lnTo>
                <a:lnTo>
                  <a:pt x="6697" y="719"/>
                </a:lnTo>
                <a:lnTo>
                  <a:pt x="6696" y="716"/>
                </a:lnTo>
                <a:lnTo>
                  <a:pt x="6695" y="715"/>
                </a:lnTo>
                <a:cubicBezTo>
                  <a:pt x="6695" y="715"/>
                  <a:pt x="6695" y="717"/>
                  <a:pt x="6695" y="719"/>
                </a:cubicBezTo>
                <a:cubicBezTo>
                  <a:pt x="6695" y="721"/>
                  <a:pt x="6695" y="723"/>
                  <a:pt x="6695" y="723"/>
                </a:cubicBezTo>
                <a:close/>
                <a:moveTo>
                  <a:pt x="6832" y="781"/>
                </a:moveTo>
                <a:cubicBezTo>
                  <a:pt x="6831" y="781"/>
                  <a:pt x="6831" y="780"/>
                  <a:pt x="6831" y="779"/>
                </a:cubicBezTo>
                <a:cubicBezTo>
                  <a:pt x="6831" y="777"/>
                  <a:pt x="6832" y="776"/>
                  <a:pt x="6833" y="776"/>
                </a:cubicBezTo>
                <a:cubicBezTo>
                  <a:pt x="6834" y="776"/>
                  <a:pt x="6835" y="776"/>
                  <a:pt x="6835" y="777"/>
                </a:cubicBezTo>
                <a:cubicBezTo>
                  <a:pt x="6835" y="777"/>
                  <a:pt x="6835" y="778"/>
                  <a:pt x="6834" y="779"/>
                </a:cubicBezTo>
                <a:cubicBezTo>
                  <a:pt x="6834" y="780"/>
                  <a:pt x="6833" y="781"/>
                  <a:pt x="6832" y="781"/>
                </a:cubicBezTo>
                <a:close/>
                <a:moveTo>
                  <a:pt x="6836" y="788"/>
                </a:moveTo>
                <a:lnTo>
                  <a:pt x="6837" y="785"/>
                </a:lnTo>
                <a:cubicBezTo>
                  <a:pt x="6837" y="783"/>
                  <a:pt x="6838" y="782"/>
                  <a:pt x="6839" y="781"/>
                </a:cubicBezTo>
                <a:cubicBezTo>
                  <a:pt x="6839" y="781"/>
                  <a:pt x="6840" y="782"/>
                  <a:pt x="6840" y="783"/>
                </a:cubicBezTo>
                <a:cubicBezTo>
                  <a:pt x="6840" y="784"/>
                  <a:pt x="6839" y="785"/>
                  <a:pt x="6838" y="786"/>
                </a:cubicBezTo>
                <a:cubicBezTo>
                  <a:pt x="6837" y="787"/>
                  <a:pt x="6837" y="788"/>
                  <a:pt x="6836" y="788"/>
                </a:cubicBezTo>
                <a:close/>
                <a:moveTo>
                  <a:pt x="6732" y="732"/>
                </a:moveTo>
                <a:cubicBezTo>
                  <a:pt x="6732" y="732"/>
                  <a:pt x="6732" y="731"/>
                  <a:pt x="6732" y="728"/>
                </a:cubicBezTo>
                <a:cubicBezTo>
                  <a:pt x="6732" y="726"/>
                  <a:pt x="6732" y="723"/>
                  <a:pt x="6731" y="718"/>
                </a:cubicBezTo>
                <a:cubicBezTo>
                  <a:pt x="6731" y="714"/>
                  <a:pt x="6731" y="710"/>
                  <a:pt x="6731" y="705"/>
                </a:cubicBezTo>
                <a:cubicBezTo>
                  <a:pt x="6730" y="701"/>
                  <a:pt x="6730" y="698"/>
                  <a:pt x="6730" y="695"/>
                </a:cubicBezTo>
                <a:lnTo>
                  <a:pt x="6730" y="693"/>
                </a:lnTo>
                <a:cubicBezTo>
                  <a:pt x="6730" y="688"/>
                  <a:pt x="6731" y="686"/>
                  <a:pt x="6732" y="686"/>
                </a:cubicBezTo>
                <a:cubicBezTo>
                  <a:pt x="6733" y="686"/>
                  <a:pt x="6733" y="694"/>
                  <a:pt x="6733" y="710"/>
                </a:cubicBezTo>
                <a:cubicBezTo>
                  <a:pt x="6733" y="725"/>
                  <a:pt x="6733" y="732"/>
                  <a:pt x="6732" y="732"/>
                </a:cubicBezTo>
                <a:close/>
                <a:moveTo>
                  <a:pt x="7145" y="692"/>
                </a:moveTo>
                <a:cubicBezTo>
                  <a:pt x="7145" y="692"/>
                  <a:pt x="7145" y="691"/>
                  <a:pt x="7145" y="691"/>
                </a:cubicBezTo>
                <a:cubicBezTo>
                  <a:pt x="7145" y="690"/>
                  <a:pt x="7146" y="688"/>
                  <a:pt x="7148" y="687"/>
                </a:cubicBezTo>
                <a:lnTo>
                  <a:pt x="7151" y="685"/>
                </a:lnTo>
                <a:cubicBezTo>
                  <a:pt x="7151" y="685"/>
                  <a:pt x="7150" y="686"/>
                  <a:pt x="7149" y="688"/>
                </a:cubicBezTo>
                <a:cubicBezTo>
                  <a:pt x="7147" y="691"/>
                  <a:pt x="7146" y="692"/>
                  <a:pt x="7145" y="692"/>
                </a:cubicBezTo>
                <a:close/>
                <a:moveTo>
                  <a:pt x="7145" y="691"/>
                </a:moveTo>
                <a:close/>
                <a:moveTo>
                  <a:pt x="7153" y="694"/>
                </a:moveTo>
                <a:cubicBezTo>
                  <a:pt x="7152" y="694"/>
                  <a:pt x="7152" y="693"/>
                  <a:pt x="7152" y="693"/>
                </a:cubicBezTo>
                <a:lnTo>
                  <a:pt x="7152" y="692"/>
                </a:lnTo>
                <a:cubicBezTo>
                  <a:pt x="7153" y="690"/>
                  <a:pt x="7154" y="689"/>
                  <a:pt x="7154" y="689"/>
                </a:cubicBezTo>
                <a:cubicBezTo>
                  <a:pt x="7155" y="689"/>
                  <a:pt x="7155" y="690"/>
                  <a:pt x="7155" y="692"/>
                </a:cubicBezTo>
                <a:cubicBezTo>
                  <a:pt x="7155" y="693"/>
                  <a:pt x="7155" y="694"/>
                  <a:pt x="7153" y="694"/>
                </a:cubicBezTo>
                <a:close/>
                <a:moveTo>
                  <a:pt x="7164" y="801"/>
                </a:moveTo>
                <a:cubicBezTo>
                  <a:pt x="7164" y="801"/>
                  <a:pt x="7165" y="800"/>
                  <a:pt x="7166" y="799"/>
                </a:cubicBezTo>
                <a:cubicBezTo>
                  <a:pt x="7167" y="798"/>
                  <a:pt x="7168" y="797"/>
                  <a:pt x="7169" y="797"/>
                </a:cubicBezTo>
                <a:cubicBezTo>
                  <a:pt x="7169" y="797"/>
                  <a:pt x="7170" y="797"/>
                  <a:pt x="7170" y="798"/>
                </a:cubicBezTo>
                <a:cubicBezTo>
                  <a:pt x="7170" y="799"/>
                  <a:pt x="7169" y="799"/>
                  <a:pt x="7167" y="800"/>
                </a:cubicBezTo>
                <a:lnTo>
                  <a:pt x="7164" y="801"/>
                </a:lnTo>
                <a:close/>
                <a:moveTo>
                  <a:pt x="7161" y="797"/>
                </a:moveTo>
                <a:cubicBezTo>
                  <a:pt x="7160" y="797"/>
                  <a:pt x="7160" y="796"/>
                  <a:pt x="7160" y="796"/>
                </a:cubicBezTo>
                <a:cubicBezTo>
                  <a:pt x="7160" y="796"/>
                  <a:pt x="7160" y="795"/>
                  <a:pt x="7160" y="795"/>
                </a:cubicBezTo>
                <a:cubicBezTo>
                  <a:pt x="7161" y="795"/>
                  <a:pt x="7162" y="794"/>
                  <a:pt x="7164" y="794"/>
                </a:cubicBezTo>
                <a:lnTo>
                  <a:pt x="7165" y="793"/>
                </a:lnTo>
                <a:cubicBezTo>
                  <a:pt x="7165" y="793"/>
                  <a:pt x="7166" y="794"/>
                  <a:pt x="7166" y="794"/>
                </a:cubicBezTo>
                <a:cubicBezTo>
                  <a:pt x="7166" y="794"/>
                  <a:pt x="7165" y="794"/>
                  <a:pt x="7165" y="795"/>
                </a:cubicBezTo>
                <a:cubicBezTo>
                  <a:pt x="7165" y="796"/>
                  <a:pt x="7164" y="796"/>
                  <a:pt x="7163" y="796"/>
                </a:cubicBezTo>
                <a:cubicBezTo>
                  <a:pt x="7162" y="797"/>
                  <a:pt x="7162" y="797"/>
                  <a:pt x="7161" y="797"/>
                </a:cubicBezTo>
                <a:close/>
                <a:moveTo>
                  <a:pt x="7174" y="797"/>
                </a:moveTo>
                <a:lnTo>
                  <a:pt x="7174" y="797"/>
                </a:lnTo>
                <a:cubicBezTo>
                  <a:pt x="7174" y="796"/>
                  <a:pt x="7174" y="796"/>
                  <a:pt x="7176" y="795"/>
                </a:cubicBezTo>
                <a:cubicBezTo>
                  <a:pt x="7179" y="792"/>
                  <a:pt x="7182" y="791"/>
                  <a:pt x="7186" y="789"/>
                </a:cubicBezTo>
                <a:lnTo>
                  <a:pt x="7189" y="788"/>
                </a:lnTo>
                <a:cubicBezTo>
                  <a:pt x="7189" y="788"/>
                  <a:pt x="7187" y="790"/>
                  <a:pt x="7183" y="793"/>
                </a:cubicBezTo>
                <a:cubicBezTo>
                  <a:pt x="7179" y="795"/>
                  <a:pt x="7176" y="797"/>
                  <a:pt x="7174" y="797"/>
                </a:cubicBezTo>
                <a:close/>
                <a:moveTo>
                  <a:pt x="7028" y="886"/>
                </a:moveTo>
                <a:cubicBezTo>
                  <a:pt x="7028" y="886"/>
                  <a:pt x="7027" y="885"/>
                  <a:pt x="7027" y="884"/>
                </a:cubicBezTo>
                <a:cubicBezTo>
                  <a:pt x="7027" y="882"/>
                  <a:pt x="7027" y="882"/>
                  <a:pt x="7027" y="882"/>
                </a:cubicBezTo>
                <a:cubicBezTo>
                  <a:pt x="7027" y="882"/>
                  <a:pt x="7026" y="882"/>
                  <a:pt x="7025" y="884"/>
                </a:cubicBezTo>
                <a:cubicBezTo>
                  <a:pt x="7025" y="885"/>
                  <a:pt x="7024" y="886"/>
                  <a:pt x="7024" y="886"/>
                </a:cubicBezTo>
                <a:cubicBezTo>
                  <a:pt x="7023" y="886"/>
                  <a:pt x="7023" y="885"/>
                  <a:pt x="7023" y="884"/>
                </a:cubicBezTo>
                <a:cubicBezTo>
                  <a:pt x="7023" y="883"/>
                  <a:pt x="7023" y="883"/>
                  <a:pt x="7022" y="883"/>
                </a:cubicBezTo>
                <a:lnTo>
                  <a:pt x="7020" y="883"/>
                </a:lnTo>
                <a:cubicBezTo>
                  <a:pt x="7019" y="883"/>
                  <a:pt x="7019" y="883"/>
                  <a:pt x="7019" y="881"/>
                </a:cubicBezTo>
                <a:cubicBezTo>
                  <a:pt x="7019" y="880"/>
                  <a:pt x="7019" y="879"/>
                  <a:pt x="7018" y="879"/>
                </a:cubicBezTo>
                <a:cubicBezTo>
                  <a:pt x="7018" y="879"/>
                  <a:pt x="7017" y="880"/>
                  <a:pt x="7017" y="881"/>
                </a:cubicBezTo>
                <a:cubicBezTo>
                  <a:pt x="7016" y="883"/>
                  <a:pt x="7015" y="883"/>
                  <a:pt x="7013" y="883"/>
                </a:cubicBezTo>
                <a:cubicBezTo>
                  <a:pt x="7011" y="883"/>
                  <a:pt x="7009" y="883"/>
                  <a:pt x="7008" y="882"/>
                </a:cubicBezTo>
                <a:cubicBezTo>
                  <a:pt x="7006" y="881"/>
                  <a:pt x="7005" y="879"/>
                  <a:pt x="7005" y="878"/>
                </a:cubicBezTo>
                <a:cubicBezTo>
                  <a:pt x="7005" y="877"/>
                  <a:pt x="7005" y="876"/>
                  <a:pt x="7005" y="876"/>
                </a:cubicBezTo>
                <a:lnTo>
                  <a:pt x="7002" y="877"/>
                </a:lnTo>
                <a:cubicBezTo>
                  <a:pt x="7002" y="877"/>
                  <a:pt x="7001" y="876"/>
                  <a:pt x="7001" y="875"/>
                </a:cubicBezTo>
                <a:cubicBezTo>
                  <a:pt x="7001" y="874"/>
                  <a:pt x="6998" y="872"/>
                  <a:pt x="6991" y="870"/>
                </a:cubicBezTo>
                <a:cubicBezTo>
                  <a:pt x="6981" y="867"/>
                  <a:pt x="6976" y="862"/>
                  <a:pt x="6976" y="854"/>
                </a:cubicBezTo>
                <a:lnTo>
                  <a:pt x="6977" y="847"/>
                </a:lnTo>
                <a:cubicBezTo>
                  <a:pt x="6977" y="845"/>
                  <a:pt x="6976" y="845"/>
                  <a:pt x="6976" y="845"/>
                </a:cubicBezTo>
                <a:cubicBezTo>
                  <a:pt x="6975" y="845"/>
                  <a:pt x="6974" y="844"/>
                  <a:pt x="6973" y="843"/>
                </a:cubicBezTo>
                <a:cubicBezTo>
                  <a:pt x="6973" y="842"/>
                  <a:pt x="6972" y="840"/>
                  <a:pt x="6972" y="838"/>
                </a:cubicBezTo>
                <a:cubicBezTo>
                  <a:pt x="6972" y="835"/>
                  <a:pt x="6973" y="833"/>
                  <a:pt x="6975" y="832"/>
                </a:cubicBezTo>
                <a:cubicBezTo>
                  <a:pt x="6977" y="830"/>
                  <a:pt x="6979" y="829"/>
                  <a:pt x="6982" y="829"/>
                </a:cubicBezTo>
                <a:lnTo>
                  <a:pt x="6986" y="829"/>
                </a:lnTo>
                <a:cubicBezTo>
                  <a:pt x="6986" y="829"/>
                  <a:pt x="6985" y="830"/>
                  <a:pt x="6983" y="831"/>
                </a:cubicBezTo>
                <a:cubicBezTo>
                  <a:pt x="6979" y="833"/>
                  <a:pt x="6977" y="835"/>
                  <a:pt x="6977" y="836"/>
                </a:cubicBezTo>
                <a:cubicBezTo>
                  <a:pt x="6977" y="837"/>
                  <a:pt x="6978" y="838"/>
                  <a:pt x="6979" y="839"/>
                </a:cubicBezTo>
                <a:cubicBezTo>
                  <a:pt x="6981" y="840"/>
                  <a:pt x="6983" y="841"/>
                  <a:pt x="6985" y="841"/>
                </a:cubicBezTo>
                <a:cubicBezTo>
                  <a:pt x="6988" y="842"/>
                  <a:pt x="6990" y="842"/>
                  <a:pt x="6993" y="842"/>
                </a:cubicBezTo>
                <a:cubicBezTo>
                  <a:pt x="6996" y="842"/>
                  <a:pt x="6998" y="841"/>
                  <a:pt x="7000" y="840"/>
                </a:cubicBezTo>
                <a:cubicBezTo>
                  <a:pt x="7001" y="840"/>
                  <a:pt x="7002" y="839"/>
                  <a:pt x="7003" y="839"/>
                </a:cubicBezTo>
                <a:cubicBezTo>
                  <a:pt x="7004" y="839"/>
                  <a:pt x="7004" y="840"/>
                  <a:pt x="7004" y="840"/>
                </a:cubicBezTo>
                <a:cubicBezTo>
                  <a:pt x="7005" y="840"/>
                  <a:pt x="7006" y="841"/>
                  <a:pt x="7008" y="841"/>
                </a:cubicBezTo>
                <a:cubicBezTo>
                  <a:pt x="7017" y="841"/>
                  <a:pt x="7034" y="837"/>
                  <a:pt x="7062" y="829"/>
                </a:cubicBezTo>
                <a:cubicBezTo>
                  <a:pt x="7089" y="822"/>
                  <a:pt x="7114" y="813"/>
                  <a:pt x="7137" y="805"/>
                </a:cubicBezTo>
                <a:cubicBezTo>
                  <a:pt x="7146" y="801"/>
                  <a:pt x="7151" y="800"/>
                  <a:pt x="7152" y="800"/>
                </a:cubicBezTo>
                <a:cubicBezTo>
                  <a:pt x="7152" y="800"/>
                  <a:pt x="7152" y="800"/>
                  <a:pt x="7152" y="800"/>
                </a:cubicBezTo>
                <a:cubicBezTo>
                  <a:pt x="7152" y="803"/>
                  <a:pt x="7136" y="809"/>
                  <a:pt x="7102" y="821"/>
                </a:cubicBezTo>
                <a:cubicBezTo>
                  <a:pt x="7069" y="832"/>
                  <a:pt x="7043" y="839"/>
                  <a:pt x="7027" y="842"/>
                </a:cubicBezTo>
                <a:lnTo>
                  <a:pt x="7025" y="842"/>
                </a:lnTo>
                <a:cubicBezTo>
                  <a:pt x="7021" y="843"/>
                  <a:pt x="7018" y="844"/>
                  <a:pt x="7016" y="845"/>
                </a:cubicBezTo>
                <a:cubicBezTo>
                  <a:pt x="7014" y="845"/>
                  <a:pt x="7012" y="846"/>
                  <a:pt x="7010" y="846"/>
                </a:cubicBezTo>
                <a:lnTo>
                  <a:pt x="7008" y="846"/>
                </a:lnTo>
                <a:cubicBezTo>
                  <a:pt x="7005" y="846"/>
                  <a:pt x="7004" y="846"/>
                  <a:pt x="7004" y="846"/>
                </a:cubicBezTo>
                <a:cubicBezTo>
                  <a:pt x="7004" y="847"/>
                  <a:pt x="7005" y="847"/>
                  <a:pt x="7006" y="848"/>
                </a:cubicBezTo>
                <a:cubicBezTo>
                  <a:pt x="7007" y="849"/>
                  <a:pt x="7008" y="850"/>
                  <a:pt x="7009" y="851"/>
                </a:cubicBezTo>
                <a:cubicBezTo>
                  <a:pt x="7010" y="853"/>
                  <a:pt x="7010" y="854"/>
                  <a:pt x="7010" y="855"/>
                </a:cubicBezTo>
                <a:cubicBezTo>
                  <a:pt x="7010" y="856"/>
                  <a:pt x="7010" y="857"/>
                  <a:pt x="7010" y="857"/>
                </a:cubicBezTo>
                <a:cubicBezTo>
                  <a:pt x="7010" y="857"/>
                  <a:pt x="7011" y="858"/>
                  <a:pt x="7013" y="858"/>
                </a:cubicBezTo>
                <a:cubicBezTo>
                  <a:pt x="7015" y="858"/>
                  <a:pt x="7021" y="857"/>
                  <a:pt x="7031" y="855"/>
                </a:cubicBezTo>
                <a:cubicBezTo>
                  <a:pt x="7044" y="853"/>
                  <a:pt x="7072" y="846"/>
                  <a:pt x="7114" y="833"/>
                </a:cubicBezTo>
                <a:cubicBezTo>
                  <a:pt x="7183" y="811"/>
                  <a:pt x="7220" y="786"/>
                  <a:pt x="7226" y="760"/>
                </a:cubicBezTo>
                <a:lnTo>
                  <a:pt x="7227" y="756"/>
                </a:lnTo>
                <a:lnTo>
                  <a:pt x="7226" y="755"/>
                </a:lnTo>
                <a:lnTo>
                  <a:pt x="7225" y="757"/>
                </a:lnTo>
                <a:cubicBezTo>
                  <a:pt x="7225" y="758"/>
                  <a:pt x="7224" y="759"/>
                  <a:pt x="7222" y="761"/>
                </a:cubicBezTo>
                <a:cubicBezTo>
                  <a:pt x="7220" y="763"/>
                  <a:pt x="7218" y="765"/>
                  <a:pt x="7215" y="767"/>
                </a:cubicBezTo>
                <a:cubicBezTo>
                  <a:pt x="7213" y="769"/>
                  <a:pt x="7211" y="769"/>
                  <a:pt x="7210" y="769"/>
                </a:cubicBezTo>
                <a:lnTo>
                  <a:pt x="7210" y="769"/>
                </a:lnTo>
                <a:cubicBezTo>
                  <a:pt x="7210" y="768"/>
                  <a:pt x="7211" y="767"/>
                  <a:pt x="7213" y="765"/>
                </a:cubicBezTo>
                <a:cubicBezTo>
                  <a:pt x="7220" y="759"/>
                  <a:pt x="7224" y="754"/>
                  <a:pt x="7224" y="750"/>
                </a:cubicBezTo>
                <a:cubicBezTo>
                  <a:pt x="7224" y="748"/>
                  <a:pt x="7223" y="747"/>
                  <a:pt x="7222" y="747"/>
                </a:cubicBezTo>
                <a:cubicBezTo>
                  <a:pt x="7220" y="747"/>
                  <a:pt x="7219" y="746"/>
                  <a:pt x="7219" y="745"/>
                </a:cubicBezTo>
                <a:lnTo>
                  <a:pt x="7220" y="743"/>
                </a:lnTo>
                <a:cubicBezTo>
                  <a:pt x="7220" y="742"/>
                  <a:pt x="7219" y="742"/>
                  <a:pt x="7219" y="742"/>
                </a:cubicBezTo>
                <a:cubicBezTo>
                  <a:pt x="7216" y="741"/>
                  <a:pt x="7211" y="740"/>
                  <a:pt x="7206" y="737"/>
                </a:cubicBezTo>
                <a:cubicBezTo>
                  <a:pt x="7195" y="732"/>
                  <a:pt x="7179" y="725"/>
                  <a:pt x="7160" y="718"/>
                </a:cubicBezTo>
                <a:cubicBezTo>
                  <a:pt x="7142" y="712"/>
                  <a:pt x="7128" y="706"/>
                  <a:pt x="7119" y="701"/>
                </a:cubicBezTo>
                <a:lnTo>
                  <a:pt x="7101" y="694"/>
                </a:lnTo>
                <a:cubicBezTo>
                  <a:pt x="7101" y="694"/>
                  <a:pt x="7100" y="693"/>
                  <a:pt x="7099" y="692"/>
                </a:cubicBezTo>
                <a:cubicBezTo>
                  <a:pt x="7097" y="690"/>
                  <a:pt x="7094" y="688"/>
                  <a:pt x="7088" y="685"/>
                </a:cubicBezTo>
                <a:cubicBezTo>
                  <a:pt x="7076" y="678"/>
                  <a:pt x="7064" y="667"/>
                  <a:pt x="7051" y="654"/>
                </a:cubicBezTo>
                <a:cubicBezTo>
                  <a:pt x="7038" y="640"/>
                  <a:pt x="7029" y="627"/>
                  <a:pt x="7024" y="616"/>
                </a:cubicBezTo>
                <a:cubicBezTo>
                  <a:pt x="7020" y="607"/>
                  <a:pt x="7019" y="597"/>
                  <a:pt x="7019" y="586"/>
                </a:cubicBezTo>
                <a:cubicBezTo>
                  <a:pt x="7019" y="574"/>
                  <a:pt x="7021" y="562"/>
                  <a:pt x="7026" y="551"/>
                </a:cubicBezTo>
                <a:cubicBezTo>
                  <a:pt x="7030" y="543"/>
                  <a:pt x="7032" y="539"/>
                  <a:pt x="7034" y="539"/>
                </a:cubicBezTo>
                <a:lnTo>
                  <a:pt x="7035" y="539"/>
                </a:lnTo>
                <a:cubicBezTo>
                  <a:pt x="7035" y="539"/>
                  <a:pt x="7036" y="539"/>
                  <a:pt x="7036" y="539"/>
                </a:cubicBezTo>
                <a:lnTo>
                  <a:pt x="7035" y="536"/>
                </a:lnTo>
                <a:cubicBezTo>
                  <a:pt x="7035" y="534"/>
                  <a:pt x="7035" y="532"/>
                  <a:pt x="7037" y="529"/>
                </a:cubicBezTo>
                <a:cubicBezTo>
                  <a:pt x="7039" y="525"/>
                  <a:pt x="7041" y="523"/>
                  <a:pt x="7043" y="520"/>
                </a:cubicBezTo>
                <a:cubicBezTo>
                  <a:pt x="7045" y="517"/>
                  <a:pt x="7047" y="516"/>
                  <a:pt x="7048" y="516"/>
                </a:cubicBezTo>
                <a:lnTo>
                  <a:pt x="7050" y="516"/>
                </a:lnTo>
                <a:cubicBezTo>
                  <a:pt x="7050" y="516"/>
                  <a:pt x="7051" y="516"/>
                  <a:pt x="7052" y="515"/>
                </a:cubicBezTo>
                <a:cubicBezTo>
                  <a:pt x="7052" y="515"/>
                  <a:pt x="7053" y="514"/>
                  <a:pt x="7054" y="513"/>
                </a:cubicBezTo>
                <a:cubicBezTo>
                  <a:pt x="7055" y="512"/>
                  <a:pt x="7055" y="511"/>
                  <a:pt x="7055" y="511"/>
                </a:cubicBezTo>
                <a:lnTo>
                  <a:pt x="7053" y="512"/>
                </a:lnTo>
                <a:cubicBezTo>
                  <a:pt x="7052" y="512"/>
                  <a:pt x="7052" y="510"/>
                  <a:pt x="7052" y="508"/>
                </a:cubicBezTo>
                <a:cubicBezTo>
                  <a:pt x="7052" y="505"/>
                  <a:pt x="7052" y="504"/>
                  <a:pt x="7052" y="504"/>
                </a:cubicBezTo>
                <a:lnTo>
                  <a:pt x="7053" y="504"/>
                </a:lnTo>
                <a:cubicBezTo>
                  <a:pt x="7055" y="504"/>
                  <a:pt x="7059" y="501"/>
                  <a:pt x="7065" y="495"/>
                </a:cubicBezTo>
                <a:cubicBezTo>
                  <a:pt x="7071" y="488"/>
                  <a:pt x="7075" y="485"/>
                  <a:pt x="7076" y="485"/>
                </a:cubicBezTo>
                <a:cubicBezTo>
                  <a:pt x="7077" y="485"/>
                  <a:pt x="7077" y="485"/>
                  <a:pt x="7077" y="485"/>
                </a:cubicBezTo>
                <a:cubicBezTo>
                  <a:pt x="7077" y="486"/>
                  <a:pt x="7076" y="487"/>
                  <a:pt x="7074" y="490"/>
                </a:cubicBezTo>
                <a:lnTo>
                  <a:pt x="7070" y="494"/>
                </a:lnTo>
                <a:cubicBezTo>
                  <a:pt x="7071" y="494"/>
                  <a:pt x="7072" y="493"/>
                  <a:pt x="7075" y="490"/>
                </a:cubicBezTo>
                <a:cubicBezTo>
                  <a:pt x="7077" y="488"/>
                  <a:pt x="7078" y="486"/>
                  <a:pt x="7078" y="485"/>
                </a:cubicBezTo>
                <a:lnTo>
                  <a:pt x="7078" y="484"/>
                </a:lnTo>
                <a:cubicBezTo>
                  <a:pt x="7078" y="483"/>
                  <a:pt x="7080" y="481"/>
                  <a:pt x="7084" y="477"/>
                </a:cubicBezTo>
                <a:lnTo>
                  <a:pt x="7090" y="473"/>
                </a:lnTo>
                <a:cubicBezTo>
                  <a:pt x="7095" y="468"/>
                  <a:pt x="7104" y="461"/>
                  <a:pt x="7115" y="454"/>
                </a:cubicBezTo>
                <a:cubicBezTo>
                  <a:pt x="7124" y="448"/>
                  <a:pt x="7129" y="445"/>
                  <a:pt x="7129" y="444"/>
                </a:cubicBezTo>
                <a:cubicBezTo>
                  <a:pt x="7128" y="444"/>
                  <a:pt x="7125" y="446"/>
                  <a:pt x="7119" y="448"/>
                </a:cubicBezTo>
                <a:cubicBezTo>
                  <a:pt x="7114" y="451"/>
                  <a:pt x="7110" y="453"/>
                  <a:pt x="7109" y="453"/>
                </a:cubicBezTo>
                <a:cubicBezTo>
                  <a:pt x="7109" y="453"/>
                  <a:pt x="7109" y="453"/>
                  <a:pt x="7109" y="453"/>
                </a:cubicBezTo>
                <a:lnTo>
                  <a:pt x="7109" y="452"/>
                </a:lnTo>
                <a:cubicBezTo>
                  <a:pt x="7109" y="451"/>
                  <a:pt x="7112" y="448"/>
                  <a:pt x="7120" y="444"/>
                </a:cubicBezTo>
                <a:cubicBezTo>
                  <a:pt x="7127" y="441"/>
                  <a:pt x="7136" y="437"/>
                  <a:pt x="7146" y="434"/>
                </a:cubicBezTo>
                <a:cubicBezTo>
                  <a:pt x="7155" y="431"/>
                  <a:pt x="7162" y="430"/>
                  <a:pt x="7167" y="430"/>
                </a:cubicBezTo>
                <a:cubicBezTo>
                  <a:pt x="7171" y="430"/>
                  <a:pt x="7177" y="431"/>
                  <a:pt x="7183" y="433"/>
                </a:cubicBezTo>
                <a:cubicBezTo>
                  <a:pt x="7189" y="436"/>
                  <a:pt x="7194" y="438"/>
                  <a:pt x="7199" y="441"/>
                </a:cubicBezTo>
                <a:cubicBezTo>
                  <a:pt x="7204" y="445"/>
                  <a:pt x="7206" y="447"/>
                  <a:pt x="7206" y="449"/>
                </a:cubicBezTo>
                <a:cubicBezTo>
                  <a:pt x="7206" y="451"/>
                  <a:pt x="7209" y="453"/>
                  <a:pt x="7215" y="455"/>
                </a:cubicBezTo>
                <a:cubicBezTo>
                  <a:pt x="7231" y="460"/>
                  <a:pt x="7239" y="471"/>
                  <a:pt x="7239" y="487"/>
                </a:cubicBezTo>
                <a:cubicBezTo>
                  <a:pt x="7239" y="504"/>
                  <a:pt x="7231" y="523"/>
                  <a:pt x="7216" y="546"/>
                </a:cubicBezTo>
                <a:cubicBezTo>
                  <a:pt x="7211" y="552"/>
                  <a:pt x="7208" y="555"/>
                  <a:pt x="7206" y="557"/>
                </a:cubicBezTo>
                <a:cubicBezTo>
                  <a:pt x="7204" y="558"/>
                  <a:pt x="7203" y="560"/>
                  <a:pt x="7203" y="561"/>
                </a:cubicBezTo>
                <a:cubicBezTo>
                  <a:pt x="7203" y="563"/>
                  <a:pt x="7201" y="566"/>
                  <a:pt x="7196" y="570"/>
                </a:cubicBezTo>
                <a:cubicBezTo>
                  <a:pt x="7193" y="573"/>
                  <a:pt x="7192" y="575"/>
                  <a:pt x="7192" y="575"/>
                </a:cubicBezTo>
                <a:lnTo>
                  <a:pt x="7193" y="575"/>
                </a:lnTo>
                <a:cubicBezTo>
                  <a:pt x="7193" y="576"/>
                  <a:pt x="7191" y="578"/>
                  <a:pt x="7188" y="582"/>
                </a:cubicBezTo>
                <a:cubicBezTo>
                  <a:pt x="7184" y="586"/>
                  <a:pt x="7182" y="588"/>
                  <a:pt x="7182" y="588"/>
                </a:cubicBezTo>
                <a:lnTo>
                  <a:pt x="7186" y="586"/>
                </a:lnTo>
                <a:cubicBezTo>
                  <a:pt x="7186" y="586"/>
                  <a:pt x="7185" y="588"/>
                  <a:pt x="7183" y="590"/>
                </a:cubicBezTo>
                <a:cubicBezTo>
                  <a:pt x="7180" y="593"/>
                  <a:pt x="7179" y="594"/>
                  <a:pt x="7178" y="594"/>
                </a:cubicBezTo>
                <a:lnTo>
                  <a:pt x="7177" y="594"/>
                </a:lnTo>
                <a:cubicBezTo>
                  <a:pt x="7176" y="594"/>
                  <a:pt x="7174" y="596"/>
                  <a:pt x="7169" y="599"/>
                </a:cubicBezTo>
                <a:cubicBezTo>
                  <a:pt x="7165" y="603"/>
                  <a:pt x="7161" y="607"/>
                  <a:pt x="7156" y="611"/>
                </a:cubicBezTo>
                <a:cubicBezTo>
                  <a:pt x="7154" y="614"/>
                  <a:pt x="7152" y="615"/>
                  <a:pt x="7152" y="615"/>
                </a:cubicBezTo>
                <a:lnTo>
                  <a:pt x="7151" y="614"/>
                </a:lnTo>
                <a:cubicBezTo>
                  <a:pt x="7150" y="614"/>
                  <a:pt x="7148" y="616"/>
                  <a:pt x="7144" y="620"/>
                </a:cubicBezTo>
                <a:cubicBezTo>
                  <a:pt x="7138" y="625"/>
                  <a:pt x="7133" y="628"/>
                  <a:pt x="7129" y="628"/>
                </a:cubicBezTo>
                <a:cubicBezTo>
                  <a:pt x="7127" y="628"/>
                  <a:pt x="7125" y="627"/>
                  <a:pt x="7125" y="624"/>
                </a:cubicBezTo>
                <a:lnTo>
                  <a:pt x="7125" y="621"/>
                </a:lnTo>
                <a:cubicBezTo>
                  <a:pt x="7125" y="619"/>
                  <a:pt x="7124" y="618"/>
                  <a:pt x="7123" y="618"/>
                </a:cubicBezTo>
                <a:lnTo>
                  <a:pt x="7115" y="619"/>
                </a:lnTo>
                <a:cubicBezTo>
                  <a:pt x="7112" y="619"/>
                  <a:pt x="7111" y="618"/>
                  <a:pt x="7111" y="617"/>
                </a:cubicBezTo>
                <a:cubicBezTo>
                  <a:pt x="7111" y="616"/>
                  <a:pt x="7111" y="616"/>
                  <a:pt x="7112" y="616"/>
                </a:cubicBezTo>
                <a:cubicBezTo>
                  <a:pt x="7112" y="616"/>
                  <a:pt x="7113" y="615"/>
                  <a:pt x="7114" y="615"/>
                </a:cubicBezTo>
                <a:cubicBezTo>
                  <a:pt x="7115" y="614"/>
                  <a:pt x="7116" y="612"/>
                  <a:pt x="7117" y="611"/>
                </a:cubicBezTo>
                <a:cubicBezTo>
                  <a:pt x="7117" y="610"/>
                  <a:pt x="7117" y="608"/>
                  <a:pt x="7117" y="608"/>
                </a:cubicBezTo>
                <a:cubicBezTo>
                  <a:pt x="7117" y="607"/>
                  <a:pt x="7117" y="607"/>
                  <a:pt x="7117" y="607"/>
                </a:cubicBezTo>
                <a:lnTo>
                  <a:pt x="7114" y="607"/>
                </a:lnTo>
                <a:cubicBezTo>
                  <a:pt x="7112" y="607"/>
                  <a:pt x="7111" y="607"/>
                  <a:pt x="7111" y="605"/>
                </a:cubicBezTo>
                <a:lnTo>
                  <a:pt x="7112" y="602"/>
                </a:lnTo>
                <a:lnTo>
                  <a:pt x="7109" y="604"/>
                </a:lnTo>
                <a:cubicBezTo>
                  <a:pt x="7108" y="606"/>
                  <a:pt x="7106" y="606"/>
                  <a:pt x="7104" y="606"/>
                </a:cubicBezTo>
                <a:cubicBezTo>
                  <a:pt x="7101" y="606"/>
                  <a:pt x="7100" y="606"/>
                  <a:pt x="7099" y="606"/>
                </a:cubicBezTo>
                <a:cubicBezTo>
                  <a:pt x="7099" y="605"/>
                  <a:pt x="7101" y="603"/>
                  <a:pt x="7104" y="601"/>
                </a:cubicBezTo>
                <a:cubicBezTo>
                  <a:pt x="7107" y="598"/>
                  <a:pt x="7109" y="596"/>
                  <a:pt x="7109" y="595"/>
                </a:cubicBezTo>
                <a:lnTo>
                  <a:pt x="7109" y="594"/>
                </a:lnTo>
                <a:cubicBezTo>
                  <a:pt x="7109" y="592"/>
                  <a:pt x="7112" y="588"/>
                  <a:pt x="7120" y="582"/>
                </a:cubicBezTo>
                <a:cubicBezTo>
                  <a:pt x="7127" y="576"/>
                  <a:pt x="7131" y="572"/>
                  <a:pt x="7131" y="570"/>
                </a:cubicBezTo>
                <a:lnTo>
                  <a:pt x="7131" y="569"/>
                </a:lnTo>
                <a:cubicBezTo>
                  <a:pt x="7131" y="568"/>
                  <a:pt x="7132" y="566"/>
                  <a:pt x="7136" y="563"/>
                </a:cubicBezTo>
                <a:cubicBezTo>
                  <a:pt x="7140" y="560"/>
                  <a:pt x="7141" y="558"/>
                  <a:pt x="7141" y="557"/>
                </a:cubicBezTo>
                <a:lnTo>
                  <a:pt x="7141" y="556"/>
                </a:lnTo>
                <a:cubicBezTo>
                  <a:pt x="7141" y="555"/>
                  <a:pt x="7142" y="553"/>
                  <a:pt x="7144" y="551"/>
                </a:cubicBezTo>
                <a:cubicBezTo>
                  <a:pt x="7146" y="550"/>
                  <a:pt x="7147" y="549"/>
                  <a:pt x="7147" y="549"/>
                </a:cubicBezTo>
                <a:lnTo>
                  <a:pt x="7145" y="554"/>
                </a:lnTo>
                <a:cubicBezTo>
                  <a:pt x="7146" y="553"/>
                  <a:pt x="7148" y="550"/>
                  <a:pt x="7153" y="544"/>
                </a:cubicBezTo>
                <a:cubicBezTo>
                  <a:pt x="7179" y="510"/>
                  <a:pt x="7192" y="489"/>
                  <a:pt x="7192" y="480"/>
                </a:cubicBezTo>
                <a:cubicBezTo>
                  <a:pt x="7192" y="477"/>
                  <a:pt x="7191" y="475"/>
                  <a:pt x="7187" y="475"/>
                </a:cubicBezTo>
                <a:lnTo>
                  <a:pt x="7185" y="475"/>
                </a:lnTo>
                <a:cubicBezTo>
                  <a:pt x="7174" y="477"/>
                  <a:pt x="7159" y="482"/>
                  <a:pt x="7142" y="491"/>
                </a:cubicBezTo>
                <a:cubicBezTo>
                  <a:pt x="7135" y="495"/>
                  <a:pt x="7131" y="498"/>
                  <a:pt x="7130" y="500"/>
                </a:cubicBezTo>
                <a:cubicBezTo>
                  <a:pt x="7128" y="502"/>
                  <a:pt x="7126" y="504"/>
                  <a:pt x="7124" y="504"/>
                </a:cubicBezTo>
                <a:cubicBezTo>
                  <a:pt x="7122" y="504"/>
                  <a:pt x="7120" y="505"/>
                  <a:pt x="7118" y="509"/>
                </a:cubicBezTo>
                <a:cubicBezTo>
                  <a:pt x="7116" y="512"/>
                  <a:pt x="7114" y="514"/>
                  <a:pt x="7113" y="514"/>
                </a:cubicBezTo>
                <a:lnTo>
                  <a:pt x="7112" y="514"/>
                </a:lnTo>
                <a:cubicBezTo>
                  <a:pt x="7110" y="514"/>
                  <a:pt x="7107" y="517"/>
                  <a:pt x="7102" y="522"/>
                </a:cubicBezTo>
                <a:cubicBezTo>
                  <a:pt x="7097" y="529"/>
                  <a:pt x="7091" y="535"/>
                  <a:pt x="7086" y="543"/>
                </a:cubicBezTo>
                <a:cubicBezTo>
                  <a:pt x="7080" y="551"/>
                  <a:pt x="7076" y="558"/>
                  <a:pt x="7073" y="565"/>
                </a:cubicBezTo>
                <a:cubicBezTo>
                  <a:pt x="7069" y="572"/>
                  <a:pt x="7067" y="580"/>
                  <a:pt x="7065" y="588"/>
                </a:cubicBezTo>
                <a:cubicBezTo>
                  <a:pt x="7063" y="597"/>
                  <a:pt x="7062" y="605"/>
                  <a:pt x="7062" y="611"/>
                </a:cubicBezTo>
                <a:cubicBezTo>
                  <a:pt x="7062" y="616"/>
                  <a:pt x="7062" y="620"/>
                  <a:pt x="7064" y="621"/>
                </a:cubicBezTo>
                <a:cubicBezTo>
                  <a:pt x="7065" y="622"/>
                  <a:pt x="7066" y="624"/>
                  <a:pt x="7066" y="626"/>
                </a:cubicBezTo>
                <a:cubicBezTo>
                  <a:pt x="7066" y="628"/>
                  <a:pt x="7067" y="630"/>
                  <a:pt x="7067" y="630"/>
                </a:cubicBezTo>
                <a:cubicBezTo>
                  <a:pt x="7068" y="631"/>
                  <a:pt x="7069" y="632"/>
                  <a:pt x="7069" y="632"/>
                </a:cubicBezTo>
                <a:cubicBezTo>
                  <a:pt x="7071" y="633"/>
                  <a:pt x="7072" y="634"/>
                  <a:pt x="7072" y="637"/>
                </a:cubicBezTo>
                <a:cubicBezTo>
                  <a:pt x="7072" y="641"/>
                  <a:pt x="7074" y="643"/>
                  <a:pt x="7076" y="645"/>
                </a:cubicBezTo>
                <a:cubicBezTo>
                  <a:pt x="7079" y="647"/>
                  <a:pt x="7081" y="649"/>
                  <a:pt x="7083" y="653"/>
                </a:cubicBezTo>
                <a:cubicBezTo>
                  <a:pt x="7085" y="656"/>
                  <a:pt x="7090" y="660"/>
                  <a:pt x="7099" y="665"/>
                </a:cubicBezTo>
                <a:cubicBezTo>
                  <a:pt x="7106" y="669"/>
                  <a:pt x="7110" y="671"/>
                  <a:pt x="7110" y="673"/>
                </a:cubicBezTo>
                <a:lnTo>
                  <a:pt x="7110" y="674"/>
                </a:lnTo>
                <a:cubicBezTo>
                  <a:pt x="7110" y="674"/>
                  <a:pt x="7112" y="674"/>
                  <a:pt x="7117" y="674"/>
                </a:cubicBezTo>
                <a:cubicBezTo>
                  <a:pt x="7124" y="674"/>
                  <a:pt x="7127" y="675"/>
                  <a:pt x="7127" y="677"/>
                </a:cubicBezTo>
                <a:cubicBezTo>
                  <a:pt x="7127" y="679"/>
                  <a:pt x="7127" y="680"/>
                  <a:pt x="7126" y="681"/>
                </a:cubicBezTo>
                <a:cubicBezTo>
                  <a:pt x="7125" y="681"/>
                  <a:pt x="7124" y="682"/>
                  <a:pt x="7124" y="683"/>
                </a:cubicBezTo>
                <a:cubicBezTo>
                  <a:pt x="7124" y="684"/>
                  <a:pt x="7125" y="685"/>
                  <a:pt x="7126" y="686"/>
                </a:cubicBezTo>
                <a:cubicBezTo>
                  <a:pt x="7126" y="686"/>
                  <a:pt x="7127" y="686"/>
                  <a:pt x="7129" y="686"/>
                </a:cubicBezTo>
                <a:cubicBezTo>
                  <a:pt x="7130" y="686"/>
                  <a:pt x="7131" y="686"/>
                  <a:pt x="7132" y="685"/>
                </a:cubicBezTo>
                <a:cubicBezTo>
                  <a:pt x="7132" y="684"/>
                  <a:pt x="7133" y="684"/>
                  <a:pt x="7133" y="683"/>
                </a:cubicBezTo>
                <a:cubicBezTo>
                  <a:pt x="7133" y="683"/>
                  <a:pt x="7132" y="683"/>
                  <a:pt x="7132" y="683"/>
                </a:cubicBezTo>
                <a:lnTo>
                  <a:pt x="7128" y="683"/>
                </a:lnTo>
                <a:lnTo>
                  <a:pt x="7129" y="683"/>
                </a:lnTo>
                <a:cubicBezTo>
                  <a:pt x="7130" y="683"/>
                  <a:pt x="7130" y="682"/>
                  <a:pt x="7131" y="681"/>
                </a:cubicBezTo>
                <a:cubicBezTo>
                  <a:pt x="7132" y="680"/>
                  <a:pt x="7132" y="680"/>
                  <a:pt x="7132" y="679"/>
                </a:cubicBezTo>
                <a:cubicBezTo>
                  <a:pt x="7132" y="679"/>
                  <a:pt x="7132" y="679"/>
                  <a:pt x="7132" y="679"/>
                </a:cubicBezTo>
                <a:cubicBezTo>
                  <a:pt x="7133" y="679"/>
                  <a:pt x="7134" y="679"/>
                  <a:pt x="7136" y="681"/>
                </a:cubicBezTo>
                <a:cubicBezTo>
                  <a:pt x="7138" y="683"/>
                  <a:pt x="7140" y="683"/>
                  <a:pt x="7141" y="683"/>
                </a:cubicBezTo>
                <a:lnTo>
                  <a:pt x="7144" y="683"/>
                </a:lnTo>
                <a:cubicBezTo>
                  <a:pt x="7144" y="683"/>
                  <a:pt x="7144" y="683"/>
                  <a:pt x="7144" y="683"/>
                </a:cubicBezTo>
                <a:lnTo>
                  <a:pt x="7144" y="685"/>
                </a:lnTo>
                <a:cubicBezTo>
                  <a:pt x="7143" y="687"/>
                  <a:pt x="7142" y="688"/>
                  <a:pt x="7140" y="688"/>
                </a:cubicBezTo>
                <a:lnTo>
                  <a:pt x="7138" y="688"/>
                </a:lnTo>
                <a:cubicBezTo>
                  <a:pt x="7136" y="688"/>
                  <a:pt x="7136" y="688"/>
                  <a:pt x="7136" y="688"/>
                </a:cubicBezTo>
                <a:cubicBezTo>
                  <a:pt x="7136" y="690"/>
                  <a:pt x="7147" y="695"/>
                  <a:pt x="7169" y="703"/>
                </a:cubicBezTo>
                <a:cubicBezTo>
                  <a:pt x="7179" y="707"/>
                  <a:pt x="7185" y="709"/>
                  <a:pt x="7186" y="709"/>
                </a:cubicBezTo>
                <a:cubicBezTo>
                  <a:pt x="7188" y="709"/>
                  <a:pt x="7189" y="708"/>
                  <a:pt x="7189" y="706"/>
                </a:cubicBezTo>
                <a:cubicBezTo>
                  <a:pt x="7189" y="705"/>
                  <a:pt x="7189" y="704"/>
                  <a:pt x="7190" y="704"/>
                </a:cubicBezTo>
                <a:lnTo>
                  <a:pt x="7190" y="707"/>
                </a:lnTo>
                <a:cubicBezTo>
                  <a:pt x="7190" y="709"/>
                  <a:pt x="7191" y="710"/>
                  <a:pt x="7193" y="712"/>
                </a:cubicBezTo>
                <a:cubicBezTo>
                  <a:pt x="7194" y="713"/>
                  <a:pt x="7196" y="713"/>
                  <a:pt x="7198" y="713"/>
                </a:cubicBezTo>
                <a:cubicBezTo>
                  <a:pt x="7200" y="713"/>
                  <a:pt x="7201" y="713"/>
                  <a:pt x="7203" y="712"/>
                </a:cubicBezTo>
                <a:cubicBezTo>
                  <a:pt x="7204" y="710"/>
                  <a:pt x="7205" y="710"/>
                  <a:pt x="7205" y="710"/>
                </a:cubicBezTo>
                <a:cubicBezTo>
                  <a:pt x="7206" y="710"/>
                  <a:pt x="7206" y="710"/>
                  <a:pt x="7206" y="710"/>
                </a:cubicBezTo>
                <a:lnTo>
                  <a:pt x="7204" y="715"/>
                </a:lnTo>
                <a:cubicBezTo>
                  <a:pt x="7204" y="716"/>
                  <a:pt x="7204" y="716"/>
                  <a:pt x="7204" y="716"/>
                </a:cubicBezTo>
                <a:cubicBezTo>
                  <a:pt x="7204" y="716"/>
                  <a:pt x="7205" y="715"/>
                  <a:pt x="7207" y="714"/>
                </a:cubicBezTo>
                <a:cubicBezTo>
                  <a:pt x="7208" y="713"/>
                  <a:pt x="7209" y="713"/>
                  <a:pt x="7209" y="713"/>
                </a:cubicBezTo>
                <a:cubicBezTo>
                  <a:pt x="7210" y="713"/>
                  <a:pt x="7210" y="713"/>
                  <a:pt x="7210" y="714"/>
                </a:cubicBezTo>
                <a:cubicBezTo>
                  <a:pt x="7210" y="715"/>
                  <a:pt x="7215" y="719"/>
                  <a:pt x="7224" y="726"/>
                </a:cubicBezTo>
                <a:cubicBezTo>
                  <a:pt x="7242" y="738"/>
                  <a:pt x="7251" y="745"/>
                  <a:pt x="7251" y="749"/>
                </a:cubicBezTo>
                <a:cubicBezTo>
                  <a:pt x="7251" y="750"/>
                  <a:pt x="7253" y="754"/>
                  <a:pt x="7256" y="760"/>
                </a:cubicBezTo>
                <a:cubicBezTo>
                  <a:pt x="7260" y="765"/>
                  <a:pt x="7261" y="770"/>
                  <a:pt x="7261" y="777"/>
                </a:cubicBezTo>
                <a:cubicBezTo>
                  <a:pt x="7261" y="793"/>
                  <a:pt x="7249" y="810"/>
                  <a:pt x="7224" y="828"/>
                </a:cubicBezTo>
                <a:cubicBezTo>
                  <a:pt x="7221" y="830"/>
                  <a:pt x="7218" y="832"/>
                  <a:pt x="7216" y="835"/>
                </a:cubicBezTo>
                <a:cubicBezTo>
                  <a:pt x="7214" y="837"/>
                  <a:pt x="7206" y="841"/>
                  <a:pt x="7193" y="846"/>
                </a:cubicBezTo>
                <a:cubicBezTo>
                  <a:pt x="7161" y="860"/>
                  <a:pt x="7132" y="869"/>
                  <a:pt x="7106" y="874"/>
                </a:cubicBezTo>
                <a:cubicBezTo>
                  <a:pt x="7080" y="879"/>
                  <a:pt x="7060" y="882"/>
                  <a:pt x="7045" y="883"/>
                </a:cubicBezTo>
                <a:cubicBezTo>
                  <a:pt x="7038" y="883"/>
                  <a:pt x="7035" y="884"/>
                  <a:pt x="7033" y="885"/>
                </a:cubicBezTo>
                <a:lnTo>
                  <a:pt x="7032" y="886"/>
                </a:lnTo>
                <a:cubicBezTo>
                  <a:pt x="7032" y="886"/>
                  <a:pt x="7032" y="885"/>
                  <a:pt x="7032" y="884"/>
                </a:cubicBezTo>
                <a:cubicBezTo>
                  <a:pt x="7032" y="882"/>
                  <a:pt x="7032" y="882"/>
                  <a:pt x="7031" y="882"/>
                </a:cubicBezTo>
                <a:cubicBezTo>
                  <a:pt x="7031" y="882"/>
                  <a:pt x="7030" y="882"/>
                  <a:pt x="7029" y="884"/>
                </a:cubicBezTo>
                <a:lnTo>
                  <a:pt x="7028" y="886"/>
                </a:lnTo>
                <a:close/>
                <a:moveTo>
                  <a:pt x="7119" y="600"/>
                </a:moveTo>
                <a:cubicBezTo>
                  <a:pt x="7119" y="599"/>
                  <a:pt x="7121" y="597"/>
                  <a:pt x="7123" y="594"/>
                </a:cubicBezTo>
                <a:lnTo>
                  <a:pt x="7125" y="590"/>
                </a:lnTo>
                <a:cubicBezTo>
                  <a:pt x="7125" y="590"/>
                  <a:pt x="7124" y="591"/>
                  <a:pt x="7122" y="593"/>
                </a:cubicBezTo>
                <a:cubicBezTo>
                  <a:pt x="7120" y="595"/>
                  <a:pt x="7119" y="596"/>
                  <a:pt x="7119" y="598"/>
                </a:cubicBezTo>
                <a:cubicBezTo>
                  <a:pt x="7119" y="599"/>
                  <a:pt x="7119" y="600"/>
                  <a:pt x="7119" y="600"/>
                </a:cubicBezTo>
                <a:close/>
                <a:moveTo>
                  <a:pt x="7129" y="586"/>
                </a:moveTo>
                <a:cubicBezTo>
                  <a:pt x="7131" y="586"/>
                  <a:pt x="7136" y="580"/>
                  <a:pt x="7145" y="569"/>
                </a:cubicBezTo>
                <a:lnTo>
                  <a:pt x="7153" y="559"/>
                </a:lnTo>
                <a:cubicBezTo>
                  <a:pt x="7153" y="559"/>
                  <a:pt x="7149" y="562"/>
                  <a:pt x="7143" y="569"/>
                </a:cubicBezTo>
                <a:cubicBezTo>
                  <a:pt x="7134" y="579"/>
                  <a:pt x="7129" y="585"/>
                  <a:pt x="7129" y="585"/>
                </a:cubicBezTo>
                <a:lnTo>
                  <a:pt x="7129" y="586"/>
                </a:lnTo>
                <a:close/>
                <a:moveTo>
                  <a:pt x="7127" y="579"/>
                </a:moveTo>
                <a:cubicBezTo>
                  <a:pt x="7128" y="579"/>
                  <a:pt x="7131" y="577"/>
                  <a:pt x="7135" y="572"/>
                </a:cubicBezTo>
                <a:cubicBezTo>
                  <a:pt x="7137" y="569"/>
                  <a:pt x="7139" y="568"/>
                  <a:pt x="7139" y="567"/>
                </a:cubicBezTo>
                <a:cubicBezTo>
                  <a:pt x="7139" y="566"/>
                  <a:pt x="7138" y="566"/>
                  <a:pt x="7138" y="566"/>
                </a:cubicBezTo>
                <a:cubicBezTo>
                  <a:pt x="7136" y="566"/>
                  <a:pt x="7134" y="567"/>
                  <a:pt x="7134" y="568"/>
                </a:cubicBezTo>
                <a:lnTo>
                  <a:pt x="7134" y="568"/>
                </a:lnTo>
                <a:cubicBezTo>
                  <a:pt x="7134" y="569"/>
                  <a:pt x="7134" y="571"/>
                  <a:pt x="7132" y="573"/>
                </a:cubicBezTo>
                <a:lnTo>
                  <a:pt x="7131" y="574"/>
                </a:lnTo>
                <a:cubicBezTo>
                  <a:pt x="7129" y="577"/>
                  <a:pt x="7127" y="579"/>
                  <a:pt x="7127" y="579"/>
                </a:cubicBezTo>
                <a:close/>
                <a:moveTo>
                  <a:pt x="7129" y="603"/>
                </a:moveTo>
                <a:cubicBezTo>
                  <a:pt x="7129" y="603"/>
                  <a:pt x="7131" y="601"/>
                  <a:pt x="7133" y="599"/>
                </a:cubicBezTo>
                <a:cubicBezTo>
                  <a:pt x="7137" y="595"/>
                  <a:pt x="7139" y="593"/>
                  <a:pt x="7139" y="592"/>
                </a:cubicBezTo>
                <a:lnTo>
                  <a:pt x="7139" y="590"/>
                </a:lnTo>
                <a:cubicBezTo>
                  <a:pt x="7139" y="590"/>
                  <a:pt x="7139" y="589"/>
                  <a:pt x="7140" y="588"/>
                </a:cubicBezTo>
                <a:cubicBezTo>
                  <a:pt x="7140" y="587"/>
                  <a:pt x="7141" y="586"/>
                  <a:pt x="7141" y="585"/>
                </a:cubicBezTo>
                <a:lnTo>
                  <a:pt x="7143" y="584"/>
                </a:lnTo>
                <a:lnTo>
                  <a:pt x="7142" y="583"/>
                </a:lnTo>
                <a:cubicBezTo>
                  <a:pt x="7142" y="583"/>
                  <a:pt x="7141" y="585"/>
                  <a:pt x="7138" y="587"/>
                </a:cubicBezTo>
                <a:cubicBezTo>
                  <a:pt x="7136" y="590"/>
                  <a:pt x="7134" y="592"/>
                  <a:pt x="7133" y="593"/>
                </a:cubicBezTo>
                <a:cubicBezTo>
                  <a:pt x="7131" y="595"/>
                  <a:pt x="7131" y="596"/>
                  <a:pt x="7131" y="597"/>
                </a:cubicBezTo>
                <a:lnTo>
                  <a:pt x="7131" y="598"/>
                </a:lnTo>
                <a:cubicBezTo>
                  <a:pt x="7131" y="598"/>
                  <a:pt x="7130" y="600"/>
                  <a:pt x="7129" y="602"/>
                </a:cubicBezTo>
                <a:lnTo>
                  <a:pt x="7129" y="603"/>
                </a:lnTo>
                <a:close/>
                <a:moveTo>
                  <a:pt x="7143" y="595"/>
                </a:moveTo>
                <a:cubicBezTo>
                  <a:pt x="7144" y="595"/>
                  <a:pt x="7144" y="595"/>
                  <a:pt x="7145" y="593"/>
                </a:cubicBezTo>
                <a:cubicBezTo>
                  <a:pt x="7146" y="593"/>
                  <a:pt x="7147" y="592"/>
                  <a:pt x="7147" y="591"/>
                </a:cubicBezTo>
                <a:lnTo>
                  <a:pt x="7149" y="588"/>
                </a:lnTo>
                <a:lnTo>
                  <a:pt x="7149" y="588"/>
                </a:lnTo>
                <a:lnTo>
                  <a:pt x="7146" y="590"/>
                </a:lnTo>
                <a:cubicBezTo>
                  <a:pt x="7144" y="592"/>
                  <a:pt x="7142" y="594"/>
                  <a:pt x="7142" y="595"/>
                </a:cubicBezTo>
                <a:cubicBezTo>
                  <a:pt x="7142" y="595"/>
                  <a:pt x="7143" y="595"/>
                  <a:pt x="7143" y="595"/>
                </a:cubicBezTo>
                <a:close/>
                <a:moveTo>
                  <a:pt x="7150" y="585"/>
                </a:moveTo>
                <a:cubicBezTo>
                  <a:pt x="7151" y="585"/>
                  <a:pt x="7153" y="583"/>
                  <a:pt x="7157" y="578"/>
                </a:cubicBezTo>
                <a:lnTo>
                  <a:pt x="7162" y="573"/>
                </a:lnTo>
                <a:cubicBezTo>
                  <a:pt x="7161" y="573"/>
                  <a:pt x="7159" y="574"/>
                  <a:pt x="7156" y="577"/>
                </a:cubicBezTo>
                <a:cubicBezTo>
                  <a:pt x="7152" y="581"/>
                  <a:pt x="7149" y="583"/>
                  <a:pt x="7149" y="584"/>
                </a:cubicBezTo>
                <a:cubicBezTo>
                  <a:pt x="7149" y="585"/>
                  <a:pt x="7149" y="585"/>
                  <a:pt x="7150" y="585"/>
                </a:cubicBezTo>
                <a:close/>
                <a:moveTo>
                  <a:pt x="7196" y="451"/>
                </a:moveTo>
                <a:cubicBezTo>
                  <a:pt x="7197" y="451"/>
                  <a:pt x="7197" y="450"/>
                  <a:pt x="7197" y="448"/>
                </a:cubicBezTo>
                <a:cubicBezTo>
                  <a:pt x="7197" y="447"/>
                  <a:pt x="7196" y="446"/>
                  <a:pt x="7195" y="446"/>
                </a:cubicBezTo>
                <a:cubicBezTo>
                  <a:pt x="7194" y="446"/>
                  <a:pt x="7193" y="446"/>
                  <a:pt x="7193" y="447"/>
                </a:cubicBezTo>
                <a:cubicBezTo>
                  <a:pt x="7193" y="447"/>
                  <a:pt x="7193" y="448"/>
                  <a:pt x="7194" y="449"/>
                </a:cubicBezTo>
                <a:cubicBezTo>
                  <a:pt x="7194" y="450"/>
                  <a:pt x="7195" y="451"/>
                  <a:pt x="7196" y="451"/>
                </a:cubicBezTo>
                <a:close/>
                <a:moveTo>
                  <a:pt x="7183" y="444"/>
                </a:moveTo>
                <a:cubicBezTo>
                  <a:pt x="7183" y="444"/>
                  <a:pt x="7184" y="443"/>
                  <a:pt x="7185" y="441"/>
                </a:cubicBezTo>
                <a:lnTo>
                  <a:pt x="7185" y="441"/>
                </a:lnTo>
                <a:cubicBezTo>
                  <a:pt x="7185" y="440"/>
                  <a:pt x="7185" y="439"/>
                  <a:pt x="7184" y="439"/>
                </a:cubicBezTo>
                <a:cubicBezTo>
                  <a:pt x="7182" y="439"/>
                  <a:pt x="7182" y="440"/>
                  <a:pt x="7182" y="441"/>
                </a:cubicBezTo>
                <a:cubicBezTo>
                  <a:pt x="7182" y="443"/>
                  <a:pt x="7182" y="444"/>
                  <a:pt x="7183" y="444"/>
                </a:cubicBezTo>
                <a:close/>
                <a:moveTo>
                  <a:pt x="7163" y="439"/>
                </a:moveTo>
                <a:cubicBezTo>
                  <a:pt x="7165" y="439"/>
                  <a:pt x="7166" y="438"/>
                  <a:pt x="7166" y="438"/>
                </a:cubicBezTo>
                <a:cubicBezTo>
                  <a:pt x="7165" y="437"/>
                  <a:pt x="7164" y="437"/>
                  <a:pt x="7164" y="437"/>
                </a:cubicBezTo>
                <a:lnTo>
                  <a:pt x="7162" y="437"/>
                </a:lnTo>
                <a:lnTo>
                  <a:pt x="7161" y="438"/>
                </a:lnTo>
                <a:cubicBezTo>
                  <a:pt x="7161" y="439"/>
                  <a:pt x="7161" y="439"/>
                  <a:pt x="7163" y="439"/>
                </a:cubicBezTo>
                <a:close/>
                <a:moveTo>
                  <a:pt x="7153" y="464"/>
                </a:moveTo>
                <a:cubicBezTo>
                  <a:pt x="7154" y="464"/>
                  <a:pt x="7156" y="464"/>
                  <a:pt x="7157" y="462"/>
                </a:cubicBezTo>
                <a:lnTo>
                  <a:pt x="7157" y="462"/>
                </a:lnTo>
                <a:cubicBezTo>
                  <a:pt x="7157" y="461"/>
                  <a:pt x="7157" y="460"/>
                  <a:pt x="7156" y="460"/>
                </a:cubicBezTo>
                <a:lnTo>
                  <a:pt x="7154" y="461"/>
                </a:lnTo>
                <a:cubicBezTo>
                  <a:pt x="7152" y="462"/>
                  <a:pt x="7152" y="463"/>
                  <a:pt x="7152" y="464"/>
                </a:cubicBezTo>
                <a:cubicBezTo>
                  <a:pt x="7152" y="464"/>
                  <a:pt x="7152" y="464"/>
                  <a:pt x="7153" y="464"/>
                </a:cubicBezTo>
                <a:close/>
                <a:moveTo>
                  <a:pt x="7144" y="467"/>
                </a:moveTo>
                <a:cubicBezTo>
                  <a:pt x="7146" y="467"/>
                  <a:pt x="7147" y="466"/>
                  <a:pt x="7148" y="464"/>
                </a:cubicBezTo>
                <a:lnTo>
                  <a:pt x="7148" y="464"/>
                </a:lnTo>
                <a:cubicBezTo>
                  <a:pt x="7148" y="463"/>
                  <a:pt x="7148" y="463"/>
                  <a:pt x="7148" y="463"/>
                </a:cubicBezTo>
                <a:lnTo>
                  <a:pt x="7146" y="464"/>
                </a:lnTo>
                <a:cubicBezTo>
                  <a:pt x="7144" y="465"/>
                  <a:pt x="7142" y="465"/>
                  <a:pt x="7142" y="466"/>
                </a:cubicBezTo>
                <a:cubicBezTo>
                  <a:pt x="7142" y="466"/>
                  <a:pt x="7143" y="467"/>
                  <a:pt x="7144" y="467"/>
                </a:cubicBezTo>
                <a:close/>
                <a:moveTo>
                  <a:pt x="7133" y="443"/>
                </a:moveTo>
                <a:cubicBezTo>
                  <a:pt x="7134" y="443"/>
                  <a:pt x="7134" y="443"/>
                  <a:pt x="7135" y="443"/>
                </a:cubicBezTo>
                <a:cubicBezTo>
                  <a:pt x="7136" y="443"/>
                  <a:pt x="7137" y="442"/>
                  <a:pt x="7138" y="441"/>
                </a:cubicBezTo>
                <a:cubicBezTo>
                  <a:pt x="7139" y="441"/>
                  <a:pt x="7140" y="440"/>
                  <a:pt x="7140" y="440"/>
                </a:cubicBezTo>
                <a:cubicBezTo>
                  <a:pt x="7140" y="440"/>
                  <a:pt x="7140" y="439"/>
                  <a:pt x="7139" y="439"/>
                </a:cubicBezTo>
                <a:cubicBezTo>
                  <a:pt x="7138" y="439"/>
                  <a:pt x="7136" y="440"/>
                  <a:pt x="7134" y="441"/>
                </a:cubicBezTo>
                <a:cubicBezTo>
                  <a:pt x="7132" y="442"/>
                  <a:pt x="7132" y="443"/>
                  <a:pt x="7132" y="443"/>
                </a:cubicBezTo>
                <a:cubicBezTo>
                  <a:pt x="7132" y="443"/>
                  <a:pt x="7132" y="443"/>
                  <a:pt x="7133" y="443"/>
                </a:cubicBezTo>
                <a:close/>
                <a:moveTo>
                  <a:pt x="7127" y="478"/>
                </a:moveTo>
                <a:cubicBezTo>
                  <a:pt x="7128" y="478"/>
                  <a:pt x="7129" y="477"/>
                  <a:pt x="7130" y="476"/>
                </a:cubicBezTo>
                <a:cubicBezTo>
                  <a:pt x="7131" y="475"/>
                  <a:pt x="7132" y="474"/>
                  <a:pt x="7133" y="472"/>
                </a:cubicBezTo>
                <a:cubicBezTo>
                  <a:pt x="7134" y="471"/>
                  <a:pt x="7135" y="470"/>
                  <a:pt x="7136" y="469"/>
                </a:cubicBezTo>
                <a:cubicBezTo>
                  <a:pt x="7137" y="468"/>
                  <a:pt x="7138" y="468"/>
                  <a:pt x="7138" y="467"/>
                </a:cubicBezTo>
                <a:cubicBezTo>
                  <a:pt x="7137" y="467"/>
                  <a:pt x="7136" y="468"/>
                  <a:pt x="7134" y="469"/>
                </a:cubicBezTo>
                <a:cubicBezTo>
                  <a:pt x="7132" y="470"/>
                  <a:pt x="7131" y="471"/>
                  <a:pt x="7130" y="473"/>
                </a:cubicBezTo>
                <a:cubicBezTo>
                  <a:pt x="7129" y="474"/>
                  <a:pt x="7128" y="475"/>
                  <a:pt x="7127" y="476"/>
                </a:cubicBezTo>
                <a:lnTo>
                  <a:pt x="7127" y="478"/>
                </a:lnTo>
                <a:close/>
                <a:moveTo>
                  <a:pt x="7115" y="487"/>
                </a:moveTo>
                <a:lnTo>
                  <a:pt x="7115" y="487"/>
                </a:lnTo>
                <a:cubicBezTo>
                  <a:pt x="7116" y="487"/>
                  <a:pt x="7117" y="486"/>
                  <a:pt x="7117" y="485"/>
                </a:cubicBezTo>
                <a:lnTo>
                  <a:pt x="7118" y="483"/>
                </a:lnTo>
                <a:cubicBezTo>
                  <a:pt x="7118" y="483"/>
                  <a:pt x="7118" y="482"/>
                  <a:pt x="7117" y="482"/>
                </a:cubicBezTo>
                <a:cubicBezTo>
                  <a:pt x="7116" y="482"/>
                  <a:pt x="7115" y="482"/>
                  <a:pt x="7115" y="484"/>
                </a:cubicBezTo>
                <a:cubicBezTo>
                  <a:pt x="7115" y="486"/>
                  <a:pt x="7115" y="487"/>
                  <a:pt x="7115" y="487"/>
                </a:cubicBezTo>
                <a:close/>
                <a:moveTo>
                  <a:pt x="7109" y="492"/>
                </a:moveTo>
                <a:cubicBezTo>
                  <a:pt x="7110" y="492"/>
                  <a:pt x="7110" y="491"/>
                  <a:pt x="7111" y="490"/>
                </a:cubicBezTo>
                <a:lnTo>
                  <a:pt x="7111" y="490"/>
                </a:lnTo>
                <a:cubicBezTo>
                  <a:pt x="7111" y="488"/>
                  <a:pt x="7110" y="488"/>
                  <a:pt x="7109" y="488"/>
                </a:cubicBezTo>
                <a:cubicBezTo>
                  <a:pt x="7107" y="488"/>
                  <a:pt x="7107" y="488"/>
                  <a:pt x="7107" y="489"/>
                </a:cubicBezTo>
                <a:lnTo>
                  <a:pt x="7107" y="490"/>
                </a:lnTo>
                <a:cubicBezTo>
                  <a:pt x="7108" y="491"/>
                  <a:pt x="7108" y="492"/>
                  <a:pt x="7109" y="492"/>
                </a:cubicBezTo>
                <a:close/>
                <a:moveTo>
                  <a:pt x="7100" y="499"/>
                </a:moveTo>
                <a:cubicBezTo>
                  <a:pt x="7101" y="499"/>
                  <a:pt x="7102" y="497"/>
                  <a:pt x="7104" y="495"/>
                </a:cubicBezTo>
                <a:cubicBezTo>
                  <a:pt x="7105" y="493"/>
                  <a:pt x="7105" y="492"/>
                  <a:pt x="7105" y="492"/>
                </a:cubicBezTo>
                <a:cubicBezTo>
                  <a:pt x="7105" y="492"/>
                  <a:pt x="7104" y="492"/>
                  <a:pt x="7103" y="494"/>
                </a:cubicBezTo>
                <a:cubicBezTo>
                  <a:pt x="7100" y="496"/>
                  <a:pt x="7099" y="497"/>
                  <a:pt x="7099" y="498"/>
                </a:cubicBezTo>
                <a:cubicBezTo>
                  <a:pt x="7099" y="498"/>
                  <a:pt x="7099" y="499"/>
                  <a:pt x="7100" y="499"/>
                </a:cubicBezTo>
                <a:close/>
                <a:moveTo>
                  <a:pt x="7084" y="512"/>
                </a:moveTo>
                <a:cubicBezTo>
                  <a:pt x="7085" y="512"/>
                  <a:pt x="7087" y="509"/>
                  <a:pt x="7091" y="505"/>
                </a:cubicBezTo>
                <a:cubicBezTo>
                  <a:pt x="7095" y="502"/>
                  <a:pt x="7097" y="499"/>
                  <a:pt x="7097" y="498"/>
                </a:cubicBezTo>
                <a:cubicBezTo>
                  <a:pt x="7096" y="498"/>
                  <a:pt x="7094" y="501"/>
                  <a:pt x="7089" y="506"/>
                </a:cubicBezTo>
                <a:lnTo>
                  <a:pt x="7084" y="512"/>
                </a:lnTo>
                <a:close/>
                <a:moveTo>
                  <a:pt x="7070" y="538"/>
                </a:moveTo>
                <a:cubicBezTo>
                  <a:pt x="7071" y="538"/>
                  <a:pt x="7072" y="537"/>
                  <a:pt x="7074" y="536"/>
                </a:cubicBezTo>
                <a:cubicBezTo>
                  <a:pt x="7075" y="534"/>
                  <a:pt x="7076" y="534"/>
                  <a:pt x="7077" y="534"/>
                </a:cubicBezTo>
                <a:cubicBezTo>
                  <a:pt x="7077" y="534"/>
                  <a:pt x="7077" y="534"/>
                  <a:pt x="7077" y="534"/>
                </a:cubicBezTo>
                <a:cubicBezTo>
                  <a:pt x="7077" y="535"/>
                  <a:pt x="7077" y="535"/>
                  <a:pt x="7078" y="535"/>
                </a:cubicBezTo>
                <a:cubicBezTo>
                  <a:pt x="7079" y="535"/>
                  <a:pt x="7080" y="534"/>
                  <a:pt x="7082" y="532"/>
                </a:cubicBezTo>
                <a:cubicBezTo>
                  <a:pt x="7084" y="530"/>
                  <a:pt x="7085" y="528"/>
                  <a:pt x="7085" y="527"/>
                </a:cubicBezTo>
                <a:lnTo>
                  <a:pt x="7085" y="526"/>
                </a:lnTo>
                <a:cubicBezTo>
                  <a:pt x="7085" y="525"/>
                  <a:pt x="7085" y="524"/>
                  <a:pt x="7086" y="522"/>
                </a:cubicBezTo>
                <a:cubicBezTo>
                  <a:pt x="7087" y="520"/>
                  <a:pt x="7089" y="518"/>
                  <a:pt x="7090" y="516"/>
                </a:cubicBezTo>
                <a:cubicBezTo>
                  <a:pt x="7092" y="514"/>
                  <a:pt x="7093" y="514"/>
                  <a:pt x="7093" y="513"/>
                </a:cubicBezTo>
                <a:lnTo>
                  <a:pt x="7092" y="513"/>
                </a:lnTo>
                <a:cubicBezTo>
                  <a:pt x="7092" y="513"/>
                  <a:pt x="7089" y="516"/>
                  <a:pt x="7084" y="521"/>
                </a:cubicBezTo>
                <a:cubicBezTo>
                  <a:pt x="7075" y="531"/>
                  <a:pt x="7070" y="537"/>
                  <a:pt x="7070" y="538"/>
                </a:cubicBezTo>
                <a:close/>
                <a:moveTo>
                  <a:pt x="7067" y="508"/>
                </a:moveTo>
                <a:lnTo>
                  <a:pt x="7068" y="507"/>
                </a:lnTo>
                <a:cubicBezTo>
                  <a:pt x="7069" y="506"/>
                  <a:pt x="7070" y="505"/>
                  <a:pt x="7071" y="504"/>
                </a:cubicBezTo>
                <a:cubicBezTo>
                  <a:pt x="7072" y="503"/>
                  <a:pt x="7074" y="502"/>
                  <a:pt x="7076" y="500"/>
                </a:cubicBezTo>
                <a:cubicBezTo>
                  <a:pt x="7077" y="498"/>
                  <a:pt x="7079" y="496"/>
                  <a:pt x="7080" y="495"/>
                </a:cubicBezTo>
                <a:cubicBezTo>
                  <a:pt x="7081" y="493"/>
                  <a:pt x="7082" y="492"/>
                  <a:pt x="7082" y="492"/>
                </a:cubicBezTo>
                <a:cubicBezTo>
                  <a:pt x="7081" y="492"/>
                  <a:pt x="7078" y="495"/>
                  <a:pt x="7073" y="500"/>
                </a:cubicBezTo>
                <a:cubicBezTo>
                  <a:pt x="7069" y="505"/>
                  <a:pt x="7067" y="507"/>
                  <a:pt x="7067" y="508"/>
                </a:cubicBezTo>
                <a:close/>
                <a:moveTo>
                  <a:pt x="7062" y="535"/>
                </a:moveTo>
                <a:cubicBezTo>
                  <a:pt x="7063" y="535"/>
                  <a:pt x="7065" y="534"/>
                  <a:pt x="7067" y="531"/>
                </a:cubicBezTo>
                <a:cubicBezTo>
                  <a:pt x="7069" y="528"/>
                  <a:pt x="7070" y="527"/>
                  <a:pt x="7070" y="526"/>
                </a:cubicBezTo>
                <a:cubicBezTo>
                  <a:pt x="7070" y="526"/>
                  <a:pt x="7068" y="528"/>
                  <a:pt x="7065" y="531"/>
                </a:cubicBezTo>
                <a:cubicBezTo>
                  <a:pt x="7063" y="534"/>
                  <a:pt x="7062" y="535"/>
                  <a:pt x="7062" y="535"/>
                </a:cubicBezTo>
                <a:close/>
                <a:moveTo>
                  <a:pt x="7119" y="682"/>
                </a:moveTo>
                <a:cubicBezTo>
                  <a:pt x="7120" y="682"/>
                  <a:pt x="7121" y="681"/>
                  <a:pt x="7122" y="680"/>
                </a:cubicBezTo>
                <a:lnTo>
                  <a:pt x="7122" y="679"/>
                </a:lnTo>
                <a:cubicBezTo>
                  <a:pt x="7122" y="678"/>
                  <a:pt x="7122" y="677"/>
                  <a:pt x="7120" y="677"/>
                </a:cubicBezTo>
                <a:cubicBezTo>
                  <a:pt x="7118" y="677"/>
                  <a:pt x="7117" y="678"/>
                  <a:pt x="7117" y="680"/>
                </a:cubicBezTo>
                <a:cubicBezTo>
                  <a:pt x="7117" y="681"/>
                  <a:pt x="7117" y="682"/>
                  <a:pt x="7119" y="682"/>
                </a:cubicBezTo>
                <a:close/>
                <a:moveTo>
                  <a:pt x="6990" y="856"/>
                </a:moveTo>
                <a:cubicBezTo>
                  <a:pt x="6991" y="856"/>
                  <a:pt x="6993" y="855"/>
                  <a:pt x="6993" y="853"/>
                </a:cubicBezTo>
                <a:lnTo>
                  <a:pt x="6995" y="849"/>
                </a:lnTo>
                <a:cubicBezTo>
                  <a:pt x="6995" y="848"/>
                  <a:pt x="6994" y="847"/>
                  <a:pt x="6991" y="847"/>
                </a:cubicBezTo>
                <a:cubicBezTo>
                  <a:pt x="6990" y="847"/>
                  <a:pt x="6989" y="848"/>
                  <a:pt x="6988" y="849"/>
                </a:cubicBezTo>
                <a:cubicBezTo>
                  <a:pt x="6987" y="850"/>
                  <a:pt x="6987" y="850"/>
                  <a:pt x="6987" y="852"/>
                </a:cubicBezTo>
                <a:cubicBezTo>
                  <a:pt x="6987" y="853"/>
                  <a:pt x="6987" y="853"/>
                  <a:pt x="6988" y="855"/>
                </a:cubicBezTo>
                <a:cubicBezTo>
                  <a:pt x="6988" y="856"/>
                  <a:pt x="6989" y="856"/>
                  <a:pt x="6990" y="856"/>
                </a:cubicBezTo>
                <a:close/>
                <a:moveTo>
                  <a:pt x="7070" y="865"/>
                </a:moveTo>
                <a:cubicBezTo>
                  <a:pt x="7072" y="865"/>
                  <a:pt x="7072" y="865"/>
                  <a:pt x="7072" y="865"/>
                </a:cubicBezTo>
                <a:lnTo>
                  <a:pt x="7072" y="864"/>
                </a:lnTo>
                <a:lnTo>
                  <a:pt x="7070" y="863"/>
                </a:lnTo>
                <a:cubicBezTo>
                  <a:pt x="7068" y="863"/>
                  <a:pt x="7067" y="864"/>
                  <a:pt x="7067" y="865"/>
                </a:cubicBezTo>
                <a:cubicBezTo>
                  <a:pt x="7067" y="865"/>
                  <a:pt x="7068" y="865"/>
                  <a:pt x="7070" y="865"/>
                </a:cubicBezTo>
                <a:close/>
                <a:moveTo>
                  <a:pt x="7083" y="863"/>
                </a:moveTo>
                <a:lnTo>
                  <a:pt x="7084" y="862"/>
                </a:lnTo>
                <a:lnTo>
                  <a:pt x="7083" y="862"/>
                </a:lnTo>
                <a:cubicBezTo>
                  <a:pt x="7083" y="861"/>
                  <a:pt x="7082" y="861"/>
                  <a:pt x="7082" y="861"/>
                </a:cubicBezTo>
                <a:cubicBezTo>
                  <a:pt x="7081" y="861"/>
                  <a:pt x="7080" y="861"/>
                  <a:pt x="7079" y="862"/>
                </a:cubicBezTo>
                <a:lnTo>
                  <a:pt x="7078" y="862"/>
                </a:lnTo>
                <a:lnTo>
                  <a:pt x="7083" y="863"/>
                </a:lnTo>
                <a:close/>
                <a:moveTo>
                  <a:pt x="7090" y="860"/>
                </a:moveTo>
                <a:cubicBezTo>
                  <a:pt x="7092" y="860"/>
                  <a:pt x="7094" y="860"/>
                  <a:pt x="7094" y="860"/>
                </a:cubicBezTo>
                <a:cubicBezTo>
                  <a:pt x="7094" y="860"/>
                  <a:pt x="7093" y="860"/>
                  <a:pt x="7093" y="860"/>
                </a:cubicBezTo>
                <a:lnTo>
                  <a:pt x="7091" y="859"/>
                </a:lnTo>
                <a:cubicBezTo>
                  <a:pt x="7089" y="859"/>
                  <a:pt x="7087" y="859"/>
                  <a:pt x="7087" y="860"/>
                </a:cubicBezTo>
                <a:lnTo>
                  <a:pt x="7090" y="860"/>
                </a:lnTo>
                <a:close/>
                <a:moveTo>
                  <a:pt x="7100" y="858"/>
                </a:moveTo>
                <a:lnTo>
                  <a:pt x="7103" y="858"/>
                </a:lnTo>
                <a:lnTo>
                  <a:pt x="7103" y="857"/>
                </a:lnTo>
                <a:cubicBezTo>
                  <a:pt x="7102" y="857"/>
                  <a:pt x="7102" y="856"/>
                  <a:pt x="7101" y="856"/>
                </a:cubicBezTo>
                <a:cubicBezTo>
                  <a:pt x="7100" y="856"/>
                  <a:pt x="7100" y="857"/>
                  <a:pt x="7099" y="857"/>
                </a:cubicBezTo>
                <a:lnTo>
                  <a:pt x="7098" y="858"/>
                </a:lnTo>
                <a:lnTo>
                  <a:pt x="7100" y="858"/>
                </a:lnTo>
                <a:close/>
                <a:moveTo>
                  <a:pt x="7111" y="856"/>
                </a:moveTo>
                <a:cubicBezTo>
                  <a:pt x="7112" y="856"/>
                  <a:pt x="7112" y="856"/>
                  <a:pt x="7112" y="855"/>
                </a:cubicBezTo>
                <a:lnTo>
                  <a:pt x="7111" y="855"/>
                </a:lnTo>
                <a:lnTo>
                  <a:pt x="7110" y="854"/>
                </a:lnTo>
                <a:cubicBezTo>
                  <a:pt x="7108" y="854"/>
                  <a:pt x="7107" y="855"/>
                  <a:pt x="7107" y="855"/>
                </a:cubicBezTo>
                <a:cubicBezTo>
                  <a:pt x="7107" y="856"/>
                  <a:pt x="7107" y="856"/>
                  <a:pt x="7109" y="856"/>
                </a:cubicBezTo>
                <a:lnTo>
                  <a:pt x="7111" y="856"/>
                </a:lnTo>
                <a:close/>
                <a:moveTo>
                  <a:pt x="7230" y="763"/>
                </a:moveTo>
                <a:cubicBezTo>
                  <a:pt x="7231" y="763"/>
                  <a:pt x="7231" y="762"/>
                  <a:pt x="7231" y="760"/>
                </a:cubicBezTo>
                <a:lnTo>
                  <a:pt x="7231" y="757"/>
                </a:lnTo>
                <a:lnTo>
                  <a:pt x="7230" y="757"/>
                </a:lnTo>
                <a:cubicBezTo>
                  <a:pt x="7230" y="757"/>
                  <a:pt x="7229" y="758"/>
                  <a:pt x="7229" y="760"/>
                </a:cubicBezTo>
                <a:cubicBezTo>
                  <a:pt x="7229" y="762"/>
                  <a:pt x="7230" y="763"/>
                  <a:pt x="7230" y="763"/>
                </a:cubicBezTo>
                <a:close/>
                <a:moveTo>
                  <a:pt x="7195" y="808"/>
                </a:moveTo>
                <a:lnTo>
                  <a:pt x="7203" y="804"/>
                </a:lnTo>
                <a:cubicBezTo>
                  <a:pt x="7211" y="800"/>
                  <a:pt x="7218" y="795"/>
                  <a:pt x="7225" y="787"/>
                </a:cubicBezTo>
                <a:cubicBezTo>
                  <a:pt x="7232" y="780"/>
                  <a:pt x="7236" y="775"/>
                  <a:pt x="7236" y="772"/>
                </a:cubicBezTo>
                <a:cubicBezTo>
                  <a:pt x="7236" y="770"/>
                  <a:pt x="7236" y="769"/>
                  <a:pt x="7235" y="769"/>
                </a:cubicBezTo>
                <a:cubicBezTo>
                  <a:pt x="7234" y="769"/>
                  <a:pt x="7230" y="773"/>
                  <a:pt x="7224" y="781"/>
                </a:cubicBezTo>
                <a:cubicBezTo>
                  <a:pt x="7216" y="789"/>
                  <a:pt x="7212" y="793"/>
                  <a:pt x="7210" y="793"/>
                </a:cubicBezTo>
                <a:lnTo>
                  <a:pt x="7209" y="793"/>
                </a:lnTo>
                <a:cubicBezTo>
                  <a:pt x="7208" y="793"/>
                  <a:pt x="7206" y="794"/>
                  <a:pt x="7205" y="797"/>
                </a:cubicBezTo>
                <a:cubicBezTo>
                  <a:pt x="7204" y="799"/>
                  <a:pt x="7203" y="800"/>
                  <a:pt x="7201" y="800"/>
                </a:cubicBezTo>
                <a:lnTo>
                  <a:pt x="7200" y="800"/>
                </a:lnTo>
                <a:cubicBezTo>
                  <a:pt x="7200" y="800"/>
                  <a:pt x="7199" y="800"/>
                  <a:pt x="7199" y="801"/>
                </a:cubicBezTo>
                <a:lnTo>
                  <a:pt x="7199" y="802"/>
                </a:lnTo>
                <a:cubicBezTo>
                  <a:pt x="7199" y="803"/>
                  <a:pt x="7198" y="805"/>
                  <a:pt x="7196" y="807"/>
                </a:cubicBezTo>
                <a:lnTo>
                  <a:pt x="7195" y="808"/>
                </a:lnTo>
                <a:close/>
                <a:moveTo>
                  <a:pt x="7117" y="854"/>
                </a:moveTo>
                <a:lnTo>
                  <a:pt x="7124" y="852"/>
                </a:lnTo>
                <a:lnTo>
                  <a:pt x="7127" y="850"/>
                </a:lnTo>
                <a:cubicBezTo>
                  <a:pt x="7127" y="850"/>
                  <a:pt x="7126" y="850"/>
                  <a:pt x="7125" y="850"/>
                </a:cubicBezTo>
                <a:cubicBezTo>
                  <a:pt x="7124" y="850"/>
                  <a:pt x="7123" y="850"/>
                  <a:pt x="7122" y="850"/>
                </a:cubicBezTo>
                <a:cubicBezTo>
                  <a:pt x="7120" y="851"/>
                  <a:pt x="7119" y="851"/>
                  <a:pt x="7119" y="852"/>
                </a:cubicBezTo>
                <a:cubicBezTo>
                  <a:pt x="7118" y="853"/>
                  <a:pt x="7117" y="853"/>
                  <a:pt x="7117" y="853"/>
                </a:cubicBezTo>
                <a:cubicBezTo>
                  <a:pt x="7117" y="854"/>
                  <a:pt x="7117" y="854"/>
                  <a:pt x="7117" y="854"/>
                </a:cubicBezTo>
                <a:close/>
                <a:moveTo>
                  <a:pt x="7130" y="849"/>
                </a:moveTo>
                <a:lnTo>
                  <a:pt x="7134" y="848"/>
                </a:lnTo>
                <a:cubicBezTo>
                  <a:pt x="7148" y="844"/>
                  <a:pt x="7163" y="838"/>
                  <a:pt x="7179" y="831"/>
                </a:cubicBezTo>
                <a:cubicBezTo>
                  <a:pt x="7192" y="826"/>
                  <a:pt x="7201" y="821"/>
                  <a:pt x="7206" y="817"/>
                </a:cubicBezTo>
                <a:cubicBezTo>
                  <a:pt x="7208" y="815"/>
                  <a:pt x="7211" y="813"/>
                  <a:pt x="7215" y="812"/>
                </a:cubicBezTo>
                <a:cubicBezTo>
                  <a:pt x="7219" y="810"/>
                  <a:pt x="7222" y="808"/>
                  <a:pt x="7225" y="806"/>
                </a:cubicBezTo>
                <a:cubicBezTo>
                  <a:pt x="7234" y="799"/>
                  <a:pt x="7240" y="791"/>
                  <a:pt x="7244" y="784"/>
                </a:cubicBezTo>
                <a:lnTo>
                  <a:pt x="7245" y="781"/>
                </a:lnTo>
                <a:cubicBezTo>
                  <a:pt x="7244" y="781"/>
                  <a:pt x="7239" y="785"/>
                  <a:pt x="7232" y="793"/>
                </a:cubicBezTo>
                <a:cubicBezTo>
                  <a:pt x="7211" y="813"/>
                  <a:pt x="7181" y="830"/>
                  <a:pt x="7142" y="844"/>
                </a:cubicBezTo>
                <a:cubicBezTo>
                  <a:pt x="7134" y="846"/>
                  <a:pt x="7129" y="848"/>
                  <a:pt x="7129" y="849"/>
                </a:cubicBezTo>
                <a:cubicBezTo>
                  <a:pt x="7129" y="849"/>
                  <a:pt x="7130" y="849"/>
                  <a:pt x="7130" y="849"/>
                </a:cubicBezTo>
                <a:close/>
                <a:moveTo>
                  <a:pt x="7221" y="807"/>
                </a:moveTo>
                <a:close/>
                <a:moveTo>
                  <a:pt x="7221" y="808"/>
                </a:moveTo>
                <a:cubicBezTo>
                  <a:pt x="7221" y="808"/>
                  <a:pt x="7221" y="808"/>
                  <a:pt x="7221" y="807"/>
                </a:cubicBezTo>
                <a:lnTo>
                  <a:pt x="7221" y="806"/>
                </a:lnTo>
                <a:cubicBezTo>
                  <a:pt x="7224" y="803"/>
                  <a:pt x="7226" y="801"/>
                  <a:pt x="7227" y="801"/>
                </a:cubicBezTo>
                <a:lnTo>
                  <a:pt x="7227" y="802"/>
                </a:lnTo>
                <a:lnTo>
                  <a:pt x="7225" y="805"/>
                </a:lnTo>
                <a:cubicBezTo>
                  <a:pt x="7223" y="807"/>
                  <a:pt x="7222" y="808"/>
                  <a:pt x="7221" y="808"/>
                </a:cubicBezTo>
                <a:close/>
                <a:moveTo>
                  <a:pt x="7194" y="788"/>
                </a:moveTo>
                <a:cubicBezTo>
                  <a:pt x="7193" y="788"/>
                  <a:pt x="7193" y="787"/>
                  <a:pt x="7192" y="786"/>
                </a:cubicBezTo>
                <a:cubicBezTo>
                  <a:pt x="7192" y="786"/>
                  <a:pt x="7191" y="785"/>
                  <a:pt x="7191" y="785"/>
                </a:cubicBezTo>
                <a:cubicBezTo>
                  <a:pt x="7191" y="784"/>
                  <a:pt x="7192" y="783"/>
                  <a:pt x="7192" y="783"/>
                </a:cubicBezTo>
                <a:cubicBezTo>
                  <a:pt x="7194" y="783"/>
                  <a:pt x="7195" y="784"/>
                  <a:pt x="7195" y="786"/>
                </a:cubicBezTo>
                <a:cubicBezTo>
                  <a:pt x="7195" y="787"/>
                  <a:pt x="7194" y="788"/>
                  <a:pt x="7194" y="788"/>
                </a:cubicBezTo>
                <a:close/>
                <a:moveTo>
                  <a:pt x="7184" y="705"/>
                </a:moveTo>
                <a:cubicBezTo>
                  <a:pt x="7182" y="705"/>
                  <a:pt x="7182" y="704"/>
                  <a:pt x="7182" y="703"/>
                </a:cubicBezTo>
                <a:cubicBezTo>
                  <a:pt x="7182" y="702"/>
                  <a:pt x="7182" y="701"/>
                  <a:pt x="7183" y="701"/>
                </a:cubicBezTo>
                <a:lnTo>
                  <a:pt x="7184" y="702"/>
                </a:lnTo>
                <a:cubicBezTo>
                  <a:pt x="7185" y="703"/>
                  <a:pt x="7186" y="703"/>
                  <a:pt x="7186" y="704"/>
                </a:cubicBezTo>
                <a:cubicBezTo>
                  <a:pt x="7186" y="705"/>
                  <a:pt x="7185" y="705"/>
                  <a:pt x="7184" y="705"/>
                </a:cubicBezTo>
                <a:close/>
                <a:moveTo>
                  <a:pt x="7200" y="712"/>
                </a:moveTo>
                <a:cubicBezTo>
                  <a:pt x="7199" y="712"/>
                  <a:pt x="7197" y="711"/>
                  <a:pt x="7195" y="710"/>
                </a:cubicBezTo>
                <a:cubicBezTo>
                  <a:pt x="7194" y="710"/>
                  <a:pt x="7193" y="708"/>
                  <a:pt x="7193" y="707"/>
                </a:cubicBezTo>
                <a:cubicBezTo>
                  <a:pt x="7193" y="706"/>
                  <a:pt x="7193" y="706"/>
                  <a:pt x="7193" y="706"/>
                </a:cubicBezTo>
                <a:cubicBezTo>
                  <a:pt x="7194" y="706"/>
                  <a:pt x="7195" y="706"/>
                  <a:pt x="7196" y="707"/>
                </a:cubicBezTo>
                <a:cubicBezTo>
                  <a:pt x="7196" y="708"/>
                  <a:pt x="7198" y="709"/>
                  <a:pt x="7198" y="709"/>
                </a:cubicBezTo>
                <a:cubicBezTo>
                  <a:pt x="7199" y="709"/>
                  <a:pt x="7200" y="709"/>
                  <a:pt x="7200" y="708"/>
                </a:cubicBezTo>
                <a:lnTo>
                  <a:pt x="7200" y="708"/>
                </a:lnTo>
                <a:cubicBezTo>
                  <a:pt x="7201" y="708"/>
                  <a:pt x="7201" y="708"/>
                  <a:pt x="7201" y="709"/>
                </a:cubicBezTo>
                <a:cubicBezTo>
                  <a:pt x="7201" y="711"/>
                  <a:pt x="7201" y="712"/>
                  <a:pt x="7200" y="712"/>
                </a:cubicBezTo>
                <a:close/>
                <a:moveTo>
                  <a:pt x="7172" y="703"/>
                </a:moveTo>
                <a:cubicBezTo>
                  <a:pt x="7171" y="703"/>
                  <a:pt x="7171" y="702"/>
                  <a:pt x="7171" y="699"/>
                </a:cubicBezTo>
                <a:cubicBezTo>
                  <a:pt x="7171" y="698"/>
                  <a:pt x="7171" y="697"/>
                  <a:pt x="7172" y="697"/>
                </a:cubicBezTo>
                <a:cubicBezTo>
                  <a:pt x="7172" y="697"/>
                  <a:pt x="7173" y="697"/>
                  <a:pt x="7173" y="698"/>
                </a:cubicBezTo>
                <a:cubicBezTo>
                  <a:pt x="7174" y="698"/>
                  <a:pt x="7174" y="699"/>
                  <a:pt x="7174" y="700"/>
                </a:cubicBezTo>
                <a:cubicBezTo>
                  <a:pt x="7174" y="700"/>
                  <a:pt x="7174" y="701"/>
                  <a:pt x="7173" y="701"/>
                </a:cubicBezTo>
                <a:cubicBezTo>
                  <a:pt x="7173" y="702"/>
                  <a:pt x="7172" y="703"/>
                  <a:pt x="7172" y="703"/>
                </a:cubicBezTo>
                <a:close/>
                <a:moveTo>
                  <a:pt x="7058" y="499"/>
                </a:moveTo>
                <a:cubicBezTo>
                  <a:pt x="7058" y="498"/>
                  <a:pt x="7060" y="495"/>
                  <a:pt x="7063" y="491"/>
                </a:cubicBezTo>
                <a:cubicBezTo>
                  <a:pt x="7065" y="489"/>
                  <a:pt x="7067" y="486"/>
                  <a:pt x="7070" y="484"/>
                </a:cubicBezTo>
                <a:cubicBezTo>
                  <a:pt x="7072" y="481"/>
                  <a:pt x="7075" y="479"/>
                  <a:pt x="7077" y="477"/>
                </a:cubicBezTo>
                <a:cubicBezTo>
                  <a:pt x="7079" y="475"/>
                  <a:pt x="7080" y="474"/>
                  <a:pt x="7081" y="474"/>
                </a:cubicBezTo>
                <a:lnTo>
                  <a:pt x="7081" y="475"/>
                </a:lnTo>
                <a:cubicBezTo>
                  <a:pt x="7081" y="475"/>
                  <a:pt x="7078" y="479"/>
                  <a:pt x="7072" y="485"/>
                </a:cubicBezTo>
                <a:cubicBezTo>
                  <a:pt x="7064" y="494"/>
                  <a:pt x="7059" y="499"/>
                  <a:pt x="7058" y="499"/>
                </a:cubicBezTo>
                <a:close/>
                <a:moveTo>
                  <a:pt x="7097" y="462"/>
                </a:moveTo>
                <a:cubicBezTo>
                  <a:pt x="7096" y="462"/>
                  <a:pt x="7095" y="462"/>
                  <a:pt x="7095" y="461"/>
                </a:cubicBezTo>
                <a:cubicBezTo>
                  <a:pt x="7095" y="461"/>
                  <a:pt x="7096" y="460"/>
                  <a:pt x="7096" y="459"/>
                </a:cubicBezTo>
                <a:cubicBezTo>
                  <a:pt x="7097" y="458"/>
                  <a:pt x="7097" y="458"/>
                  <a:pt x="7098" y="458"/>
                </a:cubicBezTo>
                <a:cubicBezTo>
                  <a:pt x="7099" y="458"/>
                  <a:pt x="7099" y="458"/>
                  <a:pt x="7099" y="460"/>
                </a:cubicBezTo>
                <a:cubicBezTo>
                  <a:pt x="7099" y="462"/>
                  <a:pt x="7098" y="462"/>
                  <a:pt x="7097" y="462"/>
                </a:cubicBezTo>
                <a:close/>
                <a:moveTo>
                  <a:pt x="7103" y="458"/>
                </a:moveTo>
                <a:cubicBezTo>
                  <a:pt x="7102" y="458"/>
                  <a:pt x="7102" y="457"/>
                  <a:pt x="7102" y="457"/>
                </a:cubicBezTo>
                <a:lnTo>
                  <a:pt x="7102" y="456"/>
                </a:lnTo>
                <a:cubicBezTo>
                  <a:pt x="7104" y="454"/>
                  <a:pt x="7104" y="453"/>
                  <a:pt x="7105" y="453"/>
                </a:cubicBezTo>
                <a:cubicBezTo>
                  <a:pt x="7105" y="453"/>
                  <a:pt x="7105" y="454"/>
                  <a:pt x="7105" y="456"/>
                </a:cubicBezTo>
                <a:cubicBezTo>
                  <a:pt x="7105" y="457"/>
                  <a:pt x="7105" y="458"/>
                  <a:pt x="7103" y="458"/>
                </a:cubicBezTo>
                <a:close/>
                <a:moveTo>
                  <a:pt x="7198" y="783"/>
                </a:moveTo>
                <a:cubicBezTo>
                  <a:pt x="7197" y="783"/>
                  <a:pt x="7196" y="782"/>
                  <a:pt x="7196" y="780"/>
                </a:cubicBezTo>
                <a:lnTo>
                  <a:pt x="7195" y="779"/>
                </a:lnTo>
                <a:lnTo>
                  <a:pt x="7197" y="779"/>
                </a:lnTo>
                <a:cubicBezTo>
                  <a:pt x="7198" y="779"/>
                  <a:pt x="7199" y="779"/>
                  <a:pt x="7200" y="777"/>
                </a:cubicBezTo>
                <a:cubicBezTo>
                  <a:pt x="7202" y="775"/>
                  <a:pt x="7203" y="774"/>
                  <a:pt x="7203" y="774"/>
                </a:cubicBezTo>
                <a:lnTo>
                  <a:pt x="7201" y="778"/>
                </a:lnTo>
                <a:cubicBezTo>
                  <a:pt x="7200" y="781"/>
                  <a:pt x="7199" y="783"/>
                  <a:pt x="7198" y="783"/>
                </a:cubicBezTo>
                <a:close/>
                <a:moveTo>
                  <a:pt x="7077" y="532"/>
                </a:moveTo>
                <a:close/>
                <a:moveTo>
                  <a:pt x="7078" y="534"/>
                </a:moveTo>
                <a:cubicBezTo>
                  <a:pt x="7077" y="534"/>
                  <a:pt x="7077" y="533"/>
                  <a:pt x="7077" y="532"/>
                </a:cubicBezTo>
                <a:cubicBezTo>
                  <a:pt x="7077" y="532"/>
                  <a:pt x="7078" y="531"/>
                  <a:pt x="7079" y="531"/>
                </a:cubicBezTo>
                <a:cubicBezTo>
                  <a:pt x="7079" y="530"/>
                  <a:pt x="7080" y="529"/>
                  <a:pt x="7082" y="528"/>
                </a:cubicBezTo>
                <a:lnTo>
                  <a:pt x="7084" y="526"/>
                </a:lnTo>
                <a:lnTo>
                  <a:pt x="7084" y="526"/>
                </a:lnTo>
                <a:lnTo>
                  <a:pt x="7082" y="529"/>
                </a:lnTo>
                <a:cubicBezTo>
                  <a:pt x="7080" y="532"/>
                  <a:pt x="7079" y="534"/>
                  <a:pt x="7078" y="534"/>
                </a:cubicBezTo>
                <a:close/>
                <a:moveTo>
                  <a:pt x="7139" y="633"/>
                </a:moveTo>
                <a:cubicBezTo>
                  <a:pt x="7138" y="633"/>
                  <a:pt x="7138" y="633"/>
                  <a:pt x="7138" y="632"/>
                </a:cubicBezTo>
                <a:cubicBezTo>
                  <a:pt x="7138" y="632"/>
                  <a:pt x="7140" y="630"/>
                  <a:pt x="7144" y="627"/>
                </a:cubicBezTo>
                <a:cubicBezTo>
                  <a:pt x="7147" y="625"/>
                  <a:pt x="7153" y="620"/>
                  <a:pt x="7161" y="613"/>
                </a:cubicBezTo>
                <a:lnTo>
                  <a:pt x="7169" y="606"/>
                </a:lnTo>
                <a:cubicBezTo>
                  <a:pt x="7169" y="607"/>
                  <a:pt x="7167" y="608"/>
                  <a:pt x="7165" y="611"/>
                </a:cubicBezTo>
                <a:cubicBezTo>
                  <a:pt x="7162" y="615"/>
                  <a:pt x="7159" y="618"/>
                  <a:pt x="7155" y="621"/>
                </a:cubicBezTo>
                <a:cubicBezTo>
                  <a:pt x="7152" y="624"/>
                  <a:pt x="7148" y="627"/>
                  <a:pt x="7145" y="630"/>
                </a:cubicBezTo>
                <a:cubicBezTo>
                  <a:pt x="7142" y="632"/>
                  <a:pt x="7139" y="633"/>
                  <a:pt x="7139" y="633"/>
                </a:cubicBezTo>
                <a:close/>
                <a:moveTo>
                  <a:pt x="7165" y="701"/>
                </a:moveTo>
                <a:cubicBezTo>
                  <a:pt x="7165" y="701"/>
                  <a:pt x="7164" y="700"/>
                  <a:pt x="7164" y="697"/>
                </a:cubicBezTo>
                <a:cubicBezTo>
                  <a:pt x="7164" y="695"/>
                  <a:pt x="7165" y="694"/>
                  <a:pt x="7166" y="694"/>
                </a:cubicBezTo>
                <a:cubicBezTo>
                  <a:pt x="7167" y="694"/>
                  <a:pt x="7167" y="694"/>
                  <a:pt x="7167" y="696"/>
                </a:cubicBezTo>
                <a:cubicBezTo>
                  <a:pt x="7167" y="696"/>
                  <a:pt x="7167" y="696"/>
                  <a:pt x="7167" y="697"/>
                </a:cubicBezTo>
                <a:cubicBezTo>
                  <a:pt x="7167" y="698"/>
                  <a:pt x="7166" y="699"/>
                  <a:pt x="7166" y="700"/>
                </a:cubicBezTo>
                <a:cubicBezTo>
                  <a:pt x="7166" y="701"/>
                  <a:pt x="7165" y="701"/>
                  <a:pt x="7165" y="701"/>
                </a:cubicBezTo>
                <a:close/>
                <a:moveTo>
                  <a:pt x="7160" y="696"/>
                </a:moveTo>
                <a:cubicBezTo>
                  <a:pt x="7159" y="696"/>
                  <a:pt x="7159" y="696"/>
                  <a:pt x="7159" y="695"/>
                </a:cubicBezTo>
                <a:lnTo>
                  <a:pt x="7159" y="694"/>
                </a:lnTo>
                <a:cubicBezTo>
                  <a:pt x="7160" y="692"/>
                  <a:pt x="7161" y="692"/>
                  <a:pt x="7161" y="692"/>
                </a:cubicBezTo>
                <a:cubicBezTo>
                  <a:pt x="7162" y="692"/>
                  <a:pt x="7162" y="692"/>
                  <a:pt x="7162" y="694"/>
                </a:cubicBezTo>
                <a:cubicBezTo>
                  <a:pt x="7162" y="695"/>
                  <a:pt x="7161" y="696"/>
                  <a:pt x="7160" y="696"/>
                </a:cubicBezTo>
                <a:close/>
                <a:moveTo>
                  <a:pt x="7132" y="597"/>
                </a:moveTo>
                <a:close/>
                <a:moveTo>
                  <a:pt x="7132" y="598"/>
                </a:moveTo>
                <a:cubicBezTo>
                  <a:pt x="7132" y="598"/>
                  <a:pt x="7132" y="597"/>
                  <a:pt x="7132" y="597"/>
                </a:cubicBezTo>
                <a:cubicBezTo>
                  <a:pt x="7132" y="596"/>
                  <a:pt x="7133" y="594"/>
                  <a:pt x="7135" y="593"/>
                </a:cubicBezTo>
                <a:cubicBezTo>
                  <a:pt x="7137" y="591"/>
                  <a:pt x="7138" y="590"/>
                  <a:pt x="7138" y="590"/>
                </a:cubicBezTo>
                <a:cubicBezTo>
                  <a:pt x="7138" y="591"/>
                  <a:pt x="7137" y="592"/>
                  <a:pt x="7136" y="594"/>
                </a:cubicBezTo>
                <a:cubicBezTo>
                  <a:pt x="7134" y="596"/>
                  <a:pt x="7133" y="598"/>
                  <a:pt x="7132" y="598"/>
                </a:cubicBezTo>
                <a:close/>
              </a:path>
            </a:pathLst>
          </a:custGeom>
          <a:solidFill>
            <a:srgbClr val="221F20"/>
          </a:solidFill>
          <a:ln w="3175">
            <a:solidFill>
              <a:srgbClr val="221F2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7" name="Picture Placeholder 76">
            <a:extLst>
              <a:ext uri="{FF2B5EF4-FFF2-40B4-BE49-F238E27FC236}">
                <a16:creationId xmlns:a16="http://schemas.microsoft.com/office/drawing/2014/main" id="{C88AE14B-4784-1AA8-DCD5-E6B2C2E3FC2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5822" y="3547280"/>
            <a:ext cx="2722560" cy="2722560"/>
          </a:xfrm>
          <a:solidFill>
            <a:schemeClr val="accent1"/>
          </a:solidFill>
          <a:ln w="571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9094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CC684487-180B-46EB-9A00-CB18D4E39344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215900" y="1366838"/>
            <a:ext cx="11758613" cy="494982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1033B3D-C89B-45E6-93B3-B1C811BC4C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 rot="5400000">
            <a:off x="807473" y="1241154"/>
            <a:ext cx="309562" cy="1428292"/>
          </a:xfrm>
        </p:spPr>
        <p:txBody>
          <a:bodyPr vert="vert270" wrap="none" lIns="0" tIns="180000" rIns="72000" bIns="0" anchor="b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02B0A1E-CDDD-413F-B0D9-1F9FFC2C36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0400" y="1366838"/>
            <a:ext cx="5789613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52606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CC684487-180B-46EB-9A00-CB18D4E39344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215900" y="1366838"/>
            <a:ext cx="5789613" cy="494982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1033B3D-C89B-45E6-93B3-B1C811BC4C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 rot="5400000">
            <a:off x="807473" y="1241154"/>
            <a:ext cx="309562" cy="1428292"/>
          </a:xfrm>
        </p:spPr>
        <p:txBody>
          <a:bodyPr vert="vert270" wrap="none" lIns="0" tIns="180000" rIns="72000" bIns="0" anchor="b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</a:t>
            </a:r>
            <a:endParaRPr lang="en-GB" dirty="0"/>
          </a:p>
        </p:txBody>
      </p:sp>
      <p:sp>
        <p:nvSpPr>
          <p:cNvPr id="8" name="Chart Placeholder 4">
            <a:extLst>
              <a:ext uri="{FF2B5EF4-FFF2-40B4-BE49-F238E27FC236}">
                <a16:creationId xmlns:a16="http://schemas.microsoft.com/office/drawing/2014/main" id="{A913ABE9-59F7-4560-9008-D9F30916F6A2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184900" y="1366838"/>
            <a:ext cx="5789613" cy="494982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7AD9D22E-5965-4E8C-97CC-761873CF88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rot="5400000">
            <a:off x="6799565" y="1241154"/>
            <a:ext cx="309562" cy="1428292"/>
          </a:xfrm>
        </p:spPr>
        <p:txBody>
          <a:bodyPr vert="vert270" wrap="none" lIns="0" tIns="180000" rIns="72000" bIns="0" anchor="b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</a:t>
            </a:r>
            <a:endParaRPr lang="en-GB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2939A65-C057-4305-B746-2B3D4F93F3B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15900" y="1366838"/>
            <a:ext cx="5789613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6C9248-82BC-428C-8FF6-0B7A5C55D20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84900" y="1366838"/>
            <a:ext cx="5789613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85895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5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271FD87-5928-0183-0336-DB49FAEA68AF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2686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526">
          <p15:clr>
            <a:srgbClr val="FBAE40"/>
          </p15:clr>
        </p15:guide>
        <p15:guide id="5" pos="1640">
          <p15:clr>
            <a:srgbClr val="FBAE40"/>
          </p15:clr>
        </p15:guide>
        <p15:guide id="6" pos="3031">
          <p15:clr>
            <a:srgbClr val="FBAE40"/>
          </p15:clr>
        </p15:guide>
        <p15:guide id="7" pos="3144">
          <p15:clr>
            <a:srgbClr val="FBAE40"/>
          </p15:clr>
        </p15:guide>
        <p15:guide id="8" pos="4535">
          <p15:clr>
            <a:srgbClr val="FBAE40"/>
          </p15:clr>
        </p15:guide>
        <p15:guide id="9" pos="4648">
          <p15:clr>
            <a:srgbClr val="FBAE40"/>
          </p15:clr>
        </p15:guide>
        <p15:guide id="10" pos="6039">
          <p15:clr>
            <a:srgbClr val="FBAE40"/>
          </p15:clr>
        </p15:guide>
        <p15:guide id="11" pos="6153">
          <p15:clr>
            <a:srgbClr val="FBAE40"/>
          </p15:clr>
        </p15:guide>
        <p15:guide id="12" pos="7543">
          <p15:clr>
            <a:srgbClr val="FBAE40"/>
          </p15:clr>
        </p15:guide>
        <p15:guide id="13" orient="horz">
          <p15:clr>
            <a:srgbClr val="FBAE40"/>
          </p15:clr>
        </p15:guide>
        <p15:guide id="14" orient="horz" pos="4320">
          <p15:clr>
            <a:srgbClr val="FBAE40"/>
          </p15:clr>
        </p15:guide>
        <p15:guide id="15" orient="horz" pos="861">
          <p15:clr>
            <a:srgbClr val="FBAE40"/>
          </p15:clr>
        </p15:guide>
        <p15:guide id="16" orient="horz" pos="1296">
          <p15:clr>
            <a:srgbClr val="FBAE40"/>
          </p15:clr>
        </p15:guide>
        <p15:guide id="17" orient="horz" pos="1392">
          <p15:clr>
            <a:srgbClr val="FBAE40"/>
          </p15:clr>
        </p15:guide>
        <p15:guide id="18" orient="horz" pos="1824">
          <p15:clr>
            <a:srgbClr val="FBAE40"/>
          </p15:clr>
        </p15:guide>
        <p15:guide id="19" orient="horz" pos="1938">
          <p15:clr>
            <a:srgbClr val="FBAE40"/>
          </p15:clr>
        </p15:guide>
        <p15:guide id="20" orient="horz" pos="2364">
          <p15:clr>
            <a:srgbClr val="FBAE40"/>
          </p15:clr>
        </p15:guide>
        <p15:guide id="21" orient="horz" pos="2477">
          <p15:clr>
            <a:srgbClr val="FBAE40"/>
          </p15:clr>
        </p15:guide>
        <p15:guide id="22" orient="horz" pos="2902">
          <p15:clr>
            <a:srgbClr val="FBAE40"/>
          </p15:clr>
        </p15:guide>
        <p15:guide id="23" orient="horz" pos="3016">
          <p15:clr>
            <a:srgbClr val="FBAE40"/>
          </p15:clr>
        </p15:guide>
        <p15:guide id="24" orient="horz" pos="3441">
          <p15:clr>
            <a:srgbClr val="FBAE40"/>
          </p15:clr>
        </p15:guide>
        <p15:guide id="25" orient="horz" pos="3554">
          <p15:clr>
            <a:srgbClr val="FBAE40"/>
          </p15:clr>
        </p15:guide>
        <p15:guide id="26" orient="horz" pos="397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8146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902">
          <p15:clr>
            <a:srgbClr val="FBAE40"/>
          </p15:clr>
        </p15:guide>
        <p15:guide id="5" pos="2016">
          <p15:clr>
            <a:srgbClr val="FBAE40"/>
          </p15:clr>
        </p15:guide>
        <p15:guide id="6" pos="3783">
          <p15:clr>
            <a:srgbClr val="FBAE40"/>
          </p15:clr>
        </p15:guide>
        <p15:guide id="7" pos="3896">
          <p15:clr>
            <a:srgbClr val="FBAE40"/>
          </p15:clr>
        </p15:guide>
        <p15:guide id="8" pos="5663">
          <p15:clr>
            <a:srgbClr val="FBAE40"/>
          </p15:clr>
        </p15:guide>
        <p15:guide id="9" pos="5777">
          <p15:clr>
            <a:srgbClr val="FBAE40"/>
          </p15:clr>
        </p15:guide>
        <p15:guide id="10" pos="7543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861">
          <p15:clr>
            <a:srgbClr val="FBAE40"/>
          </p15:clr>
        </p15:guide>
        <p15:guide id="14" orient="horz" pos="1286">
          <p15:clr>
            <a:srgbClr val="FBAE40"/>
          </p15:clr>
        </p15:guide>
        <p15:guide id="15" orient="horz" pos="1400">
          <p15:clr>
            <a:srgbClr val="FBAE40"/>
          </p15:clr>
        </p15:guide>
        <p15:guide id="16" orient="horz" pos="1825">
          <p15:clr>
            <a:srgbClr val="FBAE40"/>
          </p15:clr>
        </p15:guide>
        <p15:guide id="17" orient="horz" pos="1938">
          <p15:clr>
            <a:srgbClr val="FBAE40"/>
          </p15:clr>
        </p15:guide>
        <p15:guide id="18" orient="horz" pos="2364">
          <p15:clr>
            <a:srgbClr val="FBAE40"/>
          </p15:clr>
        </p15:guide>
        <p15:guide id="19" orient="horz" pos="2477">
          <p15:clr>
            <a:srgbClr val="FBAE40"/>
          </p15:clr>
        </p15:guide>
        <p15:guide id="20" orient="horz" pos="2902">
          <p15:clr>
            <a:srgbClr val="FBAE40"/>
          </p15:clr>
        </p15:guide>
        <p15:guide id="21" orient="horz" pos="3016">
          <p15:clr>
            <a:srgbClr val="FBAE40"/>
          </p15:clr>
        </p15:guide>
        <p15:guide id="22" orient="horz" pos="3441">
          <p15:clr>
            <a:srgbClr val="FBAE40"/>
          </p15:clr>
        </p15:guide>
        <p15:guide id="23" orient="horz" pos="3554">
          <p15:clr>
            <a:srgbClr val="FBAE40"/>
          </p15:clr>
        </p15:guide>
        <p15:guide id="24" orient="horz" pos="397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4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4786396-EF1B-2B69-84D2-87FFC0689903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5E24983-65DE-686E-5FE2-3F6D66705A72}"/>
              </a:ext>
            </a:extLst>
          </p:cNvPr>
          <p:cNvSpPr/>
          <p:nvPr userDrawn="1"/>
        </p:nvSpPr>
        <p:spPr>
          <a:xfrm>
            <a:off x="6096000" y="1313468"/>
            <a:ext cx="6096000" cy="50873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5667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902">
          <p15:clr>
            <a:srgbClr val="FBAE40"/>
          </p15:clr>
        </p15:guide>
        <p15:guide id="5" pos="2016">
          <p15:clr>
            <a:srgbClr val="FBAE40"/>
          </p15:clr>
        </p15:guide>
        <p15:guide id="6" pos="3783">
          <p15:clr>
            <a:srgbClr val="FBAE40"/>
          </p15:clr>
        </p15:guide>
        <p15:guide id="7" pos="3896">
          <p15:clr>
            <a:srgbClr val="FBAE40"/>
          </p15:clr>
        </p15:guide>
        <p15:guide id="8" pos="5663">
          <p15:clr>
            <a:srgbClr val="FBAE40"/>
          </p15:clr>
        </p15:guide>
        <p15:guide id="9" pos="5777">
          <p15:clr>
            <a:srgbClr val="FBAE40"/>
          </p15:clr>
        </p15:guide>
        <p15:guide id="10" pos="7543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861">
          <p15:clr>
            <a:srgbClr val="FBAE40"/>
          </p15:clr>
        </p15:guide>
        <p15:guide id="14" orient="horz" pos="1286">
          <p15:clr>
            <a:srgbClr val="FBAE40"/>
          </p15:clr>
        </p15:guide>
        <p15:guide id="15" orient="horz" pos="1400">
          <p15:clr>
            <a:srgbClr val="FBAE40"/>
          </p15:clr>
        </p15:guide>
        <p15:guide id="16" orient="horz" pos="1825">
          <p15:clr>
            <a:srgbClr val="FBAE40"/>
          </p15:clr>
        </p15:guide>
        <p15:guide id="17" orient="horz" pos="1938">
          <p15:clr>
            <a:srgbClr val="FBAE40"/>
          </p15:clr>
        </p15:guide>
        <p15:guide id="18" orient="horz" pos="2364">
          <p15:clr>
            <a:srgbClr val="FBAE40"/>
          </p15:clr>
        </p15:guide>
        <p15:guide id="19" orient="horz" pos="2477">
          <p15:clr>
            <a:srgbClr val="FBAE40"/>
          </p15:clr>
        </p15:guide>
        <p15:guide id="20" orient="horz" pos="2902">
          <p15:clr>
            <a:srgbClr val="FBAE40"/>
          </p15:clr>
        </p15:guide>
        <p15:guide id="21" orient="horz" pos="3016">
          <p15:clr>
            <a:srgbClr val="FBAE40"/>
          </p15:clr>
        </p15:guide>
        <p15:guide id="22" orient="horz" pos="3441">
          <p15:clr>
            <a:srgbClr val="FBAE40"/>
          </p15:clr>
        </p15:guide>
        <p15:guide id="23" orient="horz" pos="3554">
          <p15:clr>
            <a:srgbClr val="FBAE40"/>
          </p15:clr>
        </p15:guide>
        <p15:guide id="24" orient="horz" pos="397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4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4786396-EF1B-2B69-84D2-87FFC0689903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5E24983-65DE-686E-5FE2-3F6D66705A72}"/>
              </a:ext>
            </a:extLst>
          </p:cNvPr>
          <p:cNvSpPr/>
          <p:nvPr userDrawn="1"/>
        </p:nvSpPr>
        <p:spPr>
          <a:xfrm>
            <a:off x="6096000" y="1313468"/>
            <a:ext cx="6096000" cy="5087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7575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902">
          <p15:clr>
            <a:srgbClr val="FBAE40"/>
          </p15:clr>
        </p15:guide>
        <p15:guide id="5" pos="2016">
          <p15:clr>
            <a:srgbClr val="FBAE40"/>
          </p15:clr>
        </p15:guide>
        <p15:guide id="6" pos="3783">
          <p15:clr>
            <a:srgbClr val="FBAE40"/>
          </p15:clr>
        </p15:guide>
        <p15:guide id="7" pos="3896">
          <p15:clr>
            <a:srgbClr val="FBAE40"/>
          </p15:clr>
        </p15:guide>
        <p15:guide id="8" pos="5663">
          <p15:clr>
            <a:srgbClr val="FBAE40"/>
          </p15:clr>
        </p15:guide>
        <p15:guide id="9" pos="5777">
          <p15:clr>
            <a:srgbClr val="FBAE40"/>
          </p15:clr>
        </p15:guide>
        <p15:guide id="10" pos="7543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861">
          <p15:clr>
            <a:srgbClr val="FBAE40"/>
          </p15:clr>
        </p15:guide>
        <p15:guide id="14" orient="horz" pos="1286">
          <p15:clr>
            <a:srgbClr val="FBAE40"/>
          </p15:clr>
        </p15:guide>
        <p15:guide id="15" orient="horz" pos="1400">
          <p15:clr>
            <a:srgbClr val="FBAE40"/>
          </p15:clr>
        </p15:guide>
        <p15:guide id="16" orient="horz" pos="1825">
          <p15:clr>
            <a:srgbClr val="FBAE40"/>
          </p15:clr>
        </p15:guide>
        <p15:guide id="17" orient="horz" pos="1938">
          <p15:clr>
            <a:srgbClr val="FBAE40"/>
          </p15:clr>
        </p15:guide>
        <p15:guide id="18" orient="horz" pos="2364">
          <p15:clr>
            <a:srgbClr val="FBAE40"/>
          </p15:clr>
        </p15:guide>
        <p15:guide id="19" orient="horz" pos="2477">
          <p15:clr>
            <a:srgbClr val="FBAE40"/>
          </p15:clr>
        </p15:guide>
        <p15:guide id="20" orient="horz" pos="2902">
          <p15:clr>
            <a:srgbClr val="FBAE40"/>
          </p15:clr>
        </p15:guide>
        <p15:guide id="21" orient="horz" pos="3016">
          <p15:clr>
            <a:srgbClr val="FBAE40"/>
          </p15:clr>
        </p15:guide>
        <p15:guide id="22" orient="horz" pos="3441">
          <p15:clr>
            <a:srgbClr val="FBAE40"/>
          </p15:clr>
        </p15:guide>
        <p15:guide id="23" orient="horz" pos="3554">
          <p15:clr>
            <a:srgbClr val="FBAE40"/>
          </p15:clr>
        </p15:guide>
        <p15:guide id="24" orient="horz" pos="397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5135F08-9B23-8E0C-B264-D984930A7BC1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B70518A9-C04E-484D-B5F2-112CC8EA6D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16017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B70518A9-C04E-484D-B5F2-112CC8EA6D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42C87E1E-87ED-478C-8D27-4A4AF911F71A}"/>
              </a:ext>
            </a:extLst>
          </p:cNvPr>
          <p:cNvGrpSpPr/>
          <p:nvPr userDrawn="1"/>
        </p:nvGrpSpPr>
        <p:grpSpPr>
          <a:xfrm>
            <a:off x="10279756" y="150829"/>
            <a:ext cx="1682860" cy="838987"/>
            <a:chOff x="623888" y="300038"/>
            <a:chExt cx="2735263" cy="1363663"/>
          </a:xfrm>
          <a:solidFill>
            <a:schemeClr val="bg1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37C731C1-9E17-40AB-A2F3-0247B2B3B44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43163" y="1054100"/>
              <a:ext cx="314325" cy="311150"/>
            </a:xfrm>
            <a:custGeom>
              <a:avLst/>
              <a:gdLst>
                <a:gd name="T0" fmla="*/ 864 w 870"/>
                <a:gd name="T1" fmla="*/ 406 h 856"/>
                <a:gd name="T2" fmla="*/ 435 w 870"/>
                <a:gd name="T3" fmla="*/ 0 h 856"/>
                <a:gd name="T4" fmla="*/ 0 w 870"/>
                <a:gd name="T5" fmla="*/ 430 h 856"/>
                <a:gd name="T6" fmla="*/ 432 w 870"/>
                <a:gd name="T7" fmla="*/ 856 h 856"/>
                <a:gd name="T8" fmla="*/ 735 w 870"/>
                <a:gd name="T9" fmla="*/ 744 h 856"/>
                <a:gd name="T10" fmla="*/ 864 w 870"/>
                <a:gd name="T11" fmla="*/ 406 h 856"/>
                <a:gd name="T12" fmla="*/ 665 w 870"/>
                <a:gd name="T13" fmla="*/ 684 h 856"/>
                <a:gd name="T14" fmla="*/ 434 w 870"/>
                <a:gd name="T15" fmla="*/ 808 h 856"/>
                <a:gd name="T16" fmla="*/ 148 w 870"/>
                <a:gd name="T17" fmla="*/ 553 h 856"/>
                <a:gd name="T18" fmla="*/ 136 w 870"/>
                <a:gd name="T19" fmla="*/ 422 h 856"/>
                <a:gd name="T20" fmla="*/ 304 w 870"/>
                <a:gd name="T21" fmla="*/ 77 h 856"/>
                <a:gd name="T22" fmla="*/ 431 w 870"/>
                <a:gd name="T23" fmla="*/ 48 h 856"/>
                <a:gd name="T24" fmla="*/ 655 w 870"/>
                <a:gd name="T25" fmla="*/ 159 h 856"/>
                <a:gd name="T26" fmla="*/ 727 w 870"/>
                <a:gd name="T27" fmla="*/ 412 h 856"/>
                <a:gd name="T28" fmla="*/ 665 w 870"/>
                <a:gd name="T29" fmla="*/ 684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70" h="856">
                  <a:moveTo>
                    <a:pt x="864" y="406"/>
                  </a:moveTo>
                  <a:cubicBezTo>
                    <a:pt x="854" y="204"/>
                    <a:pt x="717" y="0"/>
                    <a:pt x="435" y="0"/>
                  </a:cubicBezTo>
                  <a:cubicBezTo>
                    <a:pt x="175" y="0"/>
                    <a:pt x="0" y="173"/>
                    <a:pt x="0" y="430"/>
                  </a:cubicBezTo>
                  <a:cubicBezTo>
                    <a:pt x="0" y="724"/>
                    <a:pt x="217" y="856"/>
                    <a:pt x="432" y="856"/>
                  </a:cubicBezTo>
                  <a:cubicBezTo>
                    <a:pt x="552" y="856"/>
                    <a:pt x="657" y="817"/>
                    <a:pt x="735" y="744"/>
                  </a:cubicBezTo>
                  <a:cubicBezTo>
                    <a:pt x="825" y="661"/>
                    <a:pt x="870" y="541"/>
                    <a:pt x="864" y="406"/>
                  </a:cubicBezTo>
                  <a:close/>
                  <a:moveTo>
                    <a:pt x="665" y="684"/>
                  </a:moveTo>
                  <a:cubicBezTo>
                    <a:pt x="590" y="796"/>
                    <a:pt x="478" y="808"/>
                    <a:pt x="434" y="808"/>
                  </a:cubicBezTo>
                  <a:cubicBezTo>
                    <a:pt x="395" y="808"/>
                    <a:pt x="199" y="796"/>
                    <a:pt x="148" y="553"/>
                  </a:cubicBezTo>
                  <a:cubicBezTo>
                    <a:pt x="140" y="514"/>
                    <a:pt x="136" y="471"/>
                    <a:pt x="136" y="422"/>
                  </a:cubicBezTo>
                  <a:cubicBezTo>
                    <a:pt x="136" y="249"/>
                    <a:pt x="193" y="133"/>
                    <a:pt x="304" y="77"/>
                  </a:cubicBezTo>
                  <a:cubicBezTo>
                    <a:pt x="341" y="58"/>
                    <a:pt x="386" y="48"/>
                    <a:pt x="431" y="48"/>
                  </a:cubicBezTo>
                  <a:cubicBezTo>
                    <a:pt x="546" y="48"/>
                    <a:pt x="617" y="109"/>
                    <a:pt x="655" y="159"/>
                  </a:cubicBezTo>
                  <a:cubicBezTo>
                    <a:pt x="717" y="243"/>
                    <a:pt x="726" y="344"/>
                    <a:pt x="727" y="412"/>
                  </a:cubicBezTo>
                  <a:cubicBezTo>
                    <a:pt x="729" y="526"/>
                    <a:pt x="708" y="617"/>
                    <a:pt x="665" y="6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CABDD817-E9C8-4E75-BF04-B56CEDAF16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5313" y="1057275"/>
              <a:ext cx="223838" cy="303213"/>
            </a:xfrm>
            <a:custGeom>
              <a:avLst/>
              <a:gdLst>
                <a:gd name="T0" fmla="*/ 0 w 619"/>
                <a:gd name="T1" fmla="*/ 839 h 839"/>
                <a:gd name="T2" fmla="*/ 0 w 619"/>
                <a:gd name="T3" fmla="*/ 0 h 839"/>
                <a:gd name="T4" fmla="*/ 239 w 619"/>
                <a:gd name="T5" fmla="*/ 0 h 839"/>
                <a:gd name="T6" fmla="*/ 619 w 619"/>
                <a:gd name="T7" fmla="*/ 230 h 839"/>
                <a:gd name="T8" fmla="*/ 243 w 619"/>
                <a:gd name="T9" fmla="*/ 461 h 839"/>
                <a:gd name="T10" fmla="*/ 122 w 619"/>
                <a:gd name="T11" fmla="*/ 461 h 839"/>
                <a:gd name="T12" fmla="*/ 122 w 619"/>
                <a:gd name="T13" fmla="*/ 839 h 839"/>
                <a:gd name="T14" fmla="*/ 0 w 619"/>
                <a:gd name="T15" fmla="*/ 839 h 839"/>
                <a:gd name="T16" fmla="*/ 227 w 619"/>
                <a:gd name="T17" fmla="*/ 40 h 839"/>
                <a:gd name="T18" fmla="*/ 122 w 619"/>
                <a:gd name="T19" fmla="*/ 49 h 839"/>
                <a:gd name="T20" fmla="*/ 122 w 619"/>
                <a:gd name="T21" fmla="*/ 412 h 839"/>
                <a:gd name="T22" fmla="*/ 218 w 619"/>
                <a:gd name="T23" fmla="*/ 412 h 839"/>
                <a:gd name="T24" fmla="*/ 487 w 619"/>
                <a:gd name="T25" fmla="*/ 231 h 839"/>
                <a:gd name="T26" fmla="*/ 227 w 619"/>
                <a:gd name="T27" fmla="*/ 40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9" h="839">
                  <a:moveTo>
                    <a:pt x="0" y="839"/>
                  </a:moveTo>
                  <a:lnTo>
                    <a:pt x="0" y="0"/>
                  </a:lnTo>
                  <a:lnTo>
                    <a:pt x="239" y="0"/>
                  </a:lnTo>
                  <a:cubicBezTo>
                    <a:pt x="494" y="0"/>
                    <a:pt x="619" y="76"/>
                    <a:pt x="619" y="230"/>
                  </a:cubicBezTo>
                  <a:cubicBezTo>
                    <a:pt x="619" y="446"/>
                    <a:pt x="356" y="461"/>
                    <a:pt x="243" y="461"/>
                  </a:cubicBezTo>
                  <a:lnTo>
                    <a:pt x="122" y="461"/>
                  </a:lnTo>
                  <a:lnTo>
                    <a:pt x="122" y="839"/>
                  </a:lnTo>
                  <a:lnTo>
                    <a:pt x="0" y="839"/>
                  </a:lnTo>
                  <a:close/>
                  <a:moveTo>
                    <a:pt x="227" y="40"/>
                  </a:moveTo>
                  <a:cubicBezTo>
                    <a:pt x="165" y="40"/>
                    <a:pt x="122" y="49"/>
                    <a:pt x="122" y="49"/>
                  </a:cubicBezTo>
                  <a:lnTo>
                    <a:pt x="122" y="412"/>
                  </a:lnTo>
                  <a:lnTo>
                    <a:pt x="218" y="412"/>
                  </a:lnTo>
                  <a:cubicBezTo>
                    <a:pt x="397" y="412"/>
                    <a:pt x="487" y="368"/>
                    <a:pt x="487" y="231"/>
                  </a:cubicBezTo>
                  <a:cubicBezTo>
                    <a:pt x="487" y="140"/>
                    <a:pt x="442" y="40"/>
                    <a:pt x="227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3AA8470-FD71-405D-9EC5-01843766D5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27338" y="1057275"/>
              <a:ext cx="228600" cy="307975"/>
            </a:xfrm>
            <a:custGeom>
              <a:avLst/>
              <a:gdLst>
                <a:gd name="T0" fmla="*/ 336 w 631"/>
                <a:gd name="T1" fmla="*/ 848 h 848"/>
                <a:gd name="T2" fmla="*/ 29 w 631"/>
                <a:gd name="T3" fmla="*/ 729 h 848"/>
                <a:gd name="T4" fmla="*/ 0 w 631"/>
                <a:gd name="T5" fmla="*/ 593 h 848"/>
                <a:gd name="T6" fmla="*/ 0 w 631"/>
                <a:gd name="T7" fmla="*/ 0 h 848"/>
                <a:gd name="T8" fmla="*/ 122 w 631"/>
                <a:gd name="T9" fmla="*/ 0 h 848"/>
                <a:gd name="T10" fmla="*/ 122 w 631"/>
                <a:gd name="T11" fmla="*/ 588 h 848"/>
                <a:gd name="T12" fmla="*/ 336 w 631"/>
                <a:gd name="T13" fmla="*/ 800 h 848"/>
                <a:gd name="T14" fmla="*/ 545 w 631"/>
                <a:gd name="T15" fmla="*/ 601 h 848"/>
                <a:gd name="T16" fmla="*/ 545 w 631"/>
                <a:gd name="T17" fmla="*/ 0 h 848"/>
                <a:gd name="T18" fmla="*/ 631 w 631"/>
                <a:gd name="T19" fmla="*/ 0 h 848"/>
                <a:gd name="T20" fmla="*/ 631 w 631"/>
                <a:gd name="T21" fmla="*/ 609 h 848"/>
                <a:gd name="T22" fmla="*/ 604 w 631"/>
                <a:gd name="T23" fmla="*/ 726 h 848"/>
                <a:gd name="T24" fmla="*/ 336 w 631"/>
                <a:gd name="T25" fmla="*/ 848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1" h="848">
                  <a:moveTo>
                    <a:pt x="336" y="848"/>
                  </a:moveTo>
                  <a:cubicBezTo>
                    <a:pt x="236" y="848"/>
                    <a:pt x="88" y="835"/>
                    <a:pt x="29" y="729"/>
                  </a:cubicBezTo>
                  <a:cubicBezTo>
                    <a:pt x="11" y="697"/>
                    <a:pt x="0" y="651"/>
                    <a:pt x="0" y="593"/>
                  </a:cubicBezTo>
                  <a:lnTo>
                    <a:pt x="0" y="0"/>
                  </a:lnTo>
                  <a:lnTo>
                    <a:pt x="122" y="0"/>
                  </a:lnTo>
                  <a:lnTo>
                    <a:pt x="122" y="588"/>
                  </a:lnTo>
                  <a:cubicBezTo>
                    <a:pt x="123" y="641"/>
                    <a:pt x="128" y="800"/>
                    <a:pt x="336" y="800"/>
                  </a:cubicBezTo>
                  <a:cubicBezTo>
                    <a:pt x="399" y="800"/>
                    <a:pt x="545" y="780"/>
                    <a:pt x="545" y="601"/>
                  </a:cubicBezTo>
                  <a:lnTo>
                    <a:pt x="545" y="0"/>
                  </a:lnTo>
                  <a:lnTo>
                    <a:pt x="631" y="0"/>
                  </a:lnTo>
                  <a:lnTo>
                    <a:pt x="631" y="609"/>
                  </a:lnTo>
                  <a:cubicBezTo>
                    <a:pt x="629" y="645"/>
                    <a:pt x="628" y="686"/>
                    <a:pt x="604" y="726"/>
                  </a:cubicBezTo>
                  <a:cubicBezTo>
                    <a:pt x="579" y="771"/>
                    <a:pt x="529" y="848"/>
                    <a:pt x="336" y="8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ADBAA4B1-52E1-41C3-AC75-95B1111677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3400" y="1054100"/>
              <a:ext cx="277813" cy="311150"/>
            </a:xfrm>
            <a:custGeom>
              <a:avLst/>
              <a:gdLst>
                <a:gd name="T0" fmla="*/ 457 w 767"/>
                <a:gd name="T1" fmla="*/ 856 h 856"/>
                <a:gd name="T2" fmla="*/ 0 w 767"/>
                <a:gd name="T3" fmla="*/ 428 h 856"/>
                <a:gd name="T4" fmla="*/ 443 w 767"/>
                <a:gd name="T5" fmla="*/ 0 h 856"/>
                <a:gd name="T6" fmla="*/ 767 w 767"/>
                <a:gd name="T7" fmla="*/ 156 h 856"/>
                <a:gd name="T8" fmla="*/ 717 w 767"/>
                <a:gd name="T9" fmla="*/ 208 h 856"/>
                <a:gd name="T10" fmla="*/ 651 w 767"/>
                <a:gd name="T11" fmla="*/ 163 h 856"/>
                <a:gd name="T12" fmla="*/ 441 w 767"/>
                <a:gd name="T13" fmla="*/ 48 h 856"/>
                <a:gd name="T14" fmla="*/ 142 w 767"/>
                <a:gd name="T15" fmla="*/ 407 h 856"/>
                <a:gd name="T16" fmla="*/ 471 w 767"/>
                <a:gd name="T17" fmla="*/ 808 h 856"/>
                <a:gd name="T18" fmla="*/ 600 w 767"/>
                <a:gd name="T19" fmla="*/ 779 h 856"/>
                <a:gd name="T20" fmla="*/ 650 w 767"/>
                <a:gd name="T21" fmla="*/ 668 h 856"/>
                <a:gd name="T22" fmla="*/ 650 w 767"/>
                <a:gd name="T23" fmla="*/ 469 h 856"/>
                <a:gd name="T24" fmla="*/ 543 w 767"/>
                <a:gd name="T25" fmla="*/ 469 h 856"/>
                <a:gd name="T26" fmla="*/ 585 w 767"/>
                <a:gd name="T27" fmla="*/ 420 h 856"/>
                <a:gd name="T28" fmla="*/ 766 w 767"/>
                <a:gd name="T29" fmla="*/ 420 h 856"/>
                <a:gd name="T30" fmla="*/ 766 w 767"/>
                <a:gd name="T31" fmla="*/ 746 h 856"/>
                <a:gd name="T32" fmla="*/ 721 w 767"/>
                <a:gd name="T33" fmla="*/ 788 h 856"/>
                <a:gd name="T34" fmla="*/ 457 w 767"/>
                <a:gd name="T35" fmla="*/ 856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67" h="856">
                  <a:moveTo>
                    <a:pt x="457" y="856"/>
                  </a:moveTo>
                  <a:cubicBezTo>
                    <a:pt x="33" y="856"/>
                    <a:pt x="0" y="529"/>
                    <a:pt x="0" y="428"/>
                  </a:cubicBezTo>
                  <a:cubicBezTo>
                    <a:pt x="0" y="172"/>
                    <a:pt x="178" y="0"/>
                    <a:pt x="443" y="0"/>
                  </a:cubicBezTo>
                  <a:cubicBezTo>
                    <a:pt x="671" y="0"/>
                    <a:pt x="767" y="112"/>
                    <a:pt x="767" y="156"/>
                  </a:cubicBezTo>
                  <a:cubicBezTo>
                    <a:pt x="767" y="182"/>
                    <a:pt x="741" y="208"/>
                    <a:pt x="717" y="208"/>
                  </a:cubicBezTo>
                  <a:cubicBezTo>
                    <a:pt x="686" y="208"/>
                    <a:pt x="673" y="193"/>
                    <a:pt x="651" y="163"/>
                  </a:cubicBezTo>
                  <a:cubicBezTo>
                    <a:pt x="619" y="120"/>
                    <a:pt x="565" y="48"/>
                    <a:pt x="441" y="48"/>
                  </a:cubicBezTo>
                  <a:cubicBezTo>
                    <a:pt x="259" y="48"/>
                    <a:pt x="142" y="182"/>
                    <a:pt x="142" y="407"/>
                  </a:cubicBezTo>
                  <a:cubicBezTo>
                    <a:pt x="142" y="654"/>
                    <a:pt x="268" y="808"/>
                    <a:pt x="471" y="808"/>
                  </a:cubicBezTo>
                  <a:cubicBezTo>
                    <a:pt x="521" y="808"/>
                    <a:pt x="569" y="797"/>
                    <a:pt x="600" y="779"/>
                  </a:cubicBezTo>
                  <a:cubicBezTo>
                    <a:pt x="650" y="748"/>
                    <a:pt x="650" y="706"/>
                    <a:pt x="650" y="668"/>
                  </a:cubicBezTo>
                  <a:lnTo>
                    <a:pt x="650" y="469"/>
                  </a:lnTo>
                  <a:lnTo>
                    <a:pt x="543" y="469"/>
                  </a:lnTo>
                  <a:lnTo>
                    <a:pt x="585" y="420"/>
                  </a:lnTo>
                  <a:lnTo>
                    <a:pt x="766" y="420"/>
                  </a:lnTo>
                  <a:lnTo>
                    <a:pt x="766" y="746"/>
                  </a:lnTo>
                  <a:cubicBezTo>
                    <a:pt x="756" y="759"/>
                    <a:pt x="741" y="773"/>
                    <a:pt x="721" y="788"/>
                  </a:cubicBezTo>
                  <a:cubicBezTo>
                    <a:pt x="682" y="817"/>
                    <a:pt x="613" y="856"/>
                    <a:pt x="457" y="8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B8B8FFFC-7D8F-4971-96FD-7AD0D750681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68525" y="1057275"/>
              <a:ext cx="233363" cy="303213"/>
            </a:xfrm>
            <a:custGeom>
              <a:avLst/>
              <a:gdLst>
                <a:gd name="T0" fmla="*/ 646 w 646"/>
                <a:gd name="T1" fmla="*/ 839 h 839"/>
                <a:gd name="T2" fmla="*/ 358 w 646"/>
                <a:gd name="T3" fmla="*/ 451 h 839"/>
                <a:gd name="T4" fmla="*/ 410 w 646"/>
                <a:gd name="T5" fmla="*/ 440 h 839"/>
                <a:gd name="T6" fmla="*/ 601 w 646"/>
                <a:gd name="T7" fmla="*/ 230 h 839"/>
                <a:gd name="T8" fmla="*/ 514 w 646"/>
                <a:gd name="T9" fmla="*/ 58 h 839"/>
                <a:gd name="T10" fmla="*/ 231 w 646"/>
                <a:gd name="T11" fmla="*/ 0 h 839"/>
                <a:gd name="T12" fmla="*/ 0 w 646"/>
                <a:gd name="T13" fmla="*/ 0 h 839"/>
                <a:gd name="T14" fmla="*/ 0 w 646"/>
                <a:gd name="T15" fmla="*/ 839 h 839"/>
                <a:gd name="T16" fmla="*/ 121 w 646"/>
                <a:gd name="T17" fmla="*/ 839 h 839"/>
                <a:gd name="T18" fmla="*/ 121 w 646"/>
                <a:gd name="T19" fmla="*/ 527 h 839"/>
                <a:gd name="T20" fmla="*/ 196 w 646"/>
                <a:gd name="T21" fmla="*/ 461 h 839"/>
                <a:gd name="T22" fmla="*/ 279 w 646"/>
                <a:gd name="T23" fmla="*/ 508 h 839"/>
                <a:gd name="T24" fmla="*/ 513 w 646"/>
                <a:gd name="T25" fmla="*/ 839 h 839"/>
                <a:gd name="T26" fmla="*/ 646 w 646"/>
                <a:gd name="T27" fmla="*/ 839 h 839"/>
                <a:gd name="T28" fmla="*/ 258 w 646"/>
                <a:gd name="T29" fmla="*/ 410 h 839"/>
                <a:gd name="T30" fmla="*/ 210 w 646"/>
                <a:gd name="T31" fmla="*/ 412 h 839"/>
                <a:gd name="T32" fmla="*/ 121 w 646"/>
                <a:gd name="T33" fmla="*/ 412 h 839"/>
                <a:gd name="T34" fmla="*/ 121 w 646"/>
                <a:gd name="T35" fmla="*/ 49 h 839"/>
                <a:gd name="T36" fmla="*/ 224 w 646"/>
                <a:gd name="T37" fmla="*/ 40 h 839"/>
                <a:gd name="T38" fmla="*/ 469 w 646"/>
                <a:gd name="T39" fmla="*/ 234 h 839"/>
                <a:gd name="T40" fmla="*/ 258 w 646"/>
                <a:gd name="T41" fmla="*/ 410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6" h="839">
                  <a:moveTo>
                    <a:pt x="646" y="839"/>
                  </a:moveTo>
                  <a:lnTo>
                    <a:pt x="358" y="451"/>
                  </a:lnTo>
                  <a:cubicBezTo>
                    <a:pt x="358" y="451"/>
                    <a:pt x="398" y="443"/>
                    <a:pt x="410" y="440"/>
                  </a:cubicBezTo>
                  <a:cubicBezTo>
                    <a:pt x="458" y="427"/>
                    <a:pt x="601" y="390"/>
                    <a:pt x="601" y="230"/>
                  </a:cubicBezTo>
                  <a:cubicBezTo>
                    <a:pt x="601" y="153"/>
                    <a:pt x="566" y="94"/>
                    <a:pt x="514" y="58"/>
                  </a:cubicBezTo>
                  <a:cubicBezTo>
                    <a:pt x="440" y="8"/>
                    <a:pt x="330" y="0"/>
                    <a:pt x="231" y="0"/>
                  </a:cubicBezTo>
                  <a:lnTo>
                    <a:pt x="0" y="0"/>
                  </a:lnTo>
                  <a:lnTo>
                    <a:pt x="0" y="839"/>
                  </a:lnTo>
                  <a:lnTo>
                    <a:pt x="121" y="839"/>
                  </a:lnTo>
                  <a:lnTo>
                    <a:pt x="121" y="527"/>
                  </a:lnTo>
                  <a:cubicBezTo>
                    <a:pt x="121" y="474"/>
                    <a:pt x="153" y="461"/>
                    <a:pt x="196" y="461"/>
                  </a:cubicBezTo>
                  <a:cubicBezTo>
                    <a:pt x="220" y="461"/>
                    <a:pt x="254" y="469"/>
                    <a:pt x="279" y="508"/>
                  </a:cubicBezTo>
                  <a:lnTo>
                    <a:pt x="513" y="839"/>
                  </a:lnTo>
                  <a:lnTo>
                    <a:pt x="646" y="839"/>
                  </a:lnTo>
                  <a:close/>
                  <a:moveTo>
                    <a:pt x="258" y="410"/>
                  </a:moveTo>
                  <a:cubicBezTo>
                    <a:pt x="242" y="412"/>
                    <a:pt x="229" y="412"/>
                    <a:pt x="210" y="412"/>
                  </a:cubicBezTo>
                  <a:lnTo>
                    <a:pt x="121" y="412"/>
                  </a:lnTo>
                  <a:lnTo>
                    <a:pt x="121" y="49"/>
                  </a:lnTo>
                  <a:cubicBezTo>
                    <a:pt x="121" y="49"/>
                    <a:pt x="163" y="40"/>
                    <a:pt x="224" y="40"/>
                  </a:cubicBezTo>
                  <a:cubicBezTo>
                    <a:pt x="387" y="40"/>
                    <a:pt x="469" y="110"/>
                    <a:pt x="469" y="234"/>
                  </a:cubicBezTo>
                  <a:cubicBezTo>
                    <a:pt x="469" y="359"/>
                    <a:pt x="390" y="397"/>
                    <a:pt x="258" y="4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E8B52FC3-0D36-47BD-A77F-C675A092A9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388" y="300038"/>
              <a:ext cx="1247775" cy="538163"/>
            </a:xfrm>
            <a:custGeom>
              <a:avLst/>
              <a:gdLst>
                <a:gd name="T0" fmla="*/ 3369 w 3451"/>
                <a:gd name="T1" fmla="*/ 1140 h 1483"/>
                <a:gd name="T2" fmla="*/ 3309 w 3451"/>
                <a:gd name="T3" fmla="*/ 1133 h 1483"/>
                <a:gd name="T4" fmla="*/ 3226 w 3451"/>
                <a:gd name="T5" fmla="*/ 1142 h 1483"/>
                <a:gd name="T6" fmla="*/ 3249 w 3451"/>
                <a:gd name="T7" fmla="*/ 1310 h 1483"/>
                <a:gd name="T8" fmla="*/ 2720 w 3451"/>
                <a:gd name="T9" fmla="*/ 1296 h 1483"/>
                <a:gd name="T10" fmla="*/ 1915 w 3451"/>
                <a:gd name="T11" fmla="*/ 339 h 1483"/>
                <a:gd name="T12" fmla="*/ 920 w 3451"/>
                <a:gd name="T13" fmla="*/ 132 h 1483"/>
                <a:gd name="T14" fmla="*/ 629 w 3451"/>
                <a:gd name="T15" fmla="*/ 1140 h 1483"/>
                <a:gd name="T16" fmla="*/ 477 w 3451"/>
                <a:gd name="T17" fmla="*/ 602 h 1483"/>
                <a:gd name="T18" fmla="*/ 432 w 3451"/>
                <a:gd name="T19" fmla="*/ 614 h 1483"/>
                <a:gd name="T20" fmla="*/ 1 w 3451"/>
                <a:gd name="T21" fmla="*/ 502 h 1483"/>
                <a:gd name="T22" fmla="*/ 1 w 3451"/>
                <a:gd name="T23" fmla="*/ 508 h 1483"/>
                <a:gd name="T24" fmla="*/ 318 w 3451"/>
                <a:gd name="T25" fmla="*/ 709 h 1483"/>
                <a:gd name="T26" fmla="*/ 783 w 3451"/>
                <a:gd name="T27" fmla="*/ 1225 h 1483"/>
                <a:gd name="T28" fmla="*/ 721 w 3451"/>
                <a:gd name="T29" fmla="*/ 716 h 1483"/>
                <a:gd name="T30" fmla="*/ 1302 w 3451"/>
                <a:gd name="T31" fmla="*/ 155 h 1483"/>
                <a:gd name="T32" fmla="*/ 2060 w 3451"/>
                <a:gd name="T33" fmla="*/ 739 h 1483"/>
                <a:gd name="T34" fmla="*/ 2831 w 3451"/>
                <a:gd name="T35" fmla="*/ 1417 h 1483"/>
                <a:gd name="T36" fmla="*/ 3332 w 3451"/>
                <a:gd name="T37" fmla="*/ 1403 h 1483"/>
                <a:gd name="T38" fmla="*/ 3369 w 3451"/>
                <a:gd name="T39" fmla="*/ 1140 h 1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51" h="1483">
                  <a:moveTo>
                    <a:pt x="3369" y="1140"/>
                  </a:moveTo>
                  <a:cubicBezTo>
                    <a:pt x="3355" y="1137"/>
                    <a:pt x="3325" y="1134"/>
                    <a:pt x="3309" y="1133"/>
                  </a:cubicBezTo>
                  <a:cubicBezTo>
                    <a:pt x="3280" y="1132"/>
                    <a:pt x="3252" y="1136"/>
                    <a:pt x="3226" y="1142"/>
                  </a:cubicBezTo>
                  <a:cubicBezTo>
                    <a:pt x="3279" y="1188"/>
                    <a:pt x="3277" y="1256"/>
                    <a:pt x="3249" y="1310"/>
                  </a:cubicBezTo>
                  <a:cubicBezTo>
                    <a:pt x="3166" y="1476"/>
                    <a:pt x="2841" y="1377"/>
                    <a:pt x="2720" y="1296"/>
                  </a:cubicBezTo>
                  <a:cubicBezTo>
                    <a:pt x="2348" y="1048"/>
                    <a:pt x="2126" y="577"/>
                    <a:pt x="1915" y="339"/>
                  </a:cubicBezTo>
                  <a:cubicBezTo>
                    <a:pt x="1619" y="7"/>
                    <a:pt x="1185" y="0"/>
                    <a:pt x="920" y="132"/>
                  </a:cubicBezTo>
                  <a:cubicBezTo>
                    <a:pt x="590" y="296"/>
                    <a:pt x="509" y="754"/>
                    <a:pt x="629" y="1140"/>
                  </a:cubicBezTo>
                  <a:cubicBezTo>
                    <a:pt x="469" y="1092"/>
                    <a:pt x="401" y="783"/>
                    <a:pt x="477" y="602"/>
                  </a:cubicBezTo>
                  <a:cubicBezTo>
                    <a:pt x="463" y="606"/>
                    <a:pt x="448" y="610"/>
                    <a:pt x="432" y="614"/>
                  </a:cubicBezTo>
                  <a:cubicBezTo>
                    <a:pt x="262" y="653"/>
                    <a:pt x="95" y="605"/>
                    <a:pt x="1" y="502"/>
                  </a:cubicBezTo>
                  <a:cubicBezTo>
                    <a:pt x="0" y="504"/>
                    <a:pt x="0" y="506"/>
                    <a:pt x="1" y="508"/>
                  </a:cubicBezTo>
                  <a:cubicBezTo>
                    <a:pt x="54" y="629"/>
                    <a:pt x="163" y="706"/>
                    <a:pt x="318" y="709"/>
                  </a:cubicBezTo>
                  <a:cubicBezTo>
                    <a:pt x="308" y="1119"/>
                    <a:pt x="539" y="1245"/>
                    <a:pt x="783" y="1225"/>
                  </a:cubicBezTo>
                  <a:cubicBezTo>
                    <a:pt x="716" y="1100"/>
                    <a:pt x="698" y="880"/>
                    <a:pt x="721" y="716"/>
                  </a:cubicBezTo>
                  <a:cubicBezTo>
                    <a:pt x="743" y="563"/>
                    <a:pt x="878" y="167"/>
                    <a:pt x="1302" y="155"/>
                  </a:cubicBezTo>
                  <a:cubicBezTo>
                    <a:pt x="1710" y="143"/>
                    <a:pt x="1863" y="492"/>
                    <a:pt x="2060" y="739"/>
                  </a:cubicBezTo>
                  <a:cubicBezTo>
                    <a:pt x="2230" y="952"/>
                    <a:pt x="2501" y="1307"/>
                    <a:pt x="2831" y="1417"/>
                  </a:cubicBezTo>
                  <a:cubicBezTo>
                    <a:pt x="2984" y="1468"/>
                    <a:pt x="3195" y="1483"/>
                    <a:pt x="3332" y="1403"/>
                  </a:cubicBezTo>
                  <a:cubicBezTo>
                    <a:pt x="3417" y="1354"/>
                    <a:pt x="3451" y="1217"/>
                    <a:pt x="3369" y="1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AE054B4-2E87-4F03-9002-B9C728AD2F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1113" y="719138"/>
              <a:ext cx="493713" cy="274638"/>
            </a:xfrm>
            <a:custGeom>
              <a:avLst/>
              <a:gdLst>
                <a:gd name="T0" fmla="*/ 1257 w 1369"/>
                <a:gd name="T1" fmla="*/ 706 h 756"/>
                <a:gd name="T2" fmla="*/ 1001 w 1369"/>
                <a:gd name="T3" fmla="*/ 535 h 756"/>
                <a:gd name="T4" fmla="*/ 912 w 1369"/>
                <a:gd name="T5" fmla="*/ 292 h 756"/>
                <a:gd name="T6" fmla="*/ 915 w 1369"/>
                <a:gd name="T7" fmla="*/ 255 h 756"/>
                <a:gd name="T8" fmla="*/ 848 w 1369"/>
                <a:gd name="T9" fmla="*/ 248 h 756"/>
                <a:gd name="T10" fmla="*/ 764 w 1369"/>
                <a:gd name="T11" fmla="*/ 257 h 756"/>
                <a:gd name="T12" fmla="*/ 420 w 1369"/>
                <a:gd name="T13" fmla="*/ 354 h 756"/>
                <a:gd name="T14" fmla="*/ 134 w 1369"/>
                <a:gd name="T15" fmla="*/ 21 h 756"/>
                <a:gd name="T16" fmla="*/ 115 w 1369"/>
                <a:gd name="T17" fmla="*/ 0 h 756"/>
                <a:gd name="T18" fmla="*/ 0 w 1369"/>
                <a:gd name="T19" fmla="*/ 38 h 756"/>
                <a:gd name="T20" fmla="*/ 84 w 1369"/>
                <a:gd name="T21" fmla="*/ 169 h 756"/>
                <a:gd name="T22" fmla="*/ 380 w 1369"/>
                <a:gd name="T23" fmla="*/ 391 h 756"/>
                <a:gd name="T24" fmla="*/ 768 w 1369"/>
                <a:gd name="T25" fmla="*/ 359 h 756"/>
                <a:gd name="T26" fmla="*/ 876 w 1369"/>
                <a:gd name="T27" fmla="*/ 567 h 756"/>
                <a:gd name="T28" fmla="*/ 1158 w 1369"/>
                <a:gd name="T29" fmla="*/ 732 h 756"/>
                <a:gd name="T30" fmla="*/ 1369 w 1369"/>
                <a:gd name="T31" fmla="*/ 735 h 756"/>
                <a:gd name="T32" fmla="*/ 1257 w 1369"/>
                <a:gd name="T33" fmla="*/ 706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9" h="756">
                  <a:moveTo>
                    <a:pt x="1257" y="706"/>
                  </a:moveTo>
                  <a:cubicBezTo>
                    <a:pt x="1149" y="670"/>
                    <a:pt x="1061" y="610"/>
                    <a:pt x="1001" y="535"/>
                  </a:cubicBezTo>
                  <a:cubicBezTo>
                    <a:pt x="944" y="465"/>
                    <a:pt x="911" y="375"/>
                    <a:pt x="912" y="292"/>
                  </a:cubicBezTo>
                  <a:cubicBezTo>
                    <a:pt x="912" y="279"/>
                    <a:pt x="915" y="255"/>
                    <a:pt x="915" y="255"/>
                  </a:cubicBezTo>
                  <a:cubicBezTo>
                    <a:pt x="915" y="255"/>
                    <a:pt x="883" y="248"/>
                    <a:pt x="848" y="248"/>
                  </a:cubicBezTo>
                  <a:cubicBezTo>
                    <a:pt x="791" y="248"/>
                    <a:pt x="764" y="257"/>
                    <a:pt x="764" y="257"/>
                  </a:cubicBezTo>
                  <a:cubicBezTo>
                    <a:pt x="764" y="257"/>
                    <a:pt x="631" y="406"/>
                    <a:pt x="420" y="354"/>
                  </a:cubicBezTo>
                  <a:cubicBezTo>
                    <a:pt x="219" y="304"/>
                    <a:pt x="225" y="126"/>
                    <a:pt x="134" y="21"/>
                  </a:cubicBezTo>
                  <a:cubicBezTo>
                    <a:pt x="128" y="13"/>
                    <a:pt x="122" y="7"/>
                    <a:pt x="115" y="0"/>
                  </a:cubicBezTo>
                  <a:lnTo>
                    <a:pt x="0" y="38"/>
                  </a:lnTo>
                  <a:cubicBezTo>
                    <a:pt x="28" y="69"/>
                    <a:pt x="57" y="111"/>
                    <a:pt x="84" y="169"/>
                  </a:cubicBezTo>
                  <a:cubicBezTo>
                    <a:pt x="123" y="256"/>
                    <a:pt x="214" y="355"/>
                    <a:pt x="380" y="391"/>
                  </a:cubicBezTo>
                  <a:cubicBezTo>
                    <a:pt x="503" y="418"/>
                    <a:pt x="639" y="411"/>
                    <a:pt x="768" y="359"/>
                  </a:cubicBezTo>
                  <a:cubicBezTo>
                    <a:pt x="782" y="433"/>
                    <a:pt x="820" y="506"/>
                    <a:pt x="876" y="567"/>
                  </a:cubicBezTo>
                  <a:cubicBezTo>
                    <a:pt x="942" y="639"/>
                    <a:pt x="1048" y="699"/>
                    <a:pt x="1158" y="732"/>
                  </a:cubicBezTo>
                  <a:cubicBezTo>
                    <a:pt x="1239" y="756"/>
                    <a:pt x="1330" y="754"/>
                    <a:pt x="1369" y="735"/>
                  </a:cubicBezTo>
                  <a:cubicBezTo>
                    <a:pt x="1331" y="728"/>
                    <a:pt x="1293" y="718"/>
                    <a:pt x="1257" y="7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E375C32E-7CE9-40A8-B5AA-082039529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8538" y="531813"/>
              <a:ext cx="350838" cy="333375"/>
            </a:xfrm>
            <a:custGeom>
              <a:avLst/>
              <a:gdLst>
                <a:gd name="T0" fmla="*/ 714 w 973"/>
                <a:gd name="T1" fmla="*/ 43 h 919"/>
                <a:gd name="T2" fmla="*/ 246 w 973"/>
                <a:gd name="T3" fmla="*/ 151 h 919"/>
                <a:gd name="T4" fmla="*/ 208 w 973"/>
                <a:gd name="T5" fmla="*/ 877 h 919"/>
                <a:gd name="T6" fmla="*/ 240 w 973"/>
                <a:gd name="T7" fmla="*/ 912 h 919"/>
                <a:gd name="T8" fmla="*/ 314 w 973"/>
                <a:gd name="T9" fmla="*/ 912 h 919"/>
                <a:gd name="T10" fmla="*/ 396 w 973"/>
                <a:gd name="T11" fmla="*/ 879 h 919"/>
                <a:gd name="T12" fmla="*/ 209 w 973"/>
                <a:gd name="T13" fmla="*/ 575 h 919"/>
                <a:gd name="T14" fmla="*/ 688 w 973"/>
                <a:gd name="T15" fmla="*/ 98 h 919"/>
                <a:gd name="T16" fmla="*/ 772 w 973"/>
                <a:gd name="T17" fmla="*/ 320 h 919"/>
                <a:gd name="T18" fmla="*/ 578 w 973"/>
                <a:gd name="T19" fmla="*/ 371 h 919"/>
                <a:gd name="T20" fmla="*/ 683 w 973"/>
                <a:gd name="T21" fmla="*/ 473 h 919"/>
                <a:gd name="T22" fmla="*/ 898 w 973"/>
                <a:gd name="T23" fmla="*/ 348 h 919"/>
                <a:gd name="T24" fmla="*/ 714 w 973"/>
                <a:gd name="T25" fmla="*/ 43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3" h="919">
                  <a:moveTo>
                    <a:pt x="714" y="43"/>
                  </a:moveTo>
                  <a:cubicBezTo>
                    <a:pt x="514" y="0"/>
                    <a:pt x="346" y="70"/>
                    <a:pt x="246" y="151"/>
                  </a:cubicBezTo>
                  <a:cubicBezTo>
                    <a:pt x="0" y="348"/>
                    <a:pt x="25" y="659"/>
                    <a:pt x="208" y="877"/>
                  </a:cubicBezTo>
                  <a:cubicBezTo>
                    <a:pt x="218" y="889"/>
                    <a:pt x="240" y="912"/>
                    <a:pt x="240" y="912"/>
                  </a:cubicBezTo>
                  <a:cubicBezTo>
                    <a:pt x="240" y="912"/>
                    <a:pt x="266" y="919"/>
                    <a:pt x="314" y="912"/>
                  </a:cubicBezTo>
                  <a:cubicBezTo>
                    <a:pt x="348" y="907"/>
                    <a:pt x="396" y="879"/>
                    <a:pt x="396" y="879"/>
                  </a:cubicBezTo>
                  <a:cubicBezTo>
                    <a:pt x="396" y="879"/>
                    <a:pt x="245" y="761"/>
                    <a:pt x="209" y="575"/>
                  </a:cubicBezTo>
                  <a:cubicBezTo>
                    <a:pt x="145" y="243"/>
                    <a:pt x="437" y="52"/>
                    <a:pt x="688" y="98"/>
                  </a:cubicBezTo>
                  <a:cubicBezTo>
                    <a:pt x="831" y="124"/>
                    <a:pt x="842" y="257"/>
                    <a:pt x="772" y="320"/>
                  </a:cubicBezTo>
                  <a:cubicBezTo>
                    <a:pt x="708" y="377"/>
                    <a:pt x="622" y="376"/>
                    <a:pt x="578" y="371"/>
                  </a:cubicBezTo>
                  <a:cubicBezTo>
                    <a:pt x="616" y="392"/>
                    <a:pt x="653" y="427"/>
                    <a:pt x="683" y="473"/>
                  </a:cubicBezTo>
                  <a:cubicBezTo>
                    <a:pt x="683" y="473"/>
                    <a:pt x="819" y="458"/>
                    <a:pt x="898" y="348"/>
                  </a:cubicBezTo>
                  <a:cubicBezTo>
                    <a:pt x="973" y="245"/>
                    <a:pt x="913" y="86"/>
                    <a:pt x="71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Rectangle 13">
              <a:extLst>
                <a:ext uri="{FF2B5EF4-FFF2-40B4-BE49-F238E27FC236}">
                  <a16:creationId xmlns:a16="http://schemas.microsoft.com/office/drawing/2014/main" id="{077282E3-1BCF-48DB-B43F-9D83B4B5D7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62025" y="1057275"/>
              <a:ext cx="60325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8A81A94E-48E1-4ECF-9753-7BA2FCF4CC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4788" y="1057275"/>
              <a:ext cx="203200" cy="303213"/>
            </a:xfrm>
            <a:custGeom>
              <a:avLst/>
              <a:gdLst>
                <a:gd name="T0" fmla="*/ 0 w 562"/>
                <a:gd name="T1" fmla="*/ 839 h 839"/>
                <a:gd name="T2" fmla="*/ 0 w 562"/>
                <a:gd name="T3" fmla="*/ 0 h 839"/>
                <a:gd name="T4" fmla="*/ 164 w 562"/>
                <a:gd name="T5" fmla="*/ 0 h 839"/>
                <a:gd name="T6" fmla="*/ 164 w 562"/>
                <a:gd name="T7" fmla="*/ 756 h 839"/>
                <a:gd name="T8" fmla="*/ 485 w 562"/>
                <a:gd name="T9" fmla="*/ 756 h 839"/>
                <a:gd name="T10" fmla="*/ 562 w 562"/>
                <a:gd name="T11" fmla="*/ 839 h 839"/>
                <a:gd name="T12" fmla="*/ 0 w 562"/>
                <a:gd name="T13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2" h="839">
                  <a:moveTo>
                    <a:pt x="0" y="839"/>
                  </a:moveTo>
                  <a:lnTo>
                    <a:pt x="0" y="0"/>
                  </a:lnTo>
                  <a:lnTo>
                    <a:pt x="164" y="0"/>
                  </a:lnTo>
                  <a:lnTo>
                    <a:pt x="164" y="756"/>
                  </a:lnTo>
                  <a:lnTo>
                    <a:pt x="485" y="756"/>
                  </a:lnTo>
                  <a:lnTo>
                    <a:pt x="562" y="839"/>
                  </a:lnTo>
                  <a:lnTo>
                    <a:pt x="0" y="8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4D943943-4EFC-45AC-86DD-4207B512B77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3888" y="1054100"/>
              <a:ext cx="252413" cy="311150"/>
            </a:xfrm>
            <a:custGeom>
              <a:avLst/>
              <a:gdLst>
                <a:gd name="T0" fmla="*/ 0 w 698"/>
                <a:gd name="T1" fmla="*/ 856 h 856"/>
                <a:gd name="T2" fmla="*/ 0 w 698"/>
                <a:gd name="T3" fmla="*/ 0 h 856"/>
                <a:gd name="T4" fmla="*/ 250 w 698"/>
                <a:gd name="T5" fmla="*/ 0 h 856"/>
                <a:gd name="T6" fmla="*/ 537 w 698"/>
                <a:gd name="T7" fmla="*/ 45 h 856"/>
                <a:gd name="T8" fmla="*/ 641 w 698"/>
                <a:gd name="T9" fmla="*/ 197 h 856"/>
                <a:gd name="T10" fmla="*/ 488 w 698"/>
                <a:gd name="T11" fmla="*/ 379 h 856"/>
                <a:gd name="T12" fmla="*/ 443 w 698"/>
                <a:gd name="T13" fmla="*/ 394 h 856"/>
                <a:gd name="T14" fmla="*/ 501 w 698"/>
                <a:gd name="T15" fmla="*/ 414 h 856"/>
                <a:gd name="T16" fmla="*/ 698 w 698"/>
                <a:gd name="T17" fmla="*/ 630 h 856"/>
                <a:gd name="T18" fmla="*/ 541 w 698"/>
                <a:gd name="T19" fmla="*/ 822 h 856"/>
                <a:gd name="T20" fmla="*/ 250 w 698"/>
                <a:gd name="T21" fmla="*/ 856 h 856"/>
                <a:gd name="T22" fmla="*/ 0 w 698"/>
                <a:gd name="T23" fmla="*/ 856 h 856"/>
                <a:gd name="T24" fmla="*/ 161 w 698"/>
                <a:gd name="T25" fmla="*/ 712 h 856"/>
                <a:gd name="T26" fmla="*/ 177 w 698"/>
                <a:gd name="T27" fmla="*/ 763 h 856"/>
                <a:gd name="T28" fmla="*/ 277 w 698"/>
                <a:gd name="T29" fmla="*/ 785 h 856"/>
                <a:gd name="T30" fmla="*/ 528 w 698"/>
                <a:gd name="T31" fmla="*/ 619 h 856"/>
                <a:gd name="T32" fmla="*/ 267 w 698"/>
                <a:gd name="T33" fmla="*/ 435 h 856"/>
                <a:gd name="T34" fmla="*/ 251 w 698"/>
                <a:gd name="T35" fmla="*/ 435 h 856"/>
                <a:gd name="T36" fmla="*/ 161 w 698"/>
                <a:gd name="T37" fmla="*/ 435 h 856"/>
                <a:gd name="T38" fmla="*/ 161 w 698"/>
                <a:gd name="T39" fmla="*/ 712 h 856"/>
                <a:gd name="T40" fmla="*/ 296 w 698"/>
                <a:gd name="T41" fmla="*/ 374 h 856"/>
                <a:gd name="T42" fmla="*/ 479 w 698"/>
                <a:gd name="T43" fmla="*/ 222 h 856"/>
                <a:gd name="T44" fmla="*/ 260 w 698"/>
                <a:gd name="T45" fmla="*/ 65 h 856"/>
                <a:gd name="T46" fmla="*/ 177 w 698"/>
                <a:gd name="T47" fmla="*/ 70 h 856"/>
                <a:gd name="T48" fmla="*/ 161 w 698"/>
                <a:gd name="T49" fmla="*/ 72 h 856"/>
                <a:gd name="T50" fmla="*/ 161 w 698"/>
                <a:gd name="T51" fmla="*/ 374 h 856"/>
                <a:gd name="T52" fmla="*/ 296 w 698"/>
                <a:gd name="T53" fmla="*/ 374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8" h="856">
                  <a:moveTo>
                    <a:pt x="0" y="856"/>
                  </a:moveTo>
                  <a:lnTo>
                    <a:pt x="0" y="0"/>
                  </a:lnTo>
                  <a:lnTo>
                    <a:pt x="250" y="0"/>
                  </a:lnTo>
                  <a:cubicBezTo>
                    <a:pt x="342" y="0"/>
                    <a:pt x="457" y="5"/>
                    <a:pt x="537" y="45"/>
                  </a:cubicBezTo>
                  <a:cubicBezTo>
                    <a:pt x="605" y="80"/>
                    <a:pt x="641" y="132"/>
                    <a:pt x="641" y="197"/>
                  </a:cubicBezTo>
                  <a:cubicBezTo>
                    <a:pt x="641" y="289"/>
                    <a:pt x="562" y="352"/>
                    <a:pt x="488" y="379"/>
                  </a:cubicBezTo>
                  <a:cubicBezTo>
                    <a:pt x="468" y="386"/>
                    <a:pt x="454" y="391"/>
                    <a:pt x="443" y="394"/>
                  </a:cubicBezTo>
                  <a:cubicBezTo>
                    <a:pt x="459" y="399"/>
                    <a:pt x="481" y="406"/>
                    <a:pt x="501" y="414"/>
                  </a:cubicBezTo>
                  <a:cubicBezTo>
                    <a:pt x="673" y="480"/>
                    <a:pt x="698" y="578"/>
                    <a:pt x="698" y="630"/>
                  </a:cubicBezTo>
                  <a:cubicBezTo>
                    <a:pt x="698" y="740"/>
                    <a:pt x="612" y="795"/>
                    <a:pt x="541" y="822"/>
                  </a:cubicBezTo>
                  <a:cubicBezTo>
                    <a:pt x="471" y="845"/>
                    <a:pt x="381" y="856"/>
                    <a:pt x="250" y="856"/>
                  </a:cubicBezTo>
                  <a:lnTo>
                    <a:pt x="0" y="856"/>
                  </a:lnTo>
                  <a:close/>
                  <a:moveTo>
                    <a:pt x="161" y="712"/>
                  </a:moveTo>
                  <a:cubicBezTo>
                    <a:pt x="161" y="728"/>
                    <a:pt x="160" y="748"/>
                    <a:pt x="177" y="763"/>
                  </a:cubicBezTo>
                  <a:cubicBezTo>
                    <a:pt x="194" y="779"/>
                    <a:pt x="225" y="785"/>
                    <a:pt x="277" y="785"/>
                  </a:cubicBezTo>
                  <a:cubicBezTo>
                    <a:pt x="439" y="785"/>
                    <a:pt x="528" y="726"/>
                    <a:pt x="528" y="619"/>
                  </a:cubicBezTo>
                  <a:cubicBezTo>
                    <a:pt x="528" y="505"/>
                    <a:pt x="440" y="443"/>
                    <a:pt x="267" y="435"/>
                  </a:cubicBezTo>
                  <a:cubicBezTo>
                    <a:pt x="266" y="435"/>
                    <a:pt x="252" y="435"/>
                    <a:pt x="251" y="435"/>
                  </a:cubicBezTo>
                  <a:lnTo>
                    <a:pt x="161" y="435"/>
                  </a:lnTo>
                  <a:lnTo>
                    <a:pt x="161" y="712"/>
                  </a:lnTo>
                  <a:close/>
                  <a:moveTo>
                    <a:pt x="296" y="374"/>
                  </a:moveTo>
                  <a:cubicBezTo>
                    <a:pt x="425" y="374"/>
                    <a:pt x="479" y="265"/>
                    <a:pt x="479" y="222"/>
                  </a:cubicBezTo>
                  <a:cubicBezTo>
                    <a:pt x="479" y="122"/>
                    <a:pt x="399" y="65"/>
                    <a:pt x="260" y="65"/>
                  </a:cubicBezTo>
                  <a:cubicBezTo>
                    <a:pt x="228" y="65"/>
                    <a:pt x="209" y="67"/>
                    <a:pt x="177" y="70"/>
                  </a:cubicBezTo>
                  <a:lnTo>
                    <a:pt x="161" y="72"/>
                  </a:lnTo>
                  <a:lnTo>
                    <a:pt x="161" y="374"/>
                  </a:lnTo>
                  <a:lnTo>
                    <a:pt x="296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5497A3CE-DDE3-4E27-B293-17F0B04850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600" y="1057275"/>
              <a:ext cx="260350" cy="303213"/>
            </a:xfrm>
            <a:custGeom>
              <a:avLst/>
              <a:gdLst>
                <a:gd name="T0" fmla="*/ 558 w 723"/>
                <a:gd name="T1" fmla="*/ 0 h 839"/>
                <a:gd name="T2" fmla="*/ 558 w 723"/>
                <a:gd name="T3" fmla="*/ 364 h 839"/>
                <a:gd name="T4" fmla="*/ 165 w 723"/>
                <a:gd name="T5" fmla="*/ 364 h 839"/>
                <a:gd name="T6" fmla="*/ 165 w 723"/>
                <a:gd name="T7" fmla="*/ 0 h 839"/>
                <a:gd name="T8" fmla="*/ 0 w 723"/>
                <a:gd name="T9" fmla="*/ 0 h 839"/>
                <a:gd name="T10" fmla="*/ 0 w 723"/>
                <a:gd name="T11" fmla="*/ 839 h 839"/>
                <a:gd name="T12" fmla="*/ 165 w 723"/>
                <a:gd name="T13" fmla="*/ 839 h 839"/>
                <a:gd name="T14" fmla="*/ 165 w 723"/>
                <a:gd name="T15" fmla="*/ 480 h 839"/>
                <a:gd name="T16" fmla="*/ 212 w 723"/>
                <a:gd name="T17" fmla="*/ 442 h 839"/>
                <a:gd name="T18" fmla="*/ 512 w 723"/>
                <a:gd name="T19" fmla="*/ 442 h 839"/>
                <a:gd name="T20" fmla="*/ 558 w 723"/>
                <a:gd name="T21" fmla="*/ 480 h 839"/>
                <a:gd name="T22" fmla="*/ 558 w 723"/>
                <a:gd name="T23" fmla="*/ 839 h 839"/>
                <a:gd name="T24" fmla="*/ 723 w 723"/>
                <a:gd name="T25" fmla="*/ 839 h 839"/>
                <a:gd name="T26" fmla="*/ 723 w 723"/>
                <a:gd name="T27" fmla="*/ 0 h 839"/>
                <a:gd name="T28" fmla="*/ 558 w 723"/>
                <a:gd name="T29" fmla="*/ 0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3" h="839">
                  <a:moveTo>
                    <a:pt x="558" y="0"/>
                  </a:moveTo>
                  <a:lnTo>
                    <a:pt x="558" y="364"/>
                  </a:lnTo>
                  <a:lnTo>
                    <a:pt x="165" y="364"/>
                  </a:lnTo>
                  <a:lnTo>
                    <a:pt x="165" y="0"/>
                  </a:lnTo>
                  <a:lnTo>
                    <a:pt x="0" y="0"/>
                  </a:lnTo>
                  <a:lnTo>
                    <a:pt x="0" y="839"/>
                  </a:lnTo>
                  <a:lnTo>
                    <a:pt x="165" y="839"/>
                  </a:lnTo>
                  <a:lnTo>
                    <a:pt x="165" y="480"/>
                  </a:lnTo>
                  <a:cubicBezTo>
                    <a:pt x="165" y="454"/>
                    <a:pt x="189" y="442"/>
                    <a:pt x="212" y="442"/>
                  </a:cubicBezTo>
                  <a:lnTo>
                    <a:pt x="512" y="442"/>
                  </a:lnTo>
                  <a:cubicBezTo>
                    <a:pt x="535" y="442"/>
                    <a:pt x="558" y="454"/>
                    <a:pt x="558" y="480"/>
                  </a:cubicBezTo>
                  <a:lnTo>
                    <a:pt x="558" y="839"/>
                  </a:lnTo>
                  <a:lnTo>
                    <a:pt x="723" y="839"/>
                  </a:lnTo>
                  <a:lnTo>
                    <a:pt x="723" y="0"/>
                  </a:lnTo>
                  <a:lnTo>
                    <a:pt x="5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2CDF6CE4-0362-4B4B-B84D-3EF94CE3ABA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3888" y="1557338"/>
              <a:ext cx="2735263" cy="106363"/>
            </a:xfrm>
            <a:custGeom>
              <a:avLst/>
              <a:gdLst>
                <a:gd name="T0" fmla="*/ 7350 w 7569"/>
                <a:gd name="T1" fmla="*/ 285 h 292"/>
                <a:gd name="T2" fmla="*/ 7273 w 7569"/>
                <a:gd name="T3" fmla="*/ 149 h 292"/>
                <a:gd name="T4" fmla="*/ 7144 w 7569"/>
                <a:gd name="T5" fmla="*/ 7 h 292"/>
                <a:gd name="T6" fmla="*/ 7175 w 7569"/>
                <a:gd name="T7" fmla="*/ 152 h 292"/>
                <a:gd name="T8" fmla="*/ 6990 w 7569"/>
                <a:gd name="T9" fmla="*/ 278 h 292"/>
                <a:gd name="T10" fmla="*/ 6845 w 7569"/>
                <a:gd name="T11" fmla="*/ 15 h 292"/>
                <a:gd name="T12" fmla="*/ 6775 w 7569"/>
                <a:gd name="T13" fmla="*/ 279 h 292"/>
                <a:gd name="T14" fmla="*/ 6513 w 7569"/>
                <a:gd name="T15" fmla="*/ 14 h 292"/>
                <a:gd name="T16" fmla="*/ 6738 w 7569"/>
                <a:gd name="T17" fmla="*/ 65 h 292"/>
                <a:gd name="T18" fmla="*/ 6444 w 7569"/>
                <a:gd name="T19" fmla="*/ 278 h 292"/>
                <a:gd name="T20" fmla="*/ 6365 w 7569"/>
                <a:gd name="T21" fmla="*/ 282 h 292"/>
                <a:gd name="T22" fmla="*/ 6044 w 7569"/>
                <a:gd name="T23" fmla="*/ 67 h 292"/>
                <a:gd name="T24" fmla="*/ 5915 w 7569"/>
                <a:gd name="T25" fmla="*/ 213 h 292"/>
                <a:gd name="T26" fmla="*/ 5663 w 7569"/>
                <a:gd name="T27" fmla="*/ 140 h 292"/>
                <a:gd name="T28" fmla="*/ 5852 w 7569"/>
                <a:gd name="T29" fmla="*/ 238 h 292"/>
                <a:gd name="T30" fmla="*/ 5390 w 7569"/>
                <a:gd name="T31" fmla="*/ 13 h 292"/>
                <a:gd name="T32" fmla="*/ 5540 w 7569"/>
                <a:gd name="T33" fmla="*/ 280 h 292"/>
                <a:gd name="T34" fmla="*/ 5390 w 7569"/>
                <a:gd name="T35" fmla="*/ 13 h 292"/>
                <a:gd name="T36" fmla="*/ 5281 w 7569"/>
                <a:gd name="T37" fmla="*/ 14 h 292"/>
                <a:gd name="T38" fmla="*/ 4974 w 7569"/>
                <a:gd name="T39" fmla="*/ 285 h 292"/>
                <a:gd name="T40" fmla="*/ 4809 w 7569"/>
                <a:gd name="T41" fmla="*/ 7 h 292"/>
                <a:gd name="T42" fmla="*/ 4816 w 7569"/>
                <a:gd name="T43" fmla="*/ 260 h 292"/>
                <a:gd name="T44" fmla="*/ 4687 w 7569"/>
                <a:gd name="T45" fmla="*/ 139 h 292"/>
                <a:gd name="T46" fmla="*/ 4425 w 7569"/>
                <a:gd name="T47" fmla="*/ 279 h 292"/>
                <a:gd name="T48" fmla="*/ 4236 w 7569"/>
                <a:gd name="T49" fmla="*/ 7 h 292"/>
                <a:gd name="T50" fmla="*/ 4068 w 7569"/>
                <a:gd name="T51" fmla="*/ 152 h 292"/>
                <a:gd name="T52" fmla="*/ 4085 w 7569"/>
                <a:gd name="T53" fmla="*/ 7 h 292"/>
                <a:gd name="T54" fmla="*/ 3977 w 7569"/>
                <a:gd name="T55" fmla="*/ 260 h 292"/>
                <a:gd name="T56" fmla="*/ 3893 w 7569"/>
                <a:gd name="T57" fmla="*/ 248 h 292"/>
                <a:gd name="T58" fmla="*/ 3414 w 7569"/>
                <a:gd name="T59" fmla="*/ 7 h 292"/>
                <a:gd name="T60" fmla="*/ 3621 w 7569"/>
                <a:gd name="T61" fmla="*/ 286 h 292"/>
                <a:gd name="T62" fmla="*/ 3247 w 7569"/>
                <a:gd name="T63" fmla="*/ 59 h 292"/>
                <a:gd name="T64" fmla="*/ 3261 w 7569"/>
                <a:gd name="T65" fmla="*/ 7 h 292"/>
                <a:gd name="T66" fmla="*/ 3289 w 7569"/>
                <a:gd name="T67" fmla="*/ 176 h 292"/>
                <a:gd name="T68" fmla="*/ 2941 w 7569"/>
                <a:gd name="T69" fmla="*/ 286 h 292"/>
                <a:gd name="T70" fmla="*/ 3116 w 7569"/>
                <a:gd name="T71" fmla="*/ 282 h 292"/>
                <a:gd name="T72" fmla="*/ 2868 w 7569"/>
                <a:gd name="T73" fmla="*/ 14 h 292"/>
                <a:gd name="T74" fmla="*/ 2713 w 7569"/>
                <a:gd name="T75" fmla="*/ 7 h 292"/>
                <a:gd name="T76" fmla="*/ 2552 w 7569"/>
                <a:gd name="T77" fmla="*/ 122 h 292"/>
                <a:gd name="T78" fmla="*/ 2538 w 7569"/>
                <a:gd name="T79" fmla="*/ 159 h 292"/>
                <a:gd name="T80" fmla="*/ 2552 w 7569"/>
                <a:gd name="T81" fmla="*/ 122 h 292"/>
                <a:gd name="T82" fmla="*/ 2217 w 7569"/>
                <a:gd name="T83" fmla="*/ 61 h 292"/>
                <a:gd name="T84" fmla="*/ 2376 w 7569"/>
                <a:gd name="T85" fmla="*/ 219 h 292"/>
                <a:gd name="T86" fmla="*/ 2116 w 7569"/>
                <a:gd name="T87" fmla="*/ 278 h 292"/>
                <a:gd name="T88" fmla="*/ 1951 w 7569"/>
                <a:gd name="T89" fmla="*/ 282 h 292"/>
                <a:gd name="T90" fmla="*/ 1736 w 7569"/>
                <a:gd name="T91" fmla="*/ 286 h 292"/>
                <a:gd name="T92" fmla="*/ 1455 w 7569"/>
                <a:gd name="T93" fmla="*/ 278 h 292"/>
                <a:gd name="T94" fmla="*/ 1676 w 7569"/>
                <a:gd name="T95" fmla="*/ 14 h 292"/>
                <a:gd name="T96" fmla="*/ 1260 w 7569"/>
                <a:gd name="T97" fmla="*/ 153 h 292"/>
                <a:gd name="T98" fmla="*/ 1284 w 7569"/>
                <a:gd name="T99" fmla="*/ 13 h 292"/>
                <a:gd name="T100" fmla="*/ 1101 w 7569"/>
                <a:gd name="T101" fmla="*/ 280 h 292"/>
                <a:gd name="T102" fmla="*/ 1114 w 7569"/>
                <a:gd name="T103" fmla="*/ 216 h 292"/>
                <a:gd name="T104" fmla="*/ 863 w 7569"/>
                <a:gd name="T105" fmla="*/ 12 h 292"/>
                <a:gd name="T106" fmla="*/ 763 w 7569"/>
                <a:gd name="T107" fmla="*/ 24 h 292"/>
                <a:gd name="T108" fmla="*/ 770 w 7569"/>
                <a:gd name="T109" fmla="*/ 267 h 292"/>
                <a:gd name="T110" fmla="*/ 669 w 7569"/>
                <a:gd name="T111" fmla="*/ 25 h 292"/>
                <a:gd name="T112" fmla="*/ 591 w 7569"/>
                <a:gd name="T113" fmla="*/ 278 h 292"/>
                <a:gd name="T114" fmla="*/ 347 w 7569"/>
                <a:gd name="T115" fmla="*/ 24 h 292"/>
                <a:gd name="T116" fmla="*/ 133 w 7569"/>
                <a:gd name="T117" fmla="*/ 171 h 292"/>
                <a:gd name="T118" fmla="*/ 39 w 7569"/>
                <a:gd name="T119" fmla="*/ 129 h 292"/>
                <a:gd name="T120" fmla="*/ 170 w 7569"/>
                <a:gd name="T121" fmla="*/ 71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569" h="292">
                  <a:moveTo>
                    <a:pt x="7383" y="30"/>
                  </a:moveTo>
                  <a:cubicBezTo>
                    <a:pt x="7390" y="29"/>
                    <a:pt x="7396" y="28"/>
                    <a:pt x="7408" y="28"/>
                  </a:cubicBezTo>
                  <a:cubicBezTo>
                    <a:pt x="7445" y="28"/>
                    <a:pt x="7476" y="37"/>
                    <a:pt x="7498" y="62"/>
                  </a:cubicBezTo>
                  <a:cubicBezTo>
                    <a:pt x="7519" y="85"/>
                    <a:pt x="7526" y="115"/>
                    <a:pt x="7526" y="145"/>
                  </a:cubicBezTo>
                  <a:cubicBezTo>
                    <a:pt x="7526" y="216"/>
                    <a:pt x="7488" y="264"/>
                    <a:pt x="7404" y="264"/>
                  </a:cubicBezTo>
                  <a:cubicBezTo>
                    <a:pt x="7394" y="264"/>
                    <a:pt x="7388" y="263"/>
                    <a:pt x="7383" y="262"/>
                  </a:cubicBezTo>
                  <a:lnTo>
                    <a:pt x="7383" y="30"/>
                  </a:lnTo>
                  <a:close/>
                  <a:moveTo>
                    <a:pt x="7343" y="275"/>
                  </a:moveTo>
                  <a:cubicBezTo>
                    <a:pt x="7343" y="280"/>
                    <a:pt x="7344" y="283"/>
                    <a:pt x="7350" y="285"/>
                  </a:cubicBezTo>
                  <a:cubicBezTo>
                    <a:pt x="7361" y="287"/>
                    <a:pt x="7389" y="288"/>
                    <a:pt x="7403" y="288"/>
                  </a:cubicBezTo>
                  <a:cubicBezTo>
                    <a:pt x="7447" y="288"/>
                    <a:pt x="7492" y="279"/>
                    <a:pt x="7526" y="250"/>
                  </a:cubicBezTo>
                  <a:cubicBezTo>
                    <a:pt x="7541" y="236"/>
                    <a:pt x="7569" y="204"/>
                    <a:pt x="7569" y="147"/>
                  </a:cubicBezTo>
                  <a:cubicBezTo>
                    <a:pt x="7569" y="82"/>
                    <a:pt x="7530" y="4"/>
                    <a:pt x="7413" y="4"/>
                  </a:cubicBezTo>
                  <a:cubicBezTo>
                    <a:pt x="7389" y="4"/>
                    <a:pt x="7359" y="7"/>
                    <a:pt x="7349" y="11"/>
                  </a:cubicBezTo>
                  <a:cubicBezTo>
                    <a:pt x="7345" y="12"/>
                    <a:pt x="7343" y="13"/>
                    <a:pt x="7343" y="22"/>
                  </a:cubicBezTo>
                  <a:lnTo>
                    <a:pt x="7343" y="275"/>
                  </a:lnTo>
                  <a:close/>
                  <a:moveTo>
                    <a:pt x="7266" y="152"/>
                  </a:moveTo>
                  <a:cubicBezTo>
                    <a:pt x="7270" y="152"/>
                    <a:pt x="7272" y="152"/>
                    <a:pt x="7273" y="149"/>
                  </a:cubicBezTo>
                  <a:cubicBezTo>
                    <a:pt x="7273" y="147"/>
                    <a:pt x="7273" y="138"/>
                    <a:pt x="7273" y="133"/>
                  </a:cubicBezTo>
                  <a:cubicBezTo>
                    <a:pt x="7273" y="127"/>
                    <a:pt x="7270" y="127"/>
                    <a:pt x="7266" y="127"/>
                  </a:cubicBezTo>
                  <a:lnTo>
                    <a:pt x="7175" y="127"/>
                  </a:lnTo>
                  <a:lnTo>
                    <a:pt x="7175" y="32"/>
                  </a:lnTo>
                  <a:lnTo>
                    <a:pt x="7282" y="32"/>
                  </a:lnTo>
                  <a:cubicBezTo>
                    <a:pt x="7288" y="32"/>
                    <a:pt x="7289" y="31"/>
                    <a:pt x="7290" y="28"/>
                  </a:cubicBezTo>
                  <a:cubicBezTo>
                    <a:pt x="7290" y="26"/>
                    <a:pt x="7290" y="18"/>
                    <a:pt x="7290" y="13"/>
                  </a:cubicBezTo>
                  <a:cubicBezTo>
                    <a:pt x="7290" y="7"/>
                    <a:pt x="7287" y="7"/>
                    <a:pt x="7282" y="7"/>
                  </a:cubicBezTo>
                  <a:lnTo>
                    <a:pt x="7144" y="7"/>
                  </a:lnTo>
                  <a:cubicBezTo>
                    <a:pt x="7137" y="7"/>
                    <a:pt x="7136" y="9"/>
                    <a:pt x="7136" y="16"/>
                  </a:cubicBezTo>
                  <a:lnTo>
                    <a:pt x="7136" y="279"/>
                  </a:lnTo>
                  <a:cubicBezTo>
                    <a:pt x="7136" y="285"/>
                    <a:pt x="7138" y="286"/>
                    <a:pt x="7144" y="286"/>
                  </a:cubicBezTo>
                  <a:lnTo>
                    <a:pt x="7282" y="286"/>
                  </a:lnTo>
                  <a:cubicBezTo>
                    <a:pt x="7287" y="286"/>
                    <a:pt x="7290" y="285"/>
                    <a:pt x="7290" y="279"/>
                  </a:cubicBezTo>
                  <a:lnTo>
                    <a:pt x="7290" y="267"/>
                  </a:lnTo>
                  <a:cubicBezTo>
                    <a:pt x="7290" y="260"/>
                    <a:pt x="7288" y="260"/>
                    <a:pt x="7282" y="260"/>
                  </a:cubicBezTo>
                  <a:lnTo>
                    <a:pt x="7175" y="260"/>
                  </a:lnTo>
                  <a:lnTo>
                    <a:pt x="7175" y="152"/>
                  </a:lnTo>
                  <a:lnTo>
                    <a:pt x="7266" y="152"/>
                  </a:lnTo>
                  <a:close/>
                  <a:moveTo>
                    <a:pt x="7099" y="32"/>
                  </a:moveTo>
                  <a:cubicBezTo>
                    <a:pt x="7105" y="32"/>
                    <a:pt x="7107" y="30"/>
                    <a:pt x="7107" y="25"/>
                  </a:cubicBezTo>
                  <a:cubicBezTo>
                    <a:pt x="7107" y="8"/>
                    <a:pt x="7107" y="7"/>
                    <a:pt x="7099" y="7"/>
                  </a:cubicBezTo>
                  <a:lnTo>
                    <a:pt x="6921" y="7"/>
                  </a:lnTo>
                  <a:cubicBezTo>
                    <a:pt x="6913" y="7"/>
                    <a:pt x="6913" y="9"/>
                    <a:pt x="6913" y="24"/>
                  </a:cubicBezTo>
                  <a:cubicBezTo>
                    <a:pt x="6913" y="30"/>
                    <a:pt x="6915" y="32"/>
                    <a:pt x="6921" y="32"/>
                  </a:cubicBezTo>
                  <a:lnTo>
                    <a:pt x="6990" y="32"/>
                  </a:lnTo>
                  <a:lnTo>
                    <a:pt x="6990" y="278"/>
                  </a:lnTo>
                  <a:cubicBezTo>
                    <a:pt x="6991" y="285"/>
                    <a:pt x="6993" y="286"/>
                    <a:pt x="6999" y="286"/>
                  </a:cubicBezTo>
                  <a:lnTo>
                    <a:pt x="7022" y="286"/>
                  </a:lnTo>
                  <a:cubicBezTo>
                    <a:pt x="7029" y="286"/>
                    <a:pt x="7029" y="284"/>
                    <a:pt x="7029" y="278"/>
                  </a:cubicBezTo>
                  <a:lnTo>
                    <a:pt x="7029" y="32"/>
                  </a:lnTo>
                  <a:lnTo>
                    <a:pt x="7099" y="32"/>
                  </a:lnTo>
                  <a:close/>
                  <a:moveTo>
                    <a:pt x="6884" y="14"/>
                  </a:moveTo>
                  <a:cubicBezTo>
                    <a:pt x="6884" y="7"/>
                    <a:pt x="6882" y="7"/>
                    <a:pt x="6876" y="7"/>
                  </a:cubicBezTo>
                  <a:lnTo>
                    <a:pt x="6852" y="7"/>
                  </a:lnTo>
                  <a:cubicBezTo>
                    <a:pt x="6846" y="6"/>
                    <a:pt x="6845" y="8"/>
                    <a:pt x="6845" y="15"/>
                  </a:cubicBezTo>
                  <a:lnTo>
                    <a:pt x="6845" y="278"/>
                  </a:lnTo>
                  <a:cubicBezTo>
                    <a:pt x="6845" y="285"/>
                    <a:pt x="6848" y="286"/>
                    <a:pt x="6852" y="286"/>
                  </a:cubicBezTo>
                  <a:lnTo>
                    <a:pt x="6876" y="286"/>
                  </a:lnTo>
                  <a:cubicBezTo>
                    <a:pt x="6882" y="286"/>
                    <a:pt x="6884" y="285"/>
                    <a:pt x="6884" y="278"/>
                  </a:cubicBezTo>
                  <a:lnTo>
                    <a:pt x="6884" y="14"/>
                  </a:lnTo>
                  <a:close/>
                  <a:moveTo>
                    <a:pt x="6738" y="278"/>
                  </a:moveTo>
                  <a:cubicBezTo>
                    <a:pt x="6738" y="285"/>
                    <a:pt x="6739" y="286"/>
                    <a:pt x="6745" y="286"/>
                  </a:cubicBezTo>
                  <a:lnTo>
                    <a:pt x="6767" y="286"/>
                  </a:lnTo>
                  <a:cubicBezTo>
                    <a:pt x="6774" y="286"/>
                    <a:pt x="6775" y="285"/>
                    <a:pt x="6775" y="279"/>
                  </a:cubicBezTo>
                  <a:lnTo>
                    <a:pt x="6775" y="13"/>
                  </a:lnTo>
                  <a:cubicBezTo>
                    <a:pt x="6775" y="7"/>
                    <a:pt x="6773" y="7"/>
                    <a:pt x="6767" y="7"/>
                  </a:cubicBezTo>
                  <a:lnTo>
                    <a:pt x="6740" y="7"/>
                  </a:lnTo>
                  <a:cubicBezTo>
                    <a:pt x="6733" y="7"/>
                    <a:pt x="6733" y="7"/>
                    <a:pt x="6730" y="15"/>
                  </a:cubicBezTo>
                  <a:lnTo>
                    <a:pt x="6645" y="219"/>
                  </a:lnTo>
                  <a:lnTo>
                    <a:pt x="6557" y="14"/>
                  </a:lnTo>
                  <a:cubicBezTo>
                    <a:pt x="6554" y="7"/>
                    <a:pt x="6553" y="7"/>
                    <a:pt x="6547" y="7"/>
                  </a:cubicBezTo>
                  <a:lnTo>
                    <a:pt x="6520" y="7"/>
                  </a:lnTo>
                  <a:cubicBezTo>
                    <a:pt x="6514" y="7"/>
                    <a:pt x="6513" y="8"/>
                    <a:pt x="6513" y="14"/>
                  </a:cubicBezTo>
                  <a:lnTo>
                    <a:pt x="6513" y="278"/>
                  </a:lnTo>
                  <a:cubicBezTo>
                    <a:pt x="6513" y="283"/>
                    <a:pt x="6513" y="285"/>
                    <a:pt x="6517" y="286"/>
                  </a:cubicBezTo>
                  <a:lnTo>
                    <a:pt x="6536" y="286"/>
                  </a:lnTo>
                  <a:cubicBezTo>
                    <a:pt x="6541" y="286"/>
                    <a:pt x="6543" y="285"/>
                    <a:pt x="6543" y="279"/>
                  </a:cubicBezTo>
                  <a:lnTo>
                    <a:pt x="6543" y="65"/>
                  </a:lnTo>
                  <a:lnTo>
                    <a:pt x="6633" y="278"/>
                  </a:lnTo>
                  <a:cubicBezTo>
                    <a:pt x="6636" y="285"/>
                    <a:pt x="6637" y="287"/>
                    <a:pt x="6642" y="287"/>
                  </a:cubicBezTo>
                  <a:cubicBezTo>
                    <a:pt x="6646" y="287"/>
                    <a:pt x="6646" y="286"/>
                    <a:pt x="6650" y="278"/>
                  </a:cubicBezTo>
                  <a:lnTo>
                    <a:pt x="6738" y="65"/>
                  </a:lnTo>
                  <a:lnTo>
                    <a:pt x="6738" y="278"/>
                  </a:lnTo>
                  <a:close/>
                  <a:moveTo>
                    <a:pt x="6444" y="14"/>
                  </a:moveTo>
                  <a:cubicBezTo>
                    <a:pt x="6444" y="7"/>
                    <a:pt x="6441" y="7"/>
                    <a:pt x="6436" y="7"/>
                  </a:cubicBezTo>
                  <a:lnTo>
                    <a:pt x="6412" y="7"/>
                  </a:lnTo>
                  <a:cubicBezTo>
                    <a:pt x="6406" y="6"/>
                    <a:pt x="6404" y="8"/>
                    <a:pt x="6404" y="15"/>
                  </a:cubicBezTo>
                  <a:lnTo>
                    <a:pt x="6404" y="278"/>
                  </a:lnTo>
                  <a:cubicBezTo>
                    <a:pt x="6404" y="285"/>
                    <a:pt x="6407" y="286"/>
                    <a:pt x="6412" y="286"/>
                  </a:cubicBezTo>
                  <a:lnTo>
                    <a:pt x="6436" y="286"/>
                  </a:lnTo>
                  <a:cubicBezTo>
                    <a:pt x="6442" y="286"/>
                    <a:pt x="6444" y="285"/>
                    <a:pt x="6444" y="278"/>
                  </a:cubicBezTo>
                  <a:lnTo>
                    <a:pt x="6444" y="14"/>
                  </a:lnTo>
                  <a:close/>
                  <a:moveTo>
                    <a:pt x="6253" y="14"/>
                  </a:moveTo>
                  <a:cubicBezTo>
                    <a:pt x="6253" y="8"/>
                    <a:pt x="6252" y="7"/>
                    <a:pt x="6246" y="7"/>
                  </a:cubicBezTo>
                  <a:lnTo>
                    <a:pt x="6221" y="7"/>
                  </a:lnTo>
                  <a:cubicBezTo>
                    <a:pt x="6216" y="7"/>
                    <a:pt x="6214" y="7"/>
                    <a:pt x="6214" y="14"/>
                  </a:cubicBezTo>
                  <a:lnTo>
                    <a:pt x="6214" y="279"/>
                  </a:lnTo>
                  <a:cubicBezTo>
                    <a:pt x="6214" y="283"/>
                    <a:pt x="6215" y="286"/>
                    <a:pt x="6221" y="286"/>
                  </a:cubicBezTo>
                  <a:lnTo>
                    <a:pt x="6358" y="286"/>
                  </a:lnTo>
                  <a:cubicBezTo>
                    <a:pt x="6361" y="286"/>
                    <a:pt x="6364" y="286"/>
                    <a:pt x="6365" y="282"/>
                  </a:cubicBezTo>
                  <a:lnTo>
                    <a:pt x="6365" y="267"/>
                  </a:lnTo>
                  <a:cubicBezTo>
                    <a:pt x="6365" y="262"/>
                    <a:pt x="6364" y="260"/>
                    <a:pt x="6358" y="260"/>
                  </a:cubicBezTo>
                  <a:lnTo>
                    <a:pt x="6253" y="260"/>
                  </a:lnTo>
                  <a:lnTo>
                    <a:pt x="6253" y="14"/>
                  </a:lnTo>
                  <a:close/>
                  <a:moveTo>
                    <a:pt x="5991" y="122"/>
                  </a:moveTo>
                  <a:cubicBezTo>
                    <a:pt x="5960" y="109"/>
                    <a:pt x="5936" y="98"/>
                    <a:pt x="5936" y="67"/>
                  </a:cubicBezTo>
                  <a:cubicBezTo>
                    <a:pt x="5936" y="44"/>
                    <a:pt x="5954" y="24"/>
                    <a:pt x="5980" y="24"/>
                  </a:cubicBezTo>
                  <a:cubicBezTo>
                    <a:pt x="6005" y="24"/>
                    <a:pt x="6017" y="41"/>
                    <a:pt x="6025" y="53"/>
                  </a:cubicBezTo>
                  <a:cubicBezTo>
                    <a:pt x="6029" y="60"/>
                    <a:pt x="6034" y="67"/>
                    <a:pt x="6044" y="67"/>
                  </a:cubicBezTo>
                  <a:cubicBezTo>
                    <a:pt x="6054" y="67"/>
                    <a:pt x="6061" y="59"/>
                    <a:pt x="6061" y="49"/>
                  </a:cubicBezTo>
                  <a:cubicBezTo>
                    <a:pt x="6061" y="29"/>
                    <a:pt x="6029" y="1"/>
                    <a:pt x="5982" y="1"/>
                  </a:cubicBezTo>
                  <a:cubicBezTo>
                    <a:pt x="5931" y="1"/>
                    <a:pt x="5899" y="33"/>
                    <a:pt x="5899" y="75"/>
                  </a:cubicBezTo>
                  <a:cubicBezTo>
                    <a:pt x="5899" y="122"/>
                    <a:pt x="5940" y="141"/>
                    <a:pt x="5956" y="149"/>
                  </a:cubicBezTo>
                  <a:lnTo>
                    <a:pt x="5977" y="159"/>
                  </a:lnTo>
                  <a:cubicBezTo>
                    <a:pt x="6008" y="173"/>
                    <a:pt x="6035" y="187"/>
                    <a:pt x="6035" y="221"/>
                  </a:cubicBezTo>
                  <a:cubicBezTo>
                    <a:pt x="6035" y="246"/>
                    <a:pt x="6017" y="267"/>
                    <a:pt x="5987" y="267"/>
                  </a:cubicBezTo>
                  <a:cubicBezTo>
                    <a:pt x="5954" y="267"/>
                    <a:pt x="5941" y="242"/>
                    <a:pt x="5935" y="230"/>
                  </a:cubicBezTo>
                  <a:cubicBezTo>
                    <a:pt x="5931" y="221"/>
                    <a:pt x="5926" y="213"/>
                    <a:pt x="5915" y="213"/>
                  </a:cubicBezTo>
                  <a:cubicBezTo>
                    <a:pt x="5905" y="213"/>
                    <a:pt x="5896" y="219"/>
                    <a:pt x="5896" y="232"/>
                  </a:cubicBezTo>
                  <a:cubicBezTo>
                    <a:pt x="5896" y="249"/>
                    <a:pt x="5920" y="292"/>
                    <a:pt x="5984" y="292"/>
                  </a:cubicBezTo>
                  <a:cubicBezTo>
                    <a:pt x="6036" y="292"/>
                    <a:pt x="6072" y="259"/>
                    <a:pt x="6072" y="212"/>
                  </a:cubicBezTo>
                  <a:cubicBezTo>
                    <a:pt x="6072" y="162"/>
                    <a:pt x="6031" y="142"/>
                    <a:pt x="6011" y="132"/>
                  </a:cubicBezTo>
                  <a:lnTo>
                    <a:pt x="5991" y="122"/>
                  </a:lnTo>
                  <a:close/>
                  <a:moveTo>
                    <a:pt x="5814" y="228"/>
                  </a:moveTo>
                  <a:cubicBezTo>
                    <a:pt x="5814" y="241"/>
                    <a:pt x="5813" y="249"/>
                    <a:pt x="5803" y="256"/>
                  </a:cubicBezTo>
                  <a:cubicBezTo>
                    <a:pt x="5793" y="263"/>
                    <a:pt x="5777" y="266"/>
                    <a:pt x="5762" y="266"/>
                  </a:cubicBezTo>
                  <a:cubicBezTo>
                    <a:pt x="5699" y="266"/>
                    <a:pt x="5663" y="210"/>
                    <a:pt x="5663" y="140"/>
                  </a:cubicBezTo>
                  <a:cubicBezTo>
                    <a:pt x="5663" y="62"/>
                    <a:pt x="5707" y="25"/>
                    <a:pt x="5752" y="25"/>
                  </a:cubicBezTo>
                  <a:cubicBezTo>
                    <a:pt x="5787" y="25"/>
                    <a:pt x="5803" y="47"/>
                    <a:pt x="5811" y="59"/>
                  </a:cubicBezTo>
                  <a:cubicBezTo>
                    <a:pt x="5819" y="71"/>
                    <a:pt x="5824" y="79"/>
                    <a:pt x="5834" y="79"/>
                  </a:cubicBezTo>
                  <a:cubicBezTo>
                    <a:pt x="5843" y="79"/>
                    <a:pt x="5853" y="72"/>
                    <a:pt x="5853" y="60"/>
                  </a:cubicBezTo>
                  <a:cubicBezTo>
                    <a:pt x="5853" y="41"/>
                    <a:pt x="5819" y="1"/>
                    <a:pt x="5753" y="1"/>
                  </a:cubicBezTo>
                  <a:cubicBezTo>
                    <a:pt x="5673" y="1"/>
                    <a:pt x="5621" y="61"/>
                    <a:pt x="5621" y="146"/>
                  </a:cubicBezTo>
                  <a:cubicBezTo>
                    <a:pt x="5621" y="223"/>
                    <a:pt x="5662" y="292"/>
                    <a:pt x="5759" y="292"/>
                  </a:cubicBezTo>
                  <a:cubicBezTo>
                    <a:pt x="5802" y="292"/>
                    <a:pt x="5834" y="277"/>
                    <a:pt x="5847" y="260"/>
                  </a:cubicBezTo>
                  <a:cubicBezTo>
                    <a:pt x="5852" y="254"/>
                    <a:pt x="5852" y="252"/>
                    <a:pt x="5852" y="238"/>
                  </a:cubicBezTo>
                  <a:lnTo>
                    <a:pt x="5852" y="155"/>
                  </a:lnTo>
                  <a:cubicBezTo>
                    <a:pt x="5852" y="150"/>
                    <a:pt x="5852" y="147"/>
                    <a:pt x="5845" y="147"/>
                  </a:cubicBezTo>
                  <a:lnTo>
                    <a:pt x="5760" y="147"/>
                  </a:lnTo>
                  <a:cubicBezTo>
                    <a:pt x="5756" y="147"/>
                    <a:pt x="5753" y="147"/>
                    <a:pt x="5752" y="151"/>
                  </a:cubicBezTo>
                  <a:lnTo>
                    <a:pt x="5752" y="163"/>
                  </a:lnTo>
                  <a:cubicBezTo>
                    <a:pt x="5752" y="170"/>
                    <a:pt x="5753" y="170"/>
                    <a:pt x="5760" y="170"/>
                  </a:cubicBezTo>
                  <a:lnTo>
                    <a:pt x="5814" y="170"/>
                  </a:lnTo>
                  <a:lnTo>
                    <a:pt x="5814" y="228"/>
                  </a:lnTo>
                  <a:close/>
                  <a:moveTo>
                    <a:pt x="5390" y="13"/>
                  </a:moveTo>
                  <a:cubicBezTo>
                    <a:pt x="5386" y="7"/>
                    <a:pt x="5386" y="7"/>
                    <a:pt x="5381" y="7"/>
                  </a:cubicBezTo>
                  <a:lnTo>
                    <a:pt x="5358" y="7"/>
                  </a:lnTo>
                  <a:cubicBezTo>
                    <a:pt x="5351" y="7"/>
                    <a:pt x="5350" y="8"/>
                    <a:pt x="5350" y="14"/>
                  </a:cubicBezTo>
                  <a:lnTo>
                    <a:pt x="5350" y="278"/>
                  </a:lnTo>
                  <a:cubicBezTo>
                    <a:pt x="5350" y="284"/>
                    <a:pt x="5351" y="286"/>
                    <a:pt x="5357" y="286"/>
                  </a:cubicBezTo>
                  <a:cubicBezTo>
                    <a:pt x="5364" y="286"/>
                    <a:pt x="5377" y="286"/>
                    <a:pt x="5378" y="285"/>
                  </a:cubicBezTo>
                  <a:cubicBezTo>
                    <a:pt x="5381" y="285"/>
                    <a:pt x="5381" y="283"/>
                    <a:pt x="5381" y="278"/>
                  </a:cubicBezTo>
                  <a:lnTo>
                    <a:pt x="5381" y="61"/>
                  </a:lnTo>
                  <a:lnTo>
                    <a:pt x="5540" y="280"/>
                  </a:lnTo>
                  <a:cubicBezTo>
                    <a:pt x="5544" y="285"/>
                    <a:pt x="5545" y="285"/>
                    <a:pt x="5549" y="286"/>
                  </a:cubicBezTo>
                  <a:lnTo>
                    <a:pt x="5564" y="286"/>
                  </a:lnTo>
                  <a:cubicBezTo>
                    <a:pt x="5569" y="286"/>
                    <a:pt x="5571" y="285"/>
                    <a:pt x="5571" y="279"/>
                  </a:cubicBezTo>
                  <a:lnTo>
                    <a:pt x="5571" y="14"/>
                  </a:lnTo>
                  <a:cubicBezTo>
                    <a:pt x="5571" y="8"/>
                    <a:pt x="5570" y="7"/>
                    <a:pt x="5565" y="7"/>
                  </a:cubicBezTo>
                  <a:lnTo>
                    <a:pt x="5544" y="7"/>
                  </a:lnTo>
                  <a:cubicBezTo>
                    <a:pt x="5541" y="7"/>
                    <a:pt x="5540" y="9"/>
                    <a:pt x="5540" y="14"/>
                  </a:cubicBezTo>
                  <a:lnTo>
                    <a:pt x="5540" y="219"/>
                  </a:lnTo>
                  <a:lnTo>
                    <a:pt x="5390" y="13"/>
                  </a:lnTo>
                  <a:close/>
                  <a:moveTo>
                    <a:pt x="5281" y="14"/>
                  </a:moveTo>
                  <a:cubicBezTo>
                    <a:pt x="5281" y="7"/>
                    <a:pt x="5278" y="7"/>
                    <a:pt x="5273" y="7"/>
                  </a:cubicBezTo>
                  <a:lnTo>
                    <a:pt x="5249" y="7"/>
                  </a:lnTo>
                  <a:cubicBezTo>
                    <a:pt x="5243" y="6"/>
                    <a:pt x="5242" y="8"/>
                    <a:pt x="5242" y="15"/>
                  </a:cubicBezTo>
                  <a:lnTo>
                    <a:pt x="5242" y="278"/>
                  </a:lnTo>
                  <a:cubicBezTo>
                    <a:pt x="5242" y="285"/>
                    <a:pt x="5244" y="286"/>
                    <a:pt x="5249" y="286"/>
                  </a:cubicBezTo>
                  <a:lnTo>
                    <a:pt x="5273" y="286"/>
                  </a:lnTo>
                  <a:cubicBezTo>
                    <a:pt x="5279" y="286"/>
                    <a:pt x="5281" y="285"/>
                    <a:pt x="5281" y="278"/>
                  </a:cubicBezTo>
                  <a:lnTo>
                    <a:pt x="5281" y="14"/>
                  </a:lnTo>
                  <a:close/>
                  <a:moveTo>
                    <a:pt x="5007" y="30"/>
                  </a:moveTo>
                  <a:cubicBezTo>
                    <a:pt x="5014" y="29"/>
                    <a:pt x="5021" y="28"/>
                    <a:pt x="5032" y="28"/>
                  </a:cubicBezTo>
                  <a:cubicBezTo>
                    <a:pt x="5069" y="28"/>
                    <a:pt x="5100" y="37"/>
                    <a:pt x="5123" y="62"/>
                  </a:cubicBezTo>
                  <a:cubicBezTo>
                    <a:pt x="5143" y="85"/>
                    <a:pt x="5151" y="115"/>
                    <a:pt x="5151" y="145"/>
                  </a:cubicBezTo>
                  <a:cubicBezTo>
                    <a:pt x="5151" y="216"/>
                    <a:pt x="5113" y="264"/>
                    <a:pt x="5028" y="264"/>
                  </a:cubicBezTo>
                  <a:cubicBezTo>
                    <a:pt x="5019" y="264"/>
                    <a:pt x="5012" y="263"/>
                    <a:pt x="5007" y="262"/>
                  </a:cubicBezTo>
                  <a:lnTo>
                    <a:pt x="5007" y="30"/>
                  </a:lnTo>
                  <a:close/>
                  <a:moveTo>
                    <a:pt x="4968" y="275"/>
                  </a:moveTo>
                  <a:cubicBezTo>
                    <a:pt x="4968" y="280"/>
                    <a:pt x="4968" y="283"/>
                    <a:pt x="4974" y="285"/>
                  </a:cubicBezTo>
                  <a:cubicBezTo>
                    <a:pt x="4985" y="287"/>
                    <a:pt x="5013" y="288"/>
                    <a:pt x="5027" y="288"/>
                  </a:cubicBezTo>
                  <a:cubicBezTo>
                    <a:pt x="5072" y="288"/>
                    <a:pt x="5117" y="279"/>
                    <a:pt x="5150" y="250"/>
                  </a:cubicBezTo>
                  <a:cubicBezTo>
                    <a:pt x="5165" y="236"/>
                    <a:pt x="5193" y="204"/>
                    <a:pt x="5193" y="147"/>
                  </a:cubicBezTo>
                  <a:cubicBezTo>
                    <a:pt x="5193" y="82"/>
                    <a:pt x="5154" y="4"/>
                    <a:pt x="5037" y="4"/>
                  </a:cubicBezTo>
                  <a:cubicBezTo>
                    <a:pt x="5013" y="4"/>
                    <a:pt x="4984" y="7"/>
                    <a:pt x="4974" y="11"/>
                  </a:cubicBezTo>
                  <a:cubicBezTo>
                    <a:pt x="4969" y="12"/>
                    <a:pt x="4968" y="13"/>
                    <a:pt x="4968" y="22"/>
                  </a:cubicBezTo>
                  <a:lnTo>
                    <a:pt x="4968" y="275"/>
                  </a:lnTo>
                  <a:close/>
                  <a:moveTo>
                    <a:pt x="4816" y="14"/>
                  </a:moveTo>
                  <a:cubicBezTo>
                    <a:pt x="4816" y="8"/>
                    <a:pt x="4815" y="7"/>
                    <a:pt x="4809" y="7"/>
                  </a:cubicBezTo>
                  <a:lnTo>
                    <a:pt x="4784" y="7"/>
                  </a:lnTo>
                  <a:cubicBezTo>
                    <a:pt x="4779" y="7"/>
                    <a:pt x="4777" y="7"/>
                    <a:pt x="4777" y="14"/>
                  </a:cubicBezTo>
                  <a:lnTo>
                    <a:pt x="4777" y="279"/>
                  </a:lnTo>
                  <a:cubicBezTo>
                    <a:pt x="4777" y="283"/>
                    <a:pt x="4778" y="286"/>
                    <a:pt x="4784" y="286"/>
                  </a:cubicBezTo>
                  <a:lnTo>
                    <a:pt x="4921" y="286"/>
                  </a:lnTo>
                  <a:cubicBezTo>
                    <a:pt x="4924" y="286"/>
                    <a:pt x="4927" y="286"/>
                    <a:pt x="4928" y="282"/>
                  </a:cubicBezTo>
                  <a:lnTo>
                    <a:pt x="4928" y="267"/>
                  </a:lnTo>
                  <a:cubicBezTo>
                    <a:pt x="4928" y="262"/>
                    <a:pt x="4927" y="260"/>
                    <a:pt x="4921" y="260"/>
                  </a:cubicBezTo>
                  <a:lnTo>
                    <a:pt x="4816" y="260"/>
                  </a:lnTo>
                  <a:lnTo>
                    <a:pt x="4816" y="14"/>
                  </a:lnTo>
                  <a:close/>
                  <a:moveTo>
                    <a:pt x="4687" y="139"/>
                  </a:moveTo>
                  <a:cubicBezTo>
                    <a:pt x="4687" y="161"/>
                    <a:pt x="4686" y="198"/>
                    <a:pt x="4667" y="227"/>
                  </a:cubicBezTo>
                  <a:cubicBezTo>
                    <a:pt x="4650" y="254"/>
                    <a:pt x="4624" y="265"/>
                    <a:pt x="4601" y="265"/>
                  </a:cubicBezTo>
                  <a:cubicBezTo>
                    <a:pt x="4565" y="265"/>
                    <a:pt x="4530" y="238"/>
                    <a:pt x="4519" y="185"/>
                  </a:cubicBezTo>
                  <a:cubicBezTo>
                    <a:pt x="4516" y="173"/>
                    <a:pt x="4515" y="159"/>
                    <a:pt x="4515" y="144"/>
                  </a:cubicBezTo>
                  <a:cubicBezTo>
                    <a:pt x="4515" y="98"/>
                    <a:pt x="4527" y="55"/>
                    <a:pt x="4564" y="34"/>
                  </a:cubicBezTo>
                  <a:cubicBezTo>
                    <a:pt x="4575" y="28"/>
                    <a:pt x="4588" y="24"/>
                    <a:pt x="4601" y="24"/>
                  </a:cubicBezTo>
                  <a:cubicBezTo>
                    <a:pt x="4630" y="24"/>
                    <a:pt x="4684" y="46"/>
                    <a:pt x="4687" y="139"/>
                  </a:cubicBezTo>
                  <a:close/>
                  <a:moveTo>
                    <a:pt x="4728" y="138"/>
                  </a:moveTo>
                  <a:cubicBezTo>
                    <a:pt x="4725" y="69"/>
                    <a:pt x="4683" y="0"/>
                    <a:pt x="4602" y="0"/>
                  </a:cubicBezTo>
                  <a:cubicBezTo>
                    <a:pt x="4514" y="0"/>
                    <a:pt x="4474" y="76"/>
                    <a:pt x="4474" y="146"/>
                  </a:cubicBezTo>
                  <a:cubicBezTo>
                    <a:pt x="4474" y="232"/>
                    <a:pt x="4529" y="292"/>
                    <a:pt x="4602" y="292"/>
                  </a:cubicBezTo>
                  <a:cubicBezTo>
                    <a:pt x="4678" y="292"/>
                    <a:pt x="4732" y="224"/>
                    <a:pt x="4728" y="138"/>
                  </a:cubicBezTo>
                  <a:close/>
                  <a:moveTo>
                    <a:pt x="4386" y="278"/>
                  </a:moveTo>
                  <a:cubicBezTo>
                    <a:pt x="4386" y="285"/>
                    <a:pt x="4387" y="286"/>
                    <a:pt x="4393" y="286"/>
                  </a:cubicBezTo>
                  <a:lnTo>
                    <a:pt x="4418" y="286"/>
                  </a:lnTo>
                  <a:cubicBezTo>
                    <a:pt x="4423" y="286"/>
                    <a:pt x="4425" y="286"/>
                    <a:pt x="4425" y="279"/>
                  </a:cubicBezTo>
                  <a:lnTo>
                    <a:pt x="4425" y="13"/>
                  </a:lnTo>
                  <a:cubicBezTo>
                    <a:pt x="4425" y="7"/>
                    <a:pt x="4424" y="7"/>
                    <a:pt x="4418" y="7"/>
                  </a:cubicBezTo>
                  <a:lnTo>
                    <a:pt x="4393" y="7"/>
                  </a:lnTo>
                  <a:cubicBezTo>
                    <a:pt x="4386" y="6"/>
                    <a:pt x="4386" y="9"/>
                    <a:pt x="4386" y="15"/>
                  </a:cubicBezTo>
                  <a:lnTo>
                    <a:pt x="4386" y="127"/>
                  </a:lnTo>
                  <a:lnTo>
                    <a:pt x="4268" y="127"/>
                  </a:lnTo>
                  <a:lnTo>
                    <a:pt x="4268" y="13"/>
                  </a:lnTo>
                  <a:cubicBezTo>
                    <a:pt x="4268" y="7"/>
                    <a:pt x="4266" y="6"/>
                    <a:pt x="4261" y="7"/>
                  </a:cubicBezTo>
                  <a:lnTo>
                    <a:pt x="4236" y="7"/>
                  </a:lnTo>
                  <a:cubicBezTo>
                    <a:pt x="4231" y="7"/>
                    <a:pt x="4229" y="8"/>
                    <a:pt x="4229" y="13"/>
                  </a:cubicBezTo>
                  <a:lnTo>
                    <a:pt x="4229" y="278"/>
                  </a:lnTo>
                  <a:cubicBezTo>
                    <a:pt x="4229" y="285"/>
                    <a:pt x="4231" y="286"/>
                    <a:pt x="4236" y="286"/>
                  </a:cubicBezTo>
                  <a:lnTo>
                    <a:pt x="4261" y="286"/>
                  </a:lnTo>
                  <a:cubicBezTo>
                    <a:pt x="4266" y="286"/>
                    <a:pt x="4268" y="285"/>
                    <a:pt x="4268" y="278"/>
                  </a:cubicBezTo>
                  <a:lnTo>
                    <a:pt x="4268" y="152"/>
                  </a:lnTo>
                  <a:lnTo>
                    <a:pt x="4386" y="152"/>
                  </a:lnTo>
                  <a:lnTo>
                    <a:pt x="4386" y="278"/>
                  </a:lnTo>
                  <a:close/>
                  <a:moveTo>
                    <a:pt x="4068" y="152"/>
                  </a:moveTo>
                  <a:cubicBezTo>
                    <a:pt x="4072" y="152"/>
                    <a:pt x="4074" y="152"/>
                    <a:pt x="4075" y="149"/>
                  </a:cubicBezTo>
                  <a:cubicBezTo>
                    <a:pt x="4076" y="147"/>
                    <a:pt x="4076" y="138"/>
                    <a:pt x="4076" y="133"/>
                  </a:cubicBezTo>
                  <a:cubicBezTo>
                    <a:pt x="4076" y="127"/>
                    <a:pt x="4072" y="127"/>
                    <a:pt x="4068" y="127"/>
                  </a:cubicBezTo>
                  <a:lnTo>
                    <a:pt x="3977" y="127"/>
                  </a:lnTo>
                  <a:lnTo>
                    <a:pt x="3977" y="32"/>
                  </a:lnTo>
                  <a:lnTo>
                    <a:pt x="4085" y="32"/>
                  </a:lnTo>
                  <a:cubicBezTo>
                    <a:pt x="4090" y="32"/>
                    <a:pt x="4092" y="31"/>
                    <a:pt x="4092" y="28"/>
                  </a:cubicBezTo>
                  <a:cubicBezTo>
                    <a:pt x="4092" y="26"/>
                    <a:pt x="4092" y="18"/>
                    <a:pt x="4092" y="13"/>
                  </a:cubicBezTo>
                  <a:cubicBezTo>
                    <a:pt x="4092" y="7"/>
                    <a:pt x="4089" y="7"/>
                    <a:pt x="4085" y="7"/>
                  </a:cubicBezTo>
                  <a:lnTo>
                    <a:pt x="3946" y="7"/>
                  </a:lnTo>
                  <a:cubicBezTo>
                    <a:pt x="3939" y="7"/>
                    <a:pt x="3938" y="9"/>
                    <a:pt x="3938" y="16"/>
                  </a:cubicBezTo>
                  <a:lnTo>
                    <a:pt x="3938" y="279"/>
                  </a:lnTo>
                  <a:cubicBezTo>
                    <a:pt x="3938" y="285"/>
                    <a:pt x="3940" y="286"/>
                    <a:pt x="3946" y="286"/>
                  </a:cubicBezTo>
                  <a:lnTo>
                    <a:pt x="4085" y="286"/>
                  </a:lnTo>
                  <a:cubicBezTo>
                    <a:pt x="4090" y="286"/>
                    <a:pt x="4092" y="285"/>
                    <a:pt x="4092" y="279"/>
                  </a:cubicBezTo>
                  <a:lnTo>
                    <a:pt x="4092" y="267"/>
                  </a:lnTo>
                  <a:cubicBezTo>
                    <a:pt x="4092" y="260"/>
                    <a:pt x="4090" y="260"/>
                    <a:pt x="4085" y="260"/>
                  </a:cubicBezTo>
                  <a:lnTo>
                    <a:pt x="3977" y="260"/>
                  </a:lnTo>
                  <a:lnTo>
                    <a:pt x="3977" y="152"/>
                  </a:lnTo>
                  <a:lnTo>
                    <a:pt x="4068" y="152"/>
                  </a:lnTo>
                  <a:close/>
                  <a:moveTo>
                    <a:pt x="3861" y="64"/>
                  </a:moveTo>
                  <a:cubicBezTo>
                    <a:pt x="3867" y="73"/>
                    <a:pt x="3874" y="74"/>
                    <a:pt x="3879" y="74"/>
                  </a:cubicBezTo>
                  <a:cubicBezTo>
                    <a:pt x="3888" y="74"/>
                    <a:pt x="3897" y="67"/>
                    <a:pt x="3897" y="56"/>
                  </a:cubicBezTo>
                  <a:cubicBezTo>
                    <a:pt x="3897" y="35"/>
                    <a:pt x="3864" y="1"/>
                    <a:pt x="3805" y="1"/>
                  </a:cubicBezTo>
                  <a:cubicBezTo>
                    <a:pt x="3713" y="1"/>
                    <a:pt x="3677" y="77"/>
                    <a:pt x="3677" y="144"/>
                  </a:cubicBezTo>
                  <a:cubicBezTo>
                    <a:pt x="3677" y="222"/>
                    <a:pt x="3720" y="292"/>
                    <a:pt x="3807" y="292"/>
                  </a:cubicBezTo>
                  <a:cubicBezTo>
                    <a:pt x="3858" y="292"/>
                    <a:pt x="3893" y="262"/>
                    <a:pt x="3893" y="248"/>
                  </a:cubicBezTo>
                  <a:cubicBezTo>
                    <a:pt x="3893" y="243"/>
                    <a:pt x="3889" y="239"/>
                    <a:pt x="3884" y="239"/>
                  </a:cubicBezTo>
                  <a:cubicBezTo>
                    <a:pt x="3880" y="239"/>
                    <a:pt x="3877" y="241"/>
                    <a:pt x="3870" y="245"/>
                  </a:cubicBezTo>
                  <a:cubicBezTo>
                    <a:pt x="3853" y="257"/>
                    <a:pt x="3835" y="263"/>
                    <a:pt x="3815" y="263"/>
                  </a:cubicBezTo>
                  <a:cubicBezTo>
                    <a:pt x="3758" y="263"/>
                    <a:pt x="3718" y="209"/>
                    <a:pt x="3718" y="136"/>
                  </a:cubicBezTo>
                  <a:cubicBezTo>
                    <a:pt x="3718" y="67"/>
                    <a:pt x="3755" y="25"/>
                    <a:pt x="3801" y="25"/>
                  </a:cubicBezTo>
                  <a:cubicBezTo>
                    <a:pt x="3838" y="25"/>
                    <a:pt x="3854" y="52"/>
                    <a:pt x="3861" y="64"/>
                  </a:cubicBezTo>
                  <a:close/>
                  <a:moveTo>
                    <a:pt x="3447" y="13"/>
                  </a:moveTo>
                  <a:cubicBezTo>
                    <a:pt x="3443" y="7"/>
                    <a:pt x="3443" y="7"/>
                    <a:pt x="3438" y="7"/>
                  </a:cubicBezTo>
                  <a:lnTo>
                    <a:pt x="3414" y="7"/>
                  </a:lnTo>
                  <a:cubicBezTo>
                    <a:pt x="3408" y="7"/>
                    <a:pt x="3407" y="8"/>
                    <a:pt x="3407" y="14"/>
                  </a:cubicBezTo>
                  <a:lnTo>
                    <a:pt x="3407" y="278"/>
                  </a:lnTo>
                  <a:cubicBezTo>
                    <a:pt x="3407" y="284"/>
                    <a:pt x="3408" y="286"/>
                    <a:pt x="3414" y="286"/>
                  </a:cubicBezTo>
                  <a:cubicBezTo>
                    <a:pt x="3420" y="286"/>
                    <a:pt x="3434" y="286"/>
                    <a:pt x="3434" y="285"/>
                  </a:cubicBezTo>
                  <a:cubicBezTo>
                    <a:pt x="3438" y="285"/>
                    <a:pt x="3438" y="283"/>
                    <a:pt x="3438" y="278"/>
                  </a:cubicBezTo>
                  <a:lnTo>
                    <a:pt x="3438" y="61"/>
                  </a:lnTo>
                  <a:lnTo>
                    <a:pt x="3597" y="280"/>
                  </a:lnTo>
                  <a:cubicBezTo>
                    <a:pt x="3601" y="285"/>
                    <a:pt x="3602" y="285"/>
                    <a:pt x="3606" y="286"/>
                  </a:cubicBezTo>
                  <a:lnTo>
                    <a:pt x="3621" y="286"/>
                  </a:lnTo>
                  <a:cubicBezTo>
                    <a:pt x="3626" y="286"/>
                    <a:pt x="3628" y="285"/>
                    <a:pt x="3628" y="279"/>
                  </a:cubicBezTo>
                  <a:lnTo>
                    <a:pt x="3628" y="14"/>
                  </a:lnTo>
                  <a:cubicBezTo>
                    <a:pt x="3628" y="8"/>
                    <a:pt x="3627" y="7"/>
                    <a:pt x="3622" y="7"/>
                  </a:cubicBezTo>
                  <a:lnTo>
                    <a:pt x="3601" y="7"/>
                  </a:lnTo>
                  <a:cubicBezTo>
                    <a:pt x="3598" y="7"/>
                    <a:pt x="3597" y="9"/>
                    <a:pt x="3597" y="14"/>
                  </a:cubicBezTo>
                  <a:lnTo>
                    <a:pt x="3597" y="219"/>
                  </a:lnTo>
                  <a:lnTo>
                    <a:pt x="3447" y="13"/>
                  </a:lnTo>
                  <a:close/>
                  <a:moveTo>
                    <a:pt x="3212" y="153"/>
                  </a:moveTo>
                  <a:lnTo>
                    <a:pt x="3247" y="59"/>
                  </a:lnTo>
                  <a:lnTo>
                    <a:pt x="3281" y="153"/>
                  </a:lnTo>
                  <a:lnTo>
                    <a:pt x="3212" y="153"/>
                  </a:lnTo>
                  <a:close/>
                  <a:moveTo>
                    <a:pt x="3329" y="280"/>
                  </a:moveTo>
                  <a:cubicBezTo>
                    <a:pt x="3331" y="286"/>
                    <a:pt x="3332" y="286"/>
                    <a:pt x="3339" y="286"/>
                  </a:cubicBezTo>
                  <a:lnTo>
                    <a:pt x="3366" y="286"/>
                  </a:lnTo>
                  <a:cubicBezTo>
                    <a:pt x="3369" y="286"/>
                    <a:pt x="3372" y="286"/>
                    <a:pt x="3372" y="282"/>
                  </a:cubicBezTo>
                  <a:cubicBezTo>
                    <a:pt x="3372" y="280"/>
                    <a:pt x="3371" y="278"/>
                    <a:pt x="3370" y="276"/>
                  </a:cubicBezTo>
                  <a:lnTo>
                    <a:pt x="3267" y="12"/>
                  </a:lnTo>
                  <a:cubicBezTo>
                    <a:pt x="3265" y="7"/>
                    <a:pt x="3264" y="7"/>
                    <a:pt x="3261" y="7"/>
                  </a:cubicBezTo>
                  <a:lnTo>
                    <a:pt x="3244" y="7"/>
                  </a:lnTo>
                  <a:cubicBezTo>
                    <a:pt x="3239" y="7"/>
                    <a:pt x="3238" y="7"/>
                    <a:pt x="3236" y="13"/>
                  </a:cubicBezTo>
                  <a:lnTo>
                    <a:pt x="3133" y="276"/>
                  </a:lnTo>
                  <a:cubicBezTo>
                    <a:pt x="3133" y="277"/>
                    <a:pt x="3131" y="282"/>
                    <a:pt x="3131" y="282"/>
                  </a:cubicBezTo>
                  <a:cubicBezTo>
                    <a:pt x="3131" y="286"/>
                    <a:pt x="3135" y="286"/>
                    <a:pt x="3137" y="286"/>
                  </a:cubicBezTo>
                  <a:lnTo>
                    <a:pt x="3156" y="286"/>
                  </a:lnTo>
                  <a:cubicBezTo>
                    <a:pt x="3161" y="286"/>
                    <a:pt x="3163" y="286"/>
                    <a:pt x="3165" y="279"/>
                  </a:cubicBezTo>
                  <a:lnTo>
                    <a:pt x="3204" y="176"/>
                  </a:lnTo>
                  <a:lnTo>
                    <a:pt x="3289" y="176"/>
                  </a:lnTo>
                  <a:lnTo>
                    <a:pt x="3329" y="280"/>
                  </a:lnTo>
                  <a:close/>
                  <a:moveTo>
                    <a:pt x="2972" y="28"/>
                  </a:moveTo>
                  <a:cubicBezTo>
                    <a:pt x="2980" y="27"/>
                    <a:pt x="2986" y="26"/>
                    <a:pt x="2997" y="26"/>
                  </a:cubicBezTo>
                  <a:cubicBezTo>
                    <a:pt x="3014" y="26"/>
                    <a:pt x="3063" y="26"/>
                    <a:pt x="3063" y="83"/>
                  </a:cubicBezTo>
                  <a:cubicBezTo>
                    <a:pt x="3063" y="119"/>
                    <a:pt x="3038" y="138"/>
                    <a:pt x="3004" y="141"/>
                  </a:cubicBezTo>
                  <a:cubicBezTo>
                    <a:pt x="2998" y="142"/>
                    <a:pt x="2995" y="142"/>
                    <a:pt x="2972" y="141"/>
                  </a:cubicBezTo>
                  <a:lnTo>
                    <a:pt x="2972" y="28"/>
                  </a:lnTo>
                  <a:close/>
                  <a:moveTo>
                    <a:pt x="2933" y="279"/>
                  </a:moveTo>
                  <a:cubicBezTo>
                    <a:pt x="2933" y="285"/>
                    <a:pt x="2935" y="286"/>
                    <a:pt x="2941" y="286"/>
                  </a:cubicBezTo>
                  <a:lnTo>
                    <a:pt x="2964" y="286"/>
                  </a:lnTo>
                  <a:cubicBezTo>
                    <a:pt x="2970" y="286"/>
                    <a:pt x="2972" y="284"/>
                    <a:pt x="2972" y="277"/>
                  </a:cubicBezTo>
                  <a:lnTo>
                    <a:pt x="2972" y="173"/>
                  </a:lnTo>
                  <a:cubicBezTo>
                    <a:pt x="2972" y="169"/>
                    <a:pt x="2971" y="159"/>
                    <a:pt x="2982" y="159"/>
                  </a:cubicBezTo>
                  <a:cubicBezTo>
                    <a:pt x="2993" y="159"/>
                    <a:pt x="3000" y="168"/>
                    <a:pt x="3003" y="174"/>
                  </a:cubicBezTo>
                  <a:lnTo>
                    <a:pt x="3070" y="279"/>
                  </a:lnTo>
                  <a:cubicBezTo>
                    <a:pt x="3074" y="286"/>
                    <a:pt x="3074" y="286"/>
                    <a:pt x="3081" y="286"/>
                  </a:cubicBezTo>
                  <a:lnTo>
                    <a:pt x="3110" y="286"/>
                  </a:lnTo>
                  <a:cubicBezTo>
                    <a:pt x="3112" y="286"/>
                    <a:pt x="3116" y="286"/>
                    <a:pt x="3116" y="282"/>
                  </a:cubicBezTo>
                  <a:cubicBezTo>
                    <a:pt x="3116" y="279"/>
                    <a:pt x="3115" y="277"/>
                    <a:pt x="3114" y="275"/>
                  </a:cubicBezTo>
                  <a:lnTo>
                    <a:pt x="3033" y="154"/>
                  </a:lnTo>
                  <a:cubicBezTo>
                    <a:pt x="3077" y="143"/>
                    <a:pt x="3102" y="116"/>
                    <a:pt x="3102" y="79"/>
                  </a:cubicBezTo>
                  <a:cubicBezTo>
                    <a:pt x="3102" y="43"/>
                    <a:pt x="3082" y="27"/>
                    <a:pt x="3078" y="24"/>
                  </a:cubicBezTo>
                  <a:cubicBezTo>
                    <a:pt x="3057" y="5"/>
                    <a:pt x="3023" y="4"/>
                    <a:pt x="3002" y="4"/>
                  </a:cubicBezTo>
                  <a:cubicBezTo>
                    <a:pt x="2981" y="4"/>
                    <a:pt x="2949" y="6"/>
                    <a:pt x="2940" y="9"/>
                  </a:cubicBezTo>
                  <a:cubicBezTo>
                    <a:pt x="2935" y="11"/>
                    <a:pt x="2933" y="13"/>
                    <a:pt x="2933" y="22"/>
                  </a:cubicBezTo>
                  <a:lnTo>
                    <a:pt x="2933" y="279"/>
                  </a:lnTo>
                  <a:close/>
                  <a:moveTo>
                    <a:pt x="2868" y="14"/>
                  </a:moveTo>
                  <a:cubicBezTo>
                    <a:pt x="2868" y="9"/>
                    <a:pt x="2866" y="7"/>
                    <a:pt x="2863" y="7"/>
                  </a:cubicBezTo>
                  <a:cubicBezTo>
                    <a:pt x="2862" y="7"/>
                    <a:pt x="2850" y="7"/>
                    <a:pt x="2843" y="7"/>
                  </a:cubicBezTo>
                  <a:cubicBezTo>
                    <a:pt x="2838" y="7"/>
                    <a:pt x="2837" y="9"/>
                    <a:pt x="2837" y="14"/>
                  </a:cubicBezTo>
                  <a:lnTo>
                    <a:pt x="2837" y="199"/>
                  </a:lnTo>
                  <a:cubicBezTo>
                    <a:pt x="2837" y="214"/>
                    <a:pt x="2837" y="226"/>
                    <a:pt x="2828" y="239"/>
                  </a:cubicBezTo>
                  <a:cubicBezTo>
                    <a:pt x="2817" y="255"/>
                    <a:pt x="2798" y="262"/>
                    <a:pt x="2778" y="262"/>
                  </a:cubicBezTo>
                  <a:cubicBezTo>
                    <a:pt x="2721" y="262"/>
                    <a:pt x="2720" y="210"/>
                    <a:pt x="2720" y="191"/>
                  </a:cubicBezTo>
                  <a:lnTo>
                    <a:pt x="2720" y="14"/>
                  </a:lnTo>
                  <a:cubicBezTo>
                    <a:pt x="2720" y="7"/>
                    <a:pt x="2719" y="7"/>
                    <a:pt x="2713" y="7"/>
                  </a:cubicBezTo>
                  <a:lnTo>
                    <a:pt x="2688" y="7"/>
                  </a:lnTo>
                  <a:cubicBezTo>
                    <a:pt x="2682" y="7"/>
                    <a:pt x="2680" y="7"/>
                    <a:pt x="2680" y="14"/>
                  </a:cubicBezTo>
                  <a:lnTo>
                    <a:pt x="2680" y="197"/>
                  </a:lnTo>
                  <a:cubicBezTo>
                    <a:pt x="2680" y="213"/>
                    <a:pt x="2681" y="233"/>
                    <a:pt x="2691" y="251"/>
                  </a:cubicBezTo>
                  <a:cubicBezTo>
                    <a:pt x="2697" y="262"/>
                    <a:pt x="2717" y="292"/>
                    <a:pt x="2775" y="292"/>
                  </a:cubicBezTo>
                  <a:cubicBezTo>
                    <a:pt x="2811" y="292"/>
                    <a:pt x="2840" y="281"/>
                    <a:pt x="2856" y="253"/>
                  </a:cubicBezTo>
                  <a:cubicBezTo>
                    <a:pt x="2867" y="236"/>
                    <a:pt x="2867" y="219"/>
                    <a:pt x="2868" y="203"/>
                  </a:cubicBezTo>
                  <a:lnTo>
                    <a:pt x="2868" y="14"/>
                  </a:lnTo>
                  <a:close/>
                  <a:moveTo>
                    <a:pt x="2552" y="122"/>
                  </a:moveTo>
                  <a:cubicBezTo>
                    <a:pt x="2522" y="109"/>
                    <a:pt x="2497" y="98"/>
                    <a:pt x="2497" y="67"/>
                  </a:cubicBezTo>
                  <a:cubicBezTo>
                    <a:pt x="2497" y="44"/>
                    <a:pt x="2515" y="24"/>
                    <a:pt x="2541" y="24"/>
                  </a:cubicBezTo>
                  <a:cubicBezTo>
                    <a:pt x="2567" y="24"/>
                    <a:pt x="2578" y="41"/>
                    <a:pt x="2586" y="53"/>
                  </a:cubicBezTo>
                  <a:cubicBezTo>
                    <a:pt x="2590" y="60"/>
                    <a:pt x="2595" y="67"/>
                    <a:pt x="2605" y="67"/>
                  </a:cubicBezTo>
                  <a:cubicBezTo>
                    <a:pt x="2615" y="67"/>
                    <a:pt x="2622" y="59"/>
                    <a:pt x="2622" y="49"/>
                  </a:cubicBezTo>
                  <a:cubicBezTo>
                    <a:pt x="2622" y="29"/>
                    <a:pt x="2591" y="1"/>
                    <a:pt x="2543" y="1"/>
                  </a:cubicBezTo>
                  <a:cubicBezTo>
                    <a:pt x="2493" y="1"/>
                    <a:pt x="2461" y="33"/>
                    <a:pt x="2461" y="75"/>
                  </a:cubicBezTo>
                  <a:cubicBezTo>
                    <a:pt x="2461" y="122"/>
                    <a:pt x="2501" y="141"/>
                    <a:pt x="2517" y="149"/>
                  </a:cubicBezTo>
                  <a:lnTo>
                    <a:pt x="2538" y="159"/>
                  </a:lnTo>
                  <a:cubicBezTo>
                    <a:pt x="2569" y="173"/>
                    <a:pt x="2597" y="187"/>
                    <a:pt x="2597" y="221"/>
                  </a:cubicBezTo>
                  <a:cubicBezTo>
                    <a:pt x="2597" y="246"/>
                    <a:pt x="2578" y="267"/>
                    <a:pt x="2548" y="267"/>
                  </a:cubicBezTo>
                  <a:cubicBezTo>
                    <a:pt x="2515" y="267"/>
                    <a:pt x="2503" y="242"/>
                    <a:pt x="2497" y="230"/>
                  </a:cubicBezTo>
                  <a:cubicBezTo>
                    <a:pt x="2492" y="221"/>
                    <a:pt x="2487" y="213"/>
                    <a:pt x="2476" y="213"/>
                  </a:cubicBezTo>
                  <a:cubicBezTo>
                    <a:pt x="2467" y="213"/>
                    <a:pt x="2457" y="219"/>
                    <a:pt x="2457" y="232"/>
                  </a:cubicBezTo>
                  <a:cubicBezTo>
                    <a:pt x="2457" y="249"/>
                    <a:pt x="2481" y="292"/>
                    <a:pt x="2546" y="292"/>
                  </a:cubicBezTo>
                  <a:cubicBezTo>
                    <a:pt x="2597" y="292"/>
                    <a:pt x="2634" y="259"/>
                    <a:pt x="2634" y="212"/>
                  </a:cubicBezTo>
                  <a:cubicBezTo>
                    <a:pt x="2634" y="162"/>
                    <a:pt x="2593" y="142"/>
                    <a:pt x="2573" y="132"/>
                  </a:cubicBezTo>
                  <a:lnTo>
                    <a:pt x="2552" y="122"/>
                  </a:lnTo>
                  <a:close/>
                  <a:moveTo>
                    <a:pt x="2226" y="13"/>
                  </a:moveTo>
                  <a:cubicBezTo>
                    <a:pt x="2222" y="7"/>
                    <a:pt x="2222" y="7"/>
                    <a:pt x="2216" y="7"/>
                  </a:cubicBezTo>
                  <a:lnTo>
                    <a:pt x="2193" y="7"/>
                  </a:lnTo>
                  <a:cubicBezTo>
                    <a:pt x="2187" y="7"/>
                    <a:pt x="2186" y="8"/>
                    <a:pt x="2186" y="14"/>
                  </a:cubicBezTo>
                  <a:lnTo>
                    <a:pt x="2186" y="278"/>
                  </a:lnTo>
                  <a:cubicBezTo>
                    <a:pt x="2186" y="284"/>
                    <a:pt x="2187" y="286"/>
                    <a:pt x="2193" y="286"/>
                  </a:cubicBezTo>
                  <a:cubicBezTo>
                    <a:pt x="2199" y="286"/>
                    <a:pt x="2212" y="286"/>
                    <a:pt x="2213" y="285"/>
                  </a:cubicBezTo>
                  <a:cubicBezTo>
                    <a:pt x="2216" y="285"/>
                    <a:pt x="2217" y="283"/>
                    <a:pt x="2217" y="278"/>
                  </a:cubicBezTo>
                  <a:lnTo>
                    <a:pt x="2217" y="61"/>
                  </a:lnTo>
                  <a:lnTo>
                    <a:pt x="2376" y="280"/>
                  </a:lnTo>
                  <a:cubicBezTo>
                    <a:pt x="2379" y="285"/>
                    <a:pt x="2381" y="285"/>
                    <a:pt x="2385" y="286"/>
                  </a:cubicBezTo>
                  <a:lnTo>
                    <a:pt x="2400" y="286"/>
                  </a:lnTo>
                  <a:cubicBezTo>
                    <a:pt x="2405" y="286"/>
                    <a:pt x="2407" y="285"/>
                    <a:pt x="2407" y="279"/>
                  </a:cubicBezTo>
                  <a:lnTo>
                    <a:pt x="2407" y="14"/>
                  </a:lnTo>
                  <a:cubicBezTo>
                    <a:pt x="2407" y="8"/>
                    <a:pt x="2406" y="7"/>
                    <a:pt x="2401" y="7"/>
                  </a:cubicBezTo>
                  <a:lnTo>
                    <a:pt x="2380" y="7"/>
                  </a:lnTo>
                  <a:cubicBezTo>
                    <a:pt x="2377" y="7"/>
                    <a:pt x="2376" y="9"/>
                    <a:pt x="2376" y="14"/>
                  </a:cubicBezTo>
                  <a:lnTo>
                    <a:pt x="2376" y="219"/>
                  </a:lnTo>
                  <a:lnTo>
                    <a:pt x="2226" y="13"/>
                  </a:lnTo>
                  <a:close/>
                  <a:moveTo>
                    <a:pt x="2116" y="14"/>
                  </a:moveTo>
                  <a:cubicBezTo>
                    <a:pt x="2116" y="7"/>
                    <a:pt x="2114" y="7"/>
                    <a:pt x="2108" y="7"/>
                  </a:cubicBezTo>
                  <a:lnTo>
                    <a:pt x="2084" y="7"/>
                  </a:lnTo>
                  <a:cubicBezTo>
                    <a:pt x="2079" y="6"/>
                    <a:pt x="2077" y="8"/>
                    <a:pt x="2077" y="15"/>
                  </a:cubicBezTo>
                  <a:lnTo>
                    <a:pt x="2077" y="278"/>
                  </a:lnTo>
                  <a:cubicBezTo>
                    <a:pt x="2077" y="285"/>
                    <a:pt x="2080" y="286"/>
                    <a:pt x="2084" y="286"/>
                  </a:cubicBezTo>
                  <a:lnTo>
                    <a:pt x="2108" y="286"/>
                  </a:lnTo>
                  <a:cubicBezTo>
                    <a:pt x="2114" y="286"/>
                    <a:pt x="2116" y="285"/>
                    <a:pt x="2116" y="278"/>
                  </a:cubicBezTo>
                  <a:lnTo>
                    <a:pt x="2116" y="14"/>
                  </a:lnTo>
                  <a:close/>
                  <a:moveTo>
                    <a:pt x="1792" y="153"/>
                  </a:moveTo>
                  <a:lnTo>
                    <a:pt x="1826" y="59"/>
                  </a:lnTo>
                  <a:lnTo>
                    <a:pt x="1860" y="153"/>
                  </a:lnTo>
                  <a:lnTo>
                    <a:pt x="1792" y="153"/>
                  </a:lnTo>
                  <a:close/>
                  <a:moveTo>
                    <a:pt x="1908" y="280"/>
                  </a:moveTo>
                  <a:cubicBezTo>
                    <a:pt x="1911" y="286"/>
                    <a:pt x="1911" y="286"/>
                    <a:pt x="1918" y="286"/>
                  </a:cubicBezTo>
                  <a:lnTo>
                    <a:pt x="1946" y="286"/>
                  </a:lnTo>
                  <a:cubicBezTo>
                    <a:pt x="1949" y="286"/>
                    <a:pt x="1951" y="286"/>
                    <a:pt x="1951" y="282"/>
                  </a:cubicBezTo>
                  <a:cubicBezTo>
                    <a:pt x="1951" y="280"/>
                    <a:pt x="1951" y="278"/>
                    <a:pt x="1950" y="276"/>
                  </a:cubicBezTo>
                  <a:lnTo>
                    <a:pt x="1846" y="12"/>
                  </a:lnTo>
                  <a:cubicBezTo>
                    <a:pt x="1844" y="7"/>
                    <a:pt x="1843" y="7"/>
                    <a:pt x="1841" y="7"/>
                  </a:cubicBezTo>
                  <a:lnTo>
                    <a:pt x="1823" y="7"/>
                  </a:lnTo>
                  <a:cubicBezTo>
                    <a:pt x="1819" y="7"/>
                    <a:pt x="1818" y="7"/>
                    <a:pt x="1816" y="13"/>
                  </a:cubicBezTo>
                  <a:lnTo>
                    <a:pt x="1713" y="276"/>
                  </a:lnTo>
                  <a:cubicBezTo>
                    <a:pt x="1713" y="277"/>
                    <a:pt x="1711" y="282"/>
                    <a:pt x="1711" y="282"/>
                  </a:cubicBezTo>
                  <a:cubicBezTo>
                    <a:pt x="1711" y="286"/>
                    <a:pt x="1714" y="286"/>
                    <a:pt x="1717" y="286"/>
                  </a:cubicBezTo>
                  <a:lnTo>
                    <a:pt x="1736" y="286"/>
                  </a:lnTo>
                  <a:cubicBezTo>
                    <a:pt x="1741" y="286"/>
                    <a:pt x="1742" y="286"/>
                    <a:pt x="1745" y="279"/>
                  </a:cubicBezTo>
                  <a:lnTo>
                    <a:pt x="1783" y="176"/>
                  </a:lnTo>
                  <a:lnTo>
                    <a:pt x="1869" y="176"/>
                  </a:lnTo>
                  <a:lnTo>
                    <a:pt x="1908" y="280"/>
                  </a:lnTo>
                  <a:close/>
                  <a:moveTo>
                    <a:pt x="1495" y="13"/>
                  </a:moveTo>
                  <a:cubicBezTo>
                    <a:pt x="1491" y="7"/>
                    <a:pt x="1491" y="7"/>
                    <a:pt x="1485" y="7"/>
                  </a:cubicBezTo>
                  <a:lnTo>
                    <a:pt x="1462" y="7"/>
                  </a:lnTo>
                  <a:cubicBezTo>
                    <a:pt x="1456" y="7"/>
                    <a:pt x="1455" y="8"/>
                    <a:pt x="1455" y="14"/>
                  </a:cubicBezTo>
                  <a:lnTo>
                    <a:pt x="1455" y="278"/>
                  </a:lnTo>
                  <a:cubicBezTo>
                    <a:pt x="1455" y="284"/>
                    <a:pt x="1456" y="286"/>
                    <a:pt x="1462" y="286"/>
                  </a:cubicBezTo>
                  <a:cubicBezTo>
                    <a:pt x="1468" y="286"/>
                    <a:pt x="1481" y="286"/>
                    <a:pt x="1482" y="285"/>
                  </a:cubicBezTo>
                  <a:cubicBezTo>
                    <a:pt x="1485" y="285"/>
                    <a:pt x="1486" y="283"/>
                    <a:pt x="1486" y="278"/>
                  </a:cubicBezTo>
                  <a:lnTo>
                    <a:pt x="1486" y="61"/>
                  </a:lnTo>
                  <a:lnTo>
                    <a:pt x="1645" y="280"/>
                  </a:lnTo>
                  <a:cubicBezTo>
                    <a:pt x="1649" y="285"/>
                    <a:pt x="1650" y="285"/>
                    <a:pt x="1654" y="286"/>
                  </a:cubicBezTo>
                  <a:lnTo>
                    <a:pt x="1669" y="286"/>
                  </a:lnTo>
                  <a:cubicBezTo>
                    <a:pt x="1674" y="286"/>
                    <a:pt x="1676" y="285"/>
                    <a:pt x="1676" y="279"/>
                  </a:cubicBezTo>
                  <a:lnTo>
                    <a:pt x="1676" y="14"/>
                  </a:lnTo>
                  <a:cubicBezTo>
                    <a:pt x="1676" y="8"/>
                    <a:pt x="1675" y="7"/>
                    <a:pt x="1670" y="7"/>
                  </a:cubicBezTo>
                  <a:lnTo>
                    <a:pt x="1649" y="7"/>
                  </a:lnTo>
                  <a:cubicBezTo>
                    <a:pt x="1646" y="7"/>
                    <a:pt x="1645" y="9"/>
                    <a:pt x="1645" y="14"/>
                  </a:cubicBezTo>
                  <a:lnTo>
                    <a:pt x="1645" y="219"/>
                  </a:lnTo>
                  <a:lnTo>
                    <a:pt x="1495" y="13"/>
                  </a:lnTo>
                  <a:close/>
                  <a:moveTo>
                    <a:pt x="1260" y="153"/>
                  </a:moveTo>
                  <a:lnTo>
                    <a:pt x="1295" y="59"/>
                  </a:lnTo>
                  <a:lnTo>
                    <a:pt x="1329" y="153"/>
                  </a:lnTo>
                  <a:lnTo>
                    <a:pt x="1260" y="153"/>
                  </a:lnTo>
                  <a:close/>
                  <a:moveTo>
                    <a:pt x="1377" y="280"/>
                  </a:moveTo>
                  <a:cubicBezTo>
                    <a:pt x="1379" y="286"/>
                    <a:pt x="1380" y="286"/>
                    <a:pt x="1387" y="286"/>
                  </a:cubicBezTo>
                  <a:lnTo>
                    <a:pt x="1414" y="286"/>
                  </a:lnTo>
                  <a:cubicBezTo>
                    <a:pt x="1417" y="286"/>
                    <a:pt x="1420" y="286"/>
                    <a:pt x="1420" y="282"/>
                  </a:cubicBezTo>
                  <a:cubicBezTo>
                    <a:pt x="1420" y="280"/>
                    <a:pt x="1419" y="278"/>
                    <a:pt x="1418" y="276"/>
                  </a:cubicBezTo>
                  <a:lnTo>
                    <a:pt x="1314" y="12"/>
                  </a:lnTo>
                  <a:cubicBezTo>
                    <a:pt x="1312" y="7"/>
                    <a:pt x="1312" y="7"/>
                    <a:pt x="1309" y="7"/>
                  </a:cubicBezTo>
                  <a:lnTo>
                    <a:pt x="1292" y="7"/>
                  </a:lnTo>
                  <a:cubicBezTo>
                    <a:pt x="1287" y="7"/>
                    <a:pt x="1286" y="7"/>
                    <a:pt x="1284" y="13"/>
                  </a:cubicBezTo>
                  <a:lnTo>
                    <a:pt x="1181" y="276"/>
                  </a:lnTo>
                  <a:cubicBezTo>
                    <a:pt x="1181" y="277"/>
                    <a:pt x="1179" y="282"/>
                    <a:pt x="1179" y="282"/>
                  </a:cubicBezTo>
                  <a:cubicBezTo>
                    <a:pt x="1179" y="286"/>
                    <a:pt x="1183" y="286"/>
                    <a:pt x="1185" y="286"/>
                  </a:cubicBezTo>
                  <a:lnTo>
                    <a:pt x="1204" y="286"/>
                  </a:lnTo>
                  <a:cubicBezTo>
                    <a:pt x="1209" y="286"/>
                    <a:pt x="1210" y="286"/>
                    <a:pt x="1213" y="279"/>
                  </a:cubicBezTo>
                  <a:lnTo>
                    <a:pt x="1252" y="176"/>
                  </a:lnTo>
                  <a:lnTo>
                    <a:pt x="1337" y="176"/>
                  </a:lnTo>
                  <a:lnTo>
                    <a:pt x="1377" y="280"/>
                  </a:lnTo>
                  <a:close/>
                  <a:moveTo>
                    <a:pt x="1101" y="280"/>
                  </a:moveTo>
                  <a:cubicBezTo>
                    <a:pt x="1102" y="284"/>
                    <a:pt x="1104" y="285"/>
                    <a:pt x="1106" y="286"/>
                  </a:cubicBezTo>
                  <a:lnTo>
                    <a:pt x="1118" y="286"/>
                  </a:lnTo>
                  <a:cubicBezTo>
                    <a:pt x="1122" y="286"/>
                    <a:pt x="1123" y="285"/>
                    <a:pt x="1125" y="279"/>
                  </a:cubicBezTo>
                  <a:lnTo>
                    <a:pt x="1202" y="19"/>
                  </a:lnTo>
                  <a:cubicBezTo>
                    <a:pt x="1204" y="13"/>
                    <a:pt x="1204" y="13"/>
                    <a:pt x="1204" y="11"/>
                  </a:cubicBezTo>
                  <a:cubicBezTo>
                    <a:pt x="1204" y="7"/>
                    <a:pt x="1201" y="7"/>
                    <a:pt x="1199" y="7"/>
                  </a:cubicBezTo>
                  <a:lnTo>
                    <a:pt x="1178" y="7"/>
                  </a:lnTo>
                  <a:cubicBezTo>
                    <a:pt x="1173" y="7"/>
                    <a:pt x="1172" y="8"/>
                    <a:pt x="1170" y="14"/>
                  </a:cubicBezTo>
                  <a:lnTo>
                    <a:pt x="1114" y="216"/>
                  </a:lnTo>
                  <a:lnTo>
                    <a:pt x="1045" y="14"/>
                  </a:lnTo>
                  <a:cubicBezTo>
                    <a:pt x="1043" y="8"/>
                    <a:pt x="1043" y="7"/>
                    <a:pt x="1041" y="7"/>
                  </a:cubicBezTo>
                  <a:lnTo>
                    <a:pt x="1031" y="7"/>
                  </a:lnTo>
                  <a:cubicBezTo>
                    <a:pt x="1028" y="7"/>
                    <a:pt x="1028" y="7"/>
                    <a:pt x="1025" y="16"/>
                  </a:cubicBezTo>
                  <a:lnTo>
                    <a:pt x="959" y="216"/>
                  </a:lnTo>
                  <a:lnTo>
                    <a:pt x="904" y="15"/>
                  </a:lnTo>
                  <a:cubicBezTo>
                    <a:pt x="903" y="7"/>
                    <a:pt x="901" y="6"/>
                    <a:pt x="895" y="7"/>
                  </a:cubicBezTo>
                  <a:lnTo>
                    <a:pt x="870" y="7"/>
                  </a:lnTo>
                  <a:cubicBezTo>
                    <a:pt x="866" y="7"/>
                    <a:pt x="863" y="8"/>
                    <a:pt x="863" y="12"/>
                  </a:cubicBezTo>
                  <a:cubicBezTo>
                    <a:pt x="863" y="13"/>
                    <a:pt x="863" y="13"/>
                    <a:pt x="865" y="19"/>
                  </a:cubicBezTo>
                  <a:lnTo>
                    <a:pt x="942" y="279"/>
                  </a:lnTo>
                  <a:cubicBezTo>
                    <a:pt x="945" y="286"/>
                    <a:pt x="946" y="286"/>
                    <a:pt x="959" y="286"/>
                  </a:cubicBezTo>
                  <a:cubicBezTo>
                    <a:pt x="965" y="286"/>
                    <a:pt x="965" y="285"/>
                    <a:pt x="967" y="279"/>
                  </a:cubicBezTo>
                  <a:lnTo>
                    <a:pt x="1031" y="84"/>
                  </a:lnTo>
                  <a:lnTo>
                    <a:pt x="1101" y="280"/>
                  </a:lnTo>
                  <a:close/>
                  <a:moveTo>
                    <a:pt x="774" y="122"/>
                  </a:moveTo>
                  <a:cubicBezTo>
                    <a:pt x="744" y="109"/>
                    <a:pt x="719" y="98"/>
                    <a:pt x="719" y="67"/>
                  </a:cubicBezTo>
                  <a:cubicBezTo>
                    <a:pt x="719" y="44"/>
                    <a:pt x="737" y="24"/>
                    <a:pt x="763" y="24"/>
                  </a:cubicBezTo>
                  <a:cubicBezTo>
                    <a:pt x="789" y="24"/>
                    <a:pt x="800" y="41"/>
                    <a:pt x="808" y="53"/>
                  </a:cubicBezTo>
                  <a:cubicBezTo>
                    <a:pt x="812" y="60"/>
                    <a:pt x="817" y="67"/>
                    <a:pt x="827" y="67"/>
                  </a:cubicBezTo>
                  <a:cubicBezTo>
                    <a:pt x="837" y="67"/>
                    <a:pt x="844" y="59"/>
                    <a:pt x="844" y="49"/>
                  </a:cubicBezTo>
                  <a:cubicBezTo>
                    <a:pt x="844" y="29"/>
                    <a:pt x="813" y="1"/>
                    <a:pt x="765" y="1"/>
                  </a:cubicBezTo>
                  <a:cubicBezTo>
                    <a:pt x="714" y="1"/>
                    <a:pt x="683" y="33"/>
                    <a:pt x="683" y="75"/>
                  </a:cubicBezTo>
                  <a:cubicBezTo>
                    <a:pt x="683" y="122"/>
                    <a:pt x="723" y="141"/>
                    <a:pt x="739" y="149"/>
                  </a:cubicBezTo>
                  <a:lnTo>
                    <a:pt x="760" y="159"/>
                  </a:lnTo>
                  <a:cubicBezTo>
                    <a:pt x="791" y="173"/>
                    <a:pt x="819" y="187"/>
                    <a:pt x="819" y="221"/>
                  </a:cubicBezTo>
                  <a:cubicBezTo>
                    <a:pt x="819" y="246"/>
                    <a:pt x="800" y="267"/>
                    <a:pt x="770" y="267"/>
                  </a:cubicBezTo>
                  <a:cubicBezTo>
                    <a:pt x="737" y="267"/>
                    <a:pt x="724" y="242"/>
                    <a:pt x="718" y="230"/>
                  </a:cubicBezTo>
                  <a:cubicBezTo>
                    <a:pt x="714" y="221"/>
                    <a:pt x="709" y="213"/>
                    <a:pt x="698" y="213"/>
                  </a:cubicBezTo>
                  <a:cubicBezTo>
                    <a:pt x="689" y="213"/>
                    <a:pt x="679" y="219"/>
                    <a:pt x="679" y="232"/>
                  </a:cubicBezTo>
                  <a:cubicBezTo>
                    <a:pt x="679" y="249"/>
                    <a:pt x="703" y="292"/>
                    <a:pt x="768" y="292"/>
                  </a:cubicBezTo>
                  <a:cubicBezTo>
                    <a:pt x="819" y="292"/>
                    <a:pt x="856" y="259"/>
                    <a:pt x="856" y="212"/>
                  </a:cubicBezTo>
                  <a:cubicBezTo>
                    <a:pt x="856" y="162"/>
                    <a:pt x="815" y="142"/>
                    <a:pt x="795" y="132"/>
                  </a:cubicBezTo>
                  <a:lnTo>
                    <a:pt x="774" y="122"/>
                  </a:lnTo>
                  <a:close/>
                  <a:moveTo>
                    <a:pt x="661" y="32"/>
                  </a:moveTo>
                  <a:cubicBezTo>
                    <a:pt x="667" y="32"/>
                    <a:pt x="669" y="30"/>
                    <a:pt x="669" y="25"/>
                  </a:cubicBezTo>
                  <a:cubicBezTo>
                    <a:pt x="669" y="8"/>
                    <a:pt x="669" y="7"/>
                    <a:pt x="661" y="7"/>
                  </a:cubicBezTo>
                  <a:lnTo>
                    <a:pt x="482" y="7"/>
                  </a:lnTo>
                  <a:cubicBezTo>
                    <a:pt x="475" y="7"/>
                    <a:pt x="475" y="9"/>
                    <a:pt x="475" y="24"/>
                  </a:cubicBezTo>
                  <a:cubicBezTo>
                    <a:pt x="475" y="30"/>
                    <a:pt x="476" y="32"/>
                    <a:pt x="482" y="32"/>
                  </a:cubicBezTo>
                  <a:lnTo>
                    <a:pt x="552" y="32"/>
                  </a:lnTo>
                  <a:lnTo>
                    <a:pt x="552" y="278"/>
                  </a:lnTo>
                  <a:cubicBezTo>
                    <a:pt x="553" y="285"/>
                    <a:pt x="555" y="286"/>
                    <a:pt x="561" y="286"/>
                  </a:cubicBezTo>
                  <a:lnTo>
                    <a:pt x="584" y="286"/>
                  </a:lnTo>
                  <a:cubicBezTo>
                    <a:pt x="590" y="286"/>
                    <a:pt x="591" y="284"/>
                    <a:pt x="591" y="278"/>
                  </a:cubicBezTo>
                  <a:lnTo>
                    <a:pt x="591" y="32"/>
                  </a:lnTo>
                  <a:lnTo>
                    <a:pt x="661" y="32"/>
                  </a:lnTo>
                  <a:close/>
                  <a:moveTo>
                    <a:pt x="433" y="139"/>
                  </a:moveTo>
                  <a:cubicBezTo>
                    <a:pt x="433" y="161"/>
                    <a:pt x="433" y="198"/>
                    <a:pt x="413" y="227"/>
                  </a:cubicBezTo>
                  <a:cubicBezTo>
                    <a:pt x="396" y="254"/>
                    <a:pt x="370" y="265"/>
                    <a:pt x="348" y="265"/>
                  </a:cubicBezTo>
                  <a:cubicBezTo>
                    <a:pt x="312" y="265"/>
                    <a:pt x="276" y="238"/>
                    <a:pt x="265" y="185"/>
                  </a:cubicBezTo>
                  <a:cubicBezTo>
                    <a:pt x="263" y="173"/>
                    <a:pt x="261" y="159"/>
                    <a:pt x="261" y="144"/>
                  </a:cubicBezTo>
                  <a:cubicBezTo>
                    <a:pt x="261" y="98"/>
                    <a:pt x="273" y="55"/>
                    <a:pt x="310" y="34"/>
                  </a:cubicBezTo>
                  <a:cubicBezTo>
                    <a:pt x="321" y="28"/>
                    <a:pt x="334" y="24"/>
                    <a:pt x="347" y="24"/>
                  </a:cubicBezTo>
                  <a:cubicBezTo>
                    <a:pt x="377" y="24"/>
                    <a:pt x="431" y="46"/>
                    <a:pt x="433" y="139"/>
                  </a:cubicBezTo>
                  <a:close/>
                  <a:moveTo>
                    <a:pt x="474" y="138"/>
                  </a:moveTo>
                  <a:cubicBezTo>
                    <a:pt x="471" y="69"/>
                    <a:pt x="430" y="0"/>
                    <a:pt x="348" y="0"/>
                  </a:cubicBezTo>
                  <a:cubicBezTo>
                    <a:pt x="260" y="0"/>
                    <a:pt x="220" y="76"/>
                    <a:pt x="220" y="146"/>
                  </a:cubicBezTo>
                  <a:cubicBezTo>
                    <a:pt x="220" y="232"/>
                    <a:pt x="275" y="292"/>
                    <a:pt x="348" y="292"/>
                  </a:cubicBezTo>
                  <a:cubicBezTo>
                    <a:pt x="424" y="292"/>
                    <a:pt x="478" y="224"/>
                    <a:pt x="474" y="138"/>
                  </a:cubicBezTo>
                  <a:close/>
                  <a:moveTo>
                    <a:pt x="39" y="150"/>
                  </a:moveTo>
                  <a:cubicBezTo>
                    <a:pt x="48" y="150"/>
                    <a:pt x="54" y="149"/>
                    <a:pt x="65" y="149"/>
                  </a:cubicBezTo>
                  <a:cubicBezTo>
                    <a:pt x="87" y="149"/>
                    <a:pt x="115" y="150"/>
                    <a:pt x="133" y="171"/>
                  </a:cubicBezTo>
                  <a:cubicBezTo>
                    <a:pt x="139" y="177"/>
                    <a:pt x="147" y="190"/>
                    <a:pt x="147" y="211"/>
                  </a:cubicBezTo>
                  <a:cubicBezTo>
                    <a:pt x="147" y="250"/>
                    <a:pt x="115" y="265"/>
                    <a:pt x="72" y="265"/>
                  </a:cubicBezTo>
                  <a:cubicBezTo>
                    <a:pt x="57" y="265"/>
                    <a:pt x="46" y="264"/>
                    <a:pt x="39" y="263"/>
                  </a:cubicBezTo>
                  <a:lnTo>
                    <a:pt x="39" y="150"/>
                  </a:lnTo>
                  <a:close/>
                  <a:moveTo>
                    <a:pt x="39" y="29"/>
                  </a:moveTo>
                  <a:cubicBezTo>
                    <a:pt x="47" y="28"/>
                    <a:pt x="56" y="27"/>
                    <a:pt x="67" y="27"/>
                  </a:cubicBezTo>
                  <a:cubicBezTo>
                    <a:pt x="80" y="27"/>
                    <a:pt x="130" y="27"/>
                    <a:pt x="130" y="78"/>
                  </a:cubicBezTo>
                  <a:cubicBezTo>
                    <a:pt x="130" y="92"/>
                    <a:pt x="124" y="125"/>
                    <a:pt x="72" y="129"/>
                  </a:cubicBezTo>
                  <a:cubicBezTo>
                    <a:pt x="61" y="130"/>
                    <a:pt x="51" y="130"/>
                    <a:pt x="39" y="129"/>
                  </a:cubicBezTo>
                  <a:lnTo>
                    <a:pt x="39" y="29"/>
                  </a:lnTo>
                  <a:close/>
                  <a:moveTo>
                    <a:pt x="0" y="270"/>
                  </a:moveTo>
                  <a:cubicBezTo>
                    <a:pt x="0" y="279"/>
                    <a:pt x="1" y="281"/>
                    <a:pt x="6" y="283"/>
                  </a:cubicBezTo>
                  <a:cubicBezTo>
                    <a:pt x="13" y="285"/>
                    <a:pt x="38" y="288"/>
                    <a:pt x="65" y="288"/>
                  </a:cubicBezTo>
                  <a:cubicBezTo>
                    <a:pt x="95" y="288"/>
                    <a:pt x="189" y="288"/>
                    <a:pt x="189" y="212"/>
                  </a:cubicBezTo>
                  <a:cubicBezTo>
                    <a:pt x="189" y="177"/>
                    <a:pt x="168" y="148"/>
                    <a:pt x="127" y="138"/>
                  </a:cubicBezTo>
                  <a:cubicBezTo>
                    <a:pt x="124" y="138"/>
                    <a:pt x="121" y="137"/>
                    <a:pt x="118" y="136"/>
                  </a:cubicBezTo>
                  <a:cubicBezTo>
                    <a:pt x="121" y="135"/>
                    <a:pt x="124" y="134"/>
                    <a:pt x="127" y="132"/>
                  </a:cubicBezTo>
                  <a:cubicBezTo>
                    <a:pt x="146" y="123"/>
                    <a:pt x="170" y="104"/>
                    <a:pt x="170" y="71"/>
                  </a:cubicBezTo>
                  <a:cubicBezTo>
                    <a:pt x="170" y="51"/>
                    <a:pt x="161" y="32"/>
                    <a:pt x="142" y="20"/>
                  </a:cubicBezTo>
                  <a:cubicBezTo>
                    <a:pt x="120" y="7"/>
                    <a:pt x="90" y="4"/>
                    <a:pt x="67" y="4"/>
                  </a:cubicBezTo>
                  <a:cubicBezTo>
                    <a:pt x="49" y="4"/>
                    <a:pt x="16" y="6"/>
                    <a:pt x="6" y="9"/>
                  </a:cubicBezTo>
                  <a:cubicBezTo>
                    <a:pt x="1" y="11"/>
                    <a:pt x="0" y="13"/>
                    <a:pt x="0" y="20"/>
                  </a:cubicBezTo>
                  <a:lnTo>
                    <a:pt x="0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2EFCABA-9B26-47D0-8536-60E8DB324D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0" y="1"/>
            <a:ext cx="11747500" cy="820131"/>
          </a:xfrm>
          <a:prstGeom prst="rect">
            <a:avLst/>
          </a:prstGeom>
        </p:spPr>
        <p:txBody>
          <a:bodyPr vert="horz" lIns="0" tIns="97200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B7FCBE-0B9A-4746-BAEF-5F31958E3A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5900" y="1371600"/>
            <a:ext cx="11745191" cy="5029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2" name="Footer Placeholder 51">
            <a:extLst>
              <a:ext uri="{FF2B5EF4-FFF2-40B4-BE49-F238E27FC236}">
                <a16:creationId xmlns:a16="http://schemas.microsoft.com/office/drawing/2014/main" id="{7C3F8026-F860-4036-A967-9065CFA991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5899" y="6400800"/>
            <a:ext cx="11758613" cy="2111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72000" rIns="72000" bIns="0" rtlCol="0" anchor="t"/>
          <a:lstStyle>
            <a:lvl1pPr algn="l">
              <a:defRPr lang="en-US" sz="10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AutoShape 16">
            <a:extLst>
              <a:ext uri="{FF2B5EF4-FFF2-40B4-BE49-F238E27FC236}">
                <a16:creationId xmlns:a16="http://schemas.microsoft.com/office/drawing/2014/main" id="{ED29F9FE-CBB9-B368-8018-DE23A941DFFA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152400"/>
            <a:ext cx="121920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0" name="Line 18">
            <a:extLst>
              <a:ext uri="{FF2B5EF4-FFF2-40B4-BE49-F238E27FC236}">
                <a16:creationId xmlns:a16="http://schemas.microsoft.com/office/drawing/2014/main" id="{806F4687-597C-6778-6674-DB37F45400AA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113" y="254000"/>
            <a:ext cx="12169775" cy="0"/>
          </a:xfrm>
          <a:prstGeom prst="line">
            <a:avLst/>
          </a:prstGeom>
          <a:noFill/>
          <a:ln w="4763" cap="flat">
            <a:solidFill>
              <a:srgbClr val="0B2C3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1" name="Line 19">
            <a:extLst>
              <a:ext uri="{FF2B5EF4-FFF2-40B4-BE49-F238E27FC236}">
                <a16:creationId xmlns:a16="http://schemas.microsoft.com/office/drawing/2014/main" id="{F6A9166B-705C-F519-8A6B-4CE5A1DF2DE7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113" y="254000"/>
            <a:ext cx="12169775" cy="0"/>
          </a:xfrm>
          <a:prstGeom prst="line">
            <a:avLst/>
          </a:prstGeom>
          <a:noFill/>
          <a:ln w="4763" cap="flat">
            <a:solidFill>
              <a:srgbClr val="0B2C3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4799C070-6BEB-F040-C2CB-A8A289D836EE}"/>
              </a:ext>
            </a:extLst>
          </p:cNvPr>
          <p:cNvGrpSpPr/>
          <p:nvPr userDrawn="1"/>
        </p:nvGrpSpPr>
        <p:grpSpPr>
          <a:xfrm>
            <a:off x="215900" y="166688"/>
            <a:ext cx="733425" cy="176213"/>
            <a:chOff x="727075" y="166688"/>
            <a:chExt cx="733425" cy="176213"/>
          </a:xfrm>
        </p:grpSpPr>
        <p:sp>
          <p:nvSpPr>
            <p:cNvPr id="42" name="Rectangle 20">
              <a:extLst>
                <a:ext uri="{FF2B5EF4-FFF2-40B4-BE49-F238E27FC236}">
                  <a16:creationId xmlns:a16="http://schemas.microsoft.com/office/drawing/2014/main" id="{781CE901-37F9-998B-AFF0-BCCEAA4F3AE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27075" y="166688"/>
              <a:ext cx="733425" cy="176213"/>
            </a:xfrm>
            <a:prstGeom prst="rect">
              <a:avLst/>
            </a:prstGeom>
            <a:solidFill>
              <a:srgbClr val="FEFEFE"/>
            </a:solidFill>
            <a:ln w="4763" cap="flat">
              <a:solidFill>
                <a:srgbClr val="0B2C39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3" name="Oval 21">
              <a:extLst>
                <a:ext uri="{FF2B5EF4-FFF2-40B4-BE49-F238E27FC236}">
                  <a16:creationId xmlns:a16="http://schemas.microsoft.com/office/drawing/2014/main" id="{618A27A7-C419-414C-AF7D-49114159D2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50925" y="282575"/>
              <a:ext cx="14288" cy="15875"/>
            </a:xfrm>
            <a:prstGeom prst="ellipse">
              <a:avLst/>
            </a:pr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4" name="Oval 22">
              <a:extLst>
                <a:ext uri="{FF2B5EF4-FFF2-40B4-BE49-F238E27FC236}">
                  <a16:creationId xmlns:a16="http://schemas.microsoft.com/office/drawing/2014/main" id="{2ABFE374-9B02-A307-3B73-65827B9CFE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50925" y="246063"/>
              <a:ext cx="14288" cy="15875"/>
            </a:xfrm>
            <a:prstGeom prst="ellipse">
              <a:avLst/>
            </a:pr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5" name="Oval 23">
              <a:extLst>
                <a:ext uri="{FF2B5EF4-FFF2-40B4-BE49-F238E27FC236}">
                  <a16:creationId xmlns:a16="http://schemas.microsoft.com/office/drawing/2014/main" id="{C2F30ECC-3BE2-A46E-6D54-1ED0207B29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50925" y="209550"/>
              <a:ext cx="14288" cy="15875"/>
            </a:xfrm>
            <a:prstGeom prst="ellipse">
              <a:avLst/>
            </a:pr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6" name="Freeform 24">
              <a:extLst>
                <a:ext uri="{FF2B5EF4-FFF2-40B4-BE49-F238E27FC236}">
                  <a16:creationId xmlns:a16="http://schemas.microsoft.com/office/drawing/2014/main" id="{C54BAF0F-07A4-6F80-C77A-454F3C736E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1563" y="287338"/>
              <a:ext cx="65088" cy="6350"/>
            </a:xfrm>
            <a:custGeom>
              <a:avLst/>
              <a:gdLst>
                <a:gd name="T0" fmla="*/ 9 w 229"/>
                <a:gd name="T1" fmla="*/ 0 h 18"/>
                <a:gd name="T2" fmla="*/ 220 w 229"/>
                <a:gd name="T3" fmla="*/ 0 h 18"/>
                <a:gd name="T4" fmla="*/ 226 w 229"/>
                <a:gd name="T5" fmla="*/ 3 h 18"/>
                <a:gd name="T6" fmla="*/ 229 w 229"/>
                <a:gd name="T7" fmla="*/ 9 h 18"/>
                <a:gd name="T8" fmla="*/ 226 w 229"/>
                <a:gd name="T9" fmla="*/ 15 h 18"/>
                <a:gd name="T10" fmla="*/ 220 w 229"/>
                <a:gd name="T11" fmla="*/ 18 h 18"/>
                <a:gd name="T12" fmla="*/ 9 w 229"/>
                <a:gd name="T13" fmla="*/ 18 h 18"/>
                <a:gd name="T14" fmla="*/ 3 w 229"/>
                <a:gd name="T15" fmla="*/ 15 h 18"/>
                <a:gd name="T16" fmla="*/ 0 w 229"/>
                <a:gd name="T17" fmla="*/ 9 h 18"/>
                <a:gd name="T18" fmla="*/ 3 w 229"/>
                <a:gd name="T19" fmla="*/ 3 h 18"/>
                <a:gd name="T20" fmla="*/ 9 w 229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9" h="18">
                  <a:moveTo>
                    <a:pt x="9" y="0"/>
                  </a:moveTo>
                  <a:lnTo>
                    <a:pt x="220" y="0"/>
                  </a:lnTo>
                  <a:cubicBezTo>
                    <a:pt x="222" y="0"/>
                    <a:pt x="224" y="1"/>
                    <a:pt x="226" y="3"/>
                  </a:cubicBezTo>
                  <a:cubicBezTo>
                    <a:pt x="228" y="4"/>
                    <a:pt x="229" y="7"/>
                    <a:pt x="229" y="9"/>
                  </a:cubicBezTo>
                  <a:cubicBezTo>
                    <a:pt x="229" y="11"/>
                    <a:pt x="228" y="14"/>
                    <a:pt x="226" y="15"/>
                  </a:cubicBezTo>
                  <a:cubicBezTo>
                    <a:pt x="224" y="17"/>
                    <a:pt x="222" y="18"/>
                    <a:pt x="220" y="18"/>
                  </a:cubicBezTo>
                  <a:lnTo>
                    <a:pt x="9" y="18"/>
                  </a:lnTo>
                  <a:cubicBezTo>
                    <a:pt x="6" y="18"/>
                    <a:pt x="4" y="17"/>
                    <a:pt x="3" y="15"/>
                  </a:cubicBezTo>
                  <a:cubicBezTo>
                    <a:pt x="1" y="14"/>
                    <a:pt x="0" y="11"/>
                    <a:pt x="0" y="9"/>
                  </a:cubicBezTo>
                  <a:cubicBezTo>
                    <a:pt x="0" y="7"/>
                    <a:pt x="1" y="4"/>
                    <a:pt x="3" y="3"/>
                  </a:cubicBezTo>
                  <a:cubicBezTo>
                    <a:pt x="4" y="1"/>
                    <a:pt x="6" y="0"/>
                    <a:pt x="9" y="0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7" name="Freeform 25">
              <a:extLst>
                <a:ext uri="{FF2B5EF4-FFF2-40B4-BE49-F238E27FC236}">
                  <a16:creationId xmlns:a16="http://schemas.microsoft.com/office/drawing/2014/main" id="{5AE5FB03-2AC4-9716-9AA9-3EBDFE206E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1563" y="250825"/>
              <a:ext cx="65088" cy="6350"/>
            </a:xfrm>
            <a:custGeom>
              <a:avLst/>
              <a:gdLst>
                <a:gd name="T0" fmla="*/ 220 w 229"/>
                <a:gd name="T1" fmla="*/ 0 h 18"/>
                <a:gd name="T2" fmla="*/ 9 w 229"/>
                <a:gd name="T3" fmla="*/ 0 h 18"/>
                <a:gd name="T4" fmla="*/ 3 w 229"/>
                <a:gd name="T5" fmla="*/ 3 h 18"/>
                <a:gd name="T6" fmla="*/ 0 w 229"/>
                <a:gd name="T7" fmla="*/ 9 h 18"/>
                <a:gd name="T8" fmla="*/ 3 w 229"/>
                <a:gd name="T9" fmla="*/ 15 h 18"/>
                <a:gd name="T10" fmla="*/ 9 w 229"/>
                <a:gd name="T11" fmla="*/ 18 h 18"/>
                <a:gd name="T12" fmla="*/ 220 w 229"/>
                <a:gd name="T13" fmla="*/ 18 h 18"/>
                <a:gd name="T14" fmla="*/ 226 w 229"/>
                <a:gd name="T15" fmla="*/ 15 h 18"/>
                <a:gd name="T16" fmla="*/ 229 w 229"/>
                <a:gd name="T17" fmla="*/ 9 h 18"/>
                <a:gd name="T18" fmla="*/ 226 w 229"/>
                <a:gd name="T19" fmla="*/ 3 h 18"/>
                <a:gd name="T20" fmla="*/ 220 w 229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9" h="18">
                  <a:moveTo>
                    <a:pt x="220" y="0"/>
                  </a:moveTo>
                  <a:lnTo>
                    <a:pt x="9" y="0"/>
                  </a:lnTo>
                  <a:cubicBezTo>
                    <a:pt x="6" y="0"/>
                    <a:pt x="4" y="1"/>
                    <a:pt x="3" y="3"/>
                  </a:cubicBezTo>
                  <a:cubicBezTo>
                    <a:pt x="1" y="4"/>
                    <a:pt x="0" y="6"/>
                    <a:pt x="0" y="9"/>
                  </a:cubicBezTo>
                  <a:cubicBezTo>
                    <a:pt x="0" y="11"/>
                    <a:pt x="1" y="13"/>
                    <a:pt x="3" y="15"/>
                  </a:cubicBezTo>
                  <a:cubicBezTo>
                    <a:pt x="4" y="17"/>
                    <a:pt x="6" y="18"/>
                    <a:pt x="9" y="18"/>
                  </a:cubicBezTo>
                  <a:lnTo>
                    <a:pt x="220" y="18"/>
                  </a:lnTo>
                  <a:cubicBezTo>
                    <a:pt x="222" y="18"/>
                    <a:pt x="224" y="17"/>
                    <a:pt x="226" y="15"/>
                  </a:cubicBezTo>
                  <a:cubicBezTo>
                    <a:pt x="228" y="13"/>
                    <a:pt x="229" y="11"/>
                    <a:pt x="229" y="9"/>
                  </a:cubicBezTo>
                  <a:cubicBezTo>
                    <a:pt x="229" y="6"/>
                    <a:pt x="228" y="4"/>
                    <a:pt x="226" y="3"/>
                  </a:cubicBezTo>
                  <a:cubicBezTo>
                    <a:pt x="224" y="1"/>
                    <a:pt x="222" y="0"/>
                    <a:pt x="220" y="0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8" name="Freeform 26">
              <a:extLst>
                <a:ext uri="{FF2B5EF4-FFF2-40B4-BE49-F238E27FC236}">
                  <a16:creationId xmlns:a16="http://schemas.microsoft.com/office/drawing/2014/main" id="{FCA9381F-8176-09CE-926F-3EE90297D1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1563" y="215900"/>
              <a:ext cx="65088" cy="4763"/>
            </a:xfrm>
            <a:custGeom>
              <a:avLst/>
              <a:gdLst>
                <a:gd name="T0" fmla="*/ 220 w 229"/>
                <a:gd name="T1" fmla="*/ 0 h 17"/>
                <a:gd name="T2" fmla="*/ 9 w 229"/>
                <a:gd name="T3" fmla="*/ 0 h 17"/>
                <a:gd name="T4" fmla="*/ 3 w 229"/>
                <a:gd name="T5" fmla="*/ 2 h 17"/>
                <a:gd name="T6" fmla="*/ 0 w 229"/>
                <a:gd name="T7" fmla="*/ 9 h 17"/>
                <a:gd name="T8" fmla="*/ 3 w 229"/>
                <a:gd name="T9" fmla="*/ 15 h 17"/>
                <a:gd name="T10" fmla="*/ 9 w 229"/>
                <a:gd name="T11" fmla="*/ 17 h 17"/>
                <a:gd name="T12" fmla="*/ 220 w 229"/>
                <a:gd name="T13" fmla="*/ 17 h 17"/>
                <a:gd name="T14" fmla="*/ 226 w 229"/>
                <a:gd name="T15" fmla="*/ 15 h 17"/>
                <a:gd name="T16" fmla="*/ 229 w 229"/>
                <a:gd name="T17" fmla="*/ 9 h 17"/>
                <a:gd name="T18" fmla="*/ 226 w 229"/>
                <a:gd name="T19" fmla="*/ 2 h 17"/>
                <a:gd name="T20" fmla="*/ 220 w 229"/>
                <a:gd name="T2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9" h="17">
                  <a:moveTo>
                    <a:pt x="220" y="0"/>
                  </a:moveTo>
                  <a:lnTo>
                    <a:pt x="9" y="0"/>
                  </a:lnTo>
                  <a:cubicBezTo>
                    <a:pt x="6" y="0"/>
                    <a:pt x="4" y="1"/>
                    <a:pt x="3" y="2"/>
                  </a:cubicBezTo>
                  <a:cubicBezTo>
                    <a:pt x="1" y="4"/>
                    <a:pt x="0" y="6"/>
                    <a:pt x="0" y="9"/>
                  </a:cubicBezTo>
                  <a:cubicBezTo>
                    <a:pt x="0" y="11"/>
                    <a:pt x="1" y="13"/>
                    <a:pt x="3" y="15"/>
                  </a:cubicBezTo>
                  <a:cubicBezTo>
                    <a:pt x="4" y="16"/>
                    <a:pt x="6" y="17"/>
                    <a:pt x="9" y="17"/>
                  </a:cubicBezTo>
                  <a:lnTo>
                    <a:pt x="220" y="17"/>
                  </a:lnTo>
                  <a:cubicBezTo>
                    <a:pt x="222" y="17"/>
                    <a:pt x="224" y="16"/>
                    <a:pt x="226" y="15"/>
                  </a:cubicBezTo>
                  <a:cubicBezTo>
                    <a:pt x="228" y="13"/>
                    <a:pt x="229" y="11"/>
                    <a:pt x="229" y="9"/>
                  </a:cubicBezTo>
                  <a:cubicBezTo>
                    <a:pt x="229" y="6"/>
                    <a:pt x="228" y="4"/>
                    <a:pt x="226" y="2"/>
                  </a:cubicBezTo>
                  <a:cubicBezTo>
                    <a:pt x="224" y="1"/>
                    <a:pt x="222" y="0"/>
                    <a:pt x="220" y="0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1019F7CD-4A36-DB6B-3DF9-ED8672B55407}"/>
              </a:ext>
            </a:extLst>
          </p:cNvPr>
          <p:cNvGrpSpPr/>
          <p:nvPr userDrawn="1"/>
        </p:nvGrpSpPr>
        <p:grpSpPr>
          <a:xfrm>
            <a:off x="10430790" y="439008"/>
            <a:ext cx="1528935" cy="762248"/>
            <a:chOff x="10432156" y="303229"/>
            <a:chExt cx="1682860" cy="838987"/>
          </a:xfrm>
        </p:grpSpPr>
        <p:sp>
          <p:nvSpPr>
            <p:cNvPr id="53" name="Freeform 5">
              <a:extLst>
                <a:ext uri="{FF2B5EF4-FFF2-40B4-BE49-F238E27FC236}">
                  <a16:creationId xmlns:a16="http://schemas.microsoft.com/office/drawing/2014/main" id="{07BB51FF-A482-A9A0-DE2E-FA41DB34E2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551458" y="767162"/>
              <a:ext cx="193387" cy="191434"/>
            </a:xfrm>
            <a:custGeom>
              <a:avLst/>
              <a:gdLst>
                <a:gd name="T0" fmla="*/ 864 w 870"/>
                <a:gd name="T1" fmla="*/ 406 h 856"/>
                <a:gd name="T2" fmla="*/ 435 w 870"/>
                <a:gd name="T3" fmla="*/ 0 h 856"/>
                <a:gd name="T4" fmla="*/ 0 w 870"/>
                <a:gd name="T5" fmla="*/ 430 h 856"/>
                <a:gd name="T6" fmla="*/ 432 w 870"/>
                <a:gd name="T7" fmla="*/ 856 h 856"/>
                <a:gd name="T8" fmla="*/ 735 w 870"/>
                <a:gd name="T9" fmla="*/ 744 h 856"/>
                <a:gd name="T10" fmla="*/ 864 w 870"/>
                <a:gd name="T11" fmla="*/ 406 h 856"/>
                <a:gd name="T12" fmla="*/ 665 w 870"/>
                <a:gd name="T13" fmla="*/ 684 h 856"/>
                <a:gd name="T14" fmla="*/ 434 w 870"/>
                <a:gd name="T15" fmla="*/ 808 h 856"/>
                <a:gd name="T16" fmla="*/ 148 w 870"/>
                <a:gd name="T17" fmla="*/ 553 h 856"/>
                <a:gd name="T18" fmla="*/ 136 w 870"/>
                <a:gd name="T19" fmla="*/ 422 h 856"/>
                <a:gd name="T20" fmla="*/ 304 w 870"/>
                <a:gd name="T21" fmla="*/ 77 h 856"/>
                <a:gd name="T22" fmla="*/ 431 w 870"/>
                <a:gd name="T23" fmla="*/ 48 h 856"/>
                <a:gd name="T24" fmla="*/ 655 w 870"/>
                <a:gd name="T25" fmla="*/ 159 h 856"/>
                <a:gd name="T26" fmla="*/ 727 w 870"/>
                <a:gd name="T27" fmla="*/ 412 h 856"/>
                <a:gd name="T28" fmla="*/ 665 w 870"/>
                <a:gd name="T29" fmla="*/ 684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70" h="856">
                  <a:moveTo>
                    <a:pt x="864" y="406"/>
                  </a:moveTo>
                  <a:cubicBezTo>
                    <a:pt x="854" y="204"/>
                    <a:pt x="717" y="0"/>
                    <a:pt x="435" y="0"/>
                  </a:cubicBezTo>
                  <a:cubicBezTo>
                    <a:pt x="175" y="0"/>
                    <a:pt x="0" y="173"/>
                    <a:pt x="0" y="430"/>
                  </a:cubicBezTo>
                  <a:cubicBezTo>
                    <a:pt x="0" y="724"/>
                    <a:pt x="217" y="856"/>
                    <a:pt x="432" y="856"/>
                  </a:cubicBezTo>
                  <a:cubicBezTo>
                    <a:pt x="552" y="856"/>
                    <a:pt x="657" y="817"/>
                    <a:pt x="735" y="744"/>
                  </a:cubicBezTo>
                  <a:cubicBezTo>
                    <a:pt x="825" y="661"/>
                    <a:pt x="870" y="541"/>
                    <a:pt x="864" y="406"/>
                  </a:cubicBezTo>
                  <a:close/>
                  <a:moveTo>
                    <a:pt x="665" y="684"/>
                  </a:moveTo>
                  <a:cubicBezTo>
                    <a:pt x="590" y="796"/>
                    <a:pt x="478" y="808"/>
                    <a:pt x="434" y="808"/>
                  </a:cubicBezTo>
                  <a:cubicBezTo>
                    <a:pt x="395" y="808"/>
                    <a:pt x="199" y="796"/>
                    <a:pt x="148" y="553"/>
                  </a:cubicBezTo>
                  <a:cubicBezTo>
                    <a:pt x="140" y="514"/>
                    <a:pt x="136" y="471"/>
                    <a:pt x="136" y="422"/>
                  </a:cubicBezTo>
                  <a:cubicBezTo>
                    <a:pt x="136" y="249"/>
                    <a:pt x="193" y="133"/>
                    <a:pt x="304" y="77"/>
                  </a:cubicBezTo>
                  <a:cubicBezTo>
                    <a:pt x="341" y="58"/>
                    <a:pt x="386" y="48"/>
                    <a:pt x="431" y="48"/>
                  </a:cubicBezTo>
                  <a:cubicBezTo>
                    <a:pt x="546" y="48"/>
                    <a:pt x="617" y="109"/>
                    <a:pt x="655" y="159"/>
                  </a:cubicBezTo>
                  <a:cubicBezTo>
                    <a:pt x="717" y="243"/>
                    <a:pt x="726" y="344"/>
                    <a:pt x="727" y="412"/>
                  </a:cubicBezTo>
                  <a:cubicBezTo>
                    <a:pt x="729" y="526"/>
                    <a:pt x="708" y="617"/>
                    <a:pt x="665" y="68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309A8FF0-190F-525D-66A6-47E4EE3FB2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77301" y="769115"/>
              <a:ext cx="137715" cy="186550"/>
            </a:xfrm>
            <a:custGeom>
              <a:avLst/>
              <a:gdLst>
                <a:gd name="T0" fmla="*/ 0 w 619"/>
                <a:gd name="T1" fmla="*/ 839 h 839"/>
                <a:gd name="T2" fmla="*/ 0 w 619"/>
                <a:gd name="T3" fmla="*/ 0 h 839"/>
                <a:gd name="T4" fmla="*/ 239 w 619"/>
                <a:gd name="T5" fmla="*/ 0 h 839"/>
                <a:gd name="T6" fmla="*/ 619 w 619"/>
                <a:gd name="T7" fmla="*/ 230 h 839"/>
                <a:gd name="T8" fmla="*/ 243 w 619"/>
                <a:gd name="T9" fmla="*/ 461 h 839"/>
                <a:gd name="T10" fmla="*/ 122 w 619"/>
                <a:gd name="T11" fmla="*/ 461 h 839"/>
                <a:gd name="T12" fmla="*/ 122 w 619"/>
                <a:gd name="T13" fmla="*/ 839 h 839"/>
                <a:gd name="T14" fmla="*/ 0 w 619"/>
                <a:gd name="T15" fmla="*/ 839 h 839"/>
                <a:gd name="T16" fmla="*/ 227 w 619"/>
                <a:gd name="T17" fmla="*/ 40 h 839"/>
                <a:gd name="T18" fmla="*/ 122 w 619"/>
                <a:gd name="T19" fmla="*/ 49 h 839"/>
                <a:gd name="T20" fmla="*/ 122 w 619"/>
                <a:gd name="T21" fmla="*/ 412 h 839"/>
                <a:gd name="T22" fmla="*/ 218 w 619"/>
                <a:gd name="T23" fmla="*/ 412 h 839"/>
                <a:gd name="T24" fmla="*/ 487 w 619"/>
                <a:gd name="T25" fmla="*/ 231 h 839"/>
                <a:gd name="T26" fmla="*/ 227 w 619"/>
                <a:gd name="T27" fmla="*/ 40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9" h="839">
                  <a:moveTo>
                    <a:pt x="0" y="839"/>
                  </a:moveTo>
                  <a:lnTo>
                    <a:pt x="0" y="0"/>
                  </a:lnTo>
                  <a:lnTo>
                    <a:pt x="239" y="0"/>
                  </a:lnTo>
                  <a:cubicBezTo>
                    <a:pt x="494" y="0"/>
                    <a:pt x="619" y="76"/>
                    <a:pt x="619" y="230"/>
                  </a:cubicBezTo>
                  <a:cubicBezTo>
                    <a:pt x="619" y="446"/>
                    <a:pt x="356" y="461"/>
                    <a:pt x="243" y="461"/>
                  </a:cubicBezTo>
                  <a:lnTo>
                    <a:pt x="122" y="461"/>
                  </a:lnTo>
                  <a:lnTo>
                    <a:pt x="122" y="839"/>
                  </a:lnTo>
                  <a:lnTo>
                    <a:pt x="0" y="839"/>
                  </a:lnTo>
                  <a:close/>
                  <a:moveTo>
                    <a:pt x="227" y="40"/>
                  </a:moveTo>
                  <a:cubicBezTo>
                    <a:pt x="165" y="40"/>
                    <a:pt x="122" y="49"/>
                    <a:pt x="122" y="49"/>
                  </a:cubicBezTo>
                  <a:lnTo>
                    <a:pt x="122" y="412"/>
                  </a:lnTo>
                  <a:lnTo>
                    <a:pt x="218" y="412"/>
                  </a:lnTo>
                  <a:cubicBezTo>
                    <a:pt x="397" y="412"/>
                    <a:pt x="487" y="368"/>
                    <a:pt x="487" y="231"/>
                  </a:cubicBezTo>
                  <a:cubicBezTo>
                    <a:pt x="487" y="140"/>
                    <a:pt x="442" y="40"/>
                    <a:pt x="227" y="4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7">
              <a:extLst>
                <a:ext uri="{FF2B5EF4-FFF2-40B4-BE49-F238E27FC236}">
                  <a16:creationId xmlns:a16="http://schemas.microsoft.com/office/drawing/2014/main" id="{977B8CB1-9E1E-C556-36B1-D2659795A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87820" y="769115"/>
              <a:ext cx="140645" cy="189480"/>
            </a:xfrm>
            <a:custGeom>
              <a:avLst/>
              <a:gdLst>
                <a:gd name="T0" fmla="*/ 336 w 631"/>
                <a:gd name="T1" fmla="*/ 848 h 848"/>
                <a:gd name="T2" fmla="*/ 29 w 631"/>
                <a:gd name="T3" fmla="*/ 729 h 848"/>
                <a:gd name="T4" fmla="*/ 0 w 631"/>
                <a:gd name="T5" fmla="*/ 593 h 848"/>
                <a:gd name="T6" fmla="*/ 0 w 631"/>
                <a:gd name="T7" fmla="*/ 0 h 848"/>
                <a:gd name="T8" fmla="*/ 122 w 631"/>
                <a:gd name="T9" fmla="*/ 0 h 848"/>
                <a:gd name="T10" fmla="*/ 122 w 631"/>
                <a:gd name="T11" fmla="*/ 588 h 848"/>
                <a:gd name="T12" fmla="*/ 336 w 631"/>
                <a:gd name="T13" fmla="*/ 800 h 848"/>
                <a:gd name="T14" fmla="*/ 545 w 631"/>
                <a:gd name="T15" fmla="*/ 601 h 848"/>
                <a:gd name="T16" fmla="*/ 545 w 631"/>
                <a:gd name="T17" fmla="*/ 0 h 848"/>
                <a:gd name="T18" fmla="*/ 631 w 631"/>
                <a:gd name="T19" fmla="*/ 0 h 848"/>
                <a:gd name="T20" fmla="*/ 631 w 631"/>
                <a:gd name="T21" fmla="*/ 609 h 848"/>
                <a:gd name="T22" fmla="*/ 604 w 631"/>
                <a:gd name="T23" fmla="*/ 726 h 848"/>
                <a:gd name="T24" fmla="*/ 336 w 631"/>
                <a:gd name="T25" fmla="*/ 848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1" h="848">
                  <a:moveTo>
                    <a:pt x="336" y="848"/>
                  </a:moveTo>
                  <a:cubicBezTo>
                    <a:pt x="236" y="848"/>
                    <a:pt x="88" y="835"/>
                    <a:pt x="29" y="729"/>
                  </a:cubicBezTo>
                  <a:cubicBezTo>
                    <a:pt x="11" y="697"/>
                    <a:pt x="0" y="651"/>
                    <a:pt x="0" y="593"/>
                  </a:cubicBezTo>
                  <a:lnTo>
                    <a:pt x="0" y="0"/>
                  </a:lnTo>
                  <a:lnTo>
                    <a:pt x="122" y="0"/>
                  </a:lnTo>
                  <a:lnTo>
                    <a:pt x="122" y="588"/>
                  </a:lnTo>
                  <a:cubicBezTo>
                    <a:pt x="123" y="641"/>
                    <a:pt x="128" y="800"/>
                    <a:pt x="336" y="800"/>
                  </a:cubicBezTo>
                  <a:cubicBezTo>
                    <a:pt x="399" y="800"/>
                    <a:pt x="545" y="780"/>
                    <a:pt x="545" y="601"/>
                  </a:cubicBezTo>
                  <a:lnTo>
                    <a:pt x="545" y="0"/>
                  </a:lnTo>
                  <a:lnTo>
                    <a:pt x="631" y="0"/>
                  </a:lnTo>
                  <a:lnTo>
                    <a:pt x="631" y="609"/>
                  </a:lnTo>
                  <a:cubicBezTo>
                    <a:pt x="629" y="645"/>
                    <a:pt x="628" y="686"/>
                    <a:pt x="604" y="726"/>
                  </a:cubicBezTo>
                  <a:cubicBezTo>
                    <a:pt x="579" y="771"/>
                    <a:pt x="529" y="848"/>
                    <a:pt x="336" y="84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0C891ED1-8D4F-3802-CAAC-A3F2F84748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57846" y="767162"/>
              <a:ext cx="170923" cy="191434"/>
            </a:xfrm>
            <a:custGeom>
              <a:avLst/>
              <a:gdLst>
                <a:gd name="T0" fmla="*/ 457 w 767"/>
                <a:gd name="T1" fmla="*/ 856 h 856"/>
                <a:gd name="T2" fmla="*/ 0 w 767"/>
                <a:gd name="T3" fmla="*/ 428 h 856"/>
                <a:gd name="T4" fmla="*/ 443 w 767"/>
                <a:gd name="T5" fmla="*/ 0 h 856"/>
                <a:gd name="T6" fmla="*/ 767 w 767"/>
                <a:gd name="T7" fmla="*/ 156 h 856"/>
                <a:gd name="T8" fmla="*/ 717 w 767"/>
                <a:gd name="T9" fmla="*/ 208 h 856"/>
                <a:gd name="T10" fmla="*/ 651 w 767"/>
                <a:gd name="T11" fmla="*/ 163 h 856"/>
                <a:gd name="T12" fmla="*/ 441 w 767"/>
                <a:gd name="T13" fmla="*/ 48 h 856"/>
                <a:gd name="T14" fmla="*/ 142 w 767"/>
                <a:gd name="T15" fmla="*/ 407 h 856"/>
                <a:gd name="T16" fmla="*/ 471 w 767"/>
                <a:gd name="T17" fmla="*/ 808 h 856"/>
                <a:gd name="T18" fmla="*/ 600 w 767"/>
                <a:gd name="T19" fmla="*/ 779 h 856"/>
                <a:gd name="T20" fmla="*/ 650 w 767"/>
                <a:gd name="T21" fmla="*/ 668 h 856"/>
                <a:gd name="T22" fmla="*/ 650 w 767"/>
                <a:gd name="T23" fmla="*/ 469 h 856"/>
                <a:gd name="T24" fmla="*/ 543 w 767"/>
                <a:gd name="T25" fmla="*/ 469 h 856"/>
                <a:gd name="T26" fmla="*/ 585 w 767"/>
                <a:gd name="T27" fmla="*/ 420 h 856"/>
                <a:gd name="T28" fmla="*/ 766 w 767"/>
                <a:gd name="T29" fmla="*/ 420 h 856"/>
                <a:gd name="T30" fmla="*/ 766 w 767"/>
                <a:gd name="T31" fmla="*/ 746 h 856"/>
                <a:gd name="T32" fmla="*/ 721 w 767"/>
                <a:gd name="T33" fmla="*/ 788 h 856"/>
                <a:gd name="T34" fmla="*/ 457 w 767"/>
                <a:gd name="T35" fmla="*/ 856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67" h="856">
                  <a:moveTo>
                    <a:pt x="457" y="856"/>
                  </a:moveTo>
                  <a:cubicBezTo>
                    <a:pt x="33" y="856"/>
                    <a:pt x="0" y="529"/>
                    <a:pt x="0" y="428"/>
                  </a:cubicBezTo>
                  <a:cubicBezTo>
                    <a:pt x="0" y="172"/>
                    <a:pt x="178" y="0"/>
                    <a:pt x="443" y="0"/>
                  </a:cubicBezTo>
                  <a:cubicBezTo>
                    <a:pt x="671" y="0"/>
                    <a:pt x="767" y="112"/>
                    <a:pt x="767" y="156"/>
                  </a:cubicBezTo>
                  <a:cubicBezTo>
                    <a:pt x="767" y="182"/>
                    <a:pt x="741" y="208"/>
                    <a:pt x="717" y="208"/>
                  </a:cubicBezTo>
                  <a:cubicBezTo>
                    <a:pt x="686" y="208"/>
                    <a:pt x="673" y="193"/>
                    <a:pt x="651" y="163"/>
                  </a:cubicBezTo>
                  <a:cubicBezTo>
                    <a:pt x="619" y="120"/>
                    <a:pt x="565" y="48"/>
                    <a:pt x="441" y="48"/>
                  </a:cubicBezTo>
                  <a:cubicBezTo>
                    <a:pt x="259" y="48"/>
                    <a:pt x="142" y="182"/>
                    <a:pt x="142" y="407"/>
                  </a:cubicBezTo>
                  <a:cubicBezTo>
                    <a:pt x="142" y="654"/>
                    <a:pt x="268" y="808"/>
                    <a:pt x="471" y="808"/>
                  </a:cubicBezTo>
                  <a:cubicBezTo>
                    <a:pt x="521" y="808"/>
                    <a:pt x="569" y="797"/>
                    <a:pt x="600" y="779"/>
                  </a:cubicBezTo>
                  <a:cubicBezTo>
                    <a:pt x="650" y="748"/>
                    <a:pt x="650" y="706"/>
                    <a:pt x="650" y="668"/>
                  </a:cubicBezTo>
                  <a:lnTo>
                    <a:pt x="650" y="469"/>
                  </a:lnTo>
                  <a:lnTo>
                    <a:pt x="543" y="469"/>
                  </a:lnTo>
                  <a:lnTo>
                    <a:pt x="585" y="420"/>
                  </a:lnTo>
                  <a:lnTo>
                    <a:pt x="766" y="420"/>
                  </a:lnTo>
                  <a:lnTo>
                    <a:pt x="766" y="746"/>
                  </a:lnTo>
                  <a:cubicBezTo>
                    <a:pt x="756" y="759"/>
                    <a:pt x="741" y="773"/>
                    <a:pt x="721" y="788"/>
                  </a:cubicBezTo>
                  <a:cubicBezTo>
                    <a:pt x="682" y="817"/>
                    <a:pt x="613" y="856"/>
                    <a:pt x="457" y="85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3A044FC0-95B0-351F-A7F4-04B3891EF36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382488" y="769115"/>
              <a:ext cx="143576" cy="186550"/>
            </a:xfrm>
            <a:custGeom>
              <a:avLst/>
              <a:gdLst>
                <a:gd name="T0" fmla="*/ 646 w 646"/>
                <a:gd name="T1" fmla="*/ 839 h 839"/>
                <a:gd name="T2" fmla="*/ 358 w 646"/>
                <a:gd name="T3" fmla="*/ 451 h 839"/>
                <a:gd name="T4" fmla="*/ 410 w 646"/>
                <a:gd name="T5" fmla="*/ 440 h 839"/>
                <a:gd name="T6" fmla="*/ 601 w 646"/>
                <a:gd name="T7" fmla="*/ 230 h 839"/>
                <a:gd name="T8" fmla="*/ 514 w 646"/>
                <a:gd name="T9" fmla="*/ 58 h 839"/>
                <a:gd name="T10" fmla="*/ 231 w 646"/>
                <a:gd name="T11" fmla="*/ 0 h 839"/>
                <a:gd name="T12" fmla="*/ 0 w 646"/>
                <a:gd name="T13" fmla="*/ 0 h 839"/>
                <a:gd name="T14" fmla="*/ 0 w 646"/>
                <a:gd name="T15" fmla="*/ 839 h 839"/>
                <a:gd name="T16" fmla="*/ 121 w 646"/>
                <a:gd name="T17" fmla="*/ 839 h 839"/>
                <a:gd name="T18" fmla="*/ 121 w 646"/>
                <a:gd name="T19" fmla="*/ 527 h 839"/>
                <a:gd name="T20" fmla="*/ 196 w 646"/>
                <a:gd name="T21" fmla="*/ 461 h 839"/>
                <a:gd name="T22" fmla="*/ 279 w 646"/>
                <a:gd name="T23" fmla="*/ 508 h 839"/>
                <a:gd name="T24" fmla="*/ 513 w 646"/>
                <a:gd name="T25" fmla="*/ 839 h 839"/>
                <a:gd name="T26" fmla="*/ 646 w 646"/>
                <a:gd name="T27" fmla="*/ 839 h 839"/>
                <a:gd name="T28" fmla="*/ 258 w 646"/>
                <a:gd name="T29" fmla="*/ 410 h 839"/>
                <a:gd name="T30" fmla="*/ 210 w 646"/>
                <a:gd name="T31" fmla="*/ 412 h 839"/>
                <a:gd name="T32" fmla="*/ 121 w 646"/>
                <a:gd name="T33" fmla="*/ 412 h 839"/>
                <a:gd name="T34" fmla="*/ 121 w 646"/>
                <a:gd name="T35" fmla="*/ 49 h 839"/>
                <a:gd name="T36" fmla="*/ 224 w 646"/>
                <a:gd name="T37" fmla="*/ 40 h 839"/>
                <a:gd name="T38" fmla="*/ 469 w 646"/>
                <a:gd name="T39" fmla="*/ 234 h 839"/>
                <a:gd name="T40" fmla="*/ 258 w 646"/>
                <a:gd name="T41" fmla="*/ 410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6" h="839">
                  <a:moveTo>
                    <a:pt x="646" y="839"/>
                  </a:moveTo>
                  <a:lnTo>
                    <a:pt x="358" y="451"/>
                  </a:lnTo>
                  <a:cubicBezTo>
                    <a:pt x="358" y="451"/>
                    <a:pt x="398" y="443"/>
                    <a:pt x="410" y="440"/>
                  </a:cubicBezTo>
                  <a:cubicBezTo>
                    <a:pt x="458" y="427"/>
                    <a:pt x="601" y="390"/>
                    <a:pt x="601" y="230"/>
                  </a:cubicBezTo>
                  <a:cubicBezTo>
                    <a:pt x="601" y="153"/>
                    <a:pt x="566" y="94"/>
                    <a:pt x="514" y="58"/>
                  </a:cubicBezTo>
                  <a:cubicBezTo>
                    <a:pt x="440" y="8"/>
                    <a:pt x="330" y="0"/>
                    <a:pt x="231" y="0"/>
                  </a:cubicBezTo>
                  <a:lnTo>
                    <a:pt x="0" y="0"/>
                  </a:lnTo>
                  <a:lnTo>
                    <a:pt x="0" y="839"/>
                  </a:lnTo>
                  <a:lnTo>
                    <a:pt x="121" y="839"/>
                  </a:lnTo>
                  <a:lnTo>
                    <a:pt x="121" y="527"/>
                  </a:lnTo>
                  <a:cubicBezTo>
                    <a:pt x="121" y="474"/>
                    <a:pt x="153" y="461"/>
                    <a:pt x="196" y="461"/>
                  </a:cubicBezTo>
                  <a:cubicBezTo>
                    <a:pt x="220" y="461"/>
                    <a:pt x="254" y="469"/>
                    <a:pt x="279" y="508"/>
                  </a:cubicBezTo>
                  <a:lnTo>
                    <a:pt x="513" y="839"/>
                  </a:lnTo>
                  <a:lnTo>
                    <a:pt x="646" y="839"/>
                  </a:lnTo>
                  <a:close/>
                  <a:moveTo>
                    <a:pt x="258" y="410"/>
                  </a:moveTo>
                  <a:cubicBezTo>
                    <a:pt x="242" y="412"/>
                    <a:pt x="229" y="412"/>
                    <a:pt x="210" y="412"/>
                  </a:cubicBezTo>
                  <a:lnTo>
                    <a:pt x="121" y="412"/>
                  </a:lnTo>
                  <a:lnTo>
                    <a:pt x="121" y="49"/>
                  </a:lnTo>
                  <a:cubicBezTo>
                    <a:pt x="121" y="49"/>
                    <a:pt x="163" y="40"/>
                    <a:pt x="224" y="40"/>
                  </a:cubicBezTo>
                  <a:cubicBezTo>
                    <a:pt x="387" y="40"/>
                    <a:pt x="469" y="110"/>
                    <a:pt x="469" y="234"/>
                  </a:cubicBezTo>
                  <a:cubicBezTo>
                    <a:pt x="469" y="359"/>
                    <a:pt x="390" y="397"/>
                    <a:pt x="258" y="4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D934858-742B-D6C8-2D99-1BA850CD6D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71224" y="303229"/>
              <a:ext cx="767689" cy="331102"/>
            </a:xfrm>
            <a:custGeom>
              <a:avLst/>
              <a:gdLst>
                <a:gd name="T0" fmla="*/ 3369 w 3451"/>
                <a:gd name="T1" fmla="*/ 1140 h 1483"/>
                <a:gd name="T2" fmla="*/ 3309 w 3451"/>
                <a:gd name="T3" fmla="*/ 1133 h 1483"/>
                <a:gd name="T4" fmla="*/ 3226 w 3451"/>
                <a:gd name="T5" fmla="*/ 1142 h 1483"/>
                <a:gd name="T6" fmla="*/ 3249 w 3451"/>
                <a:gd name="T7" fmla="*/ 1310 h 1483"/>
                <a:gd name="T8" fmla="*/ 2720 w 3451"/>
                <a:gd name="T9" fmla="*/ 1296 h 1483"/>
                <a:gd name="T10" fmla="*/ 1915 w 3451"/>
                <a:gd name="T11" fmla="*/ 339 h 1483"/>
                <a:gd name="T12" fmla="*/ 920 w 3451"/>
                <a:gd name="T13" fmla="*/ 132 h 1483"/>
                <a:gd name="T14" fmla="*/ 629 w 3451"/>
                <a:gd name="T15" fmla="*/ 1140 h 1483"/>
                <a:gd name="T16" fmla="*/ 477 w 3451"/>
                <a:gd name="T17" fmla="*/ 602 h 1483"/>
                <a:gd name="T18" fmla="*/ 432 w 3451"/>
                <a:gd name="T19" fmla="*/ 614 h 1483"/>
                <a:gd name="T20" fmla="*/ 1 w 3451"/>
                <a:gd name="T21" fmla="*/ 502 h 1483"/>
                <a:gd name="T22" fmla="*/ 1 w 3451"/>
                <a:gd name="T23" fmla="*/ 508 h 1483"/>
                <a:gd name="T24" fmla="*/ 318 w 3451"/>
                <a:gd name="T25" fmla="*/ 709 h 1483"/>
                <a:gd name="T26" fmla="*/ 783 w 3451"/>
                <a:gd name="T27" fmla="*/ 1225 h 1483"/>
                <a:gd name="T28" fmla="*/ 721 w 3451"/>
                <a:gd name="T29" fmla="*/ 716 h 1483"/>
                <a:gd name="T30" fmla="*/ 1302 w 3451"/>
                <a:gd name="T31" fmla="*/ 155 h 1483"/>
                <a:gd name="T32" fmla="*/ 2060 w 3451"/>
                <a:gd name="T33" fmla="*/ 739 h 1483"/>
                <a:gd name="T34" fmla="*/ 2831 w 3451"/>
                <a:gd name="T35" fmla="*/ 1417 h 1483"/>
                <a:gd name="T36" fmla="*/ 3332 w 3451"/>
                <a:gd name="T37" fmla="*/ 1403 h 1483"/>
                <a:gd name="T38" fmla="*/ 3369 w 3451"/>
                <a:gd name="T39" fmla="*/ 1140 h 1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51" h="1483">
                  <a:moveTo>
                    <a:pt x="3369" y="1140"/>
                  </a:moveTo>
                  <a:cubicBezTo>
                    <a:pt x="3355" y="1137"/>
                    <a:pt x="3325" y="1134"/>
                    <a:pt x="3309" y="1133"/>
                  </a:cubicBezTo>
                  <a:cubicBezTo>
                    <a:pt x="3280" y="1132"/>
                    <a:pt x="3252" y="1136"/>
                    <a:pt x="3226" y="1142"/>
                  </a:cubicBezTo>
                  <a:cubicBezTo>
                    <a:pt x="3279" y="1188"/>
                    <a:pt x="3277" y="1256"/>
                    <a:pt x="3249" y="1310"/>
                  </a:cubicBezTo>
                  <a:cubicBezTo>
                    <a:pt x="3166" y="1476"/>
                    <a:pt x="2841" y="1377"/>
                    <a:pt x="2720" y="1296"/>
                  </a:cubicBezTo>
                  <a:cubicBezTo>
                    <a:pt x="2348" y="1048"/>
                    <a:pt x="2126" y="577"/>
                    <a:pt x="1915" y="339"/>
                  </a:cubicBezTo>
                  <a:cubicBezTo>
                    <a:pt x="1619" y="7"/>
                    <a:pt x="1185" y="0"/>
                    <a:pt x="920" y="132"/>
                  </a:cubicBezTo>
                  <a:cubicBezTo>
                    <a:pt x="590" y="296"/>
                    <a:pt x="509" y="754"/>
                    <a:pt x="629" y="1140"/>
                  </a:cubicBezTo>
                  <a:cubicBezTo>
                    <a:pt x="469" y="1092"/>
                    <a:pt x="401" y="783"/>
                    <a:pt x="477" y="602"/>
                  </a:cubicBezTo>
                  <a:cubicBezTo>
                    <a:pt x="463" y="606"/>
                    <a:pt x="448" y="610"/>
                    <a:pt x="432" y="614"/>
                  </a:cubicBezTo>
                  <a:cubicBezTo>
                    <a:pt x="262" y="653"/>
                    <a:pt x="95" y="605"/>
                    <a:pt x="1" y="502"/>
                  </a:cubicBezTo>
                  <a:cubicBezTo>
                    <a:pt x="0" y="504"/>
                    <a:pt x="0" y="506"/>
                    <a:pt x="1" y="508"/>
                  </a:cubicBezTo>
                  <a:cubicBezTo>
                    <a:pt x="54" y="629"/>
                    <a:pt x="163" y="706"/>
                    <a:pt x="318" y="709"/>
                  </a:cubicBezTo>
                  <a:cubicBezTo>
                    <a:pt x="308" y="1119"/>
                    <a:pt x="539" y="1245"/>
                    <a:pt x="783" y="1225"/>
                  </a:cubicBezTo>
                  <a:cubicBezTo>
                    <a:pt x="716" y="1100"/>
                    <a:pt x="698" y="880"/>
                    <a:pt x="721" y="716"/>
                  </a:cubicBezTo>
                  <a:cubicBezTo>
                    <a:pt x="743" y="563"/>
                    <a:pt x="878" y="167"/>
                    <a:pt x="1302" y="155"/>
                  </a:cubicBezTo>
                  <a:cubicBezTo>
                    <a:pt x="1710" y="143"/>
                    <a:pt x="1863" y="492"/>
                    <a:pt x="2060" y="739"/>
                  </a:cubicBezTo>
                  <a:cubicBezTo>
                    <a:pt x="2230" y="952"/>
                    <a:pt x="2501" y="1307"/>
                    <a:pt x="2831" y="1417"/>
                  </a:cubicBezTo>
                  <a:cubicBezTo>
                    <a:pt x="2984" y="1468"/>
                    <a:pt x="3195" y="1483"/>
                    <a:pt x="3332" y="1403"/>
                  </a:cubicBezTo>
                  <a:cubicBezTo>
                    <a:pt x="3417" y="1354"/>
                    <a:pt x="3451" y="1217"/>
                    <a:pt x="3369" y="114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FB949373-53E3-73CB-E5D5-C3A9562AF9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36511" y="561078"/>
              <a:ext cx="303755" cy="168970"/>
            </a:xfrm>
            <a:custGeom>
              <a:avLst/>
              <a:gdLst>
                <a:gd name="T0" fmla="*/ 1257 w 1369"/>
                <a:gd name="T1" fmla="*/ 706 h 756"/>
                <a:gd name="T2" fmla="*/ 1001 w 1369"/>
                <a:gd name="T3" fmla="*/ 535 h 756"/>
                <a:gd name="T4" fmla="*/ 912 w 1369"/>
                <a:gd name="T5" fmla="*/ 292 h 756"/>
                <a:gd name="T6" fmla="*/ 915 w 1369"/>
                <a:gd name="T7" fmla="*/ 255 h 756"/>
                <a:gd name="T8" fmla="*/ 848 w 1369"/>
                <a:gd name="T9" fmla="*/ 248 h 756"/>
                <a:gd name="T10" fmla="*/ 764 w 1369"/>
                <a:gd name="T11" fmla="*/ 257 h 756"/>
                <a:gd name="T12" fmla="*/ 420 w 1369"/>
                <a:gd name="T13" fmla="*/ 354 h 756"/>
                <a:gd name="T14" fmla="*/ 134 w 1369"/>
                <a:gd name="T15" fmla="*/ 21 h 756"/>
                <a:gd name="T16" fmla="*/ 115 w 1369"/>
                <a:gd name="T17" fmla="*/ 0 h 756"/>
                <a:gd name="T18" fmla="*/ 0 w 1369"/>
                <a:gd name="T19" fmla="*/ 38 h 756"/>
                <a:gd name="T20" fmla="*/ 84 w 1369"/>
                <a:gd name="T21" fmla="*/ 169 h 756"/>
                <a:gd name="T22" fmla="*/ 380 w 1369"/>
                <a:gd name="T23" fmla="*/ 391 h 756"/>
                <a:gd name="T24" fmla="*/ 768 w 1369"/>
                <a:gd name="T25" fmla="*/ 359 h 756"/>
                <a:gd name="T26" fmla="*/ 876 w 1369"/>
                <a:gd name="T27" fmla="*/ 567 h 756"/>
                <a:gd name="T28" fmla="*/ 1158 w 1369"/>
                <a:gd name="T29" fmla="*/ 732 h 756"/>
                <a:gd name="T30" fmla="*/ 1369 w 1369"/>
                <a:gd name="T31" fmla="*/ 735 h 756"/>
                <a:gd name="T32" fmla="*/ 1257 w 1369"/>
                <a:gd name="T33" fmla="*/ 706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9" h="756">
                  <a:moveTo>
                    <a:pt x="1257" y="706"/>
                  </a:moveTo>
                  <a:cubicBezTo>
                    <a:pt x="1149" y="670"/>
                    <a:pt x="1061" y="610"/>
                    <a:pt x="1001" y="535"/>
                  </a:cubicBezTo>
                  <a:cubicBezTo>
                    <a:pt x="944" y="465"/>
                    <a:pt x="911" y="375"/>
                    <a:pt x="912" y="292"/>
                  </a:cubicBezTo>
                  <a:cubicBezTo>
                    <a:pt x="912" y="279"/>
                    <a:pt x="915" y="255"/>
                    <a:pt x="915" y="255"/>
                  </a:cubicBezTo>
                  <a:cubicBezTo>
                    <a:pt x="915" y="255"/>
                    <a:pt x="883" y="248"/>
                    <a:pt x="848" y="248"/>
                  </a:cubicBezTo>
                  <a:cubicBezTo>
                    <a:pt x="791" y="248"/>
                    <a:pt x="764" y="257"/>
                    <a:pt x="764" y="257"/>
                  </a:cubicBezTo>
                  <a:cubicBezTo>
                    <a:pt x="764" y="257"/>
                    <a:pt x="631" y="406"/>
                    <a:pt x="420" y="354"/>
                  </a:cubicBezTo>
                  <a:cubicBezTo>
                    <a:pt x="219" y="304"/>
                    <a:pt x="225" y="126"/>
                    <a:pt x="134" y="21"/>
                  </a:cubicBezTo>
                  <a:cubicBezTo>
                    <a:pt x="128" y="13"/>
                    <a:pt x="122" y="7"/>
                    <a:pt x="115" y="0"/>
                  </a:cubicBezTo>
                  <a:lnTo>
                    <a:pt x="0" y="38"/>
                  </a:lnTo>
                  <a:cubicBezTo>
                    <a:pt x="28" y="69"/>
                    <a:pt x="57" y="111"/>
                    <a:pt x="84" y="169"/>
                  </a:cubicBezTo>
                  <a:cubicBezTo>
                    <a:pt x="123" y="256"/>
                    <a:pt x="214" y="355"/>
                    <a:pt x="380" y="391"/>
                  </a:cubicBezTo>
                  <a:cubicBezTo>
                    <a:pt x="503" y="418"/>
                    <a:pt x="639" y="411"/>
                    <a:pt x="768" y="359"/>
                  </a:cubicBezTo>
                  <a:cubicBezTo>
                    <a:pt x="782" y="433"/>
                    <a:pt x="820" y="506"/>
                    <a:pt x="876" y="567"/>
                  </a:cubicBezTo>
                  <a:cubicBezTo>
                    <a:pt x="942" y="639"/>
                    <a:pt x="1048" y="699"/>
                    <a:pt x="1158" y="732"/>
                  </a:cubicBezTo>
                  <a:cubicBezTo>
                    <a:pt x="1239" y="756"/>
                    <a:pt x="1330" y="754"/>
                    <a:pt x="1369" y="735"/>
                  </a:cubicBezTo>
                  <a:cubicBezTo>
                    <a:pt x="1331" y="728"/>
                    <a:pt x="1293" y="718"/>
                    <a:pt x="1257" y="70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id="{969FAD25-BE7A-846B-8092-13368A3B1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62658" y="445827"/>
              <a:ext cx="215852" cy="205107"/>
            </a:xfrm>
            <a:custGeom>
              <a:avLst/>
              <a:gdLst>
                <a:gd name="T0" fmla="*/ 714 w 973"/>
                <a:gd name="T1" fmla="*/ 43 h 919"/>
                <a:gd name="T2" fmla="*/ 246 w 973"/>
                <a:gd name="T3" fmla="*/ 151 h 919"/>
                <a:gd name="T4" fmla="*/ 208 w 973"/>
                <a:gd name="T5" fmla="*/ 877 h 919"/>
                <a:gd name="T6" fmla="*/ 240 w 973"/>
                <a:gd name="T7" fmla="*/ 912 h 919"/>
                <a:gd name="T8" fmla="*/ 314 w 973"/>
                <a:gd name="T9" fmla="*/ 912 h 919"/>
                <a:gd name="T10" fmla="*/ 396 w 973"/>
                <a:gd name="T11" fmla="*/ 879 h 919"/>
                <a:gd name="T12" fmla="*/ 209 w 973"/>
                <a:gd name="T13" fmla="*/ 575 h 919"/>
                <a:gd name="T14" fmla="*/ 688 w 973"/>
                <a:gd name="T15" fmla="*/ 98 h 919"/>
                <a:gd name="T16" fmla="*/ 772 w 973"/>
                <a:gd name="T17" fmla="*/ 320 h 919"/>
                <a:gd name="T18" fmla="*/ 578 w 973"/>
                <a:gd name="T19" fmla="*/ 371 h 919"/>
                <a:gd name="T20" fmla="*/ 683 w 973"/>
                <a:gd name="T21" fmla="*/ 473 h 919"/>
                <a:gd name="T22" fmla="*/ 898 w 973"/>
                <a:gd name="T23" fmla="*/ 348 h 919"/>
                <a:gd name="T24" fmla="*/ 714 w 973"/>
                <a:gd name="T25" fmla="*/ 43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3" h="919">
                  <a:moveTo>
                    <a:pt x="714" y="43"/>
                  </a:moveTo>
                  <a:cubicBezTo>
                    <a:pt x="514" y="0"/>
                    <a:pt x="346" y="70"/>
                    <a:pt x="246" y="151"/>
                  </a:cubicBezTo>
                  <a:cubicBezTo>
                    <a:pt x="0" y="348"/>
                    <a:pt x="25" y="659"/>
                    <a:pt x="208" y="877"/>
                  </a:cubicBezTo>
                  <a:cubicBezTo>
                    <a:pt x="218" y="889"/>
                    <a:pt x="240" y="912"/>
                    <a:pt x="240" y="912"/>
                  </a:cubicBezTo>
                  <a:cubicBezTo>
                    <a:pt x="240" y="912"/>
                    <a:pt x="266" y="919"/>
                    <a:pt x="314" y="912"/>
                  </a:cubicBezTo>
                  <a:cubicBezTo>
                    <a:pt x="348" y="907"/>
                    <a:pt x="396" y="879"/>
                    <a:pt x="396" y="879"/>
                  </a:cubicBezTo>
                  <a:cubicBezTo>
                    <a:pt x="396" y="879"/>
                    <a:pt x="245" y="761"/>
                    <a:pt x="209" y="575"/>
                  </a:cubicBezTo>
                  <a:cubicBezTo>
                    <a:pt x="145" y="243"/>
                    <a:pt x="437" y="52"/>
                    <a:pt x="688" y="98"/>
                  </a:cubicBezTo>
                  <a:cubicBezTo>
                    <a:pt x="831" y="124"/>
                    <a:pt x="842" y="257"/>
                    <a:pt x="772" y="320"/>
                  </a:cubicBezTo>
                  <a:cubicBezTo>
                    <a:pt x="708" y="377"/>
                    <a:pt x="622" y="376"/>
                    <a:pt x="578" y="371"/>
                  </a:cubicBezTo>
                  <a:cubicBezTo>
                    <a:pt x="616" y="392"/>
                    <a:pt x="653" y="427"/>
                    <a:pt x="683" y="473"/>
                  </a:cubicBezTo>
                  <a:cubicBezTo>
                    <a:pt x="683" y="473"/>
                    <a:pt x="819" y="458"/>
                    <a:pt x="898" y="348"/>
                  </a:cubicBezTo>
                  <a:cubicBezTo>
                    <a:pt x="973" y="245"/>
                    <a:pt x="913" y="86"/>
                    <a:pt x="714" y="4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Rectangle 13">
              <a:extLst>
                <a:ext uri="{FF2B5EF4-FFF2-40B4-BE49-F238E27FC236}">
                  <a16:creationId xmlns:a16="http://schemas.microsoft.com/office/drawing/2014/main" id="{743B8645-93F4-9E62-21F3-A1A4ED98382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0193" y="769115"/>
              <a:ext cx="37115" cy="18655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14">
              <a:extLst>
                <a:ext uri="{FF2B5EF4-FFF2-40B4-BE49-F238E27FC236}">
                  <a16:creationId xmlns:a16="http://schemas.microsoft.com/office/drawing/2014/main" id="{0BEB76B5-1673-3A92-B4A0-799F78B7AE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55669" y="769115"/>
              <a:ext cx="125018" cy="186550"/>
            </a:xfrm>
            <a:custGeom>
              <a:avLst/>
              <a:gdLst>
                <a:gd name="T0" fmla="*/ 0 w 562"/>
                <a:gd name="T1" fmla="*/ 839 h 839"/>
                <a:gd name="T2" fmla="*/ 0 w 562"/>
                <a:gd name="T3" fmla="*/ 0 h 839"/>
                <a:gd name="T4" fmla="*/ 164 w 562"/>
                <a:gd name="T5" fmla="*/ 0 h 839"/>
                <a:gd name="T6" fmla="*/ 164 w 562"/>
                <a:gd name="T7" fmla="*/ 756 h 839"/>
                <a:gd name="T8" fmla="*/ 485 w 562"/>
                <a:gd name="T9" fmla="*/ 756 h 839"/>
                <a:gd name="T10" fmla="*/ 562 w 562"/>
                <a:gd name="T11" fmla="*/ 839 h 839"/>
                <a:gd name="T12" fmla="*/ 0 w 562"/>
                <a:gd name="T13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2" h="839">
                  <a:moveTo>
                    <a:pt x="0" y="839"/>
                  </a:moveTo>
                  <a:lnTo>
                    <a:pt x="0" y="0"/>
                  </a:lnTo>
                  <a:lnTo>
                    <a:pt x="164" y="0"/>
                  </a:lnTo>
                  <a:lnTo>
                    <a:pt x="164" y="756"/>
                  </a:lnTo>
                  <a:lnTo>
                    <a:pt x="485" y="756"/>
                  </a:lnTo>
                  <a:lnTo>
                    <a:pt x="562" y="839"/>
                  </a:lnTo>
                  <a:lnTo>
                    <a:pt x="0" y="839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15">
              <a:extLst>
                <a:ext uri="{FF2B5EF4-FFF2-40B4-BE49-F238E27FC236}">
                  <a16:creationId xmlns:a16="http://schemas.microsoft.com/office/drawing/2014/main" id="{C8CF214D-16D7-AA1C-5C88-567B6B4466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432156" y="767162"/>
              <a:ext cx="155296" cy="191434"/>
            </a:xfrm>
            <a:custGeom>
              <a:avLst/>
              <a:gdLst>
                <a:gd name="T0" fmla="*/ 0 w 698"/>
                <a:gd name="T1" fmla="*/ 856 h 856"/>
                <a:gd name="T2" fmla="*/ 0 w 698"/>
                <a:gd name="T3" fmla="*/ 0 h 856"/>
                <a:gd name="T4" fmla="*/ 250 w 698"/>
                <a:gd name="T5" fmla="*/ 0 h 856"/>
                <a:gd name="T6" fmla="*/ 537 w 698"/>
                <a:gd name="T7" fmla="*/ 45 h 856"/>
                <a:gd name="T8" fmla="*/ 641 w 698"/>
                <a:gd name="T9" fmla="*/ 197 h 856"/>
                <a:gd name="T10" fmla="*/ 488 w 698"/>
                <a:gd name="T11" fmla="*/ 379 h 856"/>
                <a:gd name="T12" fmla="*/ 443 w 698"/>
                <a:gd name="T13" fmla="*/ 394 h 856"/>
                <a:gd name="T14" fmla="*/ 501 w 698"/>
                <a:gd name="T15" fmla="*/ 414 h 856"/>
                <a:gd name="T16" fmla="*/ 698 w 698"/>
                <a:gd name="T17" fmla="*/ 630 h 856"/>
                <a:gd name="T18" fmla="*/ 541 w 698"/>
                <a:gd name="T19" fmla="*/ 822 h 856"/>
                <a:gd name="T20" fmla="*/ 250 w 698"/>
                <a:gd name="T21" fmla="*/ 856 h 856"/>
                <a:gd name="T22" fmla="*/ 0 w 698"/>
                <a:gd name="T23" fmla="*/ 856 h 856"/>
                <a:gd name="T24" fmla="*/ 161 w 698"/>
                <a:gd name="T25" fmla="*/ 712 h 856"/>
                <a:gd name="T26" fmla="*/ 177 w 698"/>
                <a:gd name="T27" fmla="*/ 763 h 856"/>
                <a:gd name="T28" fmla="*/ 277 w 698"/>
                <a:gd name="T29" fmla="*/ 785 h 856"/>
                <a:gd name="T30" fmla="*/ 528 w 698"/>
                <a:gd name="T31" fmla="*/ 619 h 856"/>
                <a:gd name="T32" fmla="*/ 267 w 698"/>
                <a:gd name="T33" fmla="*/ 435 h 856"/>
                <a:gd name="T34" fmla="*/ 251 w 698"/>
                <a:gd name="T35" fmla="*/ 435 h 856"/>
                <a:gd name="T36" fmla="*/ 161 w 698"/>
                <a:gd name="T37" fmla="*/ 435 h 856"/>
                <a:gd name="T38" fmla="*/ 161 w 698"/>
                <a:gd name="T39" fmla="*/ 712 h 856"/>
                <a:gd name="T40" fmla="*/ 296 w 698"/>
                <a:gd name="T41" fmla="*/ 374 h 856"/>
                <a:gd name="T42" fmla="*/ 479 w 698"/>
                <a:gd name="T43" fmla="*/ 222 h 856"/>
                <a:gd name="T44" fmla="*/ 260 w 698"/>
                <a:gd name="T45" fmla="*/ 65 h 856"/>
                <a:gd name="T46" fmla="*/ 177 w 698"/>
                <a:gd name="T47" fmla="*/ 70 h 856"/>
                <a:gd name="T48" fmla="*/ 161 w 698"/>
                <a:gd name="T49" fmla="*/ 72 h 856"/>
                <a:gd name="T50" fmla="*/ 161 w 698"/>
                <a:gd name="T51" fmla="*/ 374 h 856"/>
                <a:gd name="T52" fmla="*/ 296 w 698"/>
                <a:gd name="T53" fmla="*/ 374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8" h="856">
                  <a:moveTo>
                    <a:pt x="0" y="856"/>
                  </a:moveTo>
                  <a:lnTo>
                    <a:pt x="0" y="0"/>
                  </a:lnTo>
                  <a:lnTo>
                    <a:pt x="250" y="0"/>
                  </a:lnTo>
                  <a:cubicBezTo>
                    <a:pt x="342" y="0"/>
                    <a:pt x="457" y="5"/>
                    <a:pt x="537" y="45"/>
                  </a:cubicBezTo>
                  <a:cubicBezTo>
                    <a:pt x="605" y="80"/>
                    <a:pt x="641" y="132"/>
                    <a:pt x="641" y="197"/>
                  </a:cubicBezTo>
                  <a:cubicBezTo>
                    <a:pt x="641" y="289"/>
                    <a:pt x="562" y="352"/>
                    <a:pt x="488" y="379"/>
                  </a:cubicBezTo>
                  <a:cubicBezTo>
                    <a:pt x="468" y="386"/>
                    <a:pt x="454" y="391"/>
                    <a:pt x="443" y="394"/>
                  </a:cubicBezTo>
                  <a:cubicBezTo>
                    <a:pt x="459" y="399"/>
                    <a:pt x="481" y="406"/>
                    <a:pt x="501" y="414"/>
                  </a:cubicBezTo>
                  <a:cubicBezTo>
                    <a:pt x="673" y="480"/>
                    <a:pt x="698" y="578"/>
                    <a:pt x="698" y="630"/>
                  </a:cubicBezTo>
                  <a:cubicBezTo>
                    <a:pt x="698" y="740"/>
                    <a:pt x="612" y="795"/>
                    <a:pt x="541" y="822"/>
                  </a:cubicBezTo>
                  <a:cubicBezTo>
                    <a:pt x="471" y="845"/>
                    <a:pt x="381" y="856"/>
                    <a:pt x="250" y="856"/>
                  </a:cubicBezTo>
                  <a:lnTo>
                    <a:pt x="0" y="856"/>
                  </a:lnTo>
                  <a:close/>
                  <a:moveTo>
                    <a:pt x="161" y="712"/>
                  </a:moveTo>
                  <a:cubicBezTo>
                    <a:pt x="161" y="728"/>
                    <a:pt x="160" y="748"/>
                    <a:pt x="177" y="763"/>
                  </a:cubicBezTo>
                  <a:cubicBezTo>
                    <a:pt x="194" y="779"/>
                    <a:pt x="225" y="785"/>
                    <a:pt x="277" y="785"/>
                  </a:cubicBezTo>
                  <a:cubicBezTo>
                    <a:pt x="439" y="785"/>
                    <a:pt x="528" y="726"/>
                    <a:pt x="528" y="619"/>
                  </a:cubicBezTo>
                  <a:cubicBezTo>
                    <a:pt x="528" y="505"/>
                    <a:pt x="440" y="443"/>
                    <a:pt x="267" y="435"/>
                  </a:cubicBezTo>
                  <a:cubicBezTo>
                    <a:pt x="266" y="435"/>
                    <a:pt x="252" y="435"/>
                    <a:pt x="251" y="435"/>
                  </a:cubicBezTo>
                  <a:lnTo>
                    <a:pt x="161" y="435"/>
                  </a:lnTo>
                  <a:lnTo>
                    <a:pt x="161" y="712"/>
                  </a:lnTo>
                  <a:close/>
                  <a:moveTo>
                    <a:pt x="296" y="374"/>
                  </a:moveTo>
                  <a:cubicBezTo>
                    <a:pt x="425" y="374"/>
                    <a:pt x="479" y="265"/>
                    <a:pt x="479" y="222"/>
                  </a:cubicBezTo>
                  <a:cubicBezTo>
                    <a:pt x="479" y="122"/>
                    <a:pt x="399" y="65"/>
                    <a:pt x="260" y="65"/>
                  </a:cubicBezTo>
                  <a:cubicBezTo>
                    <a:pt x="228" y="65"/>
                    <a:pt x="209" y="67"/>
                    <a:pt x="177" y="70"/>
                  </a:cubicBezTo>
                  <a:lnTo>
                    <a:pt x="161" y="72"/>
                  </a:lnTo>
                  <a:lnTo>
                    <a:pt x="161" y="374"/>
                  </a:lnTo>
                  <a:lnTo>
                    <a:pt x="296" y="37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Freeform 16">
              <a:extLst>
                <a:ext uri="{FF2B5EF4-FFF2-40B4-BE49-F238E27FC236}">
                  <a16:creationId xmlns:a16="http://schemas.microsoft.com/office/drawing/2014/main" id="{A2895DC5-F5FA-4842-6940-53D0ED8976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35910" y="769115"/>
              <a:ext cx="160179" cy="186550"/>
            </a:xfrm>
            <a:custGeom>
              <a:avLst/>
              <a:gdLst>
                <a:gd name="T0" fmla="*/ 558 w 723"/>
                <a:gd name="T1" fmla="*/ 0 h 839"/>
                <a:gd name="T2" fmla="*/ 558 w 723"/>
                <a:gd name="T3" fmla="*/ 364 h 839"/>
                <a:gd name="T4" fmla="*/ 165 w 723"/>
                <a:gd name="T5" fmla="*/ 364 h 839"/>
                <a:gd name="T6" fmla="*/ 165 w 723"/>
                <a:gd name="T7" fmla="*/ 0 h 839"/>
                <a:gd name="T8" fmla="*/ 0 w 723"/>
                <a:gd name="T9" fmla="*/ 0 h 839"/>
                <a:gd name="T10" fmla="*/ 0 w 723"/>
                <a:gd name="T11" fmla="*/ 839 h 839"/>
                <a:gd name="T12" fmla="*/ 165 w 723"/>
                <a:gd name="T13" fmla="*/ 839 h 839"/>
                <a:gd name="T14" fmla="*/ 165 w 723"/>
                <a:gd name="T15" fmla="*/ 480 h 839"/>
                <a:gd name="T16" fmla="*/ 212 w 723"/>
                <a:gd name="T17" fmla="*/ 442 h 839"/>
                <a:gd name="T18" fmla="*/ 512 w 723"/>
                <a:gd name="T19" fmla="*/ 442 h 839"/>
                <a:gd name="T20" fmla="*/ 558 w 723"/>
                <a:gd name="T21" fmla="*/ 480 h 839"/>
                <a:gd name="T22" fmla="*/ 558 w 723"/>
                <a:gd name="T23" fmla="*/ 839 h 839"/>
                <a:gd name="T24" fmla="*/ 723 w 723"/>
                <a:gd name="T25" fmla="*/ 839 h 839"/>
                <a:gd name="T26" fmla="*/ 723 w 723"/>
                <a:gd name="T27" fmla="*/ 0 h 839"/>
                <a:gd name="T28" fmla="*/ 558 w 723"/>
                <a:gd name="T29" fmla="*/ 0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3" h="839">
                  <a:moveTo>
                    <a:pt x="558" y="0"/>
                  </a:moveTo>
                  <a:lnTo>
                    <a:pt x="558" y="364"/>
                  </a:lnTo>
                  <a:lnTo>
                    <a:pt x="165" y="364"/>
                  </a:lnTo>
                  <a:lnTo>
                    <a:pt x="165" y="0"/>
                  </a:lnTo>
                  <a:lnTo>
                    <a:pt x="0" y="0"/>
                  </a:lnTo>
                  <a:lnTo>
                    <a:pt x="0" y="839"/>
                  </a:lnTo>
                  <a:lnTo>
                    <a:pt x="165" y="839"/>
                  </a:lnTo>
                  <a:lnTo>
                    <a:pt x="165" y="480"/>
                  </a:lnTo>
                  <a:cubicBezTo>
                    <a:pt x="165" y="454"/>
                    <a:pt x="189" y="442"/>
                    <a:pt x="212" y="442"/>
                  </a:cubicBezTo>
                  <a:lnTo>
                    <a:pt x="512" y="442"/>
                  </a:lnTo>
                  <a:cubicBezTo>
                    <a:pt x="535" y="442"/>
                    <a:pt x="558" y="454"/>
                    <a:pt x="558" y="480"/>
                  </a:cubicBezTo>
                  <a:lnTo>
                    <a:pt x="558" y="839"/>
                  </a:lnTo>
                  <a:lnTo>
                    <a:pt x="723" y="839"/>
                  </a:lnTo>
                  <a:lnTo>
                    <a:pt x="723" y="0"/>
                  </a:lnTo>
                  <a:lnTo>
                    <a:pt x="558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17">
              <a:extLst>
                <a:ext uri="{FF2B5EF4-FFF2-40B4-BE49-F238E27FC236}">
                  <a16:creationId xmlns:a16="http://schemas.microsoft.com/office/drawing/2014/main" id="{7E91806B-897E-F59F-63D6-82F13B51D5F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432156" y="1076777"/>
              <a:ext cx="1682860" cy="65439"/>
            </a:xfrm>
            <a:custGeom>
              <a:avLst/>
              <a:gdLst>
                <a:gd name="T0" fmla="*/ 7350 w 7569"/>
                <a:gd name="T1" fmla="*/ 285 h 292"/>
                <a:gd name="T2" fmla="*/ 7273 w 7569"/>
                <a:gd name="T3" fmla="*/ 149 h 292"/>
                <a:gd name="T4" fmla="*/ 7144 w 7569"/>
                <a:gd name="T5" fmla="*/ 7 h 292"/>
                <a:gd name="T6" fmla="*/ 7175 w 7569"/>
                <a:gd name="T7" fmla="*/ 152 h 292"/>
                <a:gd name="T8" fmla="*/ 6990 w 7569"/>
                <a:gd name="T9" fmla="*/ 278 h 292"/>
                <a:gd name="T10" fmla="*/ 6845 w 7569"/>
                <a:gd name="T11" fmla="*/ 15 h 292"/>
                <a:gd name="T12" fmla="*/ 6775 w 7569"/>
                <a:gd name="T13" fmla="*/ 279 h 292"/>
                <a:gd name="T14" fmla="*/ 6513 w 7569"/>
                <a:gd name="T15" fmla="*/ 14 h 292"/>
                <a:gd name="T16" fmla="*/ 6738 w 7569"/>
                <a:gd name="T17" fmla="*/ 65 h 292"/>
                <a:gd name="T18" fmla="*/ 6444 w 7569"/>
                <a:gd name="T19" fmla="*/ 278 h 292"/>
                <a:gd name="T20" fmla="*/ 6365 w 7569"/>
                <a:gd name="T21" fmla="*/ 282 h 292"/>
                <a:gd name="T22" fmla="*/ 6044 w 7569"/>
                <a:gd name="T23" fmla="*/ 67 h 292"/>
                <a:gd name="T24" fmla="*/ 5915 w 7569"/>
                <a:gd name="T25" fmla="*/ 213 h 292"/>
                <a:gd name="T26" fmla="*/ 5663 w 7569"/>
                <a:gd name="T27" fmla="*/ 140 h 292"/>
                <a:gd name="T28" fmla="*/ 5852 w 7569"/>
                <a:gd name="T29" fmla="*/ 238 h 292"/>
                <a:gd name="T30" fmla="*/ 5390 w 7569"/>
                <a:gd name="T31" fmla="*/ 13 h 292"/>
                <a:gd name="T32" fmla="*/ 5540 w 7569"/>
                <a:gd name="T33" fmla="*/ 280 h 292"/>
                <a:gd name="T34" fmla="*/ 5390 w 7569"/>
                <a:gd name="T35" fmla="*/ 13 h 292"/>
                <a:gd name="T36" fmla="*/ 5281 w 7569"/>
                <a:gd name="T37" fmla="*/ 14 h 292"/>
                <a:gd name="T38" fmla="*/ 4974 w 7569"/>
                <a:gd name="T39" fmla="*/ 285 h 292"/>
                <a:gd name="T40" fmla="*/ 4809 w 7569"/>
                <a:gd name="T41" fmla="*/ 7 h 292"/>
                <a:gd name="T42" fmla="*/ 4816 w 7569"/>
                <a:gd name="T43" fmla="*/ 260 h 292"/>
                <a:gd name="T44" fmla="*/ 4687 w 7569"/>
                <a:gd name="T45" fmla="*/ 139 h 292"/>
                <a:gd name="T46" fmla="*/ 4425 w 7569"/>
                <a:gd name="T47" fmla="*/ 279 h 292"/>
                <a:gd name="T48" fmla="*/ 4236 w 7569"/>
                <a:gd name="T49" fmla="*/ 7 h 292"/>
                <a:gd name="T50" fmla="*/ 4068 w 7569"/>
                <a:gd name="T51" fmla="*/ 152 h 292"/>
                <a:gd name="T52" fmla="*/ 4085 w 7569"/>
                <a:gd name="T53" fmla="*/ 7 h 292"/>
                <a:gd name="T54" fmla="*/ 3977 w 7569"/>
                <a:gd name="T55" fmla="*/ 260 h 292"/>
                <a:gd name="T56" fmla="*/ 3893 w 7569"/>
                <a:gd name="T57" fmla="*/ 248 h 292"/>
                <a:gd name="T58" fmla="*/ 3414 w 7569"/>
                <a:gd name="T59" fmla="*/ 7 h 292"/>
                <a:gd name="T60" fmla="*/ 3621 w 7569"/>
                <a:gd name="T61" fmla="*/ 286 h 292"/>
                <a:gd name="T62" fmla="*/ 3247 w 7569"/>
                <a:gd name="T63" fmla="*/ 59 h 292"/>
                <a:gd name="T64" fmla="*/ 3261 w 7569"/>
                <a:gd name="T65" fmla="*/ 7 h 292"/>
                <a:gd name="T66" fmla="*/ 3289 w 7569"/>
                <a:gd name="T67" fmla="*/ 176 h 292"/>
                <a:gd name="T68" fmla="*/ 2941 w 7569"/>
                <a:gd name="T69" fmla="*/ 286 h 292"/>
                <a:gd name="T70" fmla="*/ 3116 w 7569"/>
                <a:gd name="T71" fmla="*/ 282 h 292"/>
                <a:gd name="T72" fmla="*/ 2868 w 7569"/>
                <a:gd name="T73" fmla="*/ 14 h 292"/>
                <a:gd name="T74" fmla="*/ 2713 w 7569"/>
                <a:gd name="T75" fmla="*/ 7 h 292"/>
                <a:gd name="T76" fmla="*/ 2552 w 7569"/>
                <a:gd name="T77" fmla="*/ 122 h 292"/>
                <a:gd name="T78" fmla="*/ 2538 w 7569"/>
                <a:gd name="T79" fmla="*/ 159 h 292"/>
                <a:gd name="T80" fmla="*/ 2552 w 7569"/>
                <a:gd name="T81" fmla="*/ 122 h 292"/>
                <a:gd name="T82" fmla="*/ 2217 w 7569"/>
                <a:gd name="T83" fmla="*/ 61 h 292"/>
                <a:gd name="T84" fmla="*/ 2376 w 7569"/>
                <a:gd name="T85" fmla="*/ 219 h 292"/>
                <a:gd name="T86" fmla="*/ 2116 w 7569"/>
                <a:gd name="T87" fmla="*/ 278 h 292"/>
                <a:gd name="T88" fmla="*/ 1951 w 7569"/>
                <a:gd name="T89" fmla="*/ 282 h 292"/>
                <a:gd name="T90" fmla="*/ 1736 w 7569"/>
                <a:gd name="T91" fmla="*/ 286 h 292"/>
                <a:gd name="T92" fmla="*/ 1455 w 7569"/>
                <a:gd name="T93" fmla="*/ 278 h 292"/>
                <a:gd name="T94" fmla="*/ 1676 w 7569"/>
                <a:gd name="T95" fmla="*/ 14 h 292"/>
                <a:gd name="T96" fmla="*/ 1260 w 7569"/>
                <a:gd name="T97" fmla="*/ 153 h 292"/>
                <a:gd name="T98" fmla="*/ 1284 w 7569"/>
                <a:gd name="T99" fmla="*/ 13 h 292"/>
                <a:gd name="T100" fmla="*/ 1101 w 7569"/>
                <a:gd name="T101" fmla="*/ 280 h 292"/>
                <a:gd name="T102" fmla="*/ 1114 w 7569"/>
                <a:gd name="T103" fmla="*/ 216 h 292"/>
                <a:gd name="T104" fmla="*/ 863 w 7569"/>
                <a:gd name="T105" fmla="*/ 12 h 292"/>
                <a:gd name="T106" fmla="*/ 763 w 7569"/>
                <a:gd name="T107" fmla="*/ 24 h 292"/>
                <a:gd name="T108" fmla="*/ 770 w 7569"/>
                <a:gd name="T109" fmla="*/ 267 h 292"/>
                <a:gd name="T110" fmla="*/ 669 w 7569"/>
                <a:gd name="T111" fmla="*/ 25 h 292"/>
                <a:gd name="T112" fmla="*/ 591 w 7569"/>
                <a:gd name="T113" fmla="*/ 278 h 292"/>
                <a:gd name="T114" fmla="*/ 347 w 7569"/>
                <a:gd name="T115" fmla="*/ 24 h 292"/>
                <a:gd name="T116" fmla="*/ 133 w 7569"/>
                <a:gd name="T117" fmla="*/ 171 h 292"/>
                <a:gd name="T118" fmla="*/ 39 w 7569"/>
                <a:gd name="T119" fmla="*/ 129 h 292"/>
                <a:gd name="T120" fmla="*/ 170 w 7569"/>
                <a:gd name="T121" fmla="*/ 71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569" h="292">
                  <a:moveTo>
                    <a:pt x="7383" y="30"/>
                  </a:moveTo>
                  <a:cubicBezTo>
                    <a:pt x="7390" y="29"/>
                    <a:pt x="7396" y="28"/>
                    <a:pt x="7408" y="28"/>
                  </a:cubicBezTo>
                  <a:cubicBezTo>
                    <a:pt x="7445" y="28"/>
                    <a:pt x="7476" y="37"/>
                    <a:pt x="7498" y="62"/>
                  </a:cubicBezTo>
                  <a:cubicBezTo>
                    <a:pt x="7519" y="85"/>
                    <a:pt x="7526" y="115"/>
                    <a:pt x="7526" y="145"/>
                  </a:cubicBezTo>
                  <a:cubicBezTo>
                    <a:pt x="7526" y="216"/>
                    <a:pt x="7488" y="264"/>
                    <a:pt x="7404" y="264"/>
                  </a:cubicBezTo>
                  <a:cubicBezTo>
                    <a:pt x="7394" y="264"/>
                    <a:pt x="7388" y="263"/>
                    <a:pt x="7383" y="262"/>
                  </a:cubicBezTo>
                  <a:lnTo>
                    <a:pt x="7383" y="30"/>
                  </a:lnTo>
                  <a:close/>
                  <a:moveTo>
                    <a:pt x="7343" y="275"/>
                  </a:moveTo>
                  <a:cubicBezTo>
                    <a:pt x="7343" y="280"/>
                    <a:pt x="7344" y="283"/>
                    <a:pt x="7350" y="285"/>
                  </a:cubicBezTo>
                  <a:cubicBezTo>
                    <a:pt x="7361" y="287"/>
                    <a:pt x="7389" y="288"/>
                    <a:pt x="7403" y="288"/>
                  </a:cubicBezTo>
                  <a:cubicBezTo>
                    <a:pt x="7447" y="288"/>
                    <a:pt x="7492" y="279"/>
                    <a:pt x="7526" y="250"/>
                  </a:cubicBezTo>
                  <a:cubicBezTo>
                    <a:pt x="7541" y="236"/>
                    <a:pt x="7569" y="204"/>
                    <a:pt x="7569" y="147"/>
                  </a:cubicBezTo>
                  <a:cubicBezTo>
                    <a:pt x="7569" y="82"/>
                    <a:pt x="7530" y="4"/>
                    <a:pt x="7413" y="4"/>
                  </a:cubicBezTo>
                  <a:cubicBezTo>
                    <a:pt x="7389" y="4"/>
                    <a:pt x="7359" y="7"/>
                    <a:pt x="7349" y="11"/>
                  </a:cubicBezTo>
                  <a:cubicBezTo>
                    <a:pt x="7345" y="12"/>
                    <a:pt x="7343" y="13"/>
                    <a:pt x="7343" y="22"/>
                  </a:cubicBezTo>
                  <a:lnTo>
                    <a:pt x="7343" y="275"/>
                  </a:lnTo>
                  <a:close/>
                  <a:moveTo>
                    <a:pt x="7266" y="152"/>
                  </a:moveTo>
                  <a:cubicBezTo>
                    <a:pt x="7270" y="152"/>
                    <a:pt x="7272" y="152"/>
                    <a:pt x="7273" y="149"/>
                  </a:cubicBezTo>
                  <a:cubicBezTo>
                    <a:pt x="7273" y="147"/>
                    <a:pt x="7273" y="138"/>
                    <a:pt x="7273" y="133"/>
                  </a:cubicBezTo>
                  <a:cubicBezTo>
                    <a:pt x="7273" y="127"/>
                    <a:pt x="7270" y="127"/>
                    <a:pt x="7266" y="127"/>
                  </a:cubicBezTo>
                  <a:lnTo>
                    <a:pt x="7175" y="127"/>
                  </a:lnTo>
                  <a:lnTo>
                    <a:pt x="7175" y="32"/>
                  </a:lnTo>
                  <a:lnTo>
                    <a:pt x="7282" y="32"/>
                  </a:lnTo>
                  <a:cubicBezTo>
                    <a:pt x="7288" y="32"/>
                    <a:pt x="7289" y="31"/>
                    <a:pt x="7290" y="28"/>
                  </a:cubicBezTo>
                  <a:cubicBezTo>
                    <a:pt x="7290" y="26"/>
                    <a:pt x="7290" y="18"/>
                    <a:pt x="7290" y="13"/>
                  </a:cubicBezTo>
                  <a:cubicBezTo>
                    <a:pt x="7290" y="7"/>
                    <a:pt x="7287" y="7"/>
                    <a:pt x="7282" y="7"/>
                  </a:cubicBezTo>
                  <a:lnTo>
                    <a:pt x="7144" y="7"/>
                  </a:lnTo>
                  <a:cubicBezTo>
                    <a:pt x="7137" y="7"/>
                    <a:pt x="7136" y="9"/>
                    <a:pt x="7136" y="16"/>
                  </a:cubicBezTo>
                  <a:lnTo>
                    <a:pt x="7136" y="279"/>
                  </a:lnTo>
                  <a:cubicBezTo>
                    <a:pt x="7136" y="285"/>
                    <a:pt x="7138" y="286"/>
                    <a:pt x="7144" y="286"/>
                  </a:cubicBezTo>
                  <a:lnTo>
                    <a:pt x="7282" y="286"/>
                  </a:lnTo>
                  <a:cubicBezTo>
                    <a:pt x="7287" y="286"/>
                    <a:pt x="7290" y="285"/>
                    <a:pt x="7290" y="279"/>
                  </a:cubicBezTo>
                  <a:lnTo>
                    <a:pt x="7290" y="267"/>
                  </a:lnTo>
                  <a:cubicBezTo>
                    <a:pt x="7290" y="260"/>
                    <a:pt x="7288" y="260"/>
                    <a:pt x="7282" y="260"/>
                  </a:cubicBezTo>
                  <a:lnTo>
                    <a:pt x="7175" y="260"/>
                  </a:lnTo>
                  <a:lnTo>
                    <a:pt x="7175" y="152"/>
                  </a:lnTo>
                  <a:lnTo>
                    <a:pt x="7266" y="152"/>
                  </a:lnTo>
                  <a:close/>
                  <a:moveTo>
                    <a:pt x="7099" y="32"/>
                  </a:moveTo>
                  <a:cubicBezTo>
                    <a:pt x="7105" y="32"/>
                    <a:pt x="7107" y="30"/>
                    <a:pt x="7107" y="25"/>
                  </a:cubicBezTo>
                  <a:cubicBezTo>
                    <a:pt x="7107" y="8"/>
                    <a:pt x="7107" y="7"/>
                    <a:pt x="7099" y="7"/>
                  </a:cubicBezTo>
                  <a:lnTo>
                    <a:pt x="6921" y="7"/>
                  </a:lnTo>
                  <a:cubicBezTo>
                    <a:pt x="6913" y="7"/>
                    <a:pt x="6913" y="9"/>
                    <a:pt x="6913" y="24"/>
                  </a:cubicBezTo>
                  <a:cubicBezTo>
                    <a:pt x="6913" y="30"/>
                    <a:pt x="6915" y="32"/>
                    <a:pt x="6921" y="32"/>
                  </a:cubicBezTo>
                  <a:lnTo>
                    <a:pt x="6990" y="32"/>
                  </a:lnTo>
                  <a:lnTo>
                    <a:pt x="6990" y="278"/>
                  </a:lnTo>
                  <a:cubicBezTo>
                    <a:pt x="6991" y="285"/>
                    <a:pt x="6993" y="286"/>
                    <a:pt x="6999" y="286"/>
                  </a:cubicBezTo>
                  <a:lnTo>
                    <a:pt x="7022" y="286"/>
                  </a:lnTo>
                  <a:cubicBezTo>
                    <a:pt x="7029" y="286"/>
                    <a:pt x="7029" y="284"/>
                    <a:pt x="7029" y="278"/>
                  </a:cubicBezTo>
                  <a:lnTo>
                    <a:pt x="7029" y="32"/>
                  </a:lnTo>
                  <a:lnTo>
                    <a:pt x="7099" y="32"/>
                  </a:lnTo>
                  <a:close/>
                  <a:moveTo>
                    <a:pt x="6884" y="14"/>
                  </a:moveTo>
                  <a:cubicBezTo>
                    <a:pt x="6884" y="7"/>
                    <a:pt x="6882" y="7"/>
                    <a:pt x="6876" y="7"/>
                  </a:cubicBezTo>
                  <a:lnTo>
                    <a:pt x="6852" y="7"/>
                  </a:lnTo>
                  <a:cubicBezTo>
                    <a:pt x="6846" y="6"/>
                    <a:pt x="6845" y="8"/>
                    <a:pt x="6845" y="15"/>
                  </a:cubicBezTo>
                  <a:lnTo>
                    <a:pt x="6845" y="278"/>
                  </a:lnTo>
                  <a:cubicBezTo>
                    <a:pt x="6845" y="285"/>
                    <a:pt x="6848" y="286"/>
                    <a:pt x="6852" y="286"/>
                  </a:cubicBezTo>
                  <a:lnTo>
                    <a:pt x="6876" y="286"/>
                  </a:lnTo>
                  <a:cubicBezTo>
                    <a:pt x="6882" y="286"/>
                    <a:pt x="6884" y="285"/>
                    <a:pt x="6884" y="278"/>
                  </a:cubicBezTo>
                  <a:lnTo>
                    <a:pt x="6884" y="14"/>
                  </a:lnTo>
                  <a:close/>
                  <a:moveTo>
                    <a:pt x="6738" y="278"/>
                  </a:moveTo>
                  <a:cubicBezTo>
                    <a:pt x="6738" y="285"/>
                    <a:pt x="6739" y="286"/>
                    <a:pt x="6745" y="286"/>
                  </a:cubicBezTo>
                  <a:lnTo>
                    <a:pt x="6767" y="286"/>
                  </a:lnTo>
                  <a:cubicBezTo>
                    <a:pt x="6774" y="286"/>
                    <a:pt x="6775" y="285"/>
                    <a:pt x="6775" y="279"/>
                  </a:cubicBezTo>
                  <a:lnTo>
                    <a:pt x="6775" y="13"/>
                  </a:lnTo>
                  <a:cubicBezTo>
                    <a:pt x="6775" y="7"/>
                    <a:pt x="6773" y="7"/>
                    <a:pt x="6767" y="7"/>
                  </a:cubicBezTo>
                  <a:lnTo>
                    <a:pt x="6740" y="7"/>
                  </a:lnTo>
                  <a:cubicBezTo>
                    <a:pt x="6733" y="7"/>
                    <a:pt x="6733" y="7"/>
                    <a:pt x="6730" y="15"/>
                  </a:cubicBezTo>
                  <a:lnTo>
                    <a:pt x="6645" y="219"/>
                  </a:lnTo>
                  <a:lnTo>
                    <a:pt x="6557" y="14"/>
                  </a:lnTo>
                  <a:cubicBezTo>
                    <a:pt x="6554" y="7"/>
                    <a:pt x="6553" y="7"/>
                    <a:pt x="6547" y="7"/>
                  </a:cubicBezTo>
                  <a:lnTo>
                    <a:pt x="6520" y="7"/>
                  </a:lnTo>
                  <a:cubicBezTo>
                    <a:pt x="6514" y="7"/>
                    <a:pt x="6513" y="8"/>
                    <a:pt x="6513" y="14"/>
                  </a:cubicBezTo>
                  <a:lnTo>
                    <a:pt x="6513" y="278"/>
                  </a:lnTo>
                  <a:cubicBezTo>
                    <a:pt x="6513" y="283"/>
                    <a:pt x="6513" y="285"/>
                    <a:pt x="6517" y="286"/>
                  </a:cubicBezTo>
                  <a:lnTo>
                    <a:pt x="6536" y="286"/>
                  </a:lnTo>
                  <a:cubicBezTo>
                    <a:pt x="6541" y="286"/>
                    <a:pt x="6543" y="285"/>
                    <a:pt x="6543" y="279"/>
                  </a:cubicBezTo>
                  <a:lnTo>
                    <a:pt x="6543" y="65"/>
                  </a:lnTo>
                  <a:lnTo>
                    <a:pt x="6633" y="278"/>
                  </a:lnTo>
                  <a:cubicBezTo>
                    <a:pt x="6636" y="285"/>
                    <a:pt x="6637" y="287"/>
                    <a:pt x="6642" y="287"/>
                  </a:cubicBezTo>
                  <a:cubicBezTo>
                    <a:pt x="6646" y="287"/>
                    <a:pt x="6646" y="286"/>
                    <a:pt x="6650" y="278"/>
                  </a:cubicBezTo>
                  <a:lnTo>
                    <a:pt x="6738" y="65"/>
                  </a:lnTo>
                  <a:lnTo>
                    <a:pt x="6738" y="278"/>
                  </a:lnTo>
                  <a:close/>
                  <a:moveTo>
                    <a:pt x="6444" y="14"/>
                  </a:moveTo>
                  <a:cubicBezTo>
                    <a:pt x="6444" y="7"/>
                    <a:pt x="6441" y="7"/>
                    <a:pt x="6436" y="7"/>
                  </a:cubicBezTo>
                  <a:lnTo>
                    <a:pt x="6412" y="7"/>
                  </a:lnTo>
                  <a:cubicBezTo>
                    <a:pt x="6406" y="6"/>
                    <a:pt x="6404" y="8"/>
                    <a:pt x="6404" y="15"/>
                  </a:cubicBezTo>
                  <a:lnTo>
                    <a:pt x="6404" y="278"/>
                  </a:lnTo>
                  <a:cubicBezTo>
                    <a:pt x="6404" y="285"/>
                    <a:pt x="6407" y="286"/>
                    <a:pt x="6412" y="286"/>
                  </a:cubicBezTo>
                  <a:lnTo>
                    <a:pt x="6436" y="286"/>
                  </a:lnTo>
                  <a:cubicBezTo>
                    <a:pt x="6442" y="286"/>
                    <a:pt x="6444" y="285"/>
                    <a:pt x="6444" y="278"/>
                  </a:cubicBezTo>
                  <a:lnTo>
                    <a:pt x="6444" y="14"/>
                  </a:lnTo>
                  <a:close/>
                  <a:moveTo>
                    <a:pt x="6253" y="14"/>
                  </a:moveTo>
                  <a:cubicBezTo>
                    <a:pt x="6253" y="8"/>
                    <a:pt x="6252" y="7"/>
                    <a:pt x="6246" y="7"/>
                  </a:cubicBezTo>
                  <a:lnTo>
                    <a:pt x="6221" y="7"/>
                  </a:lnTo>
                  <a:cubicBezTo>
                    <a:pt x="6216" y="7"/>
                    <a:pt x="6214" y="7"/>
                    <a:pt x="6214" y="14"/>
                  </a:cubicBezTo>
                  <a:lnTo>
                    <a:pt x="6214" y="279"/>
                  </a:lnTo>
                  <a:cubicBezTo>
                    <a:pt x="6214" y="283"/>
                    <a:pt x="6215" y="286"/>
                    <a:pt x="6221" y="286"/>
                  </a:cubicBezTo>
                  <a:lnTo>
                    <a:pt x="6358" y="286"/>
                  </a:lnTo>
                  <a:cubicBezTo>
                    <a:pt x="6361" y="286"/>
                    <a:pt x="6364" y="286"/>
                    <a:pt x="6365" y="282"/>
                  </a:cubicBezTo>
                  <a:lnTo>
                    <a:pt x="6365" y="267"/>
                  </a:lnTo>
                  <a:cubicBezTo>
                    <a:pt x="6365" y="262"/>
                    <a:pt x="6364" y="260"/>
                    <a:pt x="6358" y="260"/>
                  </a:cubicBezTo>
                  <a:lnTo>
                    <a:pt x="6253" y="260"/>
                  </a:lnTo>
                  <a:lnTo>
                    <a:pt x="6253" y="14"/>
                  </a:lnTo>
                  <a:close/>
                  <a:moveTo>
                    <a:pt x="5991" y="122"/>
                  </a:moveTo>
                  <a:cubicBezTo>
                    <a:pt x="5960" y="109"/>
                    <a:pt x="5936" y="98"/>
                    <a:pt x="5936" y="67"/>
                  </a:cubicBezTo>
                  <a:cubicBezTo>
                    <a:pt x="5936" y="44"/>
                    <a:pt x="5954" y="24"/>
                    <a:pt x="5980" y="24"/>
                  </a:cubicBezTo>
                  <a:cubicBezTo>
                    <a:pt x="6005" y="24"/>
                    <a:pt x="6017" y="41"/>
                    <a:pt x="6025" y="53"/>
                  </a:cubicBezTo>
                  <a:cubicBezTo>
                    <a:pt x="6029" y="60"/>
                    <a:pt x="6034" y="67"/>
                    <a:pt x="6044" y="67"/>
                  </a:cubicBezTo>
                  <a:cubicBezTo>
                    <a:pt x="6054" y="67"/>
                    <a:pt x="6061" y="59"/>
                    <a:pt x="6061" y="49"/>
                  </a:cubicBezTo>
                  <a:cubicBezTo>
                    <a:pt x="6061" y="29"/>
                    <a:pt x="6029" y="1"/>
                    <a:pt x="5982" y="1"/>
                  </a:cubicBezTo>
                  <a:cubicBezTo>
                    <a:pt x="5931" y="1"/>
                    <a:pt x="5899" y="33"/>
                    <a:pt x="5899" y="75"/>
                  </a:cubicBezTo>
                  <a:cubicBezTo>
                    <a:pt x="5899" y="122"/>
                    <a:pt x="5940" y="141"/>
                    <a:pt x="5956" y="149"/>
                  </a:cubicBezTo>
                  <a:lnTo>
                    <a:pt x="5977" y="159"/>
                  </a:lnTo>
                  <a:cubicBezTo>
                    <a:pt x="6008" y="173"/>
                    <a:pt x="6035" y="187"/>
                    <a:pt x="6035" y="221"/>
                  </a:cubicBezTo>
                  <a:cubicBezTo>
                    <a:pt x="6035" y="246"/>
                    <a:pt x="6017" y="267"/>
                    <a:pt x="5987" y="267"/>
                  </a:cubicBezTo>
                  <a:cubicBezTo>
                    <a:pt x="5954" y="267"/>
                    <a:pt x="5941" y="242"/>
                    <a:pt x="5935" y="230"/>
                  </a:cubicBezTo>
                  <a:cubicBezTo>
                    <a:pt x="5931" y="221"/>
                    <a:pt x="5926" y="213"/>
                    <a:pt x="5915" y="213"/>
                  </a:cubicBezTo>
                  <a:cubicBezTo>
                    <a:pt x="5905" y="213"/>
                    <a:pt x="5896" y="219"/>
                    <a:pt x="5896" y="232"/>
                  </a:cubicBezTo>
                  <a:cubicBezTo>
                    <a:pt x="5896" y="249"/>
                    <a:pt x="5920" y="292"/>
                    <a:pt x="5984" y="292"/>
                  </a:cubicBezTo>
                  <a:cubicBezTo>
                    <a:pt x="6036" y="292"/>
                    <a:pt x="6072" y="259"/>
                    <a:pt x="6072" y="212"/>
                  </a:cubicBezTo>
                  <a:cubicBezTo>
                    <a:pt x="6072" y="162"/>
                    <a:pt x="6031" y="142"/>
                    <a:pt x="6011" y="132"/>
                  </a:cubicBezTo>
                  <a:lnTo>
                    <a:pt x="5991" y="122"/>
                  </a:lnTo>
                  <a:close/>
                  <a:moveTo>
                    <a:pt x="5814" y="228"/>
                  </a:moveTo>
                  <a:cubicBezTo>
                    <a:pt x="5814" y="241"/>
                    <a:pt x="5813" y="249"/>
                    <a:pt x="5803" y="256"/>
                  </a:cubicBezTo>
                  <a:cubicBezTo>
                    <a:pt x="5793" y="263"/>
                    <a:pt x="5777" y="266"/>
                    <a:pt x="5762" y="266"/>
                  </a:cubicBezTo>
                  <a:cubicBezTo>
                    <a:pt x="5699" y="266"/>
                    <a:pt x="5663" y="210"/>
                    <a:pt x="5663" y="140"/>
                  </a:cubicBezTo>
                  <a:cubicBezTo>
                    <a:pt x="5663" y="62"/>
                    <a:pt x="5707" y="25"/>
                    <a:pt x="5752" y="25"/>
                  </a:cubicBezTo>
                  <a:cubicBezTo>
                    <a:pt x="5787" y="25"/>
                    <a:pt x="5803" y="47"/>
                    <a:pt x="5811" y="59"/>
                  </a:cubicBezTo>
                  <a:cubicBezTo>
                    <a:pt x="5819" y="71"/>
                    <a:pt x="5824" y="79"/>
                    <a:pt x="5834" y="79"/>
                  </a:cubicBezTo>
                  <a:cubicBezTo>
                    <a:pt x="5843" y="79"/>
                    <a:pt x="5853" y="72"/>
                    <a:pt x="5853" y="60"/>
                  </a:cubicBezTo>
                  <a:cubicBezTo>
                    <a:pt x="5853" y="41"/>
                    <a:pt x="5819" y="1"/>
                    <a:pt x="5753" y="1"/>
                  </a:cubicBezTo>
                  <a:cubicBezTo>
                    <a:pt x="5673" y="1"/>
                    <a:pt x="5621" y="61"/>
                    <a:pt x="5621" y="146"/>
                  </a:cubicBezTo>
                  <a:cubicBezTo>
                    <a:pt x="5621" y="223"/>
                    <a:pt x="5662" y="292"/>
                    <a:pt x="5759" y="292"/>
                  </a:cubicBezTo>
                  <a:cubicBezTo>
                    <a:pt x="5802" y="292"/>
                    <a:pt x="5834" y="277"/>
                    <a:pt x="5847" y="260"/>
                  </a:cubicBezTo>
                  <a:cubicBezTo>
                    <a:pt x="5852" y="254"/>
                    <a:pt x="5852" y="252"/>
                    <a:pt x="5852" y="238"/>
                  </a:cubicBezTo>
                  <a:lnTo>
                    <a:pt x="5852" y="155"/>
                  </a:lnTo>
                  <a:cubicBezTo>
                    <a:pt x="5852" y="150"/>
                    <a:pt x="5852" y="147"/>
                    <a:pt x="5845" y="147"/>
                  </a:cubicBezTo>
                  <a:lnTo>
                    <a:pt x="5760" y="147"/>
                  </a:lnTo>
                  <a:cubicBezTo>
                    <a:pt x="5756" y="147"/>
                    <a:pt x="5753" y="147"/>
                    <a:pt x="5752" y="151"/>
                  </a:cubicBezTo>
                  <a:lnTo>
                    <a:pt x="5752" y="163"/>
                  </a:lnTo>
                  <a:cubicBezTo>
                    <a:pt x="5752" y="170"/>
                    <a:pt x="5753" y="170"/>
                    <a:pt x="5760" y="170"/>
                  </a:cubicBezTo>
                  <a:lnTo>
                    <a:pt x="5814" y="170"/>
                  </a:lnTo>
                  <a:lnTo>
                    <a:pt x="5814" y="228"/>
                  </a:lnTo>
                  <a:close/>
                  <a:moveTo>
                    <a:pt x="5390" y="13"/>
                  </a:moveTo>
                  <a:cubicBezTo>
                    <a:pt x="5386" y="7"/>
                    <a:pt x="5386" y="7"/>
                    <a:pt x="5381" y="7"/>
                  </a:cubicBezTo>
                  <a:lnTo>
                    <a:pt x="5358" y="7"/>
                  </a:lnTo>
                  <a:cubicBezTo>
                    <a:pt x="5351" y="7"/>
                    <a:pt x="5350" y="8"/>
                    <a:pt x="5350" y="14"/>
                  </a:cubicBezTo>
                  <a:lnTo>
                    <a:pt x="5350" y="278"/>
                  </a:lnTo>
                  <a:cubicBezTo>
                    <a:pt x="5350" y="284"/>
                    <a:pt x="5351" y="286"/>
                    <a:pt x="5357" y="286"/>
                  </a:cubicBezTo>
                  <a:cubicBezTo>
                    <a:pt x="5364" y="286"/>
                    <a:pt x="5377" y="286"/>
                    <a:pt x="5378" y="285"/>
                  </a:cubicBezTo>
                  <a:cubicBezTo>
                    <a:pt x="5381" y="285"/>
                    <a:pt x="5381" y="283"/>
                    <a:pt x="5381" y="278"/>
                  </a:cubicBezTo>
                  <a:lnTo>
                    <a:pt x="5381" y="61"/>
                  </a:lnTo>
                  <a:lnTo>
                    <a:pt x="5540" y="280"/>
                  </a:lnTo>
                  <a:cubicBezTo>
                    <a:pt x="5544" y="285"/>
                    <a:pt x="5545" y="285"/>
                    <a:pt x="5549" y="286"/>
                  </a:cubicBezTo>
                  <a:lnTo>
                    <a:pt x="5564" y="286"/>
                  </a:lnTo>
                  <a:cubicBezTo>
                    <a:pt x="5569" y="286"/>
                    <a:pt x="5571" y="285"/>
                    <a:pt x="5571" y="279"/>
                  </a:cubicBezTo>
                  <a:lnTo>
                    <a:pt x="5571" y="14"/>
                  </a:lnTo>
                  <a:cubicBezTo>
                    <a:pt x="5571" y="8"/>
                    <a:pt x="5570" y="7"/>
                    <a:pt x="5565" y="7"/>
                  </a:cubicBezTo>
                  <a:lnTo>
                    <a:pt x="5544" y="7"/>
                  </a:lnTo>
                  <a:cubicBezTo>
                    <a:pt x="5541" y="7"/>
                    <a:pt x="5540" y="9"/>
                    <a:pt x="5540" y="14"/>
                  </a:cubicBezTo>
                  <a:lnTo>
                    <a:pt x="5540" y="219"/>
                  </a:lnTo>
                  <a:lnTo>
                    <a:pt x="5390" y="13"/>
                  </a:lnTo>
                  <a:close/>
                  <a:moveTo>
                    <a:pt x="5281" y="14"/>
                  </a:moveTo>
                  <a:cubicBezTo>
                    <a:pt x="5281" y="7"/>
                    <a:pt x="5278" y="7"/>
                    <a:pt x="5273" y="7"/>
                  </a:cubicBezTo>
                  <a:lnTo>
                    <a:pt x="5249" y="7"/>
                  </a:lnTo>
                  <a:cubicBezTo>
                    <a:pt x="5243" y="6"/>
                    <a:pt x="5242" y="8"/>
                    <a:pt x="5242" y="15"/>
                  </a:cubicBezTo>
                  <a:lnTo>
                    <a:pt x="5242" y="278"/>
                  </a:lnTo>
                  <a:cubicBezTo>
                    <a:pt x="5242" y="285"/>
                    <a:pt x="5244" y="286"/>
                    <a:pt x="5249" y="286"/>
                  </a:cubicBezTo>
                  <a:lnTo>
                    <a:pt x="5273" y="286"/>
                  </a:lnTo>
                  <a:cubicBezTo>
                    <a:pt x="5279" y="286"/>
                    <a:pt x="5281" y="285"/>
                    <a:pt x="5281" y="278"/>
                  </a:cubicBezTo>
                  <a:lnTo>
                    <a:pt x="5281" y="14"/>
                  </a:lnTo>
                  <a:close/>
                  <a:moveTo>
                    <a:pt x="5007" y="30"/>
                  </a:moveTo>
                  <a:cubicBezTo>
                    <a:pt x="5014" y="29"/>
                    <a:pt x="5021" y="28"/>
                    <a:pt x="5032" y="28"/>
                  </a:cubicBezTo>
                  <a:cubicBezTo>
                    <a:pt x="5069" y="28"/>
                    <a:pt x="5100" y="37"/>
                    <a:pt x="5123" y="62"/>
                  </a:cubicBezTo>
                  <a:cubicBezTo>
                    <a:pt x="5143" y="85"/>
                    <a:pt x="5151" y="115"/>
                    <a:pt x="5151" y="145"/>
                  </a:cubicBezTo>
                  <a:cubicBezTo>
                    <a:pt x="5151" y="216"/>
                    <a:pt x="5113" y="264"/>
                    <a:pt x="5028" y="264"/>
                  </a:cubicBezTo>
                  <a:cubicBezTo>
                    <a:pt x="5019" y="264"/>
                    <a:pt x="5012" y="263"/>
                    <a:pt x="5007" y="262"/>
                  </a:cubicBezTo>
                  <a:lnTo>
                    <a:pt x="5007" y="30"/>
                  </a:lnTo>
                  <a:close/>
                  <a:moveTo>
                    <a:pt x="4968" y="275"/>
                  </a:moveTo>
                  <a:cubicBezTo>
                    <a:pt x="4968" y="280"/>
                    <a:pt x="4968" y="283"/>
                    <a:pt x="4974" y="285"/>
                  </a:cubicBezTo>
                  <a:cubicBezTo>
                    <a:pt x="4985" y="287"/>
                    <a:pt x="5013" y="288"/>
                    <a:pt x="5027" y="288"/>
                  </a:cubicBezTo>
                  <a:cubicBezTo>
                    <a:pt x="5072" y="288"/>
                    <a:pt x="5117" y="279"/>
                    <a:pt x="5150" y="250"/>
                  </a:cubicBezTo>
                  <a:cubicBezTo>
                    <a:pt x="5165" y="236"/>
                    <a:pt x="5193" y="204"/>
                    <a:pt x="5193" y="147"/>
                  </a:cubicBezTo>
                  <a:cubicBezTo>
                    <a:pt x="5193" y="82"/>
                    <a:pt x="5154" y="4"/>
                    <a:pt x="5037" y="4"/>
                  </a:cubicBezTo>
                  <a:cubicBezTo>
                    <a:pt x="5013" y="4"/>
                    <a:pt x="4984" y="7"/>
                    <a:pt x="4974" y="11"/>
                  </a:cubicBezTo>
                  <a:cubicBezTo>
                    <a:pt x="4969" y="12"/>
                    <a:pt x="4968" y="13"/>
                    <a:pt x="4968" y="22"/>
                  </a:cubicBezTo>
                  <a:lnTo>
                    <a:pt x="4968" y="275"/>
                  </a:lnTo>
                  <a:close/>
                  <a:moveTo>
                    <a:pt x="4816" y="14"/>
                  </a:moveTo>
                  <a:cubicBezTo>
                    <a:pt x="4816" y="8"/>
                    <a:pt x="4815" y="7"/>
                    <a:pt x="4809" y="7"/>
                  </a:cubicBezTo>
                  <a:lnTo>
                    <a:pt x="4784" y="7"/>
                  </a:lnTo>
                  <a:cubicBezTo>
                    <a:pt x="4779" y="7"/>
                    <a:pt x="4777" y="7"/>
                    <a:pt x="4777" y="14"/>
                  </a:cubicBezTo>
                  <a:lnTo>
                    <a:pt x="4777" y="279"/>
                  </a:lnTo>
                  <a:cubicBezTo>
                    <a:pt x="4777" y="283"/>
                    <a:pt x="4778" y="286"/>
                    <a:pt x="4784" y="286"/>
                  </a:cubicBezTo>
                  <a:lnTo>
                    <a:pt x="4921" y="286"/>
                  </a:lnTo>
                  <a:cubicBezTo>
                    <a:pt x="4924" y="286"/>
                    <a:pt x="4927" y="286"/>
                    <a:pt x="4928" y="282"/>
                  </a:cubicBezTo>
                  <a:lnTo>
                    <a:pt x="4928" y="267"/>
                  </a:lnTo>
                  <a:cubicBezTo>
                    <a:pt x="4928" y="262"/>
                    <a:pt x="4927" y="260"/>
                    <a:pt x="4921" y="260"/>
                  </a:cubicBezTo>
                  <a:lnTo>
                    <a:pt x="4816" y="260"/>
                  </a:lnTo>
                  <a:lnTo>
                    <a:pt x="4816" y="14"/>
                  </a:lnTo>
                  <a:close/>
                  <a:moveTo>
                    <a:pt x="4687" y="139"/>
                  </a:moveTo>
                  <a:cubicBezTo>
                    <a:pt x="4687" y="161"/>
                    <a:pt x="4686" y="198"/>
                    <a:pt x="4667" y="227"/>
                  </a:cubicBezTo>
                  <a:cubicBezTo>
                    <a:pt x="4650" y="254"/>
                    <a:pt x="4624" y="265"/>
                    <a:pt x="4601" y="265"/>
                  </a:cubicBezTo>
                  <a:cubicBezTo>
                    <a:pt x="4565" y="265"/>
                    <a:pt x="4530" y="238"/>
                    <a:pt x="4519" y="185"/>
                  </a:cubicBezTo>
                  <a:cubicBezTo>
                    <a:pt x="4516" y="173"/>
                    <a:pt x="4515" y="159"/>
                    <a:pt x="4515" y="144"/>
                  </a:cubicBezTo>
                  <a:cubicBezTo>
                    <a:pt x="4515" y="98"/>
                    <a:pt x="4527" y="55"/>
                    <a:pt x="4564" y="34"/>
                  </a:cubicBezTo>
                  <a:cubicBezTo>
                    <a:pt x="4575" y="28"/>
                    <a:pt x="4588" y="24"/>
                    <a:pt x="4601" y="24"/>
                  </a:cubicBezTo>
                  <a:cubicBezTo>
                    <a:pt x="4630" y="24"/>
                    <a:pt x="4684" y="46"/>
                    <a:pt x="4687" y="139"/>
                  </a:cubicBezTo>
                  <a:close/>
                  <a:moveTo>
                    <a:pt x="4728" y="138"/>
                  </a:moveTo>
                  <a:cubicBezTo>
                    <a:pt x="4725" y="69"/>
                    <a:pt x="4683" y="0"/>
                    <a:pt x="4602" y="0"/>
                  </a:cubicBezTo>
                  <a:cubicBezTo>
                    <a:pt x="4514" y="0"/>
                    <a:pt x="4474" y="76"/>
                    <a:pt x="4474" y="146"/>
                  </a:cubicBezTo>
                  <a:cubicBezTo>
                    <a:pt x="4474" y="232"/>
                    <a:pt x="4529" y="292"/>
                    <a:pt x="4602" y="292"/>
                  </a:cubicBezTo>
                  <a:cubicBezTo>
                    <a:pt x="4678" y="292"/>
                    <a:pt x="4732" y="224"/>
                    <a:pt x="4728" y="138"/>
                  </a:cubicBezTo>
                  <a:close/>
                  <a:moveTo>
                    <a:pt x="4386" y="278"/>
                  </a:moveTo>
                  <a:cubicBezTo>
                    <a:pt x="4386" y="285"/>
                    <a:pt x="4387" y="286"/>
                    <a:pt x="4393" y="286"/>
                  </a:cubicBezTo>
                  <a:lnTo>
                    <a:pt x="4418" y="286"/>
                  </a:lnTo>
                  <a:cubicBezTo>
                    <a:pt x="4423" y="286"/>
                    <a:pt x="4425" y="286"/>
                    <a:pt x="4425" y="279"/>
                  </a:cubicBezTo>
                  <a:lnTo>
                    <a:pt x="4425" y="13"/>
                  </a:lnTo>
                  <a:cubicBezTo>
                    <a:pt x="4425" y="7"/>
                    <a:pt x="4424" y="7"/>
                    <a:pt x="4418" y="7"/>
                  </a:cubicBezTo>
                  <a:lnTo>
                    <a:pt x="4393" y="7"/>
                  </a:lnTo>
                  <a:cubicBezTo>
                    <a:pt x="4386" y="6"/>
                    <a:pt x="4386" y="9"/>
                    <a:pt x="4386" y="15"/>
                  </a:cubicBezTo>
                  <a:lnTo>
                    <a:pt x="4386" y="127"/>
                  </a:lnTo>
                  <a:lnTo>
                    <a:pt x="4268" y="127"/>
                  </a:lnTo>
                  <a:lnTo>
                    <a:pt x="4268" y="13"/>
                  </a:lnTo>
                  <a:cubicBezTo>
                    <a:pt x="4268" y="7"/>
                    <a:pt x="4266" y="6"/>
                    <a:pt x="4261" y="7"/>
                  </a:cubicBezTo>
                  <a:lnTo>
                    <a:pt x="4236" y="7"/>
                  </a:lnTo>
                  <a:cubicBezTo>
                    <a:pt x="4231" y="7"/>
                    <a:pt x="4229" y="8"/>
                    <a:pt x="4229" y="13"/>
                  </a:cubicBezTo>
                  <a:lnTo>
                    <a:pt x="4229" y="278"/>
                  </a:lnTo>
                  <a:cubicBezTo>
                    <a:pt x="4229" y="285"/>
                    <a:pt x="4231" y="286"/>
                    <a:pt x="4236" y="286"/>
                  </a:cubicBezTo>
                  <a:lnTo>
                    <a:pt x="4261" y="286"/>
                  </a:lnTo>
                  <a:cubicBezTo>
                    <a:pt x="4266" y="286"/>
                    <a:pt x="4268" y="285"/>
                    <a:pt x="4268" y="278"/>
                  </a:cubicBezTo>
                  <a:lnTo>
                    <a:pt x="4268" y="152"/>
                  </a:lnTo>
                  <a:lnTo>
                    <a:pt x="4386" y="152"/>
                  </a:lnTo>
                  <a:lnTo>
                    <a:pt x="4386" y="278"/>
                  </a:lnTo>
                  <a:close/>
                  <a:moveTo>
                    <a:pt x="4068" y="152"/>
                  </a:moveTo>
                  <a:cubicBezTo>
                    <a:pt x="4072" y="152"/>
                    <a:pt x="4074" y="152"/>
                    <a:pt x="4075" y="149"/>
                  </a:cubicBezTo>
                  <a:cubicBezTo>
                    <a:pt x="4076" y="147"/>
                    <a:pt x="4076" y="138"/>
                    <a:pt x="4076" y="133"/>
                  </a:cubicBezTo>
                  <a:cubicBezTo>
                    <a:pt x="4076" y="127"/>
                    <a:pt x="4072" y="127"/>
                    <a:pt x="4068" y="127"/>
                  </a:cubicBezTo>
                  <a:lnTo>
                    <a:pt x="3977" y="127"/>
                  </a:lnTo>
                  <a:lnTo>
                    <a:pt x="3977" y="32"/>
                  </a:lnTo>
                  <a:lnTo>
                    <a:pt x="4085" y="32"/>
                  </a:lnTo>
                  <a:cubicBezTo>
                    <a:pt x="4090" y="32"/>
                    <a:pt x="4092" y="31"/>
                    <a:pt x="4092" y="28"/>
                  </a:cubicBezTo>
                  <a:cubicBezTo>
                    <a:pt x="4092" y="26"/>
                    <a:pt x="4092" y="18"/>
                    <a:pt x="4092" y="13"/>
                  </a:cubicBezTo>
                  <a:cubicBezTo>
                    <a:pt x="4092" y="7"/>
                    <a:pt x="4089" y="7"/>
                    <a:pt x="4085" y="7"/>
                  </a:cubicBezTo>
                  <a:lnTo>
                    <a:pt x="3946" y="7"/>
                  </a:lnTo>
                  <a:cubicBezTo>
                    <a:pt x="3939" y="7"/>
                    <a:pt x="3938" y="9"/>
                    <a:pt x="3938" y="16"/>
                  </a:cubicBezTo>
                  <a:lnTo>
                    <a:pt x="3938" y="279"/>
                  </a:lnTo>
                  <a:cubicBezTo>
                    <a:pt x="3938" y="285"/>
                    <a:pt x="3940" y="286"/>
                    <a:pt x="3946" y="286"/>
                  </a:cubicBezTo>
                  <a:lnTo>
                    <a:pt x="4085" y="286"/>
                  </a:lnTo>
                  <a:cubicBezTo>
                    <a:pt x="4090" y="286"/>
                    <a:pt x="4092" y="285"/>
                    <a:pt x="4092" y="279"/>
                  </a:cubicBezTo>
                  <a:lnTo>
                    <a:pt x="4092" y="267"/>
                  </a:lnTo>
                  <a:cubicBezTo>
                    <a:pt x="4092" y="260"/>
                    <a:pt x="4090" y="260"/>
                    <a:pt x="4085" y="260"/>
                  </a:cubicBezTo>
                  <a:lnTo>
                    <a:pt x="3977" y="260"/>
                  </a:lnTo>
                  <a:lnTo>
                    <a:pt x="3977" y="152"/>
                  </a:lnTo>
                  <a:lnTo>
                    <a:pt x="4068" y="152"/>
                  </a:lnTo>
                  <a:close/>
                  <a:moveTo>
                    <a:pt x="3861" y="64"/>
                  </a:moveTo>
                  <a:cubicBezTo>
                    <a:pt x="3867" y="73"/>
                    <a:pt x="3874" y="74"/>
                    <a:pt x="3879" y="74"/>
                  </a:cubicBezTo>
                  <a:cubicBezTo>
                    <a:pt x="3888" y="74"/>
                    <a:pt x="3897" y="67"/>
                    <a:pt x="3897" y="56"/>
                  </a:cubicBezTo>
                  <a:cubicBezTo>
                    <a:pt x="3897" y="35"/>
                    <a:pt x="3864" y="1"/>
                    <a:pt x="3805" y="1"/>
                  </a:cubicBezTo>
                  <a:cubicBezTo>
                    <a:pt x="3713" y="1"/>
                    <a:pt x="3677" y="77"/>
                    <a:pt x="3677" y="144"/>
                  </a:cubicBezTo>
                  <a:cubicBezTo>
                    <a:pt x="3677" y="222"/>
                    <a:pt x="3720" y="292"/>
                    <a:pt x="3807" y="292"/>
                  </a:cubicBezTo>
                  <a:cubicBezTo>
                    <a:pt x="3858" y="292"/>
                    <a:pt x="3893" y="262"/>
                    <a:pt x="3893" y="248"/>
                  </a:cubicBezTo>
                  <a:cubicBezTo>
                    <a:pt x="3893" y="243"/>
                    <a:pt x="3889" y="239"/>
                    <a:pt x="3884" y="239"/>
                  </a:cubicBezTo>
                  <a:cubicBezTo>
                    <a:pt x="3880" y="239"/>
                    <a:pt x="3877" y="241"/>
                    <a:pt x="3870" y="245"/>
                  </a:cubicBezTo>
                  <a:cubicBezTo>
                    <a:pt x="3853" y="257"/>
                    <a:pt x="3835" y="263"/>
                    <a:pt x="3815" y="263"/>
                  </a:cubicBezTo>
                  <a:cubicBezTo>
                    <a:pt x="3758" y="263"/>
                    <a:pt x="3718" y="209"/>
                    <a:pt x="3718" y="136"/>
                  </a:cubicBezTo>
                  <a:cubicBezTo>
                    <a:pt x="3718" y="67"/>
                    <a:pt x="3755" y="25"/>
                    <a:pt x="3801" y="25"/>
                  </a:cubicBezTo>
                  <a:cubicBezTo>
                    <a:pt x="3838" y="25"/>
                    <a:pt x="3854" y="52"/>
                    <a:pt x="3861" y="64"/>
                  </a:cubicBezTo>
                  <a:close/>
                  <a:moveTo>
                    <a:pt x="3447" y="13"/>
                  </a:moveTo>
                  <a:cubicBezTo>
                    <a:pt x="3443" y="7"/>
                    <a:pt x="3443" y="7"/>
                    <a:pt x="3438" y="7"/>
                  </a:cubicBezTo>
                  <a:lnTo>
                    <a:pt x="3414" y="7"/>
                  </a:lnTo>
                  <a:cubicBezTo>
                    <a:pt x="3408" y="7"/>
                    <a:pt x="3407" y="8"/>
                    <a:pt x="3407" y="14"/>
                  </a:cubicBezTo>
                  <a:lnTo>
                    <a:pt x="3407" y="278"/>
                  </a:lnTo>
                  <a:cubicBezTo>
                    <a:pt x="3407" y="284"/>
                    <a:pt x="3408" y="286"/>
                    <a:pt x="3414" y="286"/>
                  </a:cubicBezTo>
                  <a:cubicBezTo>
                    <a:pt x="3420" y="286"/>
                    <a:pt x="3434" y="286"/>
                    <a:pt x="3434" y="285"/>
                  </a:cubicBezTo>
                  <a:cubicBezTo>
                    <a:pt x="3438" y="285"/>
                    <a:pt x="3438" y="283"/>
                    <a:pt x="3438" y="278"/>
                  </a:cubicBezTo>
                  <a:lnTo>
                    <a:pt x="3438" y="61"/>
                  </a:lnTo>
                  <a:lnTo>
                    <a:pt x="3597" y="280"/>
                  </a:lnTo>
                  <a:cubicBezTo>
                    <a:pt x="3601" y="285"/>
                    <a:pt x="3602" y="285"/>
                    <a:pt x="3606" y="286"/>
                  </a:cubicBezTo>
                  <a:lnTo>
                    <a:pt x="3621" y="286"/>
                  </a:lnTo>
                  <a:cubicBezTo>
                    <a:pt x="3626" y="286"/>
                    <a:pt x="3628" y="285"/>
                    <a:pt x="3628" y="279"/>
                  </a:cubicBezTo>
                  <a:lnTo>
                    <a:pt x="3628" y="14"/>
                  </a:lnTo>
                  <a:cubicBezTo>
                    <a:pt x="3628" y="8"/>
                    <a:pt x="3627" y="7"/>
                    <a:pt x="3622" y="7"/>
                  </a:cubicBezTo>
                  <a:lnTo>
                    <a:pt x="3601" y="7"/>
                  </a:lnTo>
                  <a:cubicBezTo>
                    <a:pt x="3598" y="7"/>
                    <a:pt x="3597" y="9"/>
                    <a:pt x="3597" y="14"/>
                  </a:cubicBezTo>
                  <a:lnTo>
                    <a:pt x="3597" y="219"/>
                  </a:lnTo>
                  <a:lnTo>
                    <a:pt x="3447" y="13"/>
                  </a:lnTo>
                  <a:close/>
                  <a:moveTo>
                    <a:pt x="3212" y="153"/>
                  </a:moveTo>
                  <a:lnTo>
                    <a:pt x="3247" y="59"/>
                  </a:lnTo>
                  <a:lnTo>
                    <a:pt x="3281" y="153"/>
                  </a:lnTo>
                  <a:lnTo>
                    <a:pt x="3212" y="153"/>
                  </a:lnTo>
                  <a:close/>
                  <a:moveTo>
                    <a:pt x="3329" y="280"/>
                  </a:moveTo>
                  <a:cubicBezTo>
                    <a:pt x="3331" y="286"/>
                    <a:pt x="3332" y="286"/>
                    <a:pt x="3339" y="286"/>
                  </a:cubicBezTo>
                  <a:lnTo>
                    <a:pt x="3366" y="286"/>
                  </a:lnTo>
                  <a:cubicBezTo>
                    <a:pt x="3369" y="286"/>
                    <a:pt x="3372" y="286"/>
                    <a:pt x="3372" y="282"/>
                  </a:cubicBezTo>
                  <a:cubicBezTo>
                    <a:pt x="3372" y="280"/>
                    <a:pt x="3371" y="278"/>
                    <a:pt x="3370" y="276"/>
                  </a:cubicBezTo>
                  <a:lnTo>
                    <a:pt x="3267" y="12"/>
                  </a:lnTo>
                  <a:cubicBezTo>
                    <a:pt x="3265" y="7"/>
                    <a:pt x="3264" y="7"/>
                    <a:pt x="3261" y="7"/>
                  </a:cubicBezTo>
                  <a:lnTo>
                    <a:pt x="3244" y="7"/>
                  </a:lnTo>
                  <a:cubicBezTo>
                    <a:pt x="3239" y="7"/>
                    <a:pt x="3238" y="7"/>
                    <a:pt x="3236" y="13"/>
                  </a:cubicBezTo>
                  <a:lnTo>
                    <a:pt x="3133" y="276"/>
                  </a:lnTo>
                  <a:cubicBezTo>
                    <a:pt x="3133" y="277"/>
                    <a:pt x="3131" y="282"/>
                    <a:pt x="3131" y="282"/>
                  </a:cubicBezTo>
                  <a:cubicBezTo>
                    <a:pt x="3131" y="286"/>
                    <a:pt x="3135" y="286"/>
                    <a:pt x="3137" y="286"/>
                  </a:cubicBezTo>
                  <a:lnTo>
                    <a:pt x="3156" y="286"/>
                  </a:lnTo>
                  <a:cubicBezTo>
                    <a:pt x="3161" y="286"/>
                    <a:pt x="3163" y="286"/>
                    <a:pt x="3165" y="279"/>
                  </a:cubicBezTo>
                  <a:lnTo>
                    <a:pt x="3204" y="176"/>
                  </a:lnTo>
                  <a:lnTo>
                    <a:pt x="3289" y="176"/>
                  </a:lnTo>
                  <a:lnTo>
                    <a:pt x="3329" y="280"/>
                  </a:lnTo>
                  <a:close/>
                  <a:moveTo>
                    <a:pt x="2972" y="28"/>
                  </a:moveTo>
                  <a:cubicBezTo>
                    <a:pt x="2980" y="27"/>
                    <a:pt x="2986" y="26"/>
                    <a:pt x="2997" y="26"/>
                  </a:cubicBezTo>
                  <a:cubicBezTo>
                    <a:pt x="3014" y="26"/>
                    <a:pt x="3063" y="26"/>
                    <a:pt x="3063" y="83"/>
                  </a:cubicBezTo>
                  <a:cubicBezTo>
                    <a:pt x="3063" y="119"/>
                    <a:pt x="3038" y="138"/>
                    <a:pt x="3004" y="141"/>
                  </a:cubicBezTo>
                  <a:cubicBezTo>
                    <a:pt x="2998" y="142"/>
                    <a:pt x="2995" y="142"/>
                    <a:pt x="2972" y="141"/>
                  </a:cubicBezTo>
                  <a:lnTo>
                    <a:pt x="2972" y="28"/>
                  </a:lnTo>
                  <a:close/>
                  <a:moveTo>
                    <a:pt x="2933" y="279"/>
                  </a:moveTo>
                  <a:cubicBezTo>
                    <a:pt x="2933" y="285"/>
                    <a:pt x="2935" y="286"/>
                    <a:pt x="2941" y="286"/>
                  </a:cubicBezTo>
                  <a:lnTo>
                    <a:pt x="2964" y="286"/>
                  </a:lnTo>
                  <a:cubicBezTo>
                    <a:pt x="2970" y="286"/>
                    <a:pt x="2972" y="284"/>
                    <a:pt x="2972" y="277"/>
                  </a:cubicBezTo>
                  <a:lnTo>
                    <a:pt x="2972" y="173"/>
                  </a:lnTo>
                  <a:cubicBezTo>
                    <a:pt x="2972" y="169"/>
                    <a:pt x="2971" y="159"/>
                    <a:pt x="2982" y="159"/>
                  </a:cubicBezTo>
                  <a:cubicBezTo>
                    <a:pt x="2993" y="159"/>
                    <a:pt x="3000" y="168"/>
                    <a:pt x="3003" y="174"/>
                  </a:cubicBezTo>
                  <a:lnTo>
                    <a:pt x="3070" y="279"/>
                  </a:lnTo>
                  <a:cubicBezTo>
                    <a:pt x="3074" y="286"/>
                    <a:pt x="3074" y="286"/>
                    <a:pt x="3081" y="286"/>
                  </a:cubicBezTo>
                  <a:lnTo>
                    <a:pt x="3110" y="286"/>
                  </a:lnTo>
                  <a:cubicBezTo>
                    <a:pt x="3112" y="286"/>
                    <a:pt x="3116" y="286"/>
                    <a:pt x="3116" y="282"/>
                  </a:cubicBezTo>
                  <a:cubicBezTo>
                    <a:pt x="3116" y="279"/>
                    <a:pt x="3115" y="277"/>
                    <a:pt x="3114" y="275"/>
                  </a:cubicBezTo>
                  <a:lnTo>
                    <a:pt x="3033" y="154"/>
                  </a:lnTo>
                  <a:cubicBezTo>
                    <a:pt x="3077" y="143"/>
                    <a:pt x="3102" y="116"/>
                    <a:pt x="3102" y="79"/>
                  </a:cubicBezTo>
                  <a:cubicBezTo>
                    <a:pt x="3102" y="43"/>
                    <a:pt x="3082" y="27"/>
                    <a:pt x="3078" y="24"/>
                  </a:cubicBezTo>
                  <a:cubicBezTo>
                    <a:pt x="3057" y="5"/>
                    <a:pt x="3023" y="4"/>
                    <a:pt x="3002" y="4"/>
                  </a:cubicBezTo>
                  <a:cubicBezTo>
                    <a:pt x="2981" y="4"/>
                    <a:pt x="2949" y="6"/>
                    <a:pt x="2940" y="9"/>
                  </a:cubicBezTo>
                  <a:cubicBezTo>
                    <a:pt x="2935" y="11"/>
                    <a:pt x="2933" y="13"/>
                    <a:pt x="2933" y="22"/>
                  </a:cubicBezTo>
                  <a:lnTo>
                    <a:pt x="2933" y="279"/>
                  </a:lnTo>
                  <a:close/>
                  <a:moveTo>
                    <a:pt x="2868" y="14"/>
                  </a:moveTo>
                  <a:cubicBezTo>
                    <a:pt x="2868" y="9"/>
                    <a:pt x="2866" y="7"/>
                    <a:pt x="2863" y="7"/>
                  </a:cubicBezTo>
                  <a:cubicBezTo>
                    <a:pt x="2862" y="7"/>
                    <a:pt x="2850" y="7"/>
                    <a:pt x="2843" y="7"/>
                  </a:cubicBezTo>
                  <a:cubicBezTo>
                    <a:pt x="2838" y="7"/>
                    <a:pt x="2837" y="9"/>
                    <a:pt x="2837" y="14"/>
                  </a:cubicBezTo>
                  <a:lnTo>
                    <a:pt x="2837" y="199"/>
                  </a:lnTo>
                  <a:cubicBezTo>
                    <a:pt x="2837" y="214"/>
                    <a:pt x="2837" y="226"/>
                    <a:pt x="2828" y="239"/>
                  </a:cubicBezTo>
                  <a:cubicBezTo>
                    <a:pt x="2817" y="255"/>
                    <a:pt x="2798" y="262"/>
                    <a:pt x="2778" y="262"/>
                  </a:cubicBezTo>
                  <a:cubicBezTo>
                    <a:pt x="2721" y="262"/>
                    <a:pt x="2720" y="210"/>
                    <a:pt x="2720" y="191"/>
                  </a:cubicBezTo>
                  <a:lnTo>
                    <a:pt x="2720" y="14"/>
                  </a:lnTo>
                  <a:cubicBezTo>
                    <a:pt x="2720" y="7"/>
                    <a:pt x="2719" y="7"/>
                    <a:pt x="2713" y="7"/>
                  </a:cubicBezTo>
                  <a:lnTo>
                    <a:pt x="2688" y="7"/>
                  </a:lnTo>
                  <a:cubicBezTo>
                    <a:pt x="2682" y="7"/>
                    <a:pt x="2680" y="7"/>
                    <a:pt x="2680" y="14"/>
                  </a:cubicBezTo>
                  <a:lnTo>
                    <a:pt x="2680" y="197"/>
                  </a:lnTo>
                  <a:cubicBezTo>
                    <a:pt x="2680" y="213"/>
                    <a:pt x="2681" y="233"/>
                    <a:pt x="2691" y="251"/>
                  </a:cubicBezTo>
                  <a:cubicBezTo>
                    <a:pt x="2697" y="262"/>
                    <a:pt x="2717" y="292"/>
                    <a:pt x="2775" y="292"/>
                  </a:cubicBezTo>
                  <a:cubicBezTo>
                    <a:pt x="2811" y="292"/>
                    <a:pt x="2840" y="281"/>
                    <a:pt x="2856" y="253"/>
                  </a:cubicBezTo>
                  <a:cubicBezTo>
                    <a:pt x="2867" y="236"/>
                    <a:pt x="2867" y="219"/>
                    <a:pt x="2868" y="203"/>
                  </a:cubicBezTo>
                  <a:lnTo>
                    <a:pt x="2868" y="14"/>
                  </a:lnTo>
                  <a:close/>
                  <a:moveTo>
                    <a:pt x="2552" y="122"/>
                  </a:moveTo>
                  <a:cubicBezTo>
                    <a:pt x="2522" y="109"/>
                    <a:pt x="2497" y="98"/>
                    <a:pt x="2497" y="67"/>
                  </a:cubicBezTo>
                  <a:cubicBezTo>
                    <a:pt x="2497" y="44"/>
                    <a:pt x="2515" y="24"/>
                    <a:pt x="2541" y="24"/>
                  </a:cubicBezTo>
                  <a:cubicBezTo>
                    <a:pt x="2567" y="24"/>
                    <a:pt x="2578" y="41"/>
                    <a:pt x="2586" y="53"/>
                  </a:cubicBezTo>
                  <a:cubicBezTo>
                    <a:pt x="2590" y="60"/>
                    <a:pt x="2595" y="67"/>
                    <a:pt x="2605" y="67"/>
                  </a:cubicBezTo>
                  <a:cubicBezTo>
                    <a:pt x="2615" y="67"/>
                    <a:pt x="2622" y="59"/>
                    <a:pt x="2622" y="49"/>
                  </a:cubicBezTo>
                  <a:cubicBezTo>
                    <a:pt x="2622" y="29"/>
                    <a:pt x="2591" y="1"/>
                    <a:pt x="2543" y="1"/>
                  </a:cubicBezTo>
                  <a:cubicBezTo>
                    <a:pt x="2493" y="1"/>
                    <a:pt x="2461" y="33"/>
                    <a:pt x="2461" y="75"/>
                  </a:cubicBezTo>
                  <a:cubicBezTo>
                    <a:pt x="2461" y="122"/>
                    <a:pt x="2501" y="141"/>
                    <a:pt x="2517" y="149"/>
                  </a:cubicBezTo>
                  <a:lnTo>
                    <a:pt x="2538" y="159"/>
                  </a:lnTo>
                  <a:cubicBezTo>
                    <a:pt x="2569" y="173"/>
                    <a:pt x="2597" y="187"/>
                    <a:pt x="2597" y="221"/>
                  </a:cubicBezTo>
                  <a:cubicBezTo>
                    <a:pt x="2597" y="246"/>
                    <a:pt x="2578" y="267"/>
                    <a:pt x="2548" y="267"/>
                  </a:cubicBezTo>
                  <a:cubicBezTo>
                    <a:pt x="2515" y="267"/>
                    <a:pt x="2503" y="242"/>
                    <a:pt x="2497" y="230"/>
                  </a:cubicBezTo>
                  <a:cubicBezTo>
                    <a:pt x="2492" y="221"/>
                    <a:pt x="2487" y="213"/>
                    <a:pt x="2476" y="213"/>
                  </a:cubicBezTo>
                  <a:cubicBezTo>
                    <a:pt x="2467" y="213"/>
                    <a:pt x="2457" y="219"/>
                    <a:pt x="2457" y="232"/>
                  </a:cubicBezTo>
                  <a:cubicBezTo>
                    <a:pt x="2457" y="249"/>
                    <a:pt x="2481" y="292"/>
                    <a:pt x="2546" y="292"/>
                  </a:cubicBezTo>
                  <a:cubicBezTo>
                    <a:pt x="2597" y="292"/>
                    <a:pt x="2634" y="259"/>
                    <a:pt x="2634" y="212"/>
                  </a:cubicBezTo>
                  <a:cubicBezTo>
                    <a:pt x="2634" y="162"/>
                    <a:pt x="2593" y="142"/>
                    <a:pt x="2573" y="132"/>
                  </a:cubicBezTo>
                  <a:lnTo>
                    <a:pt x="2552" y="122"/>
                  </a:lnTo>
                  <a:close/>
                  <a:moveTo>
                    <a:pt x="2226" y="13"/>
                  </a:moveTo>
                  <a:cubicBezTo>
                    <a:pt x="2222" y="7"/>
                    <a:pt x="2222" y="7"/>
                    <a:pt x="2216" y="7"/>
                  </a:cubicBezTo>
                  <a:lnTo>
                    <a:pt x="2193" y="7"/>
                  </a:lnTo>
                  <a:cubicBezTo>
                    <a:pt x="2187" y="7"/>
                    <a:pt x="2186" y="8"/>
                    <a:pt x="2186" y="14"/>
                  </a:cubicBezTo>
                  <a:lnTo>
                    <a:pt x="2186" y="278"/>
                  </a:lnTo>
                  <a:cubicBezTo>
                    <a:pt x="2186" y="284"/>
                    <a:pt x="2187" y="286"/>
                    <a:pt x="2193" y="286"/>
                  </a:cubicBezTo>
                  <a:cubicBezTo>
                    <a:pt x="2199" y="286"/>
                    <a:pt x="2212" y="286"/>
                    <a:pt x="2213" y="285"/>
                  </a:cubicBezTo>
                  <a:cubicBezTo>
                    <a:pt x="2216" y="285"/>
                    <a:pt x="2217" y="283"/>
                    <a:pt x="2217" y="278"/>
                  </a:cubicBezTo>
                  <a:lnTo>
                    <a:pt x="2217" y="61"/>
                  </a:lnTo>
                  <a:lnTo>
                    <a:pt x="2376" y="280"/>
                  </a:lnTo>
                  <a:cubicBezTo>
                    <a:pt x="2379" y="285"/>
                    <a:pt x="2381" y="285"/>
                    <a:pt x="2385" y="286"/>
                  </a:cubicBezTo>
                  <a:lnTo>
                    <a:pt x="2400" y="286"/>
                  </a:lnTo>
                  <a:cubicBezTo>
                    <a:pt x="2405" y="286"/>
                    <a:pt x="2407" y="285"/>
                    <a:pt x="2407" y="279"/>
                  </a:cubicBezTo>
                  <a:lnTo>
                    <a:pt x="2407" y="14"/>
                  </a:lnTo>
                  <a:cubicBezTo>
                    <a:pt x="2407" y="8"/>
                    <a:pt x="2406" y="7"/>
                    <a:pt x="2401" y="7"/>
                  </a:cubicBezTo>
                  <a:lnTo>
                    <a:pt x="2380" y="7"/>
                  </a:lnTo>
                  <a:cubicBezTo>
                    <a:pt x="2377" y="7"/>
                    <a:pt x="2376" y="9"/>
                    <a:pt x="2376" y="14"/>
                  </a:cubicBezTo>
                  <a:lnTo>
                    <a:pt x="2376" y="219"/>
                  </a:lnTo>
                  <a:lnTo>
                    <a:pt x="2226" y="13"/>
                  </a:lnTo>
                  <a:close/>
                  <a:moveTo>
                    <a:pt x="2116" y="14"/>
                  </a:moveTo>
                  <a:cubicBezTo>
                    <a:pt x="2116" y="7"/>
                    <a:pt x="2114" y="7"/>
                    <a:pt x="2108" y="7"/>
                  </a:cubicBezTo>
                  <a:lnTo>
                    <a:pt x="2084" y="7"/>
                  </a:lnTo>
                  <a:cubicBezTo>
                    <a:pt x="2079" y="6"/>
                    <a:pt x="2077" y="8"/>
                    <a:pt x="2077" y="15"/>
                  </a:cubicBezTo>
                  <a:lnTo>
                    <a:pt x="2077" y="278"/>
                  </a:lnTo>
                  <a:cubicBezTo>
                    <a:pt x="2077" y="285"/>
                    <a:pt x="2080" y="286"/>
                    <a:pt x="2084" y="286"/>
                  </a:cubicBezTo>
                  <a:lnTo>
                    <a:pt x="2108" y="286"/>
                  </a:lnTo>
                  <a:cubicBezTo>
                    <a:pt x="2114" y="286"/>
                    <a:pt x="2116" y="285"/>
                    <a:pt x="2116" y="278"/>
                  </a:cubicBezTo>
                  <a:lnTo>
                    <a:pt x="2116" y="14"/>
                  </a:lnTo>
                  <a:close/>
                  <a:moveTo>
                    <a:pt x="1792" y="153"/>
                  </a:moveTo>
                  <a:lnTo>
                    <a:pt x="1826" y="59"/>
                  </a:lnTo>
                  <a:lnTo>
                    <a:pt x="1860" y="153"/>
                  </a:lnTo>
                  <a:lnTo>
                    <a:pt x="1792" y="153"/>
                  </a:lnTo>
                  <a:close/>
                  <a:moveTo>
                    <a:pt x="1908" y="280"/>
                  </a:moveTo>
                  <a:cubicBezTo>
                    <a:pt x="1911" y="286"/>
                    <a:pt x="1911" y="286"/>
                    <a:pt x="1918" y="286"/>
                  </a:cubicBezTo>
                  <a:lnTo>
                    <a:pt x="1946" y="286"/>
                  </a:lnTo>
                  <a:cubicBezTo>
                    <a:pt x="1949" y="286"/>
                    <a:pt x="1951" y="286"/>
                    <a:pt x="1951" y="282"/>
                  </a:cubicBezTo>
                  <a:cubicBezTo>
                    <a:pt x="1951" y="280"/>
                    <a:pt x="1951" y="278"/>
                    <a:pt x="1950" y="276"/>
                  </a:cubicBezTo>
                  <a:lnTo>
                    <a:pt x="1846" y="12"/>
                  </a:lnTo>
                  <a:cubicBezTo>
                    <a:pt x="1844" y="7"/>
                    <a:pt x="1843" y="7"/>
                    <a:pt x="1841" y="7"/>
                  </a:cubicBezTo>
                  <a:lnTo>
                    <a:pt x="1823" y="7"/>
                  </a:lnTo>
                  <a:cubicBezTo>
                    <a:pt x="1819" y="7"/>
                    <a:pt x="1818" y="7"/>
                    <a:pt x="1816" y="13"/>
                  </a:cubicBezTo>
                  <a:lnTo>
                    <a:pt x="1713" y="276"/>
                  </a:lnTo>
                  <a:cubicBezTo>
                    <a:pt x="1713" y="277"/>
                    <a:pt x="1711" y="282"/>
                    <a:pt x="1711" y="282"/>
                  </a:cubicBezTo>
                  <a:cubicBezTo>
                    <a:pt x="1711" y="286"/>
                    <a:pt x="1714" y="286"/>
                    <a:pt x="1717" y="286"/>
                  </a:cubicBezTo>
                  <a:lnTo>
                    <a:pt x="1736" y="286"/>
                  </a:lnTo>
                  <a:cubicBezTo>
                    <a:pt x="1741" y="286"/>
                    <a:pt x="1742" y="286"/>
                    <a:pt x="1745" y="279"/>
                  </a:cubicBezTo>
                  <a:lnTo>
                    <a:pt x="1783" y="176"/>
                  </a:lnTo>
                  <a:lnTo>
                    <a:pt x="1869" y="176"/>
                  </a:lnTo>
                  <a:lnTo>
                    <a:pt x="1908" y="280"/>
                  </a:lnTo>
                  <a:close/>
                  <a:moveTo>
                    <a:pt x="1495" y="13"/>
                  </a:moveTo>
                  <a:cubicBezTo>
                    <a:pt x="1491" y="7"/>
                    <a:pt x="1491" y="7"/>
                    <a:pt x="1485" y="7"/>
                  </a:cubicBezTo>
                  <a:lnTo>
                    <a:pt x="1462" y="7"/>
                  </a:lnTo>
                  <a:cubicBezTo>
                    <a:pt x="1456" y="7"/>
                    <a:pt x="1455" y="8"/>
                    <a:pt x="1455" y="14"/>
                  </a:cubicBezTo>
                  <a:lnTo>
                    <a:pt x="1455" y="278"/>
                  </a:lnTo>
                  <a:cubicBezTo>
                    <a:pt x="1455" y="284"/>
                    <a:pt x="1456" y="286"/>
                    <a:pt x="1462" y="286"/>
                  </a:cubicBezTo>
                  <a:cubicBezTo>
                    <a:pt x="1468" y="286"/>
                    <a:pt x="1481" y="286"/>
                    <a:pt x="1482" y="285"/>
                  </a:cubicBezTo>
                  <a:cubicBezTo>
                    <a:pt x="1485" y="285"/>
                    <a:pt x="1486" y="283"/>
                    <a:pt x="1486" y="278"/>
                  </a:cubicBezTo>
                  <a:lnTo>
                    <a:pt x="1486" y="61"/>
                  </a:lnTo>
                  <a:lnTo>
                    <a:pt x="1645" y="280"/>
                  </a:lnTo>
                  <a:cubicBezTo>
                    <a:pt x="1649" y="285"/>
                    <a:pt x="1650" y="285"/>
                    <a:pt x="1654" y="286"/>
                  </a:cubicBezTo>
                  <a:lnTo>
                    <a:pt x="1669" y="286"/>
                  </a:lnTo>
                  <a:cubicBezTo>
                    <a:pt x="1674" y="286"/>
                    <a:pt x="1676" y="285"/>
                    <a:pt x="1676" y="279"/>
                  </a:cubicBezTo>
                  <a:lnTo>
                    <a:pt x="1676" y="14"/>
                  </a:lnTo>
                  <a:cubicBezTo>
                    <a:pt x="1676" y="8"/>
                    <a:pt x="1675" y="7"/>
                    <a:pt x="1670" y="7"/>
                  </a:cubicBezTo>
                  <a:lnTo>
                    <a:pt x="1649" y="7"/>
                  </a:lnTo>
                  <a:cubicBezTo>
                    <a:pt x="1646" y="7"/>
                    <a:pt x="1645" y="9"/>
                    <a:pt x="1645" y="14"/>
                  </a:cubicBezTo>
                  <a:lnTo>
                    <a:pt x="1645" y="219"/>
                  </a:lnTo>
                  <a:lnTo>
                    <a:pt x="1495" y="13"/>
                  </a:lnTo>
                  <a:close/>
                  <a:moveTo>
                    <a:pt x="1260" y="153"/>
                  </a:moveTo>
                  <a:lnTo>
                    <a:pt x="1295" y="59"/>
                  </a:lnTo>
                  <a:lnTo>
                    <a:pt x="1329" y="153"/>
                  </a:lnTo>
                  <a:lnTo>
                    <a:pt x="1260" y="153"/>
                  </a:lnTo>
                  <a:close/>
                  <a:moveTo>
                    <a:pt x="1377" y="280"/>
                  </a:moveTo>
                  <a:cubicBezTo>
                    <a:pt x="1379" y="286"/>
                    <a:pt x="1380" y="286"/>
                    <a:pt x="1387" y="286"/>
                  </a:cubicBezTo>
                  <a:lnTo>
                    <a:pt x="1414" y="286"/>
                  </a:lnTo>
                  <a:cubicBezTo>
                    <a:pt x="1417" y="286"/>
                    <a:pt x="1420" y="286"/>
                    <a:pt x="1420" y="282"/>
                  </a:cubicBezTo>
                  <a:cubicBezTo>
                    <a:pt x="1420" y="280"/>
                    <a:pt x="1419" y="278"/>
                    <a:pt x="1418" y="276"/>
                  </a:cubicBezTo>
                  <a:lnTo>
                    <a:pt x="1314" y="12"/>
                  </a:lnTo>
                  <a:cubicBezTo>
                    <a:pt x="1312" y="7"/>
                    <a:pt x="1312" y="7"/>
                    <a:pt x="1309" y="7"/>
                  </a:cubicBezTo>
                  <a:lnTo>
                    <a:pt x="1292" y="7"/>
                  </a:lnTo>
                  <a:cubicBezTo>
                    <a:pt x="1287" y="7"/>
                    <a:pt x="1286" y="7"/>
                    <a:pt x="1284" y="13"/>
                  </a:cubicBezTo>
                  <a:lnTo>
                    <a:pt x="1181" y="276"/>
                  </a:lnTo>
                  <a:cubicBezTo>
                    <a:pt x="1181" y="277"/>
                    <a:pt x="1179" y="282"/>
                    <a:pt x="1179" y="282"/>
                  </a:cubicBezTo>
                  <a:cubicBezTo>
                    <a:pt x="1179" y="286"/>
                    <a:pt x="1183" y="286"/>
                    <a:pt x="1185" y="286"/>
                  </a:cubicBezTo>
                  <a:lnTo>
                    <a:pt x="1204" y="286"/>
                  </a:lnTo>
                  <a:cubicBezTo>
                    <a:pt x="1209" y="286"/>
                    <a:pt x="1210" y="286"/>
                    <a:pt x="1213" y="279"/>
                  </a:cubicBezTo>
                  <a:lnTo>
                    <a:pt x="1252" y="176"/>
                  </a:lnTo>
                  <a:lnTo>
                    <a:pt x="1337" y="176"/>
                  </a:lnTo>
                  <a:lnTo>
                    <a:pt x="1377" y="280"/>
                  </a:lnTo>
                  <a:close/>
                  <a:moveTo>
                    <a:pt x="1101" y="280"/>
                  </a:moveTo>
                  <a:cubicBezTo>
                    <a:pt x="1102" y="284"/>
                    <a:pt x="1104" y="285"/>
                    <a:pt x="1106" y="286"/>
                  </a:cubicBezTo>
                  <a:lnTo>
                    <a:pt x="1118" y="286"/>
                  </a:lnTo>
                  <a:cubicBezTo>
                    <a:pt x="1122" y="286"/>
                    <a:pt x="1123" y="285"/>
                    <a:pt x="1125" y="279"/>
                  </a:cubicBezTo>
                  <a:lnTo>
                    <a:pt x="1202" y="19"/>
                  </a:lnTo>
                  <a:cubicBezTo>
                    <a:pt x="1204" y="13"/>
                    <a:pt x="1204" y="13"/>
                    <a:pt x="1204" y="11"/>
                  </a:cubicBezTo>
                  <a:cubicBezTo>
                    <a:pt x="1204" y="7"/>
                    <a:pt x="1201" y="7"/>
                    <a:pt x="1199" y="7"/>
                  </a:cubicBezTo>
                  <a:lnTo>
                    <a:pt x="1178" y="7"/>
                  </a:lnTo>
                  <a:cubicBezTo>
                    <a:pt x="1173" y="7"/>
                    <a:pt x="1172" y="8"/>
                    <a:pt x="1170" y="14"/>
                  </a:cubicBezTo>
                  <a:lnTo>
                    <a:pt x="1114" y="216"/>
                  </a:lnTo>
                  <a:lnTo>
                    <a:pt x="1045" y="14"/>
                  </a:lnTo>
                  <a:cubicBezTo>
                    <a:pt x="1043" y="8"/>
                    <a:pt x="1043" y="7"/>
                    <a:pt x="1041" y="7"/>
                  </a:cubicBezTo>
                  <a:lnTo>
                    <a:pt x="1031" y="7"/>
                  </a:lnTo>
                  <a:cubicBezTo>
                    <a:pt x="1028" y="7"/>
                    <a:pt x="1028" y="7"/>
                    <a:pt x="1025" y="16"/>
                  </a:cubicBezTo>
                  <a:lnTo>
                    <a:pt x="959" y="216"/>
                  </a:lnTo>
                  <a:lnTo>
                    <a:pt x="904" y="15"/>
                  </a:lnTo>
                  <a:cubicBezTo>
                    <a:pt x="903" y="7"/>
                    <a:pt x="901" y="6"/>
                    <a:pt x="895" y="7"/>
                  </a:cubicBezTo>
                  <a:lnTo>
                    <a:pt x="870" y="7"/>
                  </a:lnTo>
                  <a:cubicBezTo>
                    <a:pt x="866" y="7"/>
                    <a:pt x="863" y="8"/>
                    <a:pt x="863" y="12"/>
                  </a:cubicBezTo>
                  <a:cubicBezTo>
                    <a:pt x="863" y="13"/>
                    <a:pt x="863" y="13"/>
                    <a:pt x="865" y="19"/>
                  </a:cubicBezTo>
                  <a:lnTo>
                    <a:pt x="942" y="279"/>
                  </a:lnTo>
                  <a:cubicBezTo>
                    <a:pt x="945" y="286"/>
                    <a:pt x="946" y="286"/>
                    <a:pt x="959" y="286"/>
                  </a:cubicBezTo>
                  <a:cubicBezTo>
                    <a:pt x="965" y="286"/>
                    <a:pt x="965" y="285"/>
                    <a:pt x="967" y="279"/>
                  </a:cubicBezTo>
                  <a:lnTo>
                    <a:pt x="1031" y="84"/>
                  </a:lnTo>
                  <a:lnTo>
                    <a:pt x="1101" y="280"/>
                  </a:lnTo>
                  <a:close/>
                  <a:moveTo>
                    <a:pt x="774" y="122"/>
                  </a:moveTo>
                  <a:cubicBezTo>
                    <a:pt x="744" y="109"/>
                    <a:pt x="719" y="98"/>
                    <a:pt x="719" y="67"/>
                  </a:cubicBezTo>
                  <a:cubicBezTo>
                    <a:pt x="719" y="44"/>
                    <a:pt x="737" y="24"/>
                    <a:pt x="763" y="24"/>
                  </a:cubicBezTo>
                  <a:cubicBezTo>
                    <a:pt x="789" y="24"/>
                    <a:pt x="800" y="41"/>
                    <a:pt x="808" y="53"/>
                  </a:cubicBezTo>
                  <a:cubicBezTo>
                    <a:pt x="812" y="60"/>
                    <a:pt x="817" y="67"/>
                    <a:pt x="827" y="67"/>
                  </a:cubicBezTo>
                  <a:cubicBezTo>
                    <a:pt x="837" y="67"/>
                    <a:pt x="844" y="59"/>
                    <a:pt x="844" y="49"/>
                  </a:cubicBezTo>
                  <a:cubicBezTo>
                    <a:pt x="844" y="29"/>
                    <a:pt x="813" y="1"/>
                    <a:pt x="765" y="1"/>
                  </a:cubicBezTo>
                  <a:cubicBezTo>
                    <a:pt x="714" y="1"/>
                    <a:pt x="683" y="33"/>
                    <a:pt x="683" y="75"/>
                  </a:cubicBezTo>
                  <a:cubicBezTo>
                    <a:pt x="683" y="122"/>
                    <a:pt x="723" y="141"/>
                    <a:pt x="739" y="149"/>
                  </a:cubicBezTo>
                  <a:lnTo>
                    <a:pt x="760" y="159"/>
                  </a:lnTo>
                  <a:cubicBezTo>
                    <a:pt x="791" y="173"/>
                    <a:pt x="819" y="187"/>
                    <a:pt x="819" y="221"/>
                  </a:cubicBezTo>
                  <a:cubicBezTo>
                    <a:pt x="819" y="246"/>
                    <a:pt x="800" y="267"/>
                    <a:pt x="770" y="267"/>
                  </a:cubicBezTo>
                  <a:cubicBezTo>
                    <a:pt x="737" y="267"/>
                    <a:pt x="724" y="242"/>
                    <a:pt x="718" y="230"/>
                  </a:cubicBezTo>
                  <a:cubicBezTo>
                    <a:pt x="714" y="221"/>
                    <a:pt x="709" y="213"/>
                    <a:pt x="698" y="213"/>
                  </a:cubicBezTo>
                  <a:cubicBezTo>
                    <a:pt x="689" y="213"/>
                    <a:pt x="679" y="219"/>
                    <a:pt x="679" y="232"/>
                  </a:cubicBezTo>
                  <a:cubicBezTo>
                    <a:pt x="679" y="249"/>
                    <a:pt x="703" y="292"/>
                    <a:pt x="768" y="292"/>
                  </a:cubicBezTo>
                  <a:cubicBezTo>
                    <a:pt x="819" y="292"/>
                    <a:pt x="856" y="259"/>
                    <a:pt x="856" y="212"/>
                  </a:cubicBezTo>
                  <a:cubicBezTo>
                    <a:pt x="856" y="162"/>
                    <a:pt x="815" y="142"/>
                    <a:pt x="795" y="132"/>
                  </a:cubicBezTo>
                  <a:lnTo>
                    <a:pt x="774" y="122"/>
                  </a:lnTo>
                  <a:close/>
                  <a:moveTo>
                    <a:pt x="661" y="32"/>
                  </a:moveTo>
                  <a:cubicBezTo>
                    <a:pt x="667" y="32"/>
                    <a:pt x="669" y="30"/>
                    <a:pt x="669" y="25"/>
                  </a:cubicBezTo>
                  <a:cubicBezTo>
                    <a:pt x="669" y="8"/>
                    <a:pt x="669" y="7"/>
                    <a:pt x="661" y="7"/>
                  </a:cubicBezTo>
                  <a:lnTo>
                    <a:pt x="482" y="7"/>
                  </a:lnTo>
                  <a:cubicBezTo>
                    <a:pt x="475" y="7"/>
                    <a:pt x="475" y="9"/>
                    <a:pt x="475" y="24"/>
                  </a:cubicBezTo>
                  <a:cubicBezTo>
                    <a:pt x="475" y="30"/>
                    <a:pt x="476" y="32"/>
                    <a:pt x="482" y="32"/>
                  </a:cubicBezTo>
                  <a:lnTo>
                    <a:pt x="552" y="32"/>
                  </a:lnTo>
                  <a:lnTo>
                    <a:pt x="552" y="278"/>
                  </a:lnTo>
                  <a:cubicBezTo>
                    <a:pt x="553" y="285"/>
                    <a:pt x="555" y="286"/>
                    <a:pt x="561" y="286"/>
                  </a:cubicBezTo>
                  <a:lnTo>
                    <a:pt x="584" y="286"/>
                  </a:lnTo>
                  <a:cubicBezTo>
                    <a:pt x="590" y="286"/>
                    <a:pt x="591" y="284"/>
                    <a:pt x="591" y="278"/>
                  </a:cubicBezTo>
                  <a:lnTo>
                    <a:pt x="591" y="32"/>
                  </a:lnTo>
                  <a:lnTo>
                    <a:pt x="661" y="32"/>
                  </a:lnTo>
                  <a:close/>
                  <a:moveTo>
                    <a:pt x="433" y="139"/>
                  </a:moveTo>
                  <a:cubicBezTo>
                    <a:pt x="433" y="161"/>
                    <a:pt x="433" y="198"/>
                    <a:pt x="413" y="227"/>
                  </a:cubicBezTo>
                  <a:cubicBezTo>
                    <a:pt x="396" y="254"/>
                    <a:pt x="370" y="265"/>
                    <a:pt x="348" y="265"/>
                  </a:cubicBezTo>
                  <a:cubicBezTo>
                    <a:pt x="312" y="265"/>
                    <a:pt x="276" y="238"/>
                    <a:pt x="265" y="185"/>
                  </a:cubicBezTo>
                  <a:cubicBezTo>
                    <a:pt x="263" y="173"/>
                    <a:pt x="261" y="159"/>
                    <a:pt x="261" y="144"/>
                  </a:cubicBezTo>
                  <a:cubicBezTo>
                    <a:pt x="261" y="98"/>
                    <a:pt x="273" y="55"/>
                    <a:pt x="310" y="34"/>
                  </a:cubicBezTo>
                  <a:cubicBezTo>
                    <a:pt x="321" y="28"/>
                    <a:pt x="334" y="24"/>
                    <a:pt x="347" y="24"/>
                  </a:cubicBezTo>
                  <a:cubicBezTo>
                    <a:pt x="377" y="24"/>
                    <a:pt x="431" y="46"/>
                    <a:pt x="433" y="139"/>
                  </a:cubicBezTo>
                  <a:close/>
                  <a:moveTo>
                    <a:pt x="474" y="138"/>
                  </a:moveTo>
                  <a:cubicBezTo>
                    <a:pt x="471" y="69"/>
                    <a:pt x="430" y="0"/>
                    <a:pt x="348" y="0"/>
                  </a:cubicBezTo>
                  <a:cubicBezTo>
                    <a:pt x="260" y="0"/>
                    <a:pt x="220" y="76"/>
                    <a:pt x="220" y="146"/>
                  </a:cubicBezTo>
                  <a:cubicBezTo>
                    <a:pt x="220" y="232"/>
                    <a:pt x="275" y="292"/>
                    <a:pt x="348" y="292"/>
                  </a:cubicBezTo>
                  <a:cubicBezTo>
                    <a:pt x="424" y="292"/>
                    <a:pt x="478" y="224"/>
                    <a:pt x="474" y="138"/>
                  </a:cubicBezTo>
                  <a:close/>
                  <a:moveTo>
                    <a:pt x="39" y="150"/>
                  </a:moveTo>
                  <a:cubicBezTo>
                    <a:pt x="48" y="150"/>
                    <a:pt x="54" y="149"/>
                    <a:pt x="65" y="149"/>
                  </a:cubicBezTo>
                  <a:cubicBezTo>
                    <a:pt x="87" y="149"/>
                    <a:pt x="115" y="150"/>
                    <a:pt x="133" y="171"/>
                  </a:cubicBezTo>
                  <a:cubicBezTo>
                    <a:pt x="139" y="177"/>
                    <a:pt x="147" y="190"/>
                    <a:pt x="147" y="211"/>
                  </a:cubicBezTo>
                  <a:cubicBezTo>
                    <a:pt x="147" y="250"/>
                    <a:pt x="115" y="265"/>
                    <a:pt x="72" y="265"/>
                  </a:cubicBezTo>
                  <a:cubicBezTo>
                    <a:pt x="57" y="265"/>
                    <a:pt x="46" y="264"/>
                    <a:pt x="39" y="263"/>
                  </a:cubicBezTo>
                  <a:lnTo>
                    <a:pt x="39" y="150"/>
                  </a:lnTo>
                  <a:close/>
                  <a:moveTo>
                    <a:pt x="39" y="29"/>
                  </a:moveTo>
                  <a:cubicBezTo>
                    <a:pt x="47" y="28"/>
                    <a:pt x="56" y="27"/>
                    <a:pt x="67" y="27"/>
                  </a:cubicBezTo>
                  <a:cubicBezTo>
                    <a:pt x="80" y="27"/>
                    <a:pt x="130" y="27"/>
                    <a:pt x="130" y="78"/>
                  </a:cubicBezTo>
                  <a:cubicBezTo>
                    <a:pt x="130" y="92"/>
                    <a:pt x="124" y="125"/>
                    <a:pt x="72" y="129"/>
                  </a:cubicBezTo>
                  <a:cubicBezTo>
                    <a:pt x="61" y="130"/>
                    <a:pt x="51" y="130"/>
                    <a:pt x="39" y="129"/>
                  </a:cubicBezTo>
                  <a:lnTo>
                    <a:pt x="39" y="29"/>
                  </a:lnTo>
                  <a:close/>
                  <a:moveTo>
                    <a:pt x="0" y="270"/>
                  </a:moveTo>
                  <a:cubicBezTo>
                    <a:pt x="0" y="279"/>
                    <a:pt x="1" y="281"/>
                    <a:pt x="6" y="283"/>
                  </a:cubicBezTo>
                  <a:cubicBezTo>
                    <a:pt x="13" y="285"/>
                    <a:pt x="38" y="288"/>
                    <a:pt x="65" y="288"/>
                  </a:cubicBezTo>
                  <a:cubicBezTo>
                    <a:pt x="95" y="288"/>
                    <a:pt x="189" y="288"/>
                    <a:pt x="189" y="212"/>
                  </a:cubicBezTo>
                  <a:cubicBezTo>
                    <a:pt x="189" y="177"/>
                    <a:pt x="168" y="148"/>
                    <a:pt x="127" y="138"/>
                  </a:cubicBezTo>
                  <a:cubicBezTo>
                    <a:pt x="124" y="138"/>
                    <a:pt x="121" y="137"/>
                    <a:pt x="118" y="136"/>
                  </a:cubicBezTo>
                  <a:cubicBezTo>
                    <a:pt x="121" y="135"/>
                    <a:pt x="124" y="134"/>
                    <a:pt x="127" y="132"/>
                  </a:cubicBezTo>
                  <a:cubicBezTo>
                    <a:pt x="146" y="123"/>
                    <a:pt x="170" y="104"/>
                    <a:pt x="170" y="71"/>
                  </a:cubicBezTo>
                  <a:cubicBezTo>
                    <a:pt x="170" y="51"/>
                    <a:pt x="161" y="32"/>
                    <a:pt x="142" y="20"/>
                  </a:cubicBezTo>
                  <a:cubicBezTo>
                    <a:pt x="120" y="7"/>
                    <a:pt x="90" y="4"/>
                    <a:pt x="67" y="4"/>
                  </a:cubicBezTo>
                  <a:cubicBezTo>
                    <a:pt x="49" y="4"/>
                    <a:pt x="16" y="6"/>
                    <a:pt x="6" y="9"/>
                  </a:cubicBezTo>
                  <a:cubicBezTo>
                    <a:pt x="1" y="11"/>
                    <a:pt x="0" y="13"/>
                    <a:pt x="0" y="20"/>
                  </a:cubicBezTo>
                  <a:lnTo>
                    <a:pt x="0" y="27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7" name="Line 19">
            <a:extLst>
              <a:ext uri="{FF2B5EF4-FFF2-40B4-BE49-F238E27FC236}">
                <a16:creationId xmlns:a16="http://schemas.microsoft.com/office/drawing/2014/main" id="{482590BD-5095-7762-2047-2D7064FD3A55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113" y="6738674"/>
            <a:ext cx="12169775" cy="0"/>
          </a:xfrm>
          <a:prstGeom prst="line">
            <a:avLst/>
          </a:prstGeom>
          <a:noFill/>
          <a:ln w="4763" cap="flat">
            <a:solidFill>
              <a:srgbClr val="0B2C3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9EA7096-A15E-4F62-AD38-42EA8DD3E826}"/>
              </a:ext>
            </a:extLst>
          </p:cNvPr>
          <p:cNvSpPr/>
          <p:nvPr userDrawn="1"/>
        </p:nvSpPr>
        <p:spPr>
          <a:xfrm>
            <a:off x="5785644" y="6678467"/>
            <a:ext cx="620713" cy="1253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251C613E-E48F-4F3B-8AF2-F2BF84B22DA6}" type="slidenum">
              <a:rPr lang="en-US" sz="800" smtClean="0">
                <a:solidFill>
                  <a:schemeClr val="bg1"/>
                </a:solidFill>
              </a:rPr>
              <a:pPr algn="ctr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C3D351E6-780F-DA23-BB1A-E59D50AE76D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438689" y="6440978"/>
            <a:ext cx="1535537" cy="248805"/>
          </a:xfrm>
          <a:custGeom>
            <a:avLst/>
            <a:gdLst>
              <a:gd name="T0" fmla="*/ 301 w 7261"/>
              <a:gd name="T1" fmla="*/ 300 h 1168"/>
              <a:gd name="T2" fmla="*/ 330 w 7261"/>
              <a:gd name="T3" fmla="*/ 336 h 1168"/>
              <a:gd name="T4" fmla="*/ 293 w 7261"/>
              <a:gd name="T5" fmla="*/ 325 h 1168"/>
              <a:gd name="T6" fmla="*/ 362 w 7261"/>
              <a:gd name="T7" fmla="*/ 18 h 1168"/>
              <a:gd name="T8" fmla="*/ 248 w 7261"/>
              <a:gd name="T9" fmla="*/ 547 h 1168"/>
              <a:gd name="T10" fmla="*/ 262 w 7261"/>
              <a:gd name="T11" fmla="*/ 492 h 1168"/>
              <a:gd name="T12" fmla="*/ 42 w 7261"/>
              <a:gd name="T13" fmla="*/ 307 h 1168"/>
              <a:gd name="T14" fmla="*/ 407 w 7261"/>
              <a:gd name="T15" fmla="*/ 709 h 1168"/>
              <a:gd name="T16" fmla="*/ 342 w 7261"/>
              <a:gd name="T17" fmla="*/ 701 h 1168"/>
              <a:gd name="T18" fmla="*/ 578 w 7261"/>
              <a:gd name="T19" fmla="*/ 673 h 1168"/>
              <a:gd name="T20" fmla="*/ 781 w 7261"/>
              <a:gd name="T21" fmla="*/ 632 h 1168"/>
              <a:gd name="T22" fmla="*/ 655 w 7261"/>
              <a:gd name="T23" fmla="*/ 1062 h 1168"/>
              <a:gd name="T24" fmla="*/ 836 w 7261"/>
              <a:gd name="T25" fmla="*/ 625 h 1168"/>
              <a:gd name="T26" fmla="*/ 856 w 7261"/>
              <a:gd name="T27" fmla="*/ 464 h 1168"/>
              <a:gd name="T28" fmla="*/ 742 w 7261"/>
              <a:gd name="T29" fmla="*/ 706 h 1168"/>
              <a:gd name="T30" fmla="*/ 1138 w 7261"/>
              <a:gd name="T31" fmla="*/ 451 h 1168"/>
              <a:gd name="T32" fmla="*/ 1061 w 7261"/>
              <a:gd name="T33" fmla="*/ 705 h 1168"/>
              <a:gd name="T34" fmla="*/ 1398 w 7261"/>
              <a:gd name="T35" fmla="*/ 748 h 1168"/>
              <a:gd name="T36" fmla="*/ 1419 w 7261"/>
              <a:gd name="T37" fmla="*/ 710 h 1168"/>
              <a:gd name="T38" fmla="*/ 1664 w 7261"/>
              <a:gd name="T39" fmla="*/ 636 h 1168"/>
              <a:gd name="T40" fmla="*/ 1558 w 7261"/>
              <a:gd name="T41" fmla="*/ 591 h 1168"/>
              <a:gd name="T42" fmla="*/ 1810 w 7261"/>
              <a:gd name="T43" fmla="*/ 579 h 1168"/>
              <a:gd name="T44" fmla="*/ 1995 w 7261"/>
              <a:gd name="T45" fmla="*/ 676 h 1168"/>
              <a:gd name="T46" fmla="*/ 1951 w 7261"/>
              <a:gd name="T47" fmla="*/ 345 h 1168"/>
              <a:gd name="T48" fmla="*/ 2542 w 7261"/>
              <a:gd name="T49" fmla="*/ 667 h 1168"/>
              <a:gd name="T50" fmla="*/ 2153 w 7261"/>
              <a:gd name="T51" fmla="*/ 730 h 1168"/>
              <a:gd name="T52" fmla="*/ 2649 w 7261"/>
              <a:gd name="T53" fmla="*/ 580 h 1168"/>
              <a:gd name="T54" fmla="*/ 2796 w 7261"/>
              <a:gd name="T55" fmla="*/ 819 h 1168"/>
              <a:gd name="T56" fmla="*/ 2526 w 7261"/>
              <a:gd name="T57" fmla="*/ 1001 h 1168"/>
              <a:gd name="T58" fmla="*/ 2745 w 7261"/>
              <a:gd name="T59" fmla="*/ 910 h 1168"/>
              <a:gd name="T60" fmla="*/ 3223 w 7261"/>
              <a:gd name="T61" fmla="*/ 358 h 1168"/>
              <a:gd name="T62" fmla="*/ 3498 w 7261"/>
              <a:gd name="T63" fmla="*/ 672 h 1168"/>
              <a:gd name="T64" fmla="*/ 3231 w 7261"/>
              <a:gd name="T65" fmla="*/ 443 h 1168"/>
              <a:gd name="T66" fmla="*/ 3683 w 7261"/>
              <a:gd name="T67" fmla="*/ 559 h 1168"/>
              <a:gd name="T68" fmla="*/ 3687 w 7261"/>
              <a:gd name="T69" fmla="*/ 727 h 1168"/>
              <a:gd name="T70" fmla="*/ 3988 w 7261"/>
              <a:gd name="T71" fmla="*/ 749 h 1168"/>
              <a:gd name="T72" fmla="*/ 4175 w 7261"/>
              <a:gd name="T73" fmla="*/ 553 h 1168"/>
              <a:gd name="T74" fmla="*/ 4032 w 7261"/>
              <a:gd name="T75" fmla="*/ 556 h 1168"/>
              <a:gd name="T76" fmla="*/ 4585 w 7261"/>
              <a:gd name="T77" fmla="*/ 663 h 1168"/>
              <a:gd name="T78" fmla="*/ 4400 w 7261"/>
              <a:gd name="T79" fmla="*/ 581 h 1168"/>
              <a:gd name="T80" fmla="*/ 4387 w 7261"/>
              <a:gd name="T81" fmla="*/ 744 h 1168"/>
              <a:gd name="T82" fmla="*/ 4908 w 7261"/>
              <a:gd name="T83" fmla="*/ 206 h 1168"/>
              <a:gd name="T84" fmla="*/ 5107 w 7261"/>
              <a:gd name="T85" fmla="*/ 666 h 1168"/>
              <a:gd name="T86" fmla="*/ 4742 w 7261"/>
              <a:gd name="T87" fmla="*/ 600 h 1168"/>
              <a:gd name="T88" fmla="*/ 5616 w 7261"/>
              <a:gd name="T89" fmla="*/ 539 h 1168"/>
              <a:gd name="T90" fmla="*/ 5520 w 7261"/>
              <a:gd name="T91" fmla="*/ 625 h 1168"/>
              <a:gd name="T92" fmla="*/ 5641 w 7261"/>
              <a:gd name="T93" fmla="*/ 707 h 1168"/>
              <a:gd name="T94" fmla="*/ 5597 w 7261"/>
              <a:gd name="T95" fmla="*/ 755 h 1168"/>
              <a:gd name="T96" fmla="*/ 5626 w 7261"/>
              <a:gd name="T97" fmla="*/ 559 h 1168"/>
              <a:gd name="T98" fmla="*/ 5787 w 7261"/>
              <a:gd name="T99" fmla="*/ 324 h 1168"/>
              <a:gd name="T100" fmla="*/ 6014 w 7261"/>
              <a:gd name="T101" fmla="*/ 615 h 1168"/>
              <a:gd name="T102" fmla="*/ 6128 w 7261"/>
              <a:gd name="T103" fmla="*/ 522 h 1168"/>
              <a:gd name="T104" fmla="*/ 6321 w 7261"/>
              <a:gd name="T105" fmla="*/ 510 h 1168"/>
              <a:gd name="T106" fmla="*/ 6091 w 7261"/>
              <a:gd name="T107" fmla="*/ 500 h 1168"/>
              <a:gd name="T108" fmla="*/ 6149 w 7261"/>
              <a:gd name="T109" fmla="*/ 684 h 1168"/>
              <a:gd name="T110" fmla="*/ 6412 w 7261"/>
              <a:gd name="T111" fmla="*/ 628 h 1168"/>
              <a:gd name="T112" fmla="*/ 7015 w 7261"/>
              <a:gd name="T113" fmla="*/ 609 h 1168"/>
              <a:gd name="T114" fmla="*/ 6533 w 7261"/>
              <a:gd name="T115" fmla="*/ 718 h 1168"/>
              <a:gd name="T116" fmla="*/ 6651 w 7261"/>
              <a:gd name="T117" fmla="*/ 603 h 1168"/>
              <a:gd name="T118" fmla="*/ 6776 w 7261"/>
              <a:gd name="T119" fmla="*/ 380 h 1168"/>
              <a:gd name="T120" fmla="*/ 6771 w 7261"/>
              <a:gd name="T121" fmla="*/ 479 h 1168"/>
              <a:gd name="T122" fmla="*/ 6731 w 7261"/>
              <a:gd name="T123" fmla="*/ 718 h 1168"/>
              <a:gd name="T124" fmla="*/ 7147 w 7261"/>
              <a:gd name="T125" fmla="*/ 591 h 1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261" h="1168">
                <a:moveTo>
                  <a:pt x="103" y="1015"/>
                </a:moveTo>
                <a:cubicBezTo>
                  <a:pt x="100" y="1015"/>
                  <a:pt x="97" y="1014"/>
                  <a:pt x="94" y="1013"/>
                </a:cubicBezTo>
                <a:cubicBezTo>
                  <a:pt x="92" y="1012"/>
                  <a:pt x="89" y="1012"/>
                  <a:pt x="87" y="1012"/>
                </a:cubicBezTo>
                <a:cubicBezTo>
                  <a:pt x="84" y="1013"/>
                  <a:pt x="82" y="1014"/>
                  <a:pt x="79" y="1014"/>
                </a:cubicBezTo>
                <a:cubicBezTo>
                  <a:pt x="74" y="1014"/>
                  <a:pt x="69" y="1012"/>
                  <a:pt x="66" y="1007"/>
                </a:cubicBezTo>
                <a:cubicBezTo>
                  <a:pt x="62" y="1001"/>
                  <a:pt x="60" y="995"/>
                  <a:pt x="60" y="990"/>
                </a:cubicBezTo>
                <a:cubicBezTo>
                  <a:pt x="60" y="987"/>
                  <a:pt x="61" y="986"/>
                  <a:pt x="62" y="985"/>
                </a:cubicBezTo>
                <a:cubicBezTo>
                  <a:pt x="64" y="983"/>
                  <a:pt x="64" y="982"/>
                  <a:pt x="64" y="980"/>
                </a:cubicBezTo>
                <a:cubicBezTo>
                  <a:pt x="64" y="978"/>
                  <a:pt x="65" y="977"/>
                  <a:pt x="66" y="977"/>
                </a:cubicBezTo>
                <a:lnTo>
                  <a:pt x="67" y="977"/>
                </a:lnTo>
                <a:cubicBezTo>
                  <a:pt x="67" y="977"/>
                  <a:pt x="68" y="977"/>
                  <a:pt x="68" y="976"/>
                </a:cubicBezTo>
                <a:lnTo>
                  <a:pt x="67" y="973"/>
                </a:lnTo>
                <a:cubicBezTo>
                  <a:pt x="67" y="970"/>
                  <a:pt x="68" y="968"/>
                  <a:pt x="69" y="968"/>
                </a:cubicBezTo>
                <a:cubicBezTo>
                  <a:pt x="69" y="968"/>
                  <a:pt x="70" y="966"/>
                  <a:pt x="70" y="963"/>
                </a:cubicBezTo>
                <a:lnTo>
                  <a:pt x="69" y="961"/>
                </a:lnTo>
                <a:cubicBezTo>
                  <a:pt x="69" y="960"/>
                  <a:pt x="69" y="960"/>
                  <a:pt x="70" y="960"/>
                </a:cubicBezTo>
                <a:cubicBezTo>
                  <a:pt x="71" y="960"/>
                  <a:pt x="71" y="958"/>
                  <a:pt x="71" y="954"/>
                </a:cubicBezTo>
                <a:lnTo>
                  <a:pt x="70" y="951"/>
                </a:lnTo>
                <a:cubicBezTo>
                  <a:pt x="71" y="951"/>
                  <a:pt x="71" y="951"/>
                  <a:pt x="71" y="951"/>
                </a:cubicBezTo>
                <a:cubicBezTo>
                  <a:pt x="71" y="952"/>
                  <a:pt x="71" y="952"/>
                  <a:pt x="72" y="952"/>
                </a:cubicBezTo>
                <a:cubicBezTo>
                  <a:pt x="72" y="952"/>
                  <a:pt x="74" y="948"/>
                  <a:pt x="77" y="938"/>
                </a:cubicBezTo>
                <a:cubicBezTo>
                  <a:pt x="80" y="929"/>
                  <a:pt x="81" y="924"/>
                  <a:pt x="81" y="921"/>
                </a:cubicBezTo>
                <a:lnTo>
                  <a:pt x="81" y="918"/>
                </a:lnTo>
                <a:lnTo>
                  <a:pt x="82" y="916"/>
                </a:lnTo>
                <a:cubicBezTo>
                  <a:pt x="82" y="916"/>
                  <a:pt x="84" y="914"/>
                  <a:pt x="85" y="911"/>
                </a:cubicBezTo>
                <a:cubicBezTo>
                  <a:pt x="87" y="903"/>
                  <a:pt x="89" y="895"/>
                  <a:pt x="90" y="887"/>
                </a:cubicBezTo>
                <a:cubicBezTo>
                  <a:pt x="90" y="884"/>
                  <a:pt x="90" y="882"/>
                  <a:pt x="91" y="882"/>
                </a:cubicBezTo>
                <a:lnTo>
                  <a:pt x="92" y="883"/>
                </a:lnTo>
                <a:cubicBezTo>
                  <a:pt x="92" y="883"/>
                  <a:pt x="92" y="884"/>
                  <a:pt x="92" y="884"/>
                </a:cubicBezTo>
                <a:cubicBezTo>
                  <a:pt x="93" y="884"/>
                  <a:pt x="93" y="883"/>
                  <a:pt x="93" y="881"/>
                </a:cubicBezTo>
                <a:cubicBezTo>
                  <a:pt x="93" y="879"/>
                  <a:pt x="94" y="878"/>
                  <a:pt x="95" y="878"/>
                </a:cubicBezTo>
                <a:cubicBezTo>
                  <a:pt x="96" y="878"/>
                  <a:pt x="97" y="872"/>
                  <a:pt x="98" y="861"/>
                </a:cubicBezTo>
                <a:cubicBezTo>
                  <a:pt x="98" y="859"/>
                  <a:pt x="98" y="857"/>
                  <a:pt x="99" y="857"/>
                </a:cubicBezTo>
                <a:lnTo>
                  <a:pt x="99" y="857"/>
                </a:lnTo>
                <a:cubicBezTo>
                  <a:pt x="100" y="857"/>
                  <a:pt x="100" y="856"/>
                  <a:pt x="101" y="854"/>
                </a:cubicBezTo>
                <a:cubicBezTo>
                  <a:pt x="103" y="848"/>
                  <a:pt x="104" y="844"/>
                  <a:pt x="104" y="841"/>
                </a:cubicBezTo>
                <a:cubicBezTo>
                  <a:pt x="104" y="840"/>
                  <a:pt x="104" y="839"/>
                  <a:pt x="104" y="839"/>
                </a:cubicBezTo>
                <a:cubicBezTo>
                  <a:pt x="103" y="838"/>
                  <a:pt x="103" y="838"/>
                  <a:pt x="103" y="838"/>
                </a:cubicBezTo>
                <a:lnTo>
                  <a:pt x="105" y="838"/>
                </a:lnTo>
                <a:cubicBezTo>
                  <a:pt x="105" y="838"/>
                  <a:pt x="106" y="838"/>
                  <a:pt x="107" y="836"/>
                </a:cubicBezTo>
                <a:cubicBezTo>
                  <a:pt x="108" y="835"/>
                  <a:pt x="109" y="833"/>
                  <a:pt x="109" y="831"/>
                </a:cubicBezTo>
                <a:cubicBezTo>
                  <a:pt x="109" y="829"/>
                  <a:pt x="110" y="827"/>
                  <a:pt x="110" y="826"/>
                </a:cubicBezTo>
                <a:cubicBezTo>
                  <a:pt x="110" y="825"/>
                  <a:pt x="110" y="824"/>
                  <a:pt x="109" y="823"/>
                </a:cubicBezTo>
                <a:cubicBezTo>
                  <a:pt x="109" y="823"/>
                  <a:pt x="109" y="822"/>
                  <a:pt x="109" y="821"/>
                </a:cubicBezTo>
                <a:cubicBezTo>
                  <a:pt x="109" y="820"/>
                  <a:pt x="109" y="818"/>
                  <a:pt x="110" y="816"/>
                </a:cubicBezTo>
                <a:cubicBezTo>
                  <a:pt x="110" y="813"/>
                  <a:pt x="111" y="812"/>
                  <a:pt x="112" y="810"/>
                </a:cubicBezTo>
                <a:cubicBezTo>
                  <a:pt x="113" y="809"/>
                  <a:pt x="114" y="808"/>
                  <a:pt x="114" y="808"/>
                </a:cubicBezTo>
                <a:lnTo>
                  <a:pt x="115" y="808"/>
                </a:lnTo>
                <a:cubicBezTo>
                  <a:pt x="115" y="808"/>
                  <a:pt x="115" y="808"/>
                  <a:pt x="115" y="807"/>
                </a:cubicBezTo>
                <a:cubicBezTo>
                  <a:pt x="115" y="807"/>
                  <a:pt x="115" y="806"/>
                  <a:pt x="115" y="806"/>
                </a:cubicBezTo>
                <a:cubicBezTo>
                  <a:pt x="115" y="805"/>
                  <a:pt x="115" y="805"/>
                  <a:pt x="115" y="804"/>
                </a:cubicBezTo>
                <a:cubicBezTo>
                  <a:pt x="115" y="802"/>
                  <a:pt x="115" y="800"/>
                  <a:pt x="115" y="798"/>
                </a:cubicBezTo>
                <a:cubicBezTo>
                  <a:pt x="117" y="792"/>
                  <a:pt x="119" y="790"/>
                  <a:pt x="120" y="790"/>
                </a:cubicBezTo>
                <a:lnTo>
                  <a:pt x="120" y="790"/>
                </a:lnTo>
                <a:cubicBezTo>
                  <a:pt x="120" y="790"/>
                  <a:pt x="121" y="789"/>
                  <a:pt x="121" y="786"/>
                </a:cubicBezTo>
                <a:lnTo>
                  <a:pt x="120" y="784"/>
                </a:lnTo>
                <a:cubicBezTo>
                  <a:pt x="120" y="783"/>
                  <a:pt x="120" y="783"/>
                  <a:pt x="121" y="783"/>
                </a:cubicBezTo>
                <a:lnTo>
                  <a:pt x="122" y="784"/>
                </a:lnTo>
                <a:cubicBezTo>
                  <a:pt x="122" y="784"/>
                  <a:pt x="123" y="782"/>
                  <a:pt x="123" y="780"/>
                </a:cubicBezTo>
                <a:lnTo>
                  <a:pt x="122" y="778"/>
                </a:lnTo>
                <a:cubicBezTo>
                  <a:pt x="122" y="777"/>
                  <a:pt x="122" y="777"/>
                  <a:pt x="123" y="777"/>
                </a:cubicBezTo>
                <a:lnTo>
                  <a:pt x="125" y="778"/>
                </a:lnTo>
                <a:lnTo>
                  <a:pt x="125" y="776"/>
                </a:lnTo>
                <a:cubicBezTo>
                  <a:pt x="125" y="774"/>
                  <a:pt x="127" y="765"/>
                  <a:pt x="132" y="750"/>
                </a:cubicBezTo>
                <a:cubicBezTo>
                  <a:pt x="136" y="737"/>
                  <a:pt x="139" y="729"/>
                  <a:pt x="139" y="726"/>
                </a:cubicBezTo>
                <a:cubicBezTo>
                  <a:pt x="139" y="725"/>
                  <a:pt x="138" y="725"/>
                  <a:pt x="138" y="725"/>
                </a:cubicBezTo>
                <a:cubicBezTo>
                  <a:pt x="137" y="725"/>
                  <a:pt x="137" y="726"/>
                  <a:pt x="135" y="728"/>
                </a:cubicBezTo>
                <a:lnTo>
                  <a:pt x="134" y="729"/>
                </a:lnTo>
                <a:cubicBezTo>
                  <a:pt x="134" y="728"/>
                  <a:pt x="134" y="728"/>
                  <a:pt x="135" y="726"/>
                </a:cubicBezTo>
                <a:cubicBezTo>
                  <a:pt x="135" y="725"/>
                  <a:pt x="136" y="723"/>
                  <a:pt x="136" y="722"/>
                </a:cubicBezTo>
                <a:lnTo>
                  <a:pt x="141" y="723"/>
                </a:lnTo>
                <a:cubicBezTo>
                  <a:pt x="141" y="722"/>
                  <a:pt x="146" y="708"/>
                  <a:pt x="154" y="683"/>
                </a:cubicBezTo>
                <a:cubicBezTo>
                  <a:pt x="163" y="657"/>
                  <a:pt x="167" y="644"/>
                  <a:pt x="167" y="644"/>
                </a:cubicBezTo>
                <a:cubicBezTo>
                  <a:pt x="167" y="643"/>
                  <a:pt x="167" y="643"/>
                  <a:pt x="167" y="643"/>
                </a:cubicBezTo>
                <a:cubicBezTo>
                  <a:pt x="166" y="643"/>
                  <a:pt x="163" y="649"/>
                  <a:pt x="159" y="661"/>
                </a:cubicBezTo>
                <a:cubicBezTo>
                  <a:pt x="154" y="671"/>
                  <a:pt x="151" y="676"/>
                  <a:pt x="150" y="676"/>
                </a:cubicBezTo>
                <a:cubicBezTo>
                  <a:pt x="149" y="676"/>
                  <a:pt x="148" y="677"/>
                  <a:pt x="148" y="677"/>
                </a:cubicBezTo>
                <a:cubicBezTo>
                  <a:pt x="148" y="677"/>
                  <a:pt x="148" y="678"/>
                  <a:pt x="149" y="678"/>
                </a:cubicBezTo>
                <a:cubicBezTo>
                  <a:pt x="151" y="679"/>
                  <a:pt x="151" y="680"/>
                  <a:pt x="151" y="681"/>
                </a:cubicBezTo>
                <a:cubicBezTo>
                  <a:pt x="151" y="683"/>
                  <a:pt x="151" y="684"/>
                  <a:pt x="149" y="684"/>
                </a:cubicBezTo>
                <a:lnTo>
                  <a:pt x="145" y="683"/>
                </a:lnTo>
                <a:cubicBezTo>
                  <a:pt x="145" y="683"/>
                  <a:pt x="146" y="684"/>
                  <a:pt x="147" y="686"/>
                </a:cubicBezTo>
                <a:cubicBezTo>
                  <a:pt x="149" y="687"/>
                  <a:pt x="149" y="688"/>
                  <a:pt x="149" y="689"/>
                </a:cubicBezTo>
                <a:cubicBezTo>
                  <a:pt x="149" y="689"/>
                  <a:pt x="149" y="690"/>
                  <a:pt x="148" y="690"/>
                </a:cubicBezTo>
                <a:lnTo>
                  <a:pt x="143" y="687"/>
                </a:lnTo>
                <a:cubicBezTo>
                  <a:pt x="143" y="687"/>
                  <a:pt x="144" y="689"/>
                  <a:pt x="145" y="691"/>
                </a:cubicBezTo>
                <a:cubicBezTo>
                  <a:pt x="147" y="693"/>
                  <a:pt x="147" y="695"/>
                  <a:pt x="147" y="696"/>
                </a:cubicBezTo>
                <a:cubicBezTo>
                  <a:pt x="147" y="696"/>
                  <a:pt x="147" y="696"/>
                  <a:pt x="147" y="696"/>
                </a:cubicBezTo>
                <a:cubicBezTo>
                  <a:pt x="146" y="696"/>
                  <a:pt x="145" y="696"/>
                  <a:pt x="144" y="695"/>
                </a:cubicBezTo>
                <a:lnTo>
                  <a:pt x="141" y="693"/>
                </a:lnTo>
                <a:lnTo>
                  <a:pt x="142" y="696"/>
                </a:lnTo>
                <a:cubicBezTo>
                  <a:pt x="142" y="696"/>
                  <a:pt x="142" y="697"/>
                  <a:pt x="142" y="697"/>
                </a:cubicBezTo>
                <a:cubicBezTo>
                  <a:pt x="141" y="697"/>
                  <a:pt x="141" y="697"/>
                  <a:pt x="140" y="698"/>
                </a:cubicBezTo>
                <a:cubicBezTo>
                  <a:pt x="140" y="698"/>
                  <a:pt x="139" y="699"/>
                  <a:pt x="139" y="700"/>
                </a:cubicBezTo>
                <a:cubicBezTo>
                  <a:pt x="139" y="702"/>
                  <a:pt x="140" y="703"/>
                  <a:pt x="141" y="703"/>
                </a:cubicBezTo>
                <a:cubicBezTo>
                  <a:pt x="142" y="703"/>
                  <a:pt x="143" y="702"/>
                  <a:pt x="144" y="700"/>
                </a:cubicBezTo>
                <a:cubicBezTo>
                  <a:pt x="144" y="700"/>
                  <a:pt x="144" y="700"/>
                  <a:pt x="144" y="700"/>
                </a:cubicBezTo>
                <a:cubicBezTo>
                  <a:pt x="144" y="700"/>
                  <a:pt x="145" y="701"/>
                  <a:pt x="145" y="702"/>
                </a:cubicBezTo>
                <a:cubicBezTo>
                  <a:pt x="144" y="705"/>
                  <a:pt x="143" y="706"/>
                  <a:pt x="141" y="706"/>
                </a:cubicBezTo>
                <a:cubicBezTo>
                  <a:pt x="139" y="706"/>
                  <a:pt x="137" y="708"/>
                  <a:pt x="136" y="710"/>
                </a:cubicBezTo>
                <a:cubicBezTo>
                  <a:pt x="135" y="713"/>
                  <a:pt x="134" y="717"/>
                  <a:pt x="132" y="724"/>
                </a:cubicBezTo>
                <a:cubicBezTo>
                  <a:pt x="129" y="733"/>
                  <a:pt x="127" y="739"/>
                  <a:pt x="127" y="741"/>
                </a:cubicBezTo>
                <a:cubicBezTo>
                  <a:pt x="127" y="741"/>
                  <a:pt x="128" y="742"/>
                  <a:pt x="128" y="742"/>
                </a:cubicBezTo>
                <a:cubicBezTo>
                  <a:pt x="129" y="742"/>
                  <a:pt x="130" y="741"/>
                  <a:pt x="130" y="740"/>
                </a:cubicBezTo>
                <a:cubicBezTo>
                  <a:pt x="130" y="739"/>
                  <a:pt x="131" y="738"/>
                  <a:pt x="131" y="738"/>
                </a:cubicBezTo>
                <a:lnTo>
                  <a:pt x="131" y="739"/>
                </a:lnTo>
                <a:cubicBezTo>
                  <a:pt x="131" y="740"/>
                  <a:pt x="131" y="742"/>
                  <a:pt x="129" y="742"/>
                </a:cubicBezTo>
                <a:cubicBezTo>
                  <a:pt x="128" y="744"/>
                  <a:pt x="127" y="746"/>
                  <a:pt x="125" y="748"/>
                </a:cubicBezTo>
                <a:cubicBezTo>
                  <a:pt x="124" y="751"/>
                  <a:pt x="123" y="753"/>
                  <a:pt x="122" y="753"/>
                </a:cubicBezTo>
                <a:lnTo>
                  <a:pt x="121" y="753"/>
                </a:lnTo>
                <a:lnTo>
                  <a:pt x="120" y="752"/>
                </a:lnTo>
                <a:cubicBezTo>
                  <a:pt x="120" y="752"/>
                  <a:pt x="120" y="752"/>
                  <a:pt x="121" y="753"/>
                </a:cubicBezTo>
                <a:cubicBezTo>
                  <a:pt x="122" y="754"/>
                  <a:pt x="122" y="756"/>
                  <a:pt x="122" y="757"/>
                </a:cubicBezTo>
                <a:cubicBezTo>
                  <a:pt x="122" y="760"/>
                  <a:pt x="122" y="762"/>
                  <a:pt x="121" y="765"/>
                </a:cubicBezTo>
                <a:cubicBezTo>
                  <a:pt x="120" y="769"/>
                  <a:pt x="120" y="771"/>
                  <a:pt x="119" y="774"/>
                </a:cubicBezTo>
                <a:cubicBezTo>
                  <a:pt x="118" y="777"/>
                  <a:pt x="117" y="778"/>
                  <a:pt x="116" y="779"/>
                </a:cubicBezTo>
                <a:cubicBezTo>
                  <a:pt x="115" y="779"/>
                  <a:pt x="115" y="780"/>
                  <a:pt x="115" y="781"/>
                </a:cubicBezTo>
                <a:cubicBezTo>
                  <a:pt x="115" y="781"/>
                  <a:pt x="115" y="781"/>
                  <a:pt x="115" y="782"/>
                </a:cubicBezTo>
                <a:cubicBezTo>
                  <a:pt x="115" y="782"/>
                  <a:pt x="115" y="783"/>
                  <a:pt x="115" y="784"/>
                </a:cubicBezTo>
                <a:cubicBezTo>
                  <a:pt x="115" y="784"/>
                  <a:pt x="115" y="785"/>
                  <a:pt x="114" y="786"/>
                </a:cubicBezTo>
                <a:cubicBezTo>
                  <a:pt x="113" y="786"/>
                  <a:pt x="112" y="789"/>
                  <a:pt x="112" y="794"/>
                </a:cubicBezTo>
                <a:cubicBezTo>
                  <a:pt x="111" y="799"/>
                  <a:pt x="110" y="802"/>
                  <a:pt x="108" y="802"/>
                </a:cubicBezTo>
                <a:lnTo>
                  <a:pt x="106" y="802"/>
                </a:lnTo>
                <a:cubicBezTo>
                  <a:pt x="105" y="802"/>
                  <a:pt x="105" y="802"/>
                  <a:pt x="105" y="803"/>
                </a:cubicBezTo>
                <a:cubicBezTo>
                  <a:pt x="105" y="803"/>
                  <a:pt x="105" y="804"/>
                  <a:pt x="105" y="804"/>
                </a:cubicBezTo>
                <a:cubicBezTo>
                  <a:pt x="106" y="805"/>
                  <a:pt x="106" y="805"/>
                  <a:pt x="107" y="805"/>
                </a:cubicBezTo>
                <a:cubicBezTo>
                  <a:pt x="108" y="805"/>
                  <a:pt x="108" y="806"/>
                  <a:pt x="108" y="807"/>
                </a:cubicBezTo>
                <a:cubicBezTo>
                  <a:pt x="108" y="808"/>
                  <a:pt x="108" y="809"/>
                  <a:pt x="107" y="810"/>
                </a:cubicBezTo>
                <a:cubicBezTo>
                  <a:pt x="107" y="811"/>
                  <a:pt x="107" y="811"/>
                  <a:pt x="107" y="812"/>
                </a:cubicBezTo>
                <a:cubicBezTo>
                  <a:pt x="106" y="812"/>
                  <a:pt x="106" y="812"/>
                  <a:pt x="105" y="812"/>
                </a:cubicBezTo>
                <a:cubicBezTo>
                  <a:pt x="105" y="812"/>
                  <a:pt x="105" y="812"/>
                  <a:pt x="105" y="810"/>
                </a:cubicBezTo>
                <a:cubicBezTo>
                  <a:pt x="105" y="809"/>
                  <a:pt x="104" y="808"/>
                  <a:pt x="104" y="807"/>
                </a:cubicBezTo>
                <a:lnTo>
                  <a:pt x="102" y="808"/>
                </a:lnTo>
                <a:cubicBezTo>
                  <a:pt x="101" y="808"/>
                  <a:pt x="101" y="808"/>
                  <a:pt x="101" y="807"/>
                </a:cubicBezTo>
                <a:cubicBezTo>
                  <a:pt x="101" y="806"/>
                  <a:pt x="102" y="803"/>
                  <a:pt x="103" y="799"/>
                </a:cubicBezTo>
                <a:cubicBezTo>
                  <a:pt x="105" y="795"/>
                  <a:pt x="106" y="793"/>
                  <a:pt x="108" y="793"/>
                </a:cubicBezTo>
                <a:cubicBezTo>
                  <a:pt x="109" y="793"/>
                  <a:pt x="110" y="792"/>
                  <a:pt x="110" y="790"/>
                </a:cubicBezTo>
                <a:cubicBezTo>
                  <a:pt x="110" y="789"/>
                  <a:pt x="110" y="789"/>
                  <a:pt x="110" y="789"/>
                </a:cubicBezTo>
                <a:lnTo>
                  <a:pt x="107" y="790"/>
                </a:lnTo>
                <a:cubicBezTo>
                  <a:pt x="107" y="790"/>
                  <a:pt x="106" y="790"/>
                  <a:pt x="106" y="789"/>
                </a:cubicBezTo>
                <a:cubicBezTo>
                  <a:pt x="106" y="789"/>
                  <a:pt x="108" y="783"/>
                  <a:pt x="112" y="772"/>
                </a:cubicBezTo>
                <a:cubicBezTo>
                  <a:pt x="115" y="761"/>
                  <a:pt x="120" y="748"/>
                  <a:pt x="124" y="734"/>
                </a:cubicBezTo>
                <a:cubicBezTo>
                  <a:pt x="129" y="719"/>
                  <a:pt x="133" y="706"/>
                  <a:pt x="137" y="695"/>
                </a:cubicBezTo>
                <a:cubicBezTo>
                  <a:pt x="141" y="683"/>
                  <a:pt x="144" y="676"/>
                  <a:pt x="145" y="674"/>
                </a:cubicBezTo>
                <a:cubicBezTo>
                  <a:pt x="146" y="672"/>
                  <a:pt x="147" y="670"/>
                  <a:pt x="147" y="667"/>
                </a:cubicBezTo>
                <a:cubicBezTo>
                  <a:pt x="148" y="665"/>
                  <a:pt x="149" y="662"/>
                  <a:pt x="150" y="659"/>
                </a:cubicBezTo>
                <a:cubicBezTo>
                  <a:pt x="151" y="656"/>
                  <a:pt x="152" y="653"/>
                  <a:pt x="153" y="651"/>
                </a:cubicBezTo>
                <a:cubicBezTo>
                  <a:pt x="154" y="649"/>
                  <a:pt x="155" y="648"/>
                  <a:pt x="155" y="648"/>
                </a:cubicBezTo>
                <a:cubicBezTo>
                  <a:pt x="156" y="648"/>
                  <a:pt x="156" y="648"/>
                  <a:pt x="156" y="648"/>
                </a:cubicBezTo>
                <a:cubicBezTo>
                  <a:pt x="156" y="649"/>
                  <a:pt x="156" y="650"/>
                  <a:pt x="155" y="651"/>
                </a:cubicBezTo>
                <a:cubicBezTo>
                  <a:pt x="154" y="652"/>
                  <a:pt x="154" y="653"/>
                  <a:pt x="154" y="654"/>
                </a:cubicBezTo>
                <a:lnTo>
                  <a:pt x="154" y="655"/>
                </a:lnTo>
                <a:lnTo>
                  <a:pt x="155" y="655"/>
                </a:lnTo>
                <a:cubicBezTo>
                  <a:pt x="156" y="655"/>
                  <a:pt x="158" y="652"/>
                  <a:pt x="159" y="647"/>
                </a:cubicBezTo>
                <a:cubicBezTo>
                  <a:pt x="159" y="645"/>
                  <a:pt x="159" y="644"/>
                  <a:pt x="160" y="642"/>
                </a:cubicBezTo>
                <a:cubicBezTo>
                  <a:pt x="160" y="641"/>
                  <a:pt x="161" y="640"/>
                  <a:pt x="161" y="640"/>
                </a:cubicBezTo>
                <a:lnTo>
                  <a:pt x="158" y="643"/>
                </a:lnTo>
                <a:cubicBezTo>
                  <a:pt x="157" y="645"/>
                  <a:pt x="156" y="646"/>
                  <a:pt x="155" y="646"/>
                </a:cubicBezTo>
                <a:lnTo>
                  <a:pt x="155" y="645"/>
                </a:lnTo>
                <a:cubicBezTo>
                  <a:pt x="155" y="644"/>
                  <a:pt x="156" y="639"/>
                  <a:pt x="159" y="632"/>
                </a:cubicBezTo>
                <a:cubicBezTo>
                  <a:pt x="161" y="625"/>
                  <a:pt x="164" y="621"/>
                  <a:pt x="167" y="621"/>
                </a:cubicBezTo>
                <a:lnTo>
                  <a:pt x="170" y="621"/>
                </a:lnTo>
                <a:cubicBezTo>
                  <a:pt x="170" y="621"/>
                  <a:pt x="169" y="620"/>
                  <a:pt x="167" y="620"/>
                </a:cubicBezTo>
                <a:cubicBezTo>
                  <a:pt x="166" y="620"/>
                  <a:pt x="165" y="618"/>
                  <a:pt x="165" y="616"/>
                </a:cubicBezTo>
                <a:cubicBezTo>
                  <a:pt x="166" y="615"/>
                  <a:pt x="167" y="613"/>
                  <a:pt x="167" y="611"/>
                </a:cubicBezTo>
                <a:cubicBezTo>
                  <a:pt x="167" y="610"/>
                  <a:pt x="168" y="608"/>
                  <a:pt x="169" y="606"/>
                </a:cubicBezTo>
                <a:cubicBezTo>
                  <a:pt x="171" y="601"/>
                  <a:pt x="172" y="598"/>
                  <a:pt x="172" y="598"/>
                </a:cubicBezTo>
                <a:cubicBezTo>
                  <a:pt x="172" y="598"/>
                  <a:pt x="172" y="598"/>
                  <a:pt x="172" y="599"/>
                </a:cubicBezTo>
                <a:cubicBezTo>
                  <a:pt x="172" y="600"/>
                  <a:pt x="172" y="603"/>
                  <a:pt x="171" y="606"/>
                </a:cubicBezTo>
                <a:cubicBezTo>
                  <a:pt x="170" y="610"/>
                  <a:pt x="170" y="612"/>
                  <a:pt x="170" y="613"/>
                </a:cubicBezTo>
                <a:lnTo>
                  <a:pt x="170" y="614"/>
                </a:lnTo>
                <a:cubicBezTo>
                  <a:pt x="171" y="614"/>
                  <a:pt x="172" y="612"/>
                  <a:pt x="172" y="610"/>
                </a:cubicBezTo>
                <a:cubicBezTo>
                  <a:pt x="172" y="608"/>
                  <a:pt x="172" y="606"/>
                  <a:pt x="174" y="604"/>
                </a:cubicBezTo>
                <a:cubicBezTo>
                  <a:pt x="176" y="600"/>
                  <a:pt x="177" y="596"/>
                  <a:pt x="179" y="590"/>
                </a:cubicBezTo>
                <a:cubicBezTo>
                  <a:pt x="180" y="585"/>
                  <a:pt x="181" y="580"/>
                  <a:pt x="181" y="578"/>
                </a:cubicBezTo>
                <a:cubicBezTo>
                  <a:pt x="181" y="577"/>
                  <a:pt x="181" y="577"/>
                  <a:pt x="181" y="576"/>
                </a:cubicBezTo>
                <a:cubicBezTo>
                  <a:pt x="181" y="576"/>
                  <a:pt x="180" y="575"/>
                  <a:pt x="180" y="575"/>
                </a:cubicBezTo>
                <a:lnTo>
                  <a:pt x="181" y="575"/>
                </a:lnTo>
                <a:cubicBezTo>
                  <a:pt x="182" y="575"/>
                  <a:pt x="183" y="573"/>
                  <a:pt x="184" y="571"/>
                </a:cubicBezTo>
                <a:cubicBezTo>
                  <a:pt x="186" y="568"/>
                  <a:pt x="187" y="565"/>
                  <a:pt x="188" y="561"/>
                </a:cubicBezTo>
                <a:cubicBezTo>
                  <a:pt x="205" y="513"/>
                  <a:pt x="215" y="489"/>
                  <a:pt x="217" y="489"/>
                </a:cubicBezTo>
                <a:lnTo>
                  <a:pt x="218" y="489"/>
                </a:lnTo>
                <a:cubicBezTo>
                  <a:pt x="218" y="490"/>
                  <a:pt x="218" y="490"/>
                  <a:pt x="218" y="491"/>
                </a:cubicBezTo>
                <a:cubicBezTo>
                  <a:pt x="218" y="492"/>
                  <a:pt x="218" y="492"/>
                  <a:pt x="218" y="492"/>
                </a:cubicBezTo>
                <a:cubicBezTo>
                  <a:pt x="216" y="494"/>
                  <a:pt x="215" y="496"/>
                  <a:pt x="215" y="499"/>
                </a:cubicBezTo>
                <a:cubicBezTo>
                  <a:pt x="214" y="501"/>
                  <a:pt x="214" y="502"/>
                  <a:pt x="213" y="502"/>
                </a:cubicBezTo>
                <a:cubicBezTo>
                  <a:pt x="212" y="503"/>
                  <a:pt x="212" y="504"/>
                  <a:pt x="212" y="505"/>
                </a:cubicBezTo>
                <a:lnTo>
                  <a:pt x="212" y="507"/>
                </a:lnTo>
                <a:cubicBezTo>
                  <a:pt x="212" y="508"/>
                  <a:pt x="212" y="509"/>
                  <a:pt x="211" y="509"/>
                </a:cubicBezTo>
                <a:cubicBezTo>
                  <a:pt x="210" y="509"/>
                  <a:pt x="210" y="510"/>
                  <a:pt x="210" y="511"/>
                </a:cubicBezTo>
                <a:lnTo>
                  <a:pt x="211" y="515"/>
                </a:lnTo>
                <a:cubicBezTo>
                  <a:pt x="211" y="515"/>
                  <a:pt x="211" y="515"/>
                  <a:pt x="210" y="515"/>
                </a:cubicBezTo>
                <a:lnTo>
                  <a:pt x="208" y="514"/>
                </a:lnTo>
                <a:lnTo>
                  <a:pt x="208" y="515"/>
                </a:lnTo>
                <a:cubicBezTo>
                  <a:pt x="208" y="518"/>
                  <a:pt x="206" y="524"/>
                  <a:pt x="203" y="534"/>
                </a:cubicBezTo>
                <a:cubicBezTo>
                  <a:pt x="200" y="543"/>
                  <a:pt x="199" y="549"/>
                  <a:pt x="199" y="553"/>
                </a:cubicBezTo>
                <a:cubicBezTo>
                  <a:pt x="199" y="554"/>
                  <a:pt x="199" y="554"/>
                  <a:pt x="199" y="555"/>
                </a:cubicBezTo>
                <a:cubicBezTo>
                  <a:pt x="200" y="555"/>
                  <a:pt x="200" y="554"/>
                  <a:pt x="201" y="552"/>
                </a:cubicBezTo>
                <a:cubicBezTo>
                  <a:pt x="202" y="551"/>
                  <a:pt x="203" y="549"/>
                  <a:pt x="203" y="548"/>
                </a:cubicBezTo>
                <a:cubicBezTo>
                  <a:pt x="203" y="547"/>
                  <a:pt x="203" y="546"/>
                  <a:pt x="202" y="546"/>
                </a:cubicBezTo>
                <a:cubicBezTo>
                  <a:pt x="202" y="546"/>
                  <a:pt x="202" y="545"/>
                  <a:pt x="202" y="545"/>
                </a:cubicBezTo>
                <a:cubicBezTo>
                  <a:pt x="202" y="544"/>
                  <a:pt x="202" y="544"/>
                  <a:pt x="203" y="544"/>
                </a:cubicBezTo>
                <a:cubicBezTo>
                  <a:pt x="204" y="544"/>
                  <a:pt x="207" y="538"/>
                  <a:pt x="212" y="524"/>
                </a:cubicBezTo>
                <a:cubicBezTo>
                  <a:pt x="217" y="511"/>
                  <a:pt x="219" y="504"/>
                  <a:pt x="220" y="504"/>
                </a:cubicBezTo>
                <a:cubicBezTo>
                  <a:pt x="221" y="503"/>
                  <a:pt x="221" y="502"/>
                  <a:pt x="221" y="500"/>
                </a:cubicBezTo>
                <a:cubicBezTo>
                  <a:pt x="221" y="498"/>
                  <a:pt x="222" y="497"/>
                  <a:pt x="224" y="496"/>
                </a:cubicBezTo>
                <a:cubicBezTo>
                  <a:pt x="225" y="496"/>
                  <a:pt x="226" y="495"/>
                  <a:pt x="226" y="493"/>
                </a:cubicBezTo>
                <a:lnTo>
                  <a:pt x="225" y="488"/>
                </a:lnTo>
                <a:cubicBezTo>
                  <a:pt x="225" y="488"/>
                  <a:pt x="225" y="487"/>
                  <a:pt x="225" y="487"/>
                </a:cubicBezTo>
                <a:lnTo>
                  <a:pt x="228" y="488"/>
                </a:lnTo>
                <a:cubicBezTo>
                  <a:pt x="228" y="488"/>
                  <a:pt x="228" y="488"/>
                  <a:pt x="228" y="488"/>
                </a:cubicBezTo>
                <a:cubicBezTo>
                  <a:pt x="228" y="487"/>
                  <a:pt x="228" y="487"/>
                  <a:pt x="228" y="486"/>
                </a:cubicBezTo>
                <a:cubicBezTo>
                  <a:pt x="227" y="486"/>
                  <a:pt x="227" y="485"/>
                  <a:pt x="227" y="484"/>
                </a:cubicBezTo>
                <a:cubicBezTo>
                  <a:pt x="227" y="484"/>
                  <a:pt x="227" y="484"/>
                  <a:pt x="228" y="484"/>
                </a:cubicBezTo>
                <a:lnTo>
                  <a:pt x="232" y="485"/>
                </a:lnTo>
                <a:cubicBezTo>
                  <a:pt x="232" y="485"/>
                  <a:pt x="231" y="483"/>
                  <a:pt x="230" y="482"/>
                </a:cubicBezTo>
                <a:cubicBezTo>
                  <a:pt x="229" y="480"/>
                  <a:pt x="229" y="479"/>
                  <a:pt x="229" y="478"/>
                </a:cubicBezTo>
                <a:lnTo>
                  <a:pt x="229" y="477"/>
                </a:lnTo>
                <a:lnTo>
                  <a:pt x="229" y="477"/>
                </a:lnTo>
                <a:cubicBezTo>
                  <a:pt x="230" y="477"/>
                  <a:pt x="230" y="478"/>
                  <a:pt x="230" y="479"/>
                </a:cubicBezTo>
                <a:cubicBezTo>
                  <a:pt x="231" y="480"/>
                  <a:pt x="231" y="480"/>
                  <a:pt x="231" y="480"/>
                </a:cubicBezTo>
                <a:cubicBezTo>
                  <a:pt x="231" y="480"/>
                  <a:pt x="232" y="480"/>
                  <a:pt x="233" y="478"/>
                </a:cubicBezTo>
                <a:cubicBezTo>
                  <a:pt x="234" y="476"/>
                  <a:pt x="235" y="475"/>
                  <a:pt x="235" y="474"/>
                </a:cubicBezTo>
                <a:cubicBezTo>
                  <a:pt x="235" y="473"/>
                  <a:pt x="234" y="472"/>
                  <a:pt x="234" y="471"/>
                </a:cubicBezTo>
                <a:cubicBezTo>
                  <a:pt x="233" y="470"/>
                  <a:pt x="232" y="469"/>
                  <a:pt x="232" y="468"/>
                </a:cubicBezTo>
                <a:lnTo>
                  <a:pt x="233" y="467"/>
                </a:lnTo>
                <a:lnTo>
                  <a:pt x="233" y="467"/>
                </a:lnTo>
                <a:cubicBezTo>
                  <a:pt x="234" y="467"/>
                  <a:pt x="234" y="468"/>
                  <a:pt x="234" y="469"/>
                </a:cubicBezTo>
                <a:cubicBezTo>
                  <a:pt x="234" y="470"/>
                  <a:pt x="234" y="470"/>
                  <a:pt x="235" y="470"/>
                </a:cubicBezTo>
                <a:cubicBezTo>
                  <a:pt x="235" y="470"/>
                  <a:pt x="236" y="470"/>
                  <a:pt x="237" y="469"/>
                </a:cubicBezTo>
                <a:cubicBezTo>
                  <a:pt x="239" y="467"/>
                  <a:pt x="239" y="465"/>
                  <a:pt x="239" y="463"/>
                </a:cubicBezTo>
                <a:cubicBezTo>
                  <a:pt x="239" y="462"/>
                  <a:pt x="239" y="461"/>
                  <a:pt x="238" y="461"/>
                </a:cubicBezTo>
                <a:cubicBezTo>
                  <a:pt x="238" y="460"/>
                  <a:pt x="237" y="460"/>
                  <a:pt x="236" y="460"/>
                </a:cubicBezTo>
                <a:cubicBezTo>
                  <a:pt x="236" y="459"/>
                  <a:pt x="236" y="459"/>
                  <a:pt x="236" y="459"/>
                </a:cubicBezTo>
                <a:cubicBezTo>
                  <a:pt x="236" y="458"/>
                  <a:pt x="236" y="458"/>
                  <a:pt x="236" y="457"/>
                </a:cubicBezTo>
                <a:cubicBezTo>
                  <a:pt x="236" y="457"/>
                  <a:pt x="238" y="457"/>
                  <a:pt x="240" y="457"/>
                </a:cubicBezTo>
                <a:cubicBezTo>
                  <a:pt x="242" y="457"/>
                  <a:pt x="245" y="452"/>
                  <a:pt x="249" y="441"/>
                </a:cubicBezTo>
                <a:cubicBezTo>
                  <a:pt x="250" y="437"/>
                  <a:pt x="251" y="434"/>
                  <a:pt x="251" y="431"/>
                </a:cubicBezTo>
                <a:cubicBezTo>
                  <a:pt x="251" y="431"/>
                  <a:pt x="251" y="430"/>
                  <a:pt x="250" y="430"/>
                </a:cubicBezTo>
                <a:cubicBezTo>
                  <a:pt x="250" y="429"/>
                  <a:pt x="250" y="429"/>
                  <a:pt x="250" y="429"/>
                </a:cubicBezTo>
                <a:cubicBezTo>
                  <a:pt x="249" y="429"/>
                  <a:pt x="247" y="433"/>
                  <a:pt x="244" y="439"/>
                </a:cubicBezTo>
                <a:lnTo>
                  <a:pt x="242" y="447"/>
                </a:lnTo>
                <a:cubicBezTo>
                  <a:pt x="241" y="451"/>
                  <a:pt x="241" y="453"/>
                  <a:pt x="241" y="454"/>
                </a:cubicBezTo>
                <a:cubicBezTo>
                  <a:pt x="241" y="454"/>
                  <a:pt x="240" y="455"/>
                  <a:pt x="239" y="455"/>
                </a:cubicBezTo>
                <a:cubicBezTo>
                  <a:pt x="239" y="455"/>
                  <a:pt x="238" y="454"/>
                  <a:pt x="238" y="452"/>
                </a:cubicBezTo>
                <a:cubicBezTo>
                  <a:pt x="238" y="449"/>
                  <a:pt x="240" y="443"/>
                  <a:pt x="244" y="433"/>
                </a:cubicBezTo>
                <a:cubicBezTo>
                  <a:pt x="248" y="426"/>
                  <a:pt x="251" y="422"/>
                  <a:pt x="251" y="422"/>
                </a:cubicBezTo>
                <a:cubicBezTo>
                  <a:pt x="253" y="422"/>
                  <a:pt x="253" y="422"/>
                  <a:pt x="253" y="422"/>
                </a:cubicBezTo>
                <a:cubicBezTo>
                  <a:pt x="253" y="423"/>
                  <a:pt x="253" y="423"/>
                  <a:pt x="251" y="424"/>
                </a:cubicBezTo>
                <a:cubicBezTo>
                  <a:pt x="250" y="424"/>
                  <a:pt x="250" y="425"/>
                  <a:pt x="250" y="426"/>
                </a:cubicBezTo>
                <a:cubicBezTo>
                  <a:pt x="250" y="426"/>
                  <a:pt x="250" y="427"/>
                  <a:pt x="250" y="427"/>
                </a:cubicBezTo>
                <a:cubicBezTo>
                  <a:pt x="251" y="428"/>
                  <a:pt x="251" y="428"/>
                  <a:pt x="251" y="428"/>
                </a:cubicBezTo>
                <a:cubicBezTo>
                  <a:pt x="253" y="428"/>
                  <a:pt x="255" y="425"/>
                  <a:pt x="257" y="419"/>
                </a:cubicBezTo>
                <a:lnTo>
                  <a:pt x="261" y="406"/>
                </a:lnTo>
                <a:cubicBezTo>
                  <a:pt x="260" y="406"/>
                  <a:pt x="260" y="406"/>
                  <a:pt x="259" y="406"/>
                </a:cubicBezTo>
                <a:lnTo>
                  <a:pt x="258" y="406"/>
                </a:lnTo>
                <a:cubicBezTo>
                  <a:pt x="258" y="406"/>
                  <a:pt x="257" y="406"/>
                  <a:pt x="257" y="406"/>
                </a:cubicBezTo>
                <a:cubicBezTo>
                  <a:pt x="257" y="405"/>
                  <a:pt x="258" y="404"/>
                  <a:pt x="260" y="404"/>
                </a:cubicBezTo>
                <a:lnTo>
                  <a:pt x="262" y="404"/>
                </a:lnTo>
                <a:cubicBezTo>
                  <a:pt x="263" y="404"/>
                  <a:pt x="263" y="404"/>
                  <a:pt x="263" y="402"/>
                </a:cubicBezTo>
                <a:cubicBezTo>
                  <a:pt x="263" y="401"/>
                  <a:pt x="263" y="400"/>
                  <a:pt x="262" y="400"/>
                </a:cubicBezTo>
                <a:lnTo>
                  <a:pt x="260" y="401"/>
                </a:lnTo>
                <a:cubicBezTo>
                  <a:pt x="260" y="401"/>
                  <a:pt x="259" y="401"/>
                  <a:pt x="259" y="400"/>
                </a:cubicBezTo>
                <a:cubicBezTo>
                  <a:pt x="259" y="399"/>
                  <a:pt x="260" y="397"/>
                  <a:pt x="262" y="395"/>
                </a:cubicBezTo>
                <a:cubicBezTo>
                  <a:pt x="262" y="394"/>
                  <a:pt x="263" y="393"/>
                  <a:pt x="263" y="393"/>
                </a:cubicBezTo>
                <a:cubicBezTo>
                  <a:pt x="263" y="393"/>
                  <a:pt x="264" y="393"/>
                  <a:pt x="265" y="392"/>
                </a:cubicBezTo>
                <a:lnTo>
                  <a:pt x="266" y="393"/>
                </a:lnTo>
                <a:cubicBezTo>
                  <a:pt x="266" y="393"/>
                  <a:pt x="267" y="392"/>
                  <a:pt x="267" y="391"/>
                </a:cubicBezTo>
                <a:cubicBezTo>
                  <a:pt x="267" y="390"/>
                  <a:pt x="267" y="389"/>
                  <a:pt x="268" y="388"/>
                </a:cubicBezTo>
                <a:cubicBezTo>
                  <a:pt x="268" y="388"/>
                  <a:pt x="269" y="387"/>
                  <a:pt x="269" y="387"/>
                </a:cubicBezTo>
                <a:cubicBezTo>
                  <a:pt x="270" y="387"/>
                  <a:pt x="270" y="387"/>
                  <a:pt x="270" y="385"/>
                </a:cubicBezTo>
                <a:cubicBezTo>
                  <a:pt x="269" y="384"/>
                  <a:pt x="268" y="384"/>
                  <a:pt x="268" y="384"/>
                </a:cubicBezTo>
                <a:lnTo>
                  <a:pt x="266" y="385"/>
                </a:lnTo>
                <a:lnTo>
                  <a:pt x="266" y="384"/>
                </a:lnTo>
                <a:cubicBezTo>
                  <a:pt x="266" y="384"/>
                  <a:pt x="266" y="383"/>
                  <a:pt x="267" y="381"/>
                </a:cubicBezTo>
                <a:cubicBezTo>
                  <a:pt x="268" y="380"/>
                  <a:pt x="268" y="379"/>
                  <a:pt x="269" y="378"/>
                </a:cubicBezTo>
                <a:cubicBezTo>
                  <a:pt x="270" y="377"/>
                  <a:pt x="271" y="377"/>
                  <a:pt x="272" y="377"/>
                </a:cubicBezTo>
                <a:cubicBezTo>
                  <a:pt x="273" y="377"/>
                  <a:pt x="274" y="377"/>
                  <a:pt x="274" y="376"/>
                </a:cubicBezTo>
                <a:lnTo>
                  <a:pt x="273" y="376"/>
                </a:lnTo>
                <a:cubicBezTo>
                  <a:pt x="272" y="375"/>
                  <a:pt x="272" y="375"/>
                  <a:pt x="272" y="374"/>
                </a:cubicBezTo>
                <a:cubicBezTo>
                  <a:pt x="272" y="373"/>
                  <a:pt x="273" y="372"/>
                  <a:pt x="274" y="371"/>
                </a:cubicBezTo>
                <a:lnTo>
                  <a:pt x="276" y="370"/>
                </a:lnTo>
                <a:lnTo>
                  <a:pt x="273" y="370"/>
                </a:lnTo>
                <a:cubicBezTo>
                  <a:pt x="273" y="370"/>
                  <a:pt x="273" y="370"/>
                  <a:pt x="273" y="370"/>
                </a:cubicBezTo>
                <a:cubicBezTo>
                  <a:pt x="273" y="369"/>
                  <a:pt x="273" y="368"/>
                  <a:pt x="275" y="366"/>
                </a:cubicBezTo>
                <a:cubicBezTo>
                  <a:pt x="276" y="364"/>
                  <a:pt x="277" y="362"/>
                  <a:pt x="277" y="362"/>
                </a:cubicBezTo>
                <a:cubicBezTo>
                  <a:pt x="277" y="361"/>
                  <a:pt x="277" y="360"/>
                  <a:pt x="277" y="360"/>
                </a:cubicBezTo>
                <a:lnTo>
                  <a:pt x="277" y="359"/>
                </a:lnTo>
                <a:lnTo>
                  <a:pt x="279" y="360"/>
                </a:lnTo>
                <a:cubicBezTo>
                  <a:pt x="280" y="360"/>
                  <a:pt x="280" y="360"/>
                  <a:pt x="280" y="359"/>
                </a:cubicBezTo>
                <a:cubicBezTo>
                  <a:pt x="280" y="357"/>
                  <a:pt x="280" y="357"/>
                  <a:pt x="279" y="357"/>
                </a:cubicBezTo>
                <a:cubicBezTo>
                  <a:pt x="278" y="357"/>
                  <a:pt x="277" y="356"/>
                  <a:pt x="277" y="355"/>
                </a:cubicBezTo>
                <a:cubicBezTo>
                  <a:pt x="277" y="355"/>
                  <a:pt x="278" y="354"/>
                  <a:pt x="279" y="352"/>
                </a:cubicBezTo>
                <a:cubicBezTo>
                  <a:pt x="280" y="350"/>
                  <a:pt x="281" y="350"/>
                  <a:pt x="283" y="350"/>
                </a:cubicBezTo>
                <a:lnTo>
                  <a:pt x="284" y="350"/>
                </a:lnTo>
                <a:lnTo>
                  <a:pt x="283" y="344"/>
                </a:lnTo>
                <a:cubicBezTo>
                  <a:pt x="283" y="343"/>
                  <a:pt x="283" y="343"/>
                  <a:pt x="283" y="343"/>
                </a:cubicBezTo>
                <a:lnTo>
                  <a:pt x="285" y="343"/>
                </a:lnTo>
                <a:cubicBezTo>
                  <a:pt x="286" y="343"/>
                  <a:pt x="288" y="342"/>
                  <a:pt x="290" y="338"/>
                </a:cubicBezTo>
                <a:cubicBezTo>
                  <a:pt x="291" y="334"/>
                  <a:pt x="292" y="331"/>
                  <a:pt x="292" y="330"/>
                </a:cubicBezTo>
                <a:cubicBezTo>
                  <a:pt x="292" y="329"/>
                  <a:pt x="291" y="329"/>
                  <a:pt x="291" y="329"/>
                </a:cubicBezTo>
                <a:lnTo>
                  <a:pt x="289" y="329"/>
                </a:lnTo>
                <a:lnTo>
                  <a:pt x="289" y="329"/>
                </a:lnTo>
                <a:cubicBezTo>
                  <a:pt x="289" y="328"/>
                  <a:pt x="290" y="327"/>
                  <a:pt x="291" y="325"/>
                </a:cubicBezTo>
                <a:cubicBezTo>
                  <a:pt x="291" y="323"/>
                  <a:pt x="292" y="322"/>
                  <a:pt x="293" y="322"/>
                </a:cubicBezTo>
                <a:cubicBezTo>
                  <a:pt x="293" y="322"/>
                  <a:pt x="294" y="322"/>
                  <a:pt x="294" y="322"/>
                </a:cubicBezTo>
                <a:cubicBezTo>
                  <a:pt x="294" y="322"/>
                  <a:pt x="294" y="323"/>
                  <a:pt x="295" y="323"/>
                </a:cubicBezTo>
                <a:cubicBezTo>
                  <a:pt x="295" y="323"/>
                  <a:pt x="296" y="322"/>
                  <a:pt x="296" y="321"/>
                </a:cubicBezTo>
                <a:cubicBezTo>
                  <a:pt x="296" y="319"/>
                  <a:pt x="296" y="318"/>
                  <a:pt x="296" y="318"/>
                </a:cubicBezTo>
                <a:cubicBezTo>
                  <a:pt x="296" y="317"/>
                  <a:pt x="296" y="317"/>
                  <a:pt x="296" y="317"/>
                </a:cubicBezTo>
                <a:lnTo>
                  <a:pt x="294" y="318"/>
                </a:lnTo>
                <a:cubicBezTo>
                  <a:pt x="294" y="318"/>
                  <a:pt x="294" y="317"/>
                  <a:pt x="294" y="317"/>
                </a:cubicBezTo>
                <a:cubicBezTo>
                  <a:pt x="294" y="317"/>
                  <a:pt x="294" y="316"/>
                  <a:pt x="294" y="316"/>
                </a:cubicBezTo>
                <a:cubicBezTo>
                  <a:pt x="295" y="315"/>
                  <a:pt x="296" y="313"/>
                  <a:pt x="299" y="311"/>
                </a:cubicBezTo>
                <a:lnTo>
                  <a:pt x="298" y="311"/>
                </a:lnTo>
                <a:cubicBezTo>
                  <a:pt x="297" y="311"/>
                  <a:pt x="297" y="311"/>
                  <a:pt x="297" y="310"/>
                </a:cubicBezTo>
                <a:cubicBezTo>
                  <a:pt x="297" y="309"/>
                  <a:pt x="298" y="308"/>
                  <a:pt x="298" y="305"/>
                </a:cubicBezTo>
                <a:cubicBezTo>
                  <a:pt x="299" y="302"/>
                  <a:pt x="300" y="300"/>
                  <a:pt x="301" y="300"/>
                </a:cubicBezTo>
                <a:lnTo>
                  <a:pt x="302" y="301"/>
                </a:lnTo>
                <a:cubicBezTo>
                  <a:pt x="302" y="301"/>
                  <a:pt x="303" y="301"/>
                  <a:pt x="303" y="301"/>
                </a:cubicBezTo>
                <a:cubicBezTo>
                  <a:pt x="303" y="301"/>
                  <a:pt x="303" y="301"/>
                  <a:pt x="303" y="300"/>
                </a:cubicBezTo>
                <a:lnTo>
                  <a:pt x="302" y="297"/>
                </a:lnTo>
                <a:cubicBezTo>
                  <a:pt x="302" y="296"/>
                  <a:pt x="303" y="295"/>
                  <a:pt x="304" y="295"/>
                </a:cubicBezTo>
                <a:cubicBezTo>
                  <a:pt x="305" y="295"/>
                  <a:pt x="305" y="295"/>
                  <a:pt x="305" y="294"/>
                </a:cubicBezTo>
                <a:lnTo>
                  <a:pt x="304" y="292"/>
                </a:lnTo>
                <a:cubicBezTo>
                  <a:pt x="304" y="291"/>
                  <a:pt x="305" y="287"/>
                  <a:pt x="308" y="281"/>
                </a:cubicBezTo>
                <a:cubicBezTo>
                  <a:pt x="311" y="272"/>
                  <a:pt x="316" y="259"/>
                  <a:pt x="323" y="243"/>
                </a:cubicBezTo>
                <a:lnTo>
                  <a:pt x="328" y="236"/>
                </a:lnTo>
                <a:lnTo>
                  <a:pt x="329" y="236"/>
                </a:lnTo>
                <a:cubicBezTo>
                  <a:pt x="329" y="236"/>
                  <a:pt x="328" y="235"/>
                  <a:pt x="328" y="235"/>
                </a:cubicBezTo>
                <a:cubicBezTo>
                  <a:pt x="328" y="235"/>
                  <a:pt x="327" y="234"/>
                  <a:pt x="327" y="233"/>
                </a:cubicBezTo>
                <a:cubicBezTo>
                  <a:pt x="327" y="232"/>
                  <a:pt x="328" y="230"/>
                  <a:pt x="330" y="227"/>
                </a:cubicBezTo>
                <a:cubicBezTo>
                  <a:pt x="331" y="225"/>
                  <a:pt x="332" y="223"/>
                  <a:pt x="332" y="222"/>
                </a:cubicBezTo>
                <a:lnTo>
                  <a:pt x="332" y="222"/>
                </a:lnTo>
                <a:cubicBezTo>
                  <a:pt x="332" y="221"/>
                  <a:pt x="332" y="219"/>
                  <a:pt x="333" y="217"/>
                </a:cubicBezTo>
                <a:cubicBezTo>
                  <a:pt x="335" y="214"/>
                  <a:pt x="335" y="213"/>
                  <a:pt x="335" y="212"/>
                </a:cubicBezTo>
                <a:lnTo>
                  <a:pt x="338" y="206"/>
                </a:lnTo>
                <a:cubicBezTo>
                  <a:pt x="340" y="201"/>
                  <a:pt x="341" y="198"/>
                  <a:pt x="342" y="198"/>
                </a:cubicBezTo>
                <a:cubicBezTo>
                  <a:pt x="343" y="198"/>
                  <a:pt x="343" y="197"/>
                  <a:pt x="343" y="196"/>
                </a:cubicBezTo>
                <a:lnTo>
                  <a:pt x="343" y="194"/>
                </a:lnTo>
                <a:cubicBezTo>
                  <a:pt x="343" y="191"/>
                  <a:pt x="343" y="189"/>
                  <a:pt x="345" y="188"/>
                </a:cubicBezTo>
                <a:cubicBezTo>
                  <a:pt x="346" y="188"/>
                  <a:pt x="347" y="186"/>
                  <a:pt x="347" y="184"/>
                </a:cubicBezTo>
                <a:cubicBezTo>
                  <a:pt x="347" y="182"/>
                  <a:pt x="347" y="181"/>
                  <a:pt x="348" y="179"/>
                </a:cubicBezTo>
                <a:cubicBezTo>
                  <a:pt x="349" y="178"/>
                  <a:pt x="350" y="177"/>
                  <a:pt x="350" y="177"/>
                </a:cubicBezTo>
                <a:cubicBezTo>
                  <a:pt x="350" y="177"/>
                  <a:pt x="350" y="176"/>
                  <a:pt x="351" y="175"/>
                </a:cubicBezTo>
                <a:lnTo>
                  <a:pt x="351" y="174"/>
                </a:lnTo>
                <a:cubicBezTo>
                  <a:pt x="351" y="171"/>
                  <a:pt x="353" y="164"/>
                  <a:pt x="357" y="154"/>
                </a:cubicBezTo>
                <a:cubicBezTo>
                  <a:pt x="361" y="144"/>
                  <a:pt x="363" y="139"/>
                  <a:pt x="364" y="139"/>
                </a:cubicBezTo>
                <a:cubicBezTo>
                  <a:pt x="364" y="139"/>
                  <a:pt x="365" y="138"/>
                  <a:pt x="365" y="137"/>
                </a:cubicBezTo>
                <a:lnTo>
                  <a:pt x="365" y="136"/>
                </a:lnTo>
                <a:cubicBezTo>
                  <a:pt x="365" y="133"/>
                  <a:pt x="367" y="127"/>
                  <a:pt x="370" y="116"/>
                </a:cubicBezTo>
                <a:cubicBezTo>
                  <a:pt x="375" y="104"/>
                  <a:pt x="379" y="90"/>
                  <a:pt x="383" y="74"/>
                </a:cubicBezTo>
                <a:cubicBezTo>
                  <a:pt x="387" y="58"/>
                  <a:pt x="389" y="48"/>
                  <a:pt x="389" y="42"/>
                </a:cubicBezTo>
                <a:cubicBezTo>
                  <a:pt x="389" y="37"/>
                  <a:pt x="387" y="34"/>
                  <a:pt x="384" y="34"/>
                </a:cubicBezTo>
                <a:cubicBezTo>
                  <a:pt x="381" y="34"/>
                  <a:pt x="375" y="36"/>
                  <a:pt x="365" y="41"/>
                </a:cubicBezTo>
                <a:cubicBezTo>
                  <a:pt x="359" y="43"/>
                  <a:pt x="355" y="45"/>
                  <a:pt x="353" y="45"/>
                </a:cubicBezTo>
                <a:cubicBezTo>
                  <a:pt x="351" y="45"/>
                  <a:pt x="350" y="44"/>
                  <a:pt x="350" y="44"/>
                </a:cubicBezTo>
                <a:cubicBezTo>
                  <a:pt x="350" y="43"/>
                  <a:pt x="349" y="43"/>
                  <a:pt x="348" y="43"/>
                </a:cubicBezTo>
                <a:cubicBezTo>
                  <a:pt x="347" y="43"/>
                  <a:pt x="344" y="44"/>
                  <a:pt x="340" y="46"/>
                </a:cubicBezTo>
                <a:cubicBezTo>
                  <a:pt x="336" y="48"/>
                  <a:pt x="333" y="50"/>
                  <a:pt x="333" y="51"/>
                </a:cubicBezTo>
                <a:lnTo>
                  <a:pt x="335" y="52"/>
                </a:lnTo>
                <a:cubicBezTo>
                  <a:pt x="336" y="52"/>
                  <a:pt x="336" y="52"/>
                  <a:pt x="336" y="51"/>
                </a:cubicBezTo>
                <a:cubicBezTo>
                  <a:pt x="336" y="50"/>
                  <a:pt x="337" y="50"/>
                  <a:pt x="337" y="50"/>
                </a:cubicBezTo>
                <a:lnTo>
                  <a:pt x="339" y="50"/>
                </a:lnTo>
                <a:cubicBezTo>
                  <a:pt x="340" y="50"/>
                  <a:pt x="340" y="50"/>
                  <a:pt x="340" y="49"/>
                </a:cubicBezTo>
                <a:cubicBezTo>
                  <a:pt x="340" y="48"/>
                  <a:pt x="341" y="48"/>
                  <a:pt x="342" y="48"/>
                </a:cubicBezTo>
                <a:cubicBezTo>
                  <a:pt x="342" y="48"/>
                  <a:pt x="343" y="48"/>
                  <a:pt x="343" y="48"/>
                </a:cubicBezTo>
                <a:cubicBezTo>
                  <a:pt x="344" y="48"/>
                  <a:pt x="345" y="48"/>
                  <a:pt x="345" y="46"/>
                </a:cubicBezTo>
                <a:cubicBezTo>
                  <a:pt x="346" y="45"/>
                  <a:pt x="347" y="45"/>
                  <a:pt x="348" y="45"/>
                </a:cubicBezTo>
                <a:cubicBezTo>
                  <a:pt x="349" y="45"/>
                  <a:pt x="349" y="45"/>
                  <a:pt x="350" y="47"/>
                </a:cubicBezTo>
                <a:cubicBezTo>
                  <a:pt x="350" y="47"/>
                  <a:pt x="349" y="48"/>
                  <a:pt x="348" y="49"/>
                </a:cubicBezTo>
                <a:cubicBezTo>
                  <a:pt x="347" y="50"/>
                  <a:pt x="345" y="51"/>
                  <a:pt x="343" y="51"/>
                </a:cubicBezTo>
                <a:cubicBezTo>
                  <a:pt x="340" y="53"/>
                  <a:pt x="338" y="54"/>
                  <a:pt x="335" y="56"/>
                </a:cubicBezTo>
                <a:cubicBezTo>
                  <a:pt x="333" y="58"/>
                  <a:pt x="331" y="59"/>
                  <a:pt x="329" y="59"/>
                </a:cubicBezTo>
                <a:cubicBezTo>
                  <a:pt x="327" y="60"/>
                  <a:pt x="325" y="62"/>
                  <a:pt x="323" y="63"/>
                </a:cubicBezTo>
                <a:cubicBezTo>
                  <a:pt x="321" y="66"/>
                  <a:pt x="319" y="66"/>
                  <a:pt x="318" y="66"/>
                </a:cubicBezTo>
                <a:lnTo>
                  <a:pt x="317" y="66"/>
                </a:lnTo>
                <a:cubicBezTo>
                  <a:pt x="316" y="66"/>
                  <a:pt x="315" y="66"/>
                  <a:pt x="315" y="67"/>
                </a:cubicBezTo>
                <a:cubicBezTo>
                  <a:pt x="315" y="68"/>
                  <a:pt x="314" y="69"/>
                  <a:pt x="311" y="71"/>
                </a:cubicBezTo>
                <a:cubicBezTo>
                  <a:pt x="309" y="73"/>
                  <a:pt x="306" y="75"/>
                  <a:pt x="303" y="76"/>
                </a:cubicBezTo>
                <a:cubicBezTo>
                  <a:pt x="300" y="78"/>
                  <a:pt x="297" y="78"/>
                  <a:pt x="296" y="78"/>
                </a:cubicBezTo>
                <a:lnTo>
                  <a:pt x="294" y="78"/>
                </a:lnTo>
                <a:lnTo>
                  <a:pt x="295" y="78"/>
                </a:lnTo>
                <a:cubicBezTo>
                  <a:pt x="295" y="79"/>
                  <a:pt x="295" y="80"/>
                  <a:pt x="295" y="81"/>
                </a:cubicBezTo>
                <a:cubicBezTo>
                  <a:pt x="295" y="81"/>
                  <a:pt x="295" y="82"/>
                  <a:pt x="294" y="82"/>
                </a:cubicBezTo>
                <a:cubicBezTo>
                  <a:pt x="293" y="83"/>
                  <a:pt x="293" y="83"/>
                  <a:pt x="292" y="83"/>
                </a:cubicBezTo>
                <a:cubicBezTo>
                  <a:pt x="291" y="83"/>
                  <a:pt x="290" y="83"/>
                  <a:pt x="289" y="81"/>
                </a:cubicBezTo>
                <a:cubicBezTo>
                  <a:pt x="288" y="80"/>
                  <a:pt x="286" y="80"/>
                  <a:pt x="284" y="80"/>
                </a:cubicBezTo>
                <a:cubicBezTo>
                  <a:pt x="283" y="80"/>
                  <a:pt x="283" y="80"/>
                  <a:pt x="283" y="80"/>
                </a:cubicBezTo>
                <a:cubicBezTo>
                  <a:pt x="283" y="80"/>
                  <a:pt x="284" y="81"/>
                  <a:pt x="286" y="82"/>
                </a:cubicBezTo>
                <a:cubicBezTo>
                  <a:pt x="288" y="83"/>
                  <a:pt x="289" y="84"/>
                  <a:pt x="289" y="85"/>
                </a:cubicBezTo>
                <a:cubicBezTo>
                  <a:pt x="289" y="85"/>
                  <a:pt x="289" y="85"/>
                  <a:pt x="288" y="86"/>
                </a:cubicBezTo>
                <a:cubicBezTo>
                  <a:pt x="288" y="86"/>
                  <a:pt x="287" y="87"/>
                  <a:pt x="286" y="87"/>
                </a:cubicBezTo>
                <a:cubicBezTo>
                  <a:pt x="285" y="87"/>
                  <a:pt x="284" y="86"/>
                  <a:pt x="283" y="86"/>
                </a:cubicBezTo>
                <a:cubicBezTo>
                  <a:pt x="282" y="85"/>
                  <a:pt x="281" y="85"/>
                  <a:pt x="281" y="85"/>
                </a:cubicBezTo>
                <a:cubicBezTo>
                  <a:pt x="276" y="85"/>
                  <a:pt x="263" y="94"/>
                  <a:pt x="242" y="110"/>
                </a:cubicBezTo>
                <a:cubicBezTo>
                  <a:pt x="235" y="117"/>
                  <a:pt x="231" y="120"/>
                  <a:pt x="229" y="120"/>
                </a:cubicBezTo>
                <a:cubicBezTo>
                  <a:pt x="229" y="118"/>
                  <a:pt x="238" y="110"/>
                  <a:pt x="257" y="97"/>
                </a:cubicBezTo>
                <a:cubicBezTo>
                  <a:pt x="275" y="83"/>
                  <a:pt x="286" y="76"/>
                  <a:pt x="288" y="76"/>
                </a:cubicBezTo>
                <a:lnTo>
                  <a:pt x="289" y="77"/>
                </a:lnTo>
                <a:cubicBezTo>
                  <a:pt x="289" y="77"/>
                  <a:pt x="289" y="77"/>
                  <a:pt x="289" y="76"/>
                </a:cubicBezTo>
                <a:cubicBezTo>
                  <a:pt x="289" y="74"/>
                  <a:pt x="290" y="73"/>
                  <a:pt x="292" y="73"/>
                </a:cubicBezTo>
                <a:cubicBezTo>
                  <a:pt x="294" y="73"/>
                  <a:pt x="295" y="72"/>
                  <a:pt x="295" y="71"/>
                </a:cubicBezTo>
                <a:lnTo>
                  <a:pt x="295" y="71"/>
                </a:lnTo>
                <a:cubicBezTo>
                  <a:pt x="295" y="69"/>
                  <a:pt x="296" y="68"/>
                  <a:pt x="298" y="68"/>
                </a:cubicBezTo>
                <a:cubicBezTo>
                  <a:pt x="300" y="68"/>
                  <a:pt x="300" y="68"/>
                  <a:pt x="300" y="68"/>
                </a:cubicBezTo>
                <a:lnTo>
                  <a:pt x="300" y="67"/>
                </a:lnTo>
                <a:cubicBezTo>
                  <a:pt x="300" y="65"/>
                  <a:pt x="308" y="60"/>
                  <a:pt x="323" y="52"/>
                </a:cubicBezTo>
                <a:cubicBezTo>
                  <a:pt x="338" y="44"/>
                  <a:pt x="348" y="40"/>
                  <a:pt x="353" y="40"/>
                </a:cubicBezTo>
                <a:cubicBezTo>
                  <a:pt x="361" y="40"/>
                  <a:pt x="365" y="39"/>
                  <a:pt x="365" y="38"/>
                </a:cubicBezTo>
                <a:cubicBezTo>
                  <a:pt x="365" y="38"/>
                  <a:pt x="365" y="37"/>
                  <a:pt x="364" y="36"/>
                </a:cubicBezTo>
                <a:cubicBezTo>
                  <a:pt x="363" y="35"/>
                  <a:pt x="363" y="34"/>
                  <a:pt x="363" y="34"/>
                </a:cubicBezTo>
                <a:cubicBezTo>
                  <a:pt x="363" y="33"/>
                  <a:pt x="363" y="32"/>
                  <a:pt x="365" y="32"/>
                </a:cubicBezTo>
                <a:cubicBezTo>
                  <a:pt x="367" y="31"/>
                  <a:pt x="370" y="31"/>
                  <a:pt x="372" y="31"/>
                </a:cubicBezTo>
                <a:cubicBezTo>
                  <a:pt x="373" y="31"/>
                  <a:pt x="374" y="31"/>
                  <a:pt x="375" y="31"/>
                </a:cubicBezTo>
                <a:cubicBezTo>
                  <a:pt x="375" y="31"/>
                  <a:pt x="375" y="32"/>
                  <a:pt x="376" y="32"/>
                </a:cubicBezTo>
                <a:lnTo>
                  <a:pt x="375" y="34"/>
                </a:lnTo>
                <a:cubicBezTo>
                  <a:pt x="375" y="34"/>
                  <a:pt x="376" y="34"/>
                  <a:pt x="377" y="34"/>
                </a:cubicBezTo>
                <a:cubicBezTo>
                  <a:pt x="377" y="34"/>
                  <a:pt x="378" y="34"/>
                  <a:pt x="379" y="33"/>
                </a:cubicBezTo>
                <a:cubicBezTo>
                  <a:pt x="379" y="33"/>
                  <a:pt x="380" y="32"/>
                  <a:pt x="380" y="32"/>
                </a:cubicBezTo>
                <a:cubicBezTo>
                  <a:pt x="380" y="31"/>
                  <a:pt x="379" y="30"/>
                  <a:pt x="377" y="28"/>
                </a:cubicBezTo>
                <a:cubicBezTo>
                  <a:pt x="375" y="26"/>
                  <a:pt x="374" y="25"/>
                  <a:pt x="373" y="25"/>
                </a:cubicBezTo>
                <a:cubicBezTo>
                  <a:pt x="372" y="25"/>
                  <a:pt x="372" y="26"/>
                  <a:pt x="371" y="27"/>
                </a:cubicBezTo>
                <a:cubicBezTo>
                  <a:pt x="370" y="27"/>
                  <a:pt x="367" y="29"/>
                  <a:pt x="361" y="30"/>
                </a:cubicBezTo>
                <a:cubicBezTo>
                  <a:pt x="355" y="31"/>
                  <a:pt x="348" y="34"/>
                  <a:pt x="341" y="38"/>
                </a:cubicBezTo>
                <a:cubicBezTo>
                  <a:pt x="335" y="42"/>
                  <a:pt x="331" y="44"/>
                  <a:pt x="330" y="44"/>
                </a:cubicBezTo>
                <a:cubicBezTo>
                  <a:pt x="329" y="44"/>
                  <a:pt x="328" y="42"/>
                  <a:pt x="328" y="40"/>
                </a:cubicBezTo>
                <a:cubicBezTo>
                  <a:pt x="327" y="40"/>
                  <a:pt x="324" y="41"/>
                  <a:pt x="321" y="43"/>
                </a:cubicBezTo>
                <a:cubicBezTo>
                  <a:pt x="317" y="44"/>
                  <a:pt x="315" y="45"/>
                  <a:pt x="314" y="45"/>
                </a:cubicBezTo>
                <a:cubicBezTo>
                  <a:pt x="312" y="45"/>
                  <a:pt x="312" y="45"/>
                  <a:pt x="312" y="44"/>
                </a:cubicBezTo>
                <a:cubicBezTo>
                  <a:pt x="312" y="43"/>
                  <a:pt x="313" y="41"/>
                  <a:pt x="315" y="39"/>
                </a:cubicBezTo>
                <a:cubicBezTo>
                  <a:pt x="316" y="37"/>
                  <a:pt x="317" y="36"/>
                  <a:pt x="317" y="35"/>
                </a:cubicBezTo>
                <a:cubicBezTo>
                  <a:pt x="317" y="34"/>
                  <a:pt x="317" y="34"/>
                  <a:pt x="316" y="34"/>
                </a:cubicBezTo>
                <a:cubicBezTo>
                  <a:pt x="315" y="34"/>
                  <a:pt x="314" y="34"/>
                  <a:pt x="312" y="35"/>
                </a:cubicBezTo>
                <a:cubicBezTo>
                  <a:pt x="311" y="36"/>
                  <a:pt x="310" y="36"/>
                  <a:pt x="310" y="36"/>
                </a:cubicBezTo>
                <a:lnTo>
                  <a:pt x="312" y="33"/>
                </a:lnTo>
                <a:cubicBezTo>
                  <a:pt x="314" y="31"/>
                  <a:pt x="315" y="29"/>
                  <a:pt x="315" y="29"/>
                </a:cubicBezTo>
                <a:cubicBezTo>
                  <a:pt x="315" y="28"/>
                  <a:pt x="315" y="27"/>
                  <a:pt x="314" y="27"/>
                </a:cubicBezTo>
                <a:cubicBezTo>
                  <a:pt x="313" y="27"/>
                  <a:pt x="313" y="27"/>
                  <a:pt x="312" y="27"/>
                </a:cubicBezTo>
                <a:cubicBezTo>
                  <a:pt x="311" y="28"/>
                  <a:pt x="310" y="28"/>
                  <a:pt x="310" y="28"/>
                </a:cubicBezTo>
                <a:cubicBezTo>
                  <a:pt x="310" y="28"/>
                  <a:pt x="310" y="28"/>
                  <a:pt x="310" y="27"/>
                </a:cubicBezTo>
                <a:cubicBezTo>
                  <a:pt x="310" y="27"/>
                  <a:pt x="313" y="24"/>
                  <a:pt x="321" y="20"/>
                </a:cubicBezTo>
                <a:cubicBezTo>
                  <a:pt x="327" y="17"/>
                  <a:pt x="330" y="16"/>
                  <a:pt x="332" y="16"/>
                </a:cubicBezTo>
                <a:cubicBezTo>
                  <a:pt x="332" y="16"/>
                  <a:pt x="332" y="16"/>
                  <a:pt x="332" y="16"/>
                </a:cubicBezTo>
                <a:cubicBezTo>
                  <a:pt x="332" y="19"/>
                  <a:pt x="330" y="20"/>
                  <a:pt x="324" y="22"/>
                </a:cubicBezTo>
                <a:cubicBezTo>
                  <a:pt x="320" y="24"/>
                  <a:pt x="317" y="25"/>
                  <a:pt x="317" y="27"/>
                </a:cubicBezTo>
                <a:lnTo>
                  <a:pt x="318" y="28"/>
                </a:lnTo>
                <a:lnTo>
                  <a:pt x="333" y="20"/>
                </a:lnTo>
                <a:cubicBezTo>
                  <a:pt x="347" y="13"/>
                  <a:pt x="360" y="8"/>
                  <a:pt x="372" y="5"/>
                </a:cubicBezTo>
                <a:cubicBezTo>
                  <a:pt x="375" y="5"/>
                  <a:pt x="377" y="4"/>
                  <a:pt x="377" y="4"/>
                </a:cubicBezTo>
                <a:cubicBezTo>
                  <a:pt x="377" y="3"/>
                  <a:pt x="376" y="3"/>
                  <a:pt x="374" y="2"/>
                </a:cubicBezTo>
                <a:cubicBezTo>
                  <a:pt x="372" y="2"/>
                  <a:pt x="371" y="1"/>
                  <a:pt x="371" y="1"/>
                </a:cubicBezTo>
                <a:cubicBezTo>
                  <a:pt x="371" y="0"/>
                  <a:pt x="373" y="0"/>
                  <a:pt x="377" y="0"/>
                </a:cubicBezTo>
                <a:cubicBezTo>
                  <a:pt x="382" y="0"/>
                  <a:pt x="385" y="1"/>
                  <a:pt x="389" y="2"/>
                </a:cubicBezTo>
                <a:cubicBezTo>
                  <a:pt x="393" y="4"/>
                  <a:pt x="394" y="6"/>
                  <a:pt x="394" y="8"/>
                </a:cubicBezTo>
                <a:cubicBezTo>
                  <a:pt x="394" y="10"/>
                  <a:pt x="396" y="13"/>
                  <a:pt x="399" y="15"/>
                </a:cubicBezTo>
                <a:cubicBezTo>
                  <a:pt x="400" y="16"/>
                  <a:pt x="401" y="17"/>
                  <a:pt x="402" y="17"/>
                </a:cubicBezTo>
                <a:cubicBezTo>
                  <a:pt x="402" y="18"/>
                  <a:pt x="403" y="19"/>
                  <a:pt x="403" y="22"/>
                </a:cubicBezTo>
                <a:lnTo>
                  <a:pt x="403" y="22"/>
                </a:lnTo>
                <a:cubicBezTo>
                  <a:pt x="403" y="23"/>
                  <a:pt x="404" y="24"/>
                  <a:pt x="406" y="24"/>
                </a:cubicBezTo>
                <a:cubicBezTo>
                  <a:pt x="415" y="25"/>
                  <a:pt x="421" y="29"/>
                  <a:pt x="424" y="36"/>
                </a:cubicBezTo>
                <a:cubicBezTo>
                  <a:pt x="427" y="43"/>
                  <a:pt x="428" y="52"/>
                  <a:pt x="428" y="64"/>
                </a:cubicBezTo>
                <a:cubicBezTo>
                  <a:pt x="428" y="78"/>
                  <a:pt x="427" y="92"/>
                  <a:pt x="424" y="106"/>
                </a:cubicBezTo>
                <a:lnTo>
                  <a:pt x="420" y="120"/>
                </a:lnTo>
                <a:cubicBezTo>
                  <a:pt x="417" y="132"/>
                  <a:pt x="412" y="151"/>
                  <a:pt x="403" y="175"/>
                </a:cubicBezTo>
                <a:cubicBezTo>
                  <a:pt x="384" y="227"/>
                  <a:pt x="366" y="275"/>
                  <a:pt x="348" y="318"/>
                </a:cubicBezTo>
                <a:cubicBezTo>
                  <a:pt x="345" y="325"/>
                  <a:pt x="343" y="329"/>
                  <a:pt x="343" y="332"/>
                </a:cubicBezTo>
                <a:cubicBezTo>
                  <a:pt x="343" y="333"/>
                  <a:pt x="342" y="333"/>
                  <a:pt x="342" y="335"/>
                </a:cubicBezTo>
                <a:cubicBezTo>
                  <a:pt x="341" y="336"/>
                  <a:pt x="341" y="337"/>
                  <a:pt x="340" y="337"/>
                </a:cubicBezTo>
                <a:cubicBezTo>
                  <a:pt x="338" y="340"/>
                  <a:pt x="337" y="342"/>
                  <a:pt x="337" y="345"/>
                </a:cubicBezTo>
                <a:cubicBezTo>
                  <a:pt x="336" y="348"/>
                  <a:pt x="334" y="355"/>
                  <a:pt x="330" y="365"/>
                </a:cubicBezTo>
                <a:cubicBezTo>
                  <a:pt x="325" y="375"/>
                  <a:pt x="322" y="381"/>
                  <a:pt x="320" y="383"/>
                </a:cubicBezTo>
                <a:cubicBezTo>
                  <a:pt x="319" y="384"/>
                  <a:pt x="319" y="385"/>
                  <a:pt x="319" y="386"/>
                </a:cubicBezTo>
                <a:cubicBezTo>
                  <a:pt x="319" y="386"/>
                  <a:pt x="320" y="387"/>
                  <a:pt x="320" y="387"/>
                </a:cubicBezTo>
                <a:cubicBezTo>
                  <a:pt x="320" y="389"/>
                  <a:pt x="316" y="399"/>
                  <a:pt x="308" y="417"/>
                </a:cubicBezTo>
                <a:cubicBezTo>
                  <a:pt x="305" y="424"/>
                  <a:pt x="303" y="429"/>
                  <a:pt x="303" y="429"/>
                </a:cubicBezTo>
                <a:cubicBezTo>
                  <a:pt x="303" y="429"/>
                  <a:pt x="296" y="447"/>
                  <a:pt x="281" y="482"/>
                </a:cubicBezTo>
                <a:cubicBezTo>
                  <a:pt x="278" y="489"/>
                  <a:pt x="276" y="492"/>
                  <a:pt x="276" y="494"/>
                </a:cubicBezTo>
                <a:lnTo>
                  <a:pt x="275" y="497"/>
                </a:lnTo>
                <a:cubicBezTo>
                  <a:pt x="273" y="504"/>
                  <a:pt x="271" y="508"/>
                  <a:pt x="271" y="509"/>
                </a:cubicBezTo>
                <a:cubicBezTo>
                  <a:pt x="270" y="510"/>
                  <a:pt x="270" y="511"/>
                  <a:pt x="270" y="511"/>
                </a:cubicBezTo>
                <a:cubicBezTo>
                  <a:pt x="269" y="516"/>
                  <a:pt x="266" y="524"/>
                  <a:pt x="261" y="535"/>
                </a:cubicBezTo>
                <a:cubicBezTo>
                  <a:pt x="255" y="549"/>
                  <a:pt x="252" y="556"/>
                  <a:pt x="252" y="556"/>
                </a:cubicBezTo>
                <a:cubicBezTo>
                  <a:pt x="252" y="552"/>
                  <a:pt x="256" y="539"/>
                  <a:pt x="265" y="516"/>
                </a:cubicBezTo>
                <a:cubicBezTo>
                  <a:pt x="268" y="509"/>
                  <a:pt x="269" y="505"/>
                  <a:pt x="269" y="502"/>
                </a:cubicBezTo>
                <a:cubicBezTo>
                  <a:pt x="269" y="502"/>
                  <a:pt x="269" y="501"/>
                  <a:pt x="269" y="501"/>
                </a:cubicBezTo>
                <a:cubicBezTo>
                  <a:pt x="267" y="501"/>
                  <a:pt x="264" y="507"/>
                  <a:pt x="260" y="518"/>
                </a:cubicBezTo>
                <a:cubicBezTo>
                  <a:pt x="256" y="529"/>
                  <a:pt x="253" y="535"/>
                  <a:pt x="251" y="535"/>
                </a:cubicBezTo>
                <a:lnTo>
                  <a:pt x="251" y="534"/>
                </a:lnTo>
                <a:cubicBezTo>
                  <a:pt x="250" y="533"/>
                  <a:pt x="249" y="533"/>
                  <a:pt x="247" y="533"/>
                </a:cubicBezTo>
                <a:lnTo>
                  <a:pt x="246" y="534"/>
                </a:lnTo>
                <a:cubicBezTo>
                  <a:pt x="246" y="533"/>
                  <a:pt x="246" y="532"/>
                  <a:pt x="247" y="531"/>
                </a:cubicBezTo>
                <a:cubicBezTo>
                  <a:pt x="248" y="530"/>
                  <a:pt x="249" y="530"/>
                  <a:pt x="250" y="530"/>
                </a:cubicBezTo>
                <a:cubicBezTo>
                  <a:pt x="250" y="530"/>
                  <a:pt x="251" y="530"/>
                  <a:pt x="252" y="531"/>
                </a:cubicBezTo>
                <a:lnTo>
                  <a:pt x="253" y="534"/>
                </a:lnTo>
                <a:lnTo>
                  <a:pt x="253" y="528"/>
                </a:lnTo>
                <a:cubicBezTo>
                  <a:pt x="253" y="527"/>
                  <a:pt x="253" y="527"/>
                  <a:pt x="254" y="527"/>
                </a:cubicBezTo>
                <a:lnTo>
                  <a:pt x="255" y="527"/>
                </a:lnTo>
                <a:cubicBezTo>
                  <a:pt x="255" y="527"/>
                  <a:pt x="255" y="527"/>
                  <a:pt x="255" y="525"/>
                </a:cubicBezTo>
                <a:cubicBezTo>
                  <a:pt x="254" y="524"/>
                  <a:pt x="253" y="523"/>
                  <a:pt x="252" y="523"/>
                </a:cubicBezTo>
                <a:cubicBezTo>
                  <a:pt x="251" y="523"/>
                  <a:pt x="250" y="523"/>
                  <a:pt x="250" y="522"/>
                </a:cubicBezTo>
                <a:lnTo>
                  <a:pt x="251" y="521"/>
                </a:lnTo>
                <a:cubicBezTo>
                  <a:pt x="251" y="521"/>
                  <a:pt x="253" y="520"/>
                  <a:pt x="255" y="520"/>
                </a:cubicBezTo>
                <a:cubicBezTo>
                  <a:pt x="256" y="520"/>
                  <a:pt x="257" y="520"/>
                  <a:pt x="257" y="519"/>
                </a:cubicBezTo>
                <a:cubicBezTo>
                  <a:pt x="257" y="519"/>
                  <a:pt x="257" y="518"/>
                  <a:pt x="256" y="517"/>
                </a:cubicBezTo>
                <a:lnTo>
                  <a:pt x="257" y="517"/>
                </a:lnTo>
                <a:cubicBezTo>
                  <a:pt x="258" y="517"/>
                  <a:pt x="259" y="516"/>
                  <a:pt x="259" y="515"/>
                </a:cubicBezTo>
                <a:lnTo>
                  <a:pt x="259" y="515"/>
                </a:lnTo>
                <a:cubicBezTo>
                  <a:pt x="258" y="514"/>
                  <a:pt x="257" y="513"/>
                  <a:pt x="256" y="513"/>
                </a:cubicBezTo>
                <a:cubicBezTo>
                  <a:pt x="255" y="513"/>
                  <a:pt x="254" y="513"/>
                  <a:pt x="254" y="512"/>
                </a:cubicBezTo>
                <a:lnTo>
                  <a:pt x="255" y="511"/>
                </a:lnTo>
                <a:cubicBezTo>
                  <a:pt x="255" y="510"/>
                  <a:pt x="256" y="510"/>
                  <a:pt x="258" y="510"/>
                </a:cubicBezTo>
                <a:lnTo>
                  <a:pt x="260" y="511"/>
                </a:lnTo>
                <a:cubicBezTo>
                  <a:pt x="261" y="511"/>
                  <a:pt x="261" y="510"/>
                  <a:pt x="261" y="510"/>
                </a:cubicBezTo>
                <a:cubicBezTo>
                  <a:pt x="261" y="508"/>
                  <a:pt x="261" y="507"/>
                  <a:pt x="259" y="507"/>
                </a:cubicBezTo>
                <a:cubicBezTo>
                  <a:pt x="258" y="506"/>
                  <a:pt x="257" y="505"/>
                  <a:pt x="257" y="505"/>
                </a:cubicBezTo>
                <a:cubicBezTo>
                  <a:pt x="257" y="503"/>
                  <a:pt x="258" y="502"/>
                  <a:pt x="259" y="501"/>
                </a:cubicBezTo>
                <a:cubicBezTo>
                  <a:pt x="260" y="500"/>
                  <a:pt x="260" y="499"/>
                  <a:pt x="262" y="499"/>
                </a:cubicBezTo>
                <a:cubicBezTo>
                  <a:pt x="262" y="499"/>
                  <a:pt x="263" y="499"/>
                  <a:pt x="263" y="500"/>
                </a:cubicBezTo>
                <a:cubicBezTo>
                  <a:pt x="263" y="500"/>
                  <a:pt x="262" y="500"/>
                  <a:pt x="261" y="501"/>
                </a:cubicBezTo>
                <a:cubicBezTo>
                  <a:pt x="260" y="502"/>
                  <a:pt x="259" y="503"/>
                  <a:pt x="259" y="504"/>
                </a:cubicBezTo>
                <a:cubicBezTo>
                  <a:pt x="259" y="504"/>
                  <a:pt x="260" y="505"/>
                  <a:pt x="260" y="505"/>
                </a:cubicBezTo>
                <a:cubicBezTo>
                  <a:pt x="261" y="506"/>
                  <a:pt x="261" y="507"/>
                  <a:pt x="262" y="507"/>
                </a:cubicBezTo>
                <a:cubicBezTo>
                  <a:pt x="263" y="507"/>
                  <a:pt x="263" y="505"/>
                  <a:pt x="264" y="503"/>
                </a:cubicBezTo>
                <a:lnTo>
                  <a:pt x="265" y="501"/>
                </a:lnTo>
                <a:cubicBezTo>
                  <a:pt x="265" y="499"/>
                  <a:pt x="264" y="497"/>
                  <a:pt x="263" y="497"/>
                </a:cubicBezTo>
                <a:lnTo>
                  <a:pt x="261" y="495"/>
                </a:lnTo>
                <a:lnTo>
                  <a:pt x="263" y="496"/>
                </a:lnTo>
                <a:cubicBezTo>
                  <a:pt x="266" y="496"/>
                  <a:pt x="267" y="495"/>
                  <a:pt x="267" y="495"/>
                </a:cubicBezTo>
                <a:lnTo>
                  <a:pt x="268" y="493"/>
                </a:lnTo>
                <a:cubicBezTo>
                  <a:pt x="268" y="493"/>
                  <a:pt x="268" y="494"/>
                  <a:pt x="269" y="496"/>
                </a:cubicBezTo>
                <a:cubicBezTo>
                  <a:pt x="269" y="498"/>
                  <a:pt x="270" y="499"/>
                  <a:pt x="271" y="501"/>
                </a:cubicBezTo>
                <a:lnTo>
                  <a:pt x="272" y="501"/>
                </a:lnTo>
                <a:cubicBezTo>
                  <a:pt x="272" y="501"/>
                  <a:pt x="273" y="501"/>
                  <a:pt x="273" y="500"/>
                </a:cubicBezTo>
                <a:lnTo>
                  <a:pt x="272" y="497"/>
                </a:lnTo>
                <a:cubicBezTo>
                  <a:pt x="272" y="496"/>
                  <a:pt x="272" y="496"/>
                  <a:pt x="272" y="496"/>
                </a:cubicBezTo>
                <a:lnTo>
                  <a:pt x="274" y="497"/>
                </a:lnTo>
                <a:cubicBezTo>
                  <a:pt x="274" y="497"/>
                  <a:pt x="275" y="497"/>
                  <a:pt x="275" y="496"/>
                </a:cubicBezTo>
                <a:cubicBezTo>
                  <a:pt x="275" y="496"/>
                  <a:pt x="275" y="495"/>
                  <a:pt x="274" y="494"/>
                </a:cubicBezTo>
                <a:cubicBezTo>
                  <a:pt x="274" y="494"/>
                  <a:pt x="274" y="493"/>
                  <a:pt x="274" y="492"/>
                </a:cubicBezTo>
                <a:cubicBezTo>
                  <a:pt x="274" y="492"/>
                  <a:pt x="274" y="491"/>
                  <a:pt x="275" y="491"/>
                </a:cubicBezTo>
                <a:cubicBezTo>
                  <a:pt x="276" y="491"/>
                  <a:pt x="276" y="490"/>
                  <a:pt x="276" y="490"/>
                </a:cubicBezTo>
                <a:lnTo>
                  <a:pt x="276" y="484"/>
                </a:lnTo>
                <a:cubicBezTo>
                  <a:pt x="276" y="481"/>
                  <a:pt x="277" y="480"/>
                  <a:pt x="279" y="480"/>
                </a:cubicBezTo>
                <a:cubicBezTo>
                  <a:pt x="280" y="480"/>
                  <a:pt x="280" y="479"/>
                  <a:pt x="281" y="478"/>
                </a:cubicBezTo>
                <a:cubicBezTo>
                  <a:pt x="281" y="478"/>
                  <a:pt x="281" y="477"/>
                  <a:pt x="281" y="476"/>
                </a:cubicBezTo>
                <a:cubicBezTo>
                  <a:pt x="281" y="476"/>
                  <a:pt x="281" y="476"/>
                  <a:pt x="280" y="476"/>
                </a:cubicBezTo>
                <a:lnTo>
                  <a:pt x="277" y="476"/>
                </a:lnTo>
                <a:cubicBezTo>
                  <a:pt x="275" y="476"/>
                  <a:pt x="275" y="475"/>
                  <a:pt x="275" y="475"/>
                </a:cubicBezTo>
                <a:cubicBezTo>
                  <a:pt x="275" y="473"/>
                  <a:pt x="275" y="473"/>
                  <a:pt x="277" y="473"/>
                </a:cubicBezTo>
                <a:cubicBezTo>
                  <a:pt x="279" y="473"/>
                  <a:pt x="280" y="472"/>
                  <a:pt x="280" y="471"/>
                </a:cubicBezTo>
                <a:lnTo>
                  <a:pt x="279" y="467"/>
                </a:lnTo>
                <a:cubicBezTo>
                  <a:pt x="279" y="465"/>
                  <a:pt x="281" y="463"/>
                  <a:pt x="284" y="462"/>
                </a:cubicBezTo>
                <a:cubicBezTo>
                  <a:pt x="286" y="460"/>
                  <a:pt x="288" y="459"/>
                  <a:pt x="288" y="458"/>
                </a:cubicBezTo>
                <a:cubicBezTo>
                  <a:pt x="288" y="457"/>
                  <a:pt x="287" y="456"/>
                  <a:pt x="286" y="456"/>
                </a:cubicBezTo>
                <a:cubicBezTo>
                  <a:pt x="285" y="456"/>
                  <a:pt x="284" y="456"/>
                  <a:pt x="283" y="458"/>
                </a:cubicBezTo>
                <a:cubicBezTo>
                  <a:pt x="283" y="459"/>
                  <a:pt x="281" y="460"/>
                  <a:pt x="280" y="460"/>
                </a:cubicBezTo>
                <a:lnTo>
                  <a:pt x="278" y="460"/>
                </a:lnTo>
                <a:cubicBezTo>
                  <a:pt x="278" y="460"/>
                  <a:pt x="279" y="459"/>
                  <a:pt x="280" y="459"/>
                </a:cubicBezTo>
                <a:cubicBezTo>
                  <a:pt x="281" y="458"/>
                  <a:pt x="281" y="458"/>
                  <a:pt x="281" y="457"/>
                </a:cubicBezTo>
                <a:lnTo>
                  <a:pt x="281" y="456"/>
                </a:lnTo>
                <a:cubicBezTo>
                  <a:pt x="281" y="455"/>
                  <a:pt x="282" y="455"/>
                  <a:pt x="283" y="455"/>
                </a:cubicBezTo>
                <a:cubicBezTo>
                  <a:pt x="283" y="455"/>
                  <a:pt x="284" y="453"/>
                  <a:pt x="284" y="451"/>
                </a:cubicBezTo>
                <a:lnTo>
                  <a:pt x="283" y="450"/>
                </a:lnTo>
                <a:cubicBezTo>
                  <a:pt x="283" y="448"/>
                  <a:pt x="284" y="448"/>
                  <a:pt x="285" y="448"/>
                </a:cubicBezTo>
                <a:cubicBezTo>
                  <a:pt x="285" y="448"/>
                  <a:pt x="286" y="448"/>
                  <a:pt x="286" y="447"/>
                </a:cubicBezTo>
                <a:lnTo>
                  <a:pt x="285" y="445"/>
                </a:lnTo>
                <a:cubicBezTo>
                  <a:pt x="285" y="445"/>
                  <a:pt x="285" y="444"/>
                  <a:pt x="285" y="444"/>
                </a:cubicBezTo>
                <a:lnTo>
                  <a:pt x="289" y="446"/>
                </a:lnTo>
                <a:cubicBezTo>
                  <a:pt x="289" y="446"/>
                  <a:pt x="289" y="445"/>
                  <a:pt x="289" y="445"/>
                </a:cubicBezTo>
                <a:lnTo>
                  <a:pt x="289" y="444"/>
                </a:lnTo>
                <a:lnTo>
                  <a:pt x="289" y="442"/>
                </a:lnTo>
                <a:lnTo>
                  <a:pt x="290" y="441"/>
                </a:lnTo>
                <a:lnTo>
                  <a:pt x="288" y="441"/>
                </a:lnTo>
                <a:lnTo>
                  <a:pt x="286" y="441"/>
                </a:lnTo>
                <a:cubicBezTo>
                  <a:pt x="286" y="441"/>
                  <a:pt x="287" y="440"/>
                  <a:pt x="288" y="439"/>
                </a:cubicBezTo>
                <a:cubicBezTo>
                  <a:pt x="289" y="438"/>
                  <a:pt x="289" y="437"/>
                  <a:pt x="289" y="436"/>
                </a:cubicBezTo>
                <a:cubicBezTo>
                  <a:pt x="289" y="436"/>
                  <a:pt x="289" y="436"/>
                  <a:pt x="288" y="436"/>
                </a:cubicBezTo>
                <a:cubicBezTo>
                  <a:pt x="287" y="436"/>
                  <a:pt x="286" y="437"/>
                  <a:pt x="285" y="439"/>
                </a:cubicBezTo>
                <a:lnTo>
                  <a:pt x="283" y="442"/>
                </a:lnTo>
                <a:cubicBezTo>
                  <a:pt x="283" y="442"/>
                  <a:pt x="283" y="441"/>
                  <a:pt x="283" y="439"/>
                </a:cubicBezTo>
                <a:cubicBezTo>
                  <a:pt x="284" y="437"/>
                  <a:pt x="284" y="436"/>
                  <a:pt x="284" y="435"/>
                </a:cubicBezTo>
                <a:cubicBezTo>
                  <a:pt x="284" y="434"/>
                  <a:pt x="285" y="434"/>
                  <a:pt x="287" y="434"/>
                </a:cubicBezTo>
                <a:cubicBezTo>
                  <a:pt x="288" y="434"/>
                  <a:pt x="290" y="432"/>
                  <a:pt x="290" y="430"/>
                </a:cubicBezTo>
                <a:lnTo>
                  <a:pt x="291" y="428"/>
                </a:lnTo>
                <a:lnTo>
                  <a:pt x="290" y="427"/>
                </a:lnTo>
                <a:lnTo>
                  <a:pt x="289" y="427"/>
                </a:lnTo>
                <a:cubicBezTo>
                  <a:pt x="288" y="427"/>
                  <a:pt x="288" y="427"/>
                  <a:pt x="288" y="426"/>
                </a:cubicBezTo>
                <a:cubicBezTo>
                  <a:pt x="288" y="424"/>
                  <a:pt x="289" y="424"/>
                  <a:pt x="291" y="424"/>
                </a:cubicBezTo>
                <a:cubicBezTo>
                  <a:pt x="293" y="424"/>
                  <a:pt x="294" y="423"/>
                  <a:pt x="294" y="421"/>
                </a:cubicBezTo>
                <a:lnTo>
                  <a:pt x="295" y="418"/>
                </a:lnTo>
                <a:lnTo>
                  <a:pt x="296" y="418"/>
                </a:lnTo>
                <a:cubicBezTo>
                  <a:pt x="296" y="418"/>
                  <a:pt x="297" y="417"/>
                  <a:pt x="297" y="415"/>
                </a:cubicBezTo>
                <a:cubicBezTo>
                  <a:pt x="297" y="412"/>
                  <a:pt x="297" y="411"/>
                  <a:pt x="296" y="411"/>
                </a:cubicBezTo>
                <a:cubicBezTo>
                  <a:pt x="295" y="411"/>
                  <a:pt x="295" y="410"/>
                  <a:pt x="295" y="410"/>
                </a:cubicBezTo>
                <a:lnTo>
                  <a:pt x="296" y="406"/>
                </a:lnTo>
                <a:cubicBezTo>
                  <a:pt x="296" y="406"/>
                  <a:pt x="295" y="406"/>
                  <a:pt x="295" y="406"/>
                </a:cubicBezTo>
                <a:lnTo>
                  <a:pt x="293" y="407"/>
                </a:lnTo>
                <a:cubicBezTo>
                  <a:pt x="293" y="407"/>
                  <a:pt x="293" y="407"/>
                  <a:pt x="293" y="406"/>
                </a:cubicBezTo>
                <a:cubicBezTo>
                  <a:pt x="293" y="406"/>
                  <a:pt x="293" y="405"/>
                  <a:pt x="295" y="404"/>
                </a:cubicBezTo>
                <a:cubicBezTo>
                  <a:pt x="296" y="402"/>
                  <a:pt x="298" y="401"/>
                  <a:pt x="298" y="399"/>
                </a:cubicBezTo>
                <a:cubicBezTo>
                  <a:pt x="299" y="398"/>
                  <a:pt x="300" y="397"/>
                  <a:pt x="300" y="397"/>
                </a:cubicBezTo>
                <a:cubicBezTo>
                  <a:pt x="300" y="396"/>
                  <a:pt x="299" y="396"/>
                  <a:pt x="299" y="396"/>
                </a:cubicBezTo>
                <a:lnTo>
                  <a:pt x="296" y="397"/>
                </a:lnTo>
                <a:cubicBezTo>
                  <a:pt x="296" y="397"/>
                  <a:pt x="296" y="396"/>
                  <a:pt x="296" y="395"/>
                </a:cubicBezTo>
                <a:cubicBezTo>
                  <a:pt x="296" y="394"/>
                  <a:pt x="296" y="393"/>
                  <a:pt x="298" y="393"/>
                </a:cubicBezTo>
                <a:cubicBezTo>
                  <a:pt x="300" y="393"/>
                  <a:pt x="301" y="392"/>
                  <a:pt x="301" y="390"/>
                </a:cubicBezTo>
                <a:cubicBezTo>
                  <a:pt x="301" y="388"/>
                  <a:pt x="301" y="387"/>
                  <a:pt x="301" y="386"/>
                </a:cubicBezTo>
                <a:cubicBezTo>
                  <a:pt x="302" y="385"/>
                  <a:pt x="303" y="385"/>
                  <a:pt x="306" y="385"/>
                </a:cubicBezTo>
                <a:cubicBezTo>
                  <a:pt x="310" y="385"/>
                  <a:pt x="312" y="384"/>
                  <a:pt x="312" y="382"/>
                </a:cubicBezTo>
                <a:cubicBezTo>
                  <a:pt x="312" y="381"/>
                  <a:pt x="312" y="380"/>
                  <a:pt x="311" y="379"/>
                </a:cubicBezTo>
                <a:lnTo>
                  <a:pt x="310" y="377"/>
                </a:lnTo>
                <a:lnTo>
                  <a:pt x="310" y="379"/>
                </a:lnTo>
                <a:cubicBezTo>
                  <a:pt x="310" y="381"/>
                  <a:pt x="309" y="382"/>
                  <a:pt x="308" y="382"/>
                </a:cubicBezTo>
                <a:cubicBezTo>
                  <a:pt x="308" y="382"/>
                  <a:pt x="308" y="382"/>
                  <a:pt x="307" y="381"/>
                </a:cubicBezTo>
                <a:cubicBezTo>
                  <a:pt x="306" y="380"/>
                  <a:pt x="306" y="379"/>
                  <a:pt x="306" y="378"/>
                </a:cubicBezTo>
                <a:cubicBezTo>
                  <a:pt x="306" y="377"/>
                  <a:pt x="306" y="376"/>
                  <a:pt x="306" y="376"/>
                </a:cubicBezTo>
                <a:cubicBezTo>
                  <a:pt x="306" y="375"/>
                  <a:pt x="307" y="375"/>
                  <a:pt x="308" y="374"/>
                </a:cubicBezTo>
                <a:lnTo>
                  <a:pt x="308" y="374"/>
                </a:lnTo>
                <a:cubicBezTo>
                  <a:pt x="309" y="374"/>
                  <a:pt x="309" y="374"/>
                  <a:pt x="309" y="373"/>
                </a:cubicBezTo>
                <a:lnTo>
                  <a:pt x="308" y="368"/>
                </a:lnTo>
                <a:lnTo>
                  <a:pt x="310" y="369"/>
                </a:lnTo>
                <a:cubicBezTo>
                  <a:pt x="311" y="369"/>
                  <a:pt x="313" y="366"/>
                  <a:pt x="315" y="359"/>
                </a:cubicBezTo>
                <a:lnTo>
                  <a:pt x="320" y="346"/>
                </a:lnTo>
                <a:lnTo>
                  <a:pt x="320" y="351"/>
                </a:lnTo>
                <a:cubicBezTo>
                  <a:pt x="320" y="355"/>
                  <a:pt x="320" y="357"/>
                  <a:pt x="321" y="357"/>
                </a:cubicBezTo>
                <a:cubicBezTo>
                  <a:pt x="322" y="357"/>
                  <a:pt x="322" y="357"/>
                  <a:pt x="322" y="357"/>
                </a:cubicBezTo>
                <a:cubicBezTo>
                  <a:pt x="323" y="357"/>
                  <a:pt x="324" y="355"/>
                  <a:pt x="324" y="351"/>
                </a:cubicBezTo>
                <a:cubicBezTo>
                  <a:pt x="324" y="350"/>
                  <a:pt x="324" y="349"/>
                  <a:pt x="326" y="349"/>
                </a:cubicBezTo>
                <a:cubicBezTo>
                  <a:pt x="327" y="349"/>
                  <a:pt x="328" y="348"/>
                  <a:pt x="328" y="346"/>
                </a:cubicBezTo>
                <a:cubicBezTo>
                  <a:pt x="328" y="345"/>
                  <a:pt x="328" y="345"/>
                  <a:pt x="328" y="345"/>
                </a:cubicBezTo>
                <a:lnTo>
                  <a:pt x="326" y="345"/>
                </a:lnTo>
                <a:cubicBezTo>
                  <a:pt x="325" y="345"/>
                  <a:pt x="325" y="345"/>
                  <a:pt x="325" y="344"/>
                </a:cubicBezTo>
                <a:cubicBezTo>
                  <a:pt x="325" y="343"/>
                  <a:pt x="326" y="342"/>
                  <a:pt x="328" y="342"/>
                </a:cubicBezTo>
                <a:cubicBezTo>
                  <a:pt x="329" y="342"/>
                  <a:pt x="330" y="342"/>
                  <a:pt x="330" y="340"/>
                </a:cubicBezTo>
                <a:lnTo>
                  <a:pt x="330" y="336"/>
                </a:lnTo>
                <a:cubicBezTo>
                  <a:pt x="330" y="335"/>
                  <a:pt x="330" y="334"/>
                  <a:pt x="331" y="334"/>
                </a:cubicBezTo>
                <a:cubicBezTo>
                  <a:pt x="332" y="334"/>
                  <a:pt x="333" y="333"/>
                  <a:pt x="334" y="329"/>
                </a:cubicBezTo>
                <a:cubicBezTo>
                  <a:pt x="335" y="326"/>
                  <a:pt x="335" y="324"/>
                  <a:pt x="336" y="324"/>
                </a:cubicBezTo>
                <a:cubicBezTo>
                  <a:pt x="336" y="324"/>
                  <a:pt x="337" y="324"/>
                  <a:pt x="338" y="323"/>
                </a:cubicBezTo>
                <a:lnTo>
                  <a:pt x="338" y="323"/>
                </a:lnTo>
                <a:cubicBezTo>
                  <a:pt x="338" y="319"/>
                  <a:pt x="338" y="317"/>
                  <a:pt x="338" y="316"/>
                </a:cubicBezTo>
                <a:cubicBezTo>
                  <a:pt x="338" y="315"/>
                  <a:pt x="339" y="315"/>
                  <a:pt x="340" y="315"/>
                </a:cubicBezTo>
                <a:lnTo>
                  <a:pt x="341" y="315"/>
                </a:lnTo>
                <a:cubicBezTo>
                  <a:pt x="342" y="315"/>
                  <a:pt x="342" y="315"/>
                  <a:pt x="342" y="314"/>
                </a:cubicBezTo>
                <a:cubicBezTo>
                  <a:pt x="342" y="312"/>
                  <a:pt x="342" y="311"/>
                  <a:pt x="340" y="311"/>
                </a:cubicBezTo>
                <a:cubicBezTo>
                  <a:pt x="339" y="311"/>
                  <a:pt x="339" y="311"/>
                  <a:pt x="339" y="311"/>
                </a:cubicBezTo>
                <a:cubicBezTo>
                  <a:pt x="339" y="309"/>
                  <a:pt x="339" y="308"/>
                  <a:pt x="341" y="308"/>
                </a:cubicBezTo>
                <a:cubicBezTo>
                  <a:pt x="341" y="308"/>
                  <a:pt x="342" y="309"/>
                  <a:pt x="342" y="309"/>
                </a:cubicBezTo>
                <a:lnTo>
                  <a:pt x="343" y="309"/>
                </a:lnTo>
                <a:cubicBezTo>
                  <a:pt x="343" y="309"/>
                  <a:pt x="343" y="309"/>
                  <a:pt x="343" y="308"/>
                </a:cubicBezTo>
                <a:lnTo>
                  <a:pt x="342" y="304"/>
                </a:lnTo>
                <a:cubicBezTo>
                  <a:pt x="342" y="304"/>
                  <a:pt x="342" y="304"/>
                  <a:pt x="343" y="304"/>
                </a:cubicBezTo>
                <a:lnTo>
                  <a:pt x="345" y="306"/>
                </a:lnTo>
                <a:cubicBezTo>
                  <a:pt x="346" y="306"/>
                  <a:pt x="346" y="305"/>
                  <a:pt x="346" y="305"/>
                </a:cubicBezTo>
                <a:lnTo>
                  <a:pt x="345" y="303"/>
                </a:lnTo>
                <a:cubicBezTo>
                  <a:pt x="345" y="301"/>
                  <a:pt x="346" y="299"/>
                  <a:pt x="347" y="297"/>
                </a:cubicBezTo>
                <a:cubicBezTo>
                  <a:pt x="348" y="296"/>
                  <a:pt x="349" y="294"/>
                  <a:pt x="349" y="293"/>
                </a:cubicBezTo>
                <a:cubicBezTo>
                  <a:pt x="349" y="292"/>
                  <a:pt x="350" y="290"/>
                  <a:pt x="351" y="287"/>
                </a:cubicBezTo>
                <a:cubicBezTo>
                  <a:pt x="353" y="279"/>
                  <a:pt x="355" y="275"/>
                  <a:pt x="356" y="275"/>
                </a:cubicBezTo>
                <a:cubicBezTo>
                  <a:pt x="357" y="275"/>
                  <a:pt x="357" y="275"/>
                  <a:pt x="357" y="274"/>
                </a:cubicBezTo>
                <a:lnTo>
                  <a:pt x="357" y="272"/>
                </a:lnTo>
                <a:cubicBezTo>
                  <a:pt x="357" y="272"/>
                  <a:pt x="357" y="271"/>
                  <a:pt x="357" y="271"/>
                </a:cubicBezTo>
                <a:cubicBezTo>
                  <a:pt x="358" y="271"/>
                  <a:pt x="358" y="270"/>
                  <a:pt x="358" y="268"/>
                </a:cubicBezTo>
                <a:lnTo>
                  <a:pt x="358" y="267"/>
                </a:lnTo>
                <a:cubicBezTo>
                  <a:pt x="358" y="266"/>
                  <a:pt x="358" y="265"/>
                  <a:pt x="359" y="265"/>
                </a:cubicBezTo>
                <a:cubicBezTo>
                  <a:pt x="360" y="265"/>
                  <a:pt x="360" y="264"/>
                  <a:pt x="360" y="262"/>
                </a:cubicBezTo>
                <a:lnTo>
                  <a:pt x="360" y="259"/>
                </a:lnTo>
                <a:cubicBezTo>
                  <a:pt x="360" y="259"/>
                  <a:pt x="360" y="259"/>
                  <a:pt x="360" y="259"/>
                </a:cubicBezTo>
                <a:lnTo>
                  <a:pt x="361" y="259"/>
                </a:lnTo>
                <a:cubicBezTo>
                  <a:pt x="361" y="260"/>
                  <a:pt x="362" y="260"/>
                  <a:pt x="362" y="260"/>
                </a:cubicBezTo>
                <a:cubicBezTo>
                  <a:pt x="364" y="260"/>
                  <a:pt x="365" y="258"/>
                  <a:pt x="365" y="255"/>
                </a:cubicBezTo>
                <a:cubicBezTo>
                  <a:pt x="365" y="253"/>
                  <a:pt x="364" y="252"/>
                  <a:pt x="364" y="252"/>
                </a:cubicBezTo>
                <a:cubicBezTo>
                  <a:pt x="364" y="251"/>
                  <a:pt x="363" y="250"/>
                  <a:pt x="363" y="249"/>
                </a:cubicBezTo>
                <a:cubicBezTo>
                  <a:pt x="363" y="249"/>
                  <a:pt x="364" y="249"/>
                  <a:pt x="364" y="249"/>
                </a:cubicBezTo>
                <a:lnTo>
                  <a:pt x="365" y="249"/>
                </a:lnTo>
                <a:cubicBezTo>
                  <a:pt x="366" y="249"/>
                  <a:pt x="367" y="249"/>
                  <a:pt x="368" y="248"/>
                </a:cubicBezTo>
                <a:cubicBezTo>
                  <a:pt x="368" y="247"/>
                  <a:pt x="369" y="246"/>
                  <a:pt x="369" y="246"/>
                </a:cubicBezTo>
                <a:cubicBezTo>
                  <a:pt x="369" y="245"/>
                  <a:pt x="368" y="245"/>
                  <a:pt x="368" y="245"/>
                </a:cubicBezTo>
                <a:lnTo>
                  <a:pt x="366" y="246"/>
                </a:lnTo>
                <a:lnTo>
                  <a:pt x="368" y="244"/>
                </a:lnTo>
                <a:cubicBezTo>
                  <a:pt x="369" y="243"/>
                  <a:pt x="370" y="241"/>
                  <a:pt x="371" y="240"/>
                </a:cubicBezTo>
                <a:cubicBezTo>
                  <a:pt x="372" y="238"/>
                  <a:pt x="372" y="237"/>
                  <a:pt x="372" y="236"/>
                </a:cubicBezTo>
                <a:cubicBezTo>
                  <a:pt x="372" y="235"/>
                  <a:pt x="372" y="235"/>
                  <a:pt x="371" y="235"/>
                </a:cubicBezTo>
                <a:lnTo>
                  <a:pt x="370" y="236"/>
                </a:lnTo>
                <a:cubicBezTo>
                  <a:pt x="370" y="235"/>
                  <a:pt x="371" y="234"/>
                  <a:pt x="372" y="232"/>
                </a:cubicBezTo>
                <a:lnTo>
                  <a:pt x="374" y="229"/>
                </a:lnTo>
                <a:lnTo>
                  <a:pt x="372" y="230"/>
                </a:lnTo>
                <a:cubicBezTo>
                  <a:pt x="372" y="230"/>
                  <a:pt x="372" y="230"/>
                  <a:pt x="372" y="229"/>
                </a:cubicBezTo>
                <a:cubicBezTo>
                  <a:pt x="372" y="228"/>
                  <a:pt x="372" y="228"/>
                  <a:pt x="373" y="227"/>
                </a:cubicBezTo>
                <a:cubicBezTo>
                  <a:pt x="373" y="226"/>
                  <a:pt x="374" y="225"/>
                  <a:pt x="374" y="225"/>
                </a:cubicBezTo>
                <a:cubicBezTo>
                  <a:pt x="375" y="225"/>
                  <a:pt x="375" y="224"/>
                  <a:pt x="375" y="222"/>
                </a:cubicBezTo>
                <a:lnTo>
                  <a:pt x="375" y="220"/>
                </a:lnTo>
                <a:cubicBezTo>
                  <a:pt x="375" y="219"/>
                  <a:pt x="376" y="218"/>
                  <a:pt x="377" y="218"/>
                </a:cubicBezTo>
                <a:lnTo>
                  <a:pt x="377" y="219"/>
                </a:lnTo>
                <a:cubicBezTo>
                  <a:pt x="378" y="219"/>
                  <a:pt x="378" y="219"/>
                  <a:pt x="379" y="218"/>
                </a:cubicBezTo>
                <a:cubicBezTo>
                  <a:pt x="380" y="217"/>
                  <a:pt x="380" y="216"/>
                  <a:pt x="380" y="215"/>
                </a:cubicBezTo>
                <a:cubicBezTo>
                  <a:pt x="380" y="215"/>
                  <a:pt x="380" y="215"/>
                  <a:pt x="379" y="215"/>
                </a:cubicBezTo>
                <a:lnTo>
                  <a:pt x="377" y="215"/>
                </a:lnTo>
                <a:cubicBezTo>
                  <a:pt x="377" y="215"/>
                  <a:pt x="377" y="215"/>
                  <a:pt x="377" y="215"/>
                </a:cubicBezTo>
                <a:cubicBezTo>
                  <a:pt x="377" y="214"/>
                  <a:pt x="378" y="212"/>
                  <a:pt x="379" y="208"/>
                </a:cubicBezTo>
                <a:cubicBezTo>
                  <a:pt x="379" y="206"/>
                  <a:pt x="380" y="205"/>
                  <a:pt x="380" y="205"/>
                </a:cubicBezTo>
                <a:cubicBezTo>
                  <a:pt x="380" y="204"/>
                  <a:pt x="381" y="203"/>
                  <a:pt x="383" y="203"/>
                </a:cubicBezTo>
                <a:cubicBezTo>
                  <a:pt x="383" y="203"/>
                  <a:pt x="383" y="202"/>
                  <a:pt x="383" y="199"/>
                </a:cubicBezTo>
                <a:cubicBezTo>
                  <a:pt x="383" y="197"/>
                  <a:pt x="384" y="195"/>
                  <a:pt x="385" y="194"/>
                </a:cubicBezTo>
                <a:cubicBezTo>
                  <a:pt x="387" y="193"/>
                  <a:pt x="388" y="193"/>
                  <a:pt x="388" y="192"/>
                </a:cubicBezTo>
                <a:lnTo>
                  <a:pt x="388" y="191"/>
                </a:lnTo>
                <a:cubicBezTo>
                  <a:pt x="387" y="191"/>
                  <a:pt x="387" y="190"/>
                  <a:pt x="387" y="189"/>
                </a:cubicBezTo>
                <a:cubicBezTo>
                  <a:pt x="387" y="188"/>
                  <a:pt x="388" y="185"/>
                  <a:pt x="389" y="183"/>
                </a:cubicBezTo>
                <a:cubicBezTo>
                  <a:pt x="390" y="176"/>
                  <a:pt x="392" y="173"/>
                  <a:pt x="394" y="173"/>
                </a:cubicBezTo>
                <a:cubicBezTo>
                  <a:pt x="395" y="173"/>
                  <a:pt x="396" y="172"/>
                  <a:pt x="396" y="171"/>
                </a:cubicBezTo>
                <a:cubicBezTo>
                  <a:pt x="396" y="170"/>
                  <a:pt x="397" y="168"/>
                  <a:pt x="397" y="166"/>
                </a:cubicBezTo>
                <a:lnTo>
                  <a:pt x="398" y="163"/>
                </a:lnTo>
                <a:lnTo>
                  <a:pt x="395" y="166"/>
                </a:lnTo>
                <a:cubicBezTo>
                  <a:pt x="395" y="166"/>
                  <a:pt x="395" y="166"/>
                  <a:pt x="395" y="165"/>
                </a:cubicBezTo>
                <a:cubicBezTo>
                  <a:pt x="395" y="164"/>
                  <a:pt x="396" y="161"/>
                  <a:pt x="398" y="155"/>
                </a:cubicBezTo>
                <a:lnTo>
                  <a:pt x="398" y="154"/>
                </a:lnTo>
                <a:cubicBezTo>
                  <a:pt x="398" y="154"/>
                  <a:pt x="397" y="153"/>
                  <a:pt x="396" y="153"/>
                </a:cubicBezTo>
                <a:cubicBezTo>
                  <a:pt x="395" y="154"/>
                  <a:pt x="394" y="155"/>
                  <a:pt x="393" y="156"/>
                </a:cubicBezTo>
                <a:lnTo>
                  <a:pt x="392" y="160"/>
                </a:lnTo>
                <a:cubicBezTo>
                  <a:pt x="392" y="161"/>
                  <a:pt x="391" y="163"/>
                  <a:pt x="391" y="164"/>
                </a:cubicBezTo>
                <a:cubicBezTo>
                  <a:pt x="390" y="168"/>
                  <a:pt x="389" y="171"/>
                  <a:pt x="387" y="174"/>
                </a:cubicBezTo>
                <a:lnTo>
                  <a:pt x="384" y="180"/>
                </a:lnTo>
                <a:cubicBezTo>
                  <a:pt x="384" y="183"/>
                  <a:pt x="384" y="185"/>
                  <a:pt x="384" y="185"/>
                </a:cubicBezTo>
                <a:cubicBezTo>
                  <a:pt x="382" y="185"/>
                  <a:pt x="382" y="184"/>
                  <a:pt x="382" y="182"/>
                </a:cubicBezTo>
                <a:lnTo>
                  <a:pt x="382" y="180"/>
                </a:lnTo>
                <a:cubicBezTo>
                  <a:pt x="384" y="175"/>
                  <a:pt x="386" y="170"/>
                  <a:pt x="388" y="163"/>
                </a:cubicBezTo>
                <a:cubicBezTo>
                  <a:pt x="390" y="157"/>
                  <a:pt x="391" y="152"/>
                  <a:pt x="391" y="148"/>
                </a:cubicBezTo>
                <a:lnTo>
                  <a:pt x="390" y="147"/>
                </a:lnTo>
                <a:lnTo>
                  <a:pt x="394" y="148"/>
                </a:lnTo>
                <a:cubicBezTo>
                  <a:pt x="394" y="148"/>
                  <a:pt x="394" y="148"/>
                  <a:pt x="394" y="147"/>
                </a:cubicBezTo>
                <a:lnTo>
                  <a:pt x="393" y="143"/>
                </a:lnTo>
                <a:cubicBezTo>
                  <a:pt x="393" y="142"/>
                  <a:pt x="394" y="142"/>
                  <a:pt x="395" y="142"/>
                </a:cubicBezTo>
                <a:lnTo>
                  <a:pt x="396" y="142"/>
                </a:lnTo>
                <a:cubicBezTo>
                  <a:pt x="396" y="142"/>
                  <a:pt x="396" y="142"/>
                  <a:pt x="396" y="141"/>
                </a:cubicBezTo>
                <a:lnTo>
                  <a:pt x="395" y="137"/>
                </a:lnTo>
                <a:cubicBezTo>
                  <a:pt x="395" y="136"/>
                  <a:pt x="396" y="136"/>
                  <a:pt x="397" y="136"/>
                </a:cubicBezTo>
                <a:lnTo>
                  <a:pt x="398" y="136"/>
                </a:lnTo>
                <a:cubicBezTo>
                  <a:pt x="398" y="136"/>
                  <a:pt x="398" y="136"/>
                  <a:pt x="398" y="135"/>
                </a:cubicBezTo>
                <a:lnTo>
                  <a:pt x="398" y="133"/>
                </a:lnTo>
                <a:cubicBezTo>
                  <a:pt x="398" y="130"/>
                  <a:pt x="398" y="128"/>
                  <a:pt x="400" y="127"/>
                </a:cubicBezTo>
                <a:cubicBezTo>
                  <a:pt x="401" y="125"/>
                  <a:pt x="401" y="123"/>
                  <a:pt x="401" y="120"/>
                </a:cubicBezTo>
                <a:lnTo>
                  <a:pt x="401" y="118"/>
                </a:lnTo>
                <a:cubicBezTo>
                  <a:pt x="401" y="117"/>
                  <a:pt x="401" y="117"/>
                  <a:pt x="401" y="117"/>
                </a:cubicBezTo>
                <a:lnTo>
                  <a:pt x="402" y="117"/>
                </a:lnTo>
                <a:cubicBezTo>
                  <a:pt x="402" y="118"/>
                  <a:pt x="403" y="118"/>
                  <a:pt x="403" y="118"/>
                </a:cubicBezTo>
                <a:cubicBezTo>
                  <a:pt x="404" y="118"/>
                  <a:pt x="405" y="116"/>
                  <a:pt x="405" y="111"/>
                </a:cubicBezTo>
                <a:cubicBezTo>
                  <a:pt x="405" y="106"/>
                  <a:pt x="404" y="102"/>
                  <a:pt x="402" y="100"/>
                </a:cubicBezTo>
                <a:cubicBezTo>
                  <a:pt x="400" y="98"/>
                  <a:pt x="399" y="97"/>
                  <a:pt x="399" y="97"/>
                </a:cubicBezTo>
                <a:cubicBezTo>
                  <a:pt x="398" y="97"/>
                  <a:pt x="398" y="97"/>
                  <a:pt x="398" y="97"/>
                </a:cubicBezTo>
                <a:cubicBezTo>
                  <a:pt x="398" y="101"/>
                  <a:pt x="399" y="103"/>
                  <a:pt x="401" y="104"/>
                </a:cubicBezTo>
                <a:lnTo>
                  <a:pt x="401" y="105"/>
                </a:lnTo>
                <a:cubicBezTo>
                  <a:pt x="401" y="106"/>
                  <a:pt x="400" y="106"/>
                  <a:pt x="399" y="106"/>
                </a:cubicBezTo>
                <a:cubicBezTo>
                  <a:pt x="397" y="106"/>
                  <a:pt x="396" y="107"/>
                  <a:pt x="396" y="108"/>
                </a:cubicBezTo>
                <a:cubicBezTo>
                  <a:pt x="396" y="109"/>
                  <a:pt x="397" y="109"/>
                  <a:pt x="398" y="109"/>
                </a:cubicBezTo>
                <a:lnTo>
                  <a:pt x="398" y="109"/>
                </a:lnTo>
                <a:cubicBezTo>
                  <a:pt x="398" y="109"/>
                  <a:pt x="399" y="110"/>
                  <a:pt x="399" y="110"/>
                </a:cubicBezTo>
                <a:cubicBezTo>
                  <a:pt x="399" y="113"/>
                  <a:pt x="398" y="115"/>
                  <a:pt x="397" y="115"/>
                </a:cubicBezTo>
                <a:cubicBezTo>
                  <a:pt x="397" y="115"/>
                  <a:pt x="397" y="115"/>
                  <a:pt x="396" y="114"/>
                </a:cubicBezTo>
                <a:cubicBezTo>
                  <a:pt x="396" y="114"/>
                  <a:pt x="395" y="113"/>
                  <a:pt x="395" y="113"/>
                </a:cubicBezTo>
                <a:cubicBezTo>
                  <a:pt x="395" y="113"/>
                  <a:pt x="394" y="114"/>
                  <a:pt x="394" y="115"/>
                </a:cubicBezTo>
                <a:cubicBezTo>
                  <a:pt x="394" y="117"/>
                  <a:pt x="393" y="118"/>
                  <a:pt x="393" y="118"/>
                </a:cubicBezTo>
                <a:cubicBezTo>
                  <a:pt x="393" y="119"/>
                  <a:pt x="394" y="120"/>
                  <a:pt x="394" y="120"/>
                </a:cubicBezTo>
                <a:lnTo>
                  <a:pt x="396" y="118"/>
                </a:lnTo>
                <a:cubicBezTo>
                  <a:pt x="396" y="118"/>
                  <a:pt x="396" y="119"/>
                  <a:pt x="396" y="119"/>
                </a:cubicBezTo>
                <a:cubicBezTo>
                  <a:pt x="396" y="120"/>
                  <a:pt x="396" y="122"/>
                  <a:pt x="394" y="126"/>
                </a:cubicBezTo>
                <a:cubicBezTo>
                  <a:pt x="393" y="130"/>
                  <a:pt x="392" y="132"/>
                  <a:pt x="390" y="132"/>
                </a:cubicBezTo>
                <a:lnTo>
                  <a:pt x="389" y="131"/>
                </a:lnTo>
                <a:lnTo>
                  <a:pt x="389" y="131"/>
                </a:lnTo>
                <a:cubicBezTo>
                  <a:pt x="389" y="131"/>
                  <a:pt x="389" y="132"/>
                  <a:pt x="390" y="133"/>
                </a:cubicBezTo>
                <a:cubicBezTo>
                  <a:pt x="391" y="134"/>
                  <a:pt x="391" y="135"/>
                  <a:pt x="391" y="136"/>
                </a:cubicBezTo>
                <a:cubicBezTo>
                  <a:pt x="391" y="137"/>
                  <a:pt x="391" y="137"/>
                  <a:pt x="390" y="137"/>
                </a:cubicBezTo>
                <a:cubicBezTo>
                  <a:pt x="390" y="138"/>
                  <a:pt x="389" y="138"/>
                  <a:pt x="389" y="138"/>
                </a:cubicBezTo>
                <a:lnTo>
                  <a:pt x="390" y="134"/>
                </a:lnTo>
                <a:lnTo>
                  <a:pt x="389" y="135"/>
                </a:lnTo>
                <a:cubicBezTo>
                  <a:pt x="389" y="136"/>
                  <a:pt x="389" y="137"/>
                  <a:pt x="388" y="137"/>
                </a:cubicBezTo>
                <a:cubicBezTo>
                  <a:pt x="388" y="137"/>
                  <a:pt x="388" y="138"/>
                  <a:pt x="388" y="139"/>
                </a:cubicBezTo>
                <a:cubicBezTo>
                  <a:pt x="388" y="140"/>
                  <a:pt x="387" y="141"/>
                  <a:pt x="386" y="142"/>
                </a:cubicBezTo>
                <a:cubicBezTo>
                  <a:pt x="385" y="143"/>
                  <a:pt x="385" y="144"/>
                  <a:pt x="385" y="144"/>
                </a:cubicBezTo>
                <a:lnTo>
                  <a:pt x="389" y="143"/>
                </a:lnTo>
                <a:cubicBezTo>
                  <a:pt x="389" y="143"/>
                  <a:pt x="388" y="144"/>
                  <a:pt x="387" y="145"/>
                </a:cubicBezTo>
                <a:cubicBezTo>
                  <a:pt x="386" y="146"/>
                  <a:pt x="386" y="147"/>
                  <a:pt x="386" y="148"/>
                </a:cubicBezTo>
                <a:cubicBezTo>
                  <a:pt x="386" y="149"/>
                  <a:pt x="386" y="149"/>
                  <a:pt x="386" y="150"/>
                </a:cubicBezTo>
                <a:lnTo>
                  <a:pt x="386" y="150"/>
                </a:lnTo>
                <a:lnTo>
                  <a:pt x="385" y="150"/>
                </a:lnTo>
                <a:cubicBezTo>
                  <a:pt x="384" y="150"/>
                  <a:pt x="383" y="150"/>
                  <a:pt x="383" y="151"/>
                </a:cubicBezTo>
                <a:cubicBezTo>
                  <a:pt x="383" y="152"/>
                  <a:pt x="382" y="153"/>
                  <a:pt x="382" y="154"/>
                </a:cubicBezTo>
                <a:cubicBezTo>
                  <a:pt x="382" y="154"/>
                  <a:pt x="381" y="155"/>
                  <a:pt x="380" y="155"/>
                </a:cubicBezTo>
                <a:cubicBezTo>
                  <a:pt x="380" y="155"/>
                  <a:pt x="379" y="155"/>
                  <a:pt x="379" y="156"/>
                </a:cubicBezTo>
                <a:cubicBezTo>
                  <a:pt x="379" y="157"/>
                  <a:pt x="380" y="158"/>
                  <a:pt x="382" y="158"/>
                </a:cubicBezTo>
                <a:lnTo>
                  <a:pt x="384" y="158"/>
                </a:lnTo>
                <a:cubicBezTo>
                  <a:pt x="384" y="158"/>
                  <a:pt x="383" y="159"/>
                  <a:pt x="381" y="161"/>
                </a:cubicBezTo>
                <a:cubicBezTo>
                  <a:pt x="379" y="164"/>
                  <a:pt x="377" y="166"/>
                  <a:pt x="377" y="166"/>
                </a:cubicBezTo>
                <a:cubicBezTo>
                  <a:pt x="377" y="167"/>
                  <a:pt x="377" y="167"/>
                  <a:pt x="377" y="167"/>
                </a:cubicBezTo>
                <a:cubicBezTo>
                  <a:pt x="378" y="167"/>
                  <a:pt x="378" y="167"/>
                  <a:pt x="379" y="166"/>
                </a:cubicBezTo>
                <a:lnTo>
                  <a:pt x="380" y="165"/>
                </a:lnTo>
                <a:cubicBezTo>
                  <a:pt x="380" y="166"/>
                  <a:pt x="379" y="168"/>
                  <a:pt x="377" y="170"/>
                </a:cubicBezTo>
                <a:cubicBezTo>
                  <a:pt x="375" y="173"/>
                  <a:pt x="374" y="174"/>
                  <a:pt x="374" y="175"/>
                </a:cubicBezTo>
                <a:cubicBezTo>
                  <a:pt x="374" y="175"/>
                  <a:pt x="374" y="175"/>
                  <a:pt x="374" y="175"/>
                </a:cubicBezTo>
                <a:lnTo>
                  <a:pt x="379" y="174"/>
                </a:lnTo>
                <a:cubicBezTo>
                  <a:pt x="379" y="174"/>
                  <a:pt x="378" y="175"/>
                  <a:pt x="377" y="176"/>
                </a:cubicBezTo>
                <a:cubicBezTo>
                  <a:pt x="376" y="178"/>
                  <a:pt x="375" y="178"/>
                  <a:pt x="375" y="179"/>
                </a:cubicBezTo>
                <a:cubicBezTo>
                  <a:pt x="375" y="179"/>
                  <a:pt x="376" y="179"/>
                  <a:pt x="376" y="179"/>
                </a:cubicBezTo>
                <a:cubicBezTo>
                  <a:pt x="376" y="179"/>
                  <a:pt x="377" y="179"/>
                  <a:pt x="377" y="180"/>
                </a:cubicBezTo>
                <a:cubicBezTo>
                  <a:pt x="377" y="180"/>
                  <a:pt x="375" y="182"/>
                  <a:pt x="372" y="186"/>
                </a:cubicBezTo>
                <a:cubicBezTo>
                  <a:pt x="370" y="188"/>
                  <a:pt x="369" y="190"/>
                  <a:pt x="369" y="191"/>
                </a:cubicBezTo>
                <a:cubicBezTo>
                  <a:pt x="369" y="191"/>
                  <a:pt x="369" y="192"/>
                  <a:pt x="370" y="192"/>
                </a:cubicBezTo>
                <a:cubicBezTo>
                  <a:pt x="370" y="192"/>
                  <a:pt x="370" y="192"/>
                  <a:pt x="370" y="192"/>
                </a:cubicBezTo>
                <a:lnTo>
                  <a:pt x="370" y="192"/>
                </a:lnTo>
                <a:cubicBezTo>
                  <a:pt x="370" y="193"/>
                  <a:pt x="370" y="194"/>
                  <a:pt x="368" y="195"/>
                </a:cubicBezTo>
                <a:cubicBezTo>
                  <a:pt x="366" y="197"/>
                  <a:pt x="365" y="198"/>
                  <a:pt x="365" y="199"/>
                </a:cubicBezTo>
                <a:lnTo>
                  <a:pt x="366" y="200"/>
                </a:lnTo>
                <a:cubicBezTo>
                  <a:pt x="366" y="203"/>
                  <a:pt x="366" y="204"/>
                  <a:pt x="365" y="204"/>
                </a:cubicBezTo>
                <a:lnTo>
                  <a:pt x="364" y="206"/>
                </a:lnTo>
                <a:cubicBezTo>
                  <a:pt x="364" y="206"/>
                  <a:pt x="363" y="205"/>
                  <a:pt x="363" y="205"/>
                </a:cubicBezTo>
                <a:lnTo>
                  <a:pt x="365" y="202"/>
                </a:lnTo>
                <a:cubicBezTo>
                  <a:pt x="364" y="202"/>
                  <a:pt x="364" y="202"/>
                  <a:pt x="363" y="203"/>
                </a:cubicBezTo>
                <a:cubicBezTo>
                  <a:pt x="363" y="203"/>
                  <a:pt x="362" y="204"/>
                  <a:pt x="362" y="205"/>
                </a:cubicBezTo>
                <a:cubicBezTo>
                  <a:pt x="362" y="206"/>
                  <a:pt x="361" y="206"/>
                  <a:pt x="361" y="207"/>
                </a:cubicBezTo>
                <a:cubicBezTo>
                  <a:pt x="361" y="208"/>
                  <a:pt x="362" y="209"/>
                  <a:pt x="362" y="209"/>
                </a:cubicBezTo>
                <a:lnTo>
                  <a:pt x="364" y="209"/>
                </a:lnTo>
                <a:lnTo>
                  <a:pt x="363" y="215"/>
                </a:lnTo>
                <a:cubicBezTo>
                  <a:pt x="360" y="220"/>
                  <a:pt x="359" y="223"/>
                  <a:pt x="359" y="224"/>
                </a:cubicBezTo>
                <a:cubicBezTo>
                  <a:pt x="358" y="224"/>
                  <a:pt x="358" y="223"/>
                  <a:pt x="357" y="223"/>
                </a:cubicBezTo>
                <a:cubicBezTo>
                  <a:pt x="357" y="223"/>
                  <a:pt x="357" y="223"/>
                  <a:pt x="357" y="224"/>
                </a:cubicBezTo>
                <a:lnTo>
                  <a:pt x="357" y="225"/>
                </a:lnTo>
                <a:cubicBezTo>
                  <a:pt x="357" y="227"/>
                  <a:pt x="356" y="228"/>
                  <a:pt x="355" y="228"/>
                </a:cubicBezTo>
                <a:cubicBezTo>
                  <a:pt x="355" y="228"/>
                  <a:pt x="354" y="230"/>
                  <a:pt x="353" y="233"/>
                </a:cubicBezTo>
                <a:cubicBezTo>
                  <a:pt x="352" y="236"/>
                  <a:pt x="352" y="238"/>
                  <a:pt x="350" y="238"/>
                </a:cubicBezTo>
                <a:cubicBezTo>
                  <a:pt x="349" y="238"/>
                  <a:pt x="348" y="237"/>
                  <a:pt x="347" y="234"/>
                </a:cubicBezTo>
                <a:lnTo>
                  <a:pt x="347" y="232"/>
                </a:lnTo>
                <a:cubicBezTo>
                  <a:pt x="347" y="231"/>
                  <a:pt x="347" y="231"/>
                  <a:pt x="347" y="231"/>
                </a:cubicBezTo>
                <a:lnTo>
                  <a:pt x="349" y="232"/>
                </a:lnTo>
                <a:cubicBezTo>
                  <a:pt x="350" y="232"/>
                  <a:pt x="350" y="232"/>
                  <a:pt x="350" y="231"/>
                </a:cubicBezTo>
                <a:cubicBezTo>
                  <a:pt x="350" y="231"/>
                  <a:pt x="350" y="230"/>
                  <a:pt x="349" y="230"/>
                </a:cubicBezTo>
                <a:cubicBezTo>
                  <a:pt x="349" y="229"/>
                  <a:pt x="349" y="228"/>
                  <a:pt x="349" y="228"/>
                </a:cubicBezTo>
                <a:cubicBezTo>
                  <a:pt x="349" y="227"/>
                  <a:pt x="349" y="227"/>
                  <a:pt x="350" y="227"/>
                </a:cubicBezTo>
                <a:cubicBezTo>
                  <a:pt x="351" y="227"/>
                  <a:pt x="352" y="226"/>
                  <a:pt x="353" y="225"/>
                </a:cubicBezTo>
                <a:cubicBezTo>
                  <a:pt x="355" y="220"/>
                  <a:pt x="356" y="216"/>
                  <a:pt x="356" y="213"/>
                </a:cubicBezTo>
                <a:cubicBezTo>
                  <a:pt x="356" y="210"/>
                  <a:pt x="356" y="209"/>
                  <a:pt x="357" y="209"/>
                </a:cubicBezTo>
                <a:lnTo>
                  <a:pt x="358" y="209"/>
                </a:lnTo>
                <a:lnTo>
                  <a:pt x="359" y="209"/>
                </a:lnTo>
                <a:lnTo>
                  <a:pt x="358" y="207"/>
                </a:lnTo>
                <a:cubicBezTo>
                  <a:pt x="357" y="206"/>
                  <a:pt x="357" y="206"/>
                  <a:pt x="357" y="205"/>
                </a:cubicBezTo>
                <a:cubicBezTo>
                  <a:pt x="357" y="204"/>
                  <a:pt x="357" y="203"/>
                  <a:pt x="359" y="201"/>
                </a:cubicBezTo>
                <a:cubicBezTo>
                  <a:pt x="361" y="200"/>
                  <a:pt x="362" y="198"/>
                  <a:pt x="362" y="198"/>
                </a:cubicBezTo>
                <a:cubicBezTo>
                  <a:pt x="362" y="198"/>
                  <a:pt x="362" y="198"/>
                  <a:pt x="362" y="198"/>
                </a:cubicBezTo>
                <a:cubicBezTo>
                  <a:pt x="361" y="198"/>
                  <a:pt x="361" y="197"/>
                  <a:pt x="361" y="195"/>
                </a:cubicBezTo>
                <a:cubicBezTo>
                  <a:pt x="362" y="193"/>
                  <a:pt x="362" y="192"/>
                  <a:pt x="363" y="192"/>
                </a:cubicBezTo>
                <a:lnTo>
                  <a:pt x="363" y="192"/>
                </a:lnTo>
                <a:cubicBezTo>
                  <a:pt x="364" y="192"/>
                  <a:pt x="365" y="187"/>
                  <a:pt x="366" y="176"/>
                </a:cubicBezTo>
                <a:cubicBezTo>
                  <a:pt x="366" y="174"/>
                  <a:pt x="366" y="173"/>
                  <a:pt x="367" y="173"/>
                </a:cubicBezTo>
                <a:lnTo>
                  <a:pt x="371" y="175"/>
                </a:lnTo>
                <a:lnTo>
                  <a:pt x="370" y="174"/>
                </a:lnTo>
                <a:cubicBezTo>
                  <a:pt x="370" y="171"/>
                  <a:pt x="371" y="167"/>
                  <a:pt x="372" y="162"/>
                </a:cubicBezTo>
                <a:cubicBezTo>
                  <a:pt x="374" y="158"/>
                  <a:pt x="374" y="154"/>
                  <a:pt x="374" y="151"/>
                </a:cubicBezTo>
                <a:cubicBezTo>
                  <a:pt x="374" y="150"/>
                  <a:pt x="375" y="148"/>
                  <a:pt x="377" y="147"/>
                </a:cubicBezTo>
                <a:cubicBezTo>
                  <a:pt x="378" y="146"/>
                  <a:pt x="379" y="145"/>
                  <a:pt x="379" y="143"/>
                </a:cubicBezTo>
                <a:cubicBezTo>
                  <a:pt x="379" y="142"/>
                  <a:pt x="380" y="140"/>
                  <a:pt x="381" y="138"/>
                </a:cubicBezTo>
                <a:cubicBezTo>
                  <a:pt x="382" y="137"/>
                  <a:pt x="383" y="134"/>
                  <a:pt x="384" y="132"/>
                </a:cubicBezTo>
                <a:cubicBezTo>
                  <a:pt x="384" y="129"/>
                  <a:pt x="385" y="127"/>
                  <a:pt x="385" y="125"/>
                </a:cubicBezTo>
                <a:cubicBezTo>
                  <a:pt x="385" y="124"/>
                  <a:pt x="384" y="124"/>
                  <a:pt x="384" y="124"/>
                </a:cubicBezTo>
                <a:lnTo>
                  <a:pt x="383" y="124"/>
                </a:lnTo>
                <a:lnTo>
                  <a:pt x="384" y="122"/>
                </a:lnTo>
                <a:cubicBezTo>
                  <a:pt x="385" y="120"/>
                  <a:pt x="385" y="119"/>
                  <a:pt x="385" y="117"/>
                </a:cubicBezTo>
                <a:cubicBezTo>
                  <a:pt x="385" y="117"/>
                  <a:pt x="385" y="117"/>
                  <a:pt x="385" y="117"/>
                </a:cubicBezTo>
                <a:lnTo>
                  <a:pt x="386" y="116"/>
                </a:lnTo>
                <a:cubicBezTo>
                  <a:pt x="387" y="116"/>
                  <a:pt x="388" y="116"/>
                  <a:pt x="388" y="115"/>
                </a:cubicBezTo>
                <a:lnTo>
                  <a:pt x="388" y="113"/>
                </a:lnTo>
                <a:cubicBezTo>
                  <a:pt x="388" y="111"/>
                  <a:pt x="388" y="109"/>
                  <a:pt x="389" y="108"/>
                </a:cubicBezTo>
                <a:lnTo>
                  <a:pt x="390" y="106"/>
                </a:lnTo>
                <a:lnTo>
                  <a:pt x="387" y="108"/>
                </a:lnTo>
                <a:cubicBezTo>
                  <a:pt x="387" y="108"/>
                  <a:pt x="387" y="107"/>
                  <a:pt x="387" y="107"/>
                </a:cubicBezTo>
                <a:cubicBezTo>
                  <a:pt x="387" y="107"/>
                  <a:pt x="387" y="106"/>
                  <a:pt x="389" y="105"/>
                </a:cubicBezTo>
                <a:cubicBezTo>
                  <a:pt x="390" y="103"/>
                  <a:pt x="391" y="101"/>
                  <a:pt x="391" y="99"/>
                </a:cubicBezTo>
                <a:lnTo>
                  <a:pt x="391" y="97"/>
                </a:lnTo>
                <a:cubicBezTo>
                  <a:pt x="391" y="96"/>
                  <a:pt x="392" y="96"/>
                  <a:pt x="392" y="96"/>
                </a:cubicBezTo>
                <a:cubicBezTo>
                  <a:pt x="393" y="96"/>
                  <a:pt x="394" y="95"/>
                  <a:pt x="394" y="94"/>
                </a:cubicBezTo>
                <a:lnTo>
                  <a:pt x="393" y="93"/>
                </a:lnTo>
                <a:cubicBezTo>
                  <a:pt x="393" y="90"/>
                  <a:pt x="394" y="90"/>
                  <a:pt x="394" y="90"/>
                </a:cubicBezTo>
                <a:cubicBezTo>
                  <a:pt x="395" y="90"/>
                  <a:pt x="395" y="88"/>
                  <a:pt x="395" y="83"/>
                </a:cubicBezTo>
                <a:cubicBezTo>
                  <a:pt x="395" y="80"/>
                  <a:pt x="396" y="77"/>
                  <a:pt x="397" y="75"/>
                </a:cubicBezTo>
                <a:cubicBezTo>
                  <a:pt x="399" y="74"/>
                  <a:pt x="399" y="73"/>
                  <a:pt x="399" y="72"/>
                </a:cubicBezTo>
                <a:cubicBezTo>
                  <a:pt x="399" y="72"/>
                  <a:pt x="399" y="71"/>
                  <a:pt x="398" y="71"/>
                </a:cubicBezTo>
                <a:cubicBezTo>
                  <a:pt x="397" y="71"/>
                  <a:pt x="397" y="71"/>
                  <a:pt x="397" y="71"/>
                </a:cubicBezTo>
                <a:cubicBezTo>
                  <a:pt x="397" y="70"/>
                  <a:pt x="397" y="69"/>
                  <a:pt x="398" y="67"/>
                </a:cubicBezTo>
                <a:cubicBezTo>
                  <a:pt x="398" y="66"/>
                  <a:pt x="399" y="64"/>
                  <a:pt x="399" y="61"/>
                </a:cubicBezTo>
                <a:lnTo>
                  <a:pt x="398" y="60"/>
                </a:lnTo>
                <a:lnTo>
                  <a:pt x="399" y="60"/>
                </a:lnTo>
                <a:cubicBezTo>
                  <a:pt x="400" y="60"/>
                  <a:pt x="400" y="56"/>
                  <a:pt x="400" y="50"/>
                </a:cubicBezTo>
                <a:cubicBezTo>
                  <a:pt x="400" y="43"/>
                  <a:pt x="400" y="39"/>
                  <a:pt x="400" y="38"/>
                </a:cubicBezTo>
                <a:cubicBezTo>
                  <a:pt x="399" y="37"/>
                  <a:pt x="399" y="37"/>
                  <a:pt x="399" y="37"/>
                </a:cubicBezTo>
                <a:lnTo>
                  <a:pt x="394" y="65"/>
                </a:lnTo>
                <a:cubicBezTo>
                  <a:pt x="394" y="67"/>
                  <a:pt x="394" y="68"/>
                  <a:pt x="394" y="70"/>
                </a:cubicBezTo>
                <a:cubicBezTo>
                  <a:pt x="394" y="71"/>
                  <a:pt x="393" y="71"/>
                  <a:pt x="392" y="71"/>
                </a:cubicBezTo>
                <a:cubicBezTo>
                  <a:pt x="392" y="71"/>
                  <a:pt x="391" y="72"/>
                  <a:pt x="391" y="74"/>
                </a:cubicBezTo>
                <a:lnTo>
                  <a:pt x="391" y="76"/>
                </a:lnTo>
                <a:cubicBezTo>
                  <a:pt x="391" y="77"/>
                  <a:pt x="391" y="78"/>
                  <a:pt x="390" y="78"/>
                </a:cubicBezTo>
                <a:cubicBezTo>
                  <a:pt x="389" y="78"/>
                  <a:pt x="389" y="78"/>
                  <a:pt x="389" y="81"/>
                </a:cubicBezTo>
                <a:lnTo>
                  <a:pt x="389" y="83"/>
                </a:lnTo>
                <a:cubicBezTo>
                  <a:pt x="389" y="83"/>
                  <a:pt x="389" y="83"/>
                  <a:pt x="389" y="83"/>
                </a:cubicBezTo>
                <a:lnTo>
                  <a:pt x="385" y="82"/>
                </a:lnTo>
                <a:lnTo>
                  <a:pt x="385" y="83"/>
                </a:lnTo>
                <a:cubicBezTo>
                  <a:pt x="385" y="83"/>
                  <a:pt x="386" y="84"/>
                  <a:pt x="387" y="85"/>
                </a:cubicBezTo>
                <a:cubicBezTo>
                  <a:pt x="387" y="86"/>
                  <a:pt x="388" y="87"/>
                  <a:pt x="388" y="88"/>
                </a:cubicBezTo>
                <a:cubicBezTo>
                  <a:pt x="388" y="90"/>
                  <a:pt x="387" y="91"/>
                  <a:pt x="385" y="91"/>
                </a:cubicBezTo>
                <a:lnTo>
                  <a:pt x="381" y="90"/>
                </a:lnTo>
                <a:lnTo>
                  <a:pt x="383" y="92"/>
                </a:lnTo>
                <a:cubicBezTo>
                  <a:pt x="385" y="93"/>
                  <a:pt x="386" y="94"/>
                  <a:pt x="386" y="95"/>
                </a:cubicBezTo>
                <a:cubicBezTo>
                  <a:pt x="386" y="96"/>
                  <a:pt x="385" y="97"/>
                  <a:pt x="385" y="98"/>
                </a:cubicBezTo>
                <a:cubicBezTo>
                  <a:pt x="384" y="99"/>
                  <a:pt x="383" y="103"/>
                  <a:pt x="382" y="109"/>
                </a:cubicBezTo>
                <a:cubicBezTo>
                  <a:pt x="380" y="115"/>
                  <a:pt x="380" y="118"/>
                  <a:pt x="379" y="118"/>
                </a:cubicBezTo>
                <a:cubicBezTo>
                  <a:pt x="378" y="118"/>
                  <a:pt x="377" y="119"/>
                  <a:pt x="377" y="120"/>
                </a:cubicBezTo>
                <a:lnTo>
                  <a:pt x="377" y="120"/>
                </a:lnTo>
                <a:cubicBezTo>
                  <a:pt x="377" y="122"/>
                  <a:pt x="377" y="125"/>
                  <a:pt x="375" y="131"/>
                </a:cubicBezTo>
                <a:cubicBezTo>
                  <a:pt x="373" y="141"/>
                  <a:pt x="369" y="152"/>
                  <a:pt x="363" y="166"/>
                </a:cubicBezTo>
                <a:cubicBezTo>
                  <a:pt x="363" y="167"/>
                  <a:pt x="362" y="169"/>
                  <a:pt x="361" y="172"/>
                </a:cubicBezTo>
                <a:cubicBezTo>
                  <a:pt x="360" y="174"/>
                  <a:pt x="359" y="177"/>
                  <a:pt x="358" y="180"/>
                </a:cubicBezTo>
                <a:cubicBezTo>
                  <a:pt x="357" y="182"/>
                  <a:pt x="356" y="185"/>
                  <a:pt x="355" y="188"/>
                </a:cubicBezTo>
                <a:lnTo>
                  <a:pt x="351" y="201"/>
                </a:lnTo>
                <a:cubicBezTo>
                  <a:pt x="349" y="207"/>
                  <a:pt x="347" y="212"/>
                  <a:pt x="345" y="214"/>
                </a:cubicBezTo>
                <a:cubicBezTo>
                  <a:pt x="343" y="215"/>
                  <a:pt x="343" y="218"/>
                  <a:pt x="343" y="220"/>
                </a:cubicBezTo>
                <a:lnTo>
                  <a:pt x="343" y="223"/>
                </a:lnTo>
                <a:cubicBezTo>
                  <a:pt x="343" y="223"/>
                  <a:pt x="343" y="224"/>
                  <a:pt x="343" y="224"/>
                </a:cubicBezTo>
                <a:lnTo>
                  <a:pt x="341" y="223"/>
                </a:lnTo>
                <a:cubicBezTo>
                  <a:pt x="340" y="223"/>
                  <a:pt x="340" y="223"/>
                  <a:pt x="340" y="223"/>
                </a:cubicBezTo>
                <a:lnTo>
                  <a:pt x="341" y="227"/>
                </a:lnTo>
                <a:cubicBezTo>
                  <a:pt x="341" y="228"/>
                  <a:pt x="341" y="228"/>
                  <a:pt x="341" y="228"/>
                </a:cubicBezTo>
                <a:lnTo>
                  <a:pt x="340" y="228"/>
                </a:lnTo>
                <a:cubicBezTo>
                  <a:pt x="339" y="228"/>
                  <a:pt x="338" y="229"/>
                  <a:pt x="337" y="231"/>
                </a:cubicBezTo>
                <a:cubicBezTo>
                  <a:pt x="337" y="233"/>
                  <a:pt x="335" y="236"/>
                  <a:pt x="335" y="238"/>
                </a:cubicBezTo>
                <a:cubicBezTo>
                  <a:pt x="333" y="241"/>
                  <a:pt x="333" y="244"/>
                  <a:pt x="333" y="245"/>
                </a:cubicBezTo>
                <a:cubicBezTo>
                  <a:pt x="333" y="246"/>
                  <a:pt x="333" y="247"/>
                  <a:pt x="333" y="247"/>
                </a:cubicBezTo>
                <a:cubicBezTo>
                  <a:pt x="334" y="247"/>
                  <a:pt x="334" y="248"/>
                  <a:pt x="334" y="248"/>
                </a:cubicBezTo>
                <a:lnTo>
                  <a:pt x="333" y="248"/>
                </a:lnTo>
                <a:cubicBezTo>
                  <a:pt x="332" y="248"/>
                  <a:pt x="330" y="249"/>
                  <a:pt x="330" y="251"/>
                </a:cubicBezTo>
                <a:cubicBezTo>
                  <a:pt x="329" y="254"/>
                  <a:pt x="327" y="255"/>
                  <a:pt x="326" y="255"/>
                </a:cubicBezTo>
                <a:cubicBezTo>
                  <a:pt x="324" y="255"/>
                  <a:pt x="323" y="255"/>
                  <a:pt x="323" y="257"/>
                </a:cubicBezTo>
                <a:cubicBezTo>
                  <a:pt x="323" y="258"/>
                  <a:pt x="323" y="258"/>
                  <a:pt x="325" y="258"/>
                </a:cubicBezTo>
                <a:lnTo>
                  <a:pt x="325" y="257"/>
                </a:lnTo>
                <a:cubicBezTo>
                  <a:pt x="326" y="257"/>
                  <a:pt x="326" y="258"/>
                  <a:pt x="326" y="258"/>
                </a:cubicBezTo>
                <a:cubicBezTo>
                  <a:pt x="326" y="259"/>
                  <a:pt x="325" y="261"/>
                  <a:pt x="324" y="262"/>
                </a:cubicBezTo>
                <a:lnTo>
                  <a:pt x="322" y="262"/>
                </a:lnTo>
                <a:cubicBezTo>
                  <a:pt x="322" y="262"/>
                  <a:pt x="321" y="263"/>
                  <a:pt x="320" y="265"/>
                </a:cubicBezTo>
                <a:cubicBezTo>
                  <a:pt x="319" y="267"/>
                  <a:pt x="317" y="272"/>
                  <a:pt x="314" y="280"/>
                </a:cubicBezTo>
                <a:cubicBezTo>
                  <a:pt x="313" y="283"/>
                  <a:pt x="312" y="286"/>
                  <a:pt x="311" y="289"/>
                </a:cubicBezTo>
                <a:cubicBezTo>
                  <a:pt x="310" y="292"/>
                  <a:pt x="309" y="295"/>
                  <a:pt x="308" y="296"/>
                </a:cubicBezTo>
                <a:cubicBezTo>
                  <a:pt x="307" y="298"/>
                  <a:pt x="306" y="300"/>
                  <a:pt x="306" y="302"/>
                </a:cubicBezTo>
                <a:cubicBezTo>
                  <a:pt x="305" y="304"/>
                  <a:pt x="305" y="306"/>
                  <a:pt x="304" y="307"/>
                </a:cubicBezTo>
                <a:cubicBezTo>
                  <a:pt x="303" y="308"/>
                  <a:pt x="303" y="310"/>
                  <a:pt x="303" y="311"/>
                </a:cubicBezTo>
                <a:cubicBezTo>
                  <a:pt x="303" y="311"/>
                  <a:pt x="303" y="312"/>
                  <a:pt x="303" y="313"/>
                </a:cubicBezTo>
                <a:cubicBezTo>
                  <a:pt x="302" y="314"/>
                  <a:pt x="302" y="316"/>
                  <a:pt x="301" y="317"/>
                </a:cubicBezTo>
                <a:cubicBezTo>
                  <a:pt x="298" y="322"/>
                  <a:pt x="296" y="325"/>
                  <a:pt x="294" y="325"/>
                </a:cubicBezTo>
                <a:lnTo>
                  <a:pt x="293" y="325"/>
                </a:lnTo>
                <a:cubicBezTo>
                  <a:pt x="292" y="325"/>
                  <a:pt x="292" y="325"/>
                  <a:pt x="292" y="326"/>
                </a:cubicBezTo>
                <a:cubicBezTo>
                  <a:pt x="292" y="326"/>
                  <a:pt x="292" y="327"/>
                  <a:pt x="293" y="327"/>
                </a:cubicBezTo>
                <a:cubicBezTo>
                  <a:pt x="293" y="328"/>
                  <a:pt x="293" y="328"/>
                  <a:pt x="294" y="328"/>
                </a:cubicBezTo>
                <a:cubicBezTo>
                  <a:pt x="295" y="328"/>
                  <a:pt x="295" y="329"/>
                  <a:pt x="295" y="330"/>
                </a:cubicBezTo>
                <a:cubicBezTo>
                  <a:pt x="295" y="332"/>
                  <a:pt x="295" y="333"/>
                  <a:pt x="293" y="335"/>
                </a:cubicBezTo>
                <a:cubicBezTo>
                  <a:pt x="293" y="336"/>
                  <a:pt x="293" y="337"/>
                  <a:pt x="293" y="338"/>
                </a:cubicBezTo>
                <a:cubicBezTo>
                  <a:pt x="293" y="339"/>
                  <a:pt x="293" y="340"/>
                  <a:pt x="293" y="341"/>
                </a:cubicBezTo>
                <a:cubicBezTo>
                  <a:pt x="293" y="342"/>
                  <a:pt x="294" y="343"/>
                  <a:pt x="294" y="343"/>
                </a:cubicBezTo>
                <a:cubicBezTo>
                  <a:pt x="294" y="344"/>
                  <a:pt x="293" y="344"/>
                  <a:pt x="293" y="344"/>
                </a:cubicBezTo>
                <a:lnTo>
                  <a:pt x="291" y="344"/>
                </a:lnTo>
                <a:cubicBezTo>
                  <a:pt x="289" y="344"/>
                  <a:pt x="286" y="348"/>
                  <a:pt x="283" y="357"/>
                </a:cubicBezTo>
                <a:cubicBezTo>
                  <a:pt x="280" y="365"/>
                  <a:pt x="278" y="370"/>
                  <a:pt x="278" y="372"/>
                </a:cubicBezTo>
                <a:cubicBezTo>
                  <a:pt x="278" y="372"/>
                  <a:pt x="279" y="372"/>
                  <a:pt x="279" y="372"/>
                </a:cubicBezTo>
                <a:lnTo>
                  <a:pt x="281" y="372"/>
                </a:lnTo>
                <a:cubicBezTo>
                  <a:pt x="282" y="372"/>
                  <a:pt x="282" y="372"/>
                  <a:pt x="282" y="373"/>
                </a:cubicBezTo>
                <a:cubicBezTo>
                  <a:pt x="282" y="374"/>
                  <a:pt x="281" y="374"/>
                  <a:pt x="280" y="374"/>
                </a:cubicBezTo>
                <a:lnTo>
                  <a:pt x="279" y="374"/>
                </a:lnTo>
                <a:cubicBezTo>
                  <a:pt x="278" y="374"/>
                  <a:pt x="276" y="376"/>
                  <a:pt x="274" y="380"/>
                </a:cubicBezTo>
                <a:cubicBezTo>
                  <a:pt x="272" y="384"/>
                  <a:pt x="270" y="388"/>
                  <a:pt x="269" y="393"/>
                </a:cubicBezTo>
                <a:cubicBezTo>
                  <a:pt x="267" y="398"/>
                  <a:pt x="266" y="402"/>
                  <a:pt x="266" y="404"/>
                </a:cubicBezTo>
                <a:cubicBezTo>
                  <a:pt x="266" y="405"/>
                  <a:pt x="267" y="406"/>
                  <a:pt x="267" y="406"/>
                </a:cubicBezTo>
                <a:lnTo>
                  <a:pt x="268" y="407"/>
                </a:lnTo>
                <a:lnTo>
                  <a:pt x="265" y="406"/>
                </a:lnTo>
                <a:cubicBezTo>
                  <a:pt x="263" y="406"/>
                  <a:pt x="263" y="407"/>
                  <a:pt x="263" y="409"/>
                </a:cubicBezTo>
                <a:cubicBezTo>
                  <a:pt x="263" y="410"/>
                  <a:pt x="263" y="411"/>
                  <a:pt x="265" y="412"/>
                </a:cubicBezTo>
                <a:lnTo>
                  <a:pt x="265" y="413"/>
                </a:lnTo>
                <a:lnTo>
                  <a:pt x="263" y="412"/>
                </a:lnTo>
                <a:cubicBezTo>
                  <a:pt x="262" y="412"/>
                  <a:pt x="261" y="413"/>
                  <a:pt x="261" y="415"/>
                </a:cubicBezTo>
                <a:cubicBezTo>
                  <a:pt x="261" y="416"/>
                  <a:pt x="261" y="417"/>
                  <a:pt x="262" y="417"/>
                </a:cubicBezTo>
                <a:lnTo>
                  <a:pt x="264" y="416"/>
                </a:lnTo>
                <a:cubicBezTo>
                  <a:pt x="264" y="416"/>
                  <a:pt x="265" y="416"/>
                  <a:pt x="265" y="417"/>
                </a:cubicBezTo>
                <a:lnTo>
                  <a:pt x="264" y="418"/>
                </a:lnTo>
                <a:cubicBezTo>
                  <a:pt x="263" y="418"/>
                  <a:pt x="263" y="419"/>
                  <a:pt x="261" y="419"/>
                </a:cubicBezTo>
                <a:cubicBezTo>
                  <a:pt x="260" y="419"/>
                  <a:pt x="260" y="420"/>
                  <a:pt x="258" y="424"/>
                </a:cubicBezTo>
                <a:cubicBezTo>
                  <a:pt x="254" y="434"/>
                  <a:pt x="252" y="441"/>
                  <a:pt x="252" y="445"/>
                </a:cubicBezTo>
                <a:lnTo>
                  <a:pt x="253" y="448"/>
                </a:lnTo>
                <a:cubicBezTo>
                  <a:pt x="253" y="448"/>
                  <a:pt x="253" y="448"/>
                  <a:pt x="253" y="448"/>
                </a:cubicBezTo>
                <a:lnTo>
                  <a:pt x="251" y="448"/>
                </a:lnTo>
                <a:cubicBezTo>
                  <a:pt x="251" y="448"/>
                  <a:pt x="250" y="448"/>
                  <a:pt x="250" y="449"/>
                </a:cubicBezTo>
                <a:cubicBezTo>
                  <a:pt x="249" y="451"/>
                  <a:pt x="248" y="452"/>
                  <a:pt x="248" y="454"/>
                </a:cubicBezTo>
                <a:cubicBezTo>
                  <a:pt x="246" y="459"/>
                  <a:pt x="245" y="463"/>
                  <a:pt x="243" y="466"/>
                </a:cubicBezTo>
                <a:cubicBezTo>
                  <a:pt x="241" y="474"/>
                  <a:pt x="239" y="480"/>
                  <a:pt x="238" y="484"/>
                </a:cubicBezTo>
                <a:lnTo>
                  <a:pt x="237" y="491"/>
                </a:lnTo>
                <a:cubicBezTo>
                  <a:pt x="237" y="492"/>
                  <a:pt x="236" y="493"/>
                  <a:pt x="235" y="495"/>
                </a:cubicBezTo>
                <a:cubicBezTo>
                  <a:pt x="233" y="497"/>
                  <a:pt x="233" y="498"/>
                  <a:pt x="233" y="500"/>
                </a:cubicBezTo>
                <a:lnTo>
                  <a:pt x="233" y="501"/>
                </a:lnTo>
                <a:cubicBezTo>
                  <a:pt x="233" y="503"/>
                  <a:pt x="232" y="504"/>
                  <a:pt x="231" y="505"/>
                </a:cubicBezTo>
                <a:cubicBezTo>
                  <a:pt x="231" y="506"/>
                  <a:pt x="230" y="506"/>
                  <a:pt x="229" y="507"/>
                </a:cubicBezTo>
                <a:lnTo>
                  <a:pt x="228" y="517"/>
                </a:lnTo>
                <a:lnTo>
                  <a:pt x="228" y="523"/>
                </a:lnTo>
                <a:lnTo>
                  <a:pt x="229" y="522"/>
                </a:lnTo>
                <a:cubicBezTo>
                  <a:pt x="230" y="522"/>
                  <a:pt x="230" y="522"/>
                  <a:pt x="230" y="522"/>
                </a:cubicBezTo>
                <a:cubicBezTo>
                  <a:pt x="230" y="523"/>
                  <a:pt x="229" y="525"/>
                  <a:pt x="228" y="529"/>
                </a:cubicBezTo>
                <a:lnTo>
                  <a:pt x="227" y="530"/>
                </a:lnTo>
                <a:cubicBezTo>
                  <a:pt x="226" y="533"/>
                  <a:pt x="226" y="535"/>
                  <a:pt x="226" y="536"/>
                </a:cubicBezTo>
                <a:cubicBezTo>
                  <a:pt x="226" y="537"/>
                  <a:pt x="226" y="538"/>
                  <a:pt x="226" y="538"/>
                </a:cubicBezTo>
                <a:cubicBezTo>
                  <a:pt x="227" y="538"/>
                  <a:pt x="228" y="536"/>
                  <a:pt x="230" y="533"/>
                </a:cubicBezTo>
                <a:cubicBezTo>
                  <a:pt x="231" y="531"/>
                  <a:pt x="231" y="530"/>
                  <a:pt x="232" y="529"/>
                </a:cubicBezTo>
                <a:cubicBezTo>
                  <a:pt x="232" y="529"/>
                  <a:pt x="233" y="529"/>
                  <a:pt x="234" y="528"/>
                </a:cubicBezTo>
                <a:lnTo>
                  <a:pt x="235" y="528"/>
                </a:lnTo>
                <a:cubicBezTo>
                  <a:pt x="235" y="528"/>
                  <a:pt x="236" y="528"/>
                  <a:pt x="236" y="528"/>
                </a:cubicBezTo>
                <a:cubicBezTo>
                  <a:pt x="236" y="529"/>
                  <a:pt x="235" y="530"/>
                  <a:pt x="235" y="531"/>
                </a:cubicBezTo>
                <a:cubicBezTo>
                  <a:pt x="227" y="552"/>
                  <a:pt x="223" y="563"/>
                  <a:pt x="223" y="566"/>
                </a:cubicBezTo>
                <a:cubicBezTo>
                  <a:pt x="223" y="566"/>
                  <a:pt x="225" y="563"/>
                  <a:pt x="227" y="557"/>
                </a:cubicBezTo>
                <a:lnTo>
                  <a:pt x="230" y="550"/>
                </a:lnTo>
                <a:lnTo>
                  <a:pt x="233" y="546"/>
                </a:lnTo>
                <a:lnTo>
                  <a:pt x="233" y="547"/>
                </a:lnTo>
                <a:cubicBezTo>
                  <a:pt x="233" y="548"/>
                  <a:pt x="233" y="549"/>
                  <a:pt x="232" y="551"/>
                </a:cubicBezTo>
                <a:cubicBezTo>
                  <a:pt x="231" y="552"/>
                  <a:pt x="231" y="555"/>
                  <a:pt x="231" y="558"/>
                </a:cubicBezTo>
                <a:cubicBezTo>
                  <a:pt x="231" y="559"/>
                  <a:pt x="231" y="560"/>
                  <a:pt x="231" y="560"/>
                </a:cubicBezTo>
                <a:lnTo>
                  <a:pt x="230" y="559"/>
                </a:lnTo>
                <a:cubicBezTo>
                  <a:pt x="230" y="559"/>
                  <a:pt x="229" y="559"/>
                  <a:pt x="229" y="559"/>
                </a:cubicBezTo>
                <a:cubicBezTo>
                  <a:pt x="228" y="559"/>
                  <a:pt x="228" y="559"/>
                  <a:pt x="228" y="561"/>
                </a:cubicBezTo>
                <a:cubicBezTo>
                  <a:pt x="228" y="562"/>
                  <a:pt x="228" y="564"/>
                  <a:pt x="227" y="565"/>
                </a:cubicBezTo>
                <a:cubicBezTo>
                  <a:pt x="226" y="566"/>
                  <a:pt x="226" y="567"/>
                  <a:pt x="226" y="567"/>
                </a:cubicBezTo>
                <a:cubicBezTo>
                  <a:pt x="226" y="568"/>
                  <a:pt x="226" y="568"/>
                  <a:pt x="227" y="568"/>
                </a:cubicBezTo>
                <a:lnTo>
                  <a:pt x="229" y="567"/>
                </a:lnTo>
                <a:lnTo>
                  <a:pt x="229" y="568"/>
                </a:lnTo>
                <a:cubicBezTo>
                  <a:pt x="229" y="568"/>
                  <a:pt x="229" y="569"/>
                  <a:pt x="229" y="570"/>
                </a:cubicBezTo>
                <a:cubicBezTo>
                  <a:pt x="228" y="571"/>
                  <a:pt x="228" y="572"/>
                  <a:pt x="228" y="572"/>
                </a:cubicBezTo>
                <a:cubicBezTo>
                  <a:pt x="227" y="572"/>
                  <a:pt x="227" y="571"/>
                  <a:pt x="227" y="571"/>
                </a:cubicBezTo>
                <a:cubicBezTo>
                  <a:pt x="227" y="571"/>
                  <a:pt x="226" y="570"/>
                  <a:pt x="226" y="570"/>
                </a:cubicBezTo>
                <a:cubicBezTo>
                  <a:pt x="226" y="570"/>
                  <a:pt x="224" y="572"/>
                  <a:pt x="222" y="576"/>
                </a:cubicBezTo>
                <a:cubicBezTo>
                  <a:pt x="219" y="582"/>
                  <a:pt x="218" y="585"/>
                  <a:pt x="217" y="585"/>
                </a:cubicBezTo>
                <a:lnTo>
                  <a:pt x="218" y="579"/>
                </a:lnTo>
                <a:lnTo>
                  <a:pt x="217" y="580"/>
                </a:lnTo>
                <a:cubicBezTo>
                  <a:pt x="216" y="581"/>
                  <a:pt x="216" y="583"/>
                  <a:pt x="216" y="584"/>
                </a:cubicBezTo>
                <a:cubicBezTo>
                  <a:pt x="215" y="585"/>
                  <a:pt x="214" y="587"/>
                  <a:pt x="214" y="589"/>
                </a:cubicBezTo>
                <a:lnTo>
                  <a:pt x="213" y="593"/>
                </a:lnTo>
                <a:cubicBezTo>
                  <a:pt x="213" y="593"/>
                  <a:pt x="214" y="592"/>
                  <a:pt x="216" y="590"/>
                </a:cubicBezTo>
                <a:cubicBezTo>
                  <a:pt x="217" y="588"/>
                  <a:pt x="218" y="587"/>
                  <a:pt x="218" y="587"/>
                </a:cubicBezTo>
                <a:cubicBezTo>
                  <a:pt x="218" y="587"/>
                  <a:pt x="218" y="589"/>
                  <a:pt x="216" y="591"/>
                </a:cubicBezTo>
                <a:cubicBezTo>
                  <a:pt x="215" y="594"/>
                  <a:pt x="214" y="595"/>
                  <a:pt x="213" y="595"/>
                </a:cubicBezTo>
                <a:cubicBezTo>
                  <a:pt x="212" y="595"/>
                  <a:pt x="211" y="596"/>
                  <a:pt x="211" y="598"/>
                </a:cubicBezTo>
                <a:lnTo>
                  <a:pt x="212" y="600"/>
                </a:lnTo>
                <a:cubicBezTo>
                  <a:pt x="212" y="600"/>
                  <a:pt x="211" y="601"/>
                  <a:pt x="211" y="601"/>
                </a:cubicBezTo>
                <a:cubicBezTo>
                  <a:pt x="210" y="601"/>
                  <a:pt x="209" y="601"/>
                  <a:pt x="209" y="602"/>
                </a:cubicBezTo>
                <a:lnTo>
                  <a:pt x="210" y="604"/>
                </a:lnTo>
                <a:cubicBezTo>
                  <a:pt x="210" y="605"/>
                  <a:pt x="210" y="605"/>
                  <a:pt x="210" y="605"/>
                </a:cubicBezTo>
                <a:cubicBezTo>
                  <a:pt x="209" y="605"/>
                  <a:pt x="208" y="606"/>
                  <a:pt x="208" y="607"/>
                </a:cubicBezTo>
                <a:cubicBezTo>
                  <a:pt x="207" y="609"/>
                  <a:pt x="206" y="611"/>
                  <a:pt x="205" y="613"/>
                </a:cubicBezTo>
                <a:cubicBezTo>
                  <a:pt x="204" y="618"/>
                  <a:pt x="203" y="620"/>
                  <a:pt x="201" y="620"/>
                </a:cubicBezTo>
                <a:lnTo>
                  <a:pt x="200" y="620"/>
                </a:lnTo>
                <a:lnTo>
                  <a:pt x="200" y="620"/>
                </a:lnTo>
                <a:lnTo>
                  <a:pt x="201" y="623"/>
                </a:lnTo>
                <a:cubicBezTo>
                  <a:pt x="202" y="625"/>
                  <a:pt x="203" y="627"/>
                  <a:pt x="203" y="628"/>
                </a:cubicBezTo>
                <a:cubicBezTo>
                  <a:pt x="203" y="629"/>
                  <a:pt x="203" y="629"/>
                  <a:pt x="203" y="629"/>
                </a:cubicBezTo>
                <a:lnTo>
                  <a:pt x="201" y="628"/>
                </a:lnTo>
                <a:cubicBezTo>
                  <a:pt x="201" y="628"/>
                  <a:pt x="200" y="629"/>
                  <a:pt x="200" y="630"/>
                </a:cubicBezTo>
                <a:lnTo>
                  <a:pt x="201" y="634"/>
                </a:lnTo>
                <a:cubicBezTo>
                  <a:pt x="201" y="635"/>
                  <a:pt x="201" y="635"/>
                  <a:pt x="200" y="635"/>
                </a:cubicBezTo>
                <a:lnTo>
                  <a:pt x="198" y="634"/>
                </a:lnTo>
                <a:cubicBezTo>
                  <a:pt x="198" y="634"/>
                  <a:pt x="198" y="635"/>
                  <a:pt x="198" y="635"/>
                </a:cubicBezTo>
                <a:cubicBezTo>
                  <a:pt x="198" y="635"/>
                  <a:pt x="198" y="636"/>
                  <a:pt x="198" y="636"/>
                </a:cubicBezTo>
                <a:cubicBezTo>
                  <a:pt x="198" y="636"/>
                  <a:pt x="199" y="637"/>
                  <a:pt x="200" y="639"/>
                </a:cubicBezTo>
                <a:cubicBezTo>
                  <a:pt x="201" y="638"/>
                  <a:pt x="202" y="636"/>
                  <a:pt x="203" y="632"/>
                </a:cubicBezTo>
                <a:cubicBezTo>
                  <a:pt x="204" y="629"/>
                  <a:pt x="206" y="625"/>
                  <a:pt x="208" y="620"/>
                </a:cubicBezTo>
                <a:cubicBezTo>
                  <a:pt x="209" y="615"/>
                  <a:pt x="211" y="610"/>
                  <a:pt x="212" y="606"/>
                </a:cubicBezTo>
                <a:lnTo>
                  <a:pt x="214" y="599"/>
                </a:lnTo>
                <a:lnTo>
                  <a:pt x="213" y="598"/>
                </a:lnTo>
                <a:cubicBezTo>
                  <a:pt x="213" y="597"/>
                  <a:pt x="214" y="597"/>
                  <a:pt x="214" y="597"/>
                </a:cubicBezTo>
                <a:cubicBezTo>
                  <a:pt x="215" y="597"/>
                  <a:pt x="216" y="596"/>
                  <a:pt x="217" y="595"/>
                </a:cubicBezTo>
                <a:cubicBezTo>
                  <a:pt x="218" y="593"/>
                  <a:pt x="219" y="591"/>
                  <a:pt x="220" y="589"/>
                </a:cubicBezTo>
                <a:cubicBezTo>
                  <a:pt x="221" y="587"/>
                  <a:pt x="221" y="585"/>
                  <a:pt x="222" y="583"/>
                </a:cubicBezTo>
                <a:cubicBezTo>
                  <a:pt x="223" y="582"/>
                  <a:pt x="224" y="581"/>
                  <a:pt x="224" y="581"/>
                </a:cubicBezTo>
                <a:cubicBezTo>
                  <a:pt x="224" y="581"/>
                  <a:pt x="225" y="581"/>
                  <a:pt x="225" y="582"/>
                </a:cubicBezTo>
                <a:cubicBezTo>
                  <a:pt x="225" y="583"/>
                  <a:pt x="224" y="585"/>
                  <a:pt x="223" y="588"/>
                </a:cubicBezTo>
                <a:cubicBezTo>
                  <a:pt x="223" y="590"/>
                  <a:pt x="222" y="592"/>
                  <a:pt x="222" y="593"/>
                </a:cubicBezTo>
                <a:cubicBezTo>
                  <a:pt x="222" y="595"/>
                  <a:pt x="222" y="595"/>
                  <a:pt x="223" y="595"/>
                </a:cubicBezTo>
                <a:cubicBezTo>
                  <a:pt x="224" y="595"/>
                  <a:pt x="224" y="596"/>
                  <a:pt x="224" y="597"/>
                </a:cubicBezTo>
                <a:cubicBezTo>
                  <a:pt x="224" y="598"/>
                  <a:pt x="224" y="598"/>
                  <a:pt x="223" y="598"/>
                </a:cubicBezTo>
                <a:lnTo>
                  <a:pt x="221" y="598"/>
                </a:lnTo>
                <a:cubicBezTo>
                  <a:pt x="221" y="598"/>
                  <a:pt x="220" y="598"/>
                  <a:pt x="219" y="599"/>
                </a:cubicBezTo>
                <a:cubicBezTo>
                  <a:pt x="218" y="600"/>
                  <a:pt x="218" y="601"/>
                  <a:pt x="218" y="603"/>
                </a:cubicBezTo>
                <a:cubicBezTo>
                  <a:pt x="217" y="604"/>
                  <a:pt x="217" y="605"/>
                  <a:pt x="217" y="606"/>
                </a:cubicBezTo>
                <a:cubicBezTo>
                  <a:pt x="217" y="607"/>
                  <a:pt x="217" y="608"/>
                  <a:pt x="218" y="609"/>
                </a:cubicBezTo>
                <a:lnTo>
                  <a:pt x="218" y="609"/>
                </a:lnTo>
                <a:cubicBezTo>
                  <a:pt x="218" y="609"/>
                  <a:pt x="218" y="608"/>
                  <a:pt x="218" y="608"/>
                </a:cubicBezTo>
                <a:cubicBezTo>
                  <a:pt x="218" y="607"/>
                  <a:pt x="219" y="607"/>
                  <a:pt x="219" y="606"/>
                </a:cubicBezTo>
                <a:cubicBezTo>
                  <a:pt x="220" y="606"/>
                  <a:pt x="220" y="607"/>
                  <a:pt x="220" y="607"/>
                </a:cubicBezTo>
                <a:cubicBezTo>
                  <a:pt x="220" y="608"/>
                  <a:pt x="220" y="609"/>
                  <a:pt x="219" y="610"/>
                </a:cubicBezTo>
                <a:cubicBezTo>
                  <a:pt x="218" y="611"/>
                  <a:pt x="218" y="612"/>
                  <a:pt x="217" y="612"/>
                </a:cubicBezTo>
                <a:lnTo>
                  <a:pt x="216" y="612"/>
                </a:lnTo>
                <a:cubicBezTo>
                  <a:pt x="215" y="612"/>
                  <a:pt x="215" y="612"/>
                  <a:pt x="215" y="612"/>
                </a:cubicBezTo>
                <a:lnTo>
                  <a:pt x="216" y="616"/>
                </a:lnTo>
                <a:cubicBezTo>
                  <a:pt x="216" y="617"/>
                  <a:pt x="215" y="617"/>
                  <a:pt x="215" y="617"/>
                </a:cubicBezTo>
                <a:lnTo>
                  <a:pt x="213" y="616"/>
                </a:lnTo>
                <a:cubicBezTo>
                  <a:pt x="213" y="616"/>
                  <a:pt x="213" y="616"/>
                  <a:pt x="213" y="616"/>
                </a:cubicBezTo>
                <a:cubicBezTo>
                  <a:pt x="213" y="617"/>
                  <a:pt x="213" y="617"/>
                  <a:pt x="213" y="618"/>
                </a:cubicBezTo>
                <a:cubicBezTo>
                  <a:pt x="214" y="619"/>
                  <a:pt x="214" y="619"/>
                  <a:pt x="214" y="620"/>
                </a:cubicBezTo>
                <a:cubicBezTo>
                  <a:pt x="214" y="621"/>
                  <a:pt x="213" y="621"/>
                  <a:pt x="213" y="621"/>
                </a:cubicBezTo>
                <a:cubicBezTo>
                  <a:pt x="212" y="621"/>
                  <a:pt x="211" y="622"/>
                  <a:pt x="211" y="625"/>
                </a:cubicBezTo>
                <a:lnTo>
                  <a:pt x="212" y="626"/>
                </a:lnTo>
                <a:cubicBezTo>
                  <a:pt x="212" y="627"/>
                  <a:pt x="211" y="627"/>
                  <a:pt x="211" y="627"/>
                </a:cubicBezTo>
                <a:cubicBezTo>
                  <a:pt x="210" y="627"/>
                  <a:pt x="209" y="628"/>
                  <a:pt x="208" y="630"/>
                </a:cubicBezTo>
                <a:cubicBezTo>
                  <a:pt x="206" y="635"/>
                  <a:pt x="205" y="640"/>
                  <a:pt x="205" y="645"/>
                </a:cubicBezTo>
                <a:cubicBezTo>
                  <a:pt x="205" y="647"/>
                  <a:pt x="205" y="649"/>
                  <a:pt x="206" y="650"/>
                </a:cubicBezTo>
                <a:cubicBezTo>
                  <a:pt x="207" y="651"/>
                  <a:pt x="207" y="651"/>
                  <a:pt x="208" y="651"/>
                </a:cubicBezTo>
                <a:cubicBezTo>
                  <a:pt x="208" y="651"/>
                  <a:pt x="208" y="650"/>
                  <a:pt x="208" y="648"/>
                </a:cubicBezTo>
                <a:lnTo>
                  <a:pt x="208" y="646"/>
                </a:lnTo>
                <a:cubicBezTo>
                  <a:pt x="208" y="645"/>
                  <a:pt x="208" y="644"/>
                  <a:pt x="208" y="644"/>
                </a:cubicBezTo>
                <a:cubicBezTo>
                  <a:pt x="208" y="644"/>
                  <a:pt x="209" y="645"/>
                  <a:pt x="210" y="645"/>
                </a:cubicBezTo>
                <a:cubicBezTo>
                  <a:pt x="211" y="646"/>
                  <a:pt x="211" y="647"/>
                  <a:pt x="212" y="647"/>
                </a:cubicBezTo>
                <a:cubicBezTo>
                  <a:pt x="212" y="647"/>
                  <a:pt x="213" y="648"/>
                  <a:pt x="213" y="648"/>
                </a:cubicBezTo>
                <a:lnTo>
                  <a:pt x="214" y="647"/>
                </a:lnTo>
                <a:lnTo>
                  <a:pt x="214" y="647"/>
                </a:lnTo>
                <a:cubicBezTo>
                  <a:pt x="214" y="646"/>
                  <a:pt x="214" y="646"/>
                  <a:pt x="213" y="646"/>
                </a:cubicBezTo>
                <a:cubicBezTo>
                  <a:pt x="212" y="646"/>
                  <a:pt x="212" y="645"/>
                  <a:pt x="212" y="644"/>
                </a:cubicBezTo>
                <a:cubicBezTo>
                  <a:pt x="213" y="643"/>
                  <a:pt x="213" y="643"/>
                  <a:pt x="213" y="643"/>
                </a:cubicBezTo>
                <a:cubicBezTo>
                  <a:pt x="214" y="643"/>
                  <a:pt x="214" y="643"/>
                  <a:pt x="215" y="644"/>
                </a:cubicBezTo>
                <a:cubicBezTo>
                  <a:pt x="216" y="645"/>
                  <a:pt x="216" y="646"/>
                  <a:pt x="216" y="647"/>
                </a:cubicBezTo>
                <a:cubicBezTo>
                  <a:pt x="216" y="647"/>
                  <a:pt x="216" y="648"/>
                  <a:pt x="216" y="649"/>
                </a:cubicBezTo>
                <a:cubicBezTo>
                  <a:pt x="215" y="651"/>
                  <a:pt x="214" y="651"/>
                  <a:pt x="214" y="651"/>
                </a:cubicBezTo>
                <a:lnTo>
                  <a:pt x="213" y="651"/>
                </a:lnTo>
                <a:cubicBezTo>
                  <a:pt x="212" y="651"/>
                  <a:pt x="212" y="651"/>
                  <a:pt x="212" y="653"/>
                </a:cubicBezTo>
                <a:lnTo>
                  <a:pt x="212" y="654"/>
                </a:lnTo>
                <a:cubicBezTo>
                  <a:pt x="212" y="656"/>
                  <a:pt x="211" y="656"/>
                  <a:pt x="210" y="656"/>
                </a:cubicBezTo>
                <a:cubicBezTo>
                  <a:pt x="209" y="656"/>
                  <a:pt x="208" y="655"/>
                  <a:pt x="206" y="653"/>
                </a:cubicBezTo>
                <a:cubicBezTo>
                  <a:pt x="205" y="651"/>
                  <a:pt x="204" y="650"/>
                  <a:pt x="203" y="650"/>
                </a:cubicBezTo>
                <a:cubicBezTo>
                  <a:pt x="202" y="650"/>
                  <a:pt x="202" y="651"/>
                  <a:pt x="201" y="654"/>
                </a:cubicBezTo>
                <a:cubicBezTo>
                  <a:pt x="201" y="656"/>
                  <a:pt x="201" y="658"/>
                  <a:pt x="199" y="659"/>
                </a:cubicBezTo>
                <a:cubicBezTo>
                  <a:pt x="198" y="661"/>
                  <a:pt x="198" y="661"/>
                  <a:pt x="198" y="662"/>
                </a:cubicBezTo>
                <a:cubicBezTo>
                  <a:pt x="198" y="662"/>
                  <a:pt x="198" y="662"/>
                  <a:pt x="198" y="662"/>
                </a:cubicBezTo>
                <a:lnTo>
                  <a:pt x="198" y="663"/>
                </a:lnTo>
                <a:cubicBezTo>
                  <a:pt x="198" y="664"/>
                  <a:pt x="197" y="667"/>
                  <a:pt x="196" y="673"/>
                </a:cubicBezTo>
                <a:lnTo>
                  <a:pt x="192" y="686"/>
                </a:lnTo>
                <a:cubicBezTo>
                  <a:pt x="192" y="686"/>
                  <a:pt x="194" y="682"/>
                  <a:pt x="197" y="674"/>
                </a:cubicBezTo>
                <a:cubicBezTo>
                  <a:pt x="198" y="670"/>
                  <a:pt x="200" y="667"/>
                  <a:pt x="201" y="665"/>
                </a:cubicBezTo>
                <a:lnTo>
                  <a:pt x="204" y="662"/>
                </a:lnTo>
                <a:lnTo>
                  <a:pt x="205" y="662"/>
                </a:lnTo>
                <a:lnTo>
                  <a:pt x="205" y="661"/>
                </a:lnTo>
                <a:cubicBezTo>
                  <a:pt x="204" y="660"/>
                  <a:pt x="204" y="659"/>
                  <a:pt x="204" y="659"/>
                </a:cubicBezTo>
                <a:cubicBezTo>
                  <a:pt x="204" y="659"/>
                  <a:pt x="204" y="658"/>
                  <a:pt x="205" y="658"/>
                </a:cubicBezTo>
                <a:cubicBezTo>
                  <a:pt x="206" y="658"/>
                  <a:pt x="207" y="659"/>
                  <a:pt x="207" y="660"/>
                </a:cubicBezTo>
                <a:cubicBezTo>
                  <a:pt x="207" y="661"/>
                  <a:pt x="207" y="662"/>
                  <a:pt x="208" y="662"/>
                </a:cubicBezTo>
                <a:cubicBezTo>
                  <a:pt x="208" y="662"/>
                  <a:pt x="208" y="661"/>
                  <a:pt x="209" y="660"/>
                </a:cubicBezTo>
                <a:cubicBezTo>
                  <a:pt x="209" y="659"/>
                  <a:pt x="210" y="658"/>
                  <a:pt x="210" y="658"/>
                </a:cubicBezTo>
                <a:lnTo>
                  <a:pt x="204" y="676"/>
                </a:lnTo>
                <a:cubicBezTo>
                  <a:pt x="202" y="684"/>
                  <a:pt x="200" y="688"/>
                  <a:pt x="199" y="688"/>
                </a:cubicBezTo>
                <a:cubicBezTo>
                  <a:pt x="198" y="688"/>
                  <a:pt x="198" y="689"/>
                  <a:pt x="198" y="690"/>
                </a:cubicBezTo>
                <a:lnTo>
                  <a:pt x="198" y="691"/>
                </a:lnTo>
                <a:cubicBezTo>
                  <a:pt x="198" y="694"/>
                  <a:pt x="197" y="700"/>
                  <a:pt x="194" y="708"/>
                </a:cubicBezTo>
                <a:cubicBezTo>
                  <a:pt x="191" y="718"/>
                  <a:pt x="188" y="722"/>
                  <a:pt x="187" y="722"/>
                </a:cubicBezTo>
                <a:lnTo>
                  <a:pt x="186" y="721"/>
                </a:lnTo>
                <a:lnTo>
                  <a:pt x="186" y="723"/>
                </a:lnTo>
                <a:cubicBezTo>
                  <a:pt x="186" y="726"/>
                  <a:pt x="185" y="734"/>
                  <a:pt x="181" y="744"/>
                </a:cubicBezTo>
                <a:cubicBezTo>
                  <a:pt x="176" y="759"/>
                  <a:pt x="173" y="767"/>
                  <a:pt x="173" y="768"/>
                </a:cubicBezTo>
                <a:cubicBezTo>
                  <a:pt x="172" y="772"/>
                  <a:pt x="171" y="774"/>
                  <a:pt x="170" y="774"/>
                </a:cubicBezTo>
                <a:cubicBezTo>
                  <a:pt x="169" y="774"/>
                  <a:pt x="169" y="775"/>
                  <a:pt x="169" y="776"/>
                </a:cubicBezTo>
                <a:cubicBezTo>
                  <a:pt x="169" y="778"/>
                  <a:pt x="168" y="780"/>
                  <a:pt x="167" y="784"/>
                </a:cubicBezTo>
                <a:cubicBezTo>
                  <a:pt x="165" y="788"/>
                  <a:pt x="163" y="795"/>
                  <a:pt x="161" y="803"/>
                </a:cubicBezTo>
                <a:cubicBezTo>
                  <a:pt x="158" y="811"/>
                  <a:pt x="155" y="819"/>
                  <a:pt x="151" y="830"/>
                </a:cubicBezTo>
                <a:cubicBezTo>
                  <a:pt x="149" y="833"/>
                  <a:pt x="149" y="835"/>
                  <a:pt x="149" y="837"/>
                </a:cubicBezTo>
                <a:cubicBezTo>
                  <a:pt x="149" y="838"/>
                  <a:pt x="149" y="839"/>
                  <a:pt x="149" y="840"/>
                </a:cubicBezTo>
                <a:cubicBezTo>
                  <a:pt x="149" y="840"/>
                  <a:pt x="150" y="841"/>
                  <a:pt x="151" y="843"/>
                </a:cubicBezTo>
                <a:lnTo>
                  <a:pt x="149" y="843"/>
                </a:lnTo>
                <a:cubicBezTo>
                  <a:pt x="148" y="843"/>
                  <a:pt x="146" y="847"/>
                  <a:pt x="143" y="855"/>
                </a:cubicBezTo>
                <a:lnTo>
                  <a:pt x="134" y="882"/>
                </a:lnTo>
                <a:cubicBezTo>
                  <a:pt x="128" y="899"/>
                  <a:pt x="124" y="915"/>
                  <a:pt x="120" y="930"/>
                </a:cubicBezTo>
                <a:cubicBezTo>
                  <a:pt x="116" y="945"/>
                  <a:pt x="114" y="954"/>
                  <a:pt x="114" y="958"/>
                </a:cubicBezTo>
                <a:cubicBezTo>
                  <a:pt x="114" y="960"/>
                  <a:pt x="114" y="961"/>
                  <a:pt x="115" y="961"/>
                </a:cubicBezTo>
                <a:cubicBezTo>
                  <a:pt x="115" y="961"/>
                  <a:pt x="115" y="962"/>
                  <a:pt x="115" y="962"/>
                </a:cubicBezTo>
                <a:cubicBezTo>
                  <a:pt x="115" y="963"/>
                  <a:pt x="114" y="964"/>
                  <a:pt x="113" y="965"/>
                </a:cubicBezTo>
                <a:cubicBezTo>
                  <a:pt x="112" y="967"/>
                  <a:pt x="111" y="968"/>
                  <a:pt x="111" y="969"/>
                </a:cubicBezTo>
                <a:cubicBezTo>
                  <a:pt x="111" y="970"/>
                  <a:pt x="112" y="971"/>
                  <a:pt x="114" y="971"/>
                </a:cubicBezTo>
                <a:cubicBezTo>
                  <a:pt x="114" y="971"/>
                  <a:pt x="115" y="970"/>
                  <a:pt x="115" y="967"/>
                </a:cubicBezTo>
                <a:cubicBezTo>
                  <a:pt x="115" y="966"/>
                  <a:pt x="116" y="965"/>
                  <a:pt x="119" y="963"/>
                </a:cubicBezTo>
                <a:cubicBezTo>
                  <a:pt x="120" y="963"/>
                  <a:pt x="121" y="963"/>
                  <a:pt x="122" y="963"/>
                </a:cubicBezTo>
                <a:cubicBezTo>
                  <a:pt x="122" y="962"/>
                  <a:pt x="122" y="961"/>
                  <a:pt x="123" y="960"/>
                </a:cubicBezTo>
                <a:cubicBezTo>
                  <a:pt x="123" y="958"/>
                  <a:pt x="124" y="958"/>
                  <a:pt x="125" y="957"/>
                </a:cubicBezTo>
                <a:cubicBezTo>
                  <a:pt x="126" y="956"/>
                  <a:pt x="127" y="955"/>
                  <a:pt x="127" y="954"/>
                </a:cubicBezTo>
                <a:lnTo>
                  <a:pt x="126" y="952"/>
                </a:lnTo>
                <a:cubicBezTo>
                  <a:pt x="126" y="952"/>
                  <a:pt x="127" y="952"/>
                  <a:pt x="128" y="953"/>
                </a:cubicBezTo>
                <a:cubicBezTo>
                  <a:pt x="129" y="953"/>
                  <a:pt x="129" y="954"/>
                  <a:pt x="129" y="955"/>
                </a:cubicBezTo>
                <a:lnTo>
                  <a:pt x="128" y="962"/>
                </a:lnTo>
                <a:cubicBezTo>
                  <a:pt x="126" y="975"/>
                  <a:pt x="122" y="987"/>
                  <a:pt x="117" y="997"/>
                </a:cubicBezTo>
                <a:cubicBezTo>
                  <a:pt x="112" y="1007"/>
                  <a:pt x="107" y="1013"/>
                  <a:pt x="103" y="1015"/>
                </a:cubicBezTo>
                <a:close/>
                <a:moveTo>
                  <a:pt x="324" y="56"/>
                </a:moveTo>
                <a:lnTo>
                  <a:pt x="333" y="55"/>
                </a:lnTo>
                <a:cubicBezTo>
                  <a:pt x="334" y="55"/>
                  <a:pt x="334" y="55"/>
                  <a:pt x="334" y="54"/>
                </a:cubicBezTo>
                <a:cubicBezTo>
                  <a:pt x="334" y="54"/>
                  <a:pt x="334" y="53"/>
                  <a:pt x="333" y="52"/>
                </a:cubicBezTo>
                <a:cubicBezTo>
                  <a:pt x="332" y="51"/>
                  <a:pt x="332" y="51"/>
                  <a:pt x="331" y="51"/>
                </a:cubicBezTo>
                <a:cubicBezTo>
                  <a:pt x="330" y="51"/>
                  <a:pt x="328" y="52"/>
                  <a:pt x="326" y="53"/>
                </a:cubicBezTo>
                <a:cubicBezTo>
                  <a:pt x="324" y="55"/>
                  <a:pt x="323" y="56"/>
                  <a:pt x="323" y="56"/>
                </a:cubicBezTo>
                <a:lnTo>
                  <a:pt x="324" y="56"/>
                </a:lnTo>
                <a:close/>
                <a:moveTo>
                  <a:pt x="369" y="36"/>
                </a:moveTo>
                <a:cubicBezTo>
                  <a:pt x="369" y="36"/>
                  <a:pt x="369" y="36"/>
                  <a:pt x="369" y="34"/>
                </a:cubicBezTo>
                <a:cubicBezTo>
                  <a:pt x="369" y="33"/>
                  <a:pt x="369" y="32"/>
                  <a:pt x="367" y="32"/>
                </a:cubicBezTo>
                <a:cubicBezTo>
                  <a:pt x="366" y="32"/>
                  <a:pt x="366" y="33"/>
                  <a:pt x="366" y="34"/>
                </a:cubicBezTo>
                <a:cubicBezTo>
                  <a:pt x="366" y="34"/>
                  <a:pt x="366" y="34"/>
                  <a:pt x="367" y="35"/>
                </a:cubicBezTo>
                <a:cubicBezTo>
                  <a:pt x="367" y="35"/>
                  <a:pt x="367" y="36"/>
                  <a:pt x="367" y="36"/>
                </a:cubicBezTo>
                <a:cubicBezTo>
                  <a:pt x="367" y="36"/>
                  <a:pt x="368" y="36"/>
                  <a:pt x="369" y="36"/>
                </a:cubicBezTo>
                <a:close/>
                <a:moveTo>
                  <a:pt x="322" y="39"/>
                </a:moveTo>
                <a:cubicBezTo>
                  <a:pt x="322" y="39"/>
                  <a:pt x="322" y="38"/>
                  <a:pt x="322" y="38"/>
                </a:cubicBezTo>
                <a:lnTo>
                  <a:pt x="322" y="34"/>
                </a:lnTo>
                <a:cubicBezTo>
                  <a:pt x="321" y="32"/>
                  <a:pt x="320" y="32"/>
                  <a:pt x="320" y="32"/>
                </a:cubicBezTo>
                <a:cubicBezTo>
                  <a:pt x="319" y="32"/>
                  <a:pt x="319" y="32"/>
                  <a:pt x="319" y="33"/>
                </a:cubicBezTo>
                <a:cubicBezTo>
                  <a:pt x="319" y="35"/>
                  <a:pt x="320" y="36"/>
                  <a:pt x="320" y="38"/>
                </a:cubicBezTo>
                <a:lnTo>
                  <a:pt x="322" y="39"/>
                </a:lnTo>
                <a:close/>
                <a:moveTo>
                  <a:pt x="347" y="31"/>
                </a:moveTo>
                <a:cubicBezTo>
                  <a:pt x="348" y="31"/>
                  <a:pt x="350" y="30"/>
                  <a:pt x="352" y="29"/>
                </a:cubicBezTo>
                <a:cubicBezTo>
                  <a:pt x="353" y="28"/>
                  <a:pt x="353" y="27"/>
                  <a:pt x="353" y="27"/>
                </a:cubicBezTo>
                <a:cubicBezTo>
                  <a:pt x="353" y="27"/>
                  <a:pt x="353" y="27"/>
                  <a:pt x="353" y="27"/>
                </a:cubicBezTo>
                <a:cubicBezTo>
                  <a:pt x="352" y="27"/>
                  <a:pt x="352" y="27"/>
                  <a:pt x="351" y="27"/>
                </a:cubicBezTo>
                <a:cubicBezTo>
                  <a:pt x="350" y="27"/>
                  <a:pt x="349" y="28"/>
                  <a:pt x="348" y="28"/>
                </a:cubicBezTo>
                <a:cubicBezTo>
                  <a:pt x="347" y="29"/>
                  <a:pt x="346" y="30"/>
                  <a:pt x="346" y="30"/>
                </a:cubicBezTo>
                <a:cubicBezTo>
                  <a:pt x="346" y="30"/>
                  <a:pt x="347" y="31"/>
                  <a:pt x="347" y="31"/>
                </a:cubicBezTo>
                <a:close/>
                <a:moveTo>
                  <a:pt x="325" y="36"/>
                </a:moveTo>
                <a:cubicBezTo>
                  <a:pt x="326" y="36"/>
                  <a:pt x="326" y="36"/>
                  <a:pt x="327" y="34"/>
                </a:cubicBezTo>
                <a:cubicBezTo>
                  <a:pt x="327" y="34"/>
                  <a:pt x="328" y="33"/>
                  <a:pt x="329" y="33"/>
                </a:cubicBezTo>
                <a:lnTo>
                  <a:pt x="332" y="34"/>
                </a:lnTo>
                <a:cubicBezTo>
                  <a:pt x="332" y="34"/>
                  <a:pt x="332" y="34"/>
                  <a:pt x="333" y="33"/>
                </a:cubicBezTo>
                <a:cubicBezTo>
                  <a:pt x="333" y="32"/>
                  <a:pt x="337" y="30"/>
                  <a:pt x="345" y="26"/>
                </a:cubicBezTo>
                <a:cubicBezTo>
                  <a:pt x="352" y="22"/>
                  <a:pt x="356" y="19"/>
                  <a:pt x="356" y="18"/>
                </a:cubicBezTo>
                <a:lnTo>
                  <a:pt x="355" y="15"/>
                </a:lnTo>
                <a:cubicBezTo>
                  <a:pt x="355" y="15"/>
                  <a:pt x="354" y="15"/>
                  <a:pt x="354" y="16"/>
                </a:cubicBezTo>
                <a:cubicBezTo>
                  <a:pt x="354" y="17"/>
                  <a:pt x="353" y="18"/>
                  <a:pt x="353" y="18"/>
                </a:cubicBezTo>
                <a:cubicBezTo>
                  <a:pt x="353" y="18"/>
                  <a:pt x="352" y="17"/>
                  <a:pt x="352" y="16"/>
                </a:cubicBezTo>
                <a:cubicBezTo>
                  <a:pt x="351" y="15"/>
                  <a:pt x="350" y="15"/>
                  <a:pt x="350" y="15"/>
                </a:cubicBezTo>
                <a:cubicBezTo>
                  <a:pt x="350" y="15"/>
                  <a:pt x="350" y="16"/>
                  <a:pt x="350" y="17"/>
                </a:cubicBezTo>
                <a:cubicBezTo>
                  <a:pt x="350" y="19"/>
                  <a:pt x="350" y="20"/>
                  <a:pt x="349" y="20"/>
                </a:cubicBezTo>
                <a:cubicBezTo>
                  <a:pt x="349" y="20"/>
                  <a:pt x="348" y="20"/>
                  <a:pt x="348" y="18"/>
                </a:cubicBezTo>
                <a:cubicBezTo>
                  <a:pt x="347" y="17"/>
                  <a:pt x="347" y="16"/>
                  <a:pt x="346" y="16"/>
                </a:cubicBezTo>
                <a:cubicBezTo>
                  <a:pt x="346" y="16"/>
                  <a:pt x="346" y="17"/>
                  <a:pt x="346" y="19"/>
                </a:cubicBezTo>
                <a:cubicBezTo>
                  <a:pt x="346" y="21"/>
                  <a:pt x="346" y="22"/>
                  <a:pt x="345" y="22"/>
                </a:cubicBezTo>
                <a:cubicBezTo>
                  <a:pt x="345" y="22"/>
                  <a:pt x="345" y="22"/>
                  <a:pt x="344" y="20"/>
                </a:cubicBezTo>
                <a:cubicBezTo>
                  <a:pt x="343" y="19"/>
                  <a:pt x="343" y="18"/>
                  <a:pt x="343" y="18"/>
                </a:cubicBezTo>
                <a:cubicBezTo>
                  <a:pt x="342" y="18"/>
                  <a:pt x="342" y="19"/>
                  <a:pt x="342" y="21"/>
                </a:cubicBezTo>
                <a:cubicBezTo>
                  <a:pt x="342" y="22"/>
                  <a:pt x="342" y="23"/>
                  <a:pt x="340" y="24"/>
                </a:cubicBezTo>
                <a:cubicBezTo>
                  <a:pt x="339" y="25"/>
                  <a:pt x="338" y="25"/>
                  <a:pt x="336" y="25"/>
                </a:cubicBezTo>
                <a:cubicBezTo>
                  <a:pt x="335" y="25"/>
                  <a:pt x="334" y="25"/>
                  <a:pt x="333" y="24"/>
                </a:cubicBezTo>
                <a:lnTo>
                  <a:pt x="333" y="23"/>
                </a:lnTo>
                <a:cubicBezTo>
                  <a:pt x="333" y="23"/>
                  <a:pt x="332" y="24"/>
                  <a:pt x="332" y="26"/>
                </a:cubicBezTo>
                <a:cubicBezTo>
                  <a:pt x="332" y="28"/>
                  <a:pt x="332" y="29"/>
                  <a:pt x="332" y="29"/>
                </a:cubicBezTo>
                <a:cubicBezTo>
                  <a:pt x="332" y="29"/>
                  <a:pt x="331" y="28"/>
                  <a:pt x="331" y="27"/>
                </a:cubicBezTo>
                <a:cubicBezTo>
                  <a:pt x="330" y="26"/>
                  <a:pt x="329" y="25"/>
                  <a:pt x="329" y="25"/>
                </a:cubicBezTo>
                <a:cubicBezTo>
                  <a:pt x="329" y="25"/>
                  <a:pt x="329" y="26"/>
                  <a:pt x="329" y="27"/>
                </a:cubicBezTo>
                <a:cubicBezTo>
                  <a:pt x="329" y="29"/>
                  <a:pt x="328" y="30"/>
                  <a:pt x="328" y="30"/>
                </a:cubicBezTo>
                <a:cubicBezTo>
                  <a:pt x="328" y="30"/>
                  <a:pt x="327" y="29"/>
                  <a:pt x="327" y="29"/>
                </a:cubicBezTo>
                <a:cubicBezTo>
                  <a:pt x="327" y="28"/>
                  <a:pt x="326" y="27"/>
                  <a:pt x="325" y="27"/>
                </a:cubicBezTo>
                <a:cubicBezTo>
                  <a:pt x="325" y="27"/>
                  <a:pt x="325" y="28"/>
                  <a:pt x="324" y="30"/>
                </a:cubicBezTo>
                <a:cubicBezTo>
                  <a:pt x="324" y="31"/>
                  <a:pt x="324" y="33"/>
                  <a:pt x="324" y="34"/>
                </a:cubicBezTo>
                <a:cubicBezTo>
                  <a:pt x="324" y="35"/>
                  <a:pt x="324" y="36"/>
                  <a:pt x="325" y="36"/>
                </a:cubicBezTo>
                <a:close/>
                <a:moveTo>
                  <a:pt x="355" y="27"/>
                </a:moveTo>
                <a:lnTo>
                  <a:pt x="373" y="22"/>
                </a:lnTo>
                <a:cubicBezTo>
                  <a:pt x="378" y="21"/>
                  <a:pt x="381" y="20"/>
                  <a:pt x="381" y="19"/>
                </a:cubicBezTo>
                <a:cubicBezTo>
                  <a:pt x="381" y="19"/>
                  <a:pt x="380" y="18"/>
                  <a:pt x="379" y="18"/>
                </a:cubicBezTo>
                <a:cubicBezTo>
                  <a:pt x="376" y="18"/>
                  <a:pt x="370" y="20"/>
                  <a:pt x="362" y="23"/>
                </a:cubicBezTo>
                <a:cubicBezTo>
                  <a:pt x="358" y="24"/>
                  <a:pt x="355" y="26"/>
                  <a:pt x="355" y="27"/>
                </a:cubicBezTo>
                <a:close/>
                <a:moveTo>
                  <a:pt x="380" y="29"/>
                </a:moveTo>
                <a:cubicBezTo>
                  <a:pt x="380" y="29"/>
                  <a:pt x="382" y="28"/>
                  <a:pt x="383" y="27"/>
                </a:cubicBezTo>
                <a:cubicBezTo>
                  <a:pt x="385" y="27"/>
                  <a:pt x="386" y="26"/>
                  <a:pt x="386" y="25"/>
                </a:cubicBezTo>
                <a:cubicBezTo>
                  <a:pt x="386" y="24"/>
                  <a:pt x="385" y="24"/>
                  <a:pt x="383" y="23"/>
                </a:cubicBezTo>
                <a:cubicBezTo>
                  <a:pt x="383" y="23"/>
                  <a:pt x="382" y="24"/>
                  <a:pt x="380" y="24"/>
                </a:cubicBezTo>
                <a:cubicBezTo>
                  <a:pt x="379" y="25"/>
                  <a:pt x="378" y="26"/>
                  <a:pt x="378" y="27"/>
                </a:cubicBezTo>
                <a:lnTo>
                  <a:pt x="379" y="27"/>
                </a:lnTo>
                <a:cubicBezTo>
                  <a:pt x="379" y="28"/>
                  <a:pt x="379" y="29"/>
                  <a:pt x="380" y="29"/>
                </a:cubicBezTo>
                <a:close/>
                <a:moveTo>
                  <a:pt x="362" y="18"/>
                </a:moveTo>
                <a:cubicBezTo>
                  <a:pt x="363" y="18"/>
                  <a:pt x="364" y="17"/>
                  <a:pt x="365" y="16"/>
                </a:cubicBezTo>
                <a:cubicBezTo>
                  <a:pt x="365" y="14"/>
                  <a:pt x="368" y="14"/>
                  <a:pt x="371" y="13"/>
                </a:cubicBezTo>
                <a:cubicBezTo>
                  <a:pt x="374" y="13"/>
                  <a:pt x="375" y="12"/>
                  <a:pt x="375" y="11"/>
                </a:cubicBezTo>
                <a:lnTo>
                  <a:pt x="375" y="10"/>
                </a:lnTo>
                <a:cubicBezTo>
                  <a:pt x="375" y="9"/>
                  <a:pt x="377" y="9"/>
                  <a:pt x="379" y="9"/>
                </a:cubicBezTo>
                <a:lnTo>
                  <a:pt x="386" y="10"/>
                </a:lnTo>
                <a:lnTo>
                  <a:pt x="381" y="8"/>
                </a:lnTo>
                <a:cubicBezTo>
                  <a:pt x="379" y="7"/>
                  <a:pt x="377" y="6"/>
                  <a:pt x="376" y="6"/>
                </a:cubicBezTo>
                <a:cubicBezTo>
                  <a:pt x="375" y="6"/>
                  <a:pt x="374" y="7"/>
                  <a:pt x="373" y="8"/>
                </a:cubicBezTo>
                <a:cubicBezTo>
                  <a:pt x="372" y="9"/>
                  <a:pt x="371" y="10"/>
                  <a:pt x="370" y="10"/>
                </a:cubicBezTo>
                <a:lnTo>
                  <a:pt x="367" y="9"/>
                </a:lnTo>
                <a:cubicBezTo>
                  <a:pt x="366" y="9"/>
                  <a:pt x="365" y="10"/>
                  <a:pt x="365" y="11"/>
                </a:cubicBezTo>
                <a:cubicBezTo>
                  <a:pt x="365" y="12"/>
                  <a:pt x="365" y="12"/>
                  <a:pt x="363" y="12"/>
                </a:cubicBezTo>
                <a:lnTo>
                  <a:pt x="361" y="12"/>
                </a:lnTo>
                <a:cubicBezTo>
                  <a:pt x="360" y="12"/>
                  <a:pt x="358" y="13"/>
                  <a:pt x="358" y="14"/>
                </a:cubicBezTo>
                <a:lnTo>
                  <a:pt x="359" y="15"/>
                </a:lnTo>
                <a:cubicBezTo>
                  <a:pt x="360" y="17"/>
                  <a:pt x="361" y="18"/>
                  <a:pt x="362" y="18"/>
                </a:cubicBezTo>
                <a:close/>
                <a:moveTo>
                  <a:pt x="194" y="656"/>
                </a:moveTo>
                <a:cubicBezTo>
                  <a:pt x="194" y="656"/>
                  <a:pt x="195" y="655"/>
                  <a:pt x="196" y="654"/>
                </a:cubicBezTo>
                <a:cubicBezTo>
                  <a:pt x="197" y="652"/>
                  <a:pt x="198" y="650"/>
                  <a:pt x="198" y="649"/>
                </a:cubicBezTo>
                <a:cubicBezTo>
                  <a:pt x="198" y="648"/>
                  <a:pt x="197" y="648"/>
                  <a:pt x="197" y="648"/>
                </a:cubicBezTo>
                <a:cubicBezTo>
                  <a:pt x="197" y="648"/>
                  <a:pt x="196" y="649"/>
                  <a:pt x="195" y="651"/>
                </a:cubicBezTo>
                <a:cubicBezTo>
                  <a:pt x="194" y="652"/>
                  <a:pt x="194" y="654"/>
                  <a:pt x="194" y="655"/>
                </a:cubicBezTo>
                <a:cubicBezTo>
                  <a:pt x="194" y="656"/>
                  <a:pt x="194" y="656"/>
                  <a:pt x="194" y="656"/>
                </a:cubicBezTo>
                <a:close/>
                <a:moveTo>
                  <a:pt x="194" y="570"/>
                </a:moveTo>
                <a:cubicBezTo>
                  <a:pt x="194" y="570"/>
                  <a:pt x="195" y="570"/>
                  <a:pt x="196" y="568"/>
                </a:cubicBezTo>
                <a:cubicBezTo>
                  <a:pt x="197" y="566"/>
                  <a:pt x="198" y="565"/>
                  <a:pt x="198" y="563"/>
                </a:cubicBezTo>
                <a:cubicBezTo>
                  <a:pt x="198" y="563"/>
                  <a:pt x="197" y="563"/>
                  <a:pt x="197" y="563"/>
                </a:cubicBezTo>
                <a:cubicBezTo>
                  <a:pt x="197" y="563"/>
                  <a:pt x="196" y="563"/>
                  <a:pt x="196" y="564"/>
                </a:cubicBezTo>
                <a:cubicBezTo>
                  <a:pt x="195" y="565"/>
                  <a:pt x="194" y="566"/>
                  <a:pt x="194" y="567"/>
                </a:cubicBezTo>
                <a:cubicBezTo>
                  <a:pt x="194" y="568"/>
                  <a:pt x="194" y="568"/>
                  <a:pt x="194" y="569"/>
                </a:cubicBezTo>
                <a:cubicBezTo>
                  <a:pt x="194" y="570"/>
                  <a:pt x="194" y="570"/>
                  <a:pt x="194" y="570"/>
                </a:cubicBezTo>
                <a:close/>
                <a:moveTo>
                  <a:pt x="199" y="559"/>
                </a:moveTo>
                <a:lnTo>
                  <a:pt x="199" y="559"/>
                </a:lnTo>
                <a:cubicBezTo>
                  <a:pt x="199" y="558"/>
                  <a:pt x="199" y="557"/>
                  <a:pt x="198" y="556"/>
                </a:cubicBezTo>
                <a:cubicBezTo>
                  <a:pt x="197" y="555"/>
                  <a:pt x="196" y="555"/>
                  <a:pt x="196" y="555"/>
                </a:cubicBezTo>
                <a:cubicBezTo>
                  <a:pt x="196" y="555"/>
                  <a:pt x="196" y="556"/>
                  <a:pt x="197" y="557"/>
                </a:cubicBezTo>
                <a:cubicBezTo>
                  <a:pt x="198" y="558"/>
                  <a:pt x="198" y="559"/>
                  <a:pt x="198" y="559"/>
                </a:cubicBezTo>
                <a:lnTo>
                  <a:pt x="199" y="559"/>
                </a:lnTo>
                <a:close/>
                <a:moveTo>
                  <a:pt x="219" y="576"/>
                </a:moveTo>
                <a:cubicBezTo>
                  <a:pt x="219" y="576"/>
                  <a:pt x="220" y="576"/>
                  <a:pt x="220" y="574"/>
                </a:cubicBezTo>
                <a:cubicBezTo>
                  <a:pt x="222" y="572"/>
                  <a:pt x="222" y="571"/>
                  <a:pt x="222" y="569"/>
                </a:cubicBezTo>
                <a:cubicBezTo>
                  <a:pt x="222" y="569"/>
                  <a:pt x="222" y="569"/>
                  <a:pt x="222" y="569"/>
                </a:cubicBezTo>
                <a:cubicBezTo>
                  <a:pt x="222" y="569"/>
                  <a:pt x="221" y="569"/>
                  <a:pt x="221" y="570"/>
                </a:cubicBezTo>
                <a:cubicBezTo>
                  <a:pt x="220" y="571"/>
                  <a:pt x="219" y="572"/>
                  <a:pt x="219" y="573"/>
                </a:cubicBezTo>
                <a:cubicBezTo>
                  <a:pt x="219" y="574"/>
                  <a:pt x="218" y="575"/>
                  <a:pt x="218" y="575"/>
                </a:cubicBezTo>
                <a:cubicBezTo>
                  <a:pt x="218" y="576"/>
                  <a:pt x="219" y="576"/>
                  <a:pt x="219" y="576"/>
                </a:cubicBezTo>
                <a:close/>
                <a:moveTo>
                  <a:pt x="223" y="550"/>
                </a:moveTo>
                <a:cubicBezTo>
                  <a:pt x="224" y="550"/>
                  <a:pt x="224" y="548"/>
                  <a:pt x="225" y="545"/>
                </a:cubicBezTo>
                <a:lnTo>
                  <a:pt x="225" y="542"/>
                </a:lnTo>
                <a:cubicBezTo>
                  <a:pt x="225" y="541"/>
                  <a:pt x="225" y="540"/>
                  <a:pt x="224" y="540"/>
                </a:cubicBezTo>
                <a:cubicBezTo>
                  <a:pt x="223" y="540"/>
                  <a:pt x="222" y="542"/>
                  <a:pt x="222" y="545"/>
                </a:cubicBezTo>
                <a:cubicBezTo>
                  <a:pt x="222" y="548"/>
                  <a:pt x="223" y="550"/>
                  <a:pt x="223" y="550"/>
                </a:cubicBezTo>
                <a:close/>
                <a:moveTo>
                  <a:pt x="387" y="78"/>
                </a:moveTo>
                <a:cubicBezTo>
                  <a:pt x="387" y="77"/>
                  <a:pt x="388" y="75"/>
                  <a:pt x="389" y="71"/>
                </a:cubicBezTo>
                <a:cubicBezTo>
                  <a:pt x="389" y="68"/>
                  <a:pt x="390" y="66"/>
                  <a:pt x="390" y="65"/>
                </a:cubicBezTo>
                <a:cubicBezTo>
                  <a:pt x="391" y="64"/>
                  <a:pt x="392" y="61"/>
                  <a:pt x="393" y="55"/>
                </a:cubicBezTo>
                <a:lnTo>
                  <a:pt x="395" y="41"/>
                </a:lnTo>
                <a:cubicBezTo>
                  <a:pt x="395" y="38"/>
                  <a:pt x="394" y="36"/>
                  <a:pt x="394" y="36"/>
                </a:cubicBezTo>
                <a:cubicBezTo>
                  <a:pt x="394" y="36"/>
                  <a:pt x="393" y="37"/>
                  <a:pt x="392" y="39"/>
                </a:cubicBezTo>
                <a:cubicBezTo>
                  <a:pt x="391" y="43"/>
                  <a:pt x="390" y="48"/>
                  <a:pt x="390" y="53"/>
                </a:cubicBezTo>
                <a:cubicBezTo>
                  <a:pt x="390" y="59"/>
                  <a:pt x="389" y="62"/>
                  <a:pt x="389" y="64"/>
                </a:cubicBezTo>
                <a:cubicBezTo>
                  <a:pt x="387" y="68"/>
                  <a:pt x="386" y="72"/>
                  <a:pt x="386" y="76"/>
                </a:cubicBezTo>
                <a:cubicBezTo>
                  <a:pt x="386" y="77"/>
                  <a:pt x="386" y="78"/>
                  <a:pt x="386" y="78"/>
                </a:cubicBezTo>
                <a:lnTo>
                  <a:pt x="387" y="78"/>
                </a:lnTo>
                <a:close/>
                <a:moveTo>
                  <a:pt x="372" y="184"/>
                </a:moveTo>
                <a:cubicBezTo>
                  <a:pt x="372" y="184"/>
                  <a:pt x="373" y="183"/>
                  <a:pt x="374" y="182"/>
                </a:cubicBezTo>
                <a:lnTo>
                  <a:pt x="374" y="181"/>
                </a:lnTo>
                <a:cubicBezTo>
                  <a:pt x="374" y="180"/>
                  <a:pt x="374" y="179"/>
                  <a:pt x="373" y="179"/>
                </a:cubicBezTo>
                <a:cubicBezTo>
                  <a:pt x="372" y="179"/>
                  <a:pt x="371" y="180"/>
                  <a:pt x="371" y="182"/>
                </a:cubicBezTo>
                <a:cubicBezTo>
                  <a:pt x="371" y="183"/>
                  <a:pt x="372" y="184"/>
                  <a:pt x="372" y="184"/>
                </a:cubicBezTo>
                <a:close/>
                <a:moveTo>
                  <a:pt x="303" y="411"/>
                </a:moveTo>
                <a:lnTo>
                  <a:pt x="302" y="406"/>
                </a:lnTo>
                <a:lnTo>
                  <a:pt x="302" y="406"/>
                </a:lnTo>
                <a:lnTo>
                  <a:pt x="306" y="408"/>
                </a:lnTo>
                <a:lnTo>
                  <a:pt x="306" y="407"/>
                </a:lnTo>
                <a:lnTo>
                  <a:pt x="304" y="405"/>
                </a:lnTo>
                <a:cubicBezTo>
                  <a:pt x="303" y="404"/>
                  <a:pt x="303" y="402"/>
                  <a:pt x="303" y="400"/>
                </a:cubicBezTo>
                <a:cubicBezTo>
                  <a:pt x="303" y="397"/>
                  <a:pt x="304" y="395"/>
                  <a:pt x="305" y="395"/>
                </a:cubicBezTo>
                <a:cubicBezTo>
                  <a:pt x="306" y="395"/>
                  <a:pt x="307" y="394"/>
                  <a:pt x="307" y="392"/>
                </a:cubicBezTo>
                <a:cubicBezTo>
                  <a:pt x="307" y="391"/>
                  <a:pt x="307" y="390"/>
                  <a:pt x="306" y="388"/>
                </a:cubicBezTo>
                <a:cubicBezTo>
                  <a:pt x="305" y="387"/>
                  <a:pt x="305" y="386"/>
                  <a:pt x="303" y="386"/>
                </a:cubicBezTo>
                <a:cubicBezTo>
                  <a:pt x="302" y="386"/>
                  <a:pt x="301" y="387"/>
                  <a:pt x="301" y="387"/>
                </a:cubicBezTo>
                <a:cubicBezTo>
                  <a:pt x="301" y="389"/>
                  <a:pt x="302" y="389"/>
                  <a:pt x="303" y="389"/>
                </a:cubicBezTo>
                <a:cubicBezTo>
                  <a:pt x="303" y="389"/>
                  <a:pt x="304" y="389"/>
                  <a:pt x="304" y="390"/>
                </a:cubicBezTo>
                <a:cubicBezTo>
                  <a:pt x="304" y="391"/>
                  <a:pt x="303" y="394"/>
                  <a:pt x="301" y="398"/>
                </a:cubicBezTo>
                <a:cubicBezTo>
                  <a:pt x="299" y="402"/>
                  <a:pt x="298" y="405"/>
                  <a:pt x="298" y="407"/>
                </a:cubicBezTo>
                <a:cubicBezTo>
                  <a:pt x="298" y="409"/>
                  <a:pt x="300" y="410"/>
                  <a:pt x="303" y="411"/>
                </a:cubicBezTo>
                <a:close/>
                <a:moveTo>
                  <a:pt x="313" y="375"/>
                </a:moveTo>
                <a:cubicBezTo>
                  <a:pt x="314" y="375"/>
                  <a:pt x="315" y="374"/>
                  <a:pt x="317" y="373"/>
                </a:cubicBezTo>
                <a:cubicBezTo>
                  <a:pt x="318" y="372"/>
                  <a:pt x="318" y="372"/>
                  <a:pt x="318" y="371"/>
                </a:cubicBezTo>
                <a:cubicBezTo>
                  <a:pt x="318" y="371"/>
                  <a:pt x="318" y="370"/>
                  <a:pt x="316" y="369"/>
                </a:cubicBezTo>
                <a:cubicBezTo>
                  <a:pt x="315" y="368"/>
                  <a:pt x="314" y="367"/>
                  <a:pt x="314" y="367"/>
                </a:cubicBezTo>
                <a:lnTo>
                  <a:pt x="315" y="372"/>
                </a:lnTo>
                <a:cubicBezTo>
                  <a:pt x="315" y="372"/>
                  <a:pt x="315" y="373"/>
                  <a:pt x="314" y="373"/>
                </a:cubicBezTo>
                <a:lnTo>
                  <a:pt x="312" y="372"/>
                </a:lnTo>
                <a:cubicBezTo>
                  <a:pt x="312" y="372"/>
                  <a:pt x="311" y="372"/>
                  <a:pt x="311" y="373"/>
                </a:cubicBezTo>
                <a:cubicBezTo>
                  <a:pt x="311" y="374"/>
                  <a:pt x="312" y="375"/>
                  <a:pt x="313" y="375"/>
                </a:cubicBezTo>
                <a:close/>
                <a:moveTo>
                  <a:pt x="317" y="365"/>
                </a:moveTo>
                <a:cubicBezTo>
                  <a:pt x="318" y="365"/>
                  <a:pt x="319" y="365"/>
                  <a:pt x="320" y="364"/>
                </a:cubicBezTo>
                <a:cubicBezTo>
                  <a:pt x="320" y="363"/>
                  <a:pt x="321" y="362"/>
                  <a:pt x="321" y="362"/>
                </a:cubicBezTo>
                <a:cubicBezTo>
                  <a:pt x="321" y="361"/>
                  <a:pt x="321" y="360"/>
                  <a:pt x="320" y="360"/>
                </a:cubicBezTo>
                <a:cubicBezTo>
                  <a:pt x="319" y="359"/>
                  <a:pt x="319" y="358"/>
                  <a:pt x="318" y="358"/>
                </a:cubicBezTo>
                <a:cubicBezTo>
                  <a:pt x="318" y="358"/>
                  <a:pt x="317" y="359"/>
                  <a:pt x="317" y="360"/>
                </a:cubicBezTo>
                <a:cubicBezTo>
                  <a:pt x="316" y="362"/>
                  <a:pt x="316" y="362"/>
                  <a:pt x="316" y="363"/>
                </a:cubicBezTo>
                <a:cubicBezTo>
                  <a:pt x="316" y="365"/>
                  <a:pt x="316" y="365"/>
                  <a:pt x="317" y="365"/>
                </a:cubicBezTo>
                <a:close/>
                <a:moveTo>
                  <a:pt x="391" y="183"/>
                </a:moveTo>
                <a:cubicBezTo>
                  <a:pt x="391" y="183"/>
                  <a:pt x="392" y="183"/>
                  <a:pt x="392" y="182"/>
                </a:cubicBezTo>
                <a:cubicBezTo>
                  <a:pt x="394" y="179"/>
                  <a:pt x="394" y="178"/>
                  <a:pt x="394" y="176"/>
                </a:cubicBezTo>
                <a:cubicBezTo>
                  <a:pt x="394" y="176"/>
                  <a:pt x="394" y="176"/>
                  <a:pt x="394" y="176"/>
                </a:cubicBezTo>
                <a:cubicBezTo>
                  <a:pt x="394" y="176"/>
                  <a:pt x="393" y="176"/>
                  <a:pt x="392" y="178"/>
                </a:cubicBezTo>
                <a:cubicBezTo>
                  <a:pt x="391" y="179"/>
                  <a:pt x="390" y="181"/>
                  <a:pt x="390" y="183"/>
                </a:cubicBezTo>
                <a:cubicBezTo>
                  <a:pt x="390" y="183"/>
                  <a:pt x="391" y="183"/>
                  <a:pt x="391" y="183"/>
                </a:cubicBezTo>
                <a:close/>
                <a:moveTo>
                  <a:pt x="406" y="69"/>
                </a:moveTo>
                <a:cubicBezTo>
                  <a:pt x="407" y="69"/>
                  <a:pt x="408" y="68"/>
                  <a:pt x="408" y="67"/>
                </a:cubicBezTo>
                <a:cubicBezTo>
                  <a:pt x="408" y="66"/>
                  <a:pt x="407" y="65"/>
                  <a:pt x="406" y="65"/>
                </a:cubicBezTo>
                <a:cubicBezTo>
                  <a:pt x="404" y="65"/>
                  <a:pt x="404" y="66"/>
                  <a:pt x="404" y="67"/>
                </a:cubicBezTo>
                <a:cubicBezTo>
                  <a:pt x="404" y="68"/>
                  <a:pt x="404" y="69"/>
                  <a:pt x="406" y="69"/>
                </a:cubicBezTo>
                <a:close/>
                <a:moveTo>
                  <a:pt x="403" y="82"/>
                </a:moveTo>
                <a:cubicBezTo>
                  <a:pt x="403" y="82"/>
                  <a:pt x="404" y="81"/>
                  <a:pt x="404" y="81"/>
                </a:cubicBezTo>
                <a:cubicBezTo>
                  <a:pt x="405" y="80"/>
                  <a:pt x="405" y="79"/>
                  <a:pt x="405" y="78"/>
                </a:cubicBezTo>
                <a:cubicBezTo>
                  <a:pt x="405" y="78"/>
                  <a:pt x="405" y="78"/>
                  <a:pt x="404" y="78"/>
                </a:cubicBezTo>
                <a:cubicBezTo>
                  <a:pt x="402" y="78"/>
                  <a:pt x="402" y="78"/>
                  <a:pt x="402" y="80"/>
                </a:cubicBezTo>
                <a:cubicBezTo>
                  <a:pt x="402" y="81"/>
                  <a:pt x="402" y="82"/>
                  <a:pt x="403" y="82"/>
                </a:cubicBezTo>
                <a:close/>
                <a:moveTo>
                  <a:pt x="407" y="102"/>
                </a:moveTo>
                <a:cubicBezTo>
                  <a:pt x="407" y="102"/>
                  <a:pt x="408" y="101"/>
                  <a:pt x="408" y="101"/>
                </a:cubicBezTo>
                <a:lnTo>
                  <a:pt x="407" y="96"/>
                </a:lnTo>
                <a:cubicBezTo>
                  <a:pt x="407" y="95"/>
                  <a:pt x="408" y="94"/>
                  <a:pt x="409" y="94"/>
                </a:cubicBezTo>
                <a:cubicBezTo>
                  <a:pt x="409" y="93"/>
                  <a:pt x="410" y="90"/>
                  <a:pt x="410" y="83"/>
                </a:cubicBezTo>
                <a:cubicBezTo>
                  <a:pt x="410" y="76"/>
                  <a:pt x="411" y="71"/>
                  <a:pt x="412" y="70"/>
                </a:cubicBezTo>
                <a:cubicBezTo>
                  <a:pt x="413" y="69"/>
                  <a:pt x="414" y="66"/>
                  <a:pt x="414" y="62"/>
                </a:cubicBezTo>
                <a:cubicBezTo>
                  <a:pt x="414" y="55"/>
                  <a:pt x="413" y="51"/>
                  <a:pt x="412" y="51"/>
                </a:cubicBezTo>
                <a:cubicBezTo>
                  <a:pt x="411" y="51"/>
                  <a:pt x="410" y="52"/>
                  <a:pt x="410" y="53"/>
                </a:cubicBezTo>
                <a:lnTo>
                  <a:pt x="410" y="58"/>
                </a:lnTo>
                <a:cubicBezTo>
                  <a:pt x="410" y="60"/>
                  <a:pt x="410" y="61"/>
                  <a:pt x="410" y="62"/>
                </a:cubicBezTo>
                <a:lnTo>
                  <a:pt x="409" y="62"/>
                </a:lnTo>
                <a:cubicBezTo>
                  <a:pt x="408" y="62"/>
                  <a:pt x="408" y="62"/>
                  <a:pt x="408" y="61"/>
                </a:cubicBezTo>
                <a:cubicBezTo>
                  <a:pt x="408" y="60"/>
                  <a:pt x="407" y="60"/>
                  <a:pt x="407" y="60"/>
                </a:cubicBezTo>
                <a:cubicBezTo>
                  <a:pt x="407" y="60"/>
                  <a:pt x="406" y="60"/>
                  <a:pt x="406" y="61"/>
                </a:cubicBezTo>
                <a:cubicBezTo>
                  <a:pt x="406" y="62"/>
                  <a:pt x="407" y="63"/>
                  <a:pt x="407" y="64"/>
                </a:cubicBezTo>
                <a:cubicBezTo>
                  <a:pt x="408" y="65"/>
                  <a:pt x="409" y="66"/>
                  <a:pt x="409" y="68"/>
                </a:cubicBezTo>
                <a:cubicBezTo>
                  <a:pt x="409" y="71"/>
                  <a:pt x="408" y="73"/>
                  <a:pt x="406" y="73"/>
                </a:cubicBezTo>
                <a:lnTo>
                  <a:pt x="405" y="72"/>
                </a:lnTo>
                <a:lnTo>
                  <a:pt x="405" y="73"/>
                </a:lnTo>
                <a:cubicBezTo>
                  <a:pt x="405" y="73"/>
                  <a:pt x="405" y="74"/>
                  <a:pt x="406" y="75"/>
                </a:cubicBezTo>
                <a:cubicBezTo>
                  <a:pt x="407" y="77"/>
                  <a:pt x="407" y="79"/>
                  <a:pt x="407" y="81"/>
                </a:cubicBezTo>
                <a:cubicBezTo>
                  <a:pt x="407" y="84"/>
                  <a:pt x="405" y="87"/>
                  <a:pt x="402" y="89"/>
                </a:cubicBezTo>
                <a:cubicBezTo>
                  <a:pt x="400" y="90"/>
                  <a:pt x="399" y="91"/>
                  <a:pt x="399" y="92"/>
                </a:cubicBezTo>
                <a:lnTo>
                  <a:pt x="400" y="92"/>
                </a:lnTo>
                <a:cubicBezTo>
                  <a:pt x="400" y="92"/>
                  <a:pt x="400" y="92"/>
                  <a:pt x="401" y="93"/>
                </a:cubicBezTo>
                <a:cubicBezTo>
                  <a:pt x="402" y="94"/>
                  <a:pt x="403" y="95"/>
                  <a:pt x="403" y="97"/>
                </a:cubicBezTo>
                <a:cubicBezTo>
                  <a:pt x="405" y="100"/>
                  <a:pt x="406" y="102"/>
                  <a:pt x="407" y="102"/>
                </a:cubicBezTo>
                <a:close/>
                <a:moveTo>
                  <a:pt x="410" y="103"/>
                </a:moveTo>
                <a:cubicBezTo>
                  <a:pt x="411" y="103"/>
                  <a:pt x="412" y="103"/>
                  <a:pt x="412" y="103"/>
                </a:cubicBezTo>
                <a:cubicBezTo>
                  <a:pt x="413" y="102"/>
                  <a:pt x="414" y="101"/>
                  <a:pt x="414" y="100"/>
                </a:cubicBezTo>
                <a:cubicBezTo>
                  <a:pt x="414" y="98"/>
                  <a:pt x="413" y="98"/>
                  <a:pt x="412" y="98"/>
                </a:cubicBezTo>
                <a:cubicBezTo>
                  <a:pt x="410" y="98"/>
                  <a:pt x="410" y="99"/>
                  <a:pt x="410" y="101"/>
                </a:cubicBezTo>
                <a:cubicBezTo>
                  <a:pt x="410" y="103"/>
                  <a:pt x="410" y="103"/>
                  <a:pt x="410" y="103"/>
                </a:cubicBezTo>
                <a:close/>
                <a:moveTo>
                  <a:pt x="401" y="155"/>
                </a:moveTo>
                <a:cubicBezTo>
                  <a:pt x="401" y="155"/>
                  <a:pt x="401" y="154"/>
                  <a:pt x="401" y="152"/>
                </a:cubicBezTo>
                <a:lnTo>
                  <a:pt x="401" y="147"/>
                </a:lnTo>
                <a:cubicBezTo>
                  <a:pt x="401" y="142"/>
                  <a:pt x="402" y="139"/>
                  <a:pt x="404" y="136"/>
                </a:cubicBezTo>
                <a:cubicBezTo>
                  <a:pt x="405" y="134"/>
                  <a:pt x="406" y="132"/>
                  <a:pt x="406" y="130"/>
                </a:cubicBezTo>
                <a:lnTo>
                  <a:pt x="406" y="125"/>
                </a:lnTo>
                <a:lnTo>
                  <a:pt x="406" y="125"/>
                </a:lnTo>
                <a:lnTo>
                  <a:pt x="408" y="125"/>
                </a:lnTo>
                <a:cubicBezTo>
                  <a:pt x="409" y="125"/>
                  <a:pt x="409" y="125"/>
                  <a:pt x="409" y="125"/>
                </a:cubicBezTo>
                <a:lnTo>
                  <a:pt x="408" y="120"/>
                </a:lnTo>
                <a:lnTo>
                  <a:pt x="408" y="118"/>
                </a:lnTo>
                <a:lnTo>
                  <a:pt x="410" y="120"/>
                </a:lnTo>
                <a:cubicBezTo>
                  <a:pt x="410" y="120"/>
                  <a:pt x="410" y="119"/>
                  <a:pt x="410" y="118"/>
                </a:cubicBezTo>
                <a:lnTo>
                  <a:pt x="410" y="115"/>
                </a:lnTo>
                <a:cubicBezTo>
                  <a:pt x="410" y="113"/>
                  <a:pt x="411" y="110"/>
                  <a:pt x="413" y="108"/>
                </a:cubicBezTo>
                <a:cubicBezTo>
                  <a:pt x="414" y="106"/>
                  <a:pt x="415" y="105"/>
                  <a:pt x="415" y="104"/>
                </a:cubicBezTo>
                <a:cubicBezTo>
                  <a:pt x="415" y="104"/>
                  <a:pt x="414" y="105"/>
                  <a:pt x="411" y="106"/>
                </a:cubicBezTo>
                <a:cubicBezTo>
                  <a:pt x="409" y="108"/>
                  <a:pt x="408" y="109"/>
                  <a:pt x="407" y="110"/>
                </a:cubicBezTo>
                <a:cubicBezTo>
                  <a:pt x="407" y="111"/>
                  <a:pt x="407" y="112"/>
                  <a:pt x="407" y="113"/>
                </a:cubicBezTo>
                <a:cubicBezTo>
                  <a:pt x="407" y="114"/>
                  <a:pt x="407" y="115"/>
                  <a:pt x="407" y="116"/>
                </a:cubicBezTo>
                <a:cubicBezTo>
                  <a:pt x="406" y="117"/>
                  <a:pt x="406" y="119"/>
                  <a:pt x="406" y="122"/>
                </a:cubicBezTo>
                <a:cubicBezTo>
                  <a:pt x="406" y="123"/>
                  <a:pt x="405" y="125"/>
                  <a:pt x="403" y="126"/>
                </a:cubicBezTo>
                <a:cubicBezTo>
                  <a:pt x="403" y="127"/>
                  <a:pt x="402" y="127"/>
                  <a:pt x="402" y="128"/>
                </a:cubicBezTo>
                <a:cubicBezTo>
                  <a:pt x="402" y="128"/>
                  <a:pt x="403" y="129"/>
                  <a:pt x="403" y="129"/>
                </a:cubicBezTo>
                <a:cubicBezTo>
                  <a:pt x="403" y="129"/>
                  <a:pt x="403" y="129"/>
                  <a:pt x="403" y="129"/>
                </a:cubicBezTo>
                <a:cubicBezTo>
                  <a:pt x="403" y="129"/>
                  <a:pt x="403" y="130"/>
                  <a:pt x="402" y="131"/>
                </a:cubicBezTo>
                <a:cubicBezTo>
                  <a:pt x="401" y="132"/>
                  <a:pt x="400" y="133"/>
                  <a:pt x="400" y="134"/>
                </a:cubicBezTo>
                <a:cubicBezTo>
                  <a:pt x="400" y="134"/>
                  <a:pt x="401" y="134"/>
                  <a:pt x="401" y="134"/>
                </a:cubicBezTo>
                <a:cubicBezTo>
                  <a:pt x="401" y="134"/>
                  <a:pt x="401" y="135"/>
                  <a:pt x="401" y="135"/>
                </a:cubicBezTo>
                <a:cubicBezTo>
                  <a:pt x="401" y="135"/>
                  <a:pt x="401" y="136"/>
                  <a:pt x="400" y="138"/>
                </a:cubicBezTo>
                <a:cubicBezTo>
                  <a:pt x="399" y="139"/>
                  <a:pt x="399" y="141"/>
                  <a:pt x="399" y="143"/>
                </a:cubicBezTo>
                <a:cubicBezTo>
                  <a:pt x="399" y="145"/>
                  <a:pt x="399" y="146"/>
                  <a:pt x="398" y="146"/>
                </a:cubicBezTo>
                <a:cubicBezTo>
                  <a:pt x="397" y="147"/>
                  <a:pt x="397" y="147"/>
                  <a:pt x="397" y="148"/>
                </a:cubicBezTo>
                <a:cubicBezTo>
                  <a:pt x="397" y="149"/>
                  <a:pt x="398" y="150"/>
                  <a:pt x="399" y="152"/>
                </a:cubicBezTo>
                <a:cubicBezTo>
                  <a:pt x="399" y="153"/>
                  <a:pt x="400" y="154"/>
                  <a:pt x="401" y="155"/>
                </a:cubicBezTo>
                <a:close/>
                <a:moveTo>
                  <a:pt x="412" y="95"/>
                </a:moveTo>
                <a:cubicBezTo>
                  <a:pt x="412" y="95"/>
                  <a:pt x="413" y="94"/>
                  <a:pt x="414" y="93"/>
                </a:cubicBezTo>
                <a:cubicBezTo>
                  <a:pt x="416" y="90"/>
                  <a:pt x="416" y="89"/>
                  <a:pt x="416" y="88"/>
                </a:cubicBezTo>
                <a:lnTo>
                  <a:pt x="415" y="88"/>
                </a:lnTo>
                <a:cubicBezTo>
                  <a:pt x="415" y="88"/>
                  <a:pt x="414" y="88"/>
                  <a:pt x="413" y="89"/>
                </a:cubicBezTo>
                <a:cubicBezTo>
                  <a:pt x="412" y="90"/>
                  <a:pt x="412" y="92"/>
                  <a:pt x="412" y="93"/>
                </a:cubicBezTo>
                <a:cubicBezTo>
                  <a:pt x="412" y="95"/>
                  <a:pt x="412" y="95"/>
                  <a:pt x="412" y="95"/>
                </a:cubicBezTo>
                <a:close/>
                <a:moveTo>
                  <a:pt x="418" y="85"/>
                </a:moveTo>
                <a:lnTo>
                  <a:pt x="420" y="81"/>
                </a:lnTo>
                <a:cubicBezTo>
                  <a:pt x="421" y="78"/>
                  <a:pt x="422" y="73"/>
                  <a:pt x="422" y="66"/>
                </a:cubicBezTo>
                <a:cubicBezTo>
                  <a:pt x="422" y="51"/>
                  <a:pt x="420" y="41"/>
                  <a:pt x="418" y="36"/>
                </a:cubicBezTo>
                <a:cubicBezTo>
                  <a:pt x="417" y="35"/>
                  <a:pt x="417" y="34"/>
                  <a:pt x="417" y="32"/>
                </a:cubicBezTo>
                <a:lnTo>
                  <a:pt x="417" y="31"/>
                </a:lnTo>
                <a:lnTo>
                  <a:pt x="417" y="31"/>
                </a:lnTo>
                <a:lnTo>
                  <a:pt x="414" y="32"/>
                </a:lnTo>
                <a:cubicBezTo>
                  <a:pt x="412" y="32"/>
                  <a:pt x="412" y="31"/>
                  <a:pt x="412" y="30"/>
                </a:cubicBezTo>
                <a:lnTo>
                  <a:pt x="412" y="29"/>
                </a:lnTo>
                <a:cubicBezTo>
                  <a:pt x="412" y="29"/>
                  <a:pt x="412" y="29"/>
                  <a:pt x="411" y="28"/>
                </a:cubicBezTo>
                <a:cubicBezTo>
                  <a:pt x="410" y="27"/>
                  <a:pt x="409" y="27"/>
                  <a:pt x="408" y="27"/>
                </a:cubicBezTo>
                <a:cubicBezTo>
                  <a:pt x="407" y="27"/>
                  <a:pt x="407" y="27"/>
                  <a:pt x="407" y="28"/>
                </a:cubicBezTo>
                <a:lnTo>
                  <a:pt x="409" y="38"/>
                </a:lnTo>
                <a:lnTo>
                  <a:pt x="408" y="40"/>
                </a:lnTo>
                <a:cubicBezTo>
                  <a:pt x="408" y="40"/>
                  <a:pt x="408" y="40"/>
                  <a:pt x="409" y="40"/>
                </a:cubicBezTo>
                <a:lnTo>
                  <a:pt x="414" y="40"/>
                </a:lnTo>
                <a:cubicBezTo>
                  <a:pt x="414" y="40"/>
                  <a:pt x="415" y="40"/>
                  <a:pt x="415" y="41"/>
                </a:cubicBezTo>
                <a:lnTo>
                  <a:pt x="414" y="46"/>
                </a:lnTo>
                <a:cubicBezTo>
                  <a:pt x="414" y="48"/>
                  <a:pt x="414" y="49"/>
                  <a:pt x="415" y="49"/>
                </a:cubicBezTo>
                <a:cubicBezTo>
                  <a:pt x="415" y="50"/>
                  <a:pt x="415" y="51"/>
                  <a:pt x="416" y="52"/>
                </a:cubicBezTo>
                <a:cubicBezTo>
                  <a:pt x="416" y="53"/>
                  <a:pt x="416" y="54"/>
                  <a:pt x="417" y="55"/>
                </a:cubicBezTo>
                <a:cubicBezTo>
                  <a:pt x="417" y="56"/>
                  <a:pt x="417" y="56"/>
                  <a:pt x="417" y="57"/>
                </a:cubicBezTo>
                <a:cubicBezTo>
                  <a:pt x="417" y="58"/>
                  <a:pt x="417" y="58"/>
                  <a:pt x="417" y="60"/>
                </a:cubicBezTo>
                <a:cubicBezTo>
                  <a:pt x="418" y="61"/>
                  <a:pt x="418" y="62"/>
                  <a:pt x="418" y="62"/>
                </a:cubicBezTo>
                <a:cubicBezTo>
                  <a:pt x="418" y="63"/>
                  <a:pt x="419" y="64"/>
                  <a:pt x="419" y="64"/>
                </a:cubicBezTo>
                <a:cubicBezTo>
                  <a:pt x="419" y="65"/>
                  <a:pt x="419" y="66"/>
                  <a:pt x="419" y="66"/>
                </a:cubicBezTo>
                <a:cubicBezTo>
                  <a:pt x="419" y="67"/>
                  <a:pt x="419" y="67"/>
                  <a:pt x="419" y="67"/>
                </a:cubicBezTo>
                <a:lnTo>
                  <a:pt x="417" y="66"/>
                </a:lnTo>
                <a:cubicBezTo>
                  <a:pt x="417" y="66"/>
                  <a:pt x="416" y="67"/>
                  <a:pt x="416" y="68"/>
                </a:cubicBezTo>
                <a:cubicBezTo>
                  <a:pt x="416" y="70"/>
                  <a:pt x="417" y="71"/>
                  <a:pt x="417" y="71"/>
                </a:cubicBezTo>
                <a:lnTo>
                  <a:pt x="419" y="69"/>
                </a:lnTo>
                <a:cubicBezTo>
                  <a:pt x="419" y="69"/>
                  <a:pt x="420" y="70"/>
                  <a:pt x="420" y="71"/>
                </a:cubicBezTo>
                <a:cubicBezTo>
                  <a:pt x="420" y="72"/>
                  <a:pt x="419" y="74"/>
                  <a:pt x="417" y="76"/>
                </a:cubicBezTo>
                <a:cubicBezTo>
                  <a:pt x="415" y="78"/>
                  <a:pt x="414" y="79"/>
                  <a:pt x="414" y="80"/>
                </a:cubicBezTo>
                <a:cubicBezTo>
                  <a:pt x="414" y="80"/>
                  <a:pt x="414" y="81"/>
                  <a:pt x="414" y="81"/>
                </a:cubicBezTo>
                <a:lnTo>
                  <a:pt x="418" y="78"/>
                </a:lnTo>
                <a:cubicBezTo>
                  <a:pt x="419" y="78"/>
                  <a:pt x="419" y="79"/>
                  <a:pt x="419" y="80"/>
                </a:cubicBezTo>
                <a:lnTo>
                  <a:pt x="418" y="85"/>
                </a:lnTo>
                <a:close/>
                <a:moveTo>
                  <a:pt x="419" y="42"/>
                </a:moveTo>
                <a:lnTo>
                  <a:pt x="419" y="42"/>
                </a:lnTo>
                <a:cubicBezTo>
                  <a:pt x="418" y="42"/>
                  <a:pt x="417" y="41"/>
                  <a:pt x="417" y="40"/>
                </a:cubicBezTo>
                <a:lnTo>
                  <a:pt x="416" y="37"/>
                </a:lnTo>
                <a:lnTo>
                  <a:pt x="416" y="37"/>
                </a:lnTo>
                <a:cubicBezTo>
                  <a:pt x="417" y="37"/>
                  <a:pt x="417" y="38"/>
                  <a:pt x="418" y="39"/>
                </a:cubicBezTo>
                <a:cubicBezTo>
                  <a:pt x="419" y="39"/>
                  <a:pt x="419" y="40"/>
                  <a:pt x="419" y="41"/>
                </a:cubicBezTo>
                <a:lnTo>
                  <a:pt x="419" y="42"/>
                </a:lnTo>
                <a:close/>
                <a:moveTo>
                  <a:pt x="238" y="568"/>
                </a:moveTo>
                <a:cubicBezTo>
                  <a:pt x="237" y="568"/>
                  <a:pt x="236" y="568"/>
                  <a:pt x="236" y="568"/>
                </a:cubicBezTo>
                <a:cubicBezTo>
                  <a:pt x="236" y="568"/>
                  <a:pt x="237" y="567"/>
                  <a:pt x="238" y="566"/>
                </a:cubicBezTo>
                <a:cubicBezTo>
                  <a:pt x="239" y="566"/>
                  <a:pt x="239" y="565"/>
                  <a:pt x="239" y="565"/>
                </a:cubicBezTo>
                <a:cubicBezTo>
                  <a:pt x="239" y="564"/>
                  <a:pt x="239" y="564"/>
                  <a:pt x="238" y="564"/>
                </a:cubicBezTo>
                <a:cubicBezTo>
                  <a:pt x="238" y="563"/>
                  <a:pt x="238" y="563"/>
                  <a:pt x="237" y="563"/>
                </a:cubicBezTo>
                <a:cubicBezTo>
                  <a:pt x="236" y="563"/>
                  <a:pt x="235" y="564"/>
                  <a:pt x="234" y="566"/>
                </a:cubicBezTo>
                <a:cubicBezTo>
                  <a:pt x="234" y="567"/>
                  <a:pt x="233" y="568"/>
                  <a:pt x="233" y="568"/>
                </a:cubicBezTo>
                <a:cubicBezTo>
                  <a:pt x="233" y="568"/>
                  <a:pt x="232" y="568"/>
                  <a:pt x="232" y="567"/>
                </a:cubicBezTo>
                <a:lnTo>
                  <a:pt x="232" y="567"/>
                </a:lnTo>
                <a:cubicBezTo>
                  <a:pt x="232" y="565"/>
                  <a:pt x="233" y="564"/>
                  <a:pt x="234" y="563"/>
                </a:cubicBezTo>
                <a:cubicBezTo>
                  <a:pt x="236" y="562"/>
                  <a:pt x="237" y="561"/>
                  <a:pt x="238" y="561"/>
                </a:cubicBezTo>
                <a:cubicBezTo>
                  <a:pt x="239" y="561"/>
                  <a:pt x="239" y="561"/>
                  <a:pt x="240" y="562"/>
                </a:cubicBezTo>
                <a:cubicBezTo>
                  <a:pt x="241" y="564"/>
                  <a:pt x="241" y="565"/>
                  <a:pt x="241" y="566"/>
                </a:cubicBezTo>
                <a:cubicBezTo>
                  <a:pt x="241" y="568"/>
                  <a:pt x="240" y="568"/>
                  <a:pt x="238" y="568"/>
                </a:cubicBezTo>
                <a:close/>
                <a:moveTo>
                  <a:pt x="231" y="611"/>
                </a:moveTo>
                <a:lnTo>
                  <a:pt x="231" y="610"/>
                </a:lnTo>
                <a:cubicBezTo>
                  <a:pt x="231" y="609"/>
                  <a:pt x="233" y="604"/>
                  <a:pt x="236" y="597"/>
                </a:cubicBezTo>
                <a:cubicBezTo>
                  <a:pt x="237" y="593"/>
                  <a:pt x="238" y="592"/>
                  <a:pt x="239" y="592"/>
                </a:cubicBezTo>
                <a:lnTo>
                  <a:pt x="239" y="592"/>
                </a:lnTo>
                <a:lnTo>
                  <a:pt x="237" y="597"/>
                </a:lnTo>
                <a:lnTo>
                  <a:pt x="234" y="606"/>
                </a:lnTo>
                <a:cubicBezTo>
                  <a:pt x="233" y="609"/>
                  <a:pt x="232" y="611"/>
                  <a:pt x="231" y="611"/>
                </a:cubicBezTo>
                <a:close/>
                <a:moveTo>
                  <a:pt x="219" y="128"/>
                </a:moveTo>
                <a:lnTo>
                  <a:pt x="218" y="127"/>
                </a:lnTo>
                <a:lnTo>
                  <a:pt x="221" y="125"/>
                </a:lnTo>
                <a:cubicBezTo>
                  <a:pt x="223" y="123"/>
                  <a:pt x="224" y="122"/>
                  <a:pt x="225" y="122"/>
                </a:cubicBezTo>
                <a:cubicBezTo>
                  <a:pt x="226" y="122"/>
                  <a:pt x="226" y="123"/>
                  <a:pt x="226" y="123"/>
                </a:cubicBezTo>
                <a:cubicBezTo>
                  <a:pt x="226" y="124"/>
                  <a:pt x="224" y="125"/>
                  <a:pt x="223" y="126"/>
                </a:cubicBezTo>
                <a:cubicBezTo>
                  <a:pt x="221" y="127"/>
                  <a:pt x="219" y="128"/>
                  <a:pt x="219" y="128"/>
                </a:cubicBezTo>
                <a:close/>
                <a:moveTo>
                  <a:pt x="235" y="578"/>
                </a:moveTo>
                <a:cubicBezTo>
                  <a:pt x="234" y="578"/>
                  <a:pt x="232" y="578"/>
                  <a:pt x="231" y="576"/>
                </a:cubicBezTo>
                <a:lnTo>
                  <a:pt x="231" y="575"/>
                </a:lnTo>
                <a:cubicBezTo>
                  <a:pt x="231" y="574"/>
                  <a:pt x="231" y="573"/>
                  <a:pt x="232" y="572"/>
                </a:cubicBezTo>
                <a:cubicBezTo>
                  <a:pt x="233" y="571"/>
                  <a:pt x="233" y="570"/>
                  <a:pt x="234" y="570"/>
                </a:cubicBezTo>
                <a:cubicBezTo>
                  <a:pt x="235" y="570"/>
                  <a:pt x="236" y="571"/>
                  <a:pt x="236" y="573"/>
                </a:cubicBezTo>
                <a:cubicBezTo>
                  <a:pt x="236" y="573"/>
                  <a:pt x="235" y="574"/>
                  <a:pt x="235" y="574"/>
                </a:cubicBezTo>
                <a:lnTo>
                  <a:pt x="233" y="573"/>
                </a:lnTo>
                <a:cubicBezTo>
                  <a:pt x="233" y="573"/>
                  <a:pt x="232" y="573"/>
                  <a:pt x="232" y="573"/>
                </a:cubicBezTo>
                <a:lnTo>
                  <a:pt x="233" y="574"/>
                </a:lnTo>
                <a:cubicBezTo>
                  <a:pt x="234" y="575"/>
                  <a:pt x="234" y="576"/>
                  <a:pt x="235" y="576"/>
                </a:cubicBezTo>
                <a:lnTo>
                  <a:pt x="237" y="575"/>
                </a:lnTo>
                <a:cubicBezTo>
                  <a:pt x="237" y="575"/>
                  <a:pt x="238" y="576"/>
                  <a:pt x="238" y="576"/>
                </a:cubicBezTo>
                <a:cubicBezTo>
                  <a:pt x="238" y="578"/>
                  <a:pt x="237" y="578"/>
                  <a:pt x="235" y="578"/>
                </a:cubicBezTo>
                <a:close/>
                <a:moveTo>
                  <a:pt x="219" y="486"/>
                </a:moveTo>
                <a:cubicBezTo>
                  <a:pt x="219" y="486"/>
                  <a:pt x="218" y="485"/>
                  <a:pt x="218" y="483"/>
                </a:cubicBezTo>
                <a:lnTo>
                  <a:pt x="217" y="481"/>
                </a:lnTo>
                <a:cubicBezTo>
                  <a:pt x="217" y="481"/>
                  <a:pt x="218" y="481"/>
                  <a:pt x="219" y="482"/>
                </a:cubicBezTo>
                <a:cubicBezTo>
                  <a:pt x="220" y="483"/>
                  <a:pt x="220" y="485"/>
                  <a:pt x="220" y="485"/>
                </a:cubicBezTo>
                <a:lnTo>
                  <a:pt x="219" y="486"/>
                </a:lnTo>
                <a:close/>
                <a:moveTo>
                  <a:pt x="237" y="558"/>
                </a:moveTo>
                <a:cubicBezTo>
                  <a:pt x="236" y="558"/>
                  <a:pt x="236" y="557"/>
                  <a:pt x="236" y="557"/>
                </a:cubicBezTo>
                <a:cubicBezTo>
                  <a:pt x="236" y="556"/>
                  <a:pt x="236" y="555"/>
                  <a:pt x="237" y="554"/>
                </a:cubicBezTo>
                <a:cubicBezTo>
                  <a:pt x="238" y="553"/>
                  <a:pt x="239" y="552"/>
                  <a:pt x="239" y="551"/>
                </a:cubicBezTo>
                <a:cubicBezTo>
                  <a:pt x="240" y="550"/>
                  <a:pt x="241" y="550"/>
                  <a:pt x="242" y="550"/>
                </a:cubicBezTo>
                <a:cubicBezTo>
                  <a:pt x="243" y="550"/>
                  <a:pt x="244" y="551"/>
                  <a:pt x="244" y="552"/>
                </a:cubicBezTo>
                <a:cubicBezTo>
                  <a:pt x="244" y="553"/>
                  <a:pt x="244" y="554"/>
                  <a:pt x="243" y="554"/>
                </a:cubicBezTo>
                <a:lnTo>
                  <a:pt x="241" y="553"/>
                </a:lnTo>
                <a:cubicBezTo>
                  <a:pt x="240" y="553"/>
                  <a:pt x="239" y="554"/>
                  <a:pt x="238" y="556"/>
                </a:cubicBezTo>
                <a:cubicBezTo>
                  <a:pt x="238" y="557"/>
                  <a:pt x="237" y="558"/>
                  <a:pt x="237" y="558"/>
                </a:cubicBezTo>
                <a:close/>
                <a:moveTo>
                  <a:pt x="239" y="515"/>
                </a:moveTo>
                <a:cubicBezTo>
                  <a:pt x="238" y="515"/>
                  <a:pt x="238" y="515"/>
                  <a:pt x="238" y="513"/>
                </a:cubicBezTo>
                <a:cubicBezTo>
                  <a:pt x="238" y="512"/>
                  <a:pt x="238" y="512"/>
                  <a:pt x="238" y="512"/>
                </a:cubicBezTo>
                <a:cubicBezTo>
                  <a:pt x="238" y="512"/>
                  <a:pt x="239" y="512"/>
                  <a:pt x="240" y="511"/>
                </a:cubicBezTo>
                <a:cubicBezTo>
                  <a:pt x="241" y="511"/>
                  <a:pt x="241" y="511"/>
                  <a:pt x="241" y="510"/>
                </a:cubicBezTo>
                <a:lnTo>
                  <a:pt x="241" y="508"/>
                </a:lnTo>
                <a:cubicBezTo>
                  <a:pt x="241" y="507"/>
                  <a:pt x="241" y="507"/>
                  <a:pt x="241" y="507"/>
                </a:cubicBezTo>
                <a:cubicBezTo>
                  <a:pt x="243" y="507"/>
                  <a:pt x="243" y="507"/>
                  <a:pt x="243" y="508"/>
                </a:cubicBezTo>
                <a:cubicBezTo>
                  <a:pt x="243" y="509"/>
                  <a:pt x="243" y="510"/>
                  <a:pt x="242" y="512"/>
                </a:cubicBezTo>
                <a:cubicBezTo>
                  <a:pt x="241" y="514"/>
                  <a:pt x="240" y="515"/>
                  <a:pt x="239" y="515"/>
                </a:cubicBezTo>
                <a:close/>
                <a:moveTo>
                  <a:pt x="248" y="547"/>
                </a:moveTo>
                <a:cubicBezTo>
                  <a:pt x="248" y="547"/>
                  <a:pt x="248" y="546"/>
                  <a:pt x="247" y="545"/>
                </a:cubicBezTo>
                <a:cubicBezTo>
                  <a:pt x="246" y="544"/>
                  <a:pt x="245" y="543"/>
                  <a:pt x="244" y="543"/>
                </a:cubicBezTo>
                <a:lnTo>
                  <a:pt x="242" y="544"/>
                </a:lnTo>
                <a:lnTo>
                  <a:pt x="243" y="542"/>
                </a:lnTo>
                <a:cubicBezTo>
                  <a:pt x="244" y="541"/>
                  <a:pt x="245" y="540"/>
                  <a:pt x="246" y="540"/>
                </a:cubicBezTo>
                <a:cubicBezTo>
                  <a:pt x="246" y="540"/>
                  <a:pt x="247" y="541"/>
                  <a:pt x="248" y="542"/>
                </a:cubicBezTo>
                <a:cubicBezTo>
                  <a:pt x="248" y="544"/>
                  <a:pt x="249" y="544"/>
                  <a:pt x="249" y="544"/>
                </a:cubicBezTo>
                <a:cubicBezTo>
                  <a:pt x="250" y="544"/>
                  <a:pt x="250" y="544"/>
                  <a:pt x="250" y="542"/>
                </a:cubicBezTo>
                <a:cubicBezTo>
                  <a:pt x="250" y="541"/>
                  <a:pt x="250" y="541"/>
                  <a:pt x="250" y="541"/>
                </a:cubicBezTo>
                <a:cubicBezTo>
                  <a:pt x="250" y="541"/>
                  <a:pt x="251" y="541"/>
                  <a:pt x="251" y="542"/>
                </a:cubicBezTo>
                <a:cubicBezTo>
                  <a:pt x="251" y="543"/>
                  <a:pt x="251" y="544"/>
                  <a:pt x="250" y="545"/>
                </a:cubicBezTo>
                <a:cubicBezTo>
                  <a:pt x="249" y="546"/>
                  <a:pt x="248" y="547"/>
                  <a:pt x="248" y="547"/>
                </a:cubicBezTo>
                <a:close/>
                <a:moveTo>
                  <a:pt x="248" y="495"/>
                </a:moveTo>
                <a:cubicBezTo>
                  <a:pt x="246" y="495"/>
                  <a:pt x="246" y="495"/>
                  <a:pt x="246" y="493"/>
                </a:cubicBezTo>
                <a:cubicBezTo>
                  <a:pt x="246" y="492"/>
                  <a:pt x="246" y="491"/>
                  <a:pt x="248" y="491"/>
                </a:cubicBezTo>
                <a:cubicBezTo>
                  <a:pt x="249" y="491"/>
                  <a:pt x="249" y="492"/>
                  <a:pt x="250" y="493"/>
                </a:cubicBezTo>
                <a:cubicBezTo>
                  <a:pt x="249" y="495"/>
                  <a:pt x="249" y="495"/>
                  <a:pt x="248" y="495"/>
                </a:cubicBezTo>
                <a:close/>
                <a:moveTo>
                  <a:pt x="219" y="140"/>
                </a:moveTo>
                <a:cubicBezTo>
                  <a:pt x="219" y="140"/>
                  <a:pt x="218" y="139"/>
                  <a:pt x="218" y="139"/>
                </a:cubicBezTo>
                <a:cubicBezTo>
                  <a:pt x="218" y="138"/>
                  <a:pt x="219" y="137"/>
                  <a:pt x="219" y="136"/>
                </a:cubicBezTo>
                <a:cubicBezTo>
                  <a:pt x="220" y="135"/>
                  <a:pt x="221" y="135"/>
                  <a:pt x="221" y="135"/>
                </a:cubicBezTo>
                <a:cubicBezTo>
                  <a:pt x="222" y="135"/>
                  <a:pt x="222" y="135"/>
                  <a:pt x="222" y="136"/>
                </a:cubicBezTo>
                <a:cubicBezTo>
                  <a:pt x="222" y="137"/>
                  <a:pt x="222" y="139"/>
                  <a:pt x="220" y="140"/>
                </a:cubicBezTo>
                <a:lnTo>
                  <a:pt x="219" y="140"/>
                </a:lnTo>
                <a:close/>
                <a:moveTo>
                  <a:pt x="286" y="414"/>
                </a:moveTo>
                <a:cubicBezTo>
                  <a:pt x="285" y="414"/>
                  <a:pt x="285" y="414"/>
                  <a:pt x="285" y="413"/>
                </a:cubicBezTo>
                <a:cubicBezTo>
                  <a:pt x="285" y="412"/>
                  <a:pt x="286" y="410"/>
                  <a:pt x="286" y="408"/>
                </a:cubicBezTo>
                <a:cubicBezTo>
                  <a:pt x="287" y="404"/>
                  <a:pt x="288" y="402"/>
                  <a:pt x="289" y="402"/>
                </a:cubicBezTo>
                <a:lnTo>
                  <a:pt x="289" y="402"/>
                </a:lnTo>
                <a:cubicBezTo>
                  <a:pt x="289" y="404"/>
                  <a:pt x="289" y="405"/>
                  <a:pt x="289" y="406"/>
                </a:cubicBezTo>
                <a:cubicBezTo>
                  <a:pt x="288" y="408"/>
                  <a:pt x="288" y="410"/>
                  <a:pt x="287" y="411"/>
                </a:cubicBezTo>
                <a:cubicBezTo>
                  <a:pt x="286" y="413"/>
                  <a:pt x="286" y="414"/>
                  <a:pt x="286" y="414"/>
                </a:cubicBezTo>
                <a:close/>
                <a:moveTo>
                  <a:pt x="266" y="66"/>
                </a:moveTo>
                <a:cubicBezTo>
                  <a:pt x="265" y="66"/>
                  <a:pt x="264" y="66"/>
                  <a:pt x="264" y="65"/>
                </a:cubicBezTo>
                <a:lnTo>
                  <a:pt x="264" y="65"/>
                </a:lnTo>
                <a:cubicBezTo>
                  <a:pt x="265" y="64"/>
                  <a:pt x="265" y="64"/>
                  <a:pt x="266" y="64"/>
                </a:cubicBezTo>
                <a:cubicBezTo>
                  <a:pt x="266" y="64"/>
                  <a:pt x="267" y="64"/>
                  <a:pt x="268" y="64"/>
                </a:cubicBezTo>
                <a:cubicBezTo>
                  <a:pt x="268" y="65"/>
                  <a:pt x="269" y="66"/>
                  <a:pt x="269" y="66"/>
                </a:cubicBezTo>
                <a:cubicBezTo>
                  <a:pt x="269" y="66"/>
                  <a:pt x="268" y="66"/>
                  <a:pt x="266" y="66"/>
                </a:cubicBezTo>
                <a:close/>
                <a:moveTo>
                  <a:pt x="267" y="56"/>
                </a:moveTo>
                <a:cubicBezTo>
                  <a:pt x="267" y="56"/>
                  <a:pt x="268" y="54"/>
                  <a:pt x="272" y="52"/>
                </a:cubicBezTo>
                <a:cubicBezTo>
                  <a:pt x="275" y="49"/>
                  <a:pt x="279" y="46"/>
                  <a:pt x="284" y="43"/>
                </a:cubicBezTo>
                <a:cubicBezTo>
                  <a:pt x="289" y="39"/>
                  <a:pt x="293" y="37"/>
                  <a:pt x="296" y="34"/>
                </a:cubicBezTo>
                <a:cubicBezTo>
                  <a:pt x="300" y="32"/>
                  <a:pt x="302" y="32"/>
                  <a:pt x="303" y="32"/>
                </a:cubicBezTo>
                <a:cubicBezTo>
                  <a:pt x="303" y="32"/>
                  <a:pt x="296" y="37"/>
                  <a:pt x="284" y="45"/>
                </a:cubicBezTo>
                <a:cubicBezTo>
                  <a:pt x="273" y="53"/>
                  <a:pt x="268" y="56"/>
                  <a:pt x="267" y="56"/>
                </a:cubicBezTo>
                <a:close/>
                <a:moveTo>
                  <a:pt x="233" y="82"/>
                </a:moveTo>
                <a:cubicBezTo>
                  <a:pt x="233" y="81"/>
                  <a:pt x="235" y="79"/>
                  <a:pt x="239" y="76"/>
                </a:cubicBezTo>
                <a:cubicBezTo>
                  <a:pt x="248" y="69"/>
                  <a:pt x="252" y="66"/>
                  <a:pt x="253" y="66"/>
                </a:cubicBezTo>
                <a:cubicBezTo>
                  <a:pt x="253" y="66"/>
                  <a:pt x="252" y="67"/>
                  <a:pt x="250" y="69"/>
                </a:cubicBezTo>
                <a:cubicBezTo>
                  <a:pt x="240" y="78"/>
                  <a:pt x="235" y="82"/>
                  <a:pt x="233" y="82"/>
                </a:cubicBezTo>
                <a:close/>
                <a:moveTo>
                  <a:pt x="252" y="78"/>
                </a:moveTo>
                <a:cubicBezTo>
                  <a:pt x="252" y="78"/>
                  <a:pt x="251" y="77"/>
                  <a:pt x="251" y="76"/>
                </a:cubicBezTo>
                <a:cubicBezTo>
                  <a:pt x="251" y="74"/>
                  <a:pt x="252" y="73"/>
                  <a:pt x="253" y="73"/>
                </a:cubicBezTo>
                <a:lnTo>
                  <a:pt x="254" y="72"/>
                </a:lnTo>
                <a:cubicBezTo>
                  <a:pt x="254" y="72"/>
                  <a:pt x="255" y="72"/>
                  <a:pt x="255" y="73"/>
                </a:cubicBezTo>
                <a:lnTo>
                  <a:pt x="254" y="74"/>
                </a:lnTo>
                <a:cubicBezTo>
                  <a:pt x="253" y="76"/>
                  <a:pt x="253" y="78"/>
                  <a:pt x="252" y="78"/>
                </a:cubicBezTo>
                <a:close/>
                <a:moveTo>
                  <a:pt x="239" y="87"/>
                </a:moveTo>
                <a:cubicBezTo>
                  <a:pt x="238" y="87"/>
                  <a:pt x="238" y="87"/>
                  <a:pt x="238" y="86"/>
                </a:cubicBezTo>
                <a:cubicBezTo>
                  <a:pt x="238" y="85"/>
                  <a:pt x="238" y="85"/>
                  <a:pt x="239" y="84"/>
                </a:cubicBezTo>
                <a:cubicBezTo>
                  <a:pt x="239" y="83"/>
                  <a:pt x="240" y="82"/>
                  <a:pt x="241" y="81"/>
                </a:cubicBezTo>
                <a:cubicBezTo>
                  <a:pt x="242" y="80"/>
                  <a:pt x="243" y="80"/>
                  <a:pt x="243" y="80"/>
                </a:cubicBezTo>
                <a:cubicBezTo>
                  <a:pt x="244" y="80"/>
                  <a:pt x="244" y="80"/>
                  <a:pt x="244" y="81"/>
                </a:cubicBezTo>
                <a:lnTo>
                  <a:pt x="244" y="81"/>
                </a:lnTo>
                <a:cubicBezTo>
                  <a:pt x="244" y="81"/>
                  <a:pt x="245" y="80"/>
                  <a:pt x="247" y="78"/>
                </a:cubicBezTo>
                <a:cubicBezTo>
                  <a:pt x="248" y="76"/>
                  <a:pt x="249" y="76"/>
                  <a:pt x="249" y="76"/>
                </a:cubicBezTo>
                <a:cubicBezTo>
                  <a:pt x="249" y="76"/>
                  <a:pt x="249" y="77"/>
                  <a:pt x="248" y="80"/>
                </a:cubicBezTo>
                <a:cubicBezTo>
                  <a:pt x="246" y="82"/>
                  <a:pt x="246" y="83"/>
                  <a:pt x="245" y="83"/>
                </a:cubicBezTo>
                <a:lnTo>
                  <a:pt x="244" y="83"/>
                </a:lnTo>
                <a:cubicBezTo>
                  <a:pt x="243" y="83"/>
                  <a:pt x="242" y="83"/>
                  <a:pt x="241" y="85"/>
                </a:cubicBezTo>
                <a:cubicBezTo>
                  <a:pt x="240" y="86"/>
                  <a:pt x="239" y="87"/>
                  <a:pt x="239" y="87"/>
                </a:cubicBezTo>
                <a:close/>
                <a:moveTo>
                  <a:pt x="238" y="87"/>
                </a:moveTo>
                <a:close/>
                <a:moveTo>
                  <a:pt x="258" y="73"/>
                </a:moveTo>
                <a:cubicBezTo>
                  <a:pt x="258" y="73"/>
                  <a:pt x="257" y="73"/>
                  <a:pt x="257" y="71"/>
                </a:cubicBezTo>
                <a:cubicBezTo>
                  <a:pt x="257" y="70"/>
                  <a:pt x="258" y="69"/>
                  <a:pt x="259" y="68"/>
                </a:cubicBezTo>
                <a:lnTo>
                  <a:pt x="260" y="68"/>
                </a:lnTo>
                <a:cubicBezTo>
                  <a:pt x="260" y="68"/>
                  <a:pt x="260" y="68"/>
                  <a:pt x="260" y="68"/>
                </a:cubicBezTo>
                <a:cubicBezTo>
                  <a:pt x="260" y="69"/>
                  <a:pt x="260" y="70"/>
                  <a:pt x="260" y="71"/>
                </a:cubicBezTo>
                <a:cubicBezTo>
                  <a:pt x="259" y="73"/>
                  <a:pt x="258" y="73"/>
                  <a:pt x="258" y="73"/>
                </a:cubicBezTo>
                <a:close/>
                <a:moveTo>
                  <a:pt x="226" y="95"/>
                </a:moveTo>
                <a:lnTo>
                  <a:pt x="224" y="95"/>
                </a:lnTo>
                <a:cubicBezTo>
                  <a:pt x="224" y="94"/>
                  <a:pt x="225" y="93"/>
                  <a:pt x="226" y="92"/>
                </a:cubicBezTo>
                <a:cubicBezTo>
                  <a:pt x="227" y="91"/>
                  <a:pt x="228" y="91"/>
                  <a:pt x="229" y="91"/>
                </a:cubicBezTo>
                <a:cubicBezTo>
                  <a:pt x="231" y="91"/>
                  <a:pt x="232" y="92"/>
                  <a:pt x="232" y="94"/>
                </a:cubicBezTo>
                <a:lnTo>
                  <a:pt x="230" y="93"/>
                </a:lnTo>
                <a:cubicBezTo>
                  <a:pt x="229" y="93"/>
                  <a:pt x="228" y="93"/>
                  <a:pt x="228" y="93"/>
                </a:cubicBezTo>
                <a:cubicBezTo>
                  <a:pt x="227" y="94"/>
                  <a:pt x="226" y="95"/>
                  <a:pt x="226" y="95"/>
                </a:cubicBezTo>
                <a:close/>
                <a:moveTo>
                  <a:pt x="345" y="11"/>
                </a:moveTo>
                <a:lnTo>
                  <a:pt x="343" y="11"/>
                </a:lnTo>
                <a:lnTo>
                  <a:pt x="343" y="10"/>
                </a:lnTo>
                <a:cubicBezTo>
                  <a:pt x="343" y="9"/>
                  <a:pt x="344" y="9"/>
                  <a:pt x="345" y="8"/>
                </a:cubicBezTo>
                <a:cubicBezTo>
                  <a:pt x="346" y="7"/>
                  <a:pt x="347" y="7"/>
                  <a:pt x="348" y="6"/>
                </a:cubicBezTo>
                <a:cubicBezTo>
                  <a:pt x="350" y="5"/>
                  <a:pt x="351" y="5"/>
                  <a:pt x="352" y="5"/>
                </a:cubicBezTo>
                <a:lnTo>
                  <a:pt x="355" y="5"/>
                </a:lnTo>
                <a:cubicBezTo>
                  <a:pt x="355" y="5"/>
                  <a:pt x="356" y="5"/>
                  <a:pt x="356" y="4"/>
                </a:cubicBezTo>
                <a:cubicBezTo>
                  <a:pt x="356" y="3"/>
                  <a:pt x="358" y="2"/>
                  <a:pt x="360" y="2"/>
                </a:cubicBezTo>
                <a:cubicBezTo>
                  <a:pt x="362" y="1"/>
                  <a:pt x="363" y="1"/>
                  <a:pt x="365" y="1"/>
                </a:cubicBezTo>
                <a:cubicBezTo>
                  <a:pt x="366" y="1"/>
                  <a:pt x="367" y="1"/>
                  <a:pt x="367" y="2"/>
                </a:cubicBezTo>
                <a:cubicBezTo>
                  <a:pt x="367" y="3"/>
                  <a:pt x="365" y="5"/>
                  <a:pt x="362" y="5"/>
                </a:cubicBezTo>
                <a:lnTo>
                  <a:pt x="360" y="5"/>
                </a:lnTo>
                <a:cubicBezTo>
                  <a:pt x="354" y="7"/>
                  <a:pt x="351" y="8"/>
                  <a:pt x="349" y="8"/>
                </a:cubicBezTo>
                <a:lnTo>
                  <a:pt x="349" y="8"/>
                </a:lnTo>
                <a:cubicBezTo>
                  <a:pt x="348" y="8"/>
                  <a:pt x="347" y="9"/>
                  <a:pt x="346" y="10"/>
                </a:cubicBezTo>
                <a:cubicBezTo>
                  <a:pt x="345" y="11"/>
                  <a:pt x="345" y="11"/>
                  <a:pt x="345" y="11"/>
                </a:cubicBezTo>
                <a:close/>
                <a:moveTo>
                  <a:pt x="269" y="490"/>
                </a:moveTo>
                <a:cubicBezTo>
                  <a:pt x="269" y="490"/>
                  <a:pt x="269" y="490"/>
                  <a:pt x="269" y="490"/>
                </a:cubicBezTo>
                <a:cubicBezTo>
                  <a:pt x="269" y="489"/>
                  <a:pt x="269" y="488"/>
                  <a:pt x="269" y="487"/>
                </a:cubicBezTo>
                <a:cubicBezTo>
                  <a:pt x="270" y="487"/>
                  <a:pt x="270" y="485"/>
                  <a:pt x="271" y="485"/>
                </a:cubicBezTo>
                <a:cubicBezTo>
                  <a:pt x="271" y="484"/>
                  <a:pt x="272" y="483"/>
                  <a:pt x="272" y="483"/>
                </a:cubicBezTo>
                <a:cubicBezTo>
                  <a:pt x="272" y="483"/>
                  <a:pt x="273" y="484"/>
                  <a:pt x="273" y="484"/>
                </a:cubicBezTo>
                <a:cubicBezTo>
                  <a:pt x="273" y="484"/>
                  <a:pt x="273" y="485"/>
                  <a:pt x="272" y="486"/>
                </a:cubicBezTo>
                <a:cubicBezTo>
                  <a:pt x="272" y="487"/>
                  <a:pt x="271" y="488"/>
                  <a:pt x="271" y="489"/>
                </a:cubicBezTo>
                <a:cubicBezTo>
                  <a:pt x="270" y="490"/>
                  <a:pt x="270" y="490"/>
                  <a:pt x="269" y="490"/>
                </a:cubicBezTo>
                <a:close/>
                <a:moveTo>
                  <a:pt x="273" y="466"/>
                </a:moveTo>
                <a:cubicBezTo>
                  <a:pt x="273" y="466"/>
                  <a:pt x="273" y="465"/>
                  <a:pt x="273" y="464"/>
                </a:cubicBezTo>
                <a:cubicBezTo>
                  <a:pt x="273" y="462"/>
                  <a:pt x="273" y="460"/>
                  <a:pt x="275" y="460"/>
                </a:cubicBezTo>
                <a:lnTo>
                  <a:pt x="275" y="460"/>
                </a:lnTo>
                <a:cubicBezTo>
                  <a:pt x="275" y="460"/>
                  <a:pt x="275" y="460"/>
                  <a:pt x="275" y="460"/>
                </a:cubicBezTo>
                <a:lnTo>
                  <a:pt x="275" y="463"/>
                </a:lnTo>
                <a:cubicBezTo>
                  <a:pt x="274" y="465"/>
                  <a:pt x="274" y="466"/>
                  <a:pt x="273" y="466"/>
                </a:cubicBezTo>
                <a:close/>
                <a:moveTo>
                  <a:pt x="236" y="557"/>
                </a:moveTo>
                <a:close/>
                <a:moveTo>
                  <a:pt x="188" y="154"/>
                </a:moveTo>
                <a:lnTo>
                  <a:pt x="188" y="154"/>
                </a:lnTo>
                <a:lnTo>
                  <a:pt x="189" y="153"/>
                </a:lnTo>
                <a:cubicBezTo>
                  <a:pt x="189" y="152"/>
                  <a:pt x="190" y="152"/>
                  <a:pt x="191" y="151"/>
                </a:cubicBezTo>
                <a:cubicBezTo>
                  <a:pt x="192" y="150"/>
                  <a:pt x="192" y="150"/>
                  <a:pt x="193" y="150"/>
                </a:cubicBezTo>
                <a:cubicBezTo>
                  <a:pt x="193" y="150"/>
                  <a:pt x="194" y="150"/>
                  <a:pt x="194" y="150"/>
                </a:cubicBezTo>
                <a:cubicBezTo>
                  <a:pt x="194" y="151"/>
                  <a:pt x="193" y="152"/>
                  <a:pt x="192" y="153"/>
                </a:cubicBezTo>
                <a:cubicBezTo>
                  <a:pt x="191" y="154"/>
                  <a:pt x="190" y="154"/>
                  <a:pt x="188" y="154"/>
                </a:cubicBezTo>
                <a:close/>
                <a:moveTo>
                  <a:pt x="136" y="208"/>
                </a:moveTo>
                <a:cubicBezTo>
                  <a:pt x="136" y="207"/>
                  <a:pt x="137" y="205"/>
                  <a:pt x="139" y="203"/>
                </a:cubicBezTo>
                <a:cubicBezTo>
                  <a:pt x="141" y="201"/>
                  <a:pt x="142" y="200"/>
                  <a:pt x="143" y="200"/>
                </a:cubicBezTo>
                <a:cubicBezTo>
                  <a:pt x="143" y="201"/>
                  <a:pt x="142" y="202"/>
                  <a:pt x="141" y="204"/>
                </a:cubicBezTo>
                <a:cubicBezTo>
                  <a:pt x="138" y="206"/>
                  <a:pt x="136" y="208"/>
                  <a:pt x="136" y="208"/>
                </a:cubicBezTo>
                <a:close/>
                <a:moveTo>
                  <a:pt x="267" y="482"/>
                </a:moveTo>
                <a:lnTo>
                  <a:pt x="266" y="482"/>
                </a:lnTo>
                <a:cubicBezTo>
                  <a:pt x="266" y="482"/>
                  <a:pt x="266" y="482"/>
                  <a:pt x="266" y="481"/>
                </a:cubicBezTo>
                <a:cubicBezTo>
                  <a:pt x="266" y="481"/>
                  <a:pt x="266" y="479"/>
                  <a:pt x="267" y="477"/>
                </a:cubicBezTo>
                <a:cubicBezTo>
                  <a:pt x="270" y="472"/>
                  <a:pt x="271" y="470"/>
                  <a:pt x="272" y="470"/>
                </a:cubicBezTo>
                <a:lnTo>
                  <a:pt x="272" y="470"/>
                </a:lnTo>
                <a:cubicBezTo>
                  <a:pt x="272" y="471"/>
                  <a:pt x="271" y="472"/>
                  <a:pt x="271" y="474"/>
                </a:cubicBezTo>
                <a:cubicBezTo>
                  <a:pt x="270" y="476"/>
                  <a:pt x="270" y="478"/>
                  <a:pt x="269" y="479"/>
                </a:cubicBezTo>
                <a:cubicBezTo>
                  <a:pt x="268" y="480"/>
                  <a:pt x="268" y="482"/>
                  <a:pt x="267" y="482"/>
                </a:cubicBezTo>
                <a:close/>
                <a:moveTo>
                  <a:pt x="269" y="404"/>
                </a:moveTo>
                <a:cubicBezTo>
                  <a:pt x="268" y="404"/>
                  <a:pt x="267" y="403"/>
                  <a:pt x="267" y="402"/>
                </a:cubicBezTo>
                <a:cubicBezTo>
                  <a:pt x="268" y="402"/>
                  <a:pt x="268" y="401"/>
                  <a:pt x="268" y="401"/>
                </a:cubicBezTo>
                <a:cubicBezTo>
                  <a:pt x="269" y="400"/>
                  <a:pt x="269" y="400"/>
                  <a:pt x="270" y="399"/>
                </a:cubicBezTo>
                <a:cubicBezTo>
                  <a:pt x="270" y="399"/>
                  <a:pt x="271" y="400"/>
                  <a:pt x="271" y="402"/>
                </a:cubicBezTo>
                <a:cubicBezTo>
                  <a:pt x="271" y="403"/>
                  <a:pt x="270" y="404"/>
                  <a:pt x="269" y="404"/>
                </a:cubicBezTo>
                <a:close/>
                <a:moveTo>
                  <a:pt x="277" y="420"/>
                </a:moveTo>
                <a:lnTo>
                  <a:pt x="277" y="420"/>
                </a:lnTo>
                <a:lnTo>
                  <a:pt x="277" y="417"/>
                </a:lnTo>
                <a:cubicBezTo>
                  <a:pt x="283" y="400"/>
                  <a:pt x="286" y="392"/>
                  <a:pt x="288" y="392"/>
                </a:cubicBezTo>
                <a:lnTo>
                  <a:pt x="288" y="392"/>
                </a:lnTo>
                <a:cubicBezTo>
                  <a:pt x="288" y="393"/>
                  <a:pt x="287" y="396"/>
                  <a:pt x="285" y="400"/>
                </a:cubicBezTo>
                <a:cubicBezTo>
                  <a:pt x="284" y="404"/>
                  <a:pt x="282" y="409"/>
                  <a:pt x="281" y="412"/>
                </a:cubicBezTo>
                <a:cubicBezTo>
                  <a:pt x="279" y="416"/>
                  <a:pt x="278" y="419"/>
                  <a:pt x="277" y="420"/>
                </a:cubicBezTo>
                <a:close/>
                <a:moveTo>
                  <a:pt x="139" y="719"/>
                </a:moveTo>
                <a:cubicBezTo>
                  <a:pt x="139" y="719"/>
                  <a:pt x="138" y="719"/>
                  <a:pt x="138" y="718"/>
                </a:cubicBezTo>
                <a:lnTo>
                  <a:pt x="138" y="716"/>
                </a:lnTo>
                <a:cubicBezTo>
                  <a:pt x="139" y="714"/>
                  <a:pt x="139" y="713"/>
                  <a:pt x="139" y="712"/>
                </a:cubicBezTo>
                <a:cubicBezTo>
                  <a:pt x="139" y="710"/>
                  <a:pt x="140" y="710"/>
                  <a:pt x="141" y="710"/>
                </a:cubicBezTo>
                <a:lnTo>
                  <a:pt x="141" y="710"/>
                </a:lnTo>
                <a:cubicBezTo>
                  <a:pt x="142" y="710"/>
                  <a:pt x="142" y="711"/>
                  <a:pt x="142" y="712"/>
                </a:cubicBezTo>
                <a:cubicBezTo>
                  <a:pt x="142" y="713"/>
                  <a:pt x="142" y="713"/>
                  <a:pt x="142" y="714"/>
                </a:cubicBezTo>
                <a:cubicBezTo>
                  <a:pt x="141" y="715"/>
                  <a:pt x="141" y="716"/>
                  <a:pt x="141" y="716"/>
                </a:cubicBezTo>
                <a:lnTo>
                  <a:pt x="141" y="718"/>
                </a:lnTo>
                <a:cubicBezTo>
                  <a:pt x="141" y="719"/>
                  <a:pt x="140" y="719"/>
                  <a:pt x="139" y="719"/>
                </a:cubicBezTo>
                <a:close/>
                <a:moveTo>
                  <a:pt x="359" y="246"/>
                </a:moveTo>
                <a:lnTo>
                  <a:pt x="359" y="246"/>
                </a:lnTo>
                <a:cubicBezTo>
                  <a:pt x="359" y="244"/>
                  <a:pt x="361" y="238"/>
                  <a:pt x="365" y="229"/>
                </a:cubicBezTo>
                <a:lnTo>
                  <a:pt x="371" y="210"/>
                </a:lnTo>
                <a:cubicBezTo>
                  <a:pt x="376" y="199"/>
                  <a:pt x="379" y="192"/>
                  <a:pt x="379" y="190"/>
                </a:cubicBezTo>
                <a:cubicBezTo>
                  <a:pt x="380" y="188"/>
                  <a:pt x="381" y="188"/>
                  <a:pt x="381" y="188"/>
                </a:cubicBezTo>
                <a:cubicBezTo>
                  <a:pt x="382" y="188"/>
                  <a:pt x="383" y="188"/>
                  <a:pt x="383" y="189"/>
                </a:cubicBezTo>
                <a:cubicBezTo>
                  <a:pt x="383" y="190"/>
                  <a:pt x="382" y="191"/>
                  <a:pt x="382" y="192"/>
                </a:cubicBezTo>
                <a:cubicBezTo>
                  <a:pt x="381" y="193"/>
                  <a:pt x="380" y="195"/>
                  <a:pt x="380" y="198"/>
                </a:cubicBezTo>
                <a:cubicBezTo>
                  <a:pt x="379" y="202"/>
                  <a:pt x="378" y="205"/>
                  <a:pt x="376" y="207"/>
                </a:cubicBezTo>
                <a:cubicBezTo>
                  <a:pt x="375" y="209"/>
                  <a:pt x="374" y="211"/>
                  <a:pt x="374" y="211"/>
                </a:cubicBezTo>
                <a:lnTo>
                  <a:pt x="374" y="213"/>
                </a:lnTo>
                <a:cubicBezTo>
                  <a:pt x="374" y="213"/>
                  <a:pt x="374" y="215"/>
                  <a:pt x="372" y="217"/>
                </a:cubicBezTo>
                <a:cubicBezTo>
                  <a:pt x="371" y="219"/>
                  <a:pt x="370" y="221"/>
                  <a:pt x="370" y="221"/>
                </a:cubicBezTo>
                <a:cubicBezTo>
                  <a:pt x="370" y="222"/>
                  <a:pt x="370" y="223"/>
                  <a:pt x="369" y="224"/>
                </a:cubicBezTo>
                <a:cubicBezTo>
                  <a:pt x="369" y="225"/>
                  <a:pt x="368" y="226"/>
                  <a:pt x="368" y="227"/>
                </a:cubicBezTo>
                <a:cubicBezTo>
                  <a:pt x="366" y="230"/>
                  <a:pt x="365" y="232"/>
                  <a:pt x="365" y="233"/>
                </a:cubicBezTo>
                <a:cubicBezTo>
                  <a:pt x="365" y="235"/>
                  <a:pt x="365" y="237"/>
                  <a:pt x="363" y="239"/>
                </a:cubicBezTo>
                <a:cubicBezTo>
                  <a:pt x="362" y="244"/>
                  <a:pt x="360" y="246"/>
                  <a:pt x="359" y="246"/>
                </a:cubicBezTo>
                <a:close/>
                <a:moveTo>
                  <a:pt x="326" y="333"/>
                </a:moveTo>
                <a:cubicBezTo>
                  <a:pt x="326" y="333"/>
                  <a:pt x="326" y="332"/>
                  <a:pt x="326" y="329"/>
                </a:cubicBezTo>
                <a:cubicBezTo>
                  <a:pt x="326" y="327"/>
                  <a:pt x="326" y="325"/>
                  <a:pt x="327" y="325"/>
                </a:cubicBezTo>
                <a:lnTo>
                  <a:pt x="328" y="325"/>
                </a:lnTo>
                <a:cubicBezTo>
                  <a:pt x="328" y="325"/>
                  <a:pt x="329" y="325"/>
                  <a:pt x="329" y="324"/>
                </a:cubicBezTo>
                <a:cubicBezTo>
                  <a:pt x="330" y="324"/>
                  <a:pt x="330" y="323"/>
                  <a:pt x="330" y="323"/>
                </a:cubicBezTo>
                <a:cubicBezTo>
                  <a:pt x="330" y="322"/>
                  <a:pt x="329" y="322"/>
                  <a:pt x="328" y="322"/>
                </a:cubicBezTo>
                <a:cubicBezTo>
                  <a:pt x="327" y="322"/>
                  <a:pt x="327" y="321"/>
                  <a:pt x="327" y="320"/>
                </a:cubicBezTo>
                <a:cubicBezTo>
                  <a:pt x="327" y="319"/>
                  <a:pt x="327" y="318"/>
                  <a:pt x="328" y="318"/>
                </a:cubicBezTo>
                <a:lnTo>
                  <a:pt x="329" y="319"/>
                </a:lnTo>
                <a:cubicBezTo>
                  <a:pt x="330" y="319"/>
                  <a:pt x="332" y="316"/>
                  <a:pt x="335" y="308"/>
                </a:cubicBezTo>
                <a:cubicBezTo>
                  <a:pt x="336" y="305"/>
                  <a:pt x="337" y="302"/>
                  <a:pt x="337" y="298"/>
                </a:cubicBezTo>
                <a:cubicBezTo>
                  <a:pt x="338" y="295"/>
                  <a:pt x="338" y="293"/>
                  <a:pt x="339" y="293"/>
                </a:cubicBezTo>
                <a:cubicBezTo>
                  <a:pt x="339" y="293"/>
                  <a:pt x="340" y="293"/>
                  <a:pt x="340" y="292"/>
                </a:cubicBezTo>
                <a:lnTo>
                  <a:pt x="338" y="288"/>
                </a:lnTo>
                <a:cubicBezTo>
                  <a:pt x="338" y="288"/>
                  <a:pt x="338" y="288"/>
                  <a:pt x="339" y="288"/>
                </a:cubicBezTo>
                <a:lnTo>
                  <a:pt x="342" y="289"/>
                </a:lnTo>
                <a:cubicBezTo>
                  <a:pt x="342" y="289"/>
                  <a:pt x="342" y="289"/>
                  <a:pt x="342" y="288"/>
                </a:cubicBezTo>
                <a:lnTo>
                  <a:pt x="341" y="283"/>
                </a:lnTo>
                <a:cubicBezTo>
                  <a:pt x="341" y="282"/>
                  <a:pt x="341" y="282"/>
                  <a:pt x="342" y="282"/>
                </a:cubicBezTo>
                <a:lnTo>
                  <a:pt x="343" y="282"/>
                </a:lnTo>
                <a:cubicBezTo>
                  <a:pt x="343" y="282"/>
                  <a:pt x="344" y="281"/>
                  <a:pt x="345" y="281"/>
                </a:cubicBezTo>
                <a:cubicBezTo>
                  <a:pt x="345" y="280"/>
                  <a:pt x="345" y="279"/>
                  <a:pt x="345" y="279"/>
                </a:cubicBezTo>
                <a:cubicBezTo>
                  <a:pt x="345" y="278"/>
                  <a:pt x="345" y="278"/>
                  <a:pt x="345" y="278"/>
                </a:cubicBezTo>
                <a:lnTo>
                  <a:pt x="343" y="278"/>
                </a:lnTo>
                <a:lnTo>
                  <a:pt x="345" y="276"/>
                </a:lnTo>
                <a:cubicBezTo>
                  <a:pt x="347" y="275"/>
                  <a:pt x="347" y="274"/>
                  <a:pt x="347" y="272"/>
                </a:cubicBezTo>
                <a:lnTo>
                  <a:pt x="347" y="271"/>
                </a:lnTo>
                <a:cubicBezTo>
                  <a:pt x="347" y="270"/>
                  <a:pt x="348" y="269"/>
                  <a:pt x="349" y="269"/>
                </a:cubicBezTo>
                <a:cubicBezTo>
                  <a:pt x="351" y="269"/>
                  <a:pt x="352" y="269"/>
                  <a:pt x="352" y="269"/>
                </a:cubicBezTo>
                <a:cubicBezTo>
                  <a:pt x="352" y="268"/>
                  <a:pt x="351" y="268"/>
                  <a:pt x="350" y="267"/>
                </a:cubicBezTo>
                <a:cubicBezTo>
                  <a:pt x="349" y="266"/>
                  <a:pt x="348" y="266"/>
                  <a:pt x="348" y="266"/>
                </a:cubicBezTo>
                <a:lnTo>
                  <a:pt x="350" y="265"/>
                </a:lnTo>
                <a:cubicBezTo>
                  <a:pt x="351" y="265"/>
                  <a:pt x="351" y="264"/>
                  <a:pt x="351" y="263"/>
                </a:cubicBezTo>
                <a:lnTo>
                  <a:pt x="351" y="260"/>
                </a:lnTo>
                <a:cubicBezTo>
                  <a:pt x="351" y="260"/>
                  <a:pt x="351" y="259"/>
                  <a:pt x="351" y="259"/>
                </a:cubicBezTo>
                <a:lnTo>
                  <a:pt x="353" y="260"/>
                </a:lnTo>
                <a:cubicBezTo>
                  <a:pt x="354" y="260"/>
                  <a:pt x="355" y="259"/>
                  <a:pt x="355" y="257"/>
                </a:cubicBezTo>
                <a:cubicBezTo>
                  <a:pt x="355" y="257"/>
                  <a:pt x="354" y="257"/>
                  <a:pt x="353" y="257"/>
                </a:cubicBezTo>
                <a:cubicBezTo>
                  <a:pt x="353" y="257"/>
                  <a:pt x="352" y="256"/>
                  <a:pt x="352" y="255"/>
                </a:cubicBezTo>
                <a:cubicBezTo>
                  <a:pt x="352" y="254"/>
                  <a:pt x="352" y="253"/>
                  <a:pt x="353" y="253"/>
                </a:cubicBezTo>
                <a:lnTo>
                  <a:pt x="355" y="254"/>
                </a:lnTo>
                <a:cubicBezTo>
                  <a:pt x="355" y="254"/>
                  <a:pt x="357" y="253"/>
                  <a:pt x="357" y="251"/>
                </a:cubicBezTo>
                <a:cubicBezTo>
                  <a:pt x="358" y="250"/>
                  <a:pt x="359" y="249"/>
                  <a:pt x="359" y="249"/>
                </a:cubicBezTo>
                <a:cubicBezTo>
                  <a:pt x="359" y="250"/>
                  <a:pt x="358" y="253"/>
                  <a:pt x="357" y="258"/>
                </a:cubicBezTo>
                <a:cubicBezTo>
                  <a:pt x="355" y="263"/>
                  <a:pt x="353" y="268"/>
                  <a:pt x="351" y="273"/>
                </a:cubicBezTo>
                <a:cubicBezTo>
                  <a:pt x="349" y="278"/>
                  <a:pt x="348" y="281"/>
                  <a:pt x="347" y="283"/>
                </a:cubicBezTo>
                <a:cubicBezTo>
                  <a:pt x="345" y="285"/>
                  <a:pt x="345" y="286"/>
                  <a:pt x="345" y="287"/>
                </a:cubicBezTo>
                <a:cubicBezTo>
                  <a:pt x="345" y="287"/>
                  <a:pt x="345" y="287"/>
                  <a:pt x="345" y="287"/>
                </a:cubicBezTo>
                <a:lnTo>
                  <a:pt x="345" y="287"/>
                </a:lnTo>
                <a:cubicBezTo>
                  <a:pt x="345" y="288"/>
                  <a:pt x="345" y="289"/>
                  <a:pt x="344" y="290"/>
                </a:cubicBezTo>
                <a:cubicBezTo>
                  <a:pt x="343" y="292"/>
                  <a:pt x="342" y="295"/>
                  <a:pt x="340" y="300"/>
                </a:cubicBezTo>
                <a:cubicBezTo>
                  <a:pt x="338" y="305"/>
                  <a:pt x="336" y="311"/>
                  <a:pt x="335" y="316"/>
                </a:cubicBezTo>
                <a:cubicBezTo>
                  <a:pt x="333" y="322"/>
                  <a:pt x="332" y="326"/>
                  <a:pt x="332" y="328"/>
                </a:cubicBezTo>
                <a:lnTo>
                  <a:pt x="332" y="330"/>
                </a:lnTo>
                <a:lnTo>
                  <a:pt x="332" y="330"/>
                </a:lnTo>
                <a:lnTo>
                  <a:pt x="332" y="330"/>
                </a:lnTo>
                <a:cubicBezTo>
                  <a:pt x="331" y="329"/>
                  <a:pt x="331" y="329"/>
                  <a:pt x="331" y="329"/>
                </a:cubicBezTo>
                <a:cubicBezTo>
                  <a:pt x="330" y="329"/>
                  <a:pt x="329" y="330"/>
                  <a:pt x="328" y="331"/>
                </a:cubicBezTo>
                <a:cubicBezTo>
                  <a:pt x="327" y="332"/>
                  <a:pt x="327" y="333"/>
                  <a:pt x="326" y="333"/>
                </a:cubicBezTo>
                <a:close/>
                <a:moveTo>
                  <a:pt x="311" y="332"/>
                </a:moveTo>
                <a:lnTo>
                  <a:pt x="311" y="332"/>
                </a:lnTo>
                <a:cubicBezTo>
                  <a:pt x="311" y="330"/>
                  <a:pt x="313" y="323"/>
                  <a:pt x="318" y="313"/>
                </a:cubicBezTo>
                <a:cubicBezTo>
                  <a:pt x="322" y="301"/>
                  <a:pt x="326" y="292"/>
                  <a:pt x="329" y="285"/>
                </a:cubicBezTo>
                <a:cubicBezTo>
                  <a:pt x="337" y="266"/>
                  <a:pt x="341" y="254"/>
                  <a:pt x="341" y="249"/>
                </a:cubicBezTo>
                <a:lnTo>
                  <a:pt x="341" y="247"/>
                </a:lnTo>
                <a:cubicBezTo>
                  <a:pt x="341" y="247"/>
                  <a:pt x="341" y="247"/>
                  <a:pt x="341" y="247"/>
                </a:cubicBezTo>
                <a:lnTo>
                  <a:pt x="343" y="248"/>
                </a:lnTo>
                <a:cubicBezTo>
                  <a:pt x="344" y="248"/>
                  <a:pt x="344" y="248"/>
                  <a:pt x="344" y="247"/>
                </a:cubicBezTo>
                <a:lnTo>
                  <a:pt x="343" y="244"/>
                </a:lnTo>
                <a:cubicBezTo>
                  <a:pt x="343" y="242"/>
                  <a:pt x="344" y="241"/>
                  <a:pt x="346" y="241"/>
                </a:cubicBezTo>
                <a:cubicBezTo>
                  <a:pt x="348" y="241"/>
                  <a:pt x="348" y="241"/>
                  <a:pt x="348" y="243"/>
                </a:cubicBezTo>
                <a:cubicBezTo>
                  <a:pt x="348" y="245"/>
                  <a:pt x="347" y="249"/>
                  <a:pt x="343" y="256"/>
                </a:cubicBezTo>
                <a:cubicBezTo>
                  <a:pt x="340" y="264"/>
                  <a:pt x="337" y="271"/>
                  <a:pt x="335" y="279"/>
                </a:cubicBezTo>
                <a:cubicBezTo>
                  <a:pt x="332" y="286"/>
                  <a:pt x="329" y="295"/>
                  <a:pt x="325" y="304"/>
                </a:cubicBezTo>
                <a:cubicBezTo>
                  <a:pt x="322" y="310"/>
                  <a:pt x="320" y="316"/>
                  <a:pt x="318" y="321"/>
                </a:cubicBezTo>
                <a:lnTo>
                  <a:pt x="316" y="325"/>
                </a:lnTo>
                <a:cubicBezTo>
                  <a:pt x="314" y="330"/>
                  <a:pt x="313" y="332"/>
                  <a:pt x="311" y="332"/>
                </a:cubicBezTo>
                <a:close/>
                <a:moveTo>
                  <a:pt x="241" y="584"/>
                </a:moveTo>
                <a:lnTo>
                  <a:pt x="241" y="583"/>
                </a:lnTo>
                <a:cubicBezTo>
                  <a:pt x="241" y="583"/>
                  <a:pt x="242" y="580"/>
                  <a:pt x="243" y="576"/>
                </a:cubicBezTo>
                <a:cubicBezTo>
                  <a:pt x="247" y="566"/>
                  <a:pt x="250" y="561"/>
                  <a:pt x="250" y="561"/>
                </a:cubicBezTo>
                <a:lnTo>
                  <a:pt x="251" y="561"/>
                </a:lnTo>
                <a:cubicBezTo>
                  <a:pt x="251" y="563"/>
                  <a:pt x="248" y="568"/>
                  <a:pt x="244" y="577"/>
                </a:cubicBezTo>
                <a:cubicBezTo>
                  <a:pt x="242" y="582"/>
                  <a:pt x="241" y="584"/>
                  <a:pt x="241" y="584"/>
                </a:cubicBezTo>
                <a:close/>
                <a:moveTo>
                  <a:pt x="251" y="485"/>
                </a:moveTo>
                <a:cubicBezTo>
                  <a:pt x="250" y="485"/>
                  <a:pt x="250" y="485"/>
                  <a:pt x="250" y="484"/>
                </a:cubicBezTo>
                <a:cubicBezTo>
                  <a:pt x="250" y="484"/>
                  <a:pt x="250" y="483"/>
                  <a:pt x="251" y="482"/>
                </a:cubicBezTo>
                <a:cubicBezTo>
                  <a:pt x="251" y="481"/>
                  <a:pt x="252" y="481"/>
                  <a:pt x="253" y="481"/>
                </a:cubicBezTo>
                <a:cubicBezTo>
                  <a:pt x="253" y="481"/>
                  <a:pt x="253" y="481"/>
                  <a:pt x="253" y="483"/>
                </a:cubicBezTo>
                <a:cubicBezTo>
                  <a:pt x="253" y="484"/>
                  <a:pt x="253" y="485"/>
                  <a:pt x="251" y="485"/>
                </a:cubicBezTo>
                <a:close/>
                <a:moveTo>
                  <a:pt x="199" y="144"/>
                </a:moveTo>
                <a:lnTo>
                  <a:pt x="202" y="141"/>
                </a:lnTo>
                <a:cubicBezTo>
                  <a:pt x="204" y="138"/>
                  <a:pt x="206" y="137"/>
                  <a:pt x="206" y="137"/>
                </a:cubicBezTo>
                <a:cubicBezTo>
                  <a:pt x="207" y="137"/>
                  <a:pt x="207" y="137"/>
                  <a:pt x="207" y="139"/>
                </a:cubicBezTo>
                <a:cubicBezTo>
                  <a:pt x="207" y="140"/>
                  <a:pt x="206" y="141"/>
                  <a:pt x="203" y="142"/>
                </a:cubicBezTo>
                <a:cubicBezTo>
                  <a:pt x="201" y="144"/>
                  <a:pt x="200" y="144"/>
                  <a:pt x="199" y="144"/>
                </a:cubicBezTo>
                <a:close/>
                <a:moveTo>
                  <a:pt x="214" y="134"/>
                </a:moveTo>
                <a:cubicBezTo>
                  <a:pt x="213" y="134"/>
                  <a:pt x="213" y="134"/>
                  <a:pt x="213" y="133"/>
                </a:cubicBezTo>
                <a:cubicBezTo>
                  <a:pt x="213" y="131"/>
                  <a:pt x="213" y="131"/>
                  <a:pt x="215" y="131"/>
                </a:cubicBezTo>
                <a:cubicBezTo>
                  <a:pt x="216" y="131"/>
                  <a:pt x="216" y="131"/>
                  <a:pt x="216" y="132"/>
                </a:cubicBezTo>
                <a:lnTo>
                  <a:pt x="216" y="133"/>
                </a:lnTo>
                <a:cubicBezTo>
                  <a:pt x="215" y="134"/>
                  <a:pt x="214" y="134"/>
                  <a:pt x="214" y="134"/>
                </a:cubicBezTo>
                <a:close/>
                <a:moveTo>
                  <a:pt x="206" y="150"/>
                </a:moveTo>
                <a:cubicBezTo>
                  <a:pt x="205" y="150"/>
                  <a:pt x="205" y="149"/>
                  <a:pt x="205" y="149"/>
                </a:cubicBezTo>
                <a:cubicBezTo>
                  <a:pt x="205" y="148"/>
                  <a:pt x="206" y="147"/>
                  <a:pt x="209" y="145"/>
                </a:cubicBezTo>
                <a:cubicBezTo>
                  <a:pt x="212" y="144"/>
                  <a:pt x="214" y="144"/>
                  <a:pt x="214" y="144"/>
                </a:cubicBezTo>
                <a:lnTo>
                  <a:pt x="215" y="144"/>
                </a:lnTo>
                <a:lnTo>
                  <a:pt x="213" y="145"/>
                </a:lnTo>
                <a:cubicBezTo>
                  <a:pt x="213" y="146"/>
                  <a:pt x="211" y="147"/>
                  <a:pt x="209" y="148"/>
                </a:cubicBezTo>
                <a:cubicBezTo>
                  <a:pt x="208" y="149"/>
                  <a:pt x="206" y="150"/>
                  <a:pt x="206" y="150"/>
                </a:cubicBezTo>
                <a:close/>
                <a:moveTo>
                  <a:pt x="202" y="515"/>
                </a:moveTo>
                <a:cubicBezTo>
                  <a:pt x="201" y="515"/>
                  <a:pt x="201" y="515"/>
                  <a:pt x="201" y="515"/>
                </a:cubicBezTo>
                <a:cubicBezTo>
                  <a:pt x="201" y="513"/>
                  <a:pt x="202" y="511"/>
                  <a:pt x="203" y="509"/>
                </a:cubicBezTo>
                <a:cubicBezTo>
                  <a:pt x="204" y="508"/>
                  <a:pt x="204" y="508"/>
                  <a:pt x="205" y="508"/>
                </a:cubicBezTo>
                <a:cubicBezTo>
                  <a:pt x="205" y="508"/>
                  <a:pt x="205" y="508"/>
                  <a:pt x="205" y="508"/>
                </a:cubicBezTo>
                <a:cubicBezTo>
                  <a:pt x="205" y="509"/>
                  <a:pt x="205" y="510"/>
                  <a:pt x="205" y="511"/>
                </a:cubicBezTo>
                <a:cubicBezTo>
                  <a:pt x="204" y="512"/>
                  <a:pt x="204" y="513"/>
                  <a:pt x="203" y="514"/>
                </a:cubicBezTo>
                <a:cubicBezTo>
                  <a:pt x="203" y="515"/>
                  <a:pt x="202" y="515"/>
                  <a:pt x="202" y="515"/>
                </a:cubicBezTo>
                <a:close/>
                <a:moveTo>
                  <a:pt x="198" y="525"/>
                </a:moveTo>
                <a:cubicBezTo>
                  <a:pt x="198" y="525"/>
                  <a:pt x="198" y="525"/>
                  <a:pt x="198" y="525"/>
                </a:cubicBezTo>
                <a:cubicBezTo>
                  <a:pt x="198" y="524"/>
                  <a:pt x="198" y="523"/>
                  <a:pt x="198" y="522"/>
                </a:cubicBezTo>
                <a:cubicBezTo>
                  <a:pt x="198" y="521"/>
                  <a:pt x="199" y="520"/>
                  <a:pt x="199" y="519"/>
                </a:cubicBezTo>
                <a:cubicBezTo>
                  <a:pt x="200" y="518"/>
                  <a:pt x="201" y="518"/>
                  <a:pt x="201" y="518"/>
                </a:cubicBezTo>
                <a:cubicBezTo>
                  <a:pt x="201" y="518"/>
                  <a:pt x="201" y="518"/>
                  <a:pt x="201" y="519"/>
                </a:cubicBezTo>
                <a:cubicBezTo>
                  <a:pt x="201" y="519"/>
                  <a:pt x="201" y="520"/>
                  <a:pt x="201" y="521"/>
                </a:cubicBezTo>
                <a:cubicBezTo>
                  <a:pt x="201" y="522"/>
                  <a:pt x="200" y="523"/>
                  <a:pt x="199" y="524"/>
                </a:cubicBezTo>
                <a:cubicBezTo>
                  <a:pt x="199" y="525"/>
                  <a:pt x="198" y="525"/>
                  <a:pt x="198" y="525"/>
                </a:cubicBezTo>
                <a:close/>
                <a:moveTo>
                  <a:pt x="263" y="492"/>
                </a:moveTo>
                <a:cubicBezTo>
                  <a:pt x="262" y="492"/>
                  <a:pt x="262" y="492"/>
                  <a:pt x="262" y="492"/>
                </a:cubicBezTo>
                <a:cubicBezTo>
                  <a:pt x="262" y="491"/>
                  <a:pt x="262" y="490"/>
                  <a:pt x="263" y="489"/>
                </a:cubicBezTo>
                <a:cubicBezTo>
                  <a:pt x="265" y="487"/>
                  <a:pt x="265" y="485"/>
                  <a:pt x="266" y="485"/>
                </a:cubicBezTo>
                <a:cubicBezTo>
                  <a:pt x="266" y="485"/>
                  <a:pt x="266" y="486"/>
                  <a:pt x="266" y="488"/>
                </a:cubicBezTo>
                <a:cubicBezTo>
                  <a:pt x="266" y="490"/>
                  <a:pt x="265" y="491"/>
                  <a:pt x="263" y="492"/>
                </a:cubicBezTo>
                <a:close/>
                <a:moveTo>
                  <a:pt x="220" y="634"/>
                </a:moveTo>
                <a:cubicBezTo>
                  <a:pt x="219" y="634"/>
                  <a:pt x="219" y="633"/>
                  <a:pt x="219" y="631"/>
                </a:cubicBezTo>
                <a:cubicBezTo>
                  <a:pt x="219" y="629"/>
                  <a:pt x="219" y="628"/>
                  <a:pt x="219" y="627"/>
                </a:cubicBezTo>
                <a:cubicBezTo>
                  <a:pt x="219" y="627"/>
                  <a:pt x="220" y="626"/>
                  <a:pt x="221" y="625"/>
                </a:cubicBezTo>
                <a:cubicBezTo>
                  <a:pt x="222" y="625"/>
                  <a:pt x="222" y="626"/>
                  <a:pt x="222" y="628"/>
                </a:cubicBezTo>
                <a:cubicBezTo>
                  <a:pt x="222" y="630"/>
                  <a:pt x="222" y="632"/>
                  <a:pt x="221" y="634"/>
                </a:cubicBezTo>
                <a:lnTo>
                  <a:pt x="220" y="634"/>
                </a:lnTo>
                <a:close/>
                <a:moveTo>
                  <a:pt x="218" y="642"/>
                </a:moveTo>
                <a:cubicBezTo>
                  <a:pt x="217" y="642"/>
                  <a:pt x="217" y="641"/>
                  <a:pt x="216" y="640"/>
                </a:cubicBezTo>
                <a:cubicBezTo>
                  <a:pt x="216" y="640"/>
                  <a:pt x="216" y="639"/>
                  <a:pt x="216" y="639"/>
                </a:cubicBezTo>
                <a:cubicBezTo>
                  <a:pt x="216" y="638"/>
                  <a:pt x="216" y="638"/>
                  <a:pt x="216" y="638"/>
                </a:cubicBezTo>
                <a:lnTo>
                  <a:pt x="217" y="637"/>
                </a:lnTo>
                <a:cubicBezTo>
                  <a:pt x="218" y="637"/>
                  <a:pt x="218" y="638"/>
                  <a:pt x="218" y="639"/>
                </a:cubicBezTo>
                <a:cubicBezTo>
                  <a:pt x="218" y="641"/>
                  <a:pt x="218" y="642"/>
                  <a:pt x="218" y="642"/>
                </a:cubicBezTo>
                <a:close/>
                <a:moveTo>
                  <a:pt x="69" y="928"/>
                </a:moveTo>
                <a:cubicBezTo>
                  <a:pt x="68" y="928"/>
                  <a:pt x="68" y="928"/>
                  <a:pt x="68" y="927"/>
                </a:cubicBezTo>
                <a:cubicBezTo>
                  <a:pt x="68" y="926"/>
                  <a:pt x="69" y="925"/>
                  <a:pt x="69" y="924"/>
                </a:cubicBezTo>
                <a:cubicBezTo>
                  <a:pt x="69" y="922"/>
                  <a:pt x="69" y="921"/>
                  <a:pt x="70" y="920"/>
                </a:cubicBezTo>
                <a:lnTo>
                  <a:pt x="71" y="918"/>
                </a:lnTo>
                <a:cubicBezTo>
                  <a:pt x="71" y="918"/>
                  <a:pt x="72" y="918"/>
                  <a:pt x="72" y="919"/>
                </a:cubicBezTo>
                <a:cubicBezTo>
                  <a:pt x="72" y="921"/>
                  <a:pt x="71" y="924"/>
                  <a:pt x="70" y="926"/>
                </a:cubicBezTo>
                <a:cubicBezTo>
                  <a:pt x="69" y="928"/>
                  <a:pt x="69" y="928"/>
                  <a:pt x="69" y="928"/>
                </a:cubicBezTo>
                <a:close/>
                <a:moveTo>
                  <a:pt x="283" y="369"/>
                </a:moveTo>
                <a:cubicBezTo>
                  <a:pt x="282" y="369"/>
                  <a:pt x="282" y="368"/>
                  <a:pt x="282" y="368"/>
                </a:cubicBezTo>
                <a:cubicBezTo>
                  <a:pt x="282" y="366"/>
                  <a:pt x="283" y="362"/>
                  <a:pt x="285" y="357"/>
                </a:cubicBezTo>
                <a:cubicBezTo>
                  <a:pt x="286" y="355"/>
                  <a:pt x="287" y="352"/>
                  <a:pt x="288" y="350"/>
                </a:cubicBezTo>
                <a:lnTo>
                  <a:pt x="290" y="346"/>
                </a:lnTo>
                <a:cubicBezTo>
                  <a:pt x="291" y="346"/>
                  <a:pt x="291" y="347"/>
                  <a:pt x="291" y="348"/>
                </a:cubicBezTo>
                <a:cubicBezTo>
                  <a:pt x="291" y="348"/>
                  <a:pt x="289" y="353"/>
                  <a:pt x="286" y="362"/>
                </a:cubicBezTo>
                <a:cubicBezTo>
                  <a:pt x="285" y="366"/>
                  <a:pt x="284" y="367"/>
                  <a:pt x="284" y="368"/>
                </a:cubicBezTo>
                <a:cubicBezTo>
                  <a:pt x="284" y="368"/>
                  <a:pt x="283" y="369"/>
                  <a:pt x="283" y="369"/>
                </a:cubicBezTo>
                <a:close/>
                <a:moveTo>
                  <a:pt x="84" y="878"/>
                </a:moveTo>
                <a:cubicBezTo>
                  <a:pt x="83" y="878"/>
                  <a:pt x="82" y="877"/>
                  <a:pt x="82" y="876"/>
                </a:cubicBezTo>
                <a:lnTo>
                  <a:pt x="82" y="875"/>
                </a:lnTo>
                <a:cubicBezTo>
                  <a:pt x="83" y="872"/>
                  <a:pt x="84" y="870"/>
                  <a:pt x="85" y="867"/>
                </a:cubicBezTo>
                <a:cubicBezTo>
                  <a:pt x="85" y="864"/>
                  <a:pt x="87" y="862"/>
                  <a:pt x="89" y="862"/>
                </a:cubicBezTo>
                <a:cubicBezTo>
                  <a:pt x="90" y="862"/>
                  <a:pt x="91" y="863"/>
                  <a:pt x="91" y="865"/>
                </a:cubicBezTo>
                <a:cubicBezTo>
                  <a:pt x="91" y="867"/>
                  <a:pt x="91" y="867"/>
                  <a:pt x="90" y="867"/>
                </a:cubicBezTo>
                <a:lnTo>
                  <a:pt x="88" y="867"/>
                </a:lnTo>
                <a:cubicBezTo>
                  <a:pt x="86" y="867"/>
                  <a:pt x="86" y="868"/>
                  <a:pt x="86" y="868"/>
                </a:cubicBezTo>
                <a:cubicBezTo>
                  <a:pt x="86" y="869"/>
                  <a:pt x="86" y="869"/>
                  <a:pt x="87" y="870"/>
                </a:cubicBezTo>
                <a:cubicBezTo>
                  <a:pt x="89" y="871"/>
                  <a:pt x="89" y="871"/>
                  <a:pt x="89" y="872"/>
                </a:cubicBezTo>
                <a:cubicBezTo>
                  <a:pt x="89" y="873"/>
                  <a:pt x="89" y="873"/>
                  <a:pt x="88" y="874"/>
                </a:cubicBezTo>
                <a:cubicBezTo>
                  <a:pt x="87" y="874"/>
                  <a:pt x="86" y="875"/>
                  <a:pt x="86" y="876"/>
                </a:cubicBezTo>
                <a:lnTo>
                  <a:pt x="87" y="877"/>
                </a:lnTo>
                <a:cubicBezTo>
                  <a:pt x="87" y="878"/>
                  <a:pt x="86" y="878"/>
                  <a:pt x="84" y="878"/>
                </a:cubicBezTo>
                <a:close/>
                <a:moveTo>
                  <a:pt x="276" y="457"/>
                </a:moveTo>
                <a:cubicBezTo>
                  <a:pt x="276" y="457"/>
                  <a:pt x="276" y="456"/>
                  <a:pt x="276" y="456"/>
                </a:cubicBezTo>
                <a:cubicBezTo>
                  <a:pt x="276" y="455"/>
                  <a:pt x="276" y="454"/>
                  <a:pt x="278" y="452"/>
                </a:cubicBezTo>
                <a:cubicBezTo>
                  <a:pt x="278" y="450"/>
                  <a:pt x="279" y="449"/>
                  <a:pt x="280" y="449"/>
                </a:cubicBezTo>
                <a:lnTo>
                  <a:pt x="280" y="450"/>
                </a:lnTo>
                <a:cubicBezTo>
                  <a:pt x="280" y="450"/>
                  <a:pt x="280" y="451"/>
                  <a:pt x="280" y="452"/>
                </a:cubicBezTo>
                <a:cubicBezTo>
                  <a:pt x="279" y="453"/>
                  <a:pt x="279" y="454"/>
                  <a:pt x="278" y="455"/>
                </a:cubicBezTo>
                <a:cubicBezTo>
                  <a:pt x="277" y="456"/>
                  <a:pt x="277" y="457"/>
                  <a:pt x="276" y="457"/>
                </a:cubicBezTo>
                <a:close/>
                <a:moveTo>
                  <a:pt x="310" y="350"/>
                </a:moveTo>
                <a:cubicBezTo>
                  <a:pt x="310" y="350"/>
                  <a:pt x="310" y="350"/>
                  <a:pt x="310" y="348"/>
                </a:cubicBezTo>
                <a:cubicBezTo>
                  <a:pt x="310" y="347"/>
                  <a:pt x="310" y="346"/>
                  <a:pt x="311" y="345"/>
                </a:cubicBezTo>
                <a:lnTo>
                  <a:pt x="312" y="345"/>
                </a:lnTo>
                <a:cubicBezTo>
                  <a:pt x="312" y="345"/>
                  <a:pt x="312" y="345"/>
                  <a:pt x="312" y="346"/>
                </a:cubicBezTo>
                <a:cubicBezTo>
                  <a:pt x="312" y="346"/>
                  <a:pt x="312" y="347"/>
                  <a:pt x="311" y="348"/>
                </a:cubicBezTo>
                <a:cubicBezTo>
                  <a:pt x="311" y="350"/>
                  <a:pt x="310" y="350"/>
                  <a:pt x="310" y="350"/>
                </a:cubicBezTo>
                <a:close/>
                <a:moveTo>
                  <a:pt x="291" y="384"/>
                </a:moveTo>
                <a:cubicBezTo>
                  <a:pt x="290" y="384"/>
                  <a:pt x="290" y="384"/>
                  <a:pt x="290" y="383"/>
                </a:cubicBezTo>
                <a:cubicBezTo>
                  <a:pt x="290" y="381"/>
                  <a:pt x="293" y="372"/>
                  <a:pt x="300" y="357"/>
                </a:cubicBezTo>
                <a:cubicBezTo>
                  <a:pt x="306" y="343"/>
                  <a:pt x="310" y="335"/>
                  <a:pt x="312" y="335"/>
                </a:cubicBezTo>
                <a:cubicBezTo>
                  <a:pt x="313" y="335"/>
                  <a:pt x="315" y="334"/>
                  <a:pt x="317" y="332"/>
                </a:cubicBezTo>
                <a:lnTo>
                  <a:pt x="318" y="331"/>
                </a:lnTo>
                <a:lnTo>
                  <a:pt x="318" y="331"/>
                </a:lnTo>
                <a:cubicBezTo>
                  <a:pt x="318" y="332"/>
                  <a:pt x="317" y="333"/>
                  <a:pt x="316" y="336"/>
                </a:cubicBezTo>
                <a:cubicBezTo>
                  <a:pt x="315" y="339"/>
                  <a:pt x="315" y="340"/>
                  <a:pt x="314" y="340"/>
                </a:cubicBezTo>
                <a:cubicBezTo>
                  <a:pt x="313" y="340"/>
                  <a:pt x="313" y="340"/>
                  <a:pt x="313" y="339"/>
                </a:cubicBezTo>
                <a:cubicBezTo>
                  <a:pt x="313" y="339"/>
                  <a:pt x="313" y="339"/>
                  <a:pt x="313" y="339"/>
                </a:cubicBezTo>
                <a:cubicBezTo>
                  <a:pt x="312" y="339"/>
                  <a:pt x="310" y="342"/>
                  <a:pt x="307" y="348"/>
                </a:cubicBezTo>
                <a:cubicBezTo>
                  <a:pt x="303" y="356"/>
                  <a:pt x="302" y="361"/>
                  <a:pt x="302" y="363"/>
                </a:cubicBezTo>
                <a:cubicBezTo>
                  <a:pt x="302" y="364"/>
                  <a:pt x="302" y="364"/>
                  <a:pt x="302" y="364"/>
                </a:cubicBezTo>
                <a:lnTo>
                  <a:pt x="305" y="364"/>
                </a:lnTo>
                <a:cubicBezTo>
                  <a:pt x="305" y="364"/>
                  <a:pt x="306" y="364"/>
                  <a:pt x="306" y="365"/>
                </a:cubicBezTo>
                <a:cubicBezTo>
                  <a:pt x="306" y="365"/>
                  <a:pt x="305" y="366"/>
                  <a:pt x="304" y="366"/>
                </a:cubicBezTo>
                <a:lnTo>
                  <a:pt x="302" y="366"/>
                </a:lnTo>
                <a:cubicBezTo>
                  <a:pt x="301" y="366"/>
                  <a:pt x="300" y="367"/>
                  <a:pt x="299" y="369"/>
                </a:cubicBezTo>
                <a:cubicBezTo>
                  <a:pt x="297" y="370"/>
                  <a:pt x="296" y="372"/>
                  <a:pt x="295" y="375"/>
                </a:cubicBezTo>
                <a:cubicBezTo>
                  <a:pt x="294" y="377"/>
                  <a:pt x="293" y="379"/>
                  <a:pt x="293" y="380"/>
                </a:cubicBezTo>
                <a:cubicBezTo>
                  <a:pt x="293" y="382"/>
                  <a:pt x="292" y="383"/>
                  <a:pt x="292" y="383"/>
                </a:cubicBezTo>
                <a:cubicBezTo>
                  <a:pt x="291" y="384"/>
                  <a:pt x="291" y="384"/>
                  <a:pt x="291" y="384"/>
                </a:cubicBezTo>
                <a:close/>
                <a:moveTo>
                  <a:pt x="296" y="385"/>
                </a:moveTo>
                <a:cubicBezTo>
                  <a:pt x="296" y="385"/>
                  <a:pt x="296" y="385"/>
                  <a:pt x="296" y="384"/>
                </a:cubicBezTo>
                <a:cubicBezTo>
                  <a:pt x="296" y="383"/>
                  <a:pt x="296" y="380"/>
                  <a:pt x="298" y="375"/>
                </a:cubicBezTo>
                <a:cubicBezTo>
                  <a:pt x="300" y="371"/>
                  <a:pt x="301" y="369"/>
                  <a:pt x="302" y="369"/>
                </a:cubicBezTo>
                <a:cubicBezTo>
                  <a:pt x="303" y="369"/>
                  <a:pt x="303" y="369"/>
                  <a:pt x="303" y="369"/>
                </a:cubicBezTo>
                <a:cubicBezTo>
                  <a:pt x="303" y="371"/>
                  <a:pt x="302" y="373"/>
                  <a:pt x="300" y="376"/>
                </a:cubicBezTo>
                <a:cubicBezTo>
                  <a:pt x="298" y="382"/>
                  <a:pt x="297" y="385"/>
                  <a:pt x="296" y="385"/>
                </a:cubicBezTo>
                <a:close/>
                <a:moveTo>
                  <a:pt x="72" y="914"/>
                </a:moveTo>
                <a:lnTo>
                  <a:pt x="72" y="912"/>
                </a:lnTo>
                <a:cubicBezTo>
                  <a:pt x="72" y="911"/>
                  <a:pt x="72" y="909"/>
                  <a:pt x="73" y="906"/>
                </a:cubicBezTo>
                <a:cubicBezTo>
                  <a:pt x="74" y="904"/>
                  <a:pt x="74" y="902"/>
                  <a:pt x="75" y="899"/>
                </a:cubicBezTo>
                <a:cubicBezTo>
                  <a:pt x="76" y="897"/>
                  <a:pt x="77" y="896"/>
                  <a:pt x="78" y="896"/>
                </a:cubicBezTo>
                <a:cubicBezTo>
                  <a:pt x="79" y="896"/>
                  <a:pt x="80" y="897"/>
                  <a:pt x="80" y="898"/>
                </a:cubicBezTo>
                <a:cubicBezTo>
                  <a:pt x="80" y="899"/>
                  <a:pt x="79" y="901"/>
                  <a:pt x="77" y="904"/>
                </a:cubicBezTo>
                <a:cubicBezTo>
                  <a:pt x="75" y="906"/>
                  <a:pt x="74" y="909"/>
                  <a:pt x="74" y="911"/>
                </a:cubicBezTo>
                <a:cubicBezTo>
                  <a:pt x="73" y="913"/>
                  <a:pt x="73" y="914"/>
                  <a:pt x="72" y="914"/>
                </a:cubicBezTo>
                <a:close/>
                <a:moveTo>
                  <a:pt x="95" y="848"/>
                </a:moveTo>
                <a:cubicBezTo>
                  <a:pt x="95" y="848"/>
                  <a:pt x="95" y="848"/>
                  <a:pt x="95" y="847"/>
                </a:cubicBezTo>
                <a:cubicBezTo>
                  <a:pt x="95" y="845"/>
                  <a:pt x="96" y="842"/>
                  <a:pt x="97" y="837"/>
                </a:cubicBezTo>
                <a:cubicBezTo>
                  <a:pt x="99" y="832"/>
                  <a:pt x="100" y="828"/>
                  <a:pt x="100" y="823"/>
                </a:cubicBezTo>
                <a:lnTo>
                  <a:pt x="100" y="817"/>
                </a:lnTo>
                <a:cubicBezTo>
                  <a:pt x="100" y="815"/>
                  <a:pt x="100" y="814"/>
                  <a:pt x="100" y="814"/>
                </a:cubicBezTo>
                <a:cubicBezTo>
                  <a:pt x="100" y="814"/>
                  <a:pt x="101" y="814"/>
                  <a:pt x="102" y="815"/>
                </a:cubicBezTo>
                <a:cubicBezTo>
                  <a:pt x="103" y="816"/>
                  <a:pt x="103" y="816"/>
                  <a:pt x="104" y="816"/>
                </a:cubicBezTo>
                <a:lnTo>
                  <a:pt x="106" y="816"/>
                </a:lnTo>
                <a:lnTo>
                  <a:pt x="105" y="818"/>
                </a:lnTo>
                <a:cubicBezTo>
                  <a:pt x="105" y="820"/>
                  <a:pt x="104" y="821"/>
                  <a:pt x="103" y="821"/>
                </a:cubicBezTo>
                <a:cubicBezTo>
                  <a:pt x="102" y="821"/>
                  <a:pt x="101" y="822"/>
                  <a:pt x="101" y="823"/>
                </a:cubicBezTo>
                <a:lnTo>
                  <a:pt x="102" y="825"/>
                </a:lnTo>
                <a:cubicBezTo>
                  <a:pt x="102" y="826"/>
                  <a:pt x="101" y="828"/>
                  <a:pt x="101" y="830"/>
                </a:cubicBezTo>
                <a:cubicBezTo>
                  <a:pt x="98" y="842"/>
                  <a:pt x="96" y="848"/>
                  <a:pt x="95" y="848"/>
                </a:cubicBezTo>
                <a:close/>
                <a:moveTo>
                  <a:pt x="92" y="853"/>
                </a:moveTo>
                <a:cubicBezTo>
                  <a:pt x="90" y="853"/>
                  <a:pt x="90" y="853"/>
                  <a:pt x="90" y="853"/>
                </a:cubicBezTo>
                <a:lnTo>
                  <a:pt x="93" y="852"/>
                </a:lnTo>
                <a:cubicBezTo>
                  <a:pt x="94" y="852"/>
                  <a:pt x="94" y="852"/>
                  <a:pt x="94" y="853"/>
                </a:cubicBezTo>
                <a:cubicBezTo>
                  <a:pt x="94" y="853"/>
                  <a:pt x="94" y="853"/>
                  <a:pt x="92" y="853"/>
                </a:cubicBezTo>
                <a:close/>
                <a:moveTo>
                  <a:pt x="322" y="343"/>
                </a:moveTo>
                <a:cubicBezTo>
                  <a:pt x="322" y="343"/>
                  <a:pt x="322" y="342"/>
                  <a:pt x="322" y="340"/>
                </a:cubicBezTo>
                <a:cubicBezTo>
                  <a:pt x="322" y="337"/>
                  <a:pt x="322" y="335"/>
                  <a:pt x="323" y="335"/>
                </a:cubicBezTo>
                <a:cubicBezTo>
                  <a:pt x="324" y="335"/>
                  <a:pt x="324" y="335"/>
                  <a:pt x="325" y="336"/>
                </a:cubicBezTo>
                <a:cubicBezTo>
                  <a:pt x="326" y="337"/>
                  <a:pt x="327" y="338"/>
                  <a:pt x="328" y="338"/>
                </a:cubicBezTo>
                <a:cubicBezTo>
                  <a:pt x="328" y="338"/>
                  <a:pt x="329" y="339"/>
                  <a:pt x="329" y="339"/>
                </a:cubicBezTo>
                <a:cubicBezTo>
                  <a:pt x="329" y="340"/>
                  <a:pt x="328" y="340"/>
                  <a:pt x="328" y="340"/>
                </a:cubicBezTo>
                <a:lnTo>
                  <a:pt x="326" y="339"/>
                </a:lnTo>
                <a:cubicBezTo>
                  <a:pt x="325" y="339"/>
                  <a:pt x="324" y="340"/>
                  <a:pt x="323" y="342"/>
                </a:cubicBezTo>
                <a:lnTo>
                  <a:pt x="322" y="343"/>
                </a:lnTo>
                <a:close/>
                <a:moveTo>
                  <a:pt x="225" y="134"/>
                </a:moveTo>
                <a:cubicBezTo>
                  <a:pt x="225" y="134"/>
                  <a:pt x="225" y="134"/>
                  <a:pt x="225" y="134"/>
                </a:cubicBezTo>
                <a:cubicBezTo>
                  <a:pt x="225" y="134"/>
                  <a:pt x="225" y="133"/>
                  <a:pt x="226" y="133"/>
                </a:cubicBezTo>
                <a:cubicBezTo>
                  <a:pt x="228" y="132"/>
                  <a:pt x="228" y="131"/>
                  <a:pt x="228" y="131"/>
                </a:cubicBezTo>
                <a:cubicBezTo>
                  <a:pt x="228" y="131"/>
                  <a:pt x="228" y="131"/>
                  <a:pt x="228" y="131"/>
                </a:cubicBezTo>
                <a:cubicBezTo>
                  <a:pt x="228" y="129"/>
                  <a:pt x="231" y="126"/>
                  <a:pt x="237" y="122"/>
                </a:cubicBezTo>
                <a:cubicBezTo>
                  <a:pt x="244" y="116"/>
                  <a:pt x="248" y="112"/>
                  <a:pt x="248" y="111"/>
                </a:cubicBezTo>
                <a:cubicBezTo>
                  <a:pt x="248" y="110"/>
                  <a:pt x="249" y="110"/>
                  <a:pt x="251" y="110"/>
                </a:cubicBezTo>
                <a:cubicBezTo>
                  <a:pt x="253" y="110"/>
                  <a:pt x="254" y="109"/>
                  <a:pt x="255" y="107"/>
                </a:cubicBezTo>
                <a:cubicBezTo>
                  <a:pt x="256" y="105"/>
                  <a:pt x="258" y="104"/>
                  <a:pt x="259" y="104"/>
                </a:cubicBezTo>
                <a:cubicBezTo>
                  <a:pt x="260" y="104"/>
                  <a:pt x="260" y="104"/>
                  <a:pt x="260" y="103"/>
                </a:cubicBezTo>
                <a:lnTo>
                  <a:pt x="260" y="102"/>
                </a:lnTo>
                <a:cubicBezTo>
                  <a:pt x="260" y="100"/>
                  <a:pt x="262" y="99"/>
                  <a:pt x="265" y="96"/>
                </a:cubicBezTo>
                <a:cubicBezTo>
                  <a:pt x="269" y="94"/>
                  <a:pt x="271" y="93"/>
                  <a:pt x="271" y="91"/>
                </a:cubicBezTo>
                <a:cubicBezTo>
                  <a:pt x="271" y="90"/>
                  <a:pt x="272" y="90"/>
                  <a:pt x="274" y="90"/>
                </a:cubicBezTo>
                <a:cubicBezTo>
                  <a:pt x="274" y="90"/>
                  <a:pt x="275" y="89"/>
                  <a:pt x="276" y="89"/>
                </a:cubicBezTo>
                <a:cubicBezTo>
                  <a:pt x="276" y="88"/>
                  <a:pt x="276" y="88"/>
                  <a:pt x="276" y="87"/>
                </a:cubicBezTo>
                <a:cubicBezTo>
                  <a:pt x="276" y="86"/>
                  <a:pt x="277" y="85"/>
                  <a:pt x="279" y="85"/>
                </a:cubicBezTo>
                <a:cubicBezTo>
                  <a:pt x="281" y="85"/>
                  <a:pt x="282" y="86"/>
                  <a:pt x="283" y="87"/>
                </a:cubicBezTo>
                <a:cubicBezTo>
                  <a:pt x="283" y="88"/>
                  <a:pt x="280" y="92"/>
                  <a:pt x="273" y="98"/>
                </a:cubicBezTo>
                <a:cubicBezTo>
                  <a:pt x="265" y="103"/>
                  <a:pt x="261" y="106"/>
                  <a:pt x="260" y="107"/>
                </a:cubicBezTo>
                <a:cubicBezTo>
                  <a:pt x="259" y="107"/>
                  <a:pt x="258" y="108"/>
                  <a:pt x="257" y="109"/>
                </a:cubicBezTo>
                <a:cubicBezTo>
                  <a:pt x="255" y="111"/>
                  <a:pt x="254" y="112"/>
                  <a:pt x="252" y="114"/>
                </a:cubicBezTo>
                <a:cubicBezTo>
                  <a:pt x="250" y="115"/>
                  <a:pt x="248" y="117"/>
                  <a:pt x="246" y="118"/>
                </a:cubicBezTo>
                <a:cubicBezTo>
                  <a:pt x="245" y="120"/>
                  <a:pt x="244" y="120"/>
                  <a:pt x="243" y="120"/>
                </a:cubicBezTo>
                <a:cubicBezTo>
                  <a:pt x="242" y="120"/>
                  <a:pt x="237" y="125"/>
                  <a:pt x="228" y="133"/>
                </a:cubicBezTo>
                <a:cubicBezTo>
                  <a:pt x="227" y="134"/>
                  <a:pt x="226" y="134"/>
                  <a:pt x="225" y="134"/>
                </a:cubicBezTo>
                <a:close/>
                <a:moveTo>
                  <a:pt x="290" y="383"/>
                </a:moveTo>
                <a:close/>
                <a:moveTo>
                  <a:pt x="92" y="860"/>
                </a:moveTo>
                <a:cubicBezTo>
                  <a:pt x="90" y="860"/>
                  <a:pt x="89" y="859"/>
                  <a:pt x="88" y="858"/>
                </a:cubicBezTo>
                <a:lnTo>
                  <a:pt x="88" y="856"/>
                </a:lnTo>
                <a:cubicBezTo>
                  <a:pt x="88" y="856"/>
                  <a:pt x="88" y="856"/>
                  <a:pt x="89" y="856"/>
                </a:cubicBezTo>
                <a:cubicBezTo>
                  <a:pt x="90" y="856"/>
                  <a:pt x="91" y="856"/>
                  <a:pt x="92" y="857"/>
                </a:cubicBezTo>
                <a:cubicBezTo>
                  <a:pt x="92" y="858"/>
                  <a:pt x="92" y="859"/>
                  <a:pt x="92" y="859"/>
                </a:cubicBezTo>
                <a:cubicBezTo>
                  <a:pt x="92" y="860"/>
                  <a:pt x="92" y="860"/>
                  <a:pt x="92" y="860"/>
                </a:cubicBezTo>
                <a:close/>
                <a:moveTo>
                  <a:pt x="78" y="894"/>
                </a:moveTo>
                <a:cubicBezTo>
                  <a:pt x="77" y="894"/>
                  <a:pt x="77" y="894"/>
                  <a:pt x="77" y="893"/>
                </a:cubicBezTo>
                <a:cubicBezTo>
                  <a:pt x="77" y="892"/>
                  <a:pt x="77" y="890"/>
                  <a:pt x="78" y="887"/>
                </a:cubicBezTo>
                <a:cubicBezTo>
                  <a:pt x="80" y="882"/>
                  <a:pt x="81" y="880"/>
                  <a:pt x="84" y="880"/>
                </a:cubicBezTo>
                <a:cubicBezTo>
                  <a:pt x="85" y="880"/>
                  <a:pt x="85" y="881"/>
                  <a:pt x="85" y="883"/>
                </a:cubicBezTo>
                <a:cubicBezTo>
                  <a:pt x="85" y="885"/>
                  <a:pt x="85" y="886"/>
                  <a:pt x="84" y="886"/>
                </a:cubicBezTo>
                <a:cubicBezTo>
                  <a:pt x="82" y="886"/>
                  <a:pt x="81" y="888"/>
                  <a:pt x="81" y="890"/>
                </a:cubicBezTo>
                <a:cubicBezTo>
                  <a:pt x="80" y="893"/>
                  <a:pt x="79" y="894"/>
                  <a:pt x="78" y="894"/>
                </a:cubicBezTo>
                <a:close/>
                <a:moveTo>
                  <a:pt x="273" y="393"/>
                </a:moveTo>
                <a:cubicBezTo>
                  <a:pt x="273" y="393"/>
                  <a:pt x="273" y="393"/>
                  <a:pt x="273" y="391"/>
                </a:cubicBezTo>
                <a:cubicBezTo>
                  <a:pt x="273" y="390"/>
                  <a:pt x="273" y="389"/>
                  <a:pt x="275" y="388"/>
                </a:cubicBezTo>
                <a:lnTo>
                  <a:pt x="275" y="388"/>
                </a:lnTo>
                <a:cubicBezTo>
                  <a:pt x="275" y="388"/>
                  <a:pt x="275" y="388"/>
                  <a:pt x="275" y="389"/>
                </a:cubicBezTo>
                <a:lnTo>
                  <a:pt x="275" y="390"/>
                </a:lnTo>
                <a:cubicBezTo>
                  <a:pt x="275" y="392"/>
                  <a:pt x="274" y="393"/>
                  <a:pt x="273" y="393"/>
                </a:cubicBezTo>
                <a:close/>
                <a:moveTo>
                  <a:pt x="237" y="534"/>
                </a:moveTo>
                <a:lnTo>
                  <a:pt x="237" y="534"/>
                </a:lnTo>
                <a:cubicBezTo>
                  <a:pt x="237" y="533"/>
                  <a:pt x="237" y="532"/>
                  <a:pt x="237" y="531"/>
                </a:cubicBezTo>
                <a:cubicBezTo>
                  <a:pt x="238" y="530"/>
                  <a:pt x="238" y="529"/>
                  <a:pt x="239" y="527"/>
                </a:cubicBezTo>
                <a:lnTo>
                  <a:pt x="241" y="526"/>
                </a:lnTo>
                <a:lnTo>
                  <a:pt x="241" y="526"/>
                </a:lnTo>
                <a:cubicBezTo>
                  <a:pt x="241" y="527"/>
                  <a:pt x="241" y="528"/>
                  <a:pt x="240" y="529"/>
                </a:cubicBezTo>
                <a:cubicBezTo>
                  <a:pt x="239" y="531"/>
                  <a:pt x="239" y="532"/>
                  <a:pt x="238" y="533"/>
                </a:cubicBezTo>
                <a:cubicBezTo>
                  <a:pt x="238" y="534"/>
                  <a:pt x="237" y="534"/>
                  <a:pt x="237" y="534"/>
                </a:cubicBezTo>
                <a:close/>
                <a:moveTo>
                  <a:pt x="243" y="558"/>
                </a:moveTo>
                <a:cubicBezTo>
                  <a:pt x="241" y="558"/>
                  <a:pt x="241" y="558"/>
                  <a:pt x="241" y="558"/>
                </a:cubicBezTo>
                <a:cubicBezTo>
                  <a:pt x="241" y="557"/>
                  <a:pt x="242" y="556"/>
                  <a:pt x="243" y="555"/>
                </a:cubicBezTo>
                <a:cubicBezTo>
                  <a:pt x="245" y="552"/>
                  <a:pt x="246" y="551"/>
                  <a:pt x="247" y="551"/>
                </a:cubicBezTo>
                <a:lnTo>
                  <a:pt x="247" y="552"/>
                </a:lnTo>
                <a:cubicBezTo>
                  <a:pt x="247" y="552"/>
                  <a:pt x="247" y="554"/>
                  <a:pt x="246" y="555"/>
                </a:cubicBezTo>
                <a:cubicBezTo>
                  <a:pt x="246" y="557"/>
                  <a:pt x="244" y="558"/>
                  <a:pt x="243" y="558"/>
                </a:cubicBezTo>
                <a:close/>
                <a:moveTo>
                  <a:pt x="252" y="419"/>
                </a:moveTo>
                <a:lnTo>
                  <a:pt x="251" y="419"/>
                </a:lnTo>
                <a:cubicBezTo>
                  <a:pt x="251" y="419"/>
                  <a:pt x="251" y="419"/>
                  <a:pt x="251" y="418"/>
                </a:cubicBezTo>
                <a:cubicBezTo>
                  <a:pt x="251" y="418"/>
                  <a:pt x="251" y="417"/>
                  <a:pt x="253" y="415"/>
                </a:cubicBezTo>
                <a:cubicBezTo>
                  <a:pt x="255" y="412"/>
                  <a:pt x="256" y="411"/>
                  <a:pt x="256" y="411"/>
                </a:cubicBezTo>
                <a:cubicBezTo>
                  <a:pt x="257" y="411"/>
                  <a:pt x="257" y="411"/>
                  <a:pt x="257" y="411"/>
                </a:cubicBezTo>
                <a:cubicBezTo>
                  <a:pt x="257" y="414"/>
                  <a:pt x="255" y="416"/>
                  <a:pt x="252" y="419"/>
                </a:cubicBezTo>
                <a:close/>
                <a:moveTo>
                  <a:pt x="221" y="480"/>
                </a:moveTo>
                <a:cubicBezTo>
                  <a:pt x="221" y="480"/>
                  <a:pt x="220" y="480"/>
                  <a:pt x="220" y="480"/>
                </a:cubicBezTo>
                <a:cubicBezTo>
                  <a:pt x="220" y="480"/>
                  <a:pt x="220" y="479"/>
                  <a:pt x="220" y="479"/>
                </a:cubicBezTo>
                <a:cubicBezTo>
                  <a:pt x="220" y="478"/>
                  <a:pt x="221" y="476"/>
                  <a:pt x="222" y="473"/>
                </a:cubicBezTo>
                <a:cubicBezTo>
                  <a:pt x="223" y="471"/>
                  <a:pt x="224" y="469"/>
                  <a:pt x="224" y="466"/>
                </a:cubicBezTo>
                <a:lnTo>
                  <a:pt x="224" y="464"/>
                </a:lnTo>
                <a:cubicBezTo>
                  <a:pt x="224" y="463"/>
                  <a:pt x="224" y="461"/>
                  <a:pt x="225" y="460"/>
                </a:cubicBezTo>
                <a:cubicBezTo>
                  <a:pt x="226" y="459"/>
                  <a:pt x="227" y="458"/>
                  <a:pt x="227" y="455"/>
                </a:cubicBezTo>
                <a:cubicBezTo>
                  <a:pt x="228" y="452"/>
                  <a:pt x="229" y="451"/>
                  <a:pt x="230" y="451"/>
                </a:cubicBezTo>
                <a:cubicBezTo>
                  <a:pt x="231" y="451"/>
                  <a:pt x="231" y="451"/>
                  <a:pt x="231" y="452"/>
                </a:cubicBezTo>
                <a:cubicBezTo>
                  <a:pt x="231" y="453"/>
                  <a:pt x="229" y="459"/>
                  <a:pt x="226" y="469"/>
                </a:cubicBezTo>
                <a:cubicBezTo>
                  <a:pt x="223" y="477"/>
                  <a:pt x="222" y="480"/>
                  <a:pt x="221" y="480"/>
                </a:cubicBezTo>
                <a:close/>
                <a:moveTo>
                  <a:pt x="231" y="448"/>
                </a:moveTo>
                <a:cubicBezTo>
                  <a:pt x="231" y="448"/>
                  <a:pt x="230" y="447"/>
                  <a:pt x="229" y="446"/>
                </a:cubicBezTo>
                <a:lnTo>
                  <a:pt x="229" y="445"/>
                </a:lnTo>
                <a:cubicBezTo>
                  <a:pt x="229" y="444"/>
                  <a:pt x="229" y="444"/>
                  <a:pt x="230" y="444"/>
                </a:cubicBezTo>
                <a:cubicBezTo>
                  <a:pt x="231" y="444"/>
                  <a:pt x="231" y="444"/>
                  <a:pt x="231" y="443"/>
                </a:cubicBezTo>
                <a:lnTo>
                  <a:pt x="231" y="441"/>
                </a:lnTo>
                <a:cubicBezTo>
                  <a:pt x="231" y="440"/>
                  <a:pt x="231" y="440"/>
                  <a:pt x="232" y="440"/>
                </a:cubicBezTo>
                <a:cubicBezTo>
                  <a:pt x="233" y="440"/>
                  <a:pt x="234" y="436"/>
                  <a:pt x="237" y="429"/>
                </a:cubicBezTo>
                <a:cubicBezTo>
                  <a:pt x="243" y="409"/>
                  <a:pt x="247" y="399"/>
                  <a:pt x="250" y="399"/>
                </a:cubicBezTo>
                <a:cubicBezTo>
                  <a:pt x="250" y="399"/>
                  <a:pt x="251" y="400"/>
                  <a:pt x="251" y="400"/>
                </a:cubicBezTo>
                <a:cubicBezTo>
                  <a:pt x="251" y="401"/>
                  <a:pt x="250" y="402"/>
                  <a:pt x="250" y="403"/>
                </a:cubicBezTo>
                <a:cubicBezTo>
                  <a:pt x="249" y="404"/>
                  <a:pt x="249" y="405"/>
                  <a:pt x="249" y="406"/>
                </a:cubicBezTo>
                <a:lnTo>
                  <a:pt x="239" y="432"/>
                </a:lnTo>
                <a:cubicBezTo>
                  <a:pt x="236" y="443"/>
                  <a:pt x="233" y="448"/>
                  <a:pt x="231" y="448"/>
                </a:cubicBezTo>
                <a:close/>
                <a:moveTo>
                  <a:pt x="236" y="526"/>
                </a:moveTo>
                <a:cubicBezTo>
                  <a:pt x="234" y="526"/>
                  <a:pt x="234" y="525"/>
                  <a:pt x="234" y="523"/>
                </a:cubicBezTo>
                <a:cubicBezTo>
                  <a:pt x="234" y="521"/>
                  <a:pt x="234" y="520"/>
                  <a:pt x="235" y="519"/>
                </a:cubicBezTo>
                <a:cubicBezTo>
                  <a:pt x="236" y="518"/>
                  <a:pt x="237" y="518"/>
                  <a:pt x="238" y="518"/>
                </a:cubicBezTo>
                <a:cubicBezTo>
                  <a:pt x="239" y="518"/>
                  <a:pt x="239" y="518"/>
                  <a:pt x="239" y="519"/>
                </a:cubicBezTo>
                <a:cubicBezTo>
                  <a:pt x="239" y="520"/>
                  <a:pt x="239" y="521"/>
                  <a:pt x="239" y="522"/>
                </a:cubicBezTo>
                <a:cubicBezTo>
                  <a:pt x="238" y="523"/>
                  <a:pt x="238" y="524"/>
                  <a:pt x="238" y="524"/>
                </a:cubicBezTo>
                <a:cubicBezTo>
                  <a:pt x="237" y="525"/>
                  <a:pt x="236" y="526"/>
                  <a:pt x="236" y="526"/>
                </a:cubicBezTo>
                <a:close/>
                <a:moveTo>
                  <a:pt x="244" y="505"/>
                </a:moveTo>
                <a:cubicBezTo>
                  <a:pt x="243" y="505"/>
                  <a:pt x="242" y="505"/>
                  <a:pt x="242" y="503"/>
                </a:cubicBezTo>
                <a:cubicBezTo>
                  <a:pt x="242" y="502"/>
                  <a:pt x="243" y="501"/>
                  <a:pt x="244" y="501"/>
                </a:cubicBezTo>
                <a:cubicBezTo>
                  <a:pt x="245" y="501"/>
                  <a:pt x="246" y="502"/>
                  <a:pt x="246" y="503"/>
                </a:cubicBezTo>
                <a:cubicBezTo>
                  <a:pt x="246" y="505"/>
                  <a:pt x="245" y="505"/>
                  <a:pt x="244" y="505"/>
                </a:cubicBezTo>
                <a:close/>
                <a:moveTo>
                  <a:pt x="233" y="544"/>
                </a:moveTo>
                <a:lnTo>
                  <a:pt x="233" y="544"/>
                </a:lnTo>
                <a:cubicBezTo>
                  <a:pt x="233" y="543"/>
                  <a:pt x="233" y="542"/>
                  <a:pt x="234" y="540"/>
                </a:cubicBezTo>
                <a:cubicBezTo>
                  <a:pt x="235" y="537"/>
                  <a:pt x="236" y="536"/>
                  <a:pt x="237" y="536"/>
                </a:cubicBezTo>
                <a:lnTo>
                  <a:pt x="237" y="536"/>
                </a:lnTo>
                <a:cubicBezTo>
                  <a:pt x="237" y="537"/>
                  <a:pt x="237" y="538"/>
                  <a:pt x="236" y="541"/>
                </a:cubicBezTo>
                <a:cubicBezTo>
                  <a:pt x="234" y="543"/>
                  <a:pt x="234" y="544"/>
                  <a:pt x="233" y="544"/>
                </a:cubicBezTo>
                <a:close/>
                <a:moveTo>
                  <a:pt x="70" y="442"/>
                </a:moveTo>
                <a:cubicBezTo>
                  <a:pt x="67" y="442"/>
                  <a:pt x="66" y="441"/>
                  <a:pt x="66" y="441"/>
                </a:cubicBezTo>
                <a:cubicBezTo>
                  <a:pt x="66" y="439"/>
                  <a:pt x="67" y="439"/>
                  <a:pt x="68" y="439"/>
                </a:cubicBezTo>
                <a:lnTo>
                  <a:pt x="72" y="440"/>
                </a:lnTo>
                <a:cubicBezTo>
                  <a:pt x="72" y="440"/>
                  <a:pt x="72" y="440"/>
                  <a:pt x="72" y="439"/>
                </a:cubicBezTo>
                <a:lnTo>
                  <a:pt x="72" y="438"/>
                </a:lnTo>
                <a:cubicBezTo>
                  <a:pt x="71" y="438"/>
                  <a:pt x="70" y="438"/>
                  <a:pt x="69" y="437"/>
                </a:cubicBezTo>
                <a:cubicBezTo>
                  <a:pt x="67" y="437"/>
                  <a:pt x="66" y="437"/>
                  <a:pt x="65" y="437"/>
                </a:cubicBezTo>
                <a:cubicBezTo>
                  <a:pt x="62" y="437"/>
                  <a:pt x="61" y="437"/>
                  <a:pt x="61" y="438"/>
                </a:cubicBezTo>
                <a:lnTo>
                  <a:pt x="62" y="440"/>
                </a:lnTo>
                <a:cubicBezTo>
                  <a:pt x="62" y="441"/>
                  <a:pt x="60" y="441"/>
                  <a:pt x="57" y="441"/>
                </a:cubicBezTo>
                <a:cubicBezTo>
                  <a:pt x="54" y="441"/>
                  <a:pt x="51" y="441"/>
                  <a:pt x="48" y="440"/>
                </a:cubicBezTo>
                <a:lnTo>
                  <a:pt x="42" y="439"/>
                </a:lnTo>
                <a:cubicBezTo>
                  <a:pt x="41" y="439"/>
                  <a:pt x="41" y="439"/>
                  <a:pt x="41" y="438"/>
                </a:cubicBezTo>
                <a:cubicBezTo>
                  <a:pt x="41" y="437"/>
                  <a:pt x="39" y="436"/>
                  <a:pt x="37" y="435"/>
                </a:cubicBezTo>
                <a:lnTo>
                  <a:pt x="30" y="432"/>
                </a:lnTo>
                <a:cubicBezTo>
                  <a:pt x="17" y="424"/>
                  <a:pt x="8" y="417"/>
                  <a:pt x="5" y="410"/>
                </a:cubicBezTo>
                <a:cubicBezTo>
                  <a:pt x="2" y="404"/>
                  <a:pt x="0" y="395"/>
                  <a:pt x="0" y="385"/>
                </a:cubicBezTo>
                <a:cubicBezTo>
                  <a:pt x="0" y="367"/>
                  <a:pt x="8" y="342"/>
                  <a:pt x="24" y="311"/>
                </a:cubicBezTo>
                <a:cubicBezTo>
                  <a:pt x="39" y="279"/>
                  <a:pt x="57" y="253"/>
                  <a:pt x="77" y="231"/>
                </a:cubicBezTo>
                <a:cubicBezTo>
                  <a:pt x="80" y="228"/>
                  <a:pt x="82" y="226"/>
                  <a:pt x="82" y="225"/>
                </a:cubicBezTo>
                <a:lnTo>
                  <a:pt x="80" y="226"/>
                </a:lnTo>
                <a:cubicBezTo>
                  <a:pt x="79" y="228"/>
                  <a:pt x="78" y="228"/>
                  <a:pt x="78" y="228"/>
                </a:cubicBezTo>
                <a:cubicBezTo>
                  <a:pt x="78" y="228"/>
                  <a:pt x="78" y="227"/>
                  <a:pt x="80" y="225"/>
                </a:cubicBezTo>
                <a:cubicBezTo>
                  <a:pt x="81" y="224"/>
                  <a:pt x="82" y="223"/>
                  <a:pt x="83" y="223"/>
                </a:cubicBezTo>
                <a:lnTo>
                  <a:pt x="84" y="223"/>
                </a:lnTo>
                <a:cubicBezTo>
                  <a:pt x="85" y="223"/>
                  <a:pt x="87" y="221"/>
                  <a:pt x="90" y="218"/>
                </a:cubicBezTo>
                <a:lnTo>
                  <a:pt x="91" y="214"/>
                </a:lnTo>
                <a:cubicBezTo>
                  <a:pt x="91" y="212"/>
                  <a:pt x="93" y="209"/>
                  <a:pt x="97" y="204"/>
                </a:cubicBezTo>
                <a:lnTo>
                  <a:pt x="104" y="199"/>
                </a:lnTo>
                <a:lnTo>
                  <a:pt x="104" y="201"/>
                </a:lnTo>
                <a:cubicBezTo>
                  <a:pt x="104" y="202"/>
                  <a:pt x="104" y="202"/>
                  <a:pt x="104" y="202"/>
                </a:cubicBezTo>
                <a:cubicBezTo>
                  <a:pt x="105" y="202"/>
                  <a:pt x="105" y="202"/>
                  <a:pt x="105" y="203"/>
                </a:cubicBezTo>
                <a:cubicBezTo>
                  <a:pt x="105" y="204"/>
                  <a:pt x="104" y="206"/>
                  <a:pt x="103" y="208"/>
                </a:cubicBezTo>
                <a:cubicBezTo>
                  <a:pt x="101" y="210"/>
                  <a:pt x="100" y="212"/>
                  <a:pt x="99" y="213"/>
                </a:cubicBezTo>
                <a:cubicBezTo>
                  <a:pt x="90" y="228"/>
                  <a:pt x="85" y="235"/>
                  <a:pt x="83" y="235"/>
                </a:cubicBezTo>
                <a:cubicBezTo>
                  <a:pt x="81" y="235"/>
                  <a:pt x="80" y="235"/>
                  <a:pt x="80" y="236"/>
                </a:cubicBezTo>
                <a:lnTo>
                  <a:pt x="80" y="236"/>
                </a:lnTo>
                <a:cubicBezTo>
                  <a:pt x="80" y="238"/>
                  <a:pt x="80" y="240"/>
                  <a:pt x="79" y="242"/>
                </a:cubicBezTo>
                <a:cubicBezTo>
                  <a:pt x="78" y="244"/>
                  <a:pt x="76" y="246"/>
                  <a:pt x="75" y="248"/>
                </a:cubicBezTo>
                <a:cubicBezTo>
                  <a:pt x="73" y="250"/>
                  <a:pt x="72" y="250"/>
                  <a:pt x="71" y="250"/>
                </a:cubicBezTo>
                <a:cubicBezTo>
                  <a:pt x="70" y="250"/>
                  <a:pt x="70" y="251"/>
                  <a:pt x="69" y="251"/>
                </a:cubicBezTo>
                <a:cubicBezTo>
                  <a:pt x="69" y="252"/>
                  <a:pt x="68" y="252"/>
                  <a:pt x="68" y="253"/>
                </a:cubicBezTo>
                <a:cubicBezTo>
                  <a:pt x="68" y="255"/>
                  <a:pt x="68" y="257"/>
                  <a:pt x="67" y="257"/>
                </a:cubicBezTo>
                <a:cubicBezTo>
                  <a:pt x="67" y="258"/>
                  <a:pt x="66" y="260"/>
                  <a:pt x="64" y="262"/>
                </a:cubicBezTo>
                <a:cubicBezTo>
                  <a:pt x="61" y="266"/>
                  <a:pt x="56" y="273"/>
                  <a:pt x="51" y="282"/>
                </a:cubicBezTo>
                <a:cubicBezTo>
                  <a:pt x="36" y="306"/>
                  <a:pt x="28" y="320"/>
                  <a:pt x="28" y="324"/>
                </a:cubicBezTo>
                <a:lnTo>
                  <a:pt x="29" y="325"/>
                </a:lnTo>
                <a:cubicBezTo>
                  <a:pt x="29" y="326"/>
                  <a:pt x="28" y="326"/>
                  <a:pt x="28" y="326"/>
                </a:cubicBezTo>
                <a:cubicBezTo>
                  <a:pt x="28" y="326"/>
                  <a:pt x="27" y="326"/>
                  <a:pt x="26" y="327"/>
                </a:cubicBezTo>
                <a:lnTo>
                  <a:pt x="27" y="328"/>
                </a:lnTo>
                <a:cubicBezTo>
                  <a:pt x="27" y="329"/>
                  <a:pt x="26" y="330"/>
                  <a:pt x="25" y="331"/>
                </a:cubicBezTo>
                <a:cubicBezTo>
                  <a:pt x="23" y="332"/>
                  <a:pt x="23" y="333"/>
                  <a:pt x="23" y="333"/>
                </a:cubicBezTo>
                <a:cubicBezTo>
                  <a:pt x="23" y="333"/>
                  <a:pt x="23" y="333"/>
                  <a:pt x="25" y="333"/>
                </a:cubicBezTo>
                <a:cubicBezTo>
                  <a:pt x="27" y="333"/>
                  <a:pt x="28" y="333"/>
                  <a:pt x="28" y="332"/>
                </a:cubicBezTo>
                <a:lnTo>
                  <a:pt x="28" y="332"/>
                </a:lnTo>
                <a:cubicBezTo>
                  <a:pt x="28" y="331"/>
                  <a:pt x="29" y="330"/>
                  <a:pt x="30" y="329"/>
                </a:cubicBezTo>
                <a:cubicBezTo>
                  <a:pt x="32" y="327"/>
                  <a:pt x="32" y="326"/>
                  <a:pt x="32" y="325"/>
                </a:cubicBezTo>
                <a:cubicBezTo>
                  <a:pt x="32" y="324"/>
                  <a:pt x="32" y="324"/>
                  <a:pt x="31" y="323"/>
                </a:cubicBezTo>
                <a:cubicBezTo>
                  <a:pt x="31" y="322"/>
                  <a:pt x="30" y="321"/>
                  <a:pt x="30" y="321"/>
                </a:cubicBezTo>
                <a:cubicBezTo>
                  <a:pt x="30" y="319"/>
                  <a:pt x="31" y="318"/>
                  <a:pt x="33" y="316"/>
                </a:cubicBezTo>
                <a:cubicBezTo>
                  <a:pt x="36" y="313"/>
                  <a:pt x="37" y="311"/>
                  <a:pt x="37" y="310"/>
                </a:cubicBezTo>
                <a:cubicBezTo>
                  <a:pt x="38" y="309"/>
                  <a:pt x="39" y="309"/>
                  <a:pt x="40" y="309"/>
                </a:cubicBezTo>
                <a:cubicBezTo>
                  <a:pt x="41" y="309"/>
                  <a:pt x="42" y="309"/>
                  <a:pt x="42" y="308"/>
                </a:cubicBezTo>
                <a:lnTo>
                  <a:pt x="42" y="307"/>
                </a:lnTo>
                <a:cubicBezTo>
                  <a:pt x="42" y="306"/>
                  <a:pt x="42" y="306"/>
                  <a:pt x="43" y="306"/>
                </a:cubicBezTo>
                <a:lnTo>
                  <a:pt x="45" y="306"/>
                </a:lnTo>
                <a:cubicBezTo>
                  <a:pt x="45" y="305"/>
                  <a:pt x="44" y="305"/>
                  <a:pt x="44" y="304"/>
                </a:cubicBezTo>
                <a:cubicBezTo>
                  <a:pt x="43" y="304"/>
                  <a:pt x="43" y="303"/>
                  <a:pt x="43" y="302"/>
                </a:cubicBezTo>
                <a:cubicBezTo>
                  <a:pt x="43" y="299"/>
                  <a:pt x="48" y="289"/>
                  <a:pt x="58" y="275"/>
                </a:cubicBezTo>
                <a:cubicBezTo>
                  <a:pt x="69" y="260"/>
                  <a:pt x="81" y="244"/>
                  <a:pt x="95" y="227"/>
                </a:cubicBezTo>
                <a:cubicBezTo>
                  <a:pt x="110" y="209"/>
                  <a:pt x="123" y="195"/>
                  <a:pt x="136" y="182"/>
                </a:cubicBezTo>
                <a:cubicBezTo>
                  <a:pt x="167" y="151"/>
                  <a:pt x="192" y="128"/>
                  <a:pt x="210" y="114"/>
                </a:cubicBezTo>
                <a:cubicBezTo>
                  <a:pt x="217" y="108"/>
                  <a:pt x="225" y="102"/>
                  <a:pt x="233" y="96"/>
                </a:cubicBezTo>
                <a:cubicBezTo>
                  <a:pt x="240" y="90"/>
                  <a:pt x="250" y="83"/>
                  <a:pt x="260" y="75"/>
                </a:cubicBezTo>
                <a:cubicBezTo>
                  <a:pt x="263" y="73"/>
                  <a:pt x="265" y="72"/>
                  <a:pt x="265" y="71"/>
                </a:cubicBezTo>
                <a:cubicBezTo>
                  <a:pt x="266" y="70"/>
                  <a:pt x="267" y="69"/>
                  <a:pt x="270" y="68"/>
                </a:cubicBezTo>
                <a:cubicBezTo>
                  <a:pt x="272" y="66"/>
                  <a:pt x="274" y="65"/>
                  <a:pt x="274" y="63"/>
                </a:cubicBezTo>
                <a:lnTo>
                  <a:pt x="274" y="63"/>
                </a:lnTo>
                <a:cubicBezTo>
                  <a:pt x="273" y="62"/>
                  <a:pt x="273" y="62"/>
                  <a:pt x="272" y="62"/>
                </a:cubicBezTo>
                <a:cubicBezTo>
                  <a:pt x="271" y="62"/>
                  <a:pt x="271" y="62"/>
                  <a:pt x="271" y="62"/>
                </a:cubicBezTo>
                <a:cubicBezTo>
                  <a:pt x="270" y="63"/>
                  <a:pt x="270" y="63"/>
                  <a:pt x="269" y="63"/>
                </a:cubicBezTo>
                <a:cubicBezTo>
                  <a:pt x="269" y="63"/>
                  <a:pt x="269" y="63"/>
                  <a:pt x="269" y="62"/>
                </a:cubicBezTo>
                <a:cubicBezTo>
                  <a:pt x="269" y="61"/>
                  <a:pt x="272" y="59"/>
                  <a:pt x="278" y="54"/>
                </a:cubicBezTo>
                <a:cubicBezTo>
                  <a:pt x="285" y="50"/>
                  <a:pt x="288" y="48"/>
                  <a:pt x="290" y="48"/>
                </a:cubicBezTo>
                <a:cubicBezTo>
                  <a:pt x="291" y="48"/>
                  <a:pt x="292" y="47"/>
                  <a:pt x="293" y="46"/>
                </a:cubicBezTo>
                <a:cubicBezTo>
                  <a:pt x="293" y="44"/>
                  <a:pt x="294" y="44"/>
                  <a:pt x="295" y="44"/>
                </a:cubicBezTo>
                <a:cubicBezTo>
                  <a:pt x="296" y="44"/>
                  <a:pt x="296" y="44"/>
                  <a:pt x="296" y="45"/>
                </a:cubicBezTo>
                <a:cubicBezTo>
                  <a:pt x="296" y="46"/>
                  <a:pt x="296" y="47"/>
                  <a:pt x="295" y="48"/>
                </a:cubicBezTo>
                <a:cubicBezTo>
                  <a:pt x="293" y="50"/>
                  <a:pt x="292" y="50"/>
                  <a:pt x="291" y="50"/>
                </a:cubicBezTo>
                <a:lnTo>
                  <a:pt x="290" y="50"/>
                </a:lnTo>
                <a:cubicBezTo>
                  <a:pt x="289" y="50"/>
                  <a:pt x="288" y="51"/>
                  <a:pt x="288" y="52"/>
                </a:cubicBezTo>
                <a:cubicBezTo>
                  <a:pt x="287" y="54"/>
                  <a:pt x="286" y="54"/>
                  <a:pt x="285" y="54"/>
                </a:cubicBezTo>
                <a:lnTo>
                  <a:pt x="285" y="54"/>
                </a:lnTo>
                <a:cubicBezTo>
                  <a:pt x="283" y="54"/>
                  <a:pt x="282" y="55"/>
                  <a:pt x="281" y="56"/>
                </a:cubicBezTo>
                <a:cubicBezTo>
                  <a:pt x="281" y="58"/>
                  <a:pt x="280" y="59"/>
                  <a:pt x="279" y="59"/>
                </a:cubicBezTo>
                <a:cubicBezTo>
                  <a:pt x="275" y="59"/>
                  <a:pt x="274" y="59"/>
                  <a:pt x="274" y="60"/>
                </a:cubicBezTo>
                <a:cubicBezTo>
                  <a:pt x="274" y="61"/>
                  <a:pt x="274" y="62"/>
                  <a:pt x="275" y="62"/>
                </a:cubicBezTo>
                <a:cubicBezTo>
                  <a:pt x="278" y="62"/>
                  <a:pt x="283" y="59"/>
                  <a:pt x="291" y="54"/>
                </a:cubicBezTo>
                <a:cubicBezTo>
                  <a:pt x="300" y="48"/>
                  <a:pt x="305" y="44"/>
                  <a:pt x="305" y="42"/>
                </a:cubicBezTo>
                <a:cubicBezTo>
                  <a:pt x="305" y="42"/>
                  <a:pt x="305" y="41"/>
                  <a:pt x="304" y="41"/>
                </a:cubicBezTo>
                <a:lnTo>
                  <a:pt x="298" y="43"/>
                </a:lnTo>
                <a:cubicBezTo>
                  <a:pt x="298" y="42"/>
                  <a:pt x="299" y="41"/>
                  <a:pt x="301" y="40"/>
                </a:cubicBezTo>
                <a:cubicBezTo>
                  <a:pt x="303" y="39"/>
                  <a:pt x="305" y="38"/>
                  <a:pt x="306" y="38"/>
                </a:cubicBezTo>
                <a:cubicBezTo>
                  <a:pt x="306" y="38"/>
                  <a:pt x="307" y="39"/>
                  <a:pt x="307" y="40"/>
                </a:cubicBezTo>
                <a:cubicBezTo>
                  <a:pt x="308" y="41"/>
                  <a:pt x="308" y="41"/>
                  <a:pt x="310" y="41"/>
                </a:cubicBezTo>
                <a:lnTo>
                  <a:pt x="311" y="41"/>
                </a:lnTo>
                <a:lnTo>
                  <a:pt x="311" y="42"/>
                </a:lnTo>
                <a:cubicBezTo>
                  <a:pt x="310" y="43"/>
                  <a:pt x="310" y="44"/>
                  <a:pt x="310" y="44"/>
                </a:cubicBezTo>
                <a:cubicBezTo>
                  <a:pt x="310" y="46"/>
                  <a:pt x="311" y="47"/>
                  <a:pt x="314" y="47"/>
                </a:cubicBezTo>
                <a:cubicBezTo>
                  <a:pt x="316" y="47"/>
                  <a:pt x="318" y="46"/>
                  <a:pt x="320" y="46"/>
                </a:cubicBezTo>
                <a:lnTo>
                  <a:pt x="326" y="43"/>
                </a:lnTo>
                <a:cubicBezTo>
                  <a:pt x="326" y="44"/>
                  <a:pt x="322" y="48"/>
                  <a:pt x="312" y="53"/>
                </a:cubicBezTo>
                <a:cubicBezTo>
                  <a:pt x="302" y="59"/>
                  <a:pt x="296" y="62"/>
                  <a:pt x="294" y="62"/>
                </a:cubicBezTo>
                <a:cubicBezTo>
                  <a:pt x="293" y="62"/>
                  <a:pt x="292" y="61"/>
                  <a:pt x="292" y="61"/>
                </a:cubicBezTo>
                <a:lnTo>
                  <a:pt x="294" y="58"/>
                </a:lnTo>
                <a:cubicBezTo>
                  <a:pt x="294" y="58"/>
                  <a:pt x="293" y="57"/>
                  <a:pt x="293" y="57"/>
                </a:cubicBezTo>
                <a:lnTo>
                  <a:pt x="292" y="58"/>
                </a:lnTo>
                <a:cubicBezTo>
                  <a:pt x="291" y="58"/>
                  <a:pt x="291" y="60"/>
                  <a:pt x="291" y="61"/>
                </a:cubicBezTo>
                <a:lnTo>
                  <a:pt x="291" y="65"/>
                </a:lnTo>
                <a:cubicBezTo>
                  <a:pt x="291" y="66"/>
                  <a:pt x="291" y="67"/>
                  <a:pt x="290" y="67"/>
                </a:cubicBezTo>
                <a:cubicBezTo>
                  <a:pt x="290" y="67"/>
                  <a:pt x="289" y="67"/>
                  <a:pt x="289" y="67"/>
                </a:cubicBezTo>
                <a:cubicBezTo>
                  <a:pt x="289" y="66"/>
                  <a:pt x="289" y="66"/>
                  <a:pt x="289" y="65"/>
                </a:cubicBezTo>
                <a:lnTo>
                  <a:pt x="289" y="64"/>
                </a:lnTo>
                <a:lnTo>
                  <a:pt x="288" y="66"/>
                </a:lnTo>
                <a:cubicBezTo>
                  <a:pt x="286" y="67"/>
                  <a:pt x="285" y="68"/>
                  <a:pt x="285" y="68"/>
                </a:cubicBezTo>
                <a:cubicBezTo>
                  <a:pt x="284" y="68"/>
                  <a:pt x="283" y="68"/>
                  <a:pt x="283" y="67"/>
                </a:cubicBezTo>
                <a:cubicBezTo>
                  <a:pt x="282" y="66"/>
                  <a:pt x="281" y="66"/>
                  <a:pt x="281" y="66"/>
                </a:cubicBezTo>
                <a:lnTo>
                  <a:pt x="281" y="68"/>
                </a:lnTo>
                <a:cubicBezTo>
                  <a:pt x="281" y="71"/>
                  <a:pt x="280" y="72"/>
                  <a:pt x="279" y="72"/>
                </a:cubicBezTo>
                <a:cubicBezTo>
                  <a:pt x="277" y="72"/>
                  <a:pt x="276" y="72"/>
                  <a:pt x="276" y="73"/>
                </a:cubicBezTo>
                <a:cubicBezTo>
                  <a:pt x="276" y="73"/>
                  <a:pt x="276" y="74"/>
                  <a:pt x="275" y="76"/>
                </a:cubicBezTo>
                <a:cubicBezTo>
                  <a:pt x="273" y="77"/>
                  <a:pt x="272" y="78"/>
                  <a:pt x="270" y="79"/>
                </a:cubicBezTo>
                <a:cubicBezTo>
                  <a:pt x="250" y="92"/>
                  <a:pt x="218" y="118"/>
                  <a:pt x="174" y="158"/>
                </a:cubicBezTo>
                <a:cubicBezTo>
                  <a:pt x="129" y="199"/>
                  <a:pt x="107" y="222"/>
                  <a:pt x="107" y="227"/>
                </a:cubicBezTo>
                <a:cubicBezTo>
                  <a:pt x="107" y="228"/>
                  <a:pt x="107" y="228"/>
                  <a:pt x="106" y="229"/>
                </a:cubicBezTo>
                <a:cubicBezTo>
                  <a:pt x="105" y="230"/>
                  <a:pt x="104" y="231"/>
                  <a:pt x="103" y="232"/>
                </a:cubicBezTo>
                <a:cubicBezTo>
                  <a:pt x="101" y="232"/>
                  <a:pt x="100" y="233"/>
                  <a:pt x="99" y="234"/>
                </a:cubicBezTo>
                <a:cubicBezTo>
                  <a:pt x="96" y="237"/>
                  <a:pt x="95" y="239"/>
                  <a:pt x="95" y="240"/>
                </a:cubicBezTo>
                <a:lnTo>
                  <a:pt x="101" y="236"/>
                </a:lnTo>
                <a:lnTo>
                  <a:pt x="101" y="237"/>
                </a:lnTo>
                <a:cubicBezTo>
                  <a:pt x="101" y="237"/>
                  <a:pt x="100" y="238"/>
                  <a:pt x="100" y="239"/>
                </a:cubicBezTo>
                <a:cubicBezTo>
                  <a:pt x="99" y="240"/>
                  <a:pt x="98" y="240"/>
                  <a:pt x="97" y="241"/>
                </a:cubicBezTo>
                <a:cubicBezTo>
                  <a:pt x="95" y="242"/>
                  <a:pt x="94" y="242"/>
                  <a:pt x="94" y="242"/>
                </a:cubicBezTo>
                <a:cubicBezTo>
                  <a:pt x="93" y="242"/>
                  <a:pt x="92" y="242"/>
                  <a:pt x="92" y="243"/>
                </a:cubicBezTo>
                <a:lnTo>
                  <a:pt x="93" y="246"/>
                </a:lnTo>
                <a:cubicBezTo>
                  <a:pt x="93" y="246"/>
                  <a:pt x="93" y="246"/>
                  <a:pt x="92" y="246"/>
                </a:cubicBezTo>
                <a:lnTo>
                  <a:pt x="92" y="246"/>
                </a:lnTo>
                <a:cubicBezTo>
                  <a:pt x="91" y="245"/>
                  <a:pt x="91" y="245"/>
                  <a:pt x="90" y="245"/>
                </a:cubicBezTo>
                <a:cubicBezTo>
                  <a:pt x="89" y="245"/>
                  <a:pt x="89" y="246"/>
                  <a:pt x="89" y="247"/>
                </a:cubicBezTo>
                <a:cubicBezTo>
                  <a:pt x="88" y="247"/>
                  <a:pt x="87" y="248"/>
                  <a:pt x="86" y="248"/>
                </a:cubicBezTo>
                <a:lnTo>
                  <a:pt x="85" y="247"/>
                </a:lnTo>
                <a:cubicBezTo>
                  <a:pt x="85" y="247"/>
                  <a:pt x="84" y="247"/>
                  <a:pt x="84" y="248"/>
                </a:cubicBezTo>
                <a:cubicBezTo>
                  <a:pt x="84" y="248"/>
                  <a:pt x="85" y="249"/>
                  <a:pt x="85" y="250"/>
                </a:cubicBezTo>
                <a:cubicBezTo>
                  <a:pt x="85" y="251"/>
                  <a:pt x="87" y="251"/>
                  <a:pt x="88" y="251"/>
                </a:cubicBezTo>
                <a:lnTo>
                  <a:pt x="89" y="251"/>
                </a:lnTo>
                <a:cubicBezTo>
                  <a:pt x="89" y="251"/>
                  <a:pt x="88" y="252"/>
                  <a:pt x="87" y="253"/>
                </a:cubicBezTo>
                <a:cubicBezTo>
                  <a:pt x="86" y="255"/>
                  <a:pt x="84" y="255"/>
                  <a:pt x="82" y="255"/>
                </a:cubicBezTo>
                <a:cubicBezTo>
                  <a:pt x="79" y="255"/>
                  <a:pt x="78" y="256"/>
                  <a:pt x="78" y="256"/>
                </a:cubicBezTo>
                <a:lnTo>
                  <a:pt x="79" y="257"/>
                </a:lnTo>
                <a:cubicBezTo>
                  <a:pt x="79" y="258"/>
                  <a:pt x="78" y="259"/>
                  <a:pt x="76" y="260"/>
                </a:cubicBezTo>
                <a:cubicBezTo>
                  <a:pt x="75" y="262"/>
                  <a:pt x="74" y="262"/>
                  <a:pt x="74" y="262"/>
                </a:cubicBezTo>
                <a:lnTo>
                  <a:pt x="81" y="262"/>
                </a:lnTo>
                <a:cubicBezTo>
                  <a:pt x="81" y="262"/>
                  <a:pt x="80" y="263"/>
                  <a:pt x="79" y="264"/>
                </a:cubicBezTo>
                <a:cubicBezTo>
                  <a:pt x="77" y="265"/>
                  <a:pt x="76" y="267"/>
                  <a:pt x="76" y="268"/>
                </a:cubicBezTo>
                <a:cubicBezTo>
                  <a:pt x="76" y="269"/>
                  <a:pt x="75" y="270"/>
                  <a:pt x="74" y="272"/>
                </a:cubicBezTo>
                <a:cubicBezTo>
                  <a:pt x="69" y="278"/>
                  <a:pt x="66" y="281"/>
                  <a:pt x="64" y="283"/>
                </a:cubicBezTo>
                <a:lnTo>
                  <a:pt x="65" y="281"/>
                </a:lnTo>
                <a:lnTo>
                  <a:pt x="65" y="280"/>
                </a:lnTo>
                <a:cubicBezTo>
                  <a:pt x="65" y="279"/>
                  <a:pt x="65" y="279"/>
                  <a:pt x="64" y="279"/>
                </a:cubicBezTo>
                <a:cubicBezTo>
                  <a:pt x="63" y="279"/>
                  <a:pt x="62" y="280"/>
                  <a:pt x="62" y="281"/>
                </a:cubicBezTo>
                <a:cubicBezTo>
                  <a:pt x="62" y="283"/>
                  <a:pt x="63" y="283"/>
                  <a:pt x="63" y="283"/>
                </a:cubicBezTo>
                <a:lnTo>
                  <a:pt x="61" y="283"/>
                </a:lnTo>
                <a:cubicBezTo>
                  <a:pt x="61" y="282"/>
                  <a:pt x="60" y="282"/>
                  <a:pt x="60" y="282"/>
                </a:cubicBezTo>
                <a:cubicBezTo>
                  <a:pt x="59" y="282"/>
                  <a:pt x="59" y="283"/>
                  <a:pt x="59" y="284"/>
                </a:cubicBezTo>
                <a:cubicBezTo>
                  <a:pt x="59" y="285"/>
                  <a:pt x="59" y="285"/>
                  <a:pt x="60" y="286"/>
                </a:cubicBezTo>
                <a:cubicBezTo>
                  <a:pt x="60" y="286"/>
                  <a:pt x="60" y="286"/>
                  <a:pt x="61" y="287"/>
                </a:cubicBezTo>
                <a:cubicBezTo>
                  <a:pt x="61" y="288"/>
                  <a:pt x="60" y="289"/>
                  <a:pt x="59" y="289"/>
                </a:cubicBezTo>
                <a:cubicBezTo>
                  <a:pt x="57" y="290"/>
                  <a:pt x="56" y="291"/>
                  <a:pt x="55" y="293"/>
                </a:cubicBezTo>
                <a:cubicBezTo>
                  <a:pt x="54" y="294"/>
                  <a:pt x="53" y="295"/>
                  <a:pt x="53" y="296"/>
                </a:cubicBezTo>
                <a:lnTo>
                  <a:pt x="53" y="298"/>
                </a:lnTo>
                <a:lnTo>
                  <a:pt x="54" y="295"/>
                </a:lnTo>
                <a:cubicBezTo>
                  <a:pt x="55" y="294"/>
                  <a:pt x="56" y="293"/>
                  <a:pt x="57" y="293"/>
                </a:cubicBezTo>
                <a:cubicBezTo>
                  <a:pt x="57" y="293"/>
                  <a:pt x="58" y="294"/>
                  <a:pt x="58" y="294"/>
                </a:cubicBezTo>
                <a:cubicBezTo>
                  <a:pt x="58" y="295"/>
                  <a:pt x="57" y="296"/>
                  <a:pt x="56" y="298"/>
                </a:cubicBezTo>
                <a:cubicBezTo>
                  <a:pt x="54" y="301"/>
                  <a:pt x="52" y="302"/>
                  <a:pt x="50" y="302"/>
                </a:cubicBezTo>
                <a:cubicBezTo>
                  <a:pt x="48" y="302"/>
                  <a:pt x="48" y="303"/>
                  <a:pt x="48" y="303"/>
                </a:cubicBezTo>
                <a:cubicBezTo>
                  <a:pt x="48" y="303"/>
                  <a:pt x="48" y="304"/>
                  <a:pt x="48" y="304"/>
                </a:cubicBezTo>
                <a:cubicBezTo>
                  <a:pt x="49" y="305"/>
                  <a:pt x="49" y="306"/>
                  <a:pt x="49" y="306"/>
                </a:cubicBezTo>
                <a:cubicBezTo>
                  <a:pt x="49" y="307"/>
                  <a:pt x="48" y="309"/>
                  <a:pt x="46" y="310"/>
                </a:cubicBezTo>
                <a:cubicBezTo>
                  <a:pt x="44" y="312"/>
                  <a:pt x="43" y="313"/>
                  <a:pt x="43" y="314"/>
                </a:cubicBezTo>
                <a:cubicBezTo>
                  <a:pt x="43" y="315"/>
                  <a:pt x="44" y="316"/>
                  <a:pt x="46" y="317"/>
                </a:cubicBezTo>
                <a:cubicBezTo>
                  <a:pt x="48" y="318"/>
                  <a:pt x="48" y="319"/>
                  <a:pt x="48" y="320"/>
                </a:cubicBezTo>
                <a:lnTo>
                  <a:pt x="48" y="320"/>
                </a:lnTo>
                <a:lnTo>
                  <a:pt x="41" y="318"/>
                </a:lnTo>
                <a:cubicBezTo>
                  <a:pt x="40" y="318"/>
                  <a:pt x="40" y="318"/>
                  <a:pt x="39" y="318"/>
                </a:cubicBezTo>
                <a:lnTo>
                  <a:pt x="40" y="319"/>
                </a:lnTo>
                <a:cubicBezTo>
                  <a:pt x="41" y="320"/>
                  <a:pt x="41" y="321"/>
                  <a:pt x="42" y="322"/>
                </a:cubicBezTo>
                <a:cubicBezTo>
                  <a:pt x="42" y="323"/>
                  <a:pt x="43" y="324"/>
                  <a:pt x="43" y="325"/>
                </a:cubicBezTo>
                <a:cubicBezTo>
                  <a:pt x="43" y="325"/>
                  <a:pt x="42" y="326"/>
                  <a:pt x="42" y="326"/>
                </a:cubicBezTo>
                <a:lnTo>
                  <a:pt x="41" y="325"/>
                </a:lnTo>
                <a:lnTo>
                  <a:pt x="39" y="326"/>
                </a:lnTo>
                <a:cubicBezTo>
                  <a:pt x="37" y="327"/>
                  <a:pt x="36" y="328"/>
                  <a:pt x="36" y="330"/>
                </a:cubicBezTo>
                <a:cubicBezTo>
                  <a:pt x="36" y="330"/>
                  <a:pt x="36" y="330"/>
                  <a:pt x="37" y="330"/>
                </a:cubicBezTo>
                <a:cubicBezTo>
                  <a:pt x="37" y="330"/>
                  <a:pt x="37" y="331"/>
                  <a:pt x="37" y="331"/>
                </a:cubicBezTo>
                <a:cubicBezTo>
                  <a:pt x="37" y="331"/>
                  <a:pt x="37" y="331"/>
                  <a:pt x="35" y="332"/>
                </a:cubicBezTo>
                <a:cubicBezTo>
                  <a:pt x="34" y="333"/>
                  <a:pt x="34" y="333"/>
                  <a:pt x="34" y="334"/>
                </a:cubicBezTo>
                <a:cubicBezTo>
                  <a:pt x="34" y="334"/>
                  <a:pt x="34" y="334"/>
                  <a:pt x="35" y="334"/>
                </a:cubicBezTo>
                <a:cubicBezTo>
                  <a:pt x="36" y="334"/>
                  <a:pt x="37" y="333"/>
                  <a:pt x="38" y="331"/>
                </a:cubicBezTo>
                <a:cubicBezTo>
                  <a:pt x="40" y="329"/>
                  <a:pt x="40" y="328"/>
                  <a:pt x="41" y="328"/>
                </a:cubicBezTo>
                <a:lnTo>
                  <a:pt x="41" y="329"/>
                </a:lnTo>
                <a:cubicBezTo>
                  <a:pt x="41" y="330"/>
                  <a:pt x="39" y="333"/>
                  <a:pt x="37" y="340"/>
                </a:cubicBezTo>
                <a:cubicBezTo>
                  <a:pt x="34" y="346"/>
                  <a:pt x="32" y="349"/>
                  <a:pt x="32" y="350"/>
                </a:cubicBezTo>
                <a:cubicBezTo>
                  <a:pt x="31" y="351"/>
                  <a:pt x="30" y="354"/>
                  <a:pt x="27" y="361"/>
                </a:cubicBezTo>
                <a:cubicBezTo>
                  <a:pt x="25" y="368"/>
                  <a:pt x="23" y="372"/>
                  <a:pt x="23" y="373"/>
                </a:cubicBezTo>
                <a:cubicBezTo>
                  <a:pt x="23" y="374"/>
                  <a:pt x="25" y="374"/>
                  <a:pt x="27" y="374"/>
                </a:cubicBezTo>
                <a:cubicBezTo>
                  <a:pt x="27" y="374"/>
                  <a:pt x="28" y="374"/>
                  <a:pt x="28" y="372"/>
                </a:cubicBezTo>
                <a:lnTo>
                  <a:pt x="28" y="370"/>
                </a:lnTo>
                <a:cubicBezTo>
                  <a:pt x="28" y="367"/>
                  <a:pt x="31" y="358"/>
                  <a:pt x="38" y="345"/>
                </a:cubicBezTo>
                <a:cubicBezTo>
                  <a:pt x="45" y="332"/>
                  <a:pt x="52" y="319"/>
                  <a:pt x="60" y="306"/>
                </a:cubicBezTo>
                <a:cubicBezTo>
                  <a:pt x="69" y="293"/>
                  <a:pt x="75" y="285"/>
                  <a:pt x="79" y="281"/>
                </a:cubicBezTo>
                <a:lnTo>
                  <a:pt x="81" y="280"/>
                </a:lnTo>
                <a:cubicBezTo>
                  <a:pt x="81" y="280"/>
                  <a:pt x="80" y="281"/>
                  <a:pt x="79" y="283"/>
                </a:cubicBezTo>
                <a:cubicBezTo>
                  <a:pt x="75" y="288"/>
                  <a:pt x="73" y="292"/>
                  <a:pt x="71" y="296"/>
                </a:cubicBezTo>
                <a:cubicBezTo>
                  <a:pt x="71" y="297"/>
                  <a:pt x="71" y="297"/>
                  <a:pt x="70" y="297"/>
                </a:cubicBezTo>
                <a:cubicBezTo>
                  <a:pt x="68" y="301"/>
                  <a:pt x="65" y="305"/>
                  <a:pt x="62" y="309"/>
                </a:cubicBezTo>
                <a:cubicBezTo>
                  <a:pt x="58" y="313"/>
                  <a:pt x="57" y="316"/>
                  <a:pt x="57" y="318"/>
                </a:cubicBezTo>
                <a:cubicBezTo>
                  <a:pt x="56" y="323"/>
                  <a:pt x="54" y="326"/>
                  <a:pt x="52" y="326"/>
                </a:cubicBezTo>
                <a:cubicBezTo>
                  <a:pt x="52" y="326"/>
                  <a:pt x="51" y="326"/>
                  <a:pt x="51" y="327"/>
                </a:cubicBezTo>
                <a:lnTo>
                  <a:pt x="51" y="328"/>
                </a:lnTo>
                <a:cubicBezTo>
                  <a:pt x="51" y="330"/>
                  <a:pt x="50" y="332"/>
                  <a:pt x="48" y="334"/>
                </a:cubicBezTo>
                <a:cubicBezTo>
                  <a:pt x="46" y="337"/>
                  <a:pt x="45" y="339"/>
                  <a:pt x="45" y="340"/>
                </a:cubicBezTo>
                <a:cubicBezTo>
                  <a:pt x="45" y="340"/>
                  <a:pt x="45" y="341"/>
                  <a:pt x="46" y="342"/>
                </a:cubicBezTo>
                <a:cubicBezTo>
                  <a:pt x="46" y="343"/>
                  <a:pt x="47" y="344"/>
                  <a:pt x="47" y="344"/>
                </a:cubicBezTo>
                <a:cubicBezTo>
                  <a:pt x="47" y="344"/>
                  <a:pt x="46" y="344"/>
                  <a:pt x="45" y="344"/>
                </a:cubicBezTo>
                <a:lnTo>
                  <a:pt x="44" y="344"/>
                </a:lnTo>
                <a:lnTo>
                  <a:pt x="44" y="346"/>
                </a:lnTo>
                <a:cubicBezTo>
                  <a:pt x="44" y="347"/>
                  <a:pt x="43" y="348"/>
                  <a:pt x="42" y="349"/>
                </a:cubicBezTo>
                <a:cubicBezTo>
                  <a:pt x="40" y="351"/>
                  <a:pt x="39" y="353"/>
                  <a:pt x="39" y="353"/>
                </a:cubicBezTo>
                <a:cubicBezTo>
                  <a:pt x="39" y="356"/>
                  <a:pt x="38" y="358"/>
                  <a:pt x="35" y="360"/>
                </a:cubicBezTo>
                <a:cubicBezTo>
                  <a:pt x="34" y="362"/>
                  <a:pt x="33" y="363"/>
                  <a:pt x="33" y="364"/>
                </a:cubicBezTo>
                <a:cubicBezTo>
                  <a:pt x="33" y="364"/>
                  <a:pt x="33" y="365"/>
                  <a:pt x="34" y="365"/>
                </a:cubicBezTo>
                <a:cubicBezTo>
                  <a:pt x="34" y="365"/>
                  <a:pt x="35" y="365"/>
                  <a:pt x="35" y="365"/>
                </a:cubicBezTo>
                <a:cubicBezTo>
                  <a:pt x="35" y="366"/>
                  <a:pt x="34" y="367"/>
                  <a:pt x="33" y="367"/>
                </a:cubicBezTo>
                <a:cubicBezTo>
                  <a:pt x="32" y="369"/>
                  <a:pt x="32" y="370"/>
                  <a:pt x="32" y="370"/>
                </a:cubicBezTo>
                <a:cubicBezTo>
                  <a:pt x="32" y="370"/>
                  <a:pt x="32" y="371"/>
                  <a:pt x="33" y="371"/>
                </a:cubicBezTo>
                <a:cubicBezTo>
                  <a:pt x="35" y="371"/>
                  <a:pt x="35" y="371"/>
                  <a:pt x="35" y="371"/>
                </a:cubicBezTo>
                <a:cubicBezTo>
                  <a:pt x="35" y="372"/>
                  <a:pt x="35" y="372"/>
                  <a:pt x="34" y="372"/>
                </a:cubicBezTo>
                <a:cubicBezTo>
                  <a:pt x="33" y="373"/>
                  <a:pt x="32" y="376"/>
                  <a:pt x="30" y="380"/>
                </a:cubicBezTo>
                <a:cubicBezTo>
                  <a:pt x="29" y="384"/>
                  <a:pt x="28" y="389"/>
                  <a:pt x="27" y="394"/>
                </a:cubicBezTo>
                <a:cubicBezTo>
                  <a:pt x="27" y="400"/>
                  <a:pt x="26" y="404"/>
                  <a:pt x="26" y="408"/>
                </a:cubicBezTo>
                <a:cubicBezTo>
                  <a:pt x="26" y="411"/>
                  <a:pt x="27" y="412"/>
                  <a:pt x="27" y="412"/>
                </a:cubicBezTo>
                <a:lnTo>
                  <a:pt x="28" y="412"/>
                </a:lnTo>
                <a:cubicBezTo>
                  <a:pt x="29" y="412"/>
                  <a:pt x="29" y="413"/>
                  <a:pt x="29" y="415"/>
                </a:cubicBezTo>
                <a:cubicBezTo>
                  <a:pt x="29" y="417"/>
                  <a:pt x="31" y="418"/>
                  <a:pt x="34" y="418"/>
                </a:cubicBezTo>
                <a:cubicBezTo>
                  <a:pt x="37" y="418"/>
                  <a:pt x="39" y="418"/>
                  <a:pt x="40" y="419"/>
                </a:cubicBezTo>
                <a:cubicBezTo>
                  <a:pt x="40" y="420"/>
                  <a:pt x="42" y="420"/>
                  <a:pt x="45" y="420"/>
                </a:cubicBezTo>
                <a:cubicBezTo>
                  <a:pt x="46" y="420"/>
                  <a:pt x="48" y="420"/>
                  <a:pt x="50" y="419"/>
                </a:cubicBezTo>
                <a:cubicBezTo>
                  <a:pt x="53" y="419"/>
                  <a:pt x="55" y="419"/>
                  <a:pt x="56" y="419"/>
                </a:cubicBezTo>
                <a:cubicBezTo>
                  <a:pt x="58" y="419"/>
                  <a:pt x="59" y="419"/>
                  <a:pt x="60" y="419"/>
                </a:cubicBezTo>
                <a:cubicBezTo>
                  <a:pt x="60" y="420"/>
                  <a:pt x="66" y="421"/>
                  <a:pt x="77" y="421"/>
                </a:cubicBezTo>
                <a:cubicBezTo>
                  <a:pt x="86" y="421"/>
                  <a:pt x="91" y="421"/>
                  <a:pt x="91" y="421"/>
                </a:cubicBezTo>
                <a:lnTo>
                  <a:pt x="91" y="421"/>
                </a:lnTo>
                <a:cubicBezTo>
                  <a:pt x="89" y="422"/>
                  <a:pt x="87" y="423"/>
                  <a:pt x="87" y="424"/>
                </a:cubicBezTo>
                <a:cubicBezTo>
                  <a:pt x="87" y="424"/>
                  <a:pt x="86" y="425"/>
                  <a:pt x="84" y="425"/>
                </a:cubicBezTo>
                <a:lnTo>
                  <a:pt x="83" y="424"/>
                </a:lnTo>
                <a:cubicBezTo>
                  <a:pt x="82" y="424"/>
                  <a:pt x="82" y="425"/>
                  <a:pt x="82" y="426"/>
                </a:cubicBezTo>
                <a:cubicBezTo>
                  <a:pt x="82" y="427"/>
                  <a:pt x="82" y="427"/>
                  <a:pt x="84" y="427"/>
                </a:cubicBezTo>
                <a:lnTo>
                  <a:pt x="97" y="426"/>
                </a:lnTo>
                <a:cubicBezTo>
                  <a:pt x="100" y="426"/>
                  <a:pt x="103" y="426"/>
                  <a:pt x="104" y="427"/>
                </a:cubicBezTo>
                <a:cubicBezTo>
                  <a:pt x="104" y="428"/>
                  <a:pt x="105" y="429"/>
                  <a:pt x="106" y="429"/>
                </a:cubicBezTo>
                <a:cubicBezTo>
                  <a:pt x="107" y="429"/>
                  <a:pt x="108" y="428"/>
                  <a:pt x="108" y="426"/>
                </a:cubicBezTo>
                <a:lnTo>
                  <a:pt x="105" y="427"/>
                </a:lnTo>
                <a:lnTo>
                  <a:pt x="106" y="426"/>
                </a:lnTo>
                <a:cubicBezTo>
                  <a:pt x="107" y="426"/>
                  <a:pt x="109" y="425"/>
                  <a:pt x="112" y="424"/>
                </a:cubicBezTo>
                <a:cubicBezTo>
                  <a:pt x="115" y="424"/>
                  <a:pt x="118" y="423"/>
                  <a:pt x="121" y="423"/>
                </a:cubicBezTo>
                <a:cubicBezTo>
                  <a:pt x="123" y="423"/>
                  <a:pt x="124" y="423"/>
                  <a:pt x="125" y="424"/>
                </a:cubicBezTo>
                <a:cubicBezTo>
                  <a:pt x="126" y="424"/>
                  <a:pt x="127" y="424"/>
                  <a:pt x="129" y="424"/>
                </a:cubicBezTo>
                <a:cubicBezTo>
                  <a:pt x="129" y="424"/>
                  <a:pt x="129" y="425"/>
                  <a:pt x="130" y="426"/>
                </a:cubicBezTo>
                <a:cubicBezTo>
                  <a:pt x="131" y="427"/>
                  <a:pt x="131" y="428"/>
                  <a:pt x="131" y="428"/>
                </a:cubicBezTo>
                <a:cubicBezTo>
                  <a:pt x="131" y="429"/>
                  <a:pt x="131" y="429"/>
                  <a:pt x="131" y="429"/>
                </a:cubicBezTo>
                <a:cubicBezTo>
                  <a:pt x="130" y="429"/>
                  <a:pt x="129" y="429"/>
                  <a:pt x="128" y="428"/>
                </a:cubicBezTo>
                <a:cubicBezTo>
                  <a:pt x="127" y="427"/>
                  <a:pt x="126" y="427"/>
                  <a:pt x="125" y="427"/>
                </a:cubicBezTo>
                <a:cubicBezTo>
                  <a:pt x="124" y="427"/>
                  <a:pt x="123" y="427"/>
                  <a:pt x="123" y="428"/>
                </a:cubicBezTo>
                <a:cubicBezTo>
                  <a:pt x="123" y="429"/>
                  <a:pt x="124" y="430"/>
                  <a:pt x="125" y="431"/>
                </a:cubicBezTo>
                <a:cubicBezTo>
                  <a:pt x="125" y="433"/>
                  <a:pt x="126" y="433"/>
                  <a:pt x="126" y="434"/>
                </a:cubicBezTo>
                <a:cubicBezTo>
                  <a:pt x="126" y="434"/>
                  <a:pt x="125" y="433"/>
                  <a:pt x="123" y="432"/>
                </a:cubicBezTo>
                <a:cubicBezTo>
                  <a:pt x="122" y="431"/>
                  <a:pt x="119" y="431"/>
                  <a:pt x="115" y="431"/>
                </a:cubicBezTo>
                <a:cubicBezTo>
                  <a:pt x="108" y="431"/>
                  <a:pt x="103" y="432"/>
                  <a:pt x="100" y="433"/>
                </a:cubicBezTo>
                <a:cubicBezTo>
                  <a:pt x="99" y="434"/>
                  <a:pt x="95" y="435"/>
                  <a:pt x="89" y="435"/>
                </a:cubicBezTo>
                <a:cubicBezTo>
                  <a:pt x="82" y="436"/>
                  <a:pt x="78" y="437"/>
                  <a:pt x="78" y="437"/>
                </a:cubicBezTo>
                <a:cubicBezTo>
                  <a:pt x="78" y="438"/>
                  <a:pt x="80" y="438"/>
                  <a:pt x="86" y="438"/>
                </a:cubicBezTo>
                <a:cubicBezTo>
                  <a:pt x="92" y="438"/>
                  <a:pt x="95" y="438"/>
                  <a:pt x="95" y="438"/>
                </a:cubicBezTo>
                <a:cubicBezTo>
                  <a:pt x="95" y="439"/>
                  <a:pt x="94" y="439"/>
                  <a:pt x="94" y="439"/>
                </a:cubicBezTo>
                <a:cubicBezTo>
                  <a:pt x="93" y="440"/>
                  <a:pt x="91" y="440"/>
                  <a:pt x="90" y="440"/>
                </a:cubicBezTo>
                <a:cubicBezTo>
                  <a:pt x="88" y="440"/>
                  <a:pt x="86" y="440"/>
                  <a:pt x="83" y="440"/>
                </a:cubicBezTo>
                <a:cubicBezTo>
                  <a:pt x="80" y="441"/>
                  <a:pt x="78" y="441"/>
                  <a:pt x="75" y="441"/>
                </a:cubicBezTo>
                <a:cubicBezTo>
                  <a:pt x="73" y="442"/>
                  <a:pt x="71" y="442"/>
                  <a:pt x="70" y="442"/>
                </a:cubicBezTo>
                <a:close/>
                <a:moveTo>
                  <a:pt x="307" y="53"/>
                </a:moveTo>
                <a:cubicBezTo>
                  <a:pt x="309" y="52"/>
                  <a:pt x="310" y="51"/>
                  <a:pt x="310" y="50"/>
                </a:cubicBezTo>
                <a:cubicBezTo>
                  <a:pt x="309" y="49"/>
                  <a:pt x="309" y="49"/>
                  <a:pt x="308" y="49"/>
                </a:cubicBezTo>
                <a:cubicBezTo>
                  <a:pt x="307" y="49"/>
                  <a:pt x="306" y="50"/>
                  <a:pt x="306" y="51"/>
                </a:cubicBezTo>
                <a:lnTo>
                  <a:pt x="306" y="52"/>
                </a:lnTo>
                <a:cubicBezTo>
                  <a:pt x="306" y="52"/>
                  <a:pt x="306" y="53"/>
                  <a:pt x="306" y="53"/>
                </a:cubicBezTo>
                <a:lnTo>
                  <a:pt x="307" y="53"/>
                </a:lnTo>
                <a:close/>
                <a:moveTo>
                  <a:pt x="298" y="59"/>
                </a:moveTo>
                <a:cubicBezTo>
                  <a:pt x="299" y="59"/>
                  <a:pt x="299" y="58"/>
                  <a:pt x="299" y="56"/>
                </a:cubicBezTo>
                <a:cubicBezTo>
                  <a:pt x="299" y="55"/>
                  <a:pt x="299" y="54"/>
                  <a:pt x="298" y="54"/>
                </a:cubicBezTo>
                <a:lnTo>
                  <a:pt x="298" y="54"/>
                </a:lnTo>
                <a:cubicBezTo>
                  <a:pt x="297" y="55"/>
                  <a:pt x="296" y="55"/>
                  <a:pt x="296" y="56"/>
                </a:cubicBezTo>
                <a:cubicBezTo>
                  <a:pt x="296" y="56"/>
                  <a:pt x="297" y="57"/>
                  <a:pt x="297" y="58"/>
                </a:cubicBezTo>
                <a:cubicBezTo>
                  <a:pt x="298" y="59"/>
                  <a:pt x="298" y="59"/>
                  <a:pt x="298" y="59"/>
                </a:cubicBezTo>
                <a:close/>
                <a:moveTo>
                  <a:pt x="66" y="277"/>
                </a:moveTo>
                <a:cubicBezTo>
                  <a:pt x="68" y="277"/>
                  <a:pt x="68" y="276"/>
                  <a:pt x="68" y="274"/>
                </a:cubicBezTo>
                <a:cubicBezTo>
                  <a:pt x="68" y="273"/>
                  <a:pt x="68" y="272"/>
                  <a:pt x="67" y="272"/>
                </a:cubicBezTo>
                <a:lnTo>
                  <a:pt x="66" y="272"/>
                </a:lnTo>
                <a:cubicBezTo>
                  <a:pt x="65" y="273"/>
                  <a:pt x="64" y="274"/>
                  <a:pt x="64" y="275"/>
                </a:cubicBezTo>
                <a:cubicBezTo>
                  <a:pt x="64" y="277"/>
                  <a:pt x="65" y="277"/>
                  <a:pt x="66" y="277"/>
                </a:cubicBezTo>
                <a:close/>
                <a:moveTo>
                  <a:pt x="32" y="342"/>
                </a:moveTo>
                <a:lnTo>
                  <a:pt x="34" y="340"/>
                </a:lnTo>
                <a:cubicBezTo>
                  <a:pt x="35" y="339"/>
                  <a:pt x="35" y="338"/>
                  <a:pt x="35" y="338"/>
                </a:cubicBezTo>
                <a:cubicBezTo>
                  <a:pt x="35" y="337"/>
                  <a:pt x="35" y="337"/>
                  <a:pt x="35" y="337"/>
                </a:cubicBezTo>
                <a:cubicBezTo>
                  <a:pt x="34" y="337"/>
                  <a:pt x="33" y="338"/>
                  <a:pt x="33" y="340"/>
                </a:cubicBezTo>
                <a:lnTo>
                  <a:pt x="32" y="342"/>
                </a:lnTo>
                <a:close/>
                <a:moveTo>
                  <a:pt x="12" y="385"/>
                </a:moveTo>
                <a:cubicBezTo>
                  <a:pt x="12" y="385"/>
                  <a:pt x="12" y="384"/>
                  <a:pt x="12" y="384"/>
                </a:cubicBezTo>
                <a:cubicBezTo>
                  <a:pt x="12" y="384"/>
                  <a:pt x="12" y="384"/>
                  <a:pt x="11" y="383"/>
                </a:cubicBezTo>
                <a:cubicBezTo>
                  <a:pt x="10" y="382"/>
                  <a:pt x="10" y="382"/>
                  <a:pt x="9" y="382"/>
                </a:cubicBezTo>
                <a:cubicBezTo>
                  <a:pt x="8" y="382"/>
                  <a:pt x="8" y="382"/>
                  <a:pt x="8" y="383"/>
                </a:cubicBezTo>
                <a:cubicBezTo>
                  <a:pt x="8" y="384"/>
                  <a:pt x="8" y="384"/>
                  <a:pt x="8" y="384"/>
                </a:cubicBezTo>
                <a:cubicBezTo>
                  <a:pt x="9" y="384"/>
                  <a:pt x="9" y="384"/>
                  <a:pt x="10" y="385"/>
                </a:cubicBezTo>
                <a:lnTo>
                  <a:pt x="12" y="385"/>
                </a:lnTo>
                <a:close/>
                <a:moveTo>
                  <a:pt x="13" y="366"/>
                </a:moveTo>
                <a:cubicBezTo>
                  <a:pt x="13" y="366"/>
                  <a:pt x="14" y="365"/>
                  <a:pt x="15" y="362"/>
                </a:cubicBezTo>
                <a:cubicBezTo>
                  <a:pt x="17" y="359"/>
                  <a:pt x="18" y="357"/>
                  <a:pt x="18" y="355"/>
                </a:cubicBezTo>
                <a:lnTo>
                  <a:pt x="18" y="355"/>
                </a:lnTo>
                <a:cubicBezTo>
                  <a:pt x="17" y="355"/>
                  <a:pt x="16" y="357"/>
                  <a:pt x="15" y="359"/>
                </a:cubicBezTo>
                <a:cubicBezTo>
                  <a:pt x="13" y="362"/>
                  <a:pt x="12" y="365"/>
                  <a:pt x="12" y="366"/>
                </a:cubicBezTo>
                <a:cubicBezTo>
                  <a:pt x="12" y="366"/>
                  <a:pt x="12" y="366"/>
                  <a:pt x="13" y="366"/>
                </a:cubicBezTo>
                <a:close/>
                <a:moveTo>
                  <a:pt x="20" y="345"/>
                </a:moveTo>
                <a:cubicBezTo>
                  <a:pt x="21" y="345"/>
                  <a:pt x="22" y="345"/>
                  <a:pt x="23" y="344"/>
                </a:cubicBezTo>
                <a:cubicBezTo>
                  <a:pt x="23" y="343"/>
                  <a:pt x="24" y="341"/>
                  <a:pt x="24" y="340"/>
                </a:cubicBezTo>
                <a:lnTo>
                  <a:pt x="24" y="339"/>
                </a:lnTo>
                <a:lnTo>
                  <a:pt x="23" y="339"/>
                </a:lnTo>
                <a:cubicBezTo>
                  <a:pt x="23" y="339"/>
                  <a:pt x="22" y="340"/>
                  <a:pt x="21" y="341"/>
                </a:cubicBezTo>
                <a:cubicBezTo>
                  <a:pt x="20" y="343"/>
                  <a:pt x="20" y="344"/>
                  <a:pt x="20" y="345"/>
                </a:cubicBezTo>
                <a:cubicBezTo>
                  <a:pt x="20" y="345"/>
                  <a:pt x="20" y="345"/>
                  <a:pt x="20" y="345"/>
                </a:cubicBezTo>
                <a:close/>
                <a:moveTo>
                  <a:pt x="95" y="213"/>
                </a:moveTo>
                <a:cubicBezTo>
                  <a:pt x="97" y="212"/>
                  <a:pt x="99" y="210"/>
                  <a:pt x="101" y="207"/>
                </a:cubicBezTo>
                <a:lnTo>
                  <a:pt x="103" y="203"/>
                </a:lnTo>
                <a:lnTo>
                  <a:pt x="103" y="203"/>
                </a:lnTo>
                <a:cubicBezTo>
                  <a:pt x="102" y="203"/>
                  <a:pt x="100" y="205"/>
                  <a:pt x="97" y="208"/>
                </a:cubicBezTo>
                <a:cubicBezTo>
                  <a:pt x="96" y="210"/>
                  <a:pt x="95" y="212"/>
                  <a:pt x="95" y="213"/>
                </a:cubicBezTo>
                <a:lnTo>
                  <a:pt x="95" y="213"/>
                </a:lnTo>
                <a:close/>
                <a:moveTo>
                  <a:pt x="106" y="195"/>
                </a:moveTo>
                <a:close/>
                <a:moveTo>
                  <a:pt x="84" y="275"/>
                </a:moveTo>
                <a:cubicBezTo>
                  <a:pt x="84" y="274"/>
                  <a:pt x="85" y="273"/>
                  <a:pt x="86" y="271"/>
                </a:cubicBezTo>
                <a:cubicBezTo>
                  <a:pt x="89" y="269"/>
                  <a:pt x="90" y="267"/>
                  <a:pt x="91" y="267"/>
                </a:cubicBezTo>
                <a:lnTo>
                  <a:pt x="91" y="267"/>
                </a:lnTo>
                <a:cubicBezTo>
                  <a:pt x="91" y="268"/>
                  <a:pt x="91" y="268"/>
                  <a:pt x="90" y="269"/>
                </a:cubicBezTo>
                <a:cubicBezTo>
                  <a:pt x="89" y="270"/>
                  <a:pt x="89" y="270"/>
                  <a:pt x="88" y="271"/>
                </a:cubicBezTo>
                <a:cubicBezTo>
                  <a:pt x="87" y="272"/>
                  <a:pt x="87" y="273"/>
                  <a:pt x="86" y="274"/>
                </a:cubicBezTo>
                <a:cubicBezTo>
                  <a:pt x="85" y="275"/>
                  <a:pt x="84" y="275"/>
                  <a:pt x="84" y="275"/>
                </a:cubicBezTo>
                <a:close/>
                <a:moveTo>
                  <a:pt x="63" y="283"/>
                </a:moveTo>
                <a:lnTo>
                  <a:pt x="64" y="283"/>
                </a:lnTo>
                <a:lnTo>
                  <a:pt x="63" y="283"/>
                </a:lnTo>
                <a:close/>
                <a:moveTo>
                  <a:pt x="107" y="195"/>
                </a:moveTo>
                <a:cubicBezTo>
                  <a:pt x="107" y="195"/>
                  <a:pt x="106" y="195"/>
                  <a:pt x="106" y="195"/>
                </a:cubicBezTo>
                <a:cubicBezTo>
                  <a:pt x="106" y="194"/>
                  <a:pt x="107" y="194"/>
                  <a:pt x="108" y="193"/>
                </a:cubicBezTo>
                <a:cubicBezTo>
                  <a:pt x="109" y="193"/>
                  <a:pt x="109" y="192"/>
                  <a:pt x="111" y="191"/>
                </a:cubicBezTo>
                <a:lnTo>
                  <a:pt x="112" y="189"/>
                </a:lnTo>
                <a:lnTo>
                  <a:pt x="113" y="190"/>
                </a:lnTo>
                <a:lnTo>
                  <a:pt x="110" y="192"/>
                </a:lnTo>
                <a:cubicBezTo>
                  <a:pt x="109" y="194"/>
                  <a:pt x="108" y="195"/>
                  <a:pt x="107" y="195"/>
                </a:cubicBezTo>
                <a:close/>
                <a:moveTo>
                  <a:pt x="356" y="38"/>
                </a:moveTo>
                <a:lnTo>
                  <a:pt x="353" y="38"/>
                </a:lnTo>
                <a:cubicBezTo>
                  <a:pt x="353" y="38"/>
                  <a:pt x="353" y="37"/>
                  <a:pt x="355" y="36"/>
                </a:cubicBezTo>
                <a:cubicBezTo>
                  <a:pt x="356" y="36"/>
                  <a:pt x="357" y="36"/>
                  <a:pt x="358" y="36"/>
                </a:cubicBezTo>
                <a:cubicBezTo>
                  <a:pt x="358" y="36"/>
                  <a:pt x="359" y="36"/>
                  <a:pt x="359" y="36"/>
                </a:cubicBezTo>
                <a:cubicBezTo>
                  <a:pt x="360" y="36"/>
                  <a:pt x="360" y="36"/>
                  <a:pt x="360" y="36"/>
                </a:cubicBezTo>
                <a:cubicBezTo>
                  <a:pt x="360" y="37"/>
                  <a:pt x="358" y="38"/>
                  <a:pt x="356" y="38"/>
                </a:cubicBezTo>
                <a:close/>
                <a:moveTo>
                  <a:pt x="411" y="709"/>
                </a:moveTo>
                <a:cubicBezTo>
                  <a:pt x="409" y="709"/>
                  <a:pt x="407" y="709"/>
                  <a:pt x="407" y="709"/>
                </a:cubicBezTo>
                <a:cubicBezTo>
                  <a:pt x="407" y="708"/>
                  <a:pt x="408" y="708"/>
                  <a:pt x="409" y="708"/>
                </a:cubicBezTo>
                <a:lnTo>
                  <a:pt x="411" y="707"/>
                </a:lnTo>
                <a:cubicBezTo>
                  <a:pt x="413" y="707"/>
                  <a:pt x="414" y="707"/>
                  <a:pt x="414" y="708"/>
                </a:cubicBezTo>
                <a:cubicBezTo>
                  <a:pt x="414" y="709"/>
                  <a:pt x="413" y="709"/>
                  <a:pt x="411" y="709"/>
                </a:cubicBezTo>
                <a:close/>
                <a:moveTo>
                  <a:pt x="383" y="743"/>
                </a:moveTo>
                <a:cubicBezTo>
                  <a:pt x="382" y="743"/>
                  <a:pt x="382" y="743"/>
                  <a:pt x="382" y="742"/>
                </a:cubicBezTo>
                <a:cubicBezTo>
                  <a:pt x="382" y="741"/>
                  <a:pt x="382" y="740"/>
                  <a:pt x="384" y="737"/>
                </a:cubicBezTo>
                <a:cubicBezTo>
                  <a:pt x="386" y="736"/>
                  <a:pt x="388" y="734"/>
                  <a:pt x="390" y="731"/>
                </a:cubicBezTo>
                <a:cubicBezTo>
                  <a:pt x="392" y="729"/>
                  <a:pt x="395" y="726"/>
                  <a:pt x="397" y="723"/>
                </a:cubicBezTo>
                <a:cubicBezTo>
                  <a:pt x="400" y="719"/>
                  <a:pt x="401" y="718"/>
                  <a:pt x="402" y="718"/>
                </a:cubicBezTo>
                <a:lnTo>
                  <a:pt x="402" y="718"/>
                </a:lnTo>
                <a:cubicBezTo>
                  <a:pt x="402" y="719"/>
                  <a:pt x="399" y="724"/>
                  <a:pt x="393" y="733"/>
                </a:cubicBezTo>
                <a:cubicBezTo>
                  <a:pt x="388" y="740"/>
                  <a:pt x="385" y="743"/>
                  <a:pt x="383" y="743"/>
                </a:cubicBezTo>
                <a:close/>
                <a:moveTo>
                  <a:pt x="501" y="558"/>
                </a:moveTo>
                <a:cubicBezTo>
                  <a:pt x="501" y="558"/>
                  <a:pt x="501" y="558"/>
                  <a:pt x="501" y="556"/>
                </a:cubicBezTo>
                <a:cubicBezTo>
                  <a:pt x="501" y="554"/>
                  <a:pt x="503" y="551"/>
                  <a:pt x="507" y="547"/>
                </a:cubicBezTo>
                <a:cubicBezTo>
                  <a:pt x="510" y="544"/>
                  <a:pt x="512" y="543"/>
                  <a:pt x="513" y="543"/>
                </a:cubicBezTo>
                <a:cubicBezTo>
                  <a:pt x="513" y="543"/>
                  <a:pt x="511" y="545"/>
                  <a:pt x="508" y="549"/>
                </a:cubicBezTo>
                <a:cubicBezTo>
                  <a:pt x="504" y="554"/>
                  <a:pt x="502" y="557"/>
                  <a:pt x="502" y="557"/>
                </a:cubicBezTo>
                <a:cubicBezTo>
                  <a:pt x="502" y="558"/>
                  <a:pt x="502" y="558"/>
                  <a:pt x="501" y="558"/>
                </a:cubicBezTo>
                <a:close/>
                <a:moveTo>
                  <a:pt x="350" y="649"/>
                </a:moveTo>
                <a:cubicBezTo>
                  <a:pt x="349" y="649"/>
                  <a:pt x="348" y="648"/>
                  <a:pt x="347" y="646"/>
                </a:cubicBezTo>
                <a:cubicBezTo>
                  <a:pt x="347" y="645"/>
                  <a:pt x="346" y="644"/>
                  <a:pt x="346" y="643"/>
                </a:cubicBezTo>
                <a:cubicBezTo>
                  <a:pt x="346" y="642"/>
                  <a:pt x="347" y="641"/>
                  <a:pt x="347" y="641"/>
                </a:cubicBezTo>
                <a:cubicBezTo>
                  <a:pt x="348" y="641"/>
                  <a:pt x="349" y="642"/>
                  <a:pt x="350" y="644"/>
                </a:cubicBezTo>
                <a:lnTo>
                  <a:pt x="350" y="648"/>
                </a:lnTo>
                <a:cubicBezTo>
                  <a:pt x="350" y="649"/>
                  <a:pt x="350" y="649"/>
                  <a:pt x="350" y="649"/>
                </a:cubicBezTo>
                <a:close/>
                <a:moveTo>
                  <a:pt x="444" y="634"/>
                </a:moveTo>
                <a:cubicBezTo>
                  <a:pt x="444" y="634"/>
                  <a:pt x="444" y="633"/>
                  <a:pt x="444" y="632"/>
                </a:cubicBezTo>
                <a:cubicBezTo>
                  <a:pt x="444" y="631"/>
                  <a:pt x="444" y="630"/>
                  <a:pt x="446" y="627"/>
                </a:cubicBezTo>
                <a:cubicBezTo>
                  <a:pt x="458" y="612"/>
                  <a:pt x="464" y="605"/>
                  <a:pt x="466" y="605"/>
                </a:cubicBezTo>
                <a:cubicBezTo>
                  <a:pt x="466" y="605"/>
                  <a:pt x="466" y="605"/>
                  <a:pt x="466" y="606"/>
                </a:cubicBezTo>
                <a:cubicBezTo>
                  <a:pt x="466" y="608"/>
                  <a:pt x="466" y="610"/>
                  <a:pt x="464" y="610"/>
                </a:cubicBezTo>
                <a:cubicBezTo>
                  <a:pt x="463" y="610"/>
                  <a:pt x="461" y="613"/>
                  <a:pt x="457" y="620"/>
                </a:cubicBezTo>
                <a:cubicBezTo>
                  <a:pt x="455" y="624"/>
                  <a:pt x="453" y="627"/>
                  <a:pt x="450" y="630"/>
                </a:cubicBezTo>
                <a:cubicBezTo>
                  <a:pt x="448" y="632"/>
                  <a:pt x="446" y="634"/>
                  <a:pt x="444" y="634"/>
                </a:cubicBezTo>
                <a:close/>
                <a:moveTo>
                  <a:pt x="419" y="673"/>
                </a:moveTo>
                <a:lnTo>
                  <a:pt x="419" y="672"/>
                </a:lnTo>
                <a:cubicBezTo>
                  <a:pt x="419" y="672"/>
                  <a:pt x="420" y="670"/>
                  <a:pt x="421" y="666"/>
                </a:cubicBezTo>
                <a:cubicBezTo>
                  <a:pt x="424" y="661"/>
                  <a:pt x="426" y="658"/>
                  <a:pt x="427" y="658"/>
                </a:cubicBezTo>
                <a:cubicBezTo>
                  <a:pt x="429" y="658"/>
                  <a:pt x="429" y="657"/>
                  <a:pt x="429" y="654"/>
                </a:cubicBezTo>
                <a:cubicBezTo>
                  <a:pt x="429" y="651"/>
                  <a:pt x="430" y="649"/>
                  <a:pt x="433" y="648"/>
                </a:cubicBezTo>
                <a:lnTo>
                  <a:pt x="434" y="648"/>
                </a:lnTo>
                <a:cubicBezTo>
                  <a:pt x="435" y="648"/>
                  <a:pt x="435" y="648"/>
                  <a:pt x="435" y="648"/>
                </a:cubicBezTo>
                <a:cubicBezTo>
                  <a:pt x="435" y="650"/>
                  <a:pt x="433" y="654"/>
                  <a:pt x="429" y="660"/>
                </a:cubicBezTo>
                <a:cubicBezTo>
                  <a:pt x="423" y="669"/>
                  <a:pt x="420" y="673"/>
                  <a:pt x="419" y="673"/>
                </a:cubicBezTo>
                <a:close/>
                <a:moveTo>
                  <a:pt x="351" y="666"/>
                </a:moveTo>
                <a:cubicBezTo>
                  <a:pt x="350" y="666"/>
                  <a:pt x="348" y="664"/>
                  <a:pt x="346" y="661"/>
                </a:cubicBezTo>
                <a:cubicBezTo>
                  <a:pt x="344" y="657"/>
                  <a:pt x="343" y="655"/>
                  <a:pt x="343" y="653"/>
                </a:cubicBezTo>
                <a:lnTo>
                  <a:pt x="343" y="653"/>
                </a:lnTo>
                <a:cubicBezTo>
                  <a:pt x="343" y="653"/>
                  <a:pt x="345" y="654"/>
                  <a:pt x="348" y="658"/>
                </a:cubicBezTo>
                <a:cubicBezTo>
                  <a:pt x="350" y="661"/>
                  <a:pt x="351" y="664"/>
                  <a:pt x="351" y="665"/>
                </a:cubicBezTo>
                <a:lnTo>
                  <a:pt x="351" y="666"/>
                </a:lnTo>
                <a:close/>
                <a:moveTo>
                  <a:pt x="353" y="639"/>
                </a:moveTo>
                <a:cubicBezTo>
                  <a:pt x="352" y="639"/>
                  <a:pt x="352" y="639"/>
                  <a:pt x="350" y="637"/>
                </a:cubicBezTo>
                <a:cubicBezTo>
                  <a:pt x="349" y="636"/>
                  <a:pt x="349" y="634"/>
                  <a:pt x="349" y="634"/>
                </a:cubicBezTo>
                <a:cubicBezTo>
                  <a:pt x="349" y="632"/>
                  <a:pt x="349" y="632"/>
                  <a:pt x="350" y="632"/>
                </a:cubicBezTo>
                <a:cubicBezTo>
                  <a:pt x="351" y="632"/>
                  <a:pt x="352" y="633"/>
                  <a:pt x="352" y="635"/>
                </a:cubicBezTo>
                <a:lnTo>
                  <a:pt x="353" y="639"/>
                </a:lnTo>
                <a:cubicBezTo>
                  <a:pt x="353" y="639"/>
                  <a:pt x="353" y="639"/>
                  <a:pt x="353" y="639"/>
                </a:cubicBezTo>
                <a:close/>
                <a:moveTo>
                  <a:pt x="568" y="652"/>
                </a:moveTo>
                <a:cubicBezTo>
                  <a:pt x="567" y="652"/>
                  <a:pt x="567" y="652"/>
                  <a:pt x="567" y="651"/>
                </a:cubicBezTo>
                <a:cubicBezTo>
                  <a:pt x="567" y="650"/>
                  <a:pt x="568" y="649"/>
                  <a:pt x="568" y="649"/>
                </a:cubicBezTo>
                <a:cubicBezTo>
                  <a:pt x="569" y="648"/>
                  <a:pt x="571" y="647"/>
                  <a:pt x="573" y="645"/>
                </a:cubicBezTo>
                <a:cubicBezTo>
                  <a:pt x="574" y="644"/>
                  <a:pt x="575" y="643"/>
                  <a:pt x="576" y="643"/>
                </a:cubicBezTo>
                <a:lnTo>
                  <a:pt x="573" y="647"/>
                </a:lnTo>
                <a:cubicBezTo>
                  <a:pt x="571" y="650"/>
                  <a:pt x="569" y="652"/>
                  <a:pt x="568" y="652"/>
                </a:cubicBezTo>
                <a:close/>
                <a:moveTo>
                  <a:pt x="347" y="679"/>
                </a:moveTo>
                <a:cubicBezTo>
                  <a:pt x="347" y="679"/>
                  <a:pt x="346" y="679"/>
                  <a:pt x="346" y="679"/>
                </a:cubicBezTo>
                <a:lnTo>
                  <a:pt x="345" y="678"/>
                </a:lnTo>
                <a:lnTo>
                  <a:pt x="345" y="674"/>
                </a:lnTo>
                <a:lnTo>
                  <a:pt x="341" y="665"/>
                </a:lnTo>
                <a:cubicBezTo>
                  <a:pt x="342" y="665"/>
                  <a:pt x="343" y="666"/>
                  <a:pt x="345" y="668"/>
                </a:cubicBezTo>
                <a:cubicBezTo>
                  <a:pt x="348" y="669"/>
                  <a:pt x="349" y="671"/>
                  <a:pt x="349" y="672"/>
                </a:cubicBezTo>
                <a:cubicBezTo>
                  <a:pt x="349" y="673"/>
                  <a:pt x="349" y="673"/>
                  <a:pt x="349" y="673"/>
                </a:cubicBezTo>
                <a:cubicBezTo>
                  <a:pt x="347" y="673"/>
                  <a:pt x="347" y="674"/>
                  <a:pt x="347" y="676"/>
                </a:cubicBezTo>
                <a:lnTo>
                  <a:pt x="348" y="679"/>
                </a:lnTo>
                <a:cubicBezTo>
                  <a:pt x="348" y="679"/>
                  <a:pt x="348" y="679"/>
                  <a:pt x="347" y="679"/>
                </a:cubicBezTo>
                <a:close/>
                <a:moveTo>
                  <a:pt x="430" y="421"/>
                </a:moveTo>
                <a:cubicBezTo>
                  <a:pt x="430" y="421"/>
                  <a:pt x="429" y="420"/>
                  <a:pt x="429" y="417"/>
                </a:cubicBezTo>
                <a:cubicBezTo>
                  <a:pt x="429" y="415"/>
                  <a:pt x="430" y="414"/>
                  <a:pt x="430" y="414"/>
                </a:cubicBezTo>
                <a:cubicBezTo>
                  <a:pt x="430" y="414"/>
                  <a:pt x="431" y="414"/>
                  <a:pt x="431" y="415"/>
                </a:cubicBezTo>
                <a:cubicBezTo>
                  <a:pt x="432" y="416"/>
                  <a:pt x="432" y="417"/>
                  <a:pt x="432" y="418"/>
                </a:cubicBezTo>
                <a:cubicBezTo>
                  <a:pt x="432" y="419"/>
                  <a:pt x="432" y="420"/>
                  <a:pt x="431" y="421"/>
                </a:cubicBezTo>
                <a:lnTo>
                  <a:pt x="430" y="421"/>
                </a:lnTo>
                <a:close/>
                <a:moveTo>
                  <a:pt x="330" y="808"/>
                </a:moveTo>
                <a:cubicBezTo>
                  <a:pt x="327" y="808"/>
                  <a:pt x="325" y="807"/>
                  <a:pt x="323" y="805"/>
                </a:cubicBezTo>
                <a:cubicBezTo>
                  <a:pt x="321" y="802"/>
                  <a:pt x="317" y="801"/>
                  <a:pt x="313" y="801"/>
                </a:cubicBezTo>
                <a:cubicBezTo>
                  <a:pt x="301" y="801"/>
                  <a:pt x="295" y="792"/>
                  <a:pt x="295" y="774"/>
                </a:cubicBezTo>
                <a:cubicBezTo>
                  <a:pt x="295" y="758"/>
                  <a:pt x="299" y="735"/>
                  <a:pt x="306" y="704"/>
                </a:cubicBezTo>
                <a:cubicBezTo>
                  <a:pt x="308" y="692"/>
                  <a:pt x="309" y="684"/>
                  <a:pt x="309" y="680"/>
                </a:cubicBezTo>
                <a:cubicBezTo>
                  <a:pt x="309" y="678"/>
                  <a:pt x="309" y="677"/>
                  <a:pt x="308" y="677"/>
                </a:cubicBezTo>
                <a:cubicBezTo>
                  <a:pt x="307" y="676"/>
                  <a:pt x="307" y="676"/>
                  <a:pt x="306" y="675"/>
                </a:cubicBezTo>
                <a:cubicBezTo>
                  <a:pt x="306" y="674"/>
                  <a:pt x="306" y="672"/>
                  <a:pt x="306" y="671"/>
                </a:cubicBezTo>
                <a:cubicBezTo>
                  <a:pt x="306" y="669"/>
                  <a:pt x="306" y="667"/>
                  <a:pt x="306" y="667"/>
                </a:cubicBezTo>
                <a:cubicBezTo>
                  <a:pt x="307" y="667"/>
                  <a:pt x="308" y="668"/>
                  <a:pt x="309" y="670"/>
                </a:cubicBezTo>
                <a:cubicBezTo>
                  <a:pt x="310" y="672"/>
                  <a:pt x="311" y="673"/>
                  <a:pt x="312" y="673"/>
                </a:cubicBezTo>
                <a:cubicBezTo>
                  <a:pt x="313" y="673"/>
                  <a:pt x="314" y="672"/>
                  <a:pt x="314" y="670"/>
                </a:cubicBezTo>
                <a:cubicBezTo>
                  <a:pt x="314" y="669"/>
                  <a:pt x="313" y="668"/>
                  <a:pt x="312" y="666"/>
                </a:cubicBezTo>
                <a:cubicBezTo>
                  <a:pt x="311" y="665"/>
                  <a:pt x="310" y="664"/>
                  <a:pt x="309" y="663"/>
                </a:cubicBezTo>
                <a:cubicBezTo>
                  <a:pt x="309" y="661"/>
                  <a:pt x="308" y="661"/>
                  <a:pt x="308" y="660"/>
                </a:cubicBezTo>
                <a:cubicBezTo>
                  <a:pt x="308" y="659"/>
                  <a:pt x="309" y="659"/>
                  <a:pt x="309" y="659"/>
                </a:cubicBezTo>
                <a:cubicBezTo>
                  <a:pt x="310" y="659"/>
                  <a:pt x="310" y="659"/>
                  <a:pt x="311" y="659"/>
                </a:cubicBezTo>
                <a:cubicBezTo>
                  <a:pt x="312" y="659"/>
                  <a:pt x="312" y="660"/>
                  <a:pt x="313" y="660"/>
                </a:cubicBezTo>
                <a:cubicBezTo>
                  <a:pt x="315" y="660"/>
                  <a:pt x="316" y="659"/>
                  <a:pt x="316" y="657"/>
                </a:cubicBezTo>
                <a:cubicBezTo>
                  <a:pt x="316" y="656"/>
                  <a:pt x="315" y="655"/>
                  <a:pt x="315" y="655"/>
                </a:cubicBezTo>
                <a:cubicBezTo>
                  <a:pt x="314" y="655"/>
                  <a:pt x="313" y="655"/>
                  <a:pt x="313" y="654"/>
                </a:cubicBezTo>
                <a:cubicBezTo>
                  <a:pt x="313" y="653"/>
                  <a:pt x="314" y="652"/>
                  <a:pt x="316" y="649"/>
                </a:cubicBezTo>
                <a:cubicBezTo>
                  <a:pt x="318" y="647"/>
                  <a:pt x="318" y="646"/>
                  <a:pt x="318" y="645"/>
                </a:cubicBezTo>
                <a:cubicBezTo>
                  <a:pt x="318" y="644"/>
                  <a:pt x="318" y="644"/>
                  <a:pt x="318" y="644"/>
                </a:cubicBezTo>
                <a:cubicBezTo>
                  <a:pt x="315" y="643"/>
                  <a:pt x="314" y="640"/>
                  <a:pt x="314" y="637"/>
                </a:cubicBezTo>
                <a:cubicBezTo>
                  <a:pt x="314" y="634"/>
                  <a:pt x="315" y="631"/>
                  <a:pt x="317" y="628"/>
                </a:cubicBezTo>
                <a:lnTo>
                  <a:pt x="318" y="626"/>
                </a:lnTo>
                <a:cubicBezTo>
                  <a:pt x="319" y="626"/>
                  <a:pt x="319" y="626"/>
                  <a:pt x="319" y="627"/>
                </a:cubicBezTo>
                <a:cubicBezTo>
                  <a:pt x="319" y="628"/>
                  <a:pt x="319" y="629"/>
                  <a:pt x="318" y="632"/>
                </a:cubicBezTo>
                <a:cubicBezTo>
                  <a:pt x="318" y="634"/>
                  <a:pt x="318" y="637"/>
                  <a:pt x="318" y="638"/>
                </a:cubicBezTo>
                <a:cubicBezTo>
                  <a:pt x="318" y="639"/>
                  <a:pt x="318" y="639"/>
                  <a:pt x="318" y="639"/>
                </a:cubicBezTo>
                <a:cubicBezTo>
                  <a:pt x="320" y="638"/>
                  <a:pt x="320" y="637"/>
                  <a:pt x="320" y="636"/>
                </a:cubicBezTo>
                <a:cubicBezTo>
                  <a:pt x="320" y="634"/>
                  <a:pt x="321" y="633"/>
                  <a:pt x="321" y="632"/>
                </a:cubicBezTo>
                <a:cubicBezTo>
                  <a:pt x="322" y="631"/>
                  <a:pt x="322" y="630"/>
                  <a:pt x="322" y="629"/>
                </a:cubicBezTo>
                <a:cubicBezTo>
                  <a:pt x="323" y="628"/>
                  <a:pt x="323" y="628"/>
                  <a:pt x="323" y="627"/>
                </a:cubicBezTo>
                <a:cubicBezTo>
                  <a:pt x="324" y="626"/>
                  <a:pt x="324" y="624"/>
                  <a:pt x="324" y="623"/>
                </a:cubicBezTo>
                <a:cubicBezTo>
                  <a:pt x="324" y="622"/>
                  <a:pt x="324" y="622"/>
                  <a:pt x="323" y="621"/>
                </a:cubicBezTo>
                <a:cubicBezTo>
                  <a:pt x="322" y="621"/>
                  <a:pt x="321" y="619"/>
                  <a:pt x="321" y="617"/>
                </a:cubicBezTo>
                <a:cubicBezTo>
                  <a:pt x="321" y="614"/>
                  <a:pt x="322" y="610"/>
                  <a:pt x="323" y="605"/>
                </a:cubicBezTo>
                <a:cubicBezTo>
                  <a:pt x="326" y="592"/>
                  <a:pt x="329" y="584"/>
                  <a:pt x="332" y="581"/>
                </a:cubicBezTo>
                <a:lnTo>
                  <a:pt x="334" y="579"/>
                </a:lnTo>
                <a:lnTo>
                  <a:pt x="332" y="585"/>
                </a:lnTo>
                <a:cubicBezTo>
                  <a:pt x="332" y="585"/>
                  <a:pt x="333" y="585"/>
                  <a:pt x="334" y="584"/>
                </a:cubicBezTo>
                <a:cubicBezTo>
                  <a:pt x="336" y="583"/>
                  <a:pt x="336" y="582"/>
                  <a:pt x="336" y="581"/>
                </a:cubicBezTo>
                <a:cubicBezTo>
                  <a:pt x="336" y="580"/>
                  <a:pt x="335" y="578"/>
                  <a:pt x="334" y="577"/>
                </a:cubicBezTo>
                <a:cubicBezTo>
                  <a:pt x="333" y="575"/>
                  <a:pt x="332" y="574"/>
                  <a:pt x="332" y="574"/>
                </a:cubicBezTo>
                <a:cubicBezTo>
                  <a:pt x="332" y="573"/>
                  <a:pt x="332" y="573"/>
                  <a:pt x="332" y="573"/>
                </a:cubicBezTo>
                <a:lnTo>
                  <a:pt x="335" y="574"/>
                </a:lnTo>
                <a:cubicBezTo>
                  <a:pt x="335" y="574"/>
                  <a:pt x="336" y="574"/>
                  <a:pt x="337" y="573"/>
                </a:cubicBezTo>
                <a:cubicBezTo>
                  <a:pt x="338" y="572"/>
                  <a:pt x="338" y="571"/>
                  <a:pt x="338" y="570"/>
                </a:cubicBezTo>
                <a:cubicBezTo>
                  <a:pt x="338" y="568"/>
                  <a:pt x="338" y="568"/>
                  <a:pt x="337" y="568"/>
                </a:cubicBezTo>
                <a:cubicBezTo>
                  <a:pt x="335" y="567"/>
                  <a:pt x="334" y="567"/>
                  <a:pt x="334" y="567"/>
                </a:cubicBezTo>
                <a:cubicBezTo>
                  <a:pt x="334" y="566"/>
                  <a:pt x="335" y="565"/>
                  <a:pt x="337" y="564"/>
                </a:cubicBezTo>
                <a:cubicBezTo>
                  <a:pt x="338" y="563"/>
                  <a:pt x="339" y="562"/>
                  <a:pt x="339" y="560"/>
                </a:cubicBezTo>
                <a:cubicBezTo>
                  <a:pt x="339" y="559"/>
                  <a:pt x="339" y="559"/>
                  <a:pt x="339" y="558"/>
                </a:cubicBezTo>
                <a:cubicBezTo>
                  <a:pt x="338" y="557"/>
                  <a:pt x="338" y="557"/>
                  <a:pt x="338" y="557"/>
                </a:cubicBezTo>
                <a:cubicBezTo>
                  <a:pt x="338" y="556"/>
                  <a:pt x="339" y="555"/>
                  <a:pt x="340" y="555"/>
                </a:cubicBezTo>
                <a:cubicBezTo>
                  <a:pt x="341" y="555"/>
                  <a:pt x="342" y="555"/>
                  <a:pt x="342" y="554"/>
                </a:cubicBezTo>
                <a:lnTo>
                  <a:pt x="341" y="551"/>
                </a:lnTo>
                <a:cubicBezTo>
                  <a:pt x="341" y="550"/>
                  <a:pt x="342" y="549"/>
                  <a:pt x="343" y="548"/>
                </a:cubicBezTo>
                <a:cubicBezTo>
                  <a:pt x="345" y="548"/>
                  <a:pt x="345" y="547"/>
                  <a:pt x="345" y="546"/>
                </a:cubicBezTo>
                <a:cubicBezTo>
                  <a:pt x="345" y="545"/>
                  <a:pt x="345" y="543"/>
                  <a:pt x="343" y="541"/>
                </a:cubicBezTo>
                <a:cubicBezTo>
                  <a:pt x="342" y="539"/>
                  <a:pt x="341" y="538"/>
                  <a:pt x="341" y="537"/>
                </a:cubicBezTo>
                <a:lnTo>
                  <a:pt x="342" y="538"/>
                </a:lnTo>
                <a:cubicBezTo>
                  <a:pt x="342" y="538"/>
                  <a:pt x="343" y="539"/>
                  <a:pt x="343" y="539"/>
                </a:cubicBezTo>
                <a:cubicBezTo>
                  <a:pt x="345" y="539"/>
                  <a:pt x="346" y="538"/>
                  <a:pt x="348" y="536"/>
                </a:cubicBezTo>
                <a:cubicBezTo>
                  <a:pt x="349" y="535"/>
                  <a:pt x="350" y="532"/>
                  <a:pt x="350" y="530"/>
                </a:cubicBezTo>
                <a:cubicBezTo>
                  <a:pt x="350" y="529"/>
                  <a:pt x="351" y="527"/>
                  <a:pt x="352" y="526"/>
                </a:cubicBezTo>
                <a:cubicBezTo>
                  <a:pt x="353" y="525"/>
                  <a:pt x="353" y="523"/>
                  <a:pt x="353" y="521"/>
                </a:cubicBezTo>
                <a:cubicBezTo>
                  <a:pt x="353" y="517"/>
                  <a:pt x="352" y="514"/>
                  <a:pt x="352" y="514"/>
                </a:cubicBezTo>
                <a:lnTo>
                  <a:pt x="350" y="513"/>
                </a:lnTo>
                <a:cubicBezTo>
                  <a:pt x="349" y="513"/>
                  <a:pt x="349" y="514"/>
                  <a:pt x="349" y="515"/>
                </a:cubicBezTo>
                <a:lnTo>
                  <a:pt x="350" y="521"/>
                </a:lnTo>
                <a:cubicBezTo>
                  <a:pt x="350" y="523"/>
                  <a:pt x="348" y="525"/>
                  <a:pt x="346" y="526"/>
                </a:cubicBezTo>
                <a:cubicBezTo>
                  <a:pt x="344" y="527"/>
                  <a:pt x="343" y="528"/>
                  <a:pt x="343" y="528"/>
                </a:cubicBezTo>
                <a:cubicBezTo>
                  <a:pt x="343" y="529"/>
                  <a:pt x="344" y="530"/>
                  <a:pt x="346" y="531"/>
                </a:cubicBezTo>
                <a:cubicBezTo>
                  <a:pt x="347" y="532"/>
                  <a:pt x="348" y="533"/>
                  <a:pt x="348" y="533"/>
                </a:cubicBezTo>
                <a:lnTo>
                  <a:pt x="347" y="533"/>
                </a:lnTo>
                <a:cubicBezTo>
                  <a:pt x="342" y="533"/>
                  <a:pt x="339" y="532"/>
                  <a:pt x="339" y="531"/>
                </a:cubicBezTo>
                <a:cubicBezTo>
                  <a:pt x="339" y="531"/>
                  <a:pt x="340" y="529"/>
                  <a:pt x="342" y="527"/>
                </a:cubicBezTo>
                <a:cubicBezTo>
                  <a:pt x="344" y="524"/>
                  <a:pt x="345" y="521"/>
                  <a:pt x="345" y="518"/>
                </a:cubicBezTo>
                <a:cubicBezTo>
                  <a:pt x="345" y="517"/>
                  <a:pt x="345" y="516"/>
                  <a:pt x="345" y="515"/>
                </a:cubicBezTo>
                <a:cubicBezTo>
                  <a:pt x="345" y="514"/>
                  <a:pt x="344" y="513"/>
                  <a:pt x="344" y="513"/>
                </a:cubicBezTo>
                <a:cubicBezTo>
                  <a:pt x="344" y="511"/>
                  <a:pt x="345" y="511"/>
                  <a:pt x="345" y="511"/>
                </a:cubicBezTo>
                <a:lnTo>
                  <a:pt x="347" y="512"/>
                </a:lnTo>
                <a:cubicBezTo>
                  <a:pt x="348" y="512"/>
                  <a:pt x="348" y="511"/>
                  <a:pt x="348" y="510"/>
                </a:cubicBezTo>
                <a:cubicBezTo>
                  <a:pt x="348" y="509"/>
                  <a:pt x="348" y="508"/>
                  <a:pt x="348" y="507"/>
                </a:cubicBezTo>
                <a:cubicBezTo>
                  <a:pt x="347" y="505"/>
                  <a:pt x="347" y="504"/>
                  <a:pt x="347" y="503"/>
                </a:cubicBezTo>
                <a:cubicBezTo>
                  <a:pt x="347" y="502"/>
                  <a:pt x="347" y="501"/>
                  <a:pt x="349" y="501"/>
                </a:cubicBezTo>
                <a:cubicBezTo>
                  <a:pt x="350" y="501"/>
                  <a:pt x="351" y="500"/>
                  <a:pt x="351" y="497"/>
                </a:cubicBezTo>
                <a:cubicBezTo>
                  <a:pt x="351" y="497"/>
                  <a:pt x="351" y="496"/>
                  <a:pt x="350" y="495"/>
                </a:cubicBezTo>
                <a:cubicBezTo>
                  <a:pt x="350" y="494"/>
                  <a:pt x="350" y="493"/>
                  <a:pt x="350" y="493"/>
                </a:cubicBezTo>
                <a:cubicBezTo>
                  <a:pt x="350" y="492"/>
                  <a:pt x="350" y="492"/>
                  <a:pt x="350" y="492"/>
                </a:cubicBezTo>
                <a:lnTo>
                  <a:pt x="354" y="493"/>
                </a:lnTo>
                <a:cubicBezTo>
                  <a:pt x="355" y="493"/>
                  <a:pt x="356" y="492"/>
                  <a:pt x="356" y="492"/>
                </a:cubicBezTo>
                <a:cubicBezTo>
                  <a:pt x="356" y="491"/>
                  <a:pt x="356" y="490"/>
                  <a:pt x="355" y="489"/>
                </a:cubicBezTo>
                <a:cubicBezTo>
                  <a:pt x="355" y="489"/>
                  <a:pt x="355" y="488"/>
                  <a:pt x="355" y="488"/>
                </a:cubicBezTo>
                <a:cubicBezTo>
                  <a:pt x="355" y="486"/>
                  <a:pt x="356" y="485"/>
                  <a:pt x="357" y="485"/>
                </a:cubicBezTo>
                <a:cubicBezTo>
                  <a:pt x="358" y="485"/>
                  <a:pt x="359" y="485"/>
                  <a:pt x="359" y="484"/>
                </a:cubicBezTo>
                <a:cubicBezTo>
                  <a:pt x="359" y="484"/>
                  <a:pt x="358" y="482"/>
                  <a:pt x="357" y="480"/>
                </a:cubicBezTo>
                <a:cubicBezTo>
                  <a:pt x="356" y="478"/>
                  <a:pt x="355" y="477"/>
                  <a:pt x="355" y="477"/>
                </a:cubicBezTo>
                <a:cubicBezTo>
                  <a:pt x="355" y="477"/>
                  <a:pt x="355" y="476"/>
                  <a:pt x="355" y="476"/>
                </a:cubicBezTo>
                <a:lnTo>
                  <a:pt x="356" y="477"/>
                </a:lnTo>
                <a:cubicBezTo>
                  <a:pt x="356" y="477"/>
                  <a:pt x="357" y="477"/>
                  <a:pt x="357" y="477"/>
                </a:cubicBezTo>
                <a:cubicBezTo>
                  <a:pt x="358" y="477"/>
                  <a:pt x="360" y="475"/>
                  <a:pt x="362" y="469"/>
                </a:cubicBezTo>
                <a:cubicBezTo>
                  <a:pt x="363" y="464"/>
                  <a:pt x="367" y="454"/>
                  <a:pt x="371" y="440"/>
                </a:cubicBezTo>
                <a:lnTo>
                  <a:pt x="372" y="437"/>
                </a:lnTo>
                <a:cubicBezTo>
                  <a:pt x="371" y="437"/>
                  <a:pt x="370" y="438"/>
                  <a:pt x="369" y="440"/>
                </a:cubicBezTo>
                <a:cubicBezTo>
                  <a:pt x="368" y="442"/>
                  <a:pt x="367" y="443"/>
                  <a:pt x="366" y="443"/>
                </a:cubicBezTo>
                <a:cubicBezTo>
                  <a:pt x="366" y="443"/>
                  <a:pt x="366" y="443"/>
                  <a:pt x="366" y="442"/>
                </a:cubicBezTo>
                <a:cubicBezTo>
                  <a:pt x="366" y="441"/>
                  <a:pt x="367" y="437"/>
                  <a:pt x="369" y="431"/>
                </a:cubicBezTo>
                <a:cubicBezTo>
                  <a:pt x="371" y="426"/>
                  <a:pt x="373" y="423"/>
                  <a:pt x="375" y="423"/>
                </a:cubicBezTo>
                <a:lnTo>
                  <a:pt x="375" y="424"/>
                </a:lnTo>
                <a:cubicBezTo>
                  <a:pt x="376" y="424"/>
                  <a:pt x="376" y="423"/>
                  <a:pt x="376" y="422"/>
                </a:cubicBezTo>
                <a:cubicBezTo>
                  <a:pt x="376" y="421"/>
                  <a:pt x="376" y="421"/>
                  <a:pt x="375" y="419"/>
                </a:cubicBezTo>
                <a:cubicBezTo>
                  <a:pt x="375" y="418"/>
                  <a:pt x="375" y="417"/>
                  <a:pt x="375" y="417"/>
                </a:cubicBezTo>
                <a:cubicBezTo>
                  <a:pt x="375" y="416"/>
                  <a:pt x="375" y="416"/>
                  <a:pt x="375" y="416"/>
                </a:cubicBezTo>
                <a:lnTo>
                  <a:pt x="378" y="417"/>
                </a:lnTo>
                <a:cubicBezTo>
                  <a:pt x="379" y="417"/>
                  <a:pt x="379" y="417"/>
                  <a:pt x="379" y="416"/>
                </a:cubicBezTo>
                <a:cubicBezTo>
                  <a:pt x="379" y="415"/>
                  <a:pt x="379" y="415"/>
                  <a:pt x="379" y="414"/>
                </a:cubicBezTo>
                <a:cubicBezTo>
                  <a:pt x="379" y="414"/>
                  <a:pt x="378" y="413"/>
                  <a:pt x="378" y="411"/>
                </a:cubicBezTo>
                <a:cubicBezTo>
                  <a:pt x="378" y="408"/>
                  <a:pt x="380" y="404"/>
                  <a:pt x="383" y="399"/>
                </a:cubicBezTo>
                <a:cubicBezTo>
                  <a:pt x="386" y="393"/>
                  <a:pt x="390" y="389"/>
                  <a:pt x="393" y="389"/>
                </a:cubicBezTo>
                <a:cubicBezTo>
                  <a:pt x="395" y="389"/>
                  <a:pt x="398" y="390"/>
                  <a:pt x="400" y="391"/>
                </a:cubicBezTo>
                <a:cubicBezTo>
                  <a:pt x="402" y="393"/>
                  <a:pt x="402" y="394"/>
                  <a:pt x="402" y="396"/>
                </a:cubicBezTo>
                <a:cubicBezTo>
                  <a:pt x="402" y="397"/>
                  <a:pt x="402" y="397"/>
                  <a:pt x="402" y="398"/>
                </a:cubicBezTo>
                <a:cubicBezTo>
                  <a:pt x="402" y="398"/>
                  <a:pt x="401" y="399"/>
                  <a:pt x="401" y="399"/>
                </a:cubicBezTo>
                <a:cubicBezTo>
                  <a:pt x="401" y="400"/>
                  <a:pt x="402" y="400"/>
                  <a:pt x="403" y="400"/>
                </a:cubicBezTo>
                <a:cubicBezTo>
                  <a:pt x="404" y="400"/>
                  <a:pt x="405" y="400"/>
                  <a:pt x="406" y="399"/>
                </a:cubicBezTo>
                <a:cubicBezTo>
                  <a:pt x="407" y="398"/>
                  <a:pt x="408" y="397"/>
                  <a:pt x="409" y="394"/>
                </a:cubicBezTo>
                <a:cubicBezTo>
                  <a:pt x="410" y="393"/>
                  <a:pt x="411" y="392"/>
                  <a:pt x="411" y="392"/>
                </a:cubicBezTo>
                <a:cubicBezTo>
                  <a:pt x="412" y="392"/>
                  <a:pt x="412" y="394"/>
                  <a:pt x="412" y="399"/>
                </a:cubicBezTo>
                <a:cubicBezTo>
                  <a:pt x="412" y="403"/>
                  <a:pt x="413" y="406"/>
                  <a:pt x="415" y="406"/>
                </a:cubicBezTo>
                <a:cubicBezTo>
                  <a:pt x="418" y="406"/>
                  <a:pt x="419" y="409"/>
                  <a:pt x="419" y="415"/>
                </a:cubicBezTo>
                <a:cubicBezTo>
                  <a:pt x="419" y="421"/>
                  <a:pt x="417" y="427"/>
                  <a:pt x="414" y="434"/>
                </a:cubicBezTo>
                <a:cubicBezTo>
                  <a:pt x="412" y="438"/>
                  <a:pt x="411" y="441"/>
                  <a:pt x="411" y="443"/>
                </a:cubicBezTo>
                <a:lnTo>
                  <a:pt x="411" y="444"/>
                </a:lnTo>
                <a:cubicBezTo>
                  <a:pt x="411" y="447"/>
                  <a:pt x="410" y="449"/>
                  <a:pt x="408" y="452"/>
                </a:cubicBezTo>
                <a:cubicBezTo>
                  <a:pt x="405" y="455"/>
                  <a:pt x="404" y="456"/>
                  <a:pt x="404" y="457"/>
                </a:cubicBezTo>
                <a:lnTo>
                  <a:pt x="406" y="456"/>
                </a:lnTo>
                <a:cubicBezTo>
                  <a:pt x="407" y="456"/>
                  <a:pt x="407" y="457"/>
                  <a:pt x="407" y="458"/>
                </a:cubicBezTo>
                <a:cubicBezTo>
                  <a:pt x="407" y="460"/>
                  <a:pt x="406" y="462"/>
                  <a:pt x="405" y="466"/>
                </a:cubicBezTo>
                <a:cubicBezTo>
                  <a:pt x="404" y="470"/>
                  <a:pt x="402" y="473"/>
                  <a:pt x="400" y="475"/>
                </a:cubicBezTo>
                <a:cubicBezTo>
                  <a:pt x="399" y="477"/>
                  <a:pt x="399" y="478"/>
                  <a:pt x="399" y="478"/>
                </a:cubicBezTo>
                <a:cubicBezTo>
                  <a:pt x="399" y="479"/>
                  <a:pt x="399" y="479"/>
                  <a:pt x="399" y="479"/>
                </a:cubicBezTo>
                <a:cubicBezTo>
                  <a:pt x="399" y="479"/>
                  <a:pt x="399" y="480"/>
                  <a:pt x="399" y="480"/>
                </a:cubicBezTo>
                <a:cubicBezTo>
                  <a:pt x="399" y="480"/>
                  <a:pt x="399" y="482"/>
                  <a:pt x="397" y="483"/>
                </a:cubicBezTo>
                <a:cubicBezTo>
                  <a:pt x="396" y="485"/>
                  <a:pt x="395" y="487"/>
                  <a:pt x="395" y="489"/>
                </a:cubicBezTo>
                <a:cubicBezTo>
                  <a:pt x="395" y="490"/>
                  <a:pt x="396" y="491"/>
                  <a:pt x="396" y="492"/>
                </a:cubicBezTo>
                <a:cubicBezTo>
                  <a:pt x="397" y="492"/>
                  <a:pt x="397" y="493"/>
                  <a:pt x="397" y="493"/>
                </a:cubicBezTo>
                <a:cubicBezTo>
                  <a:pt x="397" y="494"/>
                  <a:pt x="397" y="494"/>
                  <a:pt x="397" y="494"/>
                </a:cubicBezTo>
                <a:cubicBezTo>
                  <a:pt x="396" y="494"/>
                  <a:pt x="396" y="494"/>
                  <a:pt x="395" y="493"/>
                </a:cubicBezTo>
                <a:cubicBezTo>
                  <a:pt x="394" y="493"/>
                  <a:pt x="394" y="492"/>
                  <a:pt x="393" y="492"/>
                </a:cubicBezTo>
                <a:cubicBezTo>
                  <a:pt x="392" y="492"/>
                  <a:pt x="392" y="498"/>
                  <a:pt x="391" y="509"/>
                </a:cubicBezTo>
                <a:cubicBezTo>
                  <a:pt x="390" y="514"/>
                  <a:pt x="389" y="517"/>
                  <a:pt x="387" y="518"/>
                </a:cubicBezTo>
                <a:cubicBezTo>
                  <a:pt x="385" y="520"/>
                  <a:pt x="384" y="522"/>
                  <a:pt x="384" y="524"/>
                </a:cubicBezTo>
                <a:lnTo>
                  <a:pt x="385" y="528"/>
                </a:lnTo>
                <a:cubicBezTo>
                  <a:pt x="385" y="530"/>
                  <a:pt x="384" y="530"/>
                  <a:pt x="383" y="531"/>
                </a:cubicBezTo>
                <a:cubicBezTo>
                  <a:pt x="381" y="531"/>
                  <a:pt x="381" y="532"/>
                  <a:pt x="381" y="534"/>
                </a:cubicBezTo>
                <a:lnTo>
                  <a:pt x="382" y="538"/>
                </a:lnTo>
                <a:cubicBezTo>
                  <a:pt x="382" y="539"/>
                  <a:pt x="381" y="540"/>
                  <a:pt x="380" y="540"/>
                </a:cubicBezTo>
                <a:cubicBezTo>
                  <a:pt x="379" y="540"/>
                  <a:pt x="378" y="541"/>
                  <a:pt x="377" y="544"/>
                </a:cubicBezTo>
                <a:cubicBezTo>
                  <a:pt x="375" y="546"/>
                  <a:pt x="375" y="549"/>
                  <a:pt x="374" y="553"/>
                </a:cubicBezTo>
                <a:cubicBezTo>
                  <a:pt x="373" y="556"/>
                  <a:pt x="373" y="559"/>
                  <a:pt x="373" y="561"/>
                </a:cubicBezTo>
                <a:cubicBezTo>
                  <a:pt x="373" y="562"/>
                  <a:pt x="373" y="563"/>
                  <a:pt x="373" y="563"/>
                </a:cubicBezTo>
                <a:cubicBezTo>
                  <a:pt x="374" y="564"/>
                  <a:pt x="374" y="565"/>
                  <a:pt x="374" y="565"/>
                </a:cubicBezTo>
                <a:cubicBezTo>
                  <a:pt x="374" y="566"/>
                  <a:pt x="373" y="567"/>
                  <a:pt x="371" y="568"/>
                </a:cubicBezTo>
                <a:cubicBezTo>
                  <a:pt x="370" y="568"/>
                  <a:pt x="369" y="572"/>
                  <a:pt x="368" y="578"/>
                </a:cubicBezTo>
                <a:cubicBezTo>
                  <a:pt x="368" y="583"/>
                  <a:pt x="367" y="587"/>
                  <a:pt x="365" y="589"/>
                </a:cubicBezTo>
                <a:cubicBezTo>
                  <a:pt x="363" y="591"/>
                  <a:pt x="362" y="595"/>
                  <a:pt x="362" y="600"/>
                </a:cubicBezTo>
                <a:cubicBezTo>
                  <a:pt x="361" y="606"/>
                  <a:pt x="360" y="610"/>
                  <a:pt x="359" y="612"/>
                </a:cubicBezTo>
                <a:cubicBezTo>
                  <a:pt x="357" y="613"/>
                  <a:pt x="356" y="614"/>
                  <a:pt x="355" y="614"/>
                </a:cubicBezTo>
                <a:cubicBezTo>
                  <a:pt x="355" y="614"/>
                  <a:pt x="355" y="614"/>
                  <a:pt x="355" y="613"/>
                </a:cubicBezTo>
                <a:cubicBezTo>
                  <a:pt x="355" y="610"/>
                  <a:pt x="357" y="600"/>
                  <a:pt x="361" y="586"/>
                </a:cubicBezTo>
                <a:cubicBezTo>
                  <a:pt x="365" y="573"/>
                  <a:pt x="368" y="562"/>
                  <a:pt x="371" y="552"/>
                </a:cubicBezTo>
                <a:cubicBezTo>
                  <a:pt x="374" y="541"/>
                  <a:pt x="375" y="535"/>
                  <a:pt x="376" y="533"/>
                </a:cubicBezTo>
                <a:cubicBezTo>
                  <a:pt x="376" y="533"/>
                  <a:pt x="376" y="532"/>
                  <a:pt x="376" y="532"/>
                </a:cubicBezTo>
                <a:cubicBezTo>
                  <a:pt x="376" y="531"/>
                  <a:pt x="377" y="531"/>
                  <a:pt x="377" y="530"/>
                </a:cubicBezTo>
                <a:cubicBezTo>
                  <a:pt x="378" y="529"/>
                  <a:pt x="378" y="527"/>
                  <a:pt x="379" y="526"/>
                </a:cubicBezTo>
                <a:cubicBezTo>
                  <a:pt x="379" y="525"/>
                  <a:pt x="380" y="521"/>
                  <a:pt x="382" y="515"/>
                </a:cubicBezTo>
                <a:cubicBezTo>
                  <a:pt x="385" y="508"/>
                  <a:pt x="386" y="503"/>
                  <a:pt x="386" y="500"/>
                </a:cubicBezTo>
                <a:cubicBezTo>
                  <a:pt x="386" y="497"/>
                  <a:pt x="387" y="495"/>
                  <a:pt x="388" y="493"/>
                </a:cubicBezTo>
                <a:cubicBezTo>
                  <a:pt x="389" y="492"/>
                  <a:pt x="390" y="490"/>
                  <a:pt x="390" y="487"/>
                </a:cubicBezTo>
                <a:cubicBezTo>
                  <a:pt x="391" y="484"/>
                  <a:pt x="392" y="481"/>
                  <a:pt x="393" y="477"/>
                </a:cubicBezTo>
                <a:cubicBezTo>
                  <a:pt x="395" y="473"/>
                  <a:pt x="396" y="471"/>
                  <a:pt x="396" y="469"/>
                </a:cubicBezTo>
                <a:cubicBezTo>
                  <a:pt x="396" y="468"/>
                  <a:pt x="397" y="467"/>
                  <a:pt x="399" y="465"/>
                </a:cubicBezTo>
                <a:cubicBezTo>
                  <a:pt x="400" y="464"/>
                  <a:pt x="400" y="460"/>
                  <a:pt x="400" y="455"/>
                </a:cubicBezTo>
                <a:cubicBezTo>
                  <a:pt x="400" y="451"/>
                  <a:pt x="400" y="450"/>
                  <a:pt x="399" y="450"/>
                </a:cubicBezTo>
                <a:cubicBezTo>
                  <a:pt x="399" y="450"/>
                  <a:pt x="393" y="467"/>
                  <a:pt x="383" y="501"/>
                </a:cubicBezTo>
                <a:cubicBezTo>
                  <a:pt x="366" y="555"/>
                  <a:pt x="352" y="602"/>
                  <a:pt x="340" y="643"/>
                </a:cubicBezTo>
                <a:cubicBezTo>
                  <a:pt x="334" y="665"/>
                  <a:pt x="330" y="679"/>
                  <a:pt x="328" y="686"/>
                </a:cubicBezTo>
                <a:cubicBezTo>
                  <a:pt x="327" y="688"/>
                  <a:pt x="325" y="698"/>
                  <a:pt x="321" y="716"/>
                </a:cubicBezTo>
                <a:cubicBezTo>
                  <a:pt x="320" y="723"/>
                  <a:pt x="318" y="730"/>
                  <a:pt x="317" y="735"/>
                </a:cubicBezTo>
                <a:cubicBezTo>
                  <a:pt x="316" y="741"/>
                  <a:pt x="315" y="745"/>
                  <a:pt x="315" y="746"/>
                </a:cubicBezTo>
                <a:cubicBezTo>
                  <a:pt x="315" y="748"/>
                  <a:pt x="314" y="749"/>
                  <a:pt x="314" y="749"/>
                </a:cubicBezTo>
                <a:cubicBezTo>
                  <a:pt x="314" y="750"/>
                  <a:pt x="314" y="751"/>
                  <a:pt x="314" y="752"/>
                </a:cubicBezTo>
                <a:cubicBezTo>
                  <a:pt x="314" y="754"/>
                  <a:pt x="313" y="755"/>
                  <a:pt x="310" y="755"/>
                </a:cubicBezTo>
                <a:cubicBezTo>
                  <a:pt x="310" y="755"/>
                  <a:pt x="309" y="755"/>
                  <a:pt x="309" y="756"/>
                </a:cubicBezTo>
                <a:cubicBezTo>
                  <a:pt x="309" y="757"/>
                  <a:pt x="310" y="757"/>
                  <a:pt x="312" y="759"/>
                </a:cubicBezTo>
                <a:cubicBezTo>
                  <a:pt x="313" y="760"/>
                  <a:pt x="314" y="761"/>
                  <a:pt x="314" y="761"/>
                </a:cubicBezTo>
                <a:cubicBezTo>
                  <a:pt x="314" y="761"/>
                  <a:pt x="313" y="761"/>
                  <a:pt x="311" y="761"/>
                </a:cubicBezTo>
                <a:cubicBezTo>
                  <a:pt x="309" y="761"/>
                  <a:pt x="308" y="762"/>
                  <a:pt x="308" y="762"/>
                </a:cubicBezTo>
                <a:cubicBezTo>
                  <a:pt x="308" y="762"/>
                  <a:pt x="309" y="763"/>
                  <a:pt x="311" y="764"/>
                </a:cubicBezTo>
                <a:cubicBezTo>
                  <a:pt x="313" y="766"/>
                  <a:pt x="314" y="767"/>
                  <a:pt x="314" y="767"/>
                </a:cubicBezTo>
                <a:cubicBezTo>
                  <a:pt x="314" y="767"/>
                  <a:pt x="313" y="767"/>
                  <a:pt x="311" y="767"/>
                </a:cubicBezTo>
                <a:cubicBezTo>
                  <a:pt x="309" y="767"/>
                  <a:pt x="308" y="768"/>
                  <a:pt x="308" y="768"/>
                </a:cubicBezTo>
                <a:cubicBezTo>
                  <a:pt x="308" y="768"/>
                  <a:pt x="309" y="769"/>
                  <a:pt x="311" y="770"/>
                </a:cubicBezTo>
                <a:cubicBezTo>
                  <a:pt x="313" y="772"/>
                  <a:pt x="314" y="772"/>
                  <a:pt x="314" y="773"/>
                </a:cubicBezTo>
                <a:cubicBezTo>
                  <a:pt x="314" y="773"/>
                  <a:pt x="313" y="774"/>
                  <a:pt x="311" y="774"/>
                </a:cubicBezTo>
                <a:cubicBezTo>
                  <a:pt x="310" y="774"/>
                  <a:pt x="309" y="776"/>
                  <a:pt x="308" y="781"/>
                </a:cubicBezTo>
                <a:cubicBezTo>
                  <a:pt x="308" y="786"/>
                  <a:pt x="309" y="789"/>
                  <a:pt x="310" y="789"/>
                </a:cubicBezTo>
                <a:cubicBezTo>
                  <a:pt x="312" y="789"/>
                  <a:pt x="314" y="782"/>
                  <a:pt x="317" y="768"/>
                </a:cubicBezTo>
                <a:cubicBezTo>
                  <a:pt x="318" y="755"/>
                  <a:pt x="320" y="745"/>
                  <a:pt x="322" y="739"/>
                </a:cubicBezTo>
                <a:cubicBezTo>
                  <a:pt x="324" y="727"/>
                  <a:pt x="327" y="719"/>
                  <a:pt x="330" y="717"/>
                </a:cubicBezTo>
                <a:lnTo>
                  <a:pt x="334" y="713"/>
                </a:lnTo>
                <a:cubicBezTo>
                  <a:pt x="333" y="713"/>
                  <a:pt x="332" y="713"/>
                  <a:pt x="330" y="714"/>
                </a:cubicBezTo>
                <a:cubicBezTo>
                  <a:pt x="328" y="715"/>
                  <a:pt x="326" y="715"/>
                  <a:pt x="326" y="715"/>
                </a:cubicBezTo>
                <a:lnTo>
                  <a:pt x="326" y="715"/>
                </a:lnTo>
                <a:cubicBezTo>
                  <a:pt x="326" y="715"/>
                  <a:pt x="327" y="713"/>
                  <a:pt x="330" y="711"/>
                </a:cubicBezTo>
                <a:cubicBezTo>
                  <a:pt x="333" y="709"/>
                  <a:pt x="335" y="705"/>
                  <a:pt x="337" y="698"/>
                </a:cubicBezTo>
                <a:cubicBezTo>
                  <a:pt x="337" y="693"/>
                  <a:pt x="338" y="689"/>
                  <a:pt x="340" y="686"/>
                </a:cubicBezTo>
                <a:cubicBezTo>
                  <a:pt x="341" y="686"/>
                  <a:pt x="341" y="685"/>
                  <a:pt x="341" y="684"/>
                </a:cubicBezTo>
                <a:cubicBezTo>
                  <a:pt x="341" y="682"/>
                  <a:pt x="340" y="681"/>
                  <a:pt x="339" y="679"/>
                </a:cubicBezTo>
                <a:lnTo>
                  <a:pt x="338" y="677"/>
                </a:lnTo>
                <a:cubicBezTo>
                  <a:pt x="338" y="677"/>
                  <a:pt x="340" y="678"/>
                  <a:pt x="343" y="680"/>
                </a:cubicBezTo>
                <a:cubicBezTo>
                  <a:pt x="345" y="682"/>
                  <a:pt x="347" y="683"/>
                  <a:pt x="347" y="685"/>
                </a:cubicBezTo>
                <a:cubicBezTo>
                  <a:pt x="347" y="686"/>
                  <a:pt x="347" y="687"/>
                  <a:pt x="346" y="688"/>
                </a:cubicBezTo>
                <a:cubicBezTo>
                  <a:pt x="345" y="688"/>
                  <a:pt x="344" y="690"/>
                  <a:pt x="344" y="691"/>
                </a:cubicBezTo>
                <a:cubicBezTo>
                  <a:pt x="344" y="691"/>
                  <a:pt x="345" y="692"/>
                  <a:pt x="345" y="692"/>
                </a:cubicBezTo>
                <a:cubicBezTo>
                  <a:pt x="345" y="692"/>
                  <a:pt x="345" y="693"/>
                  <a:pt x="345" y="694"/>
                </a:cubicBezTo>
                <a:cubicBezTo>
                  <a:pt x="345" y="695"/>
                  <a:pt x="345" y="696"/>
                  <a:pt x="344" y="697"/>
                </a:cubicBezTo>
                <a:cubicBezTo>
                  <a:pt x="343" y="699"/>
                  <a:pt x="343" y="700"/>
                  <a:pt x="342" y="701"/>
                </a:cubicBezTo>
                <a:cubicBezTo>
                  <a:pt x="342" y="702"/>
                  <a:pt x="342" y="703"/>
                  <a:pt x="342" y="703"/>
                </a:cubicBezTo>
                <a:cubicBezTo>
                  <a:pt x="341" y="703"/>
                  <a:pt x="341" y="704"/>
                  <a:pt x="341" y="705"/>
                </a:cubicBezTo>
                <a:cubicBezTo>
                  <a:pt x="341" y="706"/>
                  <a:pt x="341" y="707"/>
                  <a:pt x="340" y="708"/>
                </a:cubicBezTo>
                <a:cubicBezTo>
                  <a:pt x="340" y="708"/>
                  <a:pt x="338" y="715"/>
                  <a:pt x="336" y="728"/>
                </a:cubicBezTo>
                <a:cubicBezTo>
                  <a:pt x="335" y="734"/>
                  <a:pt x="334" y="739"/>
                  <a:pt x="334" y="743"/>
                </a:cubicBezTo>
                <a:cubicBezTo>
                  <a:pt x="334" y="748"/>
                  <a:pt x="333" y="751"/>
                  <a:pt x="332" y="752"/>
                </a:cubicBezTo>
                <a:cubicBezTo>
                  <a:pt x="330" y="754"/>
                  <a:pt x="328" y="754"/>
                  <a:pt x="328" y="755"/>
                </a:cubicBezTo>
                <a:cubicBezTo>
                  <a:pt x="328" y="755"/>
                  <a:pt x="329" y="755"/>
                  <a:pt x="331" y="755"/>
                </a:cubicBezTo>
                <a:cubicBezTo>
                  <a:pt x="332" y="755"/>
                  <a:pt x="333" y="756"/>
                  <a:pt x="333" y="758"/>
                </a:cubicBezTo>
                <a:cubicBezTo>
                  <a:pt x="333" y="760"/>
                  <a:pt x="333" y="762"/>
                  <a:pt x="332" y="764"/>
                </a:cubicBezTo>
                <a:cubicBezTo>
                  <a:pt x="332" y="766"/>
                  <a:pt x="332" y="767"/>
                  <a:pt x="332" y="768"/>
                </a:cubicBezTo>
                <a:cubicBezTo>
                  <a:pt x="332" y="768"/>
                  <a:pt x="332" y="768"/>
                  <a:pt x="332" y="768"/>
                </a:cubicBezTo>
                <a:cubicBezTo>
                  <a:pt x="333" y="768"/>
                  <a:pt x="335" y="765"/>
                  <a:pt x="340" y="760"/>
                </a:cubicBezTo>
                <a:lnTo>
                  <a:pt x="344" y="755"/>
                </a:lnTo>
                <a:cubicBezTo>
                  <a:pt x="353" y="744"/>
                  <a:pt x="357" y="738"/>
                  <a:pt x="357" y="737"/>
                </a:cubicBezTo>
                <a:cubicBezTo>
                  <a:pt x="357" y="736"/>
                  <a:pt x="357" y="735"/>
                  <a:pt x="355" y="735"/>
                </a:cubicBezTo>
                <a:lnTo>
                  <a:pt x="352" y="732"/>
                </a:lnTo>
                <a:cubicBezTo>
                  <a:pt x="352" y="731"/>
                  <a:pt x="352" y="731"/>
                  <a:pt x="352" y="731"/>
                </a:cubicBezTo>
                <a:cubicBezTo>
                  <a:pt x="352" y="731"/>
                  <a:pt x="353" y="731"/>
                  <a:pt x="354" y="732"/>
                </a:cubicBezTo>
                <a:cubicBezTo>
                  <a:pt x="355" y="732"/>
                  <a:pt x="356" y="732"/>
                  <a:pt x="357" y="732"/>
                </a:cubicBezTo>
                <a:cubicBezTo>
                  <a:pt x="359" y="732"/>
                  <a:pt x="361" y="732"/>
                  <a:pt x="363" y="730"/>
                </a:cubicBezTo>
                <a:cubicBezTo>
                  <a:pt x="364" y="728"/>
                  <a:pt x="365" y="727"/>
                  <a:pt x="365" y="725"/>
                </a:cubicBezTo>
                <a:cubicBezTo>
                  <a:pt x="365" y="723"/>
                  <a:pt x="365" y="723"/>
                  <a:pt x="364" y="722"/>
                </a:cubicBezTo>
                <a:cubicBezTo>
                  <a:pt x="364" y="721"/>
                  <a:pt x="363" y="720"/>
                  <a:pt x="363" y="720"/>
                </a:cubicBezTo>
                <a:cubicBezTo>
                  <a:pt x="363" y="720"/>
                  <a:pt x="364" y="719"/>
                  <a:pt x="364" y="719"/>
                </a:cubicBezTo>
                <a:lnTo>
                  <a:pt x="366" y="720"/>
                </a:lnTo>
                <a:cubicBezTo>
                  <a:pt x="369" y="720"/>
                  <a:pt x="375" y="713"/>
                  <a:pt x="384" y="698"/>
                </a:cubicBezTo>
                <a:lnTo>
                  <a:pt x="391" y="688"/>
                </a:lnTo>
                <a:cubicBezTo>
                  <a:pt x="393" y="687"/>
                  <a:pt x="394" y="685"/>
                  <a:pt x="394" y="683"/>
                </a:cubicBezTo>
                <a:lnTo>
                  <a:pt x="393" y="679"/>
                </a:lnTo>
                <a:cubicBezTo>
                  <a:pt x="393" y="678"/>
                  <a:pt x="393" y="677"/>
                  <a:pt x="394" y="677"/>
                </a:cubicBezTo>
                <a:lnTo>
                  <a:pt x="395" y="677"/>
                </a:lnTo>
                <a:cubicBezTo>
                  <a:pt x="396" y="677"/>
                  <a:pt x="399" y="675"/>
                  <a:pt x="402" y="671"/>
                </a:cubicBezTo>
                <a:cubicBezTo>
                  <a:pt x="406" y="666"/>
                  <a:pt x="410" y="661"/>
                  <a:pt x="413" y="656"/>
                </a:cubicBezTo>
                <a:cubicBezTo>
                  <a:pt x="416" y="651"/>
                  <a:pt x="418" y="648"/>
                  <a:pt x="418" y="646"/>
                </a:cubicBezTo>
                <a:cubicBezTo>
                  <a:pt x="418" y="645"/>
                  <a:pt x="417" y="644"/>
                  <a:pt x="417" y="644"/>
                </a:cubicBezTo>
                <a:cubicBezTo>
                  <a:pt x="416" y="644"/>
                  <a:pt x="414" y="646"/>
                  <a:pt x="411" y="649"/>
                </a:cubicBezTo>
                <a:cubicBezTo>
                  <a:pt x="409" y="653"/>
                  <a:pt x="407" y="655"/>
                  <a:pt x="407" y="655"/>
                </a:cubicBezTo>
                <a:cubicBezTo>
                  <a:pt x="407" y="654"/>
                  <a:pt x="409" y="651"/>
                  <a:pt x="411" y="647"/>
                </a:cubicBezTo>
                <a:cubicBezTo>
                  <a:pt x="414" y="642"/>
                  <a:pt x="416" y="639"/>
                  <a:pt x="417" y="639"/>
                </a:cubicBezTo>
                <a:lnTo>
                  <a:pt x="418" y="640"/>
                </a:lnTo>
                <a:cubicBezTo>
                  <a:pt x="418" y="640"/>
                  <a:pt x="418" y="641"/>
                  <a:pt x="418" y="641"/>
                </a:cubicBezTo>
                <a:cubicBezTo>
                  <a:pt x="420" y="641"/>
                  <a:pt x="424" y="637"/>
                  <a:pt x="429" y="628"/>
                </a:cubicBezTo>
                <a:cubicBezTo>
                  <a:pt x="433" y="622"/>
                  <a:pt x="435" y="619"/>
                  <a:pt x="435" y="618"/>
                </a:cubicBezTo>
                <a:cubicBezTo>
                  <a:pt x="435" y="618"/>
                  <a:pt x="433" y="620"/>
                  <a:pt x="430" y="624"/>
                </a:cubicBezTo>
                <a:cubicBezTo>
                  <a:pt x="425" y="631"/>
                  <a:pt x="421" y="634"/>
                  <a:pt x="420" y="634"/>
                </a:cubicBezTo>
                <a:cubicBezTo>
                  <a:pt x="420" y="634"/>
                  <a:pt x="420" y="634"/>
                  <a:pt x="420" y="634"/>
                </a:cubicBezTo>
                <a:cubicBezTo>
                  <a:pt x="420" y="632"/>
                  <a:pt x="425" y="623"/>
                  <a:pt x="435" y="608"/>
                </a:cubicBezTo>
                <a:cubicBezTo>
                  <a:pt x="447" y="590"/>
                  <a:pt x="454" y="580"/>
                  <a:pt x="454" y="578"/>
                </a:cubicBezTo>
                <a:cubicBezTo>
                  <a:pt x="454" y="576"/>
                  <a:pt x="455" y="574"/>
                  <a:pt x="458" y="572"/>
                </a:cubicBezTo>
                <a:cubicBezTo>
                  <a:pt x="460" y="571"/>
                  <a:pt x="461" y="570"/>
                  <a:pt x="462" y="568"/>
                </a:cubicBezTo>
                <a:cubicBezTo>
                  <a:pt x="463" y="567"/>
                  <a:pt x="464" y="566"/>
                  <a:pt x="464" y="566"/>
                </a:cubicBezTo>
                <a:cubicBezTo>
                  <a:pt x="464" y="564"/>
                  <a:pt x="466" y="561"/>
                  <a:pt x="471" y="555"/>
                </a:cubicBezTo>
                <a:cubicBezTo>
                  <a:pt x="482" y="544"/>
                  <a:pt x="487" y="536"/>
                  <a:pt x="487" y="534"/>
                </a:cubicBezTo>
                <a:lnTo>
                  <a:pt x="487" y="532"/>
                </a:lnTo>
                <a:cubicBezTo>
                  <a:pt x="487" y="532"/>
                  <a:pt x="487" y="531"/>
                  <a:pt x="487" y="531"/>
                </a:cubicBezTo>
                <a:lnTo>
                  <a:pt x="490" y="533"/>
                </a:lnTo>
                <a:cubicBezTo>
                  <a:pt x="492" y="533"/>
                  <a:pt x="492" y="531"/>
                  <a:pt x="492" y="529"/>
                </a:cubicBezTo>
                <a:cubicBezTo>
                  <a:pt x="492" y="526"/>
                  <a:pt x="493" y="525"/>
                  <a:pt x="496" y="525"/>
                </a:cubicBezTo>
                <a:cubicBezTo>
                  <a:pt x="497" y="525"/>
                  <a:pt x="498" y="526"/>
                  <a:pt x="500" y="528"/>
                </a:cubicBezTo>
                <a:cubicBezTo>
                  <a:pt x="502" y="530"/>
                  <a:pt x="503" y="531"/>
                  <a:pt x="505" y="531"/>
                </a:cubicBezTo>
                <a:cubicBezTo>
                  <a:pt x="506" y="531"/>
                  <a:pt x="507" y="531"/>
                  <a:pt x="507" y="530"/>
                </a:cubicBezTo>
                <a:cubicBezTo>
                  <a:pt x="507" y="530"/>
                  <a:pt x="506" y="529"/>
                  <a:pt x="504" y="528"/>
                </a:cubicBezTo>
                <a:cubicBezTo>
                  <a:pt x="503" y="527"/>
                  <a:pt x="502" y="525"/>
                  <a:pt x="502" y="524"/>
                </a:cubicBezTo>
                <a:cubicBezTo>
                  <a:pt x="502" y="522"/>
                  <a:pt x="503" y="520"/>
                  <a:pt x="504" y="519"/>
                </a:cubicBezTo>
                <a:cubicBezTo>
                  <a:pt x="506" y="517"/>
                  <a:pt x="507" y="517"/>
                  <a:pt x="509" y="516"/>
                </a:cubicBezTo>
                <a:cubicBezTo>
                  <a:pt x="514" y="516"/>
                  <a:pt x="518" y="518"/>
                  <a:pt x="521" y="522"/>
                </a:cubicBezTo>
                <a:cubicBezTo>
                  <a:pt x="524" y="526"/>
                  <a:pt x="528" y="527"/>
                  <a:pt x="532" y="527"/>
                </a:cubicBezTo>
                <a:cubicBezTo>
                  <a:pt x="534" y="527"/>
                  <a:pt x="538" y="527"/>
                  <a:pt x="543" y="524"/>
                </a:cubicBezTo>
                <a:cubicBezTo>
                  <a:pt x="546" y="523"/>
                  <a:pt x="548" y="522"/>
                  <a:pt x="550" y="522"/>
                </a:cubicBezTo>
                <a:cubicBezTo>
                  <a:pt x="555" y="522"/>
                  <a:pt x="558" y="528"/>
                  <a:pt x="560" y="538"/>
                </a:cubicBezTo>
                <a:cubicBezTo>
                  <a:pt x="561" y="548"/>
                  <a:pt x="563" y="567"/>
                  <a:pt x="563" y="594"/>
                </a:cubicBezTo>
                <a:cubicBezTo>
                  <a:pt x="563" y="615"/>
                  <a:pt x="563" y="631"/>
                  <a:pt x="564" y="642"/>
                </a:cubicBezTo>
                <a:cubicBezTo>
                  <a:pt x="565" y="650"/>
                  <a:pt x="566" y="654"/>
                  <a:pt x="570" y="654"/>
                </a:cubicBezTo>
                <a:cubicBezTo>
                  <a:pt x="573" y="654"/>
                  <a:pt x="580" y="647"/>
                  <a:pt x="590" y="635"/>
                </a:cubicBezTo>
                <a:cubicBezTo>
                  <a:pt x="611" y="613"/>
                  <a:pt x="622" y="601"/>
                  <a:pt x="622" y="599"/>
                </a:cubicBezTo>
                <a:cubicBezTo>
                  <a:pt x="622" y="598"/>
                  <a:pt x="622" y="598"/>
                  <a:pt x="621" y="598"/>
                </a:cubicBezTo>
                <a:cubicBezTo>
                  <a:pt x="620" y="598"/>
                  <a:pt x="615" y="603"/>
                  <a:pt x="605" y="613"/>
                </a:cubicBezTo>
                <a:lnTo>
                  <a:pt x="596" y="621"/>
                </a:lnTo>
                <a:cubicBezTo>
                  <a:pt x="596" y="621"/>
                  <a:pt x="600" y="616"/>
                  <a:pt x="609" y="607"/>
                </a:cubicBezTo>
                <a:lnTo>
                  <a:pt x="631" y="585"/>
                </a:lnTo>
                <a:cubicBezTo>
                  <a:pt x="631" y="585"/>
                  <a:pt x="630" y="587"/>
                  <a:pt x="627" y="590"/>
                </a:cubicBezTo>
                <a:cubicBezTo>
                  <a:pt x="626" y="592"/>
                  <a:pt x="625" y="593"/>
                  <a:pt x="625" y="594"/>
                </a:cubicBezTo>
                <a:cubicBezTo>
                  <a:pt x="625" y="594"/>
                  <a:pt x="626" y="595"/>
                  <a:pt x="627" y="595"/>
                </a:cubicBezTo>
                <a:cubicBezTo>
                  <a:pt x="627" y="595"/>
                  <a:pt x="629" y="594"/>
                  <a:pt x="632" y="593"/>
                </a:cubicBezTo>
                <a:cubicBezTo>
                  <a:pt x="634" y="591"/>
                  <a:pt x="636" y="589"/>
                  <a:pt x="638" y="586"/>
                </a:cubicBezTo>
                <a:cubicBezTo>
                  <a:pt x="644" y="581"/>
                  <a:pt x="650" y="576"/>
                  <a:pt x="658" y="572"/>
                </a:cubicBezTo>
                <a:cubicBezTo>
                  <a:pt x="665" y="568"/>
                  <a:pt x="672" y="567"/>
                  <a:pt x="676" y="567"/>
                </a:cubicBezTo>
                <a:cubicBezTo>
                  <a:pt x="680" y="567"/>
                  <a:pt x="682" y="568"/>
                  <a:pt x="684" y="570"/>
                </a:cubicBezTo>
                <a:cubicBezTo>
                  <a:pt x="684" y="571"/>
                  <a:pt x="685" y="571"/>
                  <a:pt x="686" y="571"/>
                </a:cubicBezTo>
                <a:cubicBezTo>
                  <a:pt x="689" y="571"/>
                  <a:pt x="692" y="570"/>
                  <a:pt x="697" y="568"/>
                </a:cubicBezTo>
                <a:cubicBezTo>
                  <a:pt x="701" y="567"/>
                  <a:pt x="705" y="566"/>
                  <a:pt x="707" y="566"/>
                </a:cubicBezTo>
                <a:cubicBezTo>
                  <a:pt x="710" y="566"/>
                  <a:pt x="712" y="566"/>
                  <a:pt x="714" y="568"/>
                </a:cubicBezTo>
                <a:lnTo>
                  <a:pt x="716" y="570"/>
                </a:lnTo>
                <a:lnTo>
                  <a:pt x="716" y="570"/>
                </a:lnTo>
                <a:lnTo>
                  <a:pt x="715" y="566"/>
                </a:lnTo>
                <a:cubicBezTo>
                  <a:pt x="715" y="566"/>
                  <a:pt x="715" y="566"/>
                  <a:pt x="715" y="566"/>
                </a:cubicBezTo>
                <a:cubicBezTo>
                  <a:pt x="716" y="566"/>
                  <a:pt x="718" y="567"/>
                  <a:pt x="721" y="570"/>
                </a:cubicBezTo>
                <a:cubicBezTo>
                  <a:pt x="724" y="572"/>
                  <a:pt x="727" y="574"/>
                  <a:pt x="729" y="576"/>
                </a:cubicBezTo>
                <a:cubicBezTo>
                  <a:pt x="730" y="578"/>
                  <a:pt x="731" y="579"/>
                  <a:pt x="731" y="579"/>
                </a:cubicBezTo>
                <a:cubicBezTo>
                  <a:pt x="731" y="579"/>
                  <a:pt x="731" y="579"/>
                  <a:pt x="731" y="579"/>
                </a:cubicBezTo>
                <a:lnTo>
                  <a:pt x="727" y="577"/>
                </a:lnTo>
                <a:lnTo>
                  <a:pt x="727" y="577"/>
                </a:lnTo>
                <a:cubicBezTo>
                  <a:pt x="727" y="580"/>
                  <a:pt x="729" y="583"/>
                  <a:pt x="734" y="589"/>
                </a:cubicBezTo>
                <a:lnTo>
                  <a:pt x="737" y="592"/>
                </a:lnTo>
                <a:lnTo>
                  <a:pt x="734" y="586"/>
                </a:lnTo>
                <a:cubicBezTo>
                  <a:pt x="734" y="586"/>
                  <a:pt x="734" y="586"/>
                  <a:pt x="735" y="586"/>
                </a:cubicBezTo>
                <a:cubicBezTo>
                  <a:pt x="735" y="586"/>
                  <a:pt x="736" y="586"/>
                  <a:pt x="737" y="587"/>
                </a:cubicBezTo>
                <a:cubicBezTo>
                  <a:pt x="737" y="587"/>
                  <a:pt x="738" y="588"/>
                  <a:pt x="738" y="590"/>
                </a:cubicBezTo>
                <a:lnTo>
                  <a:pt x="737" y="594"/>
                </a:lnTo>
                <a:cubicBezTo>
                  <a:pt x="737" y="597"/>
                  <a:pt x="738" y="598"/>
                  <a:pt x="739" y="599"/>
                </a:cubicBezTo>
                <a:cubicBezTo>
                  <a:pt x="741" y="600"/>
                  <a:pt x="742" y="600"/>
                  <a:pt x="742" y="600"/>
                </a:cubicBezTo>
                <a:lnTo>
                  <a:pt x="742" y="600"/>
                </a:lnTo>
                <a:lnTo>
                  <a:pt x="740" y="595"/>
                </a:lnTo>
                <a:cubicBezTo>
                  <a:pt x="740" y="595"/>
                  <a:pt x="741" y="595"/>
                  <a:pt x="742" y="596"/>
                </a:cubicBezTo>
                <a:cubicBezTo>
                  <a:pt x="744" y="597"/>
                  <a:pt x="744" y="598"/>
                  <a:pt x="744" y="599"/>
                </a:cubicBezTo>
                <a:cubicBezTo>
                  <a:pt x="744" y="600"/>
                  <a:pt x="744" y="600"/>
                  <a:pt x="744" y="601"/>
                </a:cubicBezTo>
                <a:cubicBezTo>
                  <a:pt x="744" y="601"/>
                  <a:pt x="743" y="602"/>
                  <a:pt x="743" y="603"/>
                </a:cubicBezTo>
                <a:cubicBezTo>
                  <a:pt x="743" y="605"/>
                  <a:pt x="744" y="607"/>
                  <a:pt x="747" y="610"/>
                </a:cubicBezTo>
                <a:cubicBezTo>
                  <a:pt x="749" y="612"/>
                  <a:pt x="752" y="614"/>
                  <a:pt x="754" y="614"/>
                </a:cubicBezTo>
                <a:cubicBezTo>
                  <a:pt x="757" y="614"/>
                  <a:pt x="758" y="614"/>
                  <a:pt x="758" y="614"/>
                </a:cubicBezTo>
                <a:cubicBezTo>
                  <a:pt x="758" y="615"/>
                  <a:pt x="757" y="616"/>
                  <a:pt x="757" y="617"/>
                </a:cubicBezTo>
                <a:cubicBezTo>
                  <a:pt x="756" y="618"/>
                  <a:pt x="755" y="619"/>
                  <a:pt x="755" y="620"/>
                </a:cubicBezTo>
                <a:cubicBezTo>
                  <a:pt x="755" y="621"/>
                  <a:pt x="756" y="621"/>
                  <a:pt x="758" y="621"/>
                </a:cubicBezTo>
                <a:cubicBezTo>
                  <a:pt x="761" y="621"/>
                  <a:pt x="764" y="620"/>
                  <a:pt x="769" y="618"/>
                </a:cubicBezTo>
                <a:cubicBezTo>
                  <a:pt x="774" y="616"/>
                  <a:pt x="777" y="613"/>
                  <a:pt x="780" y="610"/>
                </a:cubicBezTo>
                <a:cubicBezTo>
                  <a:pt x="785" y="604"/>
                  <a:pt x="788" y="601"/>
                  <a:pt x="789" y="601"/>
                </a:cubicBezTo>
                <a:cubicBezTo>
                  <a:pt x="790" y="601"/>
                  <a:pt x="790" y="601"/>
                  <a:pt x="790" y="602"/>
                </a:cubicBezTo>
                <a:cubicBezTo>
                  <a:pt x="790" y="603"/>
                  <a:pt x="790" y="604"/>
                  <a:pt x="790" y="606"/>
                </a:cubicBezTo>
                <a:cubicBezTo>
                  <a:pt x="789" y="607"/>
                  <a:pt x="789" y="609"/>
                  <a:pt x="789" y="610"/>
                </a:cubicBezTo>
                <a:cubicBezTo>
                  <a:pt x="789" y="612"/>
                  <a:pt x="789" y="614"/>
                  <a:pt x="789" y="616"/>
                </a:cubicBezTo>
                <a:cubicBezTo>
                  <a:pt x="788" y="618"/>
                  <a:pt x="787" y="621"/>
                  <a:pt x="784" y="624"/>
                </a:cubicBezTo>
                <a:cubicBezTo>
                  <a:pt x="781" y="627"/>
                  <a:pt x="778" y="630"/>
                  <a:pt x="774" y="633"/>
                </a:cubicBezTo>
                <a:cubicBezTo>
                  <a:pt x="770" y="636"/>
                  <a:pt x="767" y="637"/>
                  <a:pt x="764" y="637"/>
                </a:cubicBezTo>
                <a:cubicBezTo>
                  <a:pt x="762" y="637"/>
                  <a:pt x="759" y="637"/>
                  <a:pt x="756" y="635"/>
                </a:cubicBezTo>
                <a:cubicBezTo>
                  <a:pt x="753" y="634"/>
                  <a:pt x="750" y="633"/>
                  <a:pt x="747" y="631"/>
                </a:cubicBezTo>
                <a:cubicBezTo>
                  <a:pt x="745" y="630"/>
                  <a:pt x="744" y="628"/>
                  <a:pt x="744" y="627"/>
                </a:cubicBezTo>
                <a:lnTo>
                  <a:pt x="744" y="627"/>
                </a:lnTo>
                <a:cubicBezTo>
                  <a:pt x="744" y="627"/>
                  <a:pt x="745" y="626"/>
                  <a:pt x="745" y="626"/>
                </a:cubicBezTo>
                <a:cubicBezTo>
                  <a:pt x="745" y="625"/>
                  <a:pt x="744" y="625"/>
                  <a:pt x="743" y="625"/>
                </a:cubicBezTo>
                <a:cubicBezTo>
                  <a:pt x="742" y="625"/>
                  <a:pt x="741" y="625"/>
                  <a:pt x="741" y="625"/>
                </a:cubicBezTo>
                <a:cubicBezTo>
                  <a:pt x="739" y="626"/>
                  <a:pt x="739" y="627"/>
                  <a:pt x="738" y="627"/>
                </a:cubicBezTo>
                <a:cubicBezTo>
                  <a:pt x="738" y="628"/>
                  <a:pt x="737" y="628"/>
                  <a:pt x="737" y="628"/>
                </a:cubicBezTo>
                <a:cubicBezTo>
                  <a:pt x="734" y="628"/>
                  <a:pt x="729" y="626"/>
                  <a:pt x="723" y="620"/>
                </a:cubicBezTo>
                <a:cubicBezTo>
                  <a:pt x="716" y="615"/>
                  <a:pt x="710" y="610"/>
                  <a:pt x="705" y="603"/>
                </a:cubicBezTo>
                <a:cubicBezTo>
                  <a:pt x="699" y="597"/>
                  <a:pt x="696" y="592"/>
                  <a:pt x="696" y="589"/>
                </a:cubicBezTo>
                <a:cubicBezTo>
                  <a:pt x="696" y="587"/>
                  <a:pt x="696" y="586"/>
                  <a:pt x="694" y="586"/>
                </a:cubicBezTo>
                <a:cubicBezTo>
                  <a:pt x="689" y="586"/>
                  <a:pt x="668" y="605"/>
                  <a:pt x="633" y="643"/>
                </a:cubicBezTo>
                <a:cubicBezTo>
                  <a:pt x="618" y="659"/>
                  <a:pt x="606" y="671"/>
                  <a:pt x="597" y="677"/>
                </a:cubicBezTo>
                <a:cubicBezTo>
                  <a:pt x="588" y="684"/>
                  <a:pt x="580" y="688"/>
                  <a:pt x="573" y="688"/>
                </a:cubicBezTo>
                <a:cubicBezTo>
                  <a:pt x="570" y="688"/>
                  <a:pt x="567" y="687"/>
                  <a:pt x="564" y="686"/>
                </a:cubicBezTo>
                <a:cubicBezTo>
                  <a:pt x="561" y="685"/>
                  <a:pt x="559" y="685"/>
                  <a:pt x="559" y="684"/>
                </a:cubicBezTo>
                <a:cubicBezTo>
                  <a:pt x="559" y="684"/>
                  <a:pt x="560" y="683"/>
                  <a:pt x="562" y="682"/>
                </a:cubicBezTo>
                <a:cubicBezTo>
                  <a:pt x="565" y="681"/>
                  <a:pt x="566" y="681"/>
                  <a:pt x="566" y="680"/>
                </a:cubicBezTo>
                <a:cubicBezTo>
                  <a:pt x="566" y="680"/>
                  <a:pt x="563" y="679"/>
                  <a:pt x="559" y="679"/>
                </a:cubicBezTo>
                <a:cubicBezTo>
                  <a:pt x="554" y="679"/>
                  <a:pt x="550" y="679"/>
                  <a:pt x="549" y="676"/>
                </a:cubicBezTo>
                <a:cubicBezTo>
                  <a:pt x="547" y="674"/>
                  <a:pt x="544" y="674"/>
                  <a:pt x="541" y="674"/>
                </a:cubicBezTo>
                <a:cubicBezTo>
                  <a:pt x="536" y="674"/>
                  <a:pt x="532" y="670"/>
                  <a:pt x="526" y="662"/>
                </a:cubicBezTo>
                <a:cubicBezTo>
                  <a:pt x="523" y="660"/>
                  <a:pt x="522" y="657"/>
                  <a:pt x="522" y="656"/>
                </a:cubicBezTo>
                <a:lnTo>
                  <a:pt x="523" y="653"/>
                </a:lnTo>
                <a:cubicBezTo>
                  <a:pt x="523" y="652"/>
                  <a:pt x="522" y="652"/>
                  <a:pt x="521" y="652"/>
                </a:cubicBezTo>
                <a:cubicBezTo>
                  <a:pt x="519" y="652"/>
                  <a:pt x="518" y="651"/>
                  <a:pt x="518" y="648"/>
                </a:cubicBezTo>
                <a:cubicBezTo>
                  <a:pt x="518" y="647"/>
                  <a:pt x="518" y="646"/>
                  <a:pt x="519" y="644"/>
                </a:cubicBezTo>
                <a:cubicBezTo>
                  <a:pt x="519" y="643"/>
                  <a:pt x="520" y="642"/>
                  <a:pt x="521" y="642"/>
                </a:cubicBezTo>
                <a:cubicBezTo>
                  <a:pt x="523" y="642"/>
                  <a:pt x="523" y="641"/>
                  <a:pt x="523" y="641"/>
                </a:cubicBezTo>
                <a:cubicBezTo>
                  <a:pt x="523" y="640"/>
                  <a:pt x="522" y="640"/>
                  <a:pt x="520" y="640"/>
                </a:cubicBezTo>
                <a:cubicBezTo>
                  <a:pt x="518" y="640"/>
                  <a:pt x="517" y="638"/>
                  <a:pt x="516" y="633"/>
                </a:cubicBezTo>
                <a:cubicBezTo>
                  <a:pt x="515" y="628"/>
                  <a:pt x="515" y="620"/>
                  <a:pt x="515" y="608"/>
                </a:cubicBezTo>
                <a:lnTo>
                  <a:pt x="515" y="580"/>
                </a:lnTo>
                <a:cubicBezTo>
                  <a:pt x="515" y="570"/>
                  <a:pt x="514" y="565"/>
                  <a:pt x="513" y="565"/>
                </a:cubicBezTo>
                <a:lnTo>
                  <a:pt x="513" y="565"/>
                </a:lnTo>
                <a:cubicBezTo>
                  <a:pt x="511" y="567"/>
                  <a:pt x="506" y="574"/>
                  <a:pt x="496" y="587"/>
                </a:cubicBezTo>
                <a:cubicBezTo>
                  <a:pt x="472" y="620"/>
                  <a:pt x="450" y="651"/>
                  <a:pt x="431" y="680"/>
                </a:cubicBezTo>
                <a:cubicBezTo>
                  <a:pt x="422" y="694"/>
                  <a:pt x="417" y="701"/>
                  <a:pt x="416" y="701"/>
                </a:cubicBezTo>
                <a:cubicBezTo>
                  <a:pt x="416" y="699"/>
                  <a:pt x="420" y="691"/>
                  <a:pt x="430" y="676"/>
                </a:cubicBezTo>
                <a:cubicBezTo>
                  <a:pt x="452" y="641"/>
                  <a:pt x="473" y="608"/>
                  <a:pt x="494" y="579"/>
                </a:cubicBezTo>
                <a:cubicBezTo>
                  <a:pt x="509" y="558"/>
                  <a:pt x="516" y="545"/>
                  <a:pt x="516" y="539"/>
                </a:cubicBezTo>
                <a:cubicBezTo>
                  <a:pt x="516" y="537"/>
                  <a:pt x="515" y="536"/>
                  <a:pt x="514" y="536"/>
                </a:cubicBezTo>
                <a:cubicBezTo>
                  <a:pt x="513" y="536"/>
                  <a:pt x="511" y="537"/>
                  <a:pt x="508" y="538"/>
                </a:cubicBezTo>
                <a:cubicBezTo>
                  <a:pt x="506" y="540"/>
                  <a:pt x="504" y="542"/>
                  <a:pt x="502" y="544"/>
                </a:cubicBezTo>
                <a:cubicBezTo>
                  <a:pt x="500" y="546"/>
                  <a:pt x="499" y="548"/>
                  <a:pt x="498" y="549"/>
                </a:cubicBezTo>
                <a:cubicBezTo>
                  <a:pt x="497" y="551"/>
                  <a:pt x="496" y="553"/>
                  <a:pt x="495" y="554"/>
                </a:cubicBezTo>
                <a:cubicBezTo>
                  <a:pt x="493" y="555"/>
                  <a:pt x="492" y="555"/>
                  <a:pt x="491" y="555"/>
                </a:cubicBezTo>
                <a:cubicBezTo>
                  <a:pt x="489" y="555"/>
                  <a:pt x="488" y="556"/>
                  <a:pt x="488" y="558"/>
                </a:cubicBezTo>
                <a:lnTo>
                  <a:pt x="489" y="562"/>
                </a:lnTo>
                <a:cubicBezTo>
                  <a:pt x="489" y="564"/>
                  <a:pt x="488" y="564"/>
                  <a:pt x="487" y="564"/>
                </a:cubicBezTo>
                <a:cubicBezTo>
                  <a:pt x="486" y="564"/>
                  <a:pt x="484" y="567"/>
                  <a:pt x="481" y="572"/>
                </a:cubicBezTo>
                <a:cubicBezTo>
                  <a:pt x="481" y="574"/>
                  <a:pt x="480" y="576"/>
                  <a:pt x="480" y="578"/>
                </a:cubicBezTo>
                <a:cubicBezTo>
                  <a:pt x="480" y="579"/>
                  <a:pt x="480" y="579"/>
                  <a:pt x="480" y="579"/>
                </a:cubicBezTo>
                <a:cubicBezTo>
                  <a:pt x="482" y="579"/>
                  <a:pt x="484" y="577"/>
                  <a:pt x="488" y="572"/>
                </a:cubicBezTo>
                <a:cubicBezTo>
                  <a:pt x="491" y="567"/>
                  <a:pt x="494" y="564"/>
                  <a:pt x="496" y="564"/>
                </a:cubicBezTo>
                <a:cubicBezTo>
                  <a:pt x="497" y="564"/>
                  <a:pt x="497" y="564"/>
                  <a:pt x="497" y="565"/>
                </a:cubicBezTo>
                <a:cubicBezTo>
                  <a:pt x="497" y="566"/>
                  <a:pt x="496" y="566"/>
                  <a:pt x="495" y="567"/>
                </a:cubicBezTo>
                <a:cubicBezTo>
                  <a:pt x="493" y="568"/>
                  <a:pt x="492" y="569"/>
                  <a:pt x="491" y="571"/>
                </a:cubicBezTo>
                <a:cubicBezTo>
                  <a:pt x="490" y="572"/>
                  <a:pt x="489" y="573"/>
                  <a:pt x="489" y="574"/>
                </a:cubicBezTo>
                <a:cubicBezTo>
                  <a:pt x="489" y="575"/>
                  <a:pt x="488" y="577"/>
                  <a:pt x="486" y="580"/>
                </a:cubicBezTo>
                <a:cubicBezTo>
                  <a:pt x="484" y="583"/>
                  <a:pt x="482" y="586"/>
                  <a:pt x="478" y="589"/>
                </a:cubicBezTo>
                <a:cubicBezTo>
                  <a:pt x="474" y="592"/>
                  <a:pt x="472" y="594"/>
                  <a:pt x="472" y="594"/>
                </a:cubicBezTo>
                <a:cubicBezTo>
                  <a:pt x="472" y="594"/>
                  <a:pt x="472" y="593"/>
                  <a:pt x="473" y="593"/>
                </a:cubicBezTo>
                <a:cubicBezTo>
                  <a:pt x="476" y="588"/>
                  <a:pt x="478" y="585"/>
                  <a:pt x="478" y="583"/>
                </a:cubicBezTo>
                <a:cubicBezTo>
                  <a:pt x="478" y="581"/>
                  <a:pt x="477" y="581"/>
                  <a:pt x="476" y="581"/>
                </a:cubicBezTo>
                <a:lnTo>
                  <a:pt x="474" y="581"/>
                </a:lnTo>
                <a:cubicBezTo>
                  <a:pt x="471" y="582"/>
                  <a:pt x="469" y="584"/>
                  <a:pt x="469" y="586"/>
                </a:cubicBezTo>
                <a:cubicBezTo>
                  <a:pt x="469" y="589"/>
                  <a:pt x="468" y="592"/>
                  <a:pt x="465" y="594"/>
                </a:cubicBezTo>
                <a:cubicBezTo>
                  <a:pt x="462" y="596"/>
                  <a:pt x="461" y="597"/>
                  <a:pt x="461" y="597"/>
                </a:cubicBezTo>
                <a:cubicBezTo>
                  <a:pt x="461" y="597"/>
                  <a:pt x="461" y="596"/>
                  <a:pt x="462" y="595"/>
                </a:cubicBezTo>
                <a:lnTo>
                  <a:pt x="463" y="592"/>
                </a:lnTo>
                <a:cubicBezTo>
                  <a:pt x="463" y="592"/>
                  <a:pt x="462" y="592"/>
                  <a:pt x="461" y="593"/>
                </a:cubicBezTo>
                <a:cubicBezTo>
                  <a:pt x="459" y="594"/>
                  <a:pt x="459" y="595"/>
                  <a:pt x="459" y="596"/>
                </a:cubicBezTo>
                <a:cubicBezTo>
                  <a:pt x="459" y="597"/>
                  <a:pt x="459" y="597"/>
                  <a:pt x="459" y="598"/>
                </a:cubicBezTo>
                <a:lnTo>
                  <a:pt x="459" y="598"/>
                </a:lnTo>
                <a:cubicBezTo>
                  <a:pt x="459" y="601"/>
                  <a:pt x="456" y="607"/>
                  <a:pt x="449" y="617"/>
                </a:cubicBezTo>
                <a:cubicBezTo>
                  <a:pt x="443" y="626"/>
                  <a:pt x="440" y="632"/>
                  <a:pt x="440" y="635"/>
                </a:cubicBezTo>
                <a:cubicBezTo>
                  <a:pt x="440" y="636"/>
                  <a:pt x="440" y="637"/>
                  <a:pt x="441" y="637"/>
                </a:cubicBezTo>
                <a:cubicBezTo>
                  <a:pt x="442" y="638"/>
                  <a:pt x="442" y="638"/>
                  <a:pt x="442" y="639"/>
                </a:cubicBezTo>
                <a:cubicBezTo>
                  <a:pt x="442" y="640"/>
                  <a:pt x="442" y="640"/>
                  <a:pt x="441" y="641"/>
                </a:cubicBezTo>
                <a:cubicBezTo>
                  <a:pt x="441" y="642"/>
                  <a:pt x="440" y="642"/>
                  <a:pt x="439" y="642"/>
                </a:cubicBezTo>
                <a:cubicBezTo>
                  <a:pt x="438" y="642"/>
                  <a:pt x="438" y="642"/>
                  <a:pt x="438" y="640"/>
                </a:cubicBezTo>
                <a:cubicBezTo>
                  <a:pt x="438" y="639"/>
                  <a:pt x="437" y="639"/>
                  <a:pt x="436" y="639"/>
                </a:cubicBezTo>
                <a:lnTo>
                  <a:pt x="433" y="639"/>
                </a:lnTo>
                <a:cubicBezTo>
                  <a:pt x="431" y="640"/>
                  <a:pt x="430" y="641"/>
                  <a:pt x="430" y="642"/>
                </a:cubicBezTo>
                <a:lnTo>
                  <a:pt x="430" y="643"/>
                </a:lnTo>
                <a:cubicBezTo>
                  <a:pt x="430" y="646"/>
                  <a:pt x="422" y="659"/>
                  <a:pt x="406" y="681"/>
                </a:cubicBezTo>
                <a:cubicBezTo>
                  <a:pt x="385" y="711"/>
                  <a:pt x="375" y="728"/>
                  <a:pt x="375" y="731"/>
                </a:cubicBezTo>
                <a:cubicBezTo>
                  <a:pt x="375" y="732"/>
                  <a:pt x="374" y="732"/>
                  <a:pt x="374" y="733"/>
                </a:cubicBezTo>
                <a:cubicBezTo>
                  <a:pt x="373" y="734"/>
                  <a:pt x="373" y="734"/>
                  <a:pt x="372" y="734"/>
                </a:cubicBezTo>
                <a:cubicBezTo>
                  <a:pt x="372" y="734"/>
                  <a:pt x="370" y="735"/>
                  <a:pt x="368" y="738"/>
                </a:cubicBezTo>
                <a:cubicBezTo>
                  <a:pt x="366" y="741"/>
                  <a:pt x="363" y="744"/>
                  <a:pt x="361" y="748"/>
                </a:cubicBezTo>
                <a:cubicBezTo>
                  <a:pt x="356" y="757"/>
                  <a:pt x="350" y="766"/>
                  <a:pt x="342" y="776"/>
                </a:cubicBezTo>
                <a:cubicBezTo>
                  <a:pt x="335" y="785"/>
                  <a:pt x="332" y="790"/>
                  <a:pt x="332" y="792"/>
                </a:cubicBezTo>
                <a:cubicBezTo>
                  <a:pt x="332" y="794"/>
                  <a:pt x="333" y="796"/>
                  <a:pt x="335" y="796"/>
                </a:cubicBezTo>
                <a:cubicBezTo>
                  <a:pt x="337" y="796"/>
                  <a:pt x="338" y="795"/>
                  <a:pt x="340" y="793"/>
                </a:cubicBezTo>
                <a:cubicBezTo>
                  <a:pt x="341" y="791"/>
                  <a:pt x="342" y="790"/>
                  <a:pt x="342" y="790"/>
                </a:cubicBezTo>
                <a:cubicBezTo>
                  <a:pt x="342" y="789"/>
                  <a:pt x="342" y="789"/>
                  <a:pt x="341" y="789"/>
                </a:cubicBezTo>
                <a:cubicBezTo>
                  <a:pt x="341" y="789"/>
                  <a:pt x="340" y="789"/>
                  <a:pt x="340" y="788"/>
                </a:cubicBezTo>
                <a:cubicBezTo>
                  <a:pt x="340" y="787"/>
                  <a:pt x="342" y="785"/>
                  <a:pt x="346" y="781"/>
                </a:cubicBezTo>
                <a:cubicBezTo>
                  <a:pt x="350" y="778"/>
                  <a:pt x="354" y="776"/>
                  <a:pt x="358" y="776"/>
                </a:cubicBezTo>
                <a:lnTo>
                  <a:pt x="360" y="776"/>
                </a:lnTo>
                <a:cubicBezTo>
                  <a:pt x="363" y="776"/>
                  <a:pt x="367" y="775"/>
                  <a:pt x="369" y="772"/>
                </a:cubicBezTo>
                <a:cubicBezTo>
                  <a:pt x="370" y="769"/>
                  <a:pt x="372" y="768"/>
                  <a:pt x="372" y="768"/>
                </a:cubicBezTo>
                <a:cubicBezTo>
                  <a:pt x="372" y="768"/>
                  <a:pt x="372" y="767"/>
                  <a:pt x="371" y="767"/>
                </a:cubicBezTo>
                <a:lnTo>
                  <a:pt x="367" y="770"/>
                </a:lnTo>
                <a:cubicBezTo>
                  <a:pt x="362" y="772"/>
                  <a:pt x="359" y="774"/>
                  <a:pt x="357" y="774"/>
                </a:cubicBezTo>
                <a:cubicBezTo>
                  <a:pt x="356" y="774"/>
                  <a:pt x="356" y="773"/>
                  <a:pt x="356" y="772"/>
                </a:cubicBezTo>
                <a:cubicBezTo>
                  <a:pt x="356" y="771"/>
                  <a:pt x="356" y="770"/>
                  <a:pt x="357" y="769"/>
                </a:cubicBezTo>
                <a:cubicBezTo>
                  <a:pt x="358" y="767"/>
                  <a:pt x="360" y="767"/>
                  <a:pt x="362" y="766"/>
                </a:cubicBezTo>
                <a:cubicBezTo>
                  <a:pt x="363" y="765"/>
                  <a:pt x="365" y="764"/>
                  <a:pt x="366" y="764"/>
                </a:cubicBezTo>
                <a:cubicBezTo>
                  <a:pt x="368" y="764"/>
                  <a:pt x="369" y="764"/>
                  <a:pt x="370" y="764"/>
                </a:cubicBezTo>
                <a:cubicBezTo>
                  <a:pt x="370" y="763"/>
                  <a:pt x="371" y="763"/>
                  <a:pt x="371" y="762"/>
                </a:cubicBezTo>
                <a:cubicBezTo>
                  <a:pt x="371" y="762"/>
                  <a:pt x="370" y="761"/>
                  <a:pt x="370" y="760"/>
                </a:cubicBezTo>
                <a:cubicBezTo>
                  <a:pt x="370" y="759"/>
                  <a:pt x="369" y="759"/>
                  <a:pt x="367" y="759"/>
                </a:cubicBezTo>
                <a:cubicBezTo>
                  <a:pt x="367" y="759"/>
                  <a:pt x="366" y="759"/>
                  <a:pt x="365" y="760"/>
                </a:cubicBezTo>
                <a:cubicBezTo>
                  <a:pt x="365" y="761"/>
                  <a:pt x="364" y="761"/>
                  <a:pt x="364" y="761"/>
                </a:cubicBezTo>
                <a:cubicBezTo>
                  <a:pt x="364" y="761"/>
                  <a:pt x="363" y="761"/>
                  <a:pt x="363" y="760"/>
                </a:cubicBezTo>
                <a:lnTo>
                  <a:pt x="364" y="759"/>
                </a:lnTo>
                <a:cubicBezTo>
                  <a:pt x="365" y="757"/>
                  <a:pt x="367" y="756"/>
                  <a:pt x="367" y="756"/>
                </a:cubicBezTo>
                <a:cubicBezTo>
                  <a:pt x="368" y="756"/>
                  <a:pt x="369" y="757"/>
                  <a:pt x="369" y="757"/>
                </a:cubicBezTo>
                <a:cubicBezTo>
                  <a:pt x="369" y="757"/>
                  <a:pt x="369" y="757"/>
                  <a:pt x="370" y="757"/>
                </a:cubicBezTo>
                <a:cubicBezTo>
                  <a:pt x="371" y="757"/>
                  <a:pt x="373" y="756"/>
                  <a:pt x="375" y="752"/>
                </a:cubicBezTo>
                <a:cubicBezTo>
                  <a:pt x="375" y="751"/>
                  <a:pt x="376" y="749"/>
                  <a:pt x="377" y="748"/>
                </a:cubicBezTo>
                <a:cubicBezTo>
                  <a:pt x="379" y="747"/>
                  <a:pt x="380" y="746"/>
                  <a:pt x="381" y="746"/>
                </a:cubicBezTo>
                <a:cubicBezTo>
                  <a:pt x="382" y="746"/>
                  <a:pt x="382" y="747"/>
                  <a:pt x="382" y="747"/>
                </a:cubicBezTo>
                <a:cubicBezTo>
                  <a:pt x="382" y="748"/>
                  <a:pt x="382" y="749"/>
                  <a:pt x="380" y="751"/>
                </a:cubicBezTo>
                <a:cubicBezTo>
                  <a:pt x="379" y="752"/>
                  <a:pt x="378" y="754"/>
                  <a:pt x="378" y="756"/>
                </a:cubicBezTo>
                <a:cubicBezTo>
                  <a:pt x="378" y="757"/>
                  <a:pt x="379" y="758"/>
                  <a:pt x="379" y="759"/>
                </a:cubicBezTo>
                <a:cubicBezTo>
                  <a:pt x="380" y="759"/>
                  <a:pt x="380" y="760"/>
                  <a:pt x="380" y="760"/>
                </a:cubicBezTo>
                <a:cubicBezTo>
                  <a:pt x="380" y="761"/>
                  <a:pt x="380" y="761"/>
                  <a:pt x="379" y="761"/>
                </a:cubicBezTo>
                <a:cubicBezTo>
                  <a:pt x="379" y="761"/>
                  <a:pt x="379" y="761"/>
                  <a:pt x="378" y="760"/>
                </a:cubicBezTo>
                <a:cubicBezTo>
                  <a:pt x="378" y="759"/>
                  <a:pt x="377" y="759"/>
                  <a:pt x="376" y="759"/>
                </a:cubicBezTo>
                <a:cubicBezTo>
                  <a:pt x="375" y="759"/>
                  <a:pt x="375" y="761"/>
                  <a:pt x="375" y="763"/>
                </a:cubicBezTo>
                <a:cubicBezTo>
                  <a:pt x="375" y="766"/>
                  <a:pt x="372" y="771"/>
                  <a:pt x="366" y="778"/>
                </a:cubicBezTo>
                <a:cubicBezTo>
                  <a:pt x="360" y="785"/>
                  <a:pt x="355" y="791"/>
                  <a:pt x="349" y="797"/>
                </a:cubicBezTo>
                <a:cubicBezTo>
                  <a:pt x="341" y="805"/>
                  <a:pt x="335" y="808"/>
                  <a:pt x="330" y="808"/>
                </a:cubicBezTo>
                <a:close/>
                <a:moveTo>
                  <a:pt x="736" y="623"/>
                </a:moveTo>
                <a:cubicBezTo>
                  <a:pt x="737" y="623"/>
                  <a:pt x="737" y="622"/>
                  <a:pt x="737" y="621"/>
                </a:cubicBezTo>
                <a:cubicBezTo>
                  <a:pt x="737" y="620"/>
                  <a:pt x="737" y="619"/>
                  <a:pt x="735" y="617"/>
                </a:cubicBezTo>
                <a:cubicBezTo>
                  <a:pt x="733" y="615"/>
                  <a:pt x="732" y="614"/>
                  <a:pt x="732" y="614"/>
                </a:cubicBezTo>
                <a:lnTo>
                  <a:pt x="734" y="614"/>
                </a:lnTo>
                <a:cubicBezTo>
                  <a:pt x="734" y="613"/>
                  <a:pt x="732" y="609"/>
                  <a:pt x="729" y="603"/>
                </a:cubicBezTo>
                <a:cubicBezTo>
                  <a:pt x="719" y="589"/>
                  <a:pt x="712" y="583"/>
                  <a:pt x="705" y="583"/>
                </a:cubicBezTo>
                <a:cubicBezTo>
                  <a:pt x="704" y="583"/>
                  <a:pt x="704" y="583"/>
                  <a:pt x="704" y="584"/>
                </a:cubicBezTo>
                <a:cubicBezTo>
                  <a:pt x="704" y="585"/>
                  <a:pt x="704" y="586"/>
                  <a:pt x="706" y="589"/>
                </a:cubicBezTo>
                <a:cubicBezTo>
                  <a:pt x="707" y="591"/>
                  <a:pt x="709" y="593"/>
                  <a:pt x="711" y="593"/>
                </a:cubicBezTo>
                <a:lnTo>
                  <a:pt x="713" y="592"/>
                </a:lnTo>
                <a:lnTo>
                  <a:pt x="713" y="592"/>
                </a:lnTo>
                <a:cubicBezTo>
                  <a:pt x="713" y="592"/>
                  <a:pt x="712" y="593"/>
                  <a:pt x="711" y="595"/>
                </a:cubicBezTo>
                <a:cubicBezTo>
                  <a:pt x="710" y="598"/>
                  <a:pt x="709" y="599"/>
                  <a:pt x="709" y="600"/>
                </a:cubicBezTo>
                <a:cubicBezTo>
                  <a:pt x="709" y="600"/>
                  <a:pt x="709" y="600"/>
                  <a:pt x="709" y="600"/>
                </a:cubicBezTo>
                <a:lnTo>
                  <a:pt x="714" y="600"/>
                </a:lnTo>
                <a:cubicBezTo>
                  <a:pt x="717" y="600"/>
                  <a:pt x="718" y="600"/>
                  <a:pt x="718" y="602"/>
                </a:cubicBezTo>
                <a:cubicBezTo>
                  <a:pt x="718" y="603"/>
                  <a:pt x="717" y="604"/>
                  <a:pt x="716" y="605"/>
                </a:cubicBezTo>
                <a:cubicBezTo>
                  <a:pt x="715" y="607"/>
                  <a:pt x="714" y="608"/>
                  <a:pt x="714" y="609"/>
                </a:cubicBezTo>
                <a:lnTo>
                  <a:pt x="715" y="609"/>
                </a:lnTo>
                <a:lnTo>
                  <a:pt x="717" y="608"/>
                </a:lnTo>
                <a:cubicBezTo>
                  <a:pt x="719" y="608"/>
                  <a:pt x="721" y="609"/>
                  <a:pt x="724" y="611"/>
                </a:cubicBezTo>
                <a:cubicBezTo>
                  <a:pt x="726" y="613"/>
                  <a:pt x="727" y="614"/>
                  <a:pt x="727" y="614"/>
                </a:cubicBezTo>
                <a:cubicBezTo>
                  <a:pt x="727" y="615"/>
                  <a:pt x="726" y="615"/>
                  <a:pt x="726" y="615"/>
                </a:cubicBezTo>
                <a:lnTo>
                  <a:pt x="724" y="614"/>
                </a:lnTo>
                <a:lnTo>
                  <a:pt x="724" y="614"/>
                </a:lnTo>
                <a:cubicBezTo>
                  <a:pt x="724" y="615"/>
                  <a:pt x="725" y="616"/>
                  <a:pt x="727" y="617"/>
                </a:cubicBezTo>
                <a:cubicBezTo>
                  <a:pt x="729" y="620"/>
                  <a:pt x="731" y="621"/>
                  <a:pt x="732" y="622"/>
                </a:cubicBezTo>
                <a:cubicBezTo>
                  <a:pt x="734" y="623"/>
                  <a:pt x="735" y="623"/>
                  <a:pt x="736" y="623"/>
                </a:cubicBezTo>
                <a:close/>
                <a:moveTo>
                  <a:pt x="578" y="673"/>
                </a:moveTo>
                <a:cubicBezTo>
                  <a:pt x="580" y="673"/>
                  <a:pt x="583" y="671"/>
                  <a:pt x="589" y="668"/>
                </a:cubicBezTo>
                <a:cubicBezTo>
                  <a:pt x="596" y="664"/>
                  <a:pt x="612" y="647"/>
                  <a:pt x="637" y="620"/>
                </a:cubicBezTo>
                <a:cubicBezTo>
                  <a:pt x="645" y="610"/>
                  <a:pt x="654" y="601"/>
                  <a:pt x="665" y="590"/>
                </a:cubicBezTo>
                <a:cubicBezTo>
                  <a:pt x="672" y="583"/>
                  <a:pt x="675" y="579"/>
                  <a:pt x="675" y="578"/>
                </a:cubicBezTo>
                <a:lnTo>
                  <a:pt x="671" y="579"/>
                </a:lnTo>
                <a:cubicBezTo>
                  <a:pt x="671" y="579"/>
                  <a:pt x="670" y="579"/>
                  <a:pt x="670" y="579"/>
                </a:cubicBezTo>
                <a:cubicBezTo>
                  <a:pt x="670" y="579"/>
                  <a:pt x="671" y="577"/>
                  <a:pt x="673" y="575"/>
                </a:cubicBezTo>
                <a:cubicBezTo>
                  <a:pt x="674" y="573"/>
                  <a:pt x="675" y="572"/>
                  <a:pt x="675" y="572"/>
                </a:cubicBezTo>
                <a:cubicBezTo>
                  <a:pt x="675" y="571"/>
                  <a:pt x="675" y="571"/>
                  <a:pt x="675" y="571"/>
                </a:cubicBezTo>
                <a:cubicBezTo>
                  <a:pt x="674" y="571"/>
                  <a:pt x="672" y="572"/>
                  <a:pt x="669" y="573"/>
                </a:cubicBezTo>
                <a:cubicBezTo>
                  <a:pt x="660" y="577"/>
                  <a:pt x="642" y="593"/>
                  <a:pt x="614" y="621"/>
                </a:cubicBezTo>
                <a:cubicBezTo>
                  <a:pt x="587" y="649"/>
                  <a:pt x="573" y="665"/>
                  <a:pt x="573" y="670"/>
                </a:cubicBezTo>
                <a:cubicBezTo>
                  <a:pt x="573" y="670"/>
                  <a:pt x="573" y="671"/>
                  <a:pt x="574" y="671"/>
                </a:cubicBezTo>
                <a:cubicBezTo>
                  <a:pt x="575" y="671"/>
                  <a:pt x="575" y="672"/>
                  <a:pt x="576" y="672"/>
                </a:cubicBezTo>
                <a:cubicBezTo>
                  <a:pt x="577" y="673"/>
                  <a:pt x="578" y="673"/>
                  <a:pt x="578" y="673"/>
                </a:cubicBezTo>
                <a:close/>
                <a:moveTo>
                  <a:pt x="537" y="661"/>
                </a:moveTo>
                <a:lnTo>
                  <a:pt x="537" y="660"/>
                </a:lnTo>
                <a:cubicBezTo>
                  <a:pt x="538" y="659"/>
                  <a:pt x="538" y="659"/>
                  <a:pt x="538" y="658"/>
                </a:cubicBezTo>
                <a:lnTo>
                  <a:pt x="537" y="655"/>
                </a:lnTo>
                <a:cubicBezTo>
                  <a:pt x="537" y="654"/>
                  <a:pt x="537" y="653"/>
                  <a:pt x="536" y="653"/>
                </a:cubicBezTo>
                <a:cubicBezTo>
                  <a:pt x="536" y="653"/>
                  <a:pt x="536" y="654"/>
                  <a:pt x="535" y="656"/>
                </a:cubicBezTo>
                <a:cubicBezTo>
                  <a:pt x="535" y="659"/>
                  <a:pt x="536" y="661"/>
                  <a:pt x="537" y="661"/>
                </a:cubicBezTo>
                <a:close/>
                <a:moveTo>
                  <a:pt x="547" y="665"/>
                </a:moveTo>
                <a:cubicBezTo>
                  <a:pt x="548" y="665"/>
                  <a:pt x="549" y="665"/>
                  <a:pt x="551" y="665"/>
                </a:cubicBezTo>
                <a:cubicBezTo>
                  <a:pt x="552" y="664"/>
                  <a:pt x="553" y="664"/>
                  <a:pt x="554" y="663"/>
                </a:cubicBezTo>
                <a:cubicBezTo>
                  <a:pt x="555" y="662"/>
                  <a:pt x="556" y="661"/>
                  <a:pt x="556" y="661"/>
                </a:cubicBezTo>
                <a:cubicBezTo>
                  <a:pt x="556" y="659"/>
                  <a:pt x="554" y="658"/>
                  <a:pt x="552" y="658"/>
                </a:cubicBezTo>
                <a:cubicBezTo>
                  <a:pt x="551" y="658"/>
                  <a:pt x="550" y="658"/>
                  <a:pt x="550" y="658"/>
                </a:cubicBezTo>
                <a:cubicBezTo>
                  <a:pt x="550" y="657"/>
                  <a:pt x="551" y="656"/>
                  <a:pt x="553" y="655"/>
                </a:cubicBezTo>
                <a:cubicBezTo>
                  <a:pt x="554" y="654"/>
                  <a:pt x="555" y="653"/>
                  <a:pt x="555" y="653"/>
                </a:cubicBezTo>
                <a:cubicBezTo>
                  <a:pt x="555" y="652"/>
                  <a:pt x="555" y="652"/>
                  <a:pt x="553" y="652"/>
                </a:cubicBezTo>
                <a:cubicBezTo>
                  <a:pt x="552" y="652"/>
                  <a:pt x="552" y="644"/>
                  <a:pt x="552" y="629"/>
                </a:cubicBezTo>
                <a:lnTo>
                  <a:pt x="552" y="569"/>
                </a:lnTo>
                <a:cubicBezTo>
                  <a:pt x="552" y="554"/>
                  <a:pt x="552" y="544"/>
                  <a:pt x="551" y="541"/>
                </a:cubicBezTo>
                <a:cubicBezTo>
                  <a:pt x="551" y="539"/>
                  <a:pt x="550" y="537"/>
                  <a:pt x="548" y="536"/>
                </a:cubicBezTo>
                <a:cubicBezTo>
                  <a:pt x="547" y="534"/>
                  <a:pt x="545" y="534"/>
                  <a:pt x="544" y="534"/>
                </a:cubicBezTo>
                <a:cubicBezTo>
                  <a:pt x="543" y="534"/>
                  <a:pt x="542" y="535"/>
                  <a:pt x="541" y="536"/>
                </a:cubicBezTo>
                <a:cubicBezTo>
                  <a:pt x="541" y="538"/>
                  <a:pt x="541" y="539"/>
                  <a:pt x="540" y="539"/>
                </a:cubicBezTo>
                <a:lnTo>
                  <a:pt x="538" y="538"/>
                </a:lnTo>
                <a:cubicBezTo>
                  <a:pt x="536" y="538"/>
                  <a:pt x="535" y="539"/>
                  <a:pt x="534" y="541"/>
                </a:cubicBezTo>
                <a:cubicBezTo>
                  <a:pt x="533" y="548"/>
                  <a:pt x="532" y="571"/>
                  <a:pt x="532" y="611"/>
                </a:cubicBezTo>
                <a:cubicBezTo>
                  <a:pt x="532" y="620"/>
                  <a:pt x="532" y="629"/>
                  <a:pt x="532" y="637"/>
                </a:cubicBezTo>
                <a:cubicBezTo>
                  <a:pt x="533" y="645"/>
                  <a:pt x="533" y="649"/>
                  <a:pt x="534" y="649"/>
                </a:cubicBezTo>
                <a:cubicBezTo>
                  <a:pt x="535" y="649"/>
                  <a:pt x="535" y="648"/>
                  <a:pt x="535" y="646"/>
                </a:cubicBezTo>
                <a:cubicBezTo>
                  <a:pt x="535" y="603"/>
                  <a:pt x="536" y="575"/>
                  <a:pt x="536" y="563"/>
                </a:cubicBezTo>
                <a:cubicBezTo>
                  <a:pt x="537" y="556"/>
                  <a:pt x="538" y="554"/>
                  <a:pt x="539" y="554"/>
                </a:cubicBezTo>
                <a:lnTo>
                  <a:pt x="539" y="554"/>
                </a:lnTo>
                <a:cubicBezTo>
                  <a:pt x="542" y="555"/>
                  <a:pt x="543" y="557"/>
                  <a:pt x="543" y="561"/>
                </a:cubicBezTo>
                <a:cubicBezTo>
                  <a:pt x="543" y="562"/>
                  <a:pt x="543" y="563"/>
                  <a:pt x="543" y="563"/>
                </a:cubicBezTo>
                <a:cubicBezTo>
                  <a:pt x="542" y="564"/>
                  <a:pt x="541" y="564"/>
                  <a:pt x="541" y="564"/>
                </a:cubicBezTo>
                <a:cubicBezTo>
                  <a:pt x="540" y="564"/>
                  <a:pt x="539" y="565"/>
                  <a:pt x="539" y="565"/>
                </a:cubicBezTo>
                <a:cubicBezTo>
                  <a:pt x="539" y="566"/>
                  <a:pt x="540" y="567"/>
                  <a:pt x="541" y="569"/>
                </a:cubicBezTo>
                <a:cubicBezTo>
                  <a:pt x="543" y="571"/>
                  <a:pt x="544" y="572"/>
                  <a:pt x="544" y="572"/>
                </a:cubicBezTo>
                <a:cubicBezTo>
                  <a:pt x="544" y="573"/>
                  <a:pt x="543" y="573"/>
                  <a:pt x="543" y="573"/>
                </a:cubicBezTo>
                <a:lnTo>
                  <a:pt x="542" y="572"/>
                </a:lnTo>
                <a:cubicBezTo>
                  <a:pt x="540" y="572"/>
                  <a:pt x="539" y="583"/>
                  <a:pt x="539" y="605"/>
                </a:cubicBezTo>
                <a:cubicBezTo>
                  <a:pt x="539" y="628"/>
                  <a:pt x="540" y="640"/>
                  <a:pt x="541" y="640"/>
                </a:cubicBezTo>
                <a:cubicBezTo>
                  <a:pt x="542" y="640"/>
                  <a:pt x="543" y="642"/>
                  <a:pt x="543" y="645"/>
                </a:cubicBezTo>
                <a:lnTo>
                  <a:pt x="542" y="658"/>
                </a:lnTo>
                <a:cubicBezTo>
                  <a:pt x="542" y="659"/>
                  <a:pt x="542" y="660"/>
                  <a:pt x="542" y="660"/>
                </a:cubicBezTo>
                <a:cubicBezTo>
                  <a:pt x="542" y="660"/>
                  <a:pt x="543" y="659"/>
                  <a:pt x="544" y="658"/>
                </a:cubicBezTo>
                <a:cubicBezTo>
                  <a:pt x="545" y="656"/>
                  <a:pt x="546" y="656"/>
                  <a:pt x="546" y="656"/>
                </a:cubicBezTo>
                <a:cubicBezTo>
                  <a:pt x="547" y="656"/>
                  <a:pt x="547" y="656"/>
                  <a:pt x="547" y="656"/>
                </a:cubicBezTo>
                <a:lnTo>
                  <a:pt x="546" y="663"/>
                </a:lnTo>
                <a:cubicBezTo>
                  <a:pt x="546" y="664"/>
                  <a:pt x="546" y="665"/>
                  <a:pt x="547" y="665"/>
                </a:cubicBezTo>
                <a:close/>
                <a:moveTo>
                  <a:pt x="492" y="543"/>
                </a:moveTo>
                <a:cubicBezTo>
                  <a:pt x="493" y="543"/>
                  <a:pt x="494" y="543"/>
                  <a:pt x="495" y="542"/>
                </a:cubicBezTo>
                <a:cubicBezTo>
                  <a:pt x="497" y="541"/>
                  <a:pt x="497" y="540"/>
                  <a:pt x="497" y="539"/>
                </a:cubicBezTo>
                <a:cubicBezTo>
                  <a:pt x="497" y="538"/>
                  <a:pt x="497" y="537"/>
                  <a:pt x="496" y="537"/>
                </a:cubicBezTo>
                <a:cubicBezTo>
                  <a:pt x="494" y="537"/>
                  <a:pt x="492" y="538"/>
                  <a:pt x="491" y="540"/>
                </a:cubicBezTo>
                <a:lnTo>
                  <a:pt x="490" y="541"/>
                </a:lnTo>
                <a:cubicBezTo>
                  <a:pt x="490" y="542"/>
                  <a:pt x="491" y="543"/>
                  <a:pt x="492" y="543"/>
                </a:cubicBezTo>
                <a:close/>
                <a:moveTo>
                  <a:pt x="473" y="567"/>
                </a:moveTo>
                <a:cubicBezTo>
                  <a:pt x="473" y="567"/>
                  <a:pt x="474" y="566"/>
                  <a:pt x="476" y="564"/>
                </a:cubicBezTo>
                <a:cubicBezTo>
                  <a:pt x="477" y="563"/>
                  <a:pt x="478" y="562"/>
                  <a:pt x="478" y="561"/>
                </a:cubicBezTo>
                <a:cubicBezTo>
                  <a:pt x="478" y="560"/>
                  <a:pt x="478" y="560"/>
                  <a:pt x="477" y="560"/>
                </a:cubicBezTo>
                <a:lnTo>
                  <a:pt x="477" y="559"/>
                </a:lnTo>
                <a:cubicBezTo>
                  <a:pt x="476" y="559"/>
                  <a:pt x="475" y="561"/>
                  <a:pt x="474" y="563"/>
                </a:cubicBezTo>
                <a:lnTo>
                  <a:pt x="473" y="566"/>
                </a:lnTo>
                <a:lnTo>
                  <a:pt x="473" y="567"/>
                </a:lnTo>
                <a:close/>
                <a:moveTo>
                  <a:pt x="471" y="576"/>
                </a:moveTo>
                <a:cubicBezTo>
                  <a:pt x="474" y="576"/>
                  <a:pt x="475" y="576"/>
                  <a:pt x="475" y="575"/>
                </a:cubicBezTo>
                <a:cubicBezTo>
                  <a:pt x="475" y="574"/>
                  <a:pt x="474" y="573"/>
                  <a:pt x="471" y="572"/>
                </a:cubicBezTo>
                <a:lnTo>
                  <a:pt x="468" y="572"/>
                </a:lnTo>
                <a:cubicBezTo>
                  <a:pt x="467" y="572"/>
                  <a:pt x="466" y="572"/>
                  <a:pt x="466" y="573"/>
                </a:cubicBezTo>
                <a:cubicBezTo>
                  <a:pt x="466" y="574"/>
                  <a:pt x="467" y="575"/>
                  <a:pt x="468" y="575"/>
                </a:cubicBezTo>
                <a:cubicBezTo>
                  <a:pt x="469" y="576"/>
                  <a:pt x="469" y="576"/>
                  <a:pt x="471" y="576"/>
                </a:cubicBezTo>
                <a:close/>
                <a:moveTo>
                  <a:pt x="448" y="599"/>
                </a:moveTo>
                <a:cubicBezTo>
                  <a:pt x="449" y="599"/>
                  <a:pt x="450" y="598"/>
                  <a:pt x="452" y="595"/>
                </a:cubicBezTo>
                <a:cubicBezTo>
                  <a:pt x="455" y="593"/>
                  <a:pt x="457" y="590"/>
                  <a:pt x="459" y="588"/>
                </a:cubicBezTo>
                <a:cubicBezTo>
                  <a:pt x="461" y="585"/>
                  <a:pt x="462" y="583"/>
                  <a:pt x="462" y="581"/>
                </a:cubicBezTo>
                <a:cubicBezTo>
                  <a:pt x="462" y="579"/>
                  <a:pt x="461" y="578"/>
                  <a:pt x="459" y="577"/>
                </a:cubicBezTo>
                <a:cubicBezTo>
                  <a:pt x="457" y="577"/>
                  <a:pt x="457" y="578"/>
                  <a:pt x="456" y="579"/>
                </a:cubicBezTo>
                <a:lnTo>
                  <a:pt x="457" y="581"/>
                </a:lnTo>
                <a:cubicBezTo>
                  <a:pt x="457" y="583"/>
                  <a:pt x="456" y="585"/>
                  <a:pt x="454" y="588"/>
                </a:cubicBezTo>
                <a:cubicBezTo>
                  <a:pt x="450" y="593"/>
                  <a:pt x="448" y="597"/>
                  <a:pt x="448" y="598"/>
                </a:cubicBezTo>
                <a:cubicBezTo>
                  <a:pt x="448" y="598"/>
                  <a:pt x="448" y="599"/>
                  <a:pt x="448" y="599"/>
                </a:cubicBezTo>
                <a:close/>
                <a:moveTo>
                  <a:pt x="439" y="612"/>
                </a:moveTo>
                <a:cubicBezTo>
                  <a:pt x="439" y="612"/>
                  <a:pt x="441" y="612"/>
                  <a:pt x="442" y="611"/>
                </a:cubicBezTo>
                <a:cubicBezTo>
                  <a:pt x="443" y="610"/>
                  <a:pt x="444" y="609"/>
                  <a:pt x="445" y="608"/>
                </a:cubicBezTo>
                <a:cubicBezTo>
                  <a:pt x="446" y="607"/>
                  <a:pt x="446" y="607"/>
                  <a:pt x="446" y="606"/>
                </a:cubicBezTo>
                <a:cubicBezTo>
                  <a:pt x="446" y="605"/>
                  <a:pt x="446" y="605"/>
                  <a:pt x="446" y="605"/>
                </a:cubicBezTo>
                <a:cubicBezTo>
                  <a:pt x="444" y="605"/>
                  <a:pt x="443" y="605"/>
                  <a:pt x="442" y="607"/>
                </a:cubicBezTo>
                <a:cubicBezTo>
                  <a:pt x="439" y="609"/>
                  <a:pt x="438" y="610"/>
                  <a:pt x="438" y="611"/>
                </a:cubicBezTo>
                <a:cubicBezTo>
                  <a:pt x="438" y="612"/>
                  <a:pt x="438" y="612"/>
                  <a:pt x="439" y="612"/>
                </a:cubicBezTo>
                <a:close/>
                <a:moveTo>
                  <a:pt x="325" y="618"/>
                </a:moveTo>
                <a:lnTo>
                  <a:pt x="326" y="617"/>
                </a:lnTo>
                <a:cubicBezTo>
                  <a:pt x="328" y="616"/>
                  <a:pt x="328" y="614"/>
                  <a:pt x="328" y="612"/>
                </a:cubicBezTo>
                <a:cubicBezTo>
                  <a:pt x="328" y="611"/>
                  <a:pt x="328" y="610"/>
                  <a:pt x="326" y="610"/>
                </a:cubicBezTo>
                <a:cubicBezTo>
                  <a:pt x="325" y="610"/>
                  <a:pt x="324" y="610"/>
                  <a:pt x="324" y="611"/>
                </a:cubicBezTo>
                <a:cubicBezTo>
                  <a:pt x="323" y="612"/>
                  <a:pt x="323" y="613"/>
                  <a:pt x="323" y="614"/>
                </a:cubicBezTo>
                <a:cubicBezTo>
                  <a:pt x="323" y="617"/>
                  <a:pt x="323" y="618"/>
                  <a:pt x="325" y="618"/>
                </a:cubicBezTo>
                <a:close/>
                <a:moveTo>
                  <a:pt x="327" y="606"/>
                </a:moveTo>
                <a:cubicBezTo>
                  <a:pt x="327" y="606"/>
                  <a:pt x="327" y="606"/>
                  <a:pt x="328" y="605"/>
                </a:cubicBezTo>
                <a:cubicBezTo>
                  <a:pt x="329" y="605"/>
                  <a:pt x="330" y="604"/>
                  <a:pt x="330" y="602"/>
                </a:cubicBezTo>
                <a:cubicBezTo>
                  <a:pt x="331" y="600"/>
                  <a:pt x="332" y="598"/>
                  <a:pt x="332" y="596"/>
                </a:cubicBezTo>
                <a:lnTo>
                  <a:pt x="332" y="592"/>
                </a:lnTo>
                <a:cubicBezTo>
                  <a:pt x="332" y="590"/>
                  <a:pt x="332" y="588"/>
                  <a:pt x="331" y="588"/>
                </a:cubicBezTo>
                <a:cubicBezTo>
                  <a:pt x="329" y="588"/>
                  <a:pt x="328" y="590"/>
                  <a:pt x="328" y="592"/>
                </a:cubicBezTo>
                <a:cubicBezTo>
                  <a:pt x="328" y="595"/>
                  <a:pt x="328" y="598"/>
                  <a:pt x="327" y="602"/>
                </a:cubicBezTo>
                <a:lnTo>
                  <a:pt x="326" y="605"/>
                </a:lnTo>
                <a:cubicBezTo>
                  <a:pt x="326" y="606"/>
                  <a:pt x="326" y="606"/>
                  <a:pt x="327" y="606"/>
                </a:cubicBezTo>
                <a:close/>
                <a:moveTo>
                  <a:pt x="413" y="430"/>
                </a:moveTo>
                <a:cubicBezTo>
                  <a:pt x="414" y="430"/>
                  <a:pt x="414" y="430"/>
                  <a:pt x="414" y="430"/>
                </a:cubicBezTo>
                <a:lnTo>
                  <a:pt x="413" y="426"/>
                </a:lnTo>
                <a:cubicBezTo>
                  <a:pt x="412" y="424"/>
                  <a:pt x="411" y="423"/>
                  <a:pt x="410" y="422"/>
                </a:cubicBezTo>
                <a:lnTo>
                  <a:pt x="410" y="423"/>
                </a:lnTo>
                <a:cubicBezTo>
                  <a:pt x="410" y="423"/>
                  <a:pt x="409" y="424"/>
                  <a:pt x="409" y="424"/>
                </a:cubicBezTo>
                <a:cubicBezTo>
                  <a:pt x="409" y="425"/>
                  <a:pt x="410" y="426"/>
                  <a:pt x="411" y="428"/>
                </a:cubicBezTo>
                <a:cubicBezTo>
                  <a:pt x="412" y="429"/>
                  <a:pt x="413" y="430"/>
                  <a:pt x="413" y="430"/>
                </a:cubicBezTo>
                <a:close/>
                <a:moveTo>
                  <a:pt x="406" y="437"/>
                </a:moveTo>
                <a:cubicBezTo>
                  <a:pt x="407" y="437"/>
                  <a:pt x="407" y="437"/>
                  <a:pt x="408" y="436"/>
                </a:cubicBezTo>
                <a:cubicBezTo>
                  <a:pt x="409" y="436"/>
                  <a:pt x="409" y="436"/>
                  <a:pt x="409" y="435"/>
                </a:cubicBezTo>
                <a:cubicBezTo>
                  <a:pt x="409" y="435"/>
                  <a:pt x="408" y="434"/>
                  <a:pt x="406" y="432"/>
                </a:cubicBezTo>
                <a:lnTo>
                  <a:pt x="405" y="432"/>
                </a:lnTo>
                <a:cubicBezTo>
                  <a:pt x="404" y="432"/>
                  <a:pt x="403" y="432"/>
                  <a:pt x="403" y="433"/>
                </a:cubicBezTo>
                <a:cubicBezTo>
                  <a:pt x="403" y="436"/>
                  <a:pt x="404" y="437"/>
                  <a:pt x="406" y="437"/>
                </a:cubicBezTo>
                <a:close/>
                <a:moveTo>
                  <a:pt x="403" y="446"/>
                </a:moveTo>
                <a:cubicBezTo>
                  <a:pt x="404" y="446"/>
                  <a:pt x="404" y="446"/>
                  <a:pt x="405" y="446"/>
                </a:cubicBezTo>
                <a:cubicBezTo>
                  <a:pt x="406" y="445"/>
                  <a:pt x="406" y="445"/>
                  <a:pt x="406" y="444"/>
                </a:cubicBezTo>
                <a:cubicBezTo>
                  <a:pt x="406" y="444"/>
                  <a:pt x="405" y="443"/>
                  <a:pt x="403" y="441"/>
                </a:cubicBezTo>
                <a:lnTo>
                  <a:pt x="402" y="441"/>
                </a:lnTo>
                <a:cubicBezTo>
                  <a:pt x="401" y="441"/>
                  <a:pt x="400" y="441"/>
                  <a:pt x="400" y="442"/>
                </a:cubicBezTo>
                <a:cubicBezTo>
                  <a:pt x="400" y="445"/>
                  <a:pt x="401" y="446"/>
                  <a:pt x="403" y="446"/>
                </a:cubicBezTo>
                <a:close/>
                <a:moveTo>
                  <a:pt x="355" y="512"/>
                </a:moveTo>
                <a:cubicBezTo>
                  <a:pt x="356" y="512"/>
                  <a:pt x="356" y="511"/>
                  <a:pt x="356" y="508"/>
                </a:cubicBezTo>
                <a:cubicBezTo>
                  <a:pt x="356" y="505"/>
                  <a:pt x="355" y="504"/>
                  <a:pt x="354" y="504"/>
                </a:cubicBezTo>
                <a:cubicBezTo>
                  <a:pt x="352" y="504"/>
                  <a:pt x="352" y="505"/>
                  <a:pt x="352" y="506"/>
                </a:cubicBezTo>
                <a:cubicBezTo>
                  <a:pt x="352" y="507"/>
                  <a:pt x="352" y="509"/>
                  <a:pt x="353" y="510"/>
                </a:cubicBezTo>
                <a:cubicBezTo>
                  <a:pt x="354" y="512"/>
                  <a:pt x="355" y="512"/>
                  <a:pt x="355" y="512"/>
                </a:cubicBezTo>
                <a:close/>
                <a:moveTo>
                  <a:pt x="373" y="615"/>
                </a:moveTo>
                <a:cubicBezTo>
                  <a:pt x="372" y="615"/>
                  <a:pt x="372" y="614"/>
                  <a:pt x="372" y="613"/>
                </a:cubicBezTo>
                <a:cubicBezTo>
                  <a:pt x="372" y="610"/>
                  <a:pt x="373" y="607"/>
                  <a:pt x="375" y="604"/>
                </a:cubicBezTo>
                <a:cubicBezTo>
                  <a:pt x="375" y="602"/>
                  <a:pt x="376" y="601"/>
                  <a:pt x="376" y="601"/>
                </a:cubicBezTo>
                <a:cubicBezTo>
                  <a:pt x="377" y="601"/>
                  <a:pt x="377" y="601"/>
                  <a:pt x="377" y="602"/>
                </a:cubicBezTo>
                <a:cubicBezTo>
                  <a:pt x="377" y="604"/>
                  <a:pt x="376" y="607"/>
                  <a:pt x="375" y="611"/>
                </a:cubicBezTo>
                <a:cubicBezTo>
                  <a:pt x="374" y="614"/>
                  <a:pt x="373" y="615"/>
                  <a:pt x="373" y="615"/>
                </a:cubicBezTo>
                <a:close/>
                <a:moveTo>
                  <a:pt x="615" y="631"/>
                </a:moveTo>
                <a:cubicBezTo>
                  <a:pt x="615" y="630"/>
                  <a:pt x="618" y="626"/>
                  <a:pt x="623" y="619"/>
                </a:cubicBezTo>
                <a:cubicBezTo>
                  <a:pt x="629" y="612"/>
                  <a:pt x="633" y="608"/>
                  <a:pt x="635" y="608"/>
                </a:cubicBezTo>
                <a:lnTo>
                  <a:pt x="635" y="608"/>
                </a:lnTo>
                <a:lnTo>
                  <a:pt x="635" y="609"/>
                </a:lnTo>
                <a:cubicBezTo>
                  <a:pt x="635" y="610"/>
                  <a:pt x="633" y="614"/>
                  <a:pt x="627" y="621"/>
                </a:cubicBezTo>
                <a:cubicBezTo>
                  <a:pt x="621" y="627"/>
                  <a:pt x="617" y="631"/>
                  <a:pt x="615" y="631"/>
                </a:cubicBezTo>
                <a:close/>
                <a:moveTo>
                  <a:pt x="577" y="670"/>
                </a:moveTo>
                <a:lnTo>
                  <a:pt x="576" y="670"/>
                </a:lnTo>
                <a:cubicBezTo>
                  <a:pt x="576" y="669"/>
                  <a:pt x="578" y="667"/>
                  <a:pt x="581" y="664"/>
                </a:cubicBezTo>
                <a:cubicBezTo>
                  <a:pt x="586" y="661"/>
                  <a:pt x="592" y="654"/>
                  <a:pt x="601" y="645"/>
                </a:cubicBezTo>
                <a:cubicBezTo>
                  <a:pt x="607" y="638"/>
                  <a:pt x="611" y="634"/>
                  <a:pt x="613" y="634"/>
                </a:cubicBezTo>
                <a:cubicBezTo>
                  <a:pt x="613" y="637"/>
                  <a:pt x="607" y="643"/>
                  <a:pt x="596" y="654"/>
                </a:cubicBezTo>
                <a:cubicBezTo>
                  <a:pt x="585" y="665"/>
                  <a:pt x="579" y="670"/>
                  <a:pt x="577" y="670"/>
                </a:cubicBezTo>
                <a:close/>
                <a:moveTo>
                  <a:pt x="385" y="570"/>
                </a:moveTo>
                <a:lnTo>
                  <a:pt x="385" y="569"/>
                </a:lnTo>
                <a:cubicBezTo>
                  <a:pt x="385" y="567"/>
                  <a:pt x="392" y="541"/>
                  <a:pt x="407" y="493"/>
                </a:cubicBezTo>
                <a:cubicBezTo>
                  <a:pt x="421" y="448"/>
                  <a:pt x="428" y="426"/>
                  <a:pt x="429" y="426"/>
                </a:cubicBezTo>
                <a:cubicBezTo>
                  <a:pt x="429" y="432"/>
                  <a:pt x="418" y="468"/>
                  <a:pt x="398" y="532"/>
                </a:cubicBezTo>
                <a:cubicBezTo>
                  <a:pt x="390" y="557"/>
                  <a:pt x="385" y="570"/>
                  <a:pt x="385" y="570"/>
                </a:cubicBezTo>
                <a:close/>
                <a:moveTo>
                  <a:pt x="403" y="664"/>
                </a:moveTo>
                <a:cubicBezTo>
                  <a:pt x="401" y="664"/>
                  <a:pt x="400" y="663"/>
                  <a:pt x="400" y="661"/>
                </a:cubicBezTo>
                <a:cubicBezTo>
                  <a:pt x="400" y="659"/>
                  <a:pt x="401" y="658"/>
                  <a:pt x="403" y="658"/>
                </a:cubicBezTo>
                <a:cubicBezTo>
                  <a:pt x="405" y="658"/>
                  <a:pt x="406" y="659"/>
                  <a:pt x="406" y="661"/>
                </a:cubicBezTo>
                <a:cubicBezTo>
                  <a:pt x="406" y="663"/>
                  <a:pt x="405" y="664"/>
                  <a:pt x="403" y="664"/>
                </a:cubicBezTo>
                <a:close/>
                <a:moveTo>
                  <a:pt x="639" y="607"/>
                </a:moveTo>
                <a:close/>
                <a:moveTo>
                  <a:pt x="639" y="607"/>
                </a:moveTo>
                <a:lnTo>
                  <a:pt x="639" y="607"/>
                </a:lnTo>
                <a:cubicBezTo>
                  <a:pt x="639" y="604"/>
                  <a:pt x="643" y="598"/>
                  <a:pt x="653" y="590"/>
                </a:cubicBezTo>
                <a:cubicBezTo>
                  <a:pt x="659" y="583"/>
                  <a:pt x="664" y="580"/>
                  <a:pt x="666" y="580"/>
                </a:cubicBezTo>
                <a:cubicBezTo>
                  <a:pt x="667" y="580"/>
                  <a:pt x="668" y="581"/>
                  <a:pt x="668" y="583"/>
                </a:cubicBezTo>
                <a:cubicBezTo>
                  <a:pt x="668" y="585"/>
                  <a:pt x="666" y="586"/>
                  <a:pt x="663" y="588"/>
                </a:cubicBezTo>
                <a:cubicBezTo>
                  <a:pt x="659" y="589"/>
                  <a:pt x="655" y="593"/>
                  <a:pt x="648" y="599"/>
                </a:cubicBezTo>
                <a:cubicBezTo>
                  <a:pt x="643" y="605"/>
                  <a:pt x="640" y="607"/>
                  <a:pt x="639" y="607"/>
                </a:cubicBezTo>
                <a:close/>
                <a:moveTo>
                  <a:pt x="910" y="555"/>
                </a:moveTo>
                <a:lnTo>
                  <a:pt x="910" y="555"/>
                </a:lnTo>
                <a:cubicBezTo>
                  <a:pt x="910" y="555"/>
                  <a:pt x="909" y="554"/>
                  <a:pt x="908" y="554"/>
                </a:cubicBezTo>
                <a:cubicBezTo>
                  <a:pt x="907" y="554"/>
                  <a:pt x="906" y="553"/>
                  <a:pt x="905" y="553"/>
                </a:cubicBezTo>
                <a:cubicBezTo>
                  <a:pt x="905" y="552"/>
                  <a:pt x="904" y="552"/>
                  <a:pt x="904" y="552"/>
                </a:cubicBezTo>
                <a:cubicBezTo>
                  <a:pt x="904" y="551"/>
                  <a:pt x="905" y="551"/>
                  <a:pt x="905" y="551"/>
                </a:cubicBezTo>
                <a:cubicBezTo>
                  <a:pt x="905" y="551"/>
                  <a:pt x="906" y="551"/>
                  <a:pt x="907" y="551"/>
                </a:cubicBezTo>
                <a:cubicBezTo>
                  <a:pt x="908" y="552"/>
                  <a:pt x="908" y="552"/>
                  <a:pt x="909" y="553"/>
                </a:cubicBezTo>
                <a:cubicBezTo>
                  <a:pt x="910" y="554"/>
                  <a:pt x="910" y="554"/>
                  <a:pt x="910" y="555"/>
                </a:cubicBezTo>
                <a:close/>
                <a:moveTo>
                  <a:pt x="649" y="1102"/>
                </a:moveTo>
                <a:cubicBezTo>
                  <a:pt x="649" y="1102"/>
                  <a:pt x="648" y="1101"/>
                  <a:pt x="647" y="1100"/>
                </a:cubicBezTo>
                <a:cubicBezTo>
                  <a:pt x="646" y="1099"/>
                  <a:pt x="646" y="1098"/>
                  <a:pt x="646" y="1098"/>
                </a:cubicBezTo>
                <a:lnTo>
                  <a:pt x="647" y="1098"/>
                </a:lnTo>
                <a:cubicBezTo>
                  <a:pt x="648" y="1098"/>
                  <a:pt x="648" y="1098"/>
                  <a:pt x="648" y="1097"/>
                </a:cubicBezTo>
                <a:cubicBezTo>
                  <a:pt x="648" y="1095"/>
                  <a:pt x="647" y="1095"/>
                  <a:pt x="647" y="1095"/>
                </a:cubicBezTo>
                <a:lnTo>
                  <a:pt x="646" y="1095"/>
                </a:lnTo>
                <a:cubicBezTo>
                  <a:pt x="645" y="1095"/>
                  <a:pt x="645" y="1095"/>
                  <a:pt x="645" y="1095"/>
                </a:cubicBezTo>
                <a:cubicBezTo>
                  <a:pt x="645" y="1094"/>
                  <a:pt x="645" y="1093"/>
                  <a:pt x="645" y="1092"/>
                </a:cubicBezTo>
                <a:cubicBezTo>
                  <a:pt x="646" y="1091"/>
                  <a:pt x="647" y="1089"/>
                  <a:pt x="647" y="1087"/>
                </a:cubicBezTo>
                <a:lnTo>
                  <a:pt x="646" y="1084"/>
                </a:lnTo>
                <a:cubicBezTo>
                  <a:pt x="646" y="1083"/>
                  <a:pt x="646" y="1083"/>
                  <a:pt x="647" y="1082"/>
                </a:cubicBezTo>
                <a:cubicBezTo>
                  <a:pt x="647" y="1081"/>
                  <a:pt x="647" y="1080"/>
                  <a:pt x="647" y="1078"/>
                </a:cubicBezTo>
                <a:cubicBezTo>
                  <a:pt x="648" y="1076"/>
                  <a:pt x="648" y="1073"/>
                  <a:pt x="648" y="1071"/>
                </a:cubicBezTo>
                <a:cubicBezTo>
                  <a:pt x="648" y="1068"/>
                  <a:pt x="649" y="1061"/>
                  <a:pt x="652" y="1049"/>
                </a:cubicBezTo>
                <a:cubicBezTo>
                  <a:pt x="658" y="1024"/>
                  <a:pt x="663" y="1004"/>
                  <a:pt x="668" y="989"/>
                </a:cubicBezTo>
                <a:cubicBezTo>
                  <a:pt x="681" y="944"/>
                  <a:pt x="688" y="918"/>
                  <a:pt x="688" y="912"/>
                </a:cubicBezTo>
                <a:lnTo>
                  <a:pt x="688" y="911"/>
                </a:lnTo>
                <a:lnTo>
                  <a:pt x="689" y="911"/>
                </a:lnTo>
                <a:cubicBezTo>
                  <a:pt x="690" y="911"/>
                  <a:pt x="691" y="910"/>
                  <a:pt x="692" y="908"/>
                </a:cubicBezTo>
                <a:cubicBezTo>
                  <a:pt x="694" y="903"/>
                  <a:pt x="695" y="899"/>
                  <a:pt x="695" y="895"/>
                </a:cubicBezTo>
                <a:cubicBezTo>
                  <a:pt x="695" y="894"/>
                  <a:pt x="695" y="893"/>
                  <a:pt x="694" y="893"/>
                </a:cubicBezTo>
                <a:cubicBezTo>
                  <a:pt x="694" y="891"/>
                  <a:pt x="695" y="889"/>
                  <a:pt x="696" y="889"/>
                </a:cubicBezTo>
                <a:cubicBezTo>
                  <a:pt x="697" y="888"/>
                  <a:pt x="697" y="887"/>
                  <a:pt x="697" y="885"/>
                </a:cubicBezTo>
                <a:lnTo>
                  <a:pt x="697" y="884"/>
                </a:lnTo>
                <a:cubicBezTo>
                  <a:pt x="697" y="883"/>
                  <a:pt x="697" y="883"/>
                  <a:pt x="698" y="883"/>
                </a:cubicBezTo>
                <a:cubicBezTo>
                  <a:pt x="699" y="883"/>
                  <a:pt x="699" y="882"/>
                  <a:pt x="699" y="882"/>
                </a:cubicBezTo>
                <a:lnTo>
                  <a:pt x="699" y="881"/>
                </a:lnTo>
                <a:cubicBezTo>
                  <a:pt x="699" y="880"/>
                  <a:pt x="699" y="878"/>
                  <a:pt x="701" y="877"/>
                </a:cubicBezTo>
                <a:cubicBezTo>
                  <a:pt x="702" y="875"/>
                  <a:pt x="703" y="874"/>
                  <a:pt x="703" y="872"/>
                </a:cubicBezTo>
                <a:lnTo>
                  <a:pt x="702" y="867"/>
                </a:lnTo>
                <a:cubicBezTo>
                  <a:pt x="702" y="867"/>
                  <a:pt x="702" y="867"/>
                  <a:pt x="703" y="867"/>
                </a:cubicBezTo>
                <a:cubicBezTo>
                  <a:pt x="704" y="867"/>
                  <a:pt x="705" y="865"/>
                  <a:pt x="705" y="862"/>
                </a:cubicBezTo>
                <a:lnTo>
                  <a:pt x="704" y="860"/>
                </a:lnTo>
                <a:lnTo>
                  <a:pt x="705" y="860"/>
                </a:lnTo>
                <a:lnTo>
                  <a:pt x="705" y="860"/>
                </a:lnTo>
                <a:cubicBezTo>
                  <a:pt x="707" y="860"/>
                  <a:pt x="708" y="857"/>
                  <a:pt x="708" y="852"/>
                </a:cubicBezTo>
                <a:lnTo>
                  <a:pt x="708" y="849"/>
                </a:lnTo>
                <a:cubicBezTo>
                  <a:pt x="708" y="847"/>
                  <a:pt x="708" y="845"/>
                  <a:pt x="709" y="845"/>
                </a:cubicBezTo>
                <a:lnTo>
                  <a:pt x="709" y="845"/>
                </a:lnTo>
                <a:cubicBezTo>
                  <a:pt x="710" y="845"/>
                  <a:pt x="710" y="845"/>
                  <a:pt x="710" y="846"/>
                </a:cubicBezTo>
                <a:lnTo>
                  <a:pt x="710" y="848"/>
                </a:lnTo>
                <a:cubicBezTo>
                  <a:pt x="710" y="848"/>
                  <a:pt x="710" y="848"/>
                  <a:pt x="711" y="846"/>
                </a:cubicBezTo>
                <a:cubicBezTo>
                  <a:pt x="712" y="844"/>
                  <a:pt x="713" y="842"/>
                  <a:pt x="713" y="841"/>
                </a:cubicBezTo>
                <a:cubicBezTo>
                  <a:pt x="713" y="840"/>
                  <a:pt x="712" y="839"/>
                  <a:pt x="712" y="838"/>
                </a:cubicBezTo>
                <a:cubicBezTo>
                  <a:pt x="712" y="838"/>
                  <a:pt x="712" y="837"/>
                  <a:pt x="712" y="837"/>
                </a:cubicBezTo>
                <a:cubicBezTo>
                  <a:pt x="712" y="836"/>
                  <a:pt x="712" y="835"/>
                  <a:pt x="713" y="835"/>
                </a:cubicBezTo>
                <a:lnTo>
                  <a:pt x="714" y="835"/>
                </a:lnTo>
                <a:cubicBezTo>
                  <a:pt x="714" y="835"/>
                  <a:pt x="715" y="835"/>
                  <a:pt x="715" y="834"/>
                </a:cubicBezTo>
                <a:lnTo>
                  <a:pt x="715" y="831"/>
                </a:lnTo>
                <a:cubicBezTo>
                  <a:pt x="715" y="829"/>
                  <a:pt x="717" y="823"/>
                  <a:pt x="720" y="812"/>
                </a:cubicBezTo>
                <a:cubicBezTo>
                  <a:pt x="725" y="798"/>
                  <a:pt x="728" y="790"/>
                  <a:pt x="728" y="788"/>
                </a:cubicBezTo>
                <a:cubicBezTo>
                  <a:pt x="728" y="788"/>
                  <a:pt x="727" y="788"/>
                  <a:pt x="727" y="788"/>
                </a:cubicBezTo>
                <a:cubicBezTo>
                  <a:pt x="726" y="788"/>
                  <a:pt x="725" y="787"/>
                  <a:pt x="725" y="786"/>
                </a:cubicBezTo>
                <a:cubicBezTo>
                  <a:pt x="725" y="786"/>
                  <a:pt x="724" y="785"/>
                  <a:pt x="723" y="784"/>
                </a:cubicBezTo>
                <a:cubicBezTo>
                  <a:pt x="722" y="783"/>
                  <a:pt x="721" y="782"/>
                  <a:pt x="721" y="782"/>
                </a:cubicBezTo>
                <a:cubicBezTo>
                  <a:pt x="721" y="782"/>
                  <a:pt x="721" y="781"/>
                  <a:pt x="722" y="781"/>
                </a:cubicBezTo>
                <a:cubicBezTo>
                  <a:pt x="723" y="781"/>
                  <a:pt x="723" y="781"/>
                  <a:pt x="723" y="781"/>
                </a:cubicBezTo>
                <a:lnTo>
                  <a:pt x="723" y="779"/>
                </a:lnTo>
                <a:cubicBezTo>
                  <a:pt x="723" y="778"/>
                  <a:pt x="723" y="777"/>
                  <a:pt x="724" y="777"/>
                </a:cubicBezTo>
                <a:cubicBezTo>
                  <a:pt x="725" y="776"/>
                  <a:pt x="725" y="774"/>
                  <a:pt x="725" y="772"/>
                </a:cubicBezTo>
                <a:lnTo>
                  <a:pt x="725" y="770"/>
                </a:lnTo>
                <a:cubicBezTo>
                  <a:pt x="725" y="764"/>
                  <a:pt x="727" y="757"/>
                  <a:pt x="731" y="748"/>
                </a:cubicBezTo>
                <a:cubicBezTo>
                  <a:pt x="732" y="745"/>
                  <a:pt x="733" y="743"/>
                  <a:pt x="734" y="743"/>
                </a:cubicBezTo>
                <a:cubicBezTo>
                  <a:pt x="734" y="743"/>
                  <a:pt x="735" y="743"/>
                  <a:pt x="735" y="743"/>
                </a:cubicBezTo>
                <a:lnTo>
                  <a:pt x="734" y="741"/>
                </a:lnTo>
                <a:cubicBezTo>
                  <a:pt x="734" y="740"/>
                  <a:pt x="734" y="739"/>
                  <a:pt x="736" y="738"/>
                </a:cubicBezTo>
                <a:cubicBezTo>
                  <a:pt x="737" y="737"/>
                  <a:pt x="737" y="737"/>
                  <a:pt x="737" y="736"/>
                </a:cubicBezTo>
                <a:lnTo>
                  <a:pt x="737" y="735"/>
                </a:lnTo>
                <a:cubicBezTo>
                  <a:pt x="737" y="733"/>
                  <a:pt x="738" y="731"/>
                  <a:pt x="740" y="729"/>
                </a:cubicBezTo>
                <a:cubicBezTo>
                  <a:pt x="742" y="728"/>
                  <a:pt x="742" y="726"/>
                  <a:pt x="742" y="725"/>
                </a:cubicBezTo>
                <a:cubicBezTo>
                  <a:pt x="742" y="725"/>
                  <a:pt x="742" y="725"/>
                  <a:pt x="742" y="725"/>
                </a:cubicBezTo>
                <a:lnTo>
                  <a:pt x="742" y="724"/>
                </a:lnTo>
                <a:cubicBezTo>
                  <a:pt x="742" y="723"/>
                  <a:pt x="742" y="722"/>
                  <a:pt x="744" y="720"/>
                </a:cubicBezTo>
                <a:cubicBezTo>
                  <a:pt x="745" y="719"/>
                  <a:pt x="746" y="718"/>
                  <a:pt x="746" y="717"/>
                </a:cubicBezTo>
                <a:cubicBezTo>
                  <a:pt x="746" y="717"/>
                  <a:pt x="747" y="716"/>
                  <a:pt x="747" y="715"/>
                </a:cubicBezTo>
                <a:cubicBezTo>
                  <a:pt x="747" y="714"/>
                  <a:pt x="748" y="712"/>
                  <a:pt x="749" y="709"/>
                </a:cubicBezTo>
                <a:cubicBezTo>
                  <a:pt x="751" y="707"/>
                  <a:pt x="752" y="704"/>
                  <a:pt x="752" y="702"/>
                </a:cubicBezTo>
                <a:lnTo>
                  <a:pt x="751" y="701"/>
                </a:lnTo>
                <a:lnTo>
                  <a:pt x="752" y="702"/>
                </a:lnTo>
                <a:cubicBezTo>
                  <a:pt x="752" y="702"/>
                  <a:pt x="753" y="702"/>
                  <a:pt x="753" y="702"/>
                </a:cubicBezTo>
                <a:cubicBezTo>
                  <a:pt x="754" y="702"/>
                  <a:pt x="755" y="702"/>
                  <a:pt x="756" y="701"/>
                </a:cubicBezTo>
                <a:cubicBezTo>
                  <a:pt x="757" y="699"/>
                  <a:pt x="758" y="698"/>
                  <a:pt x="758" y="697"/>
                </a:cubicBezTo>
                <a:cubicBezTo>
                  <a:pt x="757" y="696"/>
                  <a:pt x="757" y="696"/>
                  <a:pt x="757" y="696"/>
                </a:cubicBezTo>
                <a:cubicBezTo>
                  <a:pt x="756" y="696"/>
                  <a:pt x="756" y="697"/>
                  <a:pt x="755" y="698"/>
                </a:cubicBezTo>
                <a:cubicBezTo>
                  <a:pt x="754" y="699"/>
                  <a:pt x="753" y="699"/>
                  <a:pt x="752" y="699"/>
                </a:cubicBezTo>
                <a:cubicBezTo>
                  <a:pt x="752" y="699"/>
                  <a:pt x="751" y="699"/>
                  <a:pt x="751" y="699"/>
                </a:cubicBezTo>
                <a:cubicBezTo>
                  <a:pt x="751" y="698"/>
                  <a:pt x="752" y="698"/>
                  <a:pt x="754" y="696"/>
                </a:cubicBezTo>
                <a:cubicBezTo>
                  <a:pt x="755" y="695"/>
                  <a:pt x="756" y="695"/>
                  <a:pt x="757" y="695"/>
                </a:cubicBezTo>
                <a:cubicBezTo>
                  <a:pt x="759" y="695"/>
                  <a:pt x="760" y="694"/>
                  <a:pt x="761" y="693"/>
                </a:cubicBezTo>
                <a:cubicBezTo>
                  <a:pt x="762" y="691"/>
                  <a:pt x="763" y="688"/>
                  <a:pt x="763" y="685"/>
                </a:cubicBezTo>
                <a:cubicBezTo>
                  <a:pt x="763" y="684"/>
                  <a:pt x="763" y="683"/>
                  <a:pt x="762" y="683"/>
                </a:cubicBezTo>
                <a:lnTo>
                  <a:pt x="761" y="681"/>
                </a:lnTo>
                <a:lnTo>
                  <a:pt x="763" y="683"/>
                </a:lnTo>
                <a:cubicBezTo>
                  <a:pt x="765" y="683"/>
                  <a:pt x="765" y="681"/>
                  <a:pt x="765" y="679"/>
                </a:cubicBezTo>
                <a:cubicBezTo>
                  <a:pt x="765" y="678"/>
                  <a:pt x="765" y="676"/>
                  <a:pt x="764" y="676"/>
                </a:cubicBezTo>
                <a:lnTo>
                  <a:pt x="764" y="676"/>
                </a:lnTo>
                <a:cubicBezTo>
                  <a:pt x="763" y="676"/>
                  <a:pt x="761" y="678"/>
                  <a:pt x="758" y="682"/>
                </a:cubicBezTo>
                <a:cubicBezTo>
                  <a:pt x="755" y="686"/>
                  <a:pt x="753" y="688"/>
                  <a:pt x="751" y="688"/>
                </a:cubicBezTo>
                <a:cubicBezTo>
                  <a:pt x="751" y="688"/>
                  <a:pt x="750" y="688"/>
                  <a:pt x="749" y="688"/>
                </a:cubicBezTo>
                <a:lnTo>
                  <a:pt x="749" y="686"/>
                </a:lnTo>
                <a:lnTo>
                  <a:pt x="752" y="688"/>
                </a:lnTo>
                <a:cubicBezTo>
                  <a:pt x="753" y="688"/>
                  <a:pt x="753" y="688"/>
                  <a:pt x="753" y="688"/>
                </a:cubicBezTo>
                <a:lnTo>
                  <a:pt x="752" y="683"/>
                </a:lnTo>
                <a:cubicBezTo>
                  <a:pt x="752" y="683"/>
                  <a:pt x="752" y="683"/>
                  <a:pt x="752" y="683"/>
                </a:cubicBezTo>
                <a:cubicBezTo>
                  <a:pt x="753" y="683"/>
                  <a:pt x="753" y="683"/>
                  <a:pt x="753" y="682"/>
                </a:cubicBezTo>
                <a:lnTo>
                  <a:pt x="752" y="679"/>
                </a:lnTo>
                <a:lnTo>
                  <a:pt x="754" y="680"/>
                </a:lnTo>
                <a:cubicBezTo>
                  <a:pt x="756" y="680"/>
                  <a:pt x="757" y="679"/>
                  <a:pt x="759" y="676"/>
                </a:cubicBezTo>
                <a:cubicBezTo>
                  <a:pt x="760" y="674"/>
                  <a:pt x="762" y="673"/>
                  <a:pt x="763" y="673"/>
                </a:cubicBezTo>
                <a:cubicBezTo>
                  <a:pt x="764" y="673"/>
                  <a:pt x="764" y="673"/>
                  <a:pt x="765" y="674"/>
                </a:cubicBezTo>
                <a:cubicBezTo>
                  <a:pt x="766" y="675"/>
                  <a:pt x="767" y="675"/>
                  <a:pt x="767" y="675"/>
                </a:cubicBezTo>
                <a:cubicBezTo>
                  <a:pt x="769" y="675"/>
                  <a:pt x="770" y="673"/>
                  <a:pt x="771" y="668"/>
                </a:cubicBezTo>
                <a:lnTo>
                  <a:pt x="771" y="665"/>
                </a:lnTo>
                <a:cubicBezTo>
                  <a:pt x="771" y="665"/>
                  <a:pt x="771" y="665"/>
                  <a:pt x="771" y="665"/>
                </a:cubicBezTo>
                <a:cubicBezTo>
                  <a:pt x="770" y="665"/>
                  <a:pt x="770" y="665"/>
                  <a:pt x="768" y="666"/>
                </a:cubicBezTo>
                <a:cubicBezTo>
                  <a:pt x="767" y="668"/>
                  <a:pt x="767" y="668"/>
                  <a:pt x="766" y="668"/>
                </a:cubicBezTo>
                <a:cubicBezTo>
                  <a:pt x="766" y="668"/>
                  <a:pt x="767" y="667"/>
                  <a:pt x="767" y="666"/>
                </a:cubicBezTo>
                <a:cubicBezTo>
                  <a:pt x="768" y="664"/>
                  <a:pt x="769" y="664"/>
                  <a:pt x="771" y="664"/>
                </a:cubicBezTo>
                <a:lnTo>
                  <a:pt x="772" y="664"/>
                </a:lnTo>
                <a:cubicBezTo>
                  <a:pt x="773" y="664"/>
                  <a:pt x="774" y="662"/>
                  <a:pt x="775" y="658"/>
                </a:cubicBezTo>
                <a:cubicBezTo>
                  <a:pt x="776" y="654"/>
                  <a:pt x="776" y="652"/>
                  <a:pt x="776" y="650"/>
                </a:cubicBezTo>
                <a:cubicBezTo>
                  <a:pt x="776" y="649"/>
                  <a:pt x="776" y="649"/>
                  <a:pt x="776" y="649"/>
                </a:cubicBezTo>
                <a:lnTo>
                  <a:pt x="774" y="650"/>
                </a:lnTo>
                <a:cubicBezTo>
                  <a:pt x="773" y="650"/>
                  <a:pt x="773" y="649"/>
                  <a:pt x="773" y="649"/>
                </a:cubicBezTo>
                <a:lnTo>
                  <a:pt x="774" y="648"/>
                </a:lnTo>
                <a:cubicBezTo>
                  <a:pt x="774" y="647"/>
                  <a:pt x="774" y="647"/>
                  <a:pt x="775" y="647"/>
                </a:cubicBezTo>
                <a:lnTo>
                  <a:pt x="776" y="647"/>
                </a:lnTo>
                <a:cubicBezTo>
                  <a:pt x="777" y="647"/>
                  <a:pt x="777" y="647"/>
                  <a:pt x="778" y="645"/>
                </a:cubicBezTo>
                <a:cubicBezTo>
                  <a:pt x="780" y="641"/>
                  <a:pt x="781" y="638"/>
                  <a:pt x="781" y="636"/>
                </a:cubicBezTo>
                <a:cubicBezTo>
                  <a:pt x="781" y="635"/>
                  <a:pt x="781" y="635"/>
                  <a:pt x="781" y="634"/>
                </a:cubicBezTo>
                <a:cubicBezTo>
                  <a:pt x="781" y="633"/>
                  <a:pt x="780" y="633"/>
                  <a:pt x="780" y="632"/>
                </a:cubicBezTo>
                <a:lnTo>
                  <a:pt x="781" y="632"/>
                </a:lnTo>
                <a:cubicBezTo>
                  <a:pt x="783" y="631"/>
                  <a:pt x="793" y="605"/>
                  <a:pt x="811" y="554"/>
                </a:cubicBezTo>
                <a:cubicBezTo>
                  <a:pt x="816" y="542"/>
                  <a:pt x="819" y="531"/>
                  <a:pt x="823" y="521"/>
                </a:cubicBezTo>
                <a:cubicBezTo>
                  <a:pt x="825" y="516"/>
                  <a:pt x="826" y="511"/>
                  <a:pt x="828" y="507"/>
                </a:cubicBezTo>
                <a:lnTo>
                  <a:pt x="838" y="480"/>
                </a:lnTo>
                <a:cubicBezTo>
                  <a:pt x="842" y="467"/>
                  <a:pt x="845" y="459"/>
                  <a:pt x="845" y="459"/>
                </a:cubicBezTo>
                <a:cubicBezTo>
                  <a:pt x="846" y="458"/>
                  <a:pt x="847" y="457"/>
                  <a:pt x="849" y="455"/>
                </a:cubicBezTo>
                <a:cubicBezTo>
                  <a:pt x="848" y="454"/>
                  <a:pt x="848" y="453"/>
                  <a:pt x="848" y="453"/>
                </a:cubicBezTo>
                <a:cubicBezTo>
                  <a:pt x="848" y="450"/>
                  <a:pt x="849" y="448"/>
                  <a:pt x="850" y="446"/>
                </a:cubicBezTo>
                <a:lnTo>
                  <a:pt x="851" y="444"/>
                </a:lnTo>
                <a:lnTo>
                  <a:pt x="852" y="444"/>
                </a:lnTo>
                <a:cubicBezTo>
                  <a:pt x="852" y="444"/>
                  <a:pt x="853" y="443"/>
                  <a:pt x="853" y="440"/>
                </a:cubicBezTo>
                <a:cubicBezTo>
                  <a:pt x="853" y="437"/>
                  <a:pt x="853" y="436"/>
                  <a:pt x="854" y="435"/>
                </a:cubicBezTo>
                <a:cubicBezTo>
                  <a:pt x="855" y="434"/>
                  <a:pt x="856" y="433"/>
                  <a:pt x="856" y="433"/>
                </a:cubicBezTo>
                <a:cubicBezTo>
                  <a:pt x="856" y="433"/>
                  <a:pt x="856" y="431"/>
                  <a:pt x="856" y="429"/>
                </a:cubicBezTo>
                <a:cubicBezTo>
                  <a:pt x="857" y="429"/>
                  <a:pt x="857" y="429"/>
                  <a:pt x="858" y="430"/>
                </a:cubicBezTo>
                <a:cubicBezTo>
                  <a:pt x="859" y="431"/>
                  <a:pt x="860" y="432"/>
                  <a:pt x="860" y="432"/>
                </a:cubicBezTo>
                <a:cubicBezTo>
                  <a:pt x="861" y="432"/>
                  <a:pt x="862" y="431"/>
                  <a:pt x="863" y="429"/>
                </a:cubicBezTo>
                <a:cubicBezTo>
                  <a:pt x="865" y="426"/>
                  <a:pt x="865" y="425"/>
                  <a:pt x="866" y="425"/>
                </a:cubicBezTo>
                <a:cubicBezTo>
                  <a:pt x="866" y="425"/>
                  <a:pt x="866" y="426"/>
                  <a:pt x="866" y="428"/>
                </a:cubicBezTo>
                <a:cubicBezTo>
                  <a:pt x="866" y="430"/>
                  <a:pt x="866" y="430"/>
                  <a:pt x="866" y="430"/>
                </a:cubicBezTo>
                <a:cubicBezTo>
                  <a:pt x="865" y="430"/>
                  <a:pt x="865" y="431"/>
                  <a:pt x="865" y="434"/>
                </a:cubicBezTo>
                <a:cubicBezTo>
                  <a:pt x="865" y="436"/>
                  <a:pt x="864" y="440"/>
                  <a:pt x="862" y="445"/>
                </a:cubicBezTo>
                <a:cubicBezTo>
                  <a:pt x="860" y="451"/>
                  <a:pt x="859" y="453"/>
                  <a:pt x="858" y="453"/>
                </a:cubicBezTo>
                <a:lnTo>
                  <a:pt x="858" y="453"/>
                </a:lnTo>
                <a:cubicBezTo>
                  <a:pt x="858" y="451"/>
                  <a:pt x="859" y="448"/>
                  <a:pt x="860" y="444"/>
                </a:cubicBezTo>
                <a:cubicBezTo>
                  <a:pt x="861" y="440"/>
                  <a:pt x="862" y="437"/>
                  <a:pt x="862" y="436"/>
                </a:cubicBezTo>
                <a:cubicBezTo>
                  <a:pt x="862" y="435"/>
                  <a:pt x="862" y="435"/>
                  <a:pt x="862" y="435"/>
                </a:cubicBezTo>
                <a:cubicBezTo>
                  <a:pt x="861" y="435"/>
                  <a:pt x="861" y="436"/>
                  <a:pt x="860" y="436"/>
                </a:cubicBezTo>
                <a:cubicBezTo>
                  <a:pt x="859" y="437"/>
                  <a:pt x="859" y="438"/>
                  <a:pt x="859" y="440"/>
                </a:cubicBezTo>
                <a:lnTo>
                  <a:pt x="859" y="441"/>
                </a:lnTo>
                <a:cubicBezTo>
                  <a:pt x="859" y="441"/>
                  <a:pt x="859" y="441"/>
                  <a:pt x="858" y="441"/>
                </a:cubicBezTo>
                <a:cubicBezTo>
                  <a:pt x="858" y="441"/>
                  <a:pt x="858" y="442"/>
                  <a:pt x="857" y="442"/>
                </a:cubicBezTo>
                <a:cubicBezTo>
                  <a:pt x="857" y="444"/>
                  <a:pt x="854" y="452"/>
                  <a:pt x="849" y="467"/>
                </a:cubicBezTo>
                <a:cubicBezTo>
                  <a:pt x="831" y="521"/>
                  <a:pt x="811" y="576"/>
                  <a:pt x="790" y="631"/>
                </a:cubicBezTo>
                <a:cubicBezTo>
                  <a:pt x="785" y="644"/>
                  <a:pt x="782" y="651"/>
                  <a:pt x="782" y="652"/>
                </a:cubicBezTo>
                <a:cubicBezTo>
                  <a:pt x="783" y="652"/>
                  <a:pt x="784" y="651"/>
                  <a:pt x="786" y="648"/>
                </a:cubicBezTo>
                <a:cubicBezTo>
                  <a:pt x="791" y="640"/>
                  <a:pt x="799" y="631"/>
                  <a:pt x="810" y="621"/>
                </a:cubicBezTo>
                <a:lnTo>
                  <a:pt x="814" y="616"/>
                </a:lnTo>
                <a:lnTo>
                  <a:pt x="816" y="612"/>
                </a:lnTo>
                <a:cubicBezTo>
                  <a:pt x="816" y="612"/>
                  <a:pt x="816" y="612"/>
                  <a:pt x="816" y="612"/>
                </a:cubicBezTo>
                <a:lnTo>
                  <a:pt x="820" y="613"/>
                </a:lnTo>
                <a:cubicBezTo>
                  <a:pt x="820" y="613"/>
                  <a:pt x="820" y="613"/>
                  <a:pt x="820" y="613"/>
                </a:cubicBezTo>
                <a:lnTo>
                  <a:pt x="820" y="612"/>
                </a:lnTo>
                <a:cubicBezTo>
                  <a:pt x="820" y="611"/>
                  <a:pt x="822" y="609"/>
                  <a:pt x="825" y="606"/>
                </a:cubicBezTo>
                <a:cubicBezTo>
                  <a:pt x="828" y="603"/>
                  <a:pt x="831" y="600"/>
                  <a:pt x="834" y="597"/>
                </a:cubicBezTo>
                <a:cubicBezTo>
                  <a:pt x="837" y="593"/>
                  <a:pt x="839" y="592"/>
                  <a:pt x="841" y="592"/>
                </a:cubicBezTo>
                <a:cubicBezTo>
                  <a:pt x="843" y="592"/>
                  <a:pt x="846" y="589"/>
                  <a:pt x="851" y="583"/>
                </a:cubicBezTo>
                <a:cubicBezTo>
                  <a:pt x="853" y="581"/>
                  <a:pt x="853" y="580"/>
                  <a:pt x="854" y="580"/>
                </a:cubicBezTo>
                <a:cubicBezTo>
                  <a:pt x="855" y="580"/>
                  <a:pt x="858" y="579"/>
                  <a:pt x="862" y="575"/>
                </a:cubicBezTo>
                <a:lnTo>
                  <a:pt x="866" y="571"/>
                </a:lnTo>
                <a:cubicBezTo>
                  <a:pt x="869" y="571"/>
                  <a:pt x="871" y="570"/>
                  <a:pt x="871" y="570"/>
                </a:cubicBezTo>
                <a:cubicBezTo>
                  <a:pt x="871" y="570"/>
                  <a:pt x="871" y="570"/>
                  <a:pt x="871" y="569"/>
                </a:cubicBezTo>
                <a:lnTo>
                  <a:pt x="871" y="569"/>
                </a:lnTo>
                <a:cubicBezTo>
                  <a:pt x="871" y="568"/>
                  <a:pt x="872" y="568"/>
                  <a:pt x="873" y="568"/>
                </a:cubicBezTo>
                <a:lnTo>
                  <a:pt x="874" y="569"/>
                </a:lnTo>
                <a:cubicBezTo>
                  <a:pt x="874" y="569"/>
                  <a:pt x="874" y="568"/>
                  <a:pt x="874" y="568"/>
                </a:cubicBezTo>
                <a:lnTo>
                  <a:pt x="874" y="568"/>
                </a:lnTo>
                <a:cubicBezTo>
                  <a:pt x="874" y="567"/>
                  <a:pt x="875" y="565"/>
                  <a:pt x="877" y="564"/>
                </a:cubicBezTo>
                <a:lnTo>
                  <a:pt x="880" y="563"/>
                </a:lnTo>
                <a:lnTo>
                  <a:pt x="880" y="564"/>
                </a:lnTo>
                <a:cubicBezTo>
                  <a:pt x="880" y="565"/>
                  <a:pt x="880" y="565"/>
                  <a:pt x="881" y="565"/>
                </a:cubicBezTo>
                <a:cubicBezTo>
                  <a:pt x="882" y="565"/>
                  <a:pt x="883" y="564"/>
                  <a:pt x="883" y="564"/>
                </a:cubicBezTo>
                <a:cubicBezTo>
                  <a:pt x="883" y="564"/>
                  <a:pt x="883" y="563"/>
                  <a:pt x="883" y="562"/>
                </a:cubicBezTo>
                <a:lnTo>
                  <a:pt x="883" y="562"/>
                </a:lnTo>
                <a:cubicBezTo>
                  <a:pt x="883" y="561"/>
                  <a:pt x="884" y="560"/>
                  <a:pt x="886" y="559"/>
                </a:cubicBezTo>
                <a:lnTo>
                  <a:pt x="890" y="558"/>
                </a:lnTo>
                <a:lnTo>
                  <a:pt x="890" y="559"/>
                </a:lnTo>
                <a:cubicBezTo>
                  <a:pt x="890" y="560"/>
                  <a:pt x="890" y="560"/>
                  <a:pt x="891" y="560"/>
                </a:cubicBezTo>
                <a:cubicBezTo>
                  <a:pt x="891" y="560"/>
                  <a:pt x="892" y="561"/>
                  <a:pt x="892" y="561"/>
                </a:cubicBezTo>
                <a:lnTo>
                  <a:pt x="892" y="563"/>
                </a:lnTo>
                <a:cubicBezTo>
                  <a:pt x="892" y="563"/>
                  <a:pt x="892" y="563"/>
                  <a:pt x="892" y="563"/>
                </a:cubicBezTo>
                <a:cubicBezTo>
                  <a:pt x="893" y="563"/>
                  <a:pt x="893" y="563"/>
                  <a:pt x="894" y="563"/>
                </a:cubicBezTo>
                <a:cubicBezTo>
                  <a:pt x="895" y="562"/>
                  <a:pt x="896" y="562"/>
                  <a:pt x="896" y="561"/>
                </a:cubicBezTo>
                <a:cubicBezTo>
                  <a:pt x="896" y="561"/>
                  <a:pt x="895" y="561"/>
                  <a:pt x="894" y="560"/>
                </a:cubicBezTo>
                <a:cubicBezTo>
                  <a:pt x="893" y="559"/>
                  <a:pt x="893" y="559"/>
                  <a:pt x="893" y="559"/>
                </a:cubicBezTo>
                <a:lnTo>
                  <a:pt x="896" y="559"/>
                </a:lnTo>
                <a:cubicBezTo>
                  <a:pt x="898" y="559"/>
                  <a:pt x="898" y="559"/>
                  <a:pt x="898" y="559"/>
                </a:cubicBezTo>
                <a:lnTo>
                  <a:pt x="898" y="558"/>
                </a:lnTo>
                <a:cubicBezTo>
                  <a:pt x="898" y="556"/>
                  <a:pt x="899" y="555"/>
                  <a:pt x="902" y="555"/>
                </a:cubicBezTo>
                <a:cubicBezTo>
                  <a:pt x="903" y="555"/>
                  <a:pt x="903" y="555"/>
                  <a:pt x="904" y="556"/>
                </a:cubicBezTo>
                <a:lnTo>
                  <a:pt x="904" y="556"/>
                </a:lnTo>
                <a:cubicBezTo>
                  <a:pt x="904" y="556"/>
                  <a:pt x="903" y="557"/>
                  <a:pt x="902" y="557"/>
                </a:cubicBezTo>
                <a:cubicBezTo>
                  <a:pt x="901" y="557"/>
                  <a:pt x="901" y="557"/>
                  <a:pt x="901" y="558"/>
                </a:cubicBezTo>
                <a:cubicBezTo>
                  <a:pt x="901" y="558"/>
                  <a:pt x="902" y="559"/>
                  <a:pt x="902" y="559"/>
                </a:cubicBezTo>
                <a:cubicBezTo>
                  <a:pt x="904" y="559"/>
                  <a:pt x="905" y="558"/>
                  <a:pt x="908" y="557"/>
                </a:cubicBezTo>
                <a:cubicBezTo>
                  <a:pt x="910" y="556"/>
                  <a:pt x="912" y="556"/>
                  <a:pt x="913" y="555"/>
                </a:cubicBezTo>
                <a:cubicBezTo>
                  <a:pt x="914" y="554"/>
                  <a:pt x="916" y="553"/>
                  <a:pt x="917" y="553"/>
                </a:cubicBezTo>
                <a:cubicBezTo>
                  <a:pt x="919" y="552"/>
                  <a:pt x="920" y="552"/>
                  <a:pt x="922" y="551"/>
                </a:cubicBezTo>
                <a:cubicBezTo>
                  <a:pt x="924" y="551"/>
                  <a:pt x="926" y="551"/>
                  <a:pt x="928" y="551"/>
                </a:cubicBezTo>
                <a:cubicBezTo>
                  <a:pt x="929" y="550"/>
                  <a:pt x="930" y="550"/>
                  <a:pt x="931" y="549"/>
                </a:cubicBezTo>
                <a:cubicBezTo>
                  <a:pt x="932" y="549"/>
                  <a:pt x="932" y="549"/>
                  <a:pt x="933" y="549"/>
                </a:cubicBezTo>
                <a:cubicBezTo>
                  <a:pt x="933" y="549"/>
                  <a:pt x="934" y="549"/>
                  <a:pt x="934" y="549"/>
                </a:cubicBezTo>
                <a:cubicBezTo>
                  <a:pt x="943" y="549"/>
                  <a:pt x="951" y="551"/>
                  <a:pt x="959" y="556"/>
                </a:cubicBezTo>
                <a:cubicBezTo>
                  <a:pt x="964" y="558"/>
                  <a:pt x="967" y="561"/>
                  <a:pt x="969" y="564"/>
                </a:cubicBezTo>
                <a:cubicBezTo>
                  <a:pt x="971" y="567"/>
                  <a:pt x="974" y="569"/>
                  <a:pt x="977" y="570"/>
                </a:cubicBezTo>
                <a:cubicBezTo>
                  <a:pt x="985" y="574"/>
                  <a:pt x="989" y="582"/>
                  <a:pt x="989" y="594"/>
                </a:cubicBezTo>
                <a:cubicBezTo>
                  <a:pt x="989" y="605"/>
                  <a:pt x="987" y="616"/>
                  <a:pt x="983" y="625"/>
                </a:cubicBezTo>
                <a:cubicBezTo>
                  <a:pt x="980" y="632"/>
                  <a:pt x="975" y="641"/>
                  <a:pt x="967" y="652"/>
                </a:cubicBezTo>
                <a:cubicBezTo>
                  <a:pt x="965" y="654"/>
                  <a:pt x="965" y="656"/>
                  <a:pt x="965" y="658"/>
                </a:cubicBezTo>
                <a:cubicBezTo>
                  <a:pt x="965" y="660"/>
                  <a:pt x="963" y="661"/>
                  <a:pt x="962" y="662"/>
                </a:cubicBezTo>
                <a:cubicBezTo>
                  <a:pt x="960" y="662"/>
                  <a:pt x="958" y="663"/>
                  <a:pt x="958" y="663"/>
                </a:cubicBezTo>
                <a:cubicBezTo>
                  <a:pt x="959" y="664"/>
                  <a:pt x="960" y="664"/>
                  <a:pt x="961" y="664"/>
                </a:cubicBezTo>
                <a:cubicBezTo>
                  <a:pt x="962" y="664"/>
                  <a:pt x="963" y="664"/>
                  <a:pt x="965" y="663"/>
                </a:cubicBezTo>
                <a:cubicBezTo>
                  <a:pt x="966" y="662"/>
                  <a:pt x="967" y="661"/>
                  <a:pt x="967" y="659"/>
                </a:cubicBezTo>
                <a:lnTo>
                  <a:pt x="967" y="659"/>
                </a:lnTo>
                <a:cubicBezTo>
                  <a:pt x="967" y="657"/>
                  <a:pt x="967" y="656"/>
                  <a:pt x="968" y="656"/>
                </a:cubicBezTo>
                <a:lnTo>
                  <a:pt x="971" y="656"/>
                </a:lnTo>
                <a:lnTo>
                  <a:pt x="973" y="655"/>
                </a:lnTo>
                <a:cubicBezTo>
                  <a:pt x="973" y="654"/>
                  <a:pt x="973" y="654"/>
                  <a:pt x="975" y="654"/>
                </a:cubicBezTo>
                <a:lnTo>
                  <a:pt x="976" y="655"/>
                </a:lnTo>
                <a:cubicBezTo>
                  <a:pt x="976" y="655"/>
                  <a:pt x="977" y="654"/>
                  <a:pt x="977" y="654"/>
                </a:cubicBezTo>
                <a:cubicBezTo>
                  <a:pt x="978" y="653"/>
                  <a:pt x="979" y="653"/>
                  <a:pt x="981" y="653"/>
                </a:cubicBezTo>
                <a:cubicBezTo>
                  <a:pt x="983" y="653"/>
                  <a:pt x="985" y="652"/>
                  <a:pt x="985" y="651"/>
                </a:cubicBezTo>
                <a:cubicBezTo>
                  <a:pt x="985" y="649"/>
                  <a:pt x="986" y="649"/>
                  <a:pt x="987" y="649"/>
                </a:cubicBezTo>
                <a:cubicBezTo>
                  <a:pt x="987" y="649"/>
                  <a:pt x="988" y="649"/>
                  <a:pt x="989" y="650"/>
                </a:cubicBezTo>
                <a:cubicBezTo>
                  <a:pt x="990" y="651"/>
                  <a:pt x="991" y="651"/>
                  <a:pt x="991" y="651"/>
                </a:cubicBezTo>
                <a:cubicBezTo>
                  <a:pt x="991" y="651"/>
                  <a:pt x="991" y="651"/>
                  <a:pt x="991" y="650"/>
                </a:cubicBezTo>
                <a:lnTo>
                  <a:pt x="991" y="648"/>
                </a:lnTo>
                <a:cubicBezTo>
                  <a:pt x="992" y="648"/>
                  <a:pt x="992" y="649"/>
                  <a:pt x="993" y="650"/>
                </a:cubicBezTo>
                <a:cubicBezTo>
                  <a:pt x="994" y="651"/>
                  <a:pt x="994" y="651"/>
                  <a:pt x="994" y="651"/>
                </a:cubicBezTo>
                <a:cubicBezTo>
                  <a:pt x="995" y="651"/>
                  <a:pt x="995" y="651"/>
                  <a:pt x="995" y="649"/>
                </a:cubicBezTo>
                <a:cubicBezTo>
                  <a:pt x="995" y="648"/>
                  <a:pt x="996" y="647"/>
                  <a:pt x="997" y="647"/>
                </a:cubicBezTo>
                <a:cubicBezTo>
                  <a:pt x="997" y="647"/>
                  <a:pt x="998" y="647"/>
                  <a:pt x="999" y="648"/>
                </a:cubicBezTo>
                <a:cubicBezTo>
                  <a:pt x="1000" y="649"/>
                  <a:pt x="1000" y="649"/>
                  <a:pt x="1001" y="649"/>
                </a:cubicBezTo>
                <a:cubicBezTo>
                  <a:pt x="1002" y="649"/>
                  <a:pt x="1002" y="649"/>
                  <a:pt x="1002" y="648"/>
                </a:cubicBezTo>
                <a:cubicBezTo>
                  <a:pt x="1003" y="646"/>
                  <a:pt x="1005" y="646"/>
                  <a:pt x="1009" y="646"/>
                </a:cubicBezTo>
                <a:cubicBezTo>
                  <a:pt x="1018" y="646"/>
                  <a:pt x="1028" y="644"/>
                  <a:pt x="1040" y="642"/>
                </a:cubicBezTo>
                <a:cubicBezTo>
                  <a:pt x="1041" y="641"/>
                  <a:pt x="1046" y="641"/>
                  <a:pt x="1053" y="640"/>
                </a:cubicBezTo>
                <a:lnTo>
                  <a:pt x="1084" y="635"/>
                </a:lnTo>
                <a:cubicBezTo>
                  <a:pt x="1096" y="634"/>
                  <a:pt x="1101" y="633"/>
                  <a:pt x="1101" y="632"/>
                </a:cubicBezTo>
                <a:cubicBezTo>
                  <a:pt x="1101" y="632"/>
                  <a:pt x="1101" y="632"/>
                  <a:pt x="1100" y="632"/>
                </a:cubicBezTo>
                <a:lnTo>
                  <a:pt x="1085" y="633"/>
                </a:lnTo>
                <a:cubicBezTo>
                  <a:pt x="1063" y="634"/>
                  <a:pt x="1051" y="635"/>
                  <a:pt x="1047" y="636"/>
                </a:cubicBezTo>
                <a:cubicBezTo>
                  <a:pt x="1047" y="636"/>
                  <a:pt x="1046" y="635"/>
                  <a:pt x="1046" y="634"/>
                </a:cubicBezTo>
                <a:cubicBezTo>
                  <a:pt x="1046" y="630"/>
                  <a:pt x="1052" y="628"/>
                  <a:pt x="1065" y="628"/>
                </a:cubicBezTo>
                <a:lnTo>
                  <a:pt x="1083" y="629"/>
                </a:lnTo>
                <a:cubicBezTo>
                  <a:pt x="1093" y="630"/>
                  <a:pt x="1100" y="630"/>
                  <a:pt x="1103" y="630"/>
                </a:cubicBezTo>
                <a:cubicBezTo>
                  <a:pt x="1105" y="630"/>
                  <a:pt x="1106" y="631"/>
                  <a:pt x="1106" y="632"/>
                </a:cubicBezTo>
                <a:lnTo>
                  <a:pt x="1106" y="632"/>
                </a:lnTo>
                <a:cubicBezTo>
                  <a:pt x="1106" y="633"/>
                  <a:pt x="1108" y="634"/>
                  <a:pt x="1110" y="634"/>
                </a:cubicBezTo>
                <a:cubicBezTo>
                  <a:pt x="1114" y="634"/>
                  <a:pt x="1116" y="634"/>
                  <a:pt x="1116" y="636"/>
                </a:cubicBezTo>
                <a:cubicBezTo>
                  <a:pt x="1116" y="637"/>
                  <a:pt x="1115" y="638"/>
                  <a:pt x="1114" y="638"/>
                </a:cubicBezTo>
                <a:cubicBezTo>
                  <a:pt x="1112" y="639"/>
                  <a:pt x="1112" y="640"/>
                  <a:pt x="1112" y="642"/>
                </a:cubicBezTo>
                <a:lnTo>
                  <a:pt x="1112" y="643"/>
                </a:lnTo>
                <a:cubicBezTo>
                  <a:pt x="1112" y="647"/>
                  <a:pt x="1097" y="652"/>
                  <a:pt x="1068" y="658"/>
                </a:cubicBezTo>
                <a:cubicBezTo>
                  <a:pt x="1034" y="664"/>
                  <a:pt x="1002" y="671"/>
                  <a:pt x="972" y="679"/>
                </a:cubicBezTo>
                <a:cubicBezTo>
                  <a:pt x="955" y="684"/>
                  <a:pt x="944" y="687"/>
                  <a:pt x="939" y="689"/>
                </a:cubicBezTo>
                <a:cubicBezTo>
                  <a:pt x="935" y="691"/>
                  <a:pt x="932" y="692"/>
                  <a:pt x="932" y="693"/>
                </a:cubicBezTo>
                <a:cubicBezTo>
                  <a:pt x="931" y="695"/>
                  <a:pt x="930" y="696"/>
                  <a:pt x="929" y="696"/>
                </a:cubicBezTo>
                <a:cubicBezTo>
                  <a:pt x="928" y="696"/>
                  <a:pt x="928" y="695"/>
                  <a:pt x="928" y="695"/>
                </a:cubicBezTo>
                <a:lnTo>
                  <a:pt x="928" y="693"/>
                </a:lnTo>
                <a:cubicBezTo>
                  <a:pt x="928" y="693"/>
                  <a:pt x="927" y="693"/>
                  <a:pt x="925" y="694"/>
                </a:cubicBezTo>
                <a:cubicBezTo>
                  <a:pt x="923" y="695"/>
                  <a:pt x="922" y="696"/>
                  <a:pt x="922" y="697"/>
                </a:cubicBezTo>
                <a:lnTo>
                  <a:pt x="927" y="696"/>
                </a:lnTo>
                <a:cubicBezTo>
                  <a:pt x="928" y="696"/>
                  <a:pt x="928" y="696"/>
                  <a:pt x="928" y="696"/>
                </a:cubicBezTo>
                <a:cubicBezTo>
                  <a:pt x="928" y="698"/>
                  <a:pt x="922" y="703"/>
                  <a:pt x="910" y="713"/>
                </a:cubicBezTo>
                <a:cubicBezTo>
                  <a:pt x="890" y="728"/>
                  <a:pt x="870" y="742"/>
                  <a:pt x="849" y="753"/>
                </a:cubicBezTo>
                <a:cubicBezTo>
                  <a:pt x="829" y="764"/>
                  <a:pt x="814" y="771"/>
                  <a:pt x="804" y="773"/>
                </a:cubicBezTo>
                <a:cubicBezTo>
                  <a:pt x="800" y="773"/>
                  <a:pt x="797" y="772"/>
                  <a:pt x="795" y="770"/>
                </a:cubicBezTo>
                <a:cubicBezTo>
                  <a:pt x="793" y="768"/>
                  <a:pt x="792" y="766"/>
                  <a:pt x="791" y="763"/>
                </a:cubicBezTo>
                <a:cubicBezTo>
                  <a:pt x="791" y="761"/>
                  <a:pt x="789" y="760"/>
                  <a:pt x="787" y="760"/>
                </a:cubicBezTo>
                <a:cubicBezTo>
                  <a:pt x="784" y="760"/>
                  <a:pt x="781" y="758"/>
                  <a:pt x="779" y="755"/>
                </a:cubicBezTo>
                <a:cubicBezTo>
                  <a:pt x="777" y="752"/>
                  <a:pt x="776" y="748"/>
                  <a:pt x="776" y="745"/>
                </a:cubicBezTo>
                <a:cubicBezTo>
                  <a:pt x="776" y="742"/>
                  <a:pt x="777" y="740"/>
                  <a:pt x="778" y="738"/>
                </a:cubicBezTo>
                <a:cubicBezTo>
                  <a:pt x="779" y="737"/>
                  <a:pt x="779" y="735"/>
                  <a:pt x="779" y="735"/>
                </a:cubicBezTo>
                <a:cubicBezTo>
                  <a:pt x="779" y="734"/>
                  <a:pt x="779" y="734"/>
                  <a:pt x="778" y="734"/>
                </a:cubicBezTo>
                <a:lnTo>
                  <a:pt x="775" y="736"/>
                </a:lnTo>
                <a:cubicBezTo>
                  <a:pt x="775" y="736"/>
                  <a:pt x="774" y="735"/>
                  <a:pt x="774" y="735"/>
                </a:cubicBezTo>
                <a:cubicBezTo>
                  <a:pt x="774" y="734"/>
                  <a:pt x="775" y="733"/>
                  <a:pt x="777" y="732"/>
                </a:cubicBezTo>
                <a:lnTo>
                  <a:pt x="782" y="727"/>
                </a:lnTo>
                <a:lnTo>
                  <a:pt x="780" y="731"/>
                </a:lnTo>
                <a:lnTo>
                  <a:pt x="782" y="730"/>
                </a:lnTo>
                <a:cubicBezTo>
                  <a:pt x="784" y="728"/>
                  <a:pt x="786" y="725"/>
                  <a:pt x="786" y="723"/>
                </a:cubicBezTo>
                <a:cubicBezTo>
                  <a:pt x="786" y="722"/>
                  <a:pt x="785" y="721"/>
                  <a:pt x="784" y="721"/>
                </a:cubicBezTo>
                <a:lnTo>
                  <a:pt x="784" y="723"/>
                </a:lnTo>
                <a:lnTo>
                  <a:pt x="784" y="725"/>
                </a:lnTo>
                <a:lnTo>
                  <a:pt x="782" y="723"/>
                </a:lnTo>
                <a:lnTo>
                  <a:pt x="783" y="727"/>
                </a:lnTo>
                <a:lnTo>
                  <a:pt x="782" y="725"/>
                </a:lnTo>
                <a:cubicBezTo>
                  <a:pt x="781" y="725"/>
                  <a:pt x="781" y="725"/>
                  <a:pt x="781" y="724"/>
                </a:cubicBezTo>
                <a:cubicBezTo>
                  <a:pt x="781" y="724"/>
                  <a:pt x="781" y="723"/>
                  <a:pt x="781" y="723"/>
                </a:cubicBezTo>
                <a:cubicBezTo>
                  <a:pt x="781" y="722"/>
                  <a:pt x="781" y="722"/>
                  <a:pt x="782" y="721"/>
                </a:cubicBezTo>
                <a:cubicBezTo>
                  <a:pt x="782" y="721"/>
                  <a:pt x="782" y="720"/>
                  <a:pt x="782" y="719"/>
                </a:cubicBezTo>
                <a:cubicBezTo>
                  <a:pt x="782" y="718"/>
                  <a:pt x="783" y="718"/>
                  <a:pt x="784" y="718"/>
                </a:cubicBezTo>
                <a:cubicBezTo>
                  <a:pt x="785" y="719"/>
                  <a:pt x="785" y="719"/>
                  <a:pt x="785" y="720"/>
                </a:cubicBezTo>
                <a:cubicBezTo>
                  <a:pt x="785" y="720"/>
                  <a:pt x="786" y="721"/>
                  <a:pt x="788" y="721"/>
                </a:cubicBezTo>
                <a:lnTo>
                  <a:pt x="790" y="720"/>
                </a:lnTo>
                <a:lnTo>
                  <a:pt x="790" y="719"/>
                </a:lnTo>
                <a:cubicBezTo>
                  <a:pt x="790" y="718"/>
                  <a:pt x="792" y="716"/>
                  <a:pt x="796" y="714"/>
                </a:cubicBezTo>
                <a:cubicBezTo>
                  <a:pt x="800" y="712"/>
                  <a:pt x="804" y="710"/>
                  <a:pt x="807" y="708"/>
                </a:cubicBezTo>
                <a:cubicBezTo>
                  <a:pt x="810" y="705"/>
                  <a:pt x="812" y="704"/>
                  <a:pt x="812" y="703"/>
                </a:cubicBezTo>
                <a:lnTo>
                  <a:pt x="811" y="703"/>
                </a:lnTo>
                <a:cubicBezTo>
                  <a:pt x="810" y="703"/>
                  <a:pt x="808" y="704"/>
                  <a:pt x="806" y="705"/>
                </a:cubicBezTo>
                <a:lnTo>
                  <a:pt x="804" y="706"/>
                </a:lnTo>
                <a:cubicBezTo>
                  <a:pt x="804" y="706"/>
                  <a:pt x="805" y="705"/>
                  <a:pt x="806" y="704"/>
                </a:cubicBezTo>
                <a:cubicBezTo>
                  <a:pt x="808" y="702"/>
                  <a:pt x="810" y="702"/>
                  <a:pt x="812" y="702"/>
                </a:cubicBezTo>
                <a:cubicBezTo>
                  <a:pt x="815" y="702"/>
                  <a:pt x="817" y="701"/>
                  <a:pt x="818" y="700"/>
                </a:cubicBezTo>
                <a:cubicBezTo>
                  <a:pt x="818" y="699"/>
                  <a:pt x="819" y="699"/>
                  <a:pt x="821" y="699"/>
                </a:cubicBezTo>
                <a:lnTo>
                  <a:pt x="821" y="699"/>
                </a:lnTo>
                <a:cubicBezTo>
                  <a:pt x="822" y="699"/>
                  <a:pt x="822" y="699"/>
                  <a:pt x="822" y="698"/>
                </a:cubicBezTo>
                <a:cubicBezTo>
                  <a:pt x="822" y="697"/>
                  <a:pt x="822" y="697"/>
                  <a:pt x="823" y="697"/>
                </a:cubicBezTo>
                <a:lnTo>
                  <a:pt x="824" y="697"/>
                </a:lnTo>
                <a:cubicBezTo>
                  <a:pt x="824" y="697"/>
                  <a:pt x="825" y="696"/>
                  <a:pt x="826" y="695"/>
                </a:cubicBezTo>
                <a:lnTo>
                  <a:pt x="827" y="693"/>
                </a:lnTo>
                <a:lnTo>
                  <a:pt x="829" y="693"/>
                </a:lnTo>
                <a:cubicBezTo>
                  <a:pt x="830" y="693"/>
                  <a:pt x="832" y="693"/>
                  <a:pt x="834" y="692"/>
                </a:cubicBezTo>
                <a:cubicBezTo>
                  <a:pt x="839" y="691"/>
                  <a:pt x="841" y="689"/>
                  <a:pt x="841" y="688"/>
                </a:cubicBezTo>
                <a:cubicBezTo>
                  <a:pt x="841" y="687"/>
                  <a:pt x="843" y="687"/>
                  <a:pt x="845" y="687"/>
                </a:cubicBezTo>
                <a:cubicBezTo>
                  <a:pt x="848" y="687"/>
                  <a:pt x="849" y="686"/>
                  <a:pt x="850" y="685"/>
                </a:cubicBezTo>
                <a:cubicBezTo>
                  <a:pt x="850" y="683"/>
                  <a:pt x="851" y="683"/>
                  <a:pt x="852" y="683"/>
                </a:cubicBezTo>
                <a:lnTo>
                  <a:pt x="855" y="683"/>
                </a:lnTo>
                <a:cubicBezTo>
                  <a:pt x="856" y="683"/>
                  <a:pt x="857" y="682"/>
                  <a:pt x="857" y="681"/>
                </a:cubicBezTo>
                <a:lnTo>
                  <a:pt x="857" y="681"/>
                </a:lnTo>
                <a:cubicBezTo>
                  <a:pt x="857" y="679"/>
                  <a:pt x="859" y="678"/>
                  <a:pt x="863" y="676"/>
                </a:cubicBezTo>
                <a:cubicBezTo>
                  <a:pt x="864" y="676"/>
                  <a:pt x="866" y="676"/>
                  <a:pt x="868" y="676"/>
                </a:cubicBezTo>
                <a:cubicBezTo>
                  <a:pt x="870" y="676"/>
                  <a:pt x="872" y="675"/>
                  <a:pt x="873" y="673"/>
                </a:cubicBezTo>
                <a:cubicBezTo>
                  <a:pt x="875" y="672"/>
                  <a:pt x="876" y="671"/>
                  <a:pt x="876" y="671"/>
                </a:cubicBezTo>
                <a:cubicBezTo>
                  <a:pt x="877" y="671"/>
                  <a:pt x="878" y="671"/>
                  <a:pt x="879" y="672"/>
                </a:cubicBezTo>
                <a:lnTo>
                  <a:pt x="881" y="674"/>
                </a:lnTo>
                <a:lnTo>
                  <a:pt x="880" y="671"/>
                </a:lnTo>
                <a:cubicBezTo>
                  <a:pt x="880" y="669"/>
                  <a:pt x="881" y="669"/>
                  <a:pt x="882" y="669"/>
                </a:cubicBezTo>
                <a:cubicBezTo>
                  <a:pt x="882" y="669"/>
                  <a:pt x="883" y="669"/>
                  <a:pt x="883" y="670"/>
                </a:cubicBezTo>
                <a:cubicBezTo>
                  <a:pt x="884" y="671"/>
                  <a:pt x="884" y="671"/>
                  <a:pt x="885" y="671"/>
                </a:cubicBezTo>
                <a:cubicBezTo>
                  <a:pt x="885" y="671"/>
                  <a:pt x="886" y="670"/>
                  <a:pt x="887" y="669"/>
                </a:cubicBezTo>
                <a:cubicBezTo>
                  <a:pt x="887" y="669"/>
                  <a:pt x="888" y="668"/>
                  <a:pt x="890" y="667"/>
                </a:cubicBezTo>
                <a:cubicBezTo>
                  <a:pt x="891" y="667"/>
                  <a:pt x="893" y="666"/>
                  <a:pt x="895" y="666"/>
                </a:cubicBezTo>
                <a:cubicBezTo>
                  <a:pt x="896" y="666"/>
                  <a:pt x="898" y="666"/>
                  <a:pt x="899" y="665"/>
                </a:cubicBezTo>
                <a:cubicBezTo>
                  <a:pt x="901" y="664"/>
                  <a:pt x="902" y="663"/>
                  <a:pt x="903" y="662"/>
                </a:cubicBezTo>
                <a:lnTo>
                  <a:pt x="904" y="661"/>
                </a:lnTo>
                <a:lnTo>
                  <a:pt x="903" y="664"/>
                </a:lnTo>
                <a:cubicBezTo>
                  <a:pt x="903" y="664"/>
                  <a:pt x="904" y="664"/>
                  <a:pt x="905" y="663"/>
                </a:cubicBezTo>
                <a:cubicBezTo>
                  <a:pt x="906" y="662"/>
                  <a:pt x="907" y="661"/>
                  <a:pt x="908" y="661"/>
                </a:cubicBezTo>
                <a:cubicBezTo>
                  <a:pt x="910" y="660"/>
                  <a:pt x="910" y="660"/>
                  <a:pt x="910" y="660"/>
                </a:cubicBezTo>
                <a:cubicBezTo>
                  <a:pt x="910" y="660"/>
                  <a:pt x="911" y="660"/>
                  <a:pt x="911" y="660"/>
                </a:cubicBezTo>
                <a:cubicBezTo>
                  <a:pt x="911" y="659"/>
                  <a:pt x="913" y="657"/>
                  <a:pt x="915" y="654"/>
                </a:cubicBezTo>
                <a:lnTo>
                  <a:pt x="913" y="656"/>
                </a:lnTo>
                <a:cubicBezTo>
                  <a:pt x="911" y="657"/>
                  <a:pt x="910" y="658"/>
                  <a:pt x="910" y="658"/>
                </a:cubicBezTo>
                <a:cubicBezTo>
                  <a:pt x="910" y="658"/>
                  <a:pt x="911" y="656"/>
                  <a:pt x="913" y="654"/>
                </a:cubicBezTo>
                <a:cubicBezTo>
                  <a:pt x="914" y="652"/>
                  <a:pt x="915" y="651"/>
                  <a:pt x="917" y="650"/>
                </a:cubicBezTo>
                <a:lnTo>
                  <a:pt x="919" y="648"/>
                </a:lnTo>
                <a:cubicBezTo>
                  <a:pt x="919" y="649"/>
                  <a:pt x="918" y="649"/>
                  <a:pt x="917" y="651"/>
                </a:cubicBezTo>
                <a:cubicBezTo>
                  <a:pt x="916" y="652"/>
                  <a:pt x="916" y="653"/>
                  <a:pt x="916" y="653"/>
                </a:cubicBezTo>
                <a:cubicBezTo>
                  <a:pt x="916" y="654"/>
                  <a:pt x="916" y="654"/>
                  <a:pt x="916" y="654"/>
                </a:cubicBezTo>
                <a:cubicBezTo>
                  <a:pt x="917" y="654"/>
                  <a:pt x="918" y="653"/>
                  <a:pt x="919" y="652"/>
                </a:cubicBezTo>
                <a:cubicBezTo>
                  <a:pt x="920" y="652"/>
                  <a:pt x="921" y="650"/>
                  <a:pt x="922" y="649"/>
                </a:cubicBezTo>
                <a:cubicBezTo>
                  <a:pt x="924" y="647"/>
                  <a:pt x="924" y="646"/>
                  <a:pt x="924" y="645"/>
                </a:cubicBezTo>
                <a:cubicBezTo>
                  <a:pt x="924" y="645"/>
                  <a:pt x="924" y="644"/>
                  <a:pt x="924" y="644"/>
                </a:cubicBezTo>
                <a:cubicBezTo>
                  <a:pt x="925" y="642"/>
                  <a:pt x="926" y="641"/>
                  <a:pt x="926" y="640"/>
                </a:cubicBezTo>
                <a:cubicBezTo>
                  <a:pt x="926" y="640"/>
                  <a:pt x="927" y="639"/>
                  <a:pt x="928" y="639"/>
                </a:cubicBezTo>
                <a:lnTo>
                  <a:pt x="930" y="638"/>
                </a:lnTo>
                <a:cubicBezTo>
                  <a:pt x="932" y="638"/>
                  <a:pt x="937" y="632"/>
                  <a:pt x="945" y="621"/>
                </a:cubicBezTo>
                <a:lnTo>
                  <a:pt x="949" y="616"/>
                </a:lnTo>
                <a:lnTo>
                  <a:pt x="945" y="626"/>
                </a:lnTo>
                <a:cubicBezTo>
                  <a:pt x="944" y="629"/>
                  <a:pt x="943" y="630"/>
                  <a:pt x="943" y="630"/>
                </a:cubicBezTo>
                <a:cubicBezTo>
                  <a:pt x="942" y="630"/>
                  <a:pt x="941" y="630"/>
                  <a:pt x="941" y="631"/>
                </a:cubicBezTo>
                <a:cubicBezTo>
                  <a:pt x="941" y="631"/>
                  <a:pt x="942" y="632"/>
                  <a:pt x="942" y="632"/>
                </a:cubicBezTo>
                <a:cubicBezTo>
                  <a:pt x="942" y="633"/>
                  <a:pt x="943" y="633"/>
                  <a:pt x="943" y="634"/>
                </a:cubicBezTo>
                <a:lnTo>
                  <a:pt x="941" y="633"/>
                </a:lnTo>
                <a:cubicBezTo>
                  <a:pt x="941" y="633"/>
                  <a:pt x="940" y="633"/>
                  <a:pt x="939" y="634"/>
                </a:cubicBezTo>
                <a:cubicBezTo>
                  <a:pt x="938" y="635"/>
                  <a:pt x="937" y="636"/>
                  <a:pt x="937" y="637"/>
                </a:cubicBezTo>
                <a:lnTo>
                  <a:pt x="936" y="641"/>
                </a:lnTo>
                <a:cubicBezTo>
                  <a:pt x="936" y="642"/>
                  <a:pt x="933" y="646"/>
                  <a:pt x="927" y="653"/>
                </a:cubicBezTo>
                <a:lnTo>
                  <a:pt x="922" y="659"/>
                </a:lnTo>
                <a:cubicBezTo>
                  <a:pt x="922" y="659"/>
                  <a:pt x="925" y="659"/>
                  <a:pt x="928" y="658"/>
                </a:cubicBezTo>
                <a:cubicBezTo>
                  <a:pt x="933" y="656"/>
                  <a:pt x="937" y="654"/>
                  <a:pt x="939" y="652"/>
                </a:cubicBezTo>
                <a:cubicBezTo>
                  <a:pt x="940" y="651"/>
                  <a:pt x="940" y="651"/>
                  <a:pt x="940" y="650"/>
                </a:cubicBezTo>
                <a:cubicBezTo>
                  <a:pt x="940" y="650"/>
                  <a:pt x="941" y="650"/>
                  <a:pt x="942" y="650"/>
                </a:cubicBezTo>
                <a:cubicBezTo>
                  <a:pt x="943" y="650"/>
                  <a:pt x="946" y="646"/>
                  <a:pt x="952" y="637"/>
                </a:cubicBezTo>
                <a:cubicBezTo>
                  <a:pt x="957" y="629"/>
                  <a:pt x="960" y="624"/>
                  <a:pt x="960" y="623"/>
                </a:cubicBezTo>
                <a:cubicBezTo>
                  <a:pt x="960" y="622"/>
                  <a:pt x="960" y="621"/>
                  <a:pt x="961" y="620"/>
                </a:cubicBezTo>
                <a:cubicBezTo>
                  <a:pt x="964" y="616"/>
                  <a:pt x="966" y="613"/>
                  <a:pt x="966" y="611"/>
                </a:cubicBezTo>
                <a:cubicBezTo>
                  <a:pt x="966" y="610"/>
                  <a:pt x="966" y="610"/>
                  <a:pt x="965" y="610"/>
                </a:cubicBezTo>
                <a:cubicBezTo>
                  <a:pt x="965" y="610"/>
                  <a:pt x="965" y="611"/>
                  <a:pt x="963" y="613"/>
                </a:cubicBezTo>
                <a:cubicBezTo>
                  <a:pt x="962" y="615"/>
                  <a:pt x="961" y="617"/>
                  <a:pt x="959" y="620"/>
                </a:cubicBezTo>
                <a:cubicBezTo>
                  <a:pt x="958" y="622"/>
                  <a:pt x="956" y="625"/>
                  <a:pt x="955" y="627"/>
                </a:cubicBezTo>
                <a:cubicBezTo>
                  <a:pt x="954" y="629"/>
                  <a:pt x="953" y="630"/>
                  <a:pt x="953" y="630"/>
                </a:cubicBezTo>
                <a:cubicBezTo>
                  <a:pt x="952" y="630"/>
                  <a:pt x="952" y="631"/>
                  <a:pt x="951" y="634"/>
                </a:cubicBezTo>
                <a:cubicBezTo>
                  <a:pt x="951" y="636"/>
                  <a:pt x="950" y="637"/>
                  <a:pt x="949" y="637"/>
                </a:cubicBezTo>
                <a:lnTo>
                  <a:pt x="949" y="637"/>
                </a:lnTo>
                <a:cubicBezTo>
                  <a:pt x="948" y="637"/>
                  <a:pt x="947" y="638"/>
                  <a:pt x="944" y="642"/>
                </a:cubicBezTo>
                <a:cubicBezTo>
                  <a:pt x="942" y="645"/>
                  <a:pt x="940" y="647"/>
                  <a:pt x="939" y="647"/>
                </a:cubicBezTo>
                <a:lnTo>
                  <a:pt x="939" y="646"/>
                </a:lnTo>
                <a:cubicBezTo>
                  <a:pt x="939" y="645"/>
                  <a:pt x="940" y="644"/>
                  <a:pt x="941" y="643"/>
                </a:cubicBezTo>
                <a:cubicBezTo>
                  <a:pt x="942" y="642"/>
                  <a:pt x="942" y="642"/>
                  <a:pt x="942" y="642"/>
                </a:cubicBezTo>
                <a:cubicBezTo>
                  <a:pt x="943" y="641"/>
                  <a:pt x="943" y="640"/>
                  <a:pt x="943" y="639"/>
                </a:cubicBezTo>
                <a:lnTo>
                  <a:pt x="943" y="639"/>
                </a:lnTo>
                <a:cubicBezTo>
                  <a:pt x="943" y="637"/>
                  <a:pt x="944" y="635"/>
                  <a:pt x="947" y="632"/>
                </a:cubicBezTo>
                <a:cubicBezTo>
                  <a:pt x="948" y="631"/>
                  <a:pt x="950" y="630"/>
                  <a:pt x="951" y="628"/>
                </a:cubicBezTo>
                <a:cubicBezTo>
                  <a:pt x="952" y="627"/>
                  <a:pt x="952" y="626"/>
                  <a:pt x="952" y="625"/>
                </a:cubicBezTo>
                <a:cubicBezTo>
                  <a:pt x="952" y="623"/>
                  <a:pt x="953" y="621"/>
                  <a:pt x="955" y="619"/>
                </a:cubicBezTo>
                <a:lnTo>
                  <a:pt x="957" y="616"/>
                </a:lnTo>
                <a:lnTo>
                  <a:pt x="958" y="613"/>
                </a:lnTo>
                <a:cubicBezTo>
                  <a:pt x="958" y="612"/>
                  <a:pt x="958" y="612"/>
                  <a:pt x="959" y="612"/>
                </a:cubicBezTo>
                <a:cubicBezTo>
                  <a:pt x="960" y="612"/>
                  <a:pt x="960" y="610"/>
                  <a:pt x="961" y="606"/>
                </a:cubicBezTo>
                <a:cubicBezTo>
                  <a:pt x="963" y="596"/>
                  <a:pt x="965" y="589"/>
                  <a:pt x="965" y="585"/>
                </a:cubicBezTo>
                <a:cubicBezTo>
                  <a:pt x="965" y="582"/>
                  <a:pt x="962" y="580"/>
                  <a:pt x="957" y="579"/>
                </a:cubicBezTo>
                <a:cubicBezTo>
                  <a:pt x="953" y="578"/>
                  <a:pt x="949" y="577"/>
                  <a:pt x="945" y="577"/>
                </a:cubicBezTo>
                <a:cubicBezTo>
                  <a:pt x="928" y="577"/>
                  <a:pt x="909" y="585"/>
                  <a:pt x="889" y="600"/>
                </a:cubicBezTo>
                <a:cubicBezTo>
                  <a:pt x="888" y="601"/>
                  <a:pt x="886" y="602"/>
                  <a:pt x="883" y="604"/>
                </a:cubicBezTo>
                <a:lnTo>
                  <a:pt x="880" y="605"/>
                </a:lnTo>
                <a:lnTo>
                  <a:pt x="879" y="607"/>
                </a:lnTo>
                <a:cubicBezTo>
                  <a:pt x="877" y="609"/>
                  <a:pt x="876" y="610"/>
                  <a:pt x="875" y="610"/>
                </a:cubicBezTo>
                <a:cubicBezTo>
                  <a:pt x="873" y="610"/>
                  <a:pt x="872" y="610"/>
                  <a:pt x="872" y="611"/>
                </a:cubicBezTo>
                <a:cubicBezTo>
                  <a:pt x="872" y="612"/>
                  <a:pt x="868" y="616"/>
                  <a:pt x="859" y="623"/>
                </a:cubicBezTo>
                <a:cubicBezTo>
                  <a:pt x="830" y="649"/>
                  <a:pt x="804" y="679"/>
                  <a:pt x="781" y="712"/>
                </a:cubicBezTo>
                <a:cubicBezTo>
                  <a:pt x="757" y="745"/>
                  <a:pt x="744" y="771"/>
                  <a:pt x="742" y="789"/>
                </a:cubicBezTo>
                <a:cubicBezTo>
                  <a:pt x="742" y="795"/>
                  <a:pt x="741" y="797"/>
                  <a:pt x="739" y="797"/>
                </a:cubicBezTo>
                <a:lnTo>
                  <a:pt x="738" y="797"/>
                </a:lnTo>
                <a:lnTo>
                  <a:pt x="737" y="798"/>
                </a:lnTo>
                <a:cubicBezTo>
                  <a:pt x="737" y="798"/>
                  <a:pt x="737" y="798"/>
                  <a:pt x="737" y="798"/>
                </a:cubicBezTo>
                <a:cubicBezTo>
                  <a:pt x="737" y="800"/>
                  <a:pt x="737" y="800"/>
                  <a:pt x="737" y="800"/>
                </a:cubicBezTo>
                <a:cubicBezTo>
                  <a:pt x="737" y="800"/>
                  <a:pt x="736" y="801"/>
                  <a:pt x="735" y="804"/>
                </a:cubicBezTo>
                <a:cubicBezTo>
                  <a:pt x="734" y="806"/>
                  <a:pt x="733" y="808"/>
                  <a:pt x="732" y="811"/>
                </a:cubicBezTo>
                <a:lnTo>
                  <a:pt x="711" y="873"/>
                </a:lnTo>
                <a:cubicBezTo>
                  <a:pt x="711" y="874"/>
                  <a:pt x="711" y="875"/>
                  <a:pt x="710" y="878"/>
                </a:cubicBezTo>
                <a:cubicBezTo>
                  <a:pt x="709" y="880"/>
                  <a:pt x="708" y="883"/>
                  <a:pt x="707" y="887"/>
                </a:cubicBezTo>
                <a:cubicBezTo>
                  <a:pt x="702" y="903"/>
                  <a:pt x="695" y="924"/>
                  <a:pt x="687" y="951"/>
                </a:cubicBezTo>
                <a:cubicBezTo>
                  <a:pt x="669" y="1008"/>
                  <a:pt x="658" y="1045"/>
                  <a:pt x="655" y="1062"/>
                </a:cubicBezTo>
                <a:cubicBezTo>
                  <a:pt x="653" y="1071"/>
                  <a:pt x="652" y="1079"/>
                  <a:pt x="652" y="1086"/>
                </a:cubicBezTo>
                <a:cubicBezTo>
                  <a:pt x="652" y="1096"/>
                  <a:pt x="651" y="1102"/>
                  <a:pt x="649" y="1102"/>
                </a:cubicBezTo>
                <a:close/>
                <a:moveTo>
                  <a:pt x="729" y="785"/>
                </a:moveTo>
                <a:cubicBezTo>
                  <a:pt x="729" y="785"/>
                  <a:pt x="730" y="784"/>
                  <a:pt x="731" y="781"/>
                </a:cubicBezTo>
                <a:lnTo>
                  <a:pt x="732" y="779"/>
                </a:lnTo>
                <a:cubicBezTo>
                  <a:pt x="732" y="779"/>
                  <a:pt x="732" y="779"/>
                  <a:pt x="731" y="779"/>
                </a:cubicBezTo>
                <a:cubicBezTo>
                  <a:pt x="729" y="779"/>
                  <a:pt x="729" y="780"/>
                  <a:pt x="729" y="784"/>
                </a:cubicBezTo>
                <a:cubicBezTo>
                  <a:pt x="729" y="784"/>
                  <a:pt x="729" y="785"/>
                  <a:pt x="729" y="785"/>
                </a:cubicBezTo>
                <a:close/>
                <a:moveTo>
                  <a:pt x="732" y="776"/>
                </a:moveTo>
                <a:cubicBezTo>
                  <a:pt x="733" y="776"/>
                  <a:pt x="735" y="772"/>
                  <a:pt x="737" y="763"/>
                </a:cubicBezTo>
                <a:cubicBezTo>
                  <a:pt x="740" y="756"/>
                  <a:pt x="741" y="751"/>
                  <a:pt x="741" y="749"/>
                </a:cubicBezTo>
                <a:cubicBezTo>
                  <a:pt x="741" y="747"/>
                  <a:pt x="741" y="747"/>
                  <a:pt x="740" y="747"/>
                </a:cubicBezTo>
                <a:cubicBezTo>
                  <a:pt x="739" y="747"/>
                  <a:pt x="738" y="749"/>
                  <a:pt x="737" y="753"/>
                </a:cubicBezTo>
                <a:cubicBezTo>
                  <a:pt x="736" y="757"/>
                  <a:pt x="734" y="759"/>
                  <a:pt x="732" y="759"/>
                </a:cubicBezTo>
                <a:lnTo>
                  <a:pt x="732" y="759"/>
                </a:lnTo>
                <a:cubicBezTo>
                  <a:pt x="732" y="759"/>
                  <a:pt x="731" y="759"/>
                  <a:pt x="731" y="759"/>
                </a:cubicBezTo>
                <a:cubicBezTo>
                  <a:pt x="731" y="760"/>
                  <a:pt x="732" y="761"/>
                  <a:pt x="732" y="763"/>
                </a:cubicBezTo>
                <a:cubicBezTo>
                  <a:pt x="733" y="764"/>
                  <a:pt x="733" y="766"/>
                  <a:pt x="733" y="766"/>
                </a:cubicBezTo>
                <a:lnTo>
                  <a:pt x="733" y="767"/>
                </a:lnTo>
                <a:lnTo>
                  <a:pt x="732" y="766"/>
                </a:lnTo>
                <a:cubicBezTo>
                  <a:pt x="731" y="766"/>
                  <a:pt x="731" y="767"/>
                  <a:pt x="731" y="769"/>
                </a:cubicBezTo>
                <a:cubicBezTo>
                  <a:pt x="731" y="774"/>
                  <a:pt x="731" y="776"/>
                  <a:pt x="732" y="776"/>
                </a:cubicBezTo>
                <a:close/>
                <a:moveTo>
                  <a:pt x="743" y="747"/>
                </a:moveTo>
                <a:cubicBezTo>
                  <a:pt x="744" y="747"/>
                  <a:pt x="744" y="744"/>
                  <a:pt x="746" y="740"/>
                </a:cubicBezTo>
                <a:lnTo>
                  <a:pt x="747" y="735"/>
                </a:lnTo>
                <a:cubicBezTo>
                  <a:pt x="747" y="735"/>
                  <a:pt x="746" y="736"/>
                  <a:pt x="744" y="738"/>
                </a:cubicBezTo>
                <a:cubicBezTo>
                  <a:pt x="743" y="741"/>
                  <a:pt x="742" y="743"/>
                  <a:pt x="742" y="744"/>
                </a:cubicBezTo>
                <a:cubicBezTo>
                  <a:pt x="742" y="746"/>
                  <a:pt x="742" y="747"/>
                  <a:pt x="743" y="747"/>
                </a:cubicBezTo>
                <a:close/>
                <a:moveTo>
                  <a:pt x="749" y="732"/>
                </a:moveTo>
                <a:cubicBezTo>
                  <a:pt x="749" y="732"/>
                  <a:pt x="749" y="732"/>
                  <a:pt x="749" y="731"/>
                </a:cubicBezTo>
                <a:lnTo>
                  <a:pt x="749" y="730"/>
                </a:lnTo>
                <a:cubicBezTo>
                  <a:pt x="749" y="728"/>
                  <a:pt x="749" y="727"/>
                  <a:pt x="747" y="727"/>
                </a:cubicBezTo>
                <a:cubicBezTo>
                  <a:pt x="746" y="727"/>
                  <a:pt x="746" y="727"/>
                  <a:pt x="746" y="728"/>
                </a:cubicBezTo>
                <a:cubicBezTo>
                  <a:pt x="746" y="728"/>
                  <a:pt x="746" y="729"/>
                  <a:pt x="746" y="729"/>
                </a:cubicBezTo>
                <a:cubicBezTo>
                  <a:pt x="747" y="729"/>
                  <a:pt x="747" y="730"/>
                  <a:pt x="749" y="732"/>
                </a:cubicBezTo>
                <a:close/>
                <a:moveTo>
                  <a:pt x="748" y="725"/>
                </a:moveTo>
                <a:cubicBezTo>
                  <a:pt x="748" y="725"/>
                  <a:pt x="749" y="724"/>
                  <a:pt x="750" y="722"/>
                </a:cubicBezTo>
                <a:lnTo>
                  <a:pt x="751" y="719"/>
                </a:lnTo>
                <a:cubicBezTo>
                  <a:pt x="751" y="719"/>
                  <a:pt x="750" y="720"/>
                  <a:pt x="749" y="721"/>
                </a:cubicBezTo>
                <a:cubicBezTo>
                  <a:pt x="747" y="723"/>
                  <a:pt x="747" y="724"/>
                  <a:pt x="747" y="725"/>
                </a:cubicBezTo>
                <a:cubicBezTo>
                  <a:pt x="747" y="725"/>
                  <a:pt x="747" y="725"/>
                  <a:pt x="748" y="725"/>
                </a:cubicBezTo>
                <a:close/>
                <a:moveTo>
                  <a:pt x="931" y="646"/>
                </a:moveTo>
                <a:cubicBezTo>
                  <a:pt x="932" y="646"/>
                  <a:pt x="933" y="645"/>
                  <a:pt x="933" y="644"/>
                </a:cubicBezTo>
                <a:cubicBezTo>
                  <a:pt x="934" y="642"/>
                  <a:pt x="935" y="641"/>
                  <a:pt x="935" y="641"/>
                </a:cubicBezTo>
                <a:lnTo>
                  <a:pt x="933" y="643"/>
                </a:lnTo>
                <a:cubicBezTo>
                  <a:pt x="931" y="644"/>
                  <a:pt x="930" y="645"/>
                  <a:pt x="930" y="646"/>
                </a:cubicBezTo>
                <a:cubicBezTo>
                  <a:pt x="930" y="646"/>
                  <a:pt x="930" y="646"/>
                  <a:pt x="931" y="646"/>
                </a:cubicBezTo>
                <a:close/>
                <a:moveTo>
                  <a:pt x="925" y="644"/>
                </a:moveTo>
                <a:cubicBezTo>
                  <a:pt x="926" y="644"/>
                  <a:pt x="927" y="643"/>
                  <a:pt x="928" y="641"/>
                </a:cubicBezTo>
                <a:lnTo>
                  <a:pt x="930" y="639"/>
                </a:lnTo>
                <a:lnTo>
                  <a:pt x="927" y="641"/>
                </a:lnTo>
                <a:lnTo>
                  <a:pt x="925" y="644"/>
                </a:lnTo>
                <a:cubicBezTo>
                  <a:pt x="925" y="644"/>
                  <a:pt x="925" y="644"/>
                  <a:pt x="925" y="644"/>
                </a:cubicBezTo>
                <a:close/>
                <a:moveTo>
                  <a:pt x="783" y="758"/>
                </a:moveTo>
                <a:cubicBezTo>
                  <a:pt x="783" y="758"/>
                  <a:pt x="784" y="757"/>
                  <a:pt x="784" y="756"/>
                </a:cubicBezTo>
                <a:cubicBezTo>
                  <a:pt x="784" y="755"/>
                  <a:pt x="783" y="754"/>
                  <a:pt x="782" y="754"/>
                </a:cubicBezTo>
                <a:cubicBezTo>
                  <a:pt x="781" y="754"/>
                  <a:pt x="780" y="754"/>
                  <a:pt x="780" y="755"/>
                </a:cubicBezTo>
                <a:cubicBezTo>
                  <a:pt x="780" y="756"/>
                  <a:pt x="780" y="756"/>
                  <a:pt x="781" y="756"/>
                </a:cubicBezTo>
                <a:cubicBezTo>
                  <a:pt x="781" y="756"/>
                  <a:pt x="781" y="757"/>
                  <a:pt x="783" y="758"/>
                </a:cubicBezTo>
                <a:close/>
                <a:moveTo>
                  <a:pt x="788" y="758"/>
                </a:moveTo>
                <a:cubicBezTo>
                  <a:pt x="789" y="758"/>
                  <a:pt x="790" y="757"/>
                  <a:pt x="790" y="757"/>
                </a:cubicBezTo>
                <a:lnTo>
                  <a:pt x="789" y="756"/>
                </a:lnTo>
                <a:cubicBezTo>
                  <a:pt x="789" y="756"/>
                  <a:pt x="789" y="755"/>
                  <a:pt x="788" y="755"/>
                </a:cubicBezTo>
                <a:cubicBezTo>
                  <a:pt x="788" y="754"/>
                  <a:pt x="787" y="754"/>
                  <a:pt x="786" y="754"/>
                </a:cubicBezTo>
                <a:cubicBezTo>
                  <a:pt x="786" y="754"/>
                  <a:pt x="786" y="755"/>
                  <a:pt x="786" y="756"/>
                </a:cubicBezTo>
                <a:lnTo>
                  <a:pt x="786" y="757"/>
                </a:lnTo>
                <a:cubicBezTo>
                  <a:pt x="786" y="757"/>
                  <a:pt x="786" y="758"/>
                  <a:pt x="788" y="758"/>
                </a:cubicBezTo>
                <a:close/>
                <a:moveTo>
                  <a:pt x="787" y="743"/>
                </a:moveTo>
                <a:cubicBezTo>
                  <a:pt x="788" y="743"/>
                  <a:pt x="789" y="741"/>
                  <a:pt x="791" y="739"/>
                </a:cubicBezTo>
                <a:cubicBezTo>
                  <a:pt x="794" y="736"/>
                  <a:pt x="796" y="735"/>
                  <a:pt x="796" y="735"/>
                </a:cubicBezTo>
                <a:lnTo>
                  <a:pt x="797" y="736"/>
                </a:lnTo>
                <a:cubicBezTo>
                  <a:pt x="798" y="736"/>
                  <a:pt x="798" y="735"/>
                  <a:pt x="800" y="733"/>
                </a:cubicBezTo>
                <a:cubicBezTo>
                  <a:pt x="801" y="731"/>
                  <a:pt x="803" y="730"/>
                  <a:pt x="805" y="728"/>
                </a:cubicBezTo>
                <a:cubicBezTo>
                  <a:pt x="807" y="727"/>
                  <a:pt x="808" y="726"/>
                  <a:pt x="808" y="725"/>
                </a:cubicBezTo>
                <a:cubicBezTo>
                  <a:pt x="808" y="725"/>
                  <a:pt x="808" y="725"/>
                  <a:pt x="808" y="725"/>
                </a:cubicBezTo>
                <a:cubicBezTo>
                  <a:pt x="808" y="725"/>
                  <a:pt x="807" y="725"/>
                  <a:pt x="807" y="725"/>
                </a:cubicBezTo>
                <a:cubicBezTo>
                  <a:pt x="806" y="725"/>
                  <a:pt x="806" y="725"/>
                  <a:pt x="804" y="725"/>
                </a:cubicBezTo>
                <a:cubicBezTo>
                  <a:pt x="801" y="728"/>
                  <a:pt x="800" y="729"/>
                  <a:pt x="799" y="731"/>
                </a:cubicBezTo>
                <a:cubicBezTo>
                  <a:pt x="799" y="733"/>
                  <a:pt x="798" y="734"/>
                  <a:pt x="798" y="734"/>
                </a:cubicBezTo>
                <a:lnTo>
                  <a:pt x="796" y="734"/>
                </a:lnTo>
                <a:cubicBezTo>
                  <a:pt x="795" y="734"/>
                  <a:pt x="793" y="735"/>
                  <a:pt x="791" y="738"/>
                </a:cubicBezTo>
                <a:cubicBezTo>
                  <a:pt x="789" y="741"/>
                  <a:pt x="787" y="742"/>
                  <a:pt x="787" y="743"/>
                </a:cubicBezTo>
                <a:close/>
                <a:moveTo>
                  <a:pt x="840" y="708"/>
                </a:moveTo>
                <a:cubicBezTo>
                  <a:pt x="841" y="708"/>
                  <a:pt x="842" y="707"/>
                  <a:pt x="844" y="705"/>
                </a:cubicBezTo>
                <a:lnTo>
                  <a:pt x="845" y="703"/>
                </a:lnTo>
                <a:lnTo>
                  <a:pt x="842" y="705"/>
                </a:lnTo>
                <a:cubicBezTo>
                  <a:pt x="840" y="706"/>
                  <a:pt x="839" y="707"/>
                  <a:pt x="839" y="708"/>
                </a:cubicBezTo>
                <a:cubicBezTo>
                  <a:pt x="839" y="708"/>
                  <a:pt x="839" y="708"/>
                  <a:pt x="840" y="708"/>
                </a:cubicBezTo>
                <a:close/>
                <a:moveTo>
                  <a:pt x="817" y="720"/>
                </a:moveTo>
                <a:cubicBezTo>
                  <a:pt x="818" y="720"/>
                  <a:pt x="819" y="720"/>
                  <a:pt x="821" y="719"/>
                </a:cubicBezTo>
                <a:cubicBezTo>
                  <a:pt x="823" y="718"/>
                  <a:pt x="823" y="716"/>
                  <a:pt x="823" y="715"/>
                </a:cubicBezTo>
                <a:lnTo>
                  <a:pt x="823" y="715"/>
                </a:lnTo>
                <a:cubicBezTo>
                  <a:pt x="822" y="715"/>
                  <a:pt x="821" y="716"/>
                  <a:pt x="820" y="716"/>
                </a:cubicBezTo>
                <a:cubicBezTo>
                  <a:pt x="819" y="717"/>
                  <a:pt x="818" y="718"/>
                  <a:pt x="817" y="718"/>
                </a:cubicBezTo>
                <a:cubicBezTo>
                  <a:pt x="816" y="719"/>
                  <a:pt x="816" y="719"/>
                  <a:pt x="816" y="720"/>
                </a:cubicBezTo>
                <a:cubicBezTo>
                  <a:pt x="816" y="720"/>
                  <a:pt x="816" y="720"/>
                  <a:pt x="817" y="720"/>
                </a:cubicBezTo>
                <a:close/>
                <a:moveTo>
                  <a:pt x="820" y="743"/>
                </a:moveTo>
                <a:lnTo>
                  <a:pt x="827" y="741"/>
                </a:lnTo>
                <a:cubicBezTo>
                  <a:pt x="830" y="740"/>
                  <a:pt x="831" y="739"/>
                  <a:pt x="831" y="738"/>
                </a:cubicBezTo>
                <a:cubicBezTo>
                  <a:pt x="831" y="738"/>
                  <a:pt x="831" y="737"/>
                  <a:pt x="831" y="737"/>
                </a:cubicBezTo>
                <a:cubicBezTo>
                  <a:pt x="831" y="737"/>
                  <a:pt x="831" y="737"/>
                  <a:pt x="831" y="737"/>
                </a:cubicBezTo>
                <a:cubicBezTo>
                  <a:pt x="830" y="737"/>
                  <a:pt x="828" y="738"/>
                  <a:pt x="826" y="739"/>
                </a:cubicBezTo>
                <a:cubicBezTo>
                  <a:pt x="822" y="742"/>
                  <a:pt x="820" y="743"/>
                  <a:pt x="820" y="743"/>
                </a:cubicBezTo>
                <a:close/>
                <a:moveTo>
                  <a:pt x="826" y="715"/>
                </a:moveTo>
                <a:cubicBezTo>
                  <a:pt x="827" y="715"/>
                  <a:pt x="828" y="715"/>
                  <a:pt x="829" y="714"/>
                </a:cubicBezTo>
                <a:cubicBezTo>
                  <a:pt x="831" y="713"/>
                  <a:pt x="832" y="713"/>
                  <a:pt x="834" y="712"/>
                </a:cubicBezTo>
                <a:lnTo>
                  <a:pt x="835" y="712"/>
                </a:lnTo>
                <a:cubicBezTo>
                  <a:pt x="835" y="712"/>
                  <a:pt x="835" y="712"/>
                  <a:pt x="835" y="711"/>
                </a:cubicBezTo>
                <a:cubicBezTo>
                  <a:pt x="835" y="710"/>
                  <a:pt x="835" y="710"/>
                  <a:pt x="833" y="710"/>
                </a:cubicBezTo>
                <a:cubicBezTo>
                  <a:pt x="833" y="710"/>
                  <a:pt x="831" y="710"/>
                  <a:pt x="830" y="710"/>
                </a:cubicBezTo>
                <a:cubicBezTo>
                  <a:pt x="829" y="711"/>
                  <a:pt x="828" y="712"/>
                  <a:pt x="827" y="712"/>
                </a:cubicBezTo>
                <a:cubicBezTo>
                  <a:pt x="826" y="713"/>
                  <a:pt x="826" y="714"/>
                  <a:pt x="826" y="714"/>
                </a:cubicBezTo>
                <a:cubicBezTo>
                  <a:pt x="826" y="715"/>
                  <a:pt x="826" y="715"/>
                  <a:pt x="826" y="715"/>
                </a:cubicBezTo>
                <a:close/>
                <a:moveTo>
                  <a:pt x="838" y="735"/>
                </a:moveTo>
                <a:cubicBezTo>
                  <a:pt x="838" y="735"/>
                  <a:pt x="840" y="735"/>
                  <a:pt x="842" y="733"/>
                </a:cubicBezTo>
                <a:cubicBezTo>
                  <a:pt x="844" y="732"/>
                  <a:pt x="845" y="731"/>
                  <a:pt x="846" y="730"/>
                </a:cubicBezTo>
                <a:cubicBezTo>
                  <a:pt x="847" y="729"/>
                  <a:pt x="848" y="729"/>
                  <a:pt x="848" y="728"/>
                </a:cubicBezTo>
                <a:cubicBezTo>
                  <a:pt x="848" y="728"/>
                  <a:pt x="848" y="728"/>
                  <a:pt x="849" y="728"/>
                </a:cubicBezTo>
                <a:lnTo>
                  <a:pt x="851" y="728"/>
                </a:lnTo>
                <a:lnTo>
                  <a:pt x="851" y="728"/>
                </a:lnTo>
                <a:cubicBezTo>
                  <a:pt x="851" y="727"/>
                  <a:pt x="851" y="726"/>
                  <a:pt x="849" y="726"/>
                </a:cubicBezTo>
                <a:cubicBezTo>
                  <a:pt x="848" y="726"/>
                  <a:pt x="845" y="727"/>
                  <a:pt x="842" y="730"/>
                </a:cubicBezTo>
                <a:cubicBezTo>
                  <a:pt x="838" y="732"/>
                  <a:pt x="837" y="734"/>
                  <a:pt x="837" y="735"/>
                </a:cubicBezTo>
                <a:cubicBezTo>
                  <a:pt x="837" y="735"/>
                  <a:pt x="837" y="735"/>
                  <a:pt x="838" y="735"/>
                </a:cubicBezTo>
                <a:close/>
                <a:moveTo>
                  <a:pt x="858" y="723"/>
                </a:moveTo>
                <a:lnTo>
                  <a:pt x="860" y="722"/>
                </a:lnTo>
                <a:cubicBezTo>
                  <a:pt x="861" y="721"/>
                  <a:pt x="862" y="721"/>
                  <a:pt x="862" y="720"/>
                </a:cubicBezTo>
                <a:lnTo>
                  <a:pt x="862" y="720"/>
                </a:lnTo>
                <a:lnTo>
                  <a:pt x="861" y="720"/>
                </a:lnTo>
                <a:cubicBezTo>
                  <a:pt x="861" y="720"/>
                  <a:pt x="860" y="720"/>
                  <a:pt x="859" y="720"/>
                </a:cubicBezTo>
                <a:cubicBezTo>
                  <a:pt x="858" y="721"/>
                  <a:pt x="858" y="722"/>
                  <a:pt x="858" y="723"/>
                </a:cubicBezTo>
                <a:close/>
                <a:moveTo>
                  <a:pt x="901" y="683"/>
                </a:moveTo>
                <a:cubicBezTo>
                  <a:pt x="903" y="683"/>
                  <a:pt x="903" y="682"/>
                  <a:pt x="903" y="681"/>
                </a:cubicBezTo>
                <a:cubicBezTo>
                  <a:pt x="903" y="681"/>
                  <a:pt x="903" y="680"/>
                  <a:pt x="903" y="680"/>
                </a:cubicBezTo>
                <a:cubicBezTo>
                  <a:pt x="903" y="680"/>
                  <a:pt x="903" y="679"/>
                  <a:pt x="902" y="679"/>
                </a:cubicBezTo>
                <a:cubicBezTo>
                  <a:pt x="902" y="679"/>
                  <a:pt x="901" y="680"/>
                  <a:pt x="901" y="680"/>
                </a:cubicBezTo>
                <a:cubicBezTo>
                  <a:pt x="901" y="680"/>
                  <a:pt x="900" y="681"/>
                  <a:pt x="900" y="682"/>
                </a:cubicBezTo>
                <a:lnTo>
                  <a:pt x="900" y="683"/>
                </a:lnTo>
                <a:cubicBezTo>
                  <a:pt x="900" y="683"/>
                  <a:pt x="901" y="683"/>
                  <a:pt x="901" y="683"/>
                </a:cubicBezTo>
                <a:close/>
                <a:moveTo>
                  <a:pt x="913" y="707"/>
                </a:moveTo>
                <a:cubicBezTo>
                  <a:pt x="914" y="707"/>
                  <a:pt x="915" y="705"/>
                  <a:pt x="918" y="702"/>
                </a:cubicBezTo>
                <a:cubicBezTo>
                  <a:pt x="920" y="700"/>
                  <a:pt x="920" y="698"/>
                  <a:pt x="920" y="698"/>
                </a:cubicBezTo>
                <a:cubicBezTo>
                  <a:pt x="920" y="698"/>
                  <a:pt x="920" y="698"/>
                  <a:pt x="919" y="699"/>
                </a:cubicBezTo>
                <a:cubicBezTo>
                  <a:pt x="915" y="703"/>
                  <a:pt x="913" y="705"/>
                  <a:pt x="913" y="707"/>
                </a:cubicBezTo>
                <a:close/>
                <a:moveTo>
                  <a:pt x="907" y="681"/>
                </a:moveTo>
                <a:lnTo>
                  <a:pt x="908" y="679"/>
                </a:lnTo>
                <a:cubicBezTo>
                  <a:pt x="908" y="678"/>
                  <a:pt x="908" y="677"/>
                  <a:pt x="910" y="677"/>
                </a:cubicBezTo>
                <a:lnTo>
                  <a:pt x="915" y="677"/>
                </a:lnTo>
                <a:cubicBezTo>
                  <a:pt x="916" y="677"/>
                  <a:pt x="916" y="677"/>
                  <a:pt x="916" y="677"/>
                </a:cubicBezTo>
                <a:lnTo>
                  <a:pt x="915" y="674"/>
                </a:lnTo>
                <a:cubicBezTo>
                  <a:pt x="915" y="674"/>
                  <a:pt x="915" y="674"/>
                  <a:pt x="915" y="674"/>
                </a:cubicBezTo>
                <a:lnTo>
                  <a:pt x="918" y="675"/>
                </a:lnTo>
                <a:cubicBezTo>
                  <a:pt x="918" y="675"/>
                  <a:pt x="919" y="674"/>
                  <a:pt x="920" y="674"/>
                </a:cubicBezTo>
                <a:lnTo>
                  <a:pt x="920" y="671"/>
                </a:lnTo>
                <a:cubicBezTo>
                  <a:pt x="920" y="671"/>
                  <a:pt x="920" y="670"/>
                  <a:pt x="918" y="670"/>
                </a:cubicBezTo>
                <a:cubicBezTo>
                  <a:pt x="915" y="670"/>
                  <a:pt x="911" y="672"/>
                  <a:pt x="908" y="676"/>
                </a:cubicBezTo>
                <a:lnTo>
                  <a:pt x="906" y="679"/>
                </a:lnTo>
                <a:lnTo>
                  <a:pt x="907" y="681"/>
                </a:lnTo>
                <a:close/>
                <a:moveTo>
                  <a:pt x="927" y="668"/>
                </a:moveTo>
                <a:lnTo>
                  <a:pt x="931" y="663"/>
                </a:lnTo>
                <a:lnTo>
                  <a:pt x="928" y="665"/>
                </a:lnTo>
                <a:cubicBezTo>
                  <a:pt x="927" y="666"/>
                  <a:pt x="926" y="667"/>
                  <a:pt x="926" y="668"/>
                </a:cubicBezTo>
                <a:cubicBezTo>
                  <a:pt x="926" y="668"/>
                  <a:pt x="926" y="668"/>
                  <a:pt x="927" y="668"/>
                </a:cubicBezTo>
                <a:close/>
                <a:moveTo>
                  <a:pt x="1057" y="632"/>
                </a:moveTo>
                <a:cubicBezTo>
                  <a:pt x="1059" y="632"/>
                  <a:pt x="1060" y="631"/>
                  <a:pt x="1060" y="631"/>
                </a:cubicBezTo>
                <a:lnTo>
                  <a:pt x="1060" y="630"/>
                </a:lnTo>
                <a:lnTo>
                  <a:pt x="1059" y="630"/>
                </a:lnTo>
                <a:cubicBezTo>
                  <a:pt x="1057" y="630"/>
                  <a:pt x="1056" y="630"/>
                  <a:pt x="1056" y="631"/>
                </a:cubicBezTo>
                <a:lnTo>
                  <a:pt x="1057" y="632"/>
                </a:lnTo>
                <a:close/>
                <a:moveTo>
                  <a:pt x="1005" y="668"/>
                </a:moveTo>
                <a:cubicBezTo>
                  <a:pt x="1006" y="668"/>
                  <a:pt x="1007" y="668"/>
                  <a:pt x="1008" y="667"/>
                </a:cubicBezTo>
                <a:lnTo>
                  <a:pt x="1008" y="666"/>
                </a:lnTo>
                <a:cubicBezTo>
                  <a:pt x="1008" y="666"/>
                  <a:pt x="1007" y="665"/>
                  <a:pt x="1004" y="665"/>
                </a:cubicBezTo>
                <a:cubicBezTo>
                  <a:pt x="1003" y="665"/>
                  <a:pt x="1002" y="666"/>
                  <a:pt x="1002" y="666"/>
                </a:cubicBezTo>
                <a:cubicBezTo>
                  <a:pt x="1002" y="668"/>
                  <a:pt x="1003" y="668"/>
                  <a:pt x="1005" y="668"/>
                </a:cubicBezTo>
                <a:close/>
                <a:moveTo>
                  <a:pt x="1018" y="664"/>
                </a:moveTo>
                <a:lnTo>
                  <a:pt x="1020" y="663"/>
                </a:lnTo>
                <a:cubicBezTo>
                  <a:pt x="1021" y="663"/>
                  <a:pt x="1022" y="662"/>
                  <a:pt x="1022" y="662"/>
                </a:cubicBezTo>
                <a:lnTo>
                  <a:pt x="1022" y="661"/>
                </a:lnTo>
                <a:cubicBezTo>
                  <a:pt x="1022" y="661"/>
                  <a:pt x="1021" y="661"/>
                  <a:pt x="1020" y="661"/>
                </a:cubicBezTo>
                <a:cubicBezTo>
                  <a:pt x="1018" y="661"/>
                  <a:pt x="1017" y="661"/>
                  <a:pt x="1017" y="663"/>
                </a:cubicBezTo>
                <a:cubicBezTo>
                  <a:pt x="1017" y="664"/>
                  <a:pt x="1017" y="664"/>
                  <a:pt x="1018" y="664"/>
                </a:cubicBezTo>
                <a:close/>
                <a:moveTo>
                  <a:pt x="1027" y="663"/>
                </a:moveTo>
                <a:cubicBezTo>
                  <a:pt x="1028" y="663"/>
                  <a:pt x="1029" y="662"/>
                  <a:pt x="1029" y="661"/>
                </a:cubicBezTo>
                <a:cubicBezTo>
                  <a:pt x="1029" y="660"/>
                  <a:pt x="1029" y="659"/>
                  <a:pt x="1027" y="659"/>
                </a:cubicBezTo>
                <a:cubicBezTo>
                  <a:pt x="1026" y="659"/>
                  <a:pt x="1025" y="660"/>
                  <a:pt x="1025" y="661"/>
                </a:cubicBezTo>
                <a:cubicBezTo>
                  <a:pt x="1025" y="662"/>
                  <a:pt x="1025" y="663"/>
                  <a:pt x="1027" y="663"/>
                </a:cubicBezTo>
                <a:close/>
                <a:moveTo>
                  <a:pt x="1036" y="661"/>
                </a:moveTo>
                <a:cubicBezTo>
                  <a:pt x="1039" y="661"/>
                  <a:pt x="1040" y="660"/>
                  <a:pt x="1040" y="658"/>
                </a:cubicBezTo>
                <a:cubicBezTo>
                  <a:pt x="1040" y="658"/>
                  <a:pt x="1040" y="657"/>
                  <a:pt x="1040" y="657"/>
                </a:cubicBezTo>
                <a:cubicBezTo>
                  <a:pt x="1039" y="657"/>
                  <a:pt x="1037" y="658"/>
                  <a:pt x="1036" y="659"/>
                </a:cubicBezTo>
                <a:cubicBezTo>
                  <a:pt x="1035" y="660"/>
                  <a:pt x="1034" y="661"/>
                  <a:pt x="1034" y="661"/>
                </a:cubicBezTo>
                <a:lnTo>
                  <a:pt x="1036" y="661"/>
                </a:lnTo>
                <a:close/>
                <a:moveTo>
                  <a:pt x="979" y="660"/>
                </a:moveTo>
                <a:cubicBezTo>
                  <a:pt x="980" y="660"/>
                  <a:pt x="981" y="659"/>
                  <a:pt x="983" y="659"/>
                </a:cubicBezTo>
                <a:cubicBezTo>
                  <a:pt x="984" y="659"/>
                  <a:pt x="986" y="658"/>
                  <a:pt x="987" y="658"/>
                </a:cubicBezTo>
                <a:lnTo>
                  <a:pt x="988" y="659"/>
                </a:lnTo>
                <a:cubicBezTo>
                  <a:pt x="988" y="659"/>
                  <a:pt x="989" y="658"/>
                  <a:pt x="990" y="657"/>
                </a:cubicBezTo>
                <a:cubicBezTo>
                  <a:pt x="991" y="656"/>
                  <a:pt x="992" y="656"/>
                  <a:pt x="994" y="656"/>
                </a:cubicBezTo>
                <a:cubicBezTo>
                  <a:pt x="995" y="656"/>
                  <a:pt x="996" y="655"/>
                  <a:pt x="999" y="654"/>
                </a:cubicBezTo>
                <a:cubicBezTo>
                  <a:pt x="1001" y="654"/>
                  <a:pt x="1004" y="654"/>
                  <a:pt x="1010" y="654"/>
                </a:cubicBezTo>
                <a:cubicBezTo>
                  <a:pt x="1012" y="654"/>
                  <a:pt x="1014" y="653"/>
                  <a:pt x="1015" y="652"/>
                </a:cubicBezTo>
                <a:cubicBezTo>
                  <a:pt x="1015" y="651"/>
                  <a:pt x="1016" y="651"/>
                  <a:pt x="1017" y="651"/>
                </a:cubicBezTo>
                <a:lnTo>
                  <a:pt x="1020" y="651"/>
                </a:lnTo>
                <a:cubicBezTo>
                  <a:pt x="1020" y="651"/>
                  <a:pt x="1021" y="651"/>
                  <a:pt x="1021" y="650"/>
                </a:cubicBezTo>
                <a:lnTo>
                  <a:pt x="1021" y="649"/>
                </a:lnTo>
                <a:cubicBezTo>
                  <a:pt x="1021" y="649"/>
                  <a:pt x="1021" y="649"/>
                  <a:pt x="1022" y="649"/>
                </a:cubicBezTo>
                <a:cubicBezTo>
                  <a:pt x="1022" y="649"/>
                  <a:pt x="1023" y="649"/>
                  <a:pt x="1024" y="650"/>
                </a:cubicBezTo>
                <a:cubicBezTo>
                  <a:pt x="1025" y="651"/>
                  <a:pt x="1026" y="652"/>
                  <a:pt x="1026" y="652"/>
                </a:cubicBezTo>
                <a:lnTo>
                  <a:pt x="1024" y="649"/>
                </a:lnTo>
                <a:lnTo>
                  <a:pt x="1029" y="649"/>
                </a:lnTo>
                <a:cubicBezTo>
                  <a:pt x="1030" y="649"/>
                  <a:pt x="1031" y="649"/>
                  <a:pt x="1031" y="648"/>
                </a:cubicBezTo>
                <a:cubicBezTo>
                  <a:pt x="1031" y="647"/>
                  <a:pt x="1030" y="647"/>
                  <a:pt x="1028" y="647"/>
                </a:cubicBezTo>
                <a:cubicBezTo>
                  <a:pt x="1025" y="647"/>
                  <a:pt x="1017" y="648"/>
                  <a:pt x="1004" y="651"/>
                </a:cubicBezTo>
                <a:cubicBezTo>
                  <a:pt x="998" y="652"/>
                  <a:pt x="994" y="653"/>
                  <a:pt x="991" y="653"/>
                </a:cubicBezTo>
                <a:cubicBezTo>
                  <a:pt x="989" y="653"/>
                  <a:pt x="988" y="652"/>
                  <a:pt x="988" y="652"/>
                </a:cubicBezTo>
                <a:lnTo>
                  <a:pt x="987" y="650"/>
                </a:lnTo>
                <a:lnTo>
                  <a:pt x="988" y="653"/>
                </a:lnTo>
                <a:cubicBezTo>
                  <a:pt x="988" y="655"/>
                  <a:pt x="985" y="656"/>
                  <a:pt x="981" y="656"/>
                </a:cubicBezTo>
                <a:cubicBezTo>
                  <a:pt x="978" y="657"/>
                  <a:pt x="976" y="658"/>
                  <a:pt x="976" y="659"/>
                </a:cubicBezTo>
                <a:cubicBezTo>
                  <a:pt x="976" y="659"/>
                  <a:pt x="977" y="659"/>
                  <a:pt x="979" y="660"/>
                </a:cubicBezTo>
                <a:close/>
                <a:moveTo>
                  <a:pt x="971" y="661"/>
                </a:moveTo>
                <a:cubicBezTo>
                  <a:pt x="972" y="661"/>
                  <a:pt x="973" y="661"/>
                  <a:pt x="973" y="660"/>
                </a:cubicBezTo>
                <a:lnTo>
                  <a:pt x="973" y="660"/>
                </a:lnTo>
                <a:lnTo>
                  <a:pt x="972" y="659"/>
                </a:lnTo>
                <a:lnTo>
                  <a:pt x="970" y="660"/>
                </a:lnTo>
                <a:lnTo>
                  <a:pt x="969" y="660"/>
                </a:lnTo>
                <a:cubicBezTo>
                  <a:pt x="969" y="661"/>
                  <a:pt x="969" y="661"/>
                  <a:pt x="971" y="661"/>
                </a:cubicBezTo>
                <a:close/>
                <a:moveTo>
                  <a:pt x="977" y="622"/>
                </a:moveTo>
                <a:cubicBezTo>
                  <a:pt x="977" y="622"/>
                  <a:pt x="979" y="620"/>
                  <a:pt x="980" y="616"/>
                </a:cubicBezTo>
                <a:cubicBezTo>
                  <a:pt x="982" y="611"/>
                  <a:pt x="983" y="608"/>
                  <a:pt x="983" y="607"/>
                </a:cubicBezTo>
                <a:cubicBezTo>
                  <a:pt x="983" y="606"/>
                  <a:pt x="983" y="605"/>
                  <a:pt x="983" y="605"/>
                </a:cubicBezTo>
                <a:cubicBezTo>
                  <a:pt x="983" y="605"/>
                  <a:pt x="983" y="604"/>
                  <a:pt x="984" y="603"/>
                </a:cubicBezTo>
                <a:cubicBezTo>
                  <a:pt x="984" y="603"/>
                  <a:pt x="984" y="603"/>
                  <a:pt x="984" y="602"/>
                </a:cubicBezTo>
                <a:cubicBezTo>
                  <a:pt x="984" y="600"/>
                  <a:pt x="984" y="597"/>
                  <a:pt x="983" y="594"/>
                </a:cubicBezTo>
                <a:cubicBezTo>
                  <a:pt x="983" y="591"/>
                  <a:pt x="982" y="589"/>
                  <a:pt x="981" y="586"/>
                </a:cubicBezTo>
                <a:cubicBezTo>
                  <a:pt x="980" y="584"/>
                  <a:pt x="980" y="583"/>
                  <a:pt x="979" y="583"/>
                </a:cubicBezTo>
                <a:cubicBezTo>
                  <a:pt x="978" y="583"/>
                  <a:pt x="977" y="583"/>
                  <a:pt x="977" y="584"/>
                </a:cubicBezTo>
                <a:cubicBezTo>
                  <a:pt x="977" y="586"/>
                  <a:pt x="978" y="587"/>
                  <a:pt x="979" y="588"/>
                </a:cubicBezTo>
                <a:cubicBezTo>
                  <a:pt x="980" y="589"/>
                  <a:pt x="981" y="589"/>
                  <a:pt x="981" y="590"/>
                </a:cubicBezTo>
                <a:cubicBezTo>
                  <a:pt x="981" y="590"/>
                  <a:pt x="980" y="591"/>
                  <a:pt x="980" y="591"/>
                </a:cubicBezTo>
                <a:cubicBezTo>
                  <a:pt x="979" y="592"/>
                  <a:pt x="979" y="595"/>
                  <a:pt x="979" y="601"/>
                </a:cubicBezTo>
                <a:lnTo>
                  <a:pt x="979" y="610"/>
                </a:lnTo>
                <a:cubicBezTo>
                  <a:pt x="979" y="612"/>
                  <a:pt x="979" y="613"/>
                  <a:pt x="978" y="613"/>
                </a:cubicBezTo>
                <a:cubicBezTo>
                  <a:pt x="977" y="613"/>
                  <a:pt x="977" y="614"/>
                  <a:pt x="977" y="614"/>
                </a:cubicBezTo>
                <a:lnTo>
                  <a:pt x="978" y="616"/>
                </a:lnTo>
                <a:cubicBezTo>
                  <a:pt x="978" y="617"/>
                  <a:pt x="978" y="617"/>
                  <a:pt x="977" y="618"/>
                </a:cubicBezTo>
                <a:cubicBezTo>
                  <a:pt x="977" y="619"/>
                  <a:pt x="976" y="620"/>
                  <a:pt x="976" y="620"/>
                </a:cubicBezTo>
                <a:cubicBezTo>
                  <a:pt x="976" y="622"/>
                  <a:pt x="976" y="622"/>
                  <a:pt x="977" y="622"/>
                </a:cubicBezTo>
                <a:close/>
                <a:moveTo>
                  <a:pt x="885" y="580"/>
                </a:moveTo>
                <a:lnTo>
                  <a:pt x="886" y="579"/>
                </a:lnTo>
                <a:cubicBezTo>
                  <a:pt x="886" y="578"/>
                  <a:pt x="885" y="577"/>
                  <a:pt x="884" y="576"/>
                </a:cubicBezTo>
                <a:cubicBezTo>
                  <a:pt x="883" y="576"/>
                  <a:pt x="883" y="575"/>
                  <a:pt x="883" y="575"/>
                </a:cubicBezTo>
                <a:cubicBezTo>
                  <a:pt x="882" y="575"/>
                  <a:pt x="882" y="576"/>
                  <a:pt x="882" y="576"/>
                </a:cubicBezTo>
                <a:cubicBezTo>
                  <a:pt x="883" y="578"/>
                  <a:pt x="884" y="580"/>
                  <a:pt x="885" y="580"/>
                </a:cubicBezTo>
                <a:close/>
                <a:moveTo>
                  <a:pt x="820" y="632"/>
                </a:moveTo>
                <a:cubicBezTo>
                  <a:pt x="821" y="632"/>
                  <a:pt x="821" y="631"/>
                  <a:pt x="822" y="629"/>
                </a:cubicBezTo>
                <a:cubicBezTo>
                  <a:pt x="823" y="627"/>
                  <a:pt x="824" y="626"/>
                  <a:pt x="824" y="626"/>
                </a:cubicBezTo>
                <a:lnTo>
                  <a:pt x="822" y="628"/>
                </a:lnTo>
                <a:cubicBezTo>
                  <a:pt x="820" y="630"/>
                  <a:pt x="819" y="630"/>
                  <a:pt x="819" y="631"/>
                </a:cubicBezTo>
                <a:cubicBezTo>
                  <a:pt x="819" y="631"/>
                  <a:pt x="820" y="632"/>
                  <a:pt x="820" y="632"/>
                </a:cubicBezTo>
                <a:close/>
                <a:moveTo>
                  <a:pt x="797" y="657"/>
                </a:moveTo>
                <a:cubicBezTo>
                  <a:pt x="797" y="657"/>
                  <a:pt x="798" y="657"/>
                  <a:pt x="798" y="656"/>
                </a:cubicBezTo>
                <a:cubicBezTo>
                  <a:pt x="799" y="656"/>
                  <a:pt x="799" y="655"/>
                  <a:pt x="800" y="654"/>
                </a:cubicBezTo>
                <a:cubicBezTo>
                  <a:pt x="801" y="653"/>
                  <a:pt x="801" y="652"/>
                  <a:pt x="801" y="652"/>
                </a:cubicBezTo>
                <a:lnTo>
                  <a:pt x="799" y="653"/>
                </a:lnTo>
                <a:cubicBezTo>
                  <a:pt x="797" y="655"/>
                  <a:pt x="796" y="656"/>
                  <a:pt x="796" y="657"/>
                </a:cubicBezTo>
                <a:cubicBezTo>
                  <a:pt x="796" y="657"/>
                  <a:pt x="797" y="657"/>
                  <a:pt x="797" y="657"/>
                </a:cubicBezTo>
                <a:close/>
                <a:moveTo>
                  <a:pt x="776" y="692"/>
                </a:moveTo>
                <a:cubicBezTo>
                  <a:pt x="776" y="692"/>
                  <a:pt x="778" y="691"/>
                  <a:pt x="780" y="689"/>
                </a:cubicBezTo>
                <a:cubicBezTo>
                  <a:pt x="781" y="687"/>
                  <a:pt x="782" y="686"/>
                  <a:pt x="782" y="684"/>
                </a:cubicBezTo>
                <a:cubicBezTo>
                  <a:pt x="782" y="683"/>
                  <a:pt x="783" y="681"/>
                  <a:pt x="785" y="680"/>
                </a:cubicBezTo>
                <a:cubicBezTo>
                  <a:pt x="787" y="679"/>
                  <a:pt x="788" y="678"/>
                  <a:pt x="788" y="677"/>
                </a:cubicBezTo>
                <a:lnTo>
                  <a:pt x="787" y="677"/>
                </a:lnTo>
                <a:cubicBezTo>
                  <a:pt x="787" y="676"/>
                  <a:pt x="790" y="673"/>
                  <a:pt x="796" y="666"/>
                </a:cubicBezTo>
                <a:lnTo>
                  <a:pt x="798" y="663"/>
                </a:lnTo>
                <a:cubicBezTo>
                  <a:pt x="803" y="657"/>
                  <a:pt x="806" y="654"/>
                  <a:pt x="806" y="653"/>
                </a:cubicBezTo>
                <a:cubicBezTo>
                  <a:pt x="805" y="653"/>
                  <a:pt x="803" y="654"/>
                  <a:pt x="800" y="658"/>
                </a:cubicBezTo>
                <a:cubicBezTo>
                  <a:pt x="797" y="661"/>
                  <a:pt x="794" y="666"/>
                  <a:pt x="790" y="670"/>
                </a:cubicBezTo>
                <a:cubicBezTo>
                  <a:pt x="786" y="675"/>
                  <a:pt x="782" y="679"/>
                  <a:pt x="779" y="683"/>
                </a:cubicBezTo>
                <a:cubicBezTo>
                  <a:pt x="776" y="687"/>
                  <a:pt x="775" y="689"/>
                  <a:pt x="774" y="690"/>
                </a:cubicBezTo>
                <a:lnTo>
                  <a:pt x="774" y="691"/>
                </a:lnTo>
                <a:cubicBezTo>
                  <a:pt x="774" y="691"/>
                  <a:pt x="775" y="692"/>
                  <a:pt x="776" y="692"/>
                </a:cubicBezTo>
                <a:close/>
                <a:moveTo>
                  <a:pt x="802" y="637"/>
                </a:moveTo>
                <a:lnTo>
                  <a:pt x="804" y="634"/>
                </a:lnTo>
                <a:lnTo>
                  <a:pt x="806" y="632"/>
                </a:lnTo>
                <a:lnTo>
                  <a:pt x="803" y="634"/>
                </a:lnTo>
                <a:cubicBezTo>
                  <a:pt x="802" y="635"/>
                  <a:pt x="801" y="636"/>
                  <a:pt x="801" y="637"/>
                </a:cubicBezTo>
                <a:cubicBezTo>
                  <a:pt x="801" y="637"/>
                  <a:pt x="801" y="637"/>
                  <a:pt x="802" y="637"/>
                </a:cubicBezTo>
                <a:close/>
                <a:moveTo>
                  <a:pt x="808" y="644"/>
                </a:moveTo>
                <a:lnTo>
                  <a:pt x="811" y="641"/>
                </a:lnTo>
                <a:cubicBezTo>
                  <a:pt x="812" y="639"/>
                  <a:pt x="813" y="638"/>
                  <a:pt x="813" y="637"/>
                </a:cubicBezTo>
                <a:cubicBezTo>
                  <a:pt x="813" y="637"/>
                  <a:pt x="811" y="638"/>
                  <a:pt x="809" y="641"/>
                </a:cubicBezTo>
                <a:cubicBezTo>
                  <a:pt x="808" y="642"/>
                  <a:pt x="808" y="643"/>
                  <a:pt x="808" y="644"/>
                </a:cubicBezTo>
                <a:close/>
                <a:moveTo>
                  <a:pt x="813" y="646"/>
                </a:moveTo>
                <a:cubicBezTo>
                  <a:pt x="813" y="646"/>
                  <a:pt x="817" y="642"/>
                  <a:pt x="824" y="634"/>
                </a:cubicBezTo>
                <a:cubicBezTo>
                  <a:pt x="829" y="628"/>
                  <a:pt x="831" y="625"/>
                  <a:pt x="831" y="625"/>
                </a:cubicBezTo>
                <a:cubicBezTo>
                  <a:pt x="831" y="625"/>
                  <a:pt x="828" y="627"/>
                  <a:pt x="824" y="632"/>
                </a:cubicBezTo>
                <a:cubicBezTo>
                  <a:pt x="821" y="635"/>
                  <a:pt x="819" y="637"/>
                  <a:pt x="818" y="637"/>
                </a:cubicBezTo>
                <a:cubicBezTo>
                  <a:pt x="817" y="637"/>
                  <a:pt x="816" y="638"/>
                  <a:pt x="815" y="641"/>
                </a:cubicBezTo>
                <a:cubicBezTo>
                  <a:pt x="813" y="644"/>
                  <a:pt x="813" y="645"/>
                  <a:pt x="813" y="646"/>
                </a:cubicBezTo>
                <a:close/>
                <a:moveTo>
                  <a:pt x="832" y="621"/>
                </a:moveTo>
                <a:cubicBezTo>
                  <a:pt x="833" y="621"/>
                  <a:pt x="833" y="620"/>
                  <a:pt x="833" y="619"/>
                </a:cubicBezTo>
                <a:cubicBezTo>
                  <a:pt x="833" y="617"/>
                  <a:pt x="833" y="617"/>
                  <a:pt x="832" y="617"/>
                </a:cubicBezTo>
                <a:cubicBezTo>
                  <a:pt x="832" y="617"/>
                  <a:pt x="832" y="617"/>
                  <a:pt x="831" y="617"/>
                </a:cubicBezTo>
                <a:cubicBezTo>
                  <a:pt x="831" y="618"/>
                  <a:pt x="831" y="619"/>
                  <a:pt x="831" y="620"/>
                </a:cubicBezTo>
                <a:lnTo>
                  <a:pt x="831" y="620"/>
                </a:lnTo>
                <a:cubicBezTo>
                  <a:pt x="831" y="620"/>
                  <a:pt x="831" y="621"/>
                  <a:pt x="832" y="621"/>
                </a:cubicBezTo>
                <a:close/>
                <a:moveTo>
                  <a:pt x="836" y="625"/>
                </a:moveTo>
                <a:cubicBezTo>
                  <a:pt x="837" y="625"/>
                  <a:pt x="838" y="623"/>
                  <a:pt x="839" y="619"/>
                </a:cubicBezTo>
                <a:cubicBezTo>
                  <a:pt x="840" y="617"/>
                  <a:pt x="841" y="615"/>
                  <a:pt x="841" y="614"/>
                </a:cubicBezTo>
                <a:cubicBezTo>
                  <a:pt x="841" y="613"/>
                  <a:pt x="840" y="613"/>
                  <a:pt x="840" y="613"/>
                </a:cubicBezTo>
                <a:cubicBezTo>
                  <a:pt x="839" y="613"/>
                  <a:pt x="839" y="613"/>
                  <a:pt x="839" y="613"/>
                </a:cubicBezTo>
                <a:cubicBezTo>
                  <a:pt x="838" y="613"/>
                  <a:pt x="837" y="613"/>
                  <a:pt x="837" y="615"/>
                </a:cubicBezTo>
                <a:cubicBezTo>
                  <a:pt x="837" y="616"/>
                  <a:pt x="837" y="617"/>
                  <a:pt x="837" y="618"/>
                </a:cubicBezTo>
                <a:cubicBezTo>
                  <a:pt x="837" y="619"/>
                  <a:pt x="837" y="620"/>
                  <a:pt x="836" y="621"/>
                </a:cubicBezTo>
                <a:cubicBezTo>
                  <a:pt x="836" y="622"/>
                  <a:pt x="836" y="623"/>
                  <a:pt x="836" y="624"/>
                </a:cubicBezTo>
                <a:cubicBezTo>
                  <a:pt x="836" y="624"/>
                  <a:pt x="836" y="625"/>
                  <a:pt x="836" y="625"/>
                </a:cubicBezTo>
                <a:close/>
                <a:moveTo>
                  <a:pt x="843" y="618"/>
                </a:moveTo>
                <a:cubicBezTo>
                  <a:pt x="843" y="618"/>
                  <a:pt x="844" y="618"/>
                  <a:pt x="845" y="616"/>
                </a:cubicBezTo>
                <a:cubicBezTo>
                  <a:pt x="846" y="615"/>
                  <a:pt x="846" y="613"/>
                  <a:pt x="847" y="611"/>
                </a:cubicBezTo>
                <a:cubicBezTo>
                  <a:pt x="849" y="608"/>
                  <a:pt x="850" y="607"/>
                  <a:pt x="851" y="607"/>
                </a:cubicBezTo>
                <a:lnTo>
                  <a:pt x="853" y="608"/>
                </a:lnTo>
                <a:lnTo>
                  <a:pt x="852" y="606"/>
                </a:lnTo>
                <a:cubicBezTo>
                  <a:pt x="852" y="604"/>
                  <a:pt x="852" y="603"/>
                  <a:pt x="853" y="602"/>
                </a:cubicBezTo>
                <a:cubicBezTo>
                  <a:pt x="853" y="599"/>
                  <a:pt x="855" y="598"/>
                  <a:pt x="856" y="598"/>
                </a:cubicBezTo>
                <a:cubicBezTo>
                  <a:pt x="857" y="598"/>
                  <a:pt x="857" y="598"/>
                  <a:pt x="857" y="599"/>
                </a:cubicBezTo>
                <a:lnTo>
                  <a:pt x="855" y="608"/>
                </a:lnTo>
                <a:lnTo>
                  <a:pt x="857" y="605"/>
                </a:lnTo>
                <a:cubicBezTo>
                  <a:pt x="858" y="604"/>
                  <a:pt x="860" y="603"/>
                  <a:pt x="861" y="602"/>
                </a:cubicBezTo>
                <a:cubicBezTo>
                  <a:pt x="863" y="601"/>
                  <a:pt x="863" y="600"/>
                  <a:pt x="863" y="597"/>
                </a:cubicBezTo>
                <a:cubicBezTo>
                  <a:pt x="863" y="595"/>
                  <a:pt x="864" y="593"/>
                  <a:pt x="865" y="593"/>
                </a:cubicBezTo>
                <a:cubicBezTo>
                  <a:pt x="865" y="594"/>
                  <a:pt x="866" y="595"/>
                  <a:pt x="866" y="597"/>
                </a:cubicBezTo>
                <a:lnTo>
                  <a:pt x="866" y="599"/>
                </a:lnTo>
                <a:cubicBezTo>
                  <a:pt x="867" y="599"/>
                  <a:pt x="869" y="597"/>
                  <a:pt x="872" y="594"/>
                </a:cubicBezTo>
                <a:cubicBezTo>
                  <a:pt x="875" y="592"/>
                  <a:pt x="876" y="591"/>
                  <a:pt x="876" y="590"/>
                </a:cubicBezTo>
                <a:cubicBezTo>
                  <a:pt x="876" y="590"/>
                  <a:pt x="875" y="590"/>
                  <a:pt x="875" y="590"/>
                </a:cubicBezTo>
                <a:cubicBezTo>
                  <a:pt x="873" y="590"/>
                  <a:pt x="872" y="590"/>
                  <a:pt x="872" y="592"/>
                </a:cubicBezTo>
                <a:lnTo>
                  <a:pt x="872" y="592"/>
                </a:lnTo>
                <a:cubicBezTo>
                  <a:pt x="872" y="593"/>
                  <a:pt x="871" y="593"/>
                  <a:pt x="870" y="593"/>
                </a:cubicBezTo>
                <a:cubicBezTo>
                  <a:pt x="869" y="593"/>
                  <a:pt x="869" y="593"/>
                  <a:pt x="869" y="591"/>
                </a:cubicBezTo>
                <a:cubicBezTo>
                  <a:pt x="869" y="590"/>
                  <a:pt x="869" y="589"/>
                  <a:pt x="870" y="588"/>
                </a:cubicBezTo>
                <a:cubicBezTo>
                  <a:pt x="870" y="587"/>
                  <a:pt x="871" y="587"/>
                  <a:pt x="872" y="587"/>
                </a:cubicBezTo>
                <a:cubicBezTo>
                  <a:pt x="874" y="587"/>
                  <a:pt x="875" y="586"/>
                  <a:pt x="875" y="585"/>
                </a:cubicBezTo>
                <a:cubicBezTo>
                  <a:pt x="875" y="585"/>
                  <a:pt x="874" y="584"/>
                  <a:pt x="873" y="583"/>
                </a:cubicBezTo>
                <a:lnTo>
                  <a:pt x="872" y="583"/>
                </a:lnTo>
                <a:cubicBezTo>
                  <a:pt x="871" y="583"/>
                  <a:pt x="870" y="584"/>
                  <a:pt x="868" y="586"/>
                </a:cubicBezTo>
                <a:cubicBezTo>
                  <a:pt x="866" y="588"/>
                  <a:pt x="864" y="590"/>
                  <a:pt x="863" y="590"/>
                </a:cubicBezTo>
                <a:cubicBezTo>
                  <a:pt x="862" y="590"/>
                  <a:pt x="862" y="590"/>
                  <a:pt x="862" y="591"/>
                </a:cubicBezTo>
                <a:lnTo>
                  <a:pt x="862" y="592"/>
                </a:lnTo>
                <a:cubicBezTo>
                  <a:pt x="862" y="592"/>
                  <a:pt x="861" y="593"/>
                  <a:pt x="861" y="593"/>
                </a:cubicBezTo>
                <a:lnTo>
                  <a:pt x="860" y="593"/>
                </a:lnTo>
                <a:cubicBezTo>
                  <a:pt x="858" y="593"/>
                  <a:pt x="854" y="596"/>
                  <a:pt x="849" y="602"/>
                </a:cubicBezTo>
                <a:cubicBezTo>
                  <a:pt x="847" y="605"/>
                  <a:pt x="846" y="607"/>
                  <a:pt x="846" y="608"/>
                </a:cubicBezTo>
                <a:cubicBezTo>
                  <a:pt x="846" y="610"/>
                  <a:pt x="845" y="612"/>
                  <a:pt x="844" y="613"/>
                </a:cubicBezTo>
                <a:cubicBezTo>
                  <a:pt x="844" y="613"/>
                  <a:pt x="843" y="612"/>
                  <a:pt x="843" y="612"/>
                </a:cubicBezTo>
                <a:cubicBezTo>
                  <a:pt x="843" y="609"/>
                  <a:pt x="843" y="607"/>
                  <a:pt x="843" y="607"/>
                </a:cubicBezTo>
                <a:cubicBezTo>
                  <a:pt x="842" y="607"/>
                  <a:pt x="842" y="607"/>
                  <a:pt x="841" y="607"/>
                </a:cubicBezTo>
                <a:cubicBezTo>
                  <a:pt x="840" y="608"/>
                  <a:pt x="839" y="609"/>
                  <a:pt x="839" y="610"/>
                </a:cubicBezTo>
                <a:cubicBezTo>
                  <a:pt x="839" y="611"/>
                  <a:pt x="840" y="612"/>
                  <a:pt x="841" y="613"/>
                </a:cubicBezTo>
                <a:cubicBezTo>
                  <a:pt x="842" y="614"/>
                  <a:pt x="843" y="615"/>
                  <a:pt x="843" y="616"/>
                </a:cubicBezTo>
                <a:lnTo>
                  <a:pt x="843" y="618"/>
                </a:lnTo>
                <a:cubicBezTo>
                  <a:pt x="843" y="618"/>
                  <a:pt x="843" y="618"/>
                  <a:pt x="843" y="618"/>
                </a:cubicBezTo>
                <a:close/>
                <a:moveTo>
                  <a:pt x="876" y="583"/>
                </a:moveTo>
                <a:cubicBezTo>
                  <a:pt x="876" y="583"/>
                  <a:pt x="878" y="582"/>
                  <a:pt x="879" y="581"/>
                </a:cubicBezTo>
                <a:cubicBezTo>
                  <a:pt x="880" y="580"/>
                  <a:pt x="881" y="579"/>
                  <a:pt x="881" y="578"/>
                </a:cubicBezTo>
                <a:cubicBezTo>
                  <a:pt x="881" y="578"/>
                  <a:pt x="880" y="578"/>
                  <a:pt x="880" y="578"/>
                </a:cubicBezTo>
                <a:cubicBezTo>
                  <a:pt x="879" y="578"/>
                  <a:pt x="878" y="578"/>
                  <a:pt x="876" y="579"/>
                </a:cubicBezTo>
                <a:cubicBezTo>
                  <a:pt x="876" y="580"/>
                  <a:pt x="875" y="581"/>
                  <a:pt x="875" y="582"/>
                </a:cubicBezTo>
                <a:cubicBezTo>
                  <a:pt x="875" y="582"/>
                  <a:pt x="875" y="583"/>
                  <a:pt x="876" y="583"/>
                </a:cubicBezTo>
                <a:close/>
                <a:moveTo>
                  <a:pt x="879" y="588"/>
                </a:moveTo>
                <a:cubicBezTo>
                  <a:pt x="881" y="588"/>
                  <a:pt x="884" y="587"/>
                  <a:pt x="888" y="584"/>
                </a:cubicBezTo>
                <a:cubicBezTo>
                  <a:pt x="895" y="581"/>
                  <a:pt x="898" y="578"/>
                  <a:pt x="900" y="576"/>
                </a:cubicBezTo>
                <a:cubicBezTo>
                  <a:pt x="900" y="576"/>
                  <a:pt x="900" y="575"/>
                  <a:pt x="900" y="575"/>
                </a:cubicBezTo>
                <a:lnTo>
                  <a:pt x="902" y="576"/>
                </a:lnTo>
                <a:cubicBezTo>
                  <a:pt x="904" y="576"/>
                  <a:pt x="908" y="575"/>
                  <a:pt x="915" y="572"/>
                </a:cubicBezTo>
                <a:cubicBezTo>
                  <a:pt x="922" y="570"/>
                  <a:pt x="926" y="569"/>
                  <a:pt x="927" y="569"/>
                </a:cubicBezTo>
                <a:lnTo>
                  <a:pt x="929" y="569"/>
                </a:lnTo>
                <a:cubicBezTo>
                  <a:pt x="930" y="569"/>
                  <a:pt x="930" y="568"/>
                  <a:pt x="930" y="568"/>
                </a:cubicBezTo>
                <a:cubicBezTo>
                  <a:pt x="930" y="567"/>
                  <a:pt x="932" y="567"/>
                  <a:pt x="937" y="567"/>
                </a:cubicBezTo>
                <a:lnTo>
                  <a:pt x="941" y="567"/>
                </a:lnTo>
                <a:cubicBezTo>
                  <a:pt x="947" y="567"/>
                  <a:pt x="951" y="566"/>
                  <a:pt x="951" y="565"/>
                </a:cubicBezTo>
                <a:cubicBezTo>
                  <a:pt x="951" y="564"/>
                  <a:pt x="948" y="563"/>
                  <a:pt x="943" y="563"/>
                </a:cubicBezTo>
                <a:cubicBezTo>
                  <a:pt x="940" y="563"/>
                  <a:pt x="935" y="564"/>
                  <a:pt x="930" y="565"/>
                </a:cubicBezTo>
                <a:lnTo>
                  <a:pt x="926" y="565"/>
                </a:lnTo>
                <a:cubicBezTo>
                  <a:pt x="924" y="565"/>
                  <a:pt x="923" y="565"/>
                  <a:pt x="922" y="564"/>
                </a:cubicBezTo>
                <a:cubicBezTo>
                  <a:pt x="922" y="563"/>
                  <a:pt x="921" y="562"/>
                  <a:pt x="920" y="562"/>
                </a:cubicBezTo>
                <a:lnTo>
                  <a:pt x="922" y="565"/>
                </a:lnTo>
                <a:cubicBezTo>
                  <a:pt x="922" y="566"/>
                  <a:pt x="921" y="567"/>
                  <a:pt x="919" y="568"/>
                </a:cubicBezTo>
                <a:cubicBezTo>
                  <a:pt x="918" y="569"/>
                  <a:pt x="916" y="569"/>
                  <a:pt x="914" y="569"/>
                </a:cubicBezTo>
                <a:cubicBezTo>
                  <a:pt x="912" y="569"/>
                  <a:pt x="911" y="569"/>
                  <a:pt x="910" y="568"/>
                </a:cubicBezTo>
                <a:lnTo>
                  <a:pt x="908" y="566"/>
                </a:lnTo>
                <a:lnTo>
                  <a:pt x="907" y="566"/>
                </a:lnTo>
                <a:lnTo>
                  <a:pt x="908" y="570"/>
                </a:lnTo>
                <a:cubicBezTo>
                  <a:pt x="908" y="571"/>
                  <a:pt x="908" y="571"/>
                  <a:pt x="906" y="571"/>
                </a:cubicBezTo>
                <a:cubicBezTo>
                  <a:pt x="905" y="571"/>
                  <a:pt x="904" y="571"/>
                  <a:pt x="904" y="569"/>
                </a:cubicBezTo>
                <a:cubicBezTo>
                  <a:pt x="904" y="568"/>
                  <a:pt x="905" y="568"/>
                  <a:pt x="905" y="567"/>
                </a:cubicBezTo>
                <a:cubicBezTo>
                  <a:pt x="906" y="566"/>
                  <a:pt x="907" y="565"/>
                  <a:pt x="908" y="565"/>
                </a:cubicBezTo>
                <a:cubicBezTo>
                  <a:pt x="908" y="565"/>
                  <a:pt x="909" y="566"/>
                  <a:pt x="910" y="566"/>
                </a:cubicBezTo>
                <a:cubicBezTo>
                  <a:pt x="911" y="566"/>
                  <a:pt x="911" y="567"/>
                  <a:pt x="912" y="567"/>
                </a:cubicBezTo>
                <a:cubicBezTo>
                  <a:pt x="912" y="567"/>
                  <a:pt x="912" y="566"/>
                  <a:pt x="912" y="566"/>
                </a:cubicBezTo>
                <a:lnTo>
                  <a:pt x="912" y="564"/>
                </a:lnTo>
                <a:cubicBezTo>
                  <a:pt x="913" y="564"/>
                  <a:pt x="913" y="565"/>
                  <a:pt x="914" y="566"/>
                </a:cubicBezTo>
                <a:cubicBezTo>
                  <a:pt x="915" y="567"/>
                  <a:pt x="915" y="567"/>
                  <a:pt x="915" y="567"/>
                </a:cubicBezTo>
                <a:cubicBezTo>
                  <a:pt x="915" y="567"/>
                  <a:pt x="916" y="567"/>
                  <a:pt x="916" y="566"/>
                </a:cubicBezTo>
                <a:cubicBezTo>
                  <a:pt x="916" y="565"/>
                  <a:pt x="916" y="565"/>
                  <a:pt x="917" y="565"/>
                </a:cubicBezTo>
                <a:lnTo>
                  <a:pt x="918" y="565"/>
                </a:lnTo>
                <a:cubicBezTo>
                  <a:pt x="919" y="565"/>
                  <a:pt x="919" y="564"/>
                  <a:pt x="919" y="563"/>
                </a:cubicBezTo>
                <a:lnTo>
                  <a:pt x="919" y="563"/>
                </a:lnTo>
                <a:cubicBezTo>
                  <a:pt x="919" y="561"/>
                  <a:pt x="920" y="560"/>
                  <a:pt x="922" y="560"/>
                </a:cubicBezTo>
                <a:cubicBezTo>
                  <a:pt x="924" y="560"/>
                  <a:pt x="925" y="561"/>
                  <a:pt x="926" y="562"/>
                </a:cubicBezTo>
                <a:cubicBezTo>
                  <a:pt x="926" y="563"/>
                  <a:pt x="926" y="563"/>
                  <a:pt x="926" y="563"/>
                </a:cubicBezTo>
                <a:cubicBezTo>
                  <a:pt x="927" y="563"/>
                  <a:pt x="927" y="562"/>
                  <a:pt x="928" y="561"/>
                </a:cubicBezTo>
                <a:cubicBezTo>
                  <a:pt x="930" y="559"/>
                  <a:pt x="931" y="559"/>
                  <a:pt x="932" y="559"/>
                </a:cubicBezTo>
                <a:cubicBezTo>
                  <a:pt x="932" y="559"/>
                  <a:pt x="932" y="559"/>
                  <a:pt x="932" y="559"/>
                </a:cubicBezTo>
                <a:lnTo>
                  <a:pt x="931" y="562"/>
                </a:lnTo>
                <a:lnTo>
                  <a:pt x="932" y="561"/>
                </a:lnTo>
                <a:cubicBezTo>
                  <a:pt x="934" y="560"/>
                  <a:pt x="936" y="559"/>
                  <a:pt x="938" y="559"/>
                </a:cubicBezTo>
                <a:cubicBezTo>
                  <a:pt x="939" y="559"/>
                  <a:pt x="941" y="559"/>
                  <a:pt x="942" y="558"/>
                </a:cubicBezTo>
                <a:cubicBezTo>
                  <a:pt x="943" y="557"/>
                  <a:pt x="944" y="557"/>
                  <a:pt x="944" y="557"/>
                </a:cubicBezTo>
                <a:lnTo>
                  <a:pt x="943" y="559"/>
                </a:lnTo>
                <a:cubicBezTo>
                  <a:pt x="943" y="560"/>
                  <a:pt x="945" y="560"/>
                  <a:pt x="948" y="560"/>
                </a:cubicBezTo>
                <a:cubicBezTo>
                  <a:pt x="951" y="560"/>
                  <a:pt x="954" y="561"/>
                  <a:pt x="956" y="561"/>
                </a:cubicBezTo>
                <a:cubicBezTo>
                  <a:pt x="958" y="561"/>
                  <a:pt x="959" y="562"/>
                  <a:pt x="959" y="563"/>
                </a:cubicBezTo>
                <a:cubicBezTo>
                  <a:pt x="959" y="563"/>
                  <a:pt x="959" y="563"/>
                  <a:pt x="958" y="564"/>
                </a:cubicBezTo>
                <a:cubicBezTo>
                  <a:pt x="957" y="564"/>
                  <a:pt x="956" y="565"/>
                  <a:pt x="956" y="565"/>
                </a:cubicBezTo>
                <a:cubicBezTo>
                  <a:pt x="956" y="566"/>
                  <a:pt x="957" y="566"/>
                  <a:pt x="959" y="566"/>
                </a:cubicBezTo>
                <a:lnTo>
                  <a:pt x="960" y="567"/>
                </a:lnTo>
                <a:cubicBezTo>
                  <a:pt x="961" y="567"/>
                  <a:pt x="962" y="566"/>
                  <a:pt x="962" y="565"/>
                </a:cubicBezTo>
                <a:cubicBezTo>
                  <a:pt x="962" y="564"/>
                  <a:pt x="960" y="562"/>
                  <a:pt x="956" y="560"/>
                </a:cubicBezTo>
                <a:cubicBezTo>
                  <a:pt x="952" y="557"/>
                  <a:pt x="946" y="556"/>
                  <a:pt x="939" y="556"/>
                </a:cubicBezTo>
                <a:cubicBezTo>
                  <a:pt x="932" y="556"/>
                  <a:pt x="928" y="557"/>
                  <a:pt x="926" y="559"/>
                </a:cubicBezTo>
                <a:lnTo>
                  <a:pt x="926" y="560"/>
                </a:lnTo>
                <a:lnTo>
                  <a:pt x="925" y="559"/>
                </a:lnTo>
                <a:cubicBezTo>
                  <a:pt x="925" y="558"/>
                  <a:pt x="925" y="558"/>
                  <a:pt x="923" y="558"/>
                </a:cubicBezTo>
                <a:lnTo>
                  <a:pt x="914" y="560"/>
                </a:lnTo>
                <a:cubicBezTo>
                  <a:pt x="907" y="563"/>
                  <a:pt x="904" y="564"/>
                  <a:pt x="904" y="566"/>
                </a:cubicBezTo>
                <a:cubicBezTo>
                  <a:pt x="904" y="566"/>
                  <a:pt x="902" y="566"/>
                  <a:pt x="900" y="567"/>
                </a:cubicBezTo>
                <a:cubicBezTo>
                  <a:pt x="898" y="567"/>
                  <a:pt x="896" y="568"/>
                  <a:pt x="896" y="569"/>
                </a:cubicBezTo>
                <a:cubicBezTo>
                  <a:pt x="896" y="570"/>
                  <a:pt x="895" y="570"/>
                  <a:pt x="894" y="570"/>
                </a:cubicBezTo>
                <a:lnTo>
                  <a:pt x="892" y="570"/>
                </a:lnTo>
                <a:cubicBezTo>
                  <a:pt x="890" y="570"/>
                  <a:pt x="889" y="571"/>
                  <a:pt x="888" y="572"/>
                </a:cubicBezTo>
                <a:cubicBezTo>
                  <a:pt x="887" y="573"/>
                  <a:pt x="886" y="574"/>
                  <a:pt x="886" y="574"/>
                </a:cubicBezTo>
                <a:cubicBezTo>
                  <a:pt x="886" y="575"/>
                  <a:pt x="887" y="575"/>
                  <a:pt x="888" y="575"/>
                </a:cubicBezTo>
                <a:cubicBezTo>
                  <a:pt x="889" y="575"/>
                  <a:pt x="889" y="576"/>
                  <a:pt x="889" y="578"/>
                </a:cubicBezTo>
                <a:cubicBezTo>
                  <a:pt x="889" y="579"/>
                  <a:pt x="889" y="580"/>
                  <a:pt x="887" y="582"/>
                </a:cubicBezTo>
                <a:cubicBezTo>
                  <a:pt x="886" y="583"/>
                  <a:pt x="885" y="583"/>
                  <a:pt x="883" y="583"/>
                </a:cubicBezTo>
                <a:cubicBezTo>
                  <a:pt x="883" y="583"/>
                  <a:pt x="882" y="583"/>
                  <a:pt x="881" y="583"/>
                </a:cubicBezTo>
                <a:cubicBezTo>
                  <a:pt x="881" y="583"/>
                  <a:pt x="880" y="583"/>
                  <a:pt x="880" y="583"/>
                </a:cubicBezTo>
                <a:lnTo>
                  <a:pt x="879" y="583"/>
                </a:lnTo>
                <a:lnTo>
                  <a:pt x="879" y="588"/>
                </a:lnTo>
                <a:cubicBezTo>
                  <a:pt x="879" y="588"/>
                  <a:pt x="879" y="588"/>
                  <a:pt x="879" y="588"/>
                </a:cubicBezTo>
                <a:close/>
                <a:moveTo>
                  <a:pt x="737" y="756"/>
                </a:moveTo>
                <a:lnTo>
                  <a:pt x="737" y="754"/>
                </a:lnTo>
                <a:cubicBezTo>
                  <a:pt x="737" y="752"/>
                  <a:pt x="738" y="752"/>
                  <a:pt x="739" y="751"/>
                </a:cubicBezTo>
                <a:cubicBezTo>
                  <a:pt x="739" y="751"/>
                  <a:pt x="739" y="752"/>
                  <a:pt x="739" y="752"/>
                </a:cubicBezTo>
                <a:cubicBezTo>
                  <a:pt x="739" y="752"/>
                  <a:pt x="739" y="753"/>
                  <a:pt x="739" y="754"/>
                </a:cubicBezTo>
                <a:cubicBezTo>
                  <a:pt x="738" y="755"/>
                  <a:pt x="738" y="756"/>
                  <a:pt x="737" y="756"/>
                </a:cubicBezTo>
                <a:close/>
                <a:moveTo>
                  <a:pt x="893" y="578"/>
                </a:moveTo>
                <a:cubicBezTo>
                  <a:pt x="892" y="578"/>
                  <a:pt x="891" y="577"/>
                  <a:pt x="891" y="575"/>
                </a:cubicBezTo>
                <a:lnTo>
                  <a:pt x="891" y="574"/>
                </a:lnTo>
                <a:cubicBezTo>
                  <a:pt x="891" y="572"/>
                  <a:pt x="891" y="571"/>
                  <a:pt x="892" y="571"/>
                </a:cubicBezTo>
                <a:cubicBezTo>
                  <a:pt x="893" y="571"/>
                  <a:pt x="894" y="572"/>
                  <a:pt x="894" y="573"/>
                </a:cubicBezTo>
                <a:cubicBezTo>
                  <a:pt x="894" y="573"/>
                  <a:pt x="894" y="573"/>
                  <a:pt x="895" y="573"/>
                </a:cubicBezTo>
                <a:cubicBezTo>
                  <a:pt x="895" y="573"/>
                  <a:pt x="896" y="573"/>
                  <a:pt x="898" y="571"/>
                </a:cubicBezTo>
                <a:cubicBezTo>
                  <a:pt x="899" y="569"/>
                  <a:pt x="900" y="568"/>
                  <a:pt x="900" y="568"/>
                </a:cubicBezTo>
                <a:cubicBezTo>
                  <a:pt x="901" y="568"/>
                  <a:pt x="902" y="569"/>
                  <a:pt x="903" y="570"/>
                </a:cubicBezTo>
                <a:cubicBezTo>
                  <a:pt x="903" y="572"/>
                  <a:pt x="904" y="573"/>
                  <a:pt x="904" y="574"/>
                </a:cubicBezTo>
                <a:cubicBezTo>
                  <a:pt x="904" y="575"/>
                  <a:pt x="903" y="575"/>
                  <a:pt x="903" y="575"/>
                </a:cubicBezTo>
                <a:cubicBezTo>
                  <a:pt x="903" y="575"/>
                  <a:pt x="902" y="575"/>
                  <a:pt x="902" y="574"/>
                </a:cubicBezTo>
                <a:cubicBezTo>
                  <a:pt x="901" y="573"/>
                  <a:pt x="901" y="573"/>
                  <a:pt x="900" y="573"/>
                </a:cubicBezTo>
                <a:cubicBezTo>
                  <a:pt x="900" y="573"/>
                  <a:pt x="899" y="574"/>
                  <a:pt x="897" y="576"/>
                </a:cubicBezTo>
                <a:cubicBezTo>
                  <a:pt x="895" y="578"/>
                  <a:pt x="894" y="578"/>
                  <a:pt x="893" y="578"/>
                </a:cubicBezTo>
                <a:close/>
                <a:moveTo>
                  <a:pt x="861" y="601"/>
                </a:moveTo>
                <a:cubicBezTo>
                  <a:pt x="860" y="601"/>
                  <a:pt x="860" y="600"/>
                  <a:pt x="860" y="600"/>
                </a:cubicBezTo>
                <a:cubicBezTo>
                  <a:pt x="860" y="599"/>
                  <a:pt x="860" y="598"/>
                  <a:pt x="860" y="598"/>
                </a:cubicBezTo>
                <a:lnTo>
                  <a:pt x="861" y="597"/>
                </a:lnTo>
                <a:cubicBezTo>
                  <a:pt x="862" y="597"/>
                  <a:pt x="862" y="598"/>
                  <a:pt x="862" y="599"/>
                </a:cubicBezTo>
                <a:cubicBezTo>
                  <a:pt x="862" y="600"/>
                  <a:pt x="861" y="601"/>
                  <a:pt x="861" y="601"/>
                </a:cubicBezTo>
                <a:close/>
                <a:moveTo>
                  <a:pt x="974" y="650"/>
                </a:moveTo>
                <a:cubicBezTo>
                  <a:pt x="973" y="650"/>
                  <a:pt x="973" y="650"/>
                  <a:pt x="973" y="649"/>
                </a:cubicBezTo>
                <a:lnTo>
                  <a:pt x="973" y="648"/>
                </a:lnTo>
                <a:cubicBezTo>
                  <a:pt x="974" y="647"/>
                  <a:pt x="975" y="646"/>
                  <a:pt x="976" y="646"/>
                </a:cubicBezTo>
                <a:cubicBezTo>
                  <a:pt x="976" y="646"/>
                  <a:pt x="977" y="647"/>
                  <a:pt x="977" y="647"/>
                </a:cubicBezTo>
                <a:cubicBezTo>
                  <a:pt x="977" y="647"/>
                  <a:pt x="977" y="648"/>
                  <a:pt x="976" y="649"/>
                </a:cubicBezTo>
                <a:cubicBezTo>
                  <a:pt x="976" y="650"/>
                  <a:pt x="975" y="650"/>
                  <a:pt x="974" y="650"/>
                </a:cubicBezTo>
                <a:close/>
                <a:moveTo>
                  <a:pt x="1017" y="641"/>
                </a:moveTo>
                <a:cubicBezTo>
                  <a:pt x="1015" y="641"/>
                  <a:pt x="1014" y="640"/>
                  <a:pt x="1014" y="639"/>
                </a:cubicBezTo>
                <a:cubicBezTo>
                  <a:pt x="1014" y="638"/>
                  <a:pt x="1015" y="637"/>
                  <a:pt x="1016" y="637"/>
                </a:cubicBezTo>
                <a:cubicBezTo>
                  <a:pt x="1017" y="637"/>
                  <a:pt x="1017" y="637"/>
                  <a:pt x="1018" y="638"/>
                </a:cubicBezTo>
                <a:cubicBezTo>
                  <a:pt x="1019" y="638"/>
                  <a:pt x="1019" y="639"/>
                  <a:pt x="1019" y="640"/>
                </a:cubicBezTo>
                <a:cubicBezTo>
                  <a:pt x="1019" y="641"/>
                  <a:pt x="1019" y="641"/>
                  <a:pt x="1017" y="641"/>
                </a:cubicBezTo>
                <a:close/>
                <a:moveTo>
                  <a:pt x="1025" y="639"/>
                </a:moveTo>
                <a:cubicBezTo>
                  <a:pt x="1024" y="639"/>
                  <a:pt x="1022" y="638"/>
                  <a:pt x="1022" y="637"/>
                </a:cubicBezTo>
                <a:lnTo>
                  <a:pt x="1022" y="637"/>
                </a:lnTo>
                <a:cubicBezTo>
                  <a:pt x="1022" y="636"/>
                  <a:pt x="1022" y="636"/>
                  <a:pt x="1022" y="636"/>
                </a:cubicBezTo>
                <a:cubicBezTo>
                  <a:pt x="1022" y="635"/>
                  <a:pt x="1021" y="635"/>
                  <a:pt x="1020" y="634"/>
                </a:cubicBezTo>
                <a:cubicBezTo>
                  <a:pt x="1020" y="634"/>
                  <a:pt x="1021" y="634"/>
                  <a:pt x="1022" y="634"/>
                </a:cubicBezTo>
                <a:cubicBezTo>
                  <a:pt x="1024" y="634"/>
                  <a:pt x="1025" y="634"/>
                  <a:pt x="1025" y="634"/>
                </a:cubicBezTo>
                <a:lnTo>
                  <a:pt x="1025" y="637"/>
                </a:lnTo>
                <a:cubicBezTo>
                  <a:pt x="1025" y="637"/>
                  <a:pt x="1026" y="637"/>
                  <a:pt x="1027" y="636"/>
                </a:cubicBezTo>
                <a:cubicBezTo>
                  <a:pt x="1027" y="635"/>
                  <a:pt x="1029" y="635"/>
                  <a:pt x="1031" y="635"/>
                </a:cubicBezTo>
                <a:cubicBezTo>
                  <a:pt x="1032" y="635"/>
                  <a:pt x="1033" y="635"/>
                  <a:pt x="1033" y="634"/>
                </a:cubicBezTo>
                <a:lnTo>
                  <a:pt x="1032" y="634"/>
                </a:lnTo>
                <a:cubicBezTo>
                  <a:pt x="1032" y="633"/>
                  <a:pt x="1034" y="632"/>
                  <a:pt x="1037" y="632"/>
                </a:cubicBezTo>
                <a:lnTo>
                  <a:pt x="1041" y="631"/>
                </a:lnTo>
                <a:cubicBezTo>
                  <a:pt x="1043" y="631"/>
                  <a:pt x="1044" y="632"/>
                  <a:pt x="1044" y="632"/>
                </a:cubicBezTo>
                <a:cubicBezTo>
                  <a:pt x="1044" y="633"/>
                  <a:pt x="1044" y="634"/>
                  <a:pt x="1043" y="635"/>
                </a:cubicBezTo>
                <a:cubicBezTo>
                  <a:pt x="1042" y="636"/>
                  <a:pt x="1041" y="636"/>
                  <a:pt x="1039" y="637"/>
                </a:cubicBezTo>
                <a:cubicBezTo>
                  <a:pt x="1037" y="637"/>
                  <a:pt x="1034" y="638"/>
                  <a:pt x="1032" y="638"/>
                </a:cubicBezTo>
                <a:cubicBezTo>
                  <a:pt x="1029" y="638"/>
                  <a:pt x="1027" y="639"/>
                  <a:pt x="1025" y="639"/>
                </a:cubicBezTo>
                <a:close/>
                <a:moveTo>
                  <a:pt x="980" y="648"/>
                </a:moveTo>
                <a:lnTo>
                  <a:pt x="979" y="648"/>
                </a:lnTo>
                <a:cubicBezTo>
                  <a:pt x="979" y="647"/>
                  <a:pt x="979" y="647"/>
                  <a:pt x="979" y="647"/>
                </a:cubicBezTo>
                <a:cubicBezTo>
                  <a:pt x="979" y="647"/>
                  <a:pt x="980" y="646"/>
                  <a:pt x="981" y="646"/>
                </a:cubicBezTo>
                <a:lnTo>
                  <a:pt x="983" y="645"/>
                </a:lnTo>
                <a:cubicBezTo>
                  <a:pt x="983" y="645"/>
                  <a:pt x="983" y="645"/>
                  <a:pt x="983" y="646"/>
                </a:cubicBezTo>
                <a:lnTo>
                  <a:pt x="983" y="647"/>
                </a:lnTo>
                <a:cubicBezTo>
                  <a:pt x="983" y="647"/>
                  <a:pt x="982" y="647"/>
                  <a:pt x="982" y="648"/>
                </a:cubicBezTo>
                <a:cubicBezTo>
                  <a:pt x="981" y="648"/>
                  <a:pt x="980" y="648"/>
                  <a:pt x="980" y="648"/>
                </a:cubicBezTo>
                <a:close/>
                <a:moveTo>
                  <a:pt x="997" y="644"/>
                </a:moveTo>
                <a:cubicBezTo>
                  <a:pt x="997" y="644"/>
                  <a:pt x="996" y="644"/>
                  <a:pt x="996" y="644"/>
                </a:cubicBezTo>
                <a:lnTo>
                  <a:pt x="1000" y="642"/>
                </a:lnTo>
                <a:lnTo>
                  <a:pt x="1000" y="642"/>
                </a:lnTo>
                <a:lnTo>
                  <a:pt x="1000" y="643"/>
                </a:lnTo>
                <a:cubicBezTo>
                  <a:pt x="1000" y="644"/>
                  <a:pt x="999" y="644"/>
                  <a:pt x="997" y="644"/>
                </a:cubicBezTo>
                <a:close/>
                <a:moveTo>
                  <a:pt x="1006" y="643"/>
                </a:moveTo>
                <a:cubicBezTo>
                  <a:pt x="1004" y="643"/>
                  <a:pt x="1003" y="642"/>
                  <a:pt x="1003" y="642"/>
                </a:cubicBezTo>
                <a:lnTo>
                  <a:pt x="1003" y="641"/>
                </a:lnTo>
                <a:cubicBezTo>
                  <a:pt x="1004" y="640"/>
                  <a:pt x="1005" y="639"/>
                  <a:pt x="1008" y="639"/>
                </a:cubicBezTo>
                <a:cubicBezTo>
                  <a:pt x="1009" y="640"/>
                  <a:pt x="1010" y="640"/>
                  <a:pt x="1010" y="641"/>
                </a:cubicBezTo>
                <a:cubicBezTo>
                  <a:pt x="1010" y="642"/>
                  <a:pt x="1009" y="643"/>
                  <a:pt x="1006" y="643"/>
                </a:cubicBezTo>
                <a:close/>
                <a:moveTo>
                  <a:pt x="790" y="716"/>
                </a:moveTo>
                <a:cubicBezTo>
                  <a:pt x="790" y="716"/>
                  <a:pt x="789" y="715"/>
                  <a:pt x="789" y="713"/>
                </a:cubicBezTo>
                <a:cubicBezTo>
                  <a:pt x="789" y="712"/>
                  <a:pt x="789" y="711"/>
                  <a:pt x="790" y="711"/>
                </a:cubicBezTo>
                <a:lnTo>
                  <a:pt x="791" y="712"/>
                </a:lnTo>
                <a:cubicBezTo>
                  <a:pt x="791" y="712"/>
                  <a:pt x="792" y="713"/>
                  <a:pt x="792" y="713"/>
                </a:cubicBezTo>
                <a:lnTo>
                  <a:pt x="792" y="714"/>
                </a:lnTo>
                <a:cubicBezTo>
                  <a:pt x="791" y="715"/>
                  <a:pt x="791" y="716"/>
                  <a:pt x="790" y="716"/>
                </a:cubicBezTo>
                <a:close/>
                <a:moveTo>
                  <a:pt x="763" y="666"/>
                </a:moveTo>
                <a:cubicBezTo>
                  <a:pt x="763" y="666"/>
                  <a:pt x="763" y="665"/>
                  <a:pt x="763" y="663"/>
                </a:cubicBezTo>
                <a:lnTo>
                  <a:pt x="763" y="661"/>
                </a:lnTo>
                <a:cubicBezTo>
                  <a:pt x="763" y="660"/>
                  <a:pt x="763" y="659"/>
                  <a:pt x="764" y="659"/>
                </a:cubicBezTo>
                <a:cubicBezTo>
                  <a:pt x="765" y="659"/>
                  <a:pt x="765" y="660"/>
                  <a:pt x="765" y="661"/>
                </a:cubicBezTo>
                <a:cubicBezTo>
                  <a:pt x="765" y="662"/>
                  <a:pt x="765" y="663"/>
                  <a:pt x="764" y="664"/>
                </a:cubicBezTo>
                <a:cubicBezTo>
                  <a:pt x="764" y="665"/>
                  <a:pt x="764" y="666"/>
                  <a:pt x="763" y="666"/>
                </a:cubicBezTo>
                <a:close/>
                <a:moveTo>
                  <a:pt x="851" y="423"/>
                </a:moveTo>
                <a:cubicBezTo>
                  <a:pt x="851" y="423"/>
                  <a:pt x="850" y="422"/>
                  <a:pt x="850" y="421"/>
                </a:cubicBezTo>
                <a:lnTo>
                  <a:pt x="849" y="420"/>
                </a:lnTo>
                <a:cubicBezTo>
                  <a:pt x="849" y="419"/>
                  <a:pt x="850" y="419"/>
                  <a:pt x="850" y="419"/>
                </a:cubicBezTo>
                <a:cubicBezTo>
                  <a:pt x="851" y="419"/>
                  <a:pt x="852" y="420"/>
                  <a:pt x="852" y="421"/>
                </a:cubicBezTo>
                <a:cubicBezTo>
                  <a:pt x="852" y="422"/>
                  <a:pt x="852" y="423"/>
                  <a:pt x="851" y="423"/>
                </a:cubicBezTo>
                <a:close/>
                <a:moveTo>
                  <a:pt x="835" y="428"/>
                </a:moveTo>
                <a:lnTo>
                  <a:pt x="834" y="428"/>
                </a:lnTo>
                <a:lnTo>
                  <a:pt x="835" y="425"/>
                </a:lnTo>
                <a:cubicBezTo>
                  <a:pt x="836" y="422"/>
                  <a:pt x="837" y="421"/>
                  <a:pt x="838" y="421"/>
                </a:cubicBezTo>
                <a:lnTo>
                  <a:pt x="838" y="422"/>
                </a:lnTo>
                <a:cubicBezTo>
                  <a:pt x="838" y="422"/>
                  <a:pt x="837" y="423"/>
                  <a:pt x="837" y="425"/>
                </a:cubicBezTo>
                <a:cubicBezTo>
                  <a:pt x="836" y="427"/>
                  <a:pt x="836" y="428"/>
                  <a:pt x="835" y="428"/>
                </a:cubicBezTo>
                <a:close/>
                <a:moveTo>
                  <a:pt x="845" y="422"/>
                </a:moveTo>
                <a:lnTo>
                  <a:pt x="844" y="422"/>
                </a:lnTo>
                <a:cubicBezTo>
                  <a:pt x="844" y="422"/>
                  <a:pt x="843" y="422"/>
                  <a:pt x="843" y="421"/>
                </a:cubicBezTo>
                <a:cubicBezTo>
                  <a:pt x="843" y="420"/>
                  <a:pt x="844" y="419"/>
                  <a:pt x="845" y="418"/>
                </a:cubicBezTo>
                <a:lnTo>
                  <a:pt x="845" y="418"/>
                </a:lnTo>
                <a:cubicBezTo>
                  <a:pt x="846" y="418"/>
                  <a:pt x="846" y="419"/>
                  <a:pt x="847" y="419"/>
                </a:cubicBezTo>
                <a:cubicBezTo>
                  <a:pt x="847" y="420"/>
                  <a:pt x="846" y="421"/>
                  <a:pt x="845" y="422"/>
                </a:cubicBezTo>
                <a:close/>
                <a:moveTo>
                  <a:pt x="840" y="415"/>
                </a:moveTo>
                <a:lnTo>
                  <a:pt x="839" y="415"/>
                </a:lnTo>
                <a:lnTo>
                  <a:pt x="840" y="413"/>
                </a:lnTo>
                <a:cubicBezTo>
                  <a:pt x="841" y="412"/>
                  <a:pt x="841" y="411"/>
                  <a:pt x="841" y="411"/>
                </a:cubicBezTo>
                <a:cubicBezTo>
                  <a:pt x="842" y="411"/>
                  <a:pt x="842" y="411"/>
                  <a:pt x="842" y="411"/>
                </a:cubicBezTo>
                <a:cubicBezTo>
                  <a:pt x="842" y="412"/>
                  <a:pt x="842" y="413"/>
                  <a:pt x="841" y="414"/>
                </a:cubicBezTo>
                <a:cubicBezTo>
                  <a:pt x="841" y="414"/>
                  <a:pt x="840" y="415"/>
                  <a:pt x="840" y="415"/>
                </a:cubicBezTo>
                <a:close/>
                <a:moveTo>
                  <a:pt x="800" y="617"/>
                </a:moveTo>
                <a:lnTo>
                  <a:pt x="800" y="617"/>
                </a:lnTo>
                <a:cubicBezTo>
                  <a:pt x="800" y="615"/>
                  <a:pt x="802" y="610"/>
                  <a:pt x="805" y="602"/>
                </a:cubicBezTo>
                <a:cubicBezTo>
                  <a:pt x="808" y="594"/>
                  <a:pt x="809" y="590"/>
                  <a:pt x="810" y="590"/>
                </a:cubicBezTo>
                <a:cubicBezTo>
                  <a:pt x="810" y="590"/>
                  <a:pt x="810" y="589"/>
                  <a:pt x="810" y="589"/>
                </a:cubicBezTo>
                <a:lnTo>
                  <a:pt x="809" y="586"/>
                </a:lnTo>
                <a:cubicBezTo>
                  <a:pt x="809" y="586"/>
                  <a:pt x="810" y="586"/>
                  <a:pt x="811" y="586"/>
                </a:cubicBezTo>
                <a:cubicBezTo>
                  <a:pt x="811" y="586"/>
                  <a:pt x="812" y="586"/>
                  <a:pt x="812" y="585"/>
                </a:cubicBezTo>
                <a:lnTo>
                  <a:pt x="811" y="583"/>
                </a:lnTo>
                <a:cubicBezTo>
                  <a:pt x="811" y="583"/>
                  <a:pt x="812" y="581"/>
                  <a:pt x="813" y="580"/>
                </a:cubicBezTo>
                <a:cubicBezTo>
                  <a:pt x="813" y="579"/>
                  <a:pt x="814" y="578"/>
                  <a:pt x="814" y="577"/>
                </a:cubicBezTo>
                <a:lnTo>
                  <a:pt x="813" y="575"/>
                </a:lnTo>
                <a:cubicBezTo>
                  <a:pt x="813" y="575"/>
                  <a:pt x="814" y="575"/>
                  <a:pt x="814" y="575"/>
                </a:cubicBezTo>
                <a:cubicBezTo>
                  <a:pt x="815" y="575"/>
                  <a:pt x="816" y="575"/>
                  <a:pt x="816" y="574"/>
                </a:cubicBezTo>
                <a:lnTo>
                  <a:pt x="815" y="573"/>
                </a:lnTo>
                <a:cubicBezTo>
                  <a:pt x="815" y="573"/>
                  <a:pt x="815" y="573"/>
                  <a:pt x="815" y="572"/>
                </a:cubicBezTo>
                <a:cubicBezTo>
                  <a:pt x="815" y="572"/>
                  <a:pt x="815" y="571"/>
                  <a:pt x="816" y="571"/>
                </a:cubicBezTo>
                <a:cubicBezTo>
                  <a:pt x="817" y="571"/>
                  <a:pt x="817" y="571"/>
                  <a:pt x="817" y="570"/>
                </a:cubicBezTo>
                <a:lnTo>
                  <a:pt x="817" y="569"/>
                </a:lnTo>
                <a:cubicBezTo>
                  <a:pt x="817" y="568"/>
                  <a:pt x="817" y="567"/>
                  <a:pt x="818" y="566"/>
                </a:cubicBezTo>
                <a:cubicBezTo>
                  <a:pt x="819" y="564"/>
                  <a:pt x="819" y="563"/>
                  <a:pt x="819" y="562"/>
                </a:cubicBezTo>
                <a:lnTo>
                  <a:pt x="819" y="561"/>
                </a:lnTo>
                <a:cubicBezTo>
                  <a:pt x="819" y="561"/>
                  <a:pt x="819" y="560"/>
                  <a:pt x="820" y="560"/>
                </a:cubicBezTo>
                <a:cubicBezTo>
                  <a:pt x="821" y="560"/>
                  <a:pt x="821" y="560"/>
                  <a:pt x="821" y="559"/>
                </a:cubicBezTo>
                <a:lnTo>
                  <a:pt x="821" y="558"/>
                </a:lnTo>
                <a:cubicBezTo>
                  <a:pt x="821" y="557"/>
                  <a:pt x="821" y="556"/>
                  <a:pt x="821" y="554"/>
                </a:cubicBezTo>
                <a:cubicBezTo>
                  <a:pt x="822" y="553"/>
                  <a:pt x="822" y="551"/>
                  <a:pt x="823" y="551"/>
                </a:cubicBezTo>
                <a:cubicBezTo>
                  <a:pt x="823" y="550"/>
                  <a:pt x="824" y="549"/>
                  <a:pt x="824" y="549"/>
                </a:cubicBezTo>
                <a:cubicBezTo>
                  <a:pt x="824" y="549"/>
                  <a:pt x="825" y="549"/>
                  <a:pt x="825" y="549"/>
                </a:cubicBezTo>
                <a:lnTo>
                  <a:pt x="825" y="548"/>
                </a:lnTo>
                <a:cubicBezTo>
                  <a:pt x="825" y="545"/>
                  <a:pt x="829" y="534"/>
                  <a:pt x="836" y="514"/>
                </a:cubicBezTo>
                <a:cubicBezTo>
                  <a:pt x="844" y="495"/>
                  <a:pt x="848" y="485"/>
                  <a:pt x="849" y="485"/>
                </a:cubicBezTo>
                <a:cubicBezTo>
                  <a:pt x="850" y="485"/>
                  <a:pt x="851" y="486"/>
                  <a:pt x="851" y="486"/>
                </a:cubicBezTo>
                <a:lnTo>
                  <a:pt x="850" y="487"/>
                </a:lnTo>
                <a:cubicBezTo>
                  <a:pt x="849" y="487"/>
                  <a:pt x="847" y="493"/>
                  <a:pt x="843" y="505"/>
                </a:cubicBezTo>
                <a:cubicBezTo>
                  <a:pt x="838" y="516"/>
                  <a:pt x="833" y="530"/>
                  <a:pt x="827" y="546"/>
                </a:cubicBezTo>
                <a:cubicBezTo>
                  <a:pt x="811" y="594"/>
                  <a:pt x="802" y="617"/>
                  <a:pt x="800" y="617"/>
                </a:cubicBezTo>
                <a:close/>
                <a:moveTo>
                  <a:pt x="849" y="483"/>
                </a:moveTo>
                <a:cubicBezTo>
                  <a:pt x="848" y="483"/>
                  <a:pt x="848" y="483"/>
                  <a:pt x="848" y="482"/>
                </a:cubicBezTo>
                <a:lnTo>
                  <a:pt x="849" y="479"/>
                </a:lnTo>
                <a:cubicBezTo>
                  <a:pt x="850" y="476"/>
                  <a:pt x="851" y="474"/>
                  <a:pt x="853" y="474"/>
                </a:cubicBezTo>
                <a:cubicBezTo>
                  <a:pt x="853" y="474"/>
                  <a:pt x="854" y="475"/>
                  <a:pt x="854" y="475"/>
                </a:cubicBezTo>
                <a:cubicBezTo>
                  <a:pt x="854" y="475"/>
                  <a:pt x="853" y="476"/>
                  <a:pt x="853" y="477"/>
                </a:cubicBezTo>
                <a:lnTo>
                  <a:pt x="851" y="481"/>
                </a:lnTo>
                <a:lnTo>
                  <a:pt x="851" y="482"/>
                </a:lnTo>
                <a:cubicBezTo>
                  <a:pt x="851" y="483"/>
                  <a:pt x="850" y="483"/>
                  <a:pt x="849" y="483"/>
                </a:cubicBezTo>
                <a:close/>
                <a:moveTo>
                  <a:pt x="796" y="629"/>
                </a:moveTo>
                <a:lnTo>
                  <a:pt x="797" y="625"/>
                </a:lnTo>
                <a:cubicBezTo>
                  <a:pt x="798" y="621"/>
                  <a:pt x="799" y="619"/>
                  <a:pt x="800" y="619"/>
                </a:cubicBezTo>
                <a:cubicBezTo>
                  <a:pt x="800" y="619"/>
                  <a:pt x="800" y="620"/>
                  <a:pt x="800" y="622"/>
                </a:cubicBezTo>
                <a:cubicBezTo>
                  <a:pt x="800" y="625"/>
                  <a:pt x="800" y="625"/>
                  <a:pt x="800" y="625"/>
                </a:cubicBezTo>
                <a:lnTo>
                  <a:pt x="799" y="625"/>
                </a:lnTo>
                <a:cubicBezTo>
                  <a:pt x="799" y="625"/>
                  <a:pt x="798" y="626"/>
                  <a:pt x="797" y="627"/>
                </a:cubicBezTo>
                <a:lnTo>
                  <a:pt x="796" y="629"/>
                </a:lnTo>
                <a:close/>
                <a:moveTo>
                  <a:pt x="853" y="472"/>
                </a:moveTo>
                <a:cubicBezTo>
                  <a:pt x="852" y="472"/>
                  <a:pt x="852" y="472"/>
                  <a:pt x="852" y="471"/>
                </a:cubicBezTo>
                <a:lnTo>
                  <a:pt x="853" y="467"/>
                </a:lnTo>
                <a:cubicBezTo>
                  <a:pt x="855" y="460"/>
                  <a:pt x="856" y="457"/>
                  <a:pt x="858" y="457"/>
                </a:cubicBezTo>
                <a:cubicBezTo>
                  <a:pt x="859" y="457"/>
                  <a:pt x="859" y="458"/>
                  <a:pt x="859" y="459"/>
                </a:cubicBezTo>
                <a:cubicBezTo>
                  <a:pt x="859" y="459"/>
                  <a:pt x="859" y="460"/>
                  <a:pt x="858" y="460"/>
                </a:cubicBezTo>
                <a:cubicBezTo>
                  <a:pt x="858" y="461"/>
                  <a:pt x="858" y="461"/>
                  <a:pt x="858" y="462"/>
                </a:cubicBezTo>
                <a:lnTo>
                  <a:pt x="859" y="465"/>
                </a:lnTo>
                <a:lnTo>
                  <a:pt x="856" y="464"/>
                </a:lnTo>
                <a:cubicBezTo>
                  <a:pt x="856" y="464"/>
                  <a:pt x="855" y="464"/>
                  <a:pt x="855" y="464"/>
                </a:cubicBezTo>
                <a:lnTo>
                  <a:pt x="856" y="467"/>
                </a:lnTo>
                <a:cubicBezTo>
                  <a:pt x="856" y="468"/>
                  <a:pt x="855" y="469"/>
                  <a:pt x="855" y="470"/>
                </a:cubicBezTo>
                <a:cubicBezTo>
                  <a:pt x="854" y="472"/>
                  <a:pt x="853" y="472"/>
                  <a:pt x="853" y="472"/>
                </a:cubicBezTo>
                <a:close/>
                <a:moveTo>
                  <a:pt x="759" y="689"/>
                </a:moveTo>
                <a:cubicBezTo>
                  <a:pt x="758" y="689"/>
                  <a:pt x="757" y="688"/>
                  <a:pt x="757" y="688"/>
                </a:cubicBezTo>
                <a:cubicBezTo>
                  <a:pt x="757" y="687"/>
                  <a:pt x="757" y="687"/>
                  <a:pt x="758" y="686"/>
                </a:cubicBezTo>
                <a:cubicBezTo>
                  <a:pt x="759" y="685"/>
                  <a:pt x="761" y="685"/>
                  <a:pt x="762" y="685"/>
                </a:cubicBezTo>
                <a:cubicBezTo>
                  <a:pt x="762" y="685"/>
                  <a:pt x="762" y="685"/>
                  <a:pt x="762" y="686"/>
                </a:cubicBezTo>
                <a:cubicBezTo>
                  <a:pt x="762" y="686"/>
                  <a:pt x="762" y="687"/>
                  <a:pt x="761" y="688"/>
                </a:cubicBezTo>
                <a:cubicBezTo>
                  <a:pt x="760" y="689"/>
                  <a:pt x="759" y="689"/>
                  <a:pt x="759" y="689"/>
                </a:cubicBezTo>
                <a:close/>
                <a:moveTo>
                  <a:pt x="831" y="439"/>
                </a:moveTo>
                <a:lnTo>
                  <a:pt x="830" y="439"/>
                </a:lnTo>
                <a:lnTo>
                  <a:pt x="831" y="437"/>
                </a:lnTo>
                <a:cubicBezTo>
                  <a:pt x="831" y="436"/>
                  <a:pt x="832" y="435"/>
                  <a:pt x="832" y="435"/>
                </a:cubicBezTo>
                <a:cubicBezTo>
                  <a:pt x="833" y="435"/>
                  <a:pt x="833" y="435"/>
                  <a:pt x="833" y="436"/>
                </a:cubicBezTo>
                <a:cubicBezTo>
                  <a:pt x="833" y="437"/>
                  <a:pt x="832" y="437"/>
                  <a:pt x="831" y="438"/>
                </a:cubicBezTo>
                <a:lnTo>
                  <a:pt x="831" y="439"/>
                </a:lnTo>
                <a:close/>
                <a:moveTo>
                  <a:pt x="825" y="452"/>
                </a:moveTo>
                <a:lnTo>
                  <a:pt x="825" y="451"/>
                </a:lnTo>
                <a:cubicBezTo>
                  <a:pt x="825" y="451"/>
                  <a:pt x="826" y="449"/>
                  <a:pt x="827" y="447"/>
                </a:cubicBezTo>
                <a:cubicBezTo>
                  <a:pt x="828" y="443"/>
                  <a:pt x="829" y="441"/>
                  <a:pt x="829" y="441"/>
                </a:cubicBezTo>
                <a:lnTo>
                  <a:pt x="829" y="442"/>
                </a:lnTo>
                <a:cubicBezTo>
                  <a:pt x="829" y="443"/>
                  <a:pt x="829" y="444"/>
                  <a:pt x="828" y="447"/>
                </a:cubicBezTo>
                <a:cubicBezTo>
                  <a:pt x="827" y="451"/>
                  <a:pt x="826" y="452"/>
                  <a:pt x="825" y="452"/>
                </a:cubicBezTo>
                <a:close/>
                <a:moveTo>
                  <a:pt x="813" y="483"/>
                </a:moveTo>
                <a:cubicBezTo>
                  <a:pt x="813" y="483"/>
                  <a:pt x="815" y="478"/>
                  <a:pt x="818" y="469"/>
                </a:cubicBezTo>
                <a:cubicBezTo>
                  <a:pt x="822" y="460"/>
                  <a:pt x="824" y="456"/>
                  <a:pt x="825" y="456"/>
                </a:cubicBezTo>
                <a:cubicBezTo>
                  <a:pt x="825" y="457"/>
                  <a:pt x="823" y="462"/>
                  <a:pt x="819" y="470"/>
                </a:cubicBezTo>
                <a:cubicBezTo>
                  <a:pt x="816" y="479"/>
                  <a:pt x="814" y="483"/>
                  <a:pt x="813" y="483"/>
                </a:cubicBezTo>
                <a:close/>
                <a:moveTo>
                  <a:pt x="622" y="1078"/>
                </a:moveTo>
                <a:cubicBezTo>
                  <a:pt x="622" y="1078"/>
                  <a:pt x="622" y="1076"/>
                  <a:pt x="621" y="1072"/>
                </a:cubicBezTo>
                <a:lnTo>
                  <a:pt x="621" y="1069"/>
                </a:lnTo>
                <a:cubicBezTo>
                  <a:pt x="621" y="1066"/>
                  <a:pt x="621" y="1065"/>
                  <a:pt x="622" y="1065"/>
                </a:cubicBezTo>
                <a:cubicBezTo>
                  <a:pt x="622" y="1065"/>
                  <a:pt x="623" y="1066"/>
                  <a:pt x="623" y="1068"/>
                </a:cubicBezTo>
                <a:cubicBezTo>
                  <a:pt x="623" y="1074"/>
                  <a:pt x="622" y="1078"/>
                  <a:pt x="622" y="1078"/>
                </a:cubicBezTo>
                <a:close/>
                <a:moveTo>
                  <a:pt x="637" y="1100"/>
                </a:moveTo>
                <a:cubicBezTo>
                  <a:pt x="635" y="1100"/>
                  <a:pt x="634" y="1099"/>
                  <a:pt x="634" y="1098"/>
                </a:cubicBezTo>
                <a:cubicBezTo>
                  <a:pt x="634" y="1097"/>
                  <a:pt x="633" y="1095"/>
                  <a:pt x="631" y="1093"/>
                </a:cubicBezTo>
                <a:cubicBezTo>
                  <a:pt x="630" y="1092"/>
                  <a:pt x="629" y="1091"/>
                  <a:pt x="629" y="1089"/>
                </a:cubicBezTo>
                <a:lnTo>
                  <a:pt x="629" y="1088"/>
                </a:lnTo>
                <a:cubicBezTo>
                  <a:pt x="628" y="1088"/>
                  <a:pt x="627" y="1088"/>
                  <a:pt x="627" y="1090"/>
                </a:cubicBezTo>
                <a:cubicBezTo>
                  <a:pt x="627" y="1090"/>
                  <a:pt x="628" y="1092"/>
                  <a:pt x="628" y="1093"/>
                </a:cubicBezTo>
                <a:cubicBezTo>
                  <a:pt x="629" y="1095"/>
                  <a:pt x="630" y="1096"/>
                  <a:pt x="630" y="1096"/>
                </a:cubicBezTo>
                <a:cubicBezTo>
                  <a:pt x="630" y="1096"/>
                  <a:pt x="628" y="1095"/>
                  <a:pt x="627" y="1093"/>
                </a:cubicBezTo>
                <a:cubicBezTo>
                  <a:pt x="626" y="1092"/>
                  <a:pt x="625" y="1090"/>
                  <a:pt x="624" y="1089"/>
                </a:cubicBezTo>
                <a:lnTo>
                  <a:pt x="623" y="1086"/>
                </a:lnTo>
                <a:cubicBezTo>
                  <a:pt x="623" y="1086"/>
                  <a:pt x="623" y="1086"/>
                  <a:pt x="623" y="1087"/>
                </a:cubicBezTo>
                <a:cubicBezTo>
                  <a:pt x="624" y="1088"/>
                  <a:pt x="624" y="1088"/>
                  <a:pt x="625" y="1088"/>
                </a:cubicBezTo>
                <a:cubicBezTo>
                  <a:pt x="625" y="1088"/>
                  <a:pt x="625" y="1084"/>
                  <a:pt x="625" y="1076"/>
                </a:cubicBezTo>
                <a:cubicBezTo>
                  <a:pt x="625" y="1066"/>
                  <a:pt x="624" y="1060"/>
                  <a:pt x="623" y="1059"/>
                </a:cubicBezTo>
                <a:cubicBezTo>
                  <a:pt x="622" y="1058"/>
                  <a:pt x="621" y="1057"/>
                  <a:pt x="621" y="1056"/>
                </a:cubicBezTo>
                <a:lnTo>
                  <a:pt x="625" y="1058"/>
                </a:lnTo>
                <a:cubicBezTo>
                  <a:pt x="626" y="1058"/>
                  <a:pt x="626" y="1057"/>
                  <a:pt x="626" y="1056"/>
                </a:cubicBezTo>
                <a:cubicBezTo>
                  <a:pt x="626" y="1056"/>
                  <a:pt x="625" y="1055"/>
                  <a:pt x="624" y="1054"/>
                </a:cubicBezTo>
                <a:cubicBezTo>
                  <a:pt x="623" y="1054"/>
                  <a:pt x="623" y="1052"/>
                  <a:pt x="623" y="1049"/>
                </a:cubicBezTo>
                <a:cubicBezTo>
                  <a:pt x="623" y="1043"/>
                  <a:pt x="624" y="1033"/>
                  <a:pt x="627" y="1019"/>
                </a:cubicBezTo>
                <a:cubicBezTo>
                  <a:pt x="630" y="1004"/>
                  <a:pt x="634" y="989"/>
                  <a:pt x="638" y="974"/>
                </a:cubicBezTo>
                <a:cubicBezTo>
                  <a:pt x="640" y="969"/>
                  <a:pt x="642" y="962"/>
                  <a:pt x="644" y="953"/>
                </a:cubicBezTo>
                <a:cubicBezTo>
                  <a:pt x="645" y="947"/>
                  <a:pt x="648" y="939"/>
                  <a:pt x="651" y="931"/>
                </a:cubicBezTo>
                <a:lnTo>
                  <a:pt x="654" y="921"/>
                </a:lnTo>
                <a:cubicBezTo>
                  <a:pt x="654" y="921"/>
                  <a:pt x="654" y="921"/>
                  <a:pt x="654" y="921"/>
                </a:cubicBezTo>
                <a:cubicBezTo>
                  <a:pt x="654" y="920"/>
                  <a:pt x="654" y="919"/>
                  <a:pt x="655" y="918"/>
                </a:cubicBezTo>
                <a:cubicBezTo>
                  <a:pt x="656" y="916"/>
                  <a:pt x="657" y="914"/>
                  <a:pt x="658" y="911"/>
                </a:cubicBezTo>
                <a:cubicBezTo>
                  <a:pt x="662" y="902"/>
                  <a:pt x="663" y="897"/>
                  <a:pt x="663" y="896"/>
                </a:cubicBezTo>
                <a:cubicBezTo>
                  <a:pt x="663" y="894"/>
                  <a:pt x="666" y="882"/>
                  <a:pt x="673" y="861"/>
                </a:cubicBezTo>
                <a:cubicBezTo>
                  <a:pt x="680" y="840"/>
                  <a:pt x="684" y="829"/>
                  <a:pt x="685" y="828"/>
                </a:cubicBezTo>
                <a:cubicBezTo>
                  <a:pt x="685" y="828"/>
                  <a:pt x="685" y="827"/>
                  <a:pt x="685" y="827"/>
                </a:cubicBezTo>
                <a:lnTo>
                  <a:pt x="685" y="825"/>
                </a:lnTo>
                <a:cubicBezTo>
                  <a:pt x="685" y="824"/>
                  <a:pt x="685" y="823"/>
                  <a:pt x="687" y="821"/>
                </a:cubicBezTo>
                <a:cubicBezTo>
                  <a:pt x="688" y="819"/>
                  <a:pt x="689" y="816"/>
                  <a:pt x="690" y="813"/>
                </a:cubicBezTo>
                <a:cubicBezTo>
                  <a:pt x="692" y="809"/>
                  <a:pt x="693" y="806"/>
                  <a:pt x="693" y="804"/>
                </a:cubicBezTo>
                <a:lnTo>
                  <a:pt x="692" y="802"/>
                </a:lnTo>
                <a:lnTo>
                  <a:pt x="692" y="802"/>
                </a:lnTo>
                <a:lnTo>
                  <a:pt x="693" y="803"/>
                </a:lnTo>
                <a:lnTo>
                  <a:pt x="694" y="803"/>
                </a:lnTo>
                <a:cubicBezTo>
                  <a:pt x="694" y="803"/>
                  <a:pt x="695" y="802"/>
                  <a:pt x="695" y="800"/>
                </a:cubicBezTo>
                <a:lnTo>
                  <a:pt x="694" y="796"/>
                </a:lnTo>
                <a:cubicBezTo>
                  <a:pt x="694" y="795"/>
                  <a:pt x="695" y="795"/>
                  <a:pt x="697" y="795"/>
                </a:cubicBezTo>
                <a:cubicBezTo>
                  <a:pt x="699" y="795"/>
                  <a:pt x="699" y="794"/>
                  <a:pt x="699" y="791"/>
                </a:cubicBezTo>
                <a:cubicBezTo>
                  <a:pt x="699" y="788"/>
                  <a:pt x="700" y="786"/>
                  <a:pt x="701" y="784"/>
                </a:cubicBezTo>
                <a:cubicBezTo>
                  <a:pt x="704" y="777"/>
                  <a:pt x="707" y="772"/>
                  <a:pt x="708" y="767"/>
                </a:cubicBezTo>
                <a:cubicBezTo>
                  <a:pt x="709" y="763"/>
                  <a:pt x="711" y="759"/>
                  <a:pt x="712" y="757"/>
                </a:cubicBezTo>
                <a:lnTo>
                  <a:pt x="715" y="752"/>
                </a:lnTo>
                <a:cubicBezTo>
                  <a:pt x="715" y="752"/>
                  <a:pt x="714" y="751"/>
                  <a:pt x="713" y="750"/>
                </a:cubicBezTo>
                <a:cubicBezTo>
                  <a:pt x="712" y="749"/>
                  <a:pt x="712" y="749"/>
                  <a:pt x="712" y="748"/>
                </a:cubicBezTo>
                <a:cubicBezTo>
                  <a:pt x="712" y="748"/>
                  <a:pt x="712" y="748"/>
                  <a:pt x="713" y="748"/>
                </a:cubicBezTo>
                <a:cubicBezTo>
                  <a:pt x="716" y="748"/>
                  <a:pt x="717" y="747"/>
                  <a:pt x="717" y="746"/>
                </a:cubicBezTo>
                <a:lnTo>
                  <a:pt x="717" y="744"/>
                </a:lnTo>
                <a:cubicBezTo>
                  <a:pt x="717" y="742"/>
                  <a:pt x="717" y="742"/>
                  <a:pt x="718" y="742"/>
                </a:cubicBezTo>
                <a:cubicBezTo>
                  <a:pt x="719" y="742"/>
                  <a:pt x="719" y="741"/>
                  <a:pt x="719" y="741"/>
                </a:cubicBezTo>
                <a:lnTo>
                  <a:pt x="719" y="739"/>
                </a:lnTo>
                <a:cubicBezTo>
                  <a:pt x="719" y="738"/>
                  <a:pt x="719" y="737"/>
                  <a:pt x="720" y="737"/>
                </a:cubicBezTo>
                <a:cubicBezTo>
                  <a:pt x="720" y="737"/>
                  <a:pt x="721" y="736"/>
                  <a:pt x="721" y="736"/>
                </a:cubicBezTo>
                <a:cubicBezTo>
                  <a:pt x="721" y="735"/>
                  <a:pt x="721" y="735"/>
                  <a:pt x="721" y="733"/>
                </a:cubicBezTo>
                <a:lnTo>
                  <a:pt x="721" y="732"/>
                </a:lnTo>
                <a:cubicBezTo>
                  <a:pt x="721" y="731"/>
                  <a:pt x="721" y="730"/>
                  <a:pt x="722" y="730"/>
                </a:cubicBezTo>
                <a:cubicBezTo>
                  <a:pt x="723" y="730"/>
                  <a:pt x="723" y="730"/>
                  <a:pt x="723" y="730"/>
                </a:cubicBezTo>
                <a:lnTo>
                  <a:pt x="723" y="729"/>
                </a:lnTo>
                <a:cubicBezTo>
                  <a:pt x="723" y="728"/>
                  <a:pt x="723" y="726"/>
                  <a:pt x="725" y="725"/>
                </a:cubicBezTo>
                <a:cubicBezTo>
                  <a:pt x="726" y="723"/>
                  <a:pt x="727" y="722"/>
                  <a:pt x="727" y="720"/>
                </a:cubicBezTo>
                <a:cubicBezTo>
                  <a:pt x="727" y="719"/>
                  <a:pt x="727" y="719"/>
                  <a:pt x="726" y="718"/>
                </a:cubicBezTo>
                <a:cubicBezTo>
                  <a:pt x="726" y="718"/>
                  <a:pt x="726" y="717"/>
                  <a:pt x="725" y="717"/>
                </a:cubicBezTo>
                <a:lnTo>
                  <a:pt x="725" y="716"/>
                </a:lnTo>
                <a:lnTo>
                  <a:pt x="727" y="716"/>
                </a:lnTo>
                <a:cubicBezTo>
                  <a:pt x="727" y="716"/>
                  <a:pt x="728" y="716"/>
                  <a:pt x="729" y="715"/>
                </a:cubicBezTo>
                <a:cubicBezTo>
                  <a:pt x="730" y="714"/>
                  <a:pt x="733" y="707"/>
                  <a:pt x="737" y="693"/>
                </a:cubicBezTo>
                <a:cubicBezTo>
                  <a:pt x="742" y="680"/>
                  <a:pt x="745" y="673"/>
                  <a:pt x="745" y="671"/>
                </a:cubicBezTo>
                <a:lnTo>
                  <a:pt x="745" y="671"/>
                </a:lnTo>
                <a:cubicBezTo>
                  <a:pt x="745" y="670"/>
                  <a:pt x="745" y="670"/>
                  <a:pt x="746" y="670"/>
                </a:cubicBezTo>
                <a:cubicBezTo>
                  <a:pt x="747" y="670"/>
                  <a:pt x="747" y="669"/>
                  <a:pt x="747" y="667"/>
                </a:cubicBezTo>
                <a:cubicBezTo>
                  <a:pt x="747" y="665"/>
                  <a:pt x="748" y="661"/>
                  <a:pt x="751" y="656"/>
                </a:cubicBezTo>
                <a:cubicBezTo>
                  <a:pt x="753" y="650"/>
                  <a:pt x="754" y="646"/>
                  <a:pt x="754" y="643"/>
                </a:cubicBezTo>
                <a:cubicBezTo>
                  <a:pt x="754" y="642"/>
                  <a:pt x="754" y="641"/>
                  <a:pt x="753" y="641"/>
                </a:cubicBezTo>
                <a:lnTo>
                  <a:pt x="753" y="639"/>
                </a:lnTo>
                <a:lnTo>
                  <a:pt x="753" y="639"/>
                </a:lnTo>
                <a:lnTo>
                  <a:pt x="754" y="640"/>
                </a:lnTo>
                <a:cubicBezTo>
                  <a:pt x="754" y="641"/>
                  <a:pt x="754" y="641"/>
                  <a:pt x="755" y="641"/>
                </a:cubicBezTo>
                <a:cubicBezTo>
                  <a:pt x="756" y="641"/>
                  <a:pt x="757" y="639"/>
                  <a:pt x="758" y="636"/>
                </a:cubicBezTo>
                <a:lnTo>
                  <a:pt x="759" y="631"/>
                </a:lnTo>
                <a:cubicBezTo>
                  <a:pt x="759" y="631"/>
                  <a:pt x="758" y="632"/>
                  <a:pt x="757" y="633"/>
                </a:cubicBezTo>
                <a:cubicBezTo>
                  <a:pt x="757" y="634"/>
                  <a:pt x="756" y="635"/>
                  <a:pt x="756" y="635"/>
                </a:cubicBezTo>
                <a:cubicBezTo>
                  <a:pt x="756" y="635"/>
                  <a:pt x="755" y="635"/>
                  <a:pt x="755" y="634"/>
                </a:cubicBezTo>
                <a:cubicBezTo>
                  <a:pt x="755" y="634"/>
                  <a:pt x="756" y="631"/>
                  <a:pt x="757" y="628"/>
                </a:cubicBezTo>
                <a:cubicBezTo>
                  <a:pt x="759" y="625"/>
                  <a:pt x="760" y="623"/>
                  <a:pt x="761" y="623"/>
                </a:cubicBezTo>
                <a:lnTo>
                  <a:pt x="762" y="623"/>
                </a:lnTo>
                <a:lnTo>
                  <a:pt x="762" y="622"/>
                </a:lnTo>
                <a:cubicBezTo>
                  <a:pt x="762" y="616"/>
                  <a:pt x="763" y="611"/>
                  <a:pt x="766" y="605"/>
                </a:cubicBezTo>
                <a:cubicBezTo>
                  <a:pt x="767" y="603"/>
                  <a:pt x="768" y="602"/>
                  <a:pt x="769" y="602"/>
                </a:cubicBezTo>
                <a:lnTo>
                  <a:pt x="770" y="602"/>
                </a:lnTo>
                <a:cubicBezTo>
                  <a:pt x="770" y="602"/>
                  <a:pt x="770" y="601"/>
                  <a:pt x="770" y="601"/>
                </a:cubicBezTo>
                <a:cubicBezTo>
                  <a:pt x="770" y="601"/>
                  <a:pt x="770" y="600"/>
                  <a:pt x="770" y="600"/>
                </a:cubicBezTo>
                <a:cubicBezTo>
                  <a:pt x="769" y="600"/>
                  <a:pt x="769" y="599"/>
                  <a:pt x="769" y="597"/>
                </a:cubicBezTo>
                <a:lnTo>
                  <a:pt x="772" y="598"/>
                </a:lnTo>
                <a:cubicBezTo>
                  <a:pt x="772" y="598"/>
                  <a:pt x="772" y="597"/>
                  <a:pt x="772" y="597"/>
                </a:cubicBezTo>
                <a:cubicBezTo>
                  <a:pt x="771" y="596"/>
                  <a:pt x="771" y="595"/>
                  <a:pt x="771" y="595"/>
                </a:cubicBezTo>
                <a:cubicBezTo>
                  <a:pt x="771" y="593"/>
                  <a:pt x="771" y="591"/>
                  <a:pt x="772" y="589"/>
                </a:cubicBezTo>
                <a:cubicBezTo>
                  <a:pt x="773" y="588"/>
                  <a:pt x="774" y="587"/>
                  <a:pt x="774" y="587"/>
                </a:cubicBezTo>
                <a:lnTo>
                  <a:pt x="776" y="588"/>
                </a:lnTo>
                <a:cubicBezTo>
                  <a:pt x="776" y="587"/>
                  <a:pt x="776" y="587"/>
                  <a:pt x="775" y="586"/>
                </a:cubicBezTo>
                <a:cubicBezTo>
                  <a:pt x="775" y="585"/>
                  <a:pt x="774" y="584"/>
                  <a:pt x="774" y="583"/>
                </a:cubicBezTo>
                <a:cubicBezTo>
                  <a:pt x="774" y="581"/>
                  <a:pt x="775" y="579"/>
                  <a:pt x="776" y="579"/>
                </a:cubicBezTo>
                <a:lnTo>
                  <a:pt x="778" y="580"/>
                </a:lnTo>
                <a:lnTo>
                  <a:pt x="778" y="578"/>
                </a:lnTo>
                <a:cubicBezTo>
                  <a:pt x="778" y="577"/>
                  <a:pt x="778" y="574"/>
                  <a:pt x="780" y="569"/>
                </a:cubicBezTo>
                <a:cubicBezTo>
                  <a:pt x="782" y="561"/>
                  <a:pt x="786" y="551"/>
                  <a:pt x="789" y="541"/>
                </a:cubicBezTo>
                <a:lnTo>
                  <a:pt x="792" y="535"/>
                </a:lnTo>
                <a:lnTo>
                  <a:pt x="792" y="536"/>
                </a:lnTo>
                <a:cubicBezTo>
                  <a:pt x="792" y="537"/>
                  <a:pt x="792" y="538"/>
                  <a:pt x="792" y="539"/>
                </a:cubicBezTo>
                <a:cubicBezTo>
                  <a:pt x="791" y="540"/>
                  <a:pt x="791" y="541"/>
                  <a:pt x="791" y="542"/>
                </a:cubicBezTo>
                <a:lnTo>
                  <a:pt x="791" y="544"/>
                </a:lnTo>
                <a:cubicBezTo>
                  <a:pt x="791" y="544"/>
                  <a:pt x="792" y="543"/>
                  <a:pt x="793" y="540"/>
                </a:cubicBezTo>
                <a:cubicBezTo>
                  <a:pt x="796" y="533"/>
                  <a:pt x="797" y="528"/>
                  <a:pt x="797" y="524"/>
                </a:cubicBezTo>
                <a:lnTo>
                  <a:pt x="797" y="523"/>
                </a:lnTo>
                <a:cubicBezTo>
                  <a:pt x="797" y="522"/>
                  <a:pt x="798" y="522"/>
                  <a:pt x="799" y="522"/>
                </a:cubicBezTo>
                <a:cubicBezTo>
                  <a:pt x="800" y="522"/>
                  <a:pt x="802" y="518"/>
                  <a:pt x="805" y="510"/>
                </a:cubicBezTo>
                <a:cubicBezTo>
                  <a:pt x="808" y="502"/>
                  <a:pt x="811" y="498"/>
                  <a:pt x="812" y="498"/>
                </a:cubicBezTo>
                <a:cubicBezTo>
                  <a:pt x="813" y="498"/>
                  <a:pt x="813" y="497"/>
                  <a:pt x="813" y="497"/>
                </a:cubicBezTo>
                <a:lnTo>
                  <a:pt x="812" y="493"/>
                </a:lnTo>
                <a:lnTo>
                  <a:pt x="813" y="493"/>
                </a:lnTo>
                <a:lnTo>
                  <a:pt x="814" y="493"/>
                </a:lnTo>
                <a:cubicBezTo>
                  <a:pt x="814" y="493"/>
                  <a:pt x="815" y="493"/>
                  <a:pt x="815" y="492"/>
                </a:cubicBezTo>
                <a:cubicBezTo>
                  <a:pt x="816" y="490"/>
                  <a:pt x="817" y="487"/>
                  <a:pt x="818" y="485"/>
                </a:cubicBezTo>
                <a:cubicBezTo>
                  <a:pt x="818" y="483"/>
                  <a:pt x="819" y="482"/>
                  <a:pt x="819" y="481"/>
                </a:cubicBezTo>
                <a:cubicBezTo>
                  <a:pt x="820" y="481"/>
                  <a:pt x="821" y="478"/>
                  <a:pt x="823" y="474"/>
                </a:cubicBezTo>
                <a:cubicBezTo>
                  <a:pt x="828" y="463"/>
                  <a:pt x="831" y="456"/>
                  <a:pt x="831" y="455"/>
                </a:cubicBezTo>
                <a:lnTo>
                  <a:pt x="831" y="453"/>
                </a:lnTo>
                <a:cubicBezTo>
                  <a:pt x="831" y="453"/>
                  <a:pt x="831" y="453"/>
                  <a:pt x="832" y="451"/>
                </a:cubicBezTo>
                <a:cubicBezTo>
                  <a:pt x="833" y="451"/>
                  <a:pt x="833" y="450"/>
                  <a:pt x="833" y="449"/>
                </a:cubicBezTo>
                <a:cubicBezTo>
                  <a:pt x="834" y="448"/>
                  <a:pt x="834" y="447"/>
                  <a:pt x="834" y="446"/>
                </a:cubicBezTo>
                <a:cubicBezTo>
                  <a:pt x="834" y="444"/>
                  <a:pt x="835" y="443"/>
                  <a:pt x="836" y="443"/>
                </a:cubicBezTo>
                <a:cubicBezTo>
                  <a:pt x="838" y="443"/>
                  <a:pt x="838" y="443"/>
                  <a:pt x="838" y="442"/>
                </a:cubicBezTo>
                <a:lnTo>
                  <a:pt x="838" y="442"/>
                </a:lnTo>
                <a:cubicBezTo>
                  <a:pt x="838" y="441"/>
                  <a:pt x="838" y="441"/>
                  <a:pt x="837" y="441"/>
                </a:cubicBezTo>
                <a:lnTo>
                  <a:pt x="835" y="441"/>
                </a:lnTo>
                <a:cubicBezTo>
                  <a:pt x="835" y="440"/>
                  <a:pt x="836" y="438"/>
                  <a:pt x="838" y="436"/>
                </a:cubicBezTo>
                <a:cubicBezTo>
                  <a:pt x="839" y="435"/>
                  <a:pt x="840" y="434"/>
                  <a:pt x="841" y="433"/>
                </a:cubicBezTo>
                <a:lnTo>
                  <a:pt x="844" y="432"/>
                </a:lnTo>
                <a:cubicBezTo>
                  <a:pt x="844" y="433"/>
                  <a:pt x="844" y="433"/>
                  <a:pt x="843" y="434"/>
                </a:cubicBezTo>
                <a:cubicBezTo>
                  <a:pt x="843" y="435"/>
                  <a:pt x="842" y="436"/>
                  <a:pt x="842" y="436"/>
                </a:cubicBezTo>
                <a:cubicBezTo>
                  <a:pt x="842" y="436"/>
                  <a:pt x="843" y="436"/>
                  <a:pt x="843" y="436"/>
                </a:cubicBezTo>
                <a:cubicBezTo>
                  <a:pt x="843" y="438"/>
                  <a:pt x="842" y="441"/>
                  <a:pt x="840" y="447"/>
                </a:cubicBezTo>
                <a:cubicBezTo>
                  <a:pt x="838" y="452"/>
                  <a:pt x="837" y="456"/>
                  <a:pt x="837" y="457"/>
                </a:cubicBezTo>
                <a:lnTo>
                  <a:pt x="837" y="459"/>
                </a:lnTo>
                <a:cubicBezTo>
                  <a:pt x="837" y="459"/>
                  <a:pt x="836" y="460"/>
                  <a:pt x="836" y="460"/>
                </a:cubicBezTo>
                <a:cubicBezTo>
                  <a:pt x="835" y="460"/>
                  <a:pt x="834" y="460"/>
                  <a:pt x="834" y="462"/>
                </a:cubicBezTo>
                <a:cubicBezTo>
                  <a:pt x="834" y="464"/>
                  <a:pt x="834" y="465"/>
                  <a:pt x="833" y="465"/>
                </a:cubicBezTo>
                <a:cubicBezTo>
                  <a:pt x="832" y="465"/>
                  <a:pt x="832" y="467"/>
                  <a:pt x="832" y="469"/>
                </a:cubicBezTo>
                <a:lnTo>
                  <a:pt x="832" y="475"/>
                </a:lnTo>
                <a:cubicBezTo>
                  <a:pt x="832" y="477"/>
                  <a:pt x="832" y="477"/>
                  <a:pt x="831" y="477"/>
                </a:cubicBezTo>
                <a:lnTo>
                  <a:pt x="831" y="477"/>
                </a:lnTo>
                <a:cubicBezTo>
                  <a:pt x="830" y="477"/>
                  <a:pt x="829" y="478"/>
                  <a:pt x="828" y="481"/>
                </a:cubicBezTo>
                <a:lnTo>
                  <a:pt x="828" y="484"/>
                </a:lnTo>
                <a:lnTo>
                  <a:pt x="829" y="483"/>
                </a:lnTo>
                <a:lnTo>
                  <a:pt x="829" y="484"/>
                </a:lnTo>
                <a:lnTo>
                  <a:pt x="829" y="485"/>
                </a:lnTo>
                <a:cubicBezTo>
                  <a:pt x="829" y="486"/>
                  <a:pt x="828" y="486"/>
                  <a:pt x="825" y="486"/>
                </a:cubicBezTo>
                <a:lnTo>
                  <a:pt x="824" y="486"/>
                </a:lnTo>
                <a:cubicBezTo>
                  <a:pt x="824" y="486"/>
                  <a:pt x="824" y="487"/>
                  <a:pt x="825" y="488"/>
                </a:cubicBezTo>
                <a:cubicBezTo>
                  <a:pt x="826" y="489"/>
                  <a:pt x="827" y="491"/>
                  <a:pt x="827" y="492"/>
                </a:cubicBezTo>
                <a:cubicBezTo>
                  <a:pt x="827" y="495"/>
                  <a:pt x="826" y="495"/>
                  <a:pt x="825" y="495"/>
                </a:cubicBezTo>
                <a:lnTo>
                  <a:pt x="823" y="495"/>
                </a:lnTo>
                <a:cubicBezTo>
                  <a:pt x="823" y="495"/>
                  <a:pt x="823" y="496"/>
                  <a:pt x="823" y="497"/>
                </a:cubicBezTo>
                <a:cubicBezTo>
                  <a:pt x="823" y="499"/>
                  <a:pt x="821" y="504"/>
                  <a:pt x="819" y="511"/>
                </a:cubicBezTo>
                <a:cubicBezTo>
                  <a:pt x="816" y="519"/>
                  <a:pt x="814" y="522"/>
                  <a:pt x="813" y="522"/>
                </a:cubicBezTo>
                <a:lnTo>
                  <a:pt x="812" y="522"/>
                </a:lnTo>
                <a:cubicBezTo>
                  <a:pt x="812" y="523"/>
                  <a:pt x="812" y="523"/>
                  <a:pt x="813" y="524"/>
                </a:cubicBezTo>
                <a:cubicBezTo>
                  <a:pt x="813" y="524"/>
                  <a:pt x="813" y="525"/>
                  <a:pt x="813" y="526"/>
                </a:cubicBezTo>
                <a:cubicBezTo>
                  <a:pt x="813" y="529"/>
                  <a:pt x="813" y="530"/>
                  <a:pt x="811" y="530"/>
                </a:cubicBezTo>
                <a:lnTo>
                  <a:pt x="810" y="530"/>
                </a:lnTo>
                <a:lnTo>
                  <a:pt x="811" y="534"/>
                </a:lnTo>
                <a:cubicBezTo>
                  <a:pt x="811" y="534"/>
                  <a:pt x="811" y="534"/>
                  <a:pt x="811" y="534"/>
                </a:cubicBezTo>
                <a:lnTo>
                  <a:pt x="808" y="533"/>
                </a:lnTo>
                <a:lnTo>
                  <a:pt x="808" y="534"/>
                </a:lnTo>
                <a:lnTo>
                  <a:pt x="808" y="534"/>
                </a:lnTo>
                <a:cubicBezTo>
                  <a:pt x="809" y="535"/>
                  <a:pt x="809" y="536"/>
                  <a:pt x="809" y="536"/>
                </a:cubicBezTo>
                <a:cubicBezTo>
                  <a:pt x="809" y="538"/>
                  <a:pt x="809" y="539"/>
                  <a:pt x="808" y="541"/>
                </a:cubicBezTo>
                <a:cubicBezTo>
                  <a:pt x="807" y="544"/>
                  <a:pt x="806" y="544"/>
                  <a:pt x="805" y="544"/>
                </a:cubicBezTo>
                <a:lnTo>
                  <a:pt x="804" y="544"/>
                </a:lnTo>
                <a:lnTo>
                  <a:pt x="805" y="545"/>
                </a:lnTo>
                <a:cubicBezTo>
                  <a:pt x="805" y="546"/>
                  <a:pt x="806" y="546"/>
                  <a:pt x="806" y="547"/>
                </a:cubicBezTo>
                <a:cubicBezTo>
                  <a:pt x="806" y="549"/>
                  <a:pt x="805" y="550"/>
                  <a:pt x="803" y="552"/>
                </a:cubicBezTo>
                <a:lnTo>
                  <a:pt x="800" y="554"/>
                </a:lnTo>
                <a:lnTo>
                  <a:pt x="802" y="554"/>
                </a:lnTo>
                <a:cubicBezTo>
                  <a:pt x="803" y="554"/>
                  <a:pt x="803" y="554"/>
                  <a:pt x="803" y="555"/>
                </a:cubicBezTo>
                <a:cubicBezTo>
                  <a:pt x="803" y="556"/>
                  <a:pt x="803" y="557"/>
                  <a:pt x="802" y="559"/>
                </a:cubicBezTo>
                <a:cubicBezTo>
                  <a:pt x="801" y="560"/>
                  <a:pt x="800" y="561"/>
                  <a:pt x="798" y="562"/>
                </a:cubicBezTo>
                <a:cubicBezTo>
                  <a:pt x="797" y="563"/>
                  <a:pt x="796" y="564"/>
                  <a:pt x="796" y="565"/>
                </a:cubicBezTo>
                <a:cubicBezTo>
                  <a:pt x="796" y="566"/>
                  <a:pt x="797" y="566"/>
                  <a:pt x="797" y="567"/>
                </a:cubicBezTo>
                <a:cubicBezTo>
                  <a:pt x="797" y="569"/>
                  <a:pt x="796" y="570"/>
                  <a:pt x="796" y="571"/>
                </a:cubicBezTo>
                <a:cubicBezTo>
                  <a:pt x="795" y="571"/>
                  <a:pt x="794" y="573"/>
                  <a:pt x="794" y="574"/>
                </a:cubicBezTo>
                <a:lnTo>
                  <a:pt x="794" y="576"/>
                </a:lnTo>
                <a:lnTo>
                  <a:pt x="794" y="575"/>
                </a:lnTo>
                <a:cubicBezTo>
                  <a:pt x="793" y="575"/>
                  <a:pt x="792" y="576"/>
                  <a:pt x="792" y="576"/>
                </a:cubicBezTo>
                <a:lnTo>
                  <a:pt x="794" y="579"/>
                </a:lnTo>
                <a:lnTo>
                  <a:pt x="793" y="579"/>
                </a:lnTo>
                <a:cubicBezTo>
                  <a:pt x="792" y="579"/>
                  <a:pt x="791" y="580"/>
                  <a:pt x="790" y="581"/>
                </a:cubicBezTo>
                <a:cubicBezTo>
                  <a:pt x="790" y="583"/>
                  <a:pt x="791" y="583"/>
                  <a:pt x="791" y="583"/>
                </a:cubicBezTo>
                <a:lnTo>
                  <a:pt x="792" y="583"/>
                </a:lnTo>
                <a:cubicBezTo>
                  <a:pt x="792" y="583"/>
                  <a:pt x="792" y="584"/>
                  <a:pt x="791" y="585"/>
                </a:cubicBezTo>
                <a:cubicBezTo>
                  <a:pt x="789" y="586"/>
                  <a:pt x="789" y="587"/>
                  <a:pt x="789" y="588"/>
                </a:cubicBezTo>
                <a:cubicBezTo>
                  <a:pt x="789" y="588"/>
                  <a:pt x="789" y="588"/>
                  <a:pt x="789" y="588"/>
                </a:cubicBezTo>
                <a:cubicBezTo>
                  <a:pt x="789" y="589"/>
                  <a:pt x="789" y="590"/>
                  <a:pt x="788" y="591"/>
                </a:cubicBezTo>
                <a:cubicBezTo>
                  <a:pt x="787" y="592"/>
                  <a:pt x="786" y="593"/>
                  <a:pt x="786" y="595"/>
                </a:cubicBezTo>
                <a:lnTo>
                  <a:pt x="787" y="596"/>
                </a:lnTo>
                <a:cubicBezTo>
                  <a:pt x="787" y="597"/>
                  <a:pt x="787" y="597"/>
                  <a:pt x="786" y="597"/>
                </a:cubicBezTo>
                <a:cubicBezTo>
                  <a:pt x="785" y="597"/>
                  <a:pt x="784" y="597"/>
                  <a:pt x="784" y="598"/>
                </a:cubicBezTo>
                <a:lnTo>
                  <a:pt x="786" y="600"/>
                </a:lnTo>
                <a:cubicBezTo>
                  <a:pt x="786" y="600"/>
                  <a:pt x="785" y="601"/>
                  <a:pt x="785" y="601"/>
                </a:cubicBezTo>
                <a:cubicBezTo>
                  <a:pt x="784" y="601"/>
                  <a:pt x="784" y="601"/>
                  <a:pt x="784" y="601"/>
                </a:cubicBezTo>
                <a:lnTo>
                  <a:pt x="784" y="603"/>
                </a:lnTo>
                <a:cubicBezTo>
                  <a:pt x="784" y="604"/>
                  <a:pt x="784" y="604"/>
                  <a:pt x="783" y="604"/>
                </a:cubicBezTo>
                <a:cubicBezTo>
                  <a:pt x="782" y="604"/>
                  <a:pt x="782" y="605"/>
                  <a:pt x="782" y="605"/>
                </a:cubicBezTo>
                <a:lnTo>
                  <a:pt x="783" y="607"/>
                </a:lnTo>
                <a:cubicBezTo>
                  <a:pt x="783" y="607"/>
                  <a:pt x="783" y="608"/>
                  <a:pt x="782" y="608"/>
                </a:cubicBezTo>
                <a:cubicBezTo>
                  <a:pt x="781" y="608"/>
                  <a:pt x="781" y="608"/>
                  <a:pt x="781" y="609"/>
                </a:cubicBezTo>
                <a:lnTo>
                  <a:pt x="781" y="610"/>
                </a:lnTo>
                <a:cubicBezTo>
                  <a:pt x="781" y="611"/>
                  <a:pt x="781" y="612"/>
                  <a:pt x="779" y="612"/>
                </a:cubicBezTo>
                <a:cubicBezTo>
                  <a:pt x="778" y="612"/>
                  <a:pt x="778" y="613"/>
                  <a:pt x="778" y="614"/>
                </a:cubicBezTo>
                <a:cubicBezTo>
                  <a:pt x="778" y="615"/>
                  <a:pt x="778" y="615"/>
                  <a:pt x="780" y="617"/>
                </a:cubicBezTo>
                <a:cubicBezTo>
                  <a:pt x="781" y="618"/>
                  <a:pt x="782" y="619"/>
                  <a:pt x="782" y="619"/>
                </a:cubicBezTo>
                <a:lnTo>
                  <a:pt x="777" y="618"/>
                </a:lnTo>
                <a:cubicBezTo>
                  <a:pt x="777" y="618"/>
                  <a:pt x="776" y="618"/>
                  <a:pt x="776" y="618"/>
                </a:cubicBezTo>
                <a:lnTo>
                  <a:pt x="778" y="622"/>
                </a:lnTo>
                <a:cubicBezTo>
                  <a:pt x="777" y="622"/>
                  <a:pt x="777" y="622"/>
                  <a:pt x="776" y="621"/>
                </a:cubicBezTo>
                <a:cubicBezTo>
                  <a:pt x="774" y="620"/>
                  <a:pt x="773" y="619"/>
                  <a:pt x="773" y="619"/>
                </a:cubicBezTo>
                <a:cubicBezTo>
                  <a:pt x="773" y="620"/>
                  <a:pt x="773" y="620"/>
                  <a:pt x="774" y="620"/>
                </a:cubicBezTo>
                <a:cubicBezTo>
                  <a:pt x="774" y="621"/>
                  <a:pt x="774" y="622"/>
                  <a:pt x="774" y="622"/>
                </a:cubicBezTo>
                <a:cubicBezTo>
                  <a:pt x="774" y="625"/>
                  <a:pt x="773" y="627"/>
                  <a:pt x="772" y="630"/>
                </a:cubicBezTo>
                <a:lnTo>
                  <a:pt x="771" y="635"/>
                </a:lnTo>
                <a:lnTo>
                  <a:pt x="772" y="635"/>
                </a:lnTo>
                <a:cubicBezTo>
                  <a:pt x="773" y="633"/>
                  <a:pt x="774" y="632"/>
                  <a:pt x="774" y="632"/>
                </a:cubicBezTo>
                <a:cubicBezTo>
                  <a:pt x="775" y="632"/>
                  <a:pt x="776" y="632"/>
                  <a:pt x="776" y="633"/>
                </a:cubicBezTo>
                <a:cubicBezTo>
                  <a:pt x="776" y="634"/>
                  <a:pt x="775" y="635"/>
                  <a:pt x="774" y="637"/>
                </a:cubicBezTo>
                <a:cubicBezTo>
                  <a:pt x="774" y="639"/>
                  <a:pt x="772" y="639"/>
                  <a:pt x="770" y="639"/>
                </a:cubicBezTo>
                <a:lnTo>
                  <a:pt x="768" y="639"/>
                </a:lnTo>
                <a:cubicBezTo>
                  <a:pt x="768" y="639"/>
                  <a:pt x="768" y="639"/>
                  <a:pt x="769" y="640"/>
                </a:cubicBezTo>
                <a:cubicBezTo>
                  <a:pt x="769" y="640"/>
                  <a:pt x="769" y="640"/>
                  <a:pt x="769" y="641"/>
                </a:cubicBezTo>
                <a:cubicBezTo>
                  <a:pt x="769" y="642"/>
                  <a:pt x="769" y="643"/>
                  <a:pt x="768" y="644"/>
                </a:cubicBezTo>
                <a:cubicBezTo>
                  <a:pt x="767" y="644"/>
                  <a:pt x="766" y="645"/>
                  <a:pt x="765" y="645"/>
                </a:cubicBezTo>
                <a:lnTo>
                  <a:pt x="764" y="644"/>
                </a:lnTo>
                <a:cubicBezTo>
                  <a:pt x="764" y="644"/>
                  <a:pt x="764" y="645"/>
                  <a:pt x="764" y="645"/>
                </a:cubicBezTo>
                <a:cubicBezTo>
                  <a:pt x="764" y="645"/>
                  <a:pt x="764" y="646"/>
                  <a:pt x="765" y="647"/>
                </a:cubicBezTo>
                <a:cubicBezTo>
                  <a:pt x="766" y="647"/>
                  <a:pt x="766" y="648"/>
                  <a:pt x="767" y="648"/>
                </a:cubicBezTo>
                <a:cubicBezTo>
                  <a:pt x="768" y="648"/>
                  <a:pt x="768" y="647"/>
                  <a:pt x="769" y="647"/>
                </a:cubicBezTo>
                <a:cubicBezTo>
                  <a:pt x="770" y="647"/>
                  <a:pt x="770" y="647"/>
                  <a:pt x="770" y="648"/>
                </a:cubicBezTo>
                <a:cubicBezTo>
                  <a:pt x="770" y="648"/>
                  <a:pt x="770" y="649"/>
                  <a:pt x="769" y="651"/>
                </a:cubicBezTo>
                <a:cubicBezTo>
                  <a:pt x="769" y="653"/>
                  <a:pt x="767" y="654"/>
                  <a:pt x="766" y="654"/>
                </a:cubicBezTo>
                <a:cubicBezTo>
                  <a:pt x="765" y="654"/>
                  <a:pt x="764" y="654"/>
                  <a:pt x="764" y="655"/>
                </a:cubicBezTo>
                <a:lnTo>
                  <a:pt x="765" y="657"/>
                </a:lnTo>
                <a:cubicBezTo>
                  <a:pt x="765" y="657"/>
                  <a:pt x="765" y="657"/>
                  <a:pt x="764" y="657"/>
                </a:cubicBezTo>
                <a:lnTo>
                  <a:pt x="761" y="656"/>
                </a:lnTo>
                <a:cubicBezTo>
                  <a:pt x="761" y="656"/>
                  <a:pt x="761" y="656"/>
                  <a:pt x="761" y="657"/>
                </a:cubicBezTo>
                <a:lnTo>
                  <a:pt x="761" y="658"/>
                </a:lnTo>
                <a:cubicBezTo>
                  <a:pt x="761" y="659"/>
                  <a:pt x="761" y="659"/>
                  <a:pt x="760" y="659"/>
                </a:cubicBezTo>
                <a:cubicBezTo>
                  <a:pt x="760" y="659"/>
                  <a:pt x="760" y="659"/>
                  <a:pt x="760" y="660"/>
                </a:cubicBezTo>
                <a:lnTo>
                  <a:pt x="761" y="664"/>
                </a:lnTo>
                <a:cubicBezTo>
                  <a:pt x="761" y="664"/>
                  <a:pt x="760" y="664"/>
                  <a:pt x="760" y="664"/>
                </a:cubicBezTo>
                <a:lnTo>
                  <a:pt x="760" y="664"/>
                </a:lnTo>
                <a:cubicBezTo>
                  <a:pt x="759" y="664"/>
                  <a:pt x="758" y="665"/>
                  <a:pt x="758" y="666"/>
                </a:cubicBezTo>
                <a:cubicBezTo>
                  <a:pt x="758" y="669"/>
                  <a:pt x="757" y="669"/>
                  <a:pt x="757" y="669"/>
                </a:cubicBezTo>
                <a:cubicBezTo>
                  <a:pt x="754" y="670"/>
                  <a:pt x="753" y="670"/>
                  <a:pt x="753" y="670"/>
                </a:cubicBezTo>
                <a:cubicBezTo>
                  <a:pt x="753" y="671"/>
                  <a:pt x="754" y="671"/>
                  <a:pt x="755" y="672"/>
                </a:cubicBezTo>
                <a:cubicBezTo>
                  <a:pt x="756" y="673"/>
                  <a:pt x="756" y="673"/>
                  <a:pt x="756" y="674"/>
                </a:cubicBezTo>
                <a:cubicBezTo>
                  <a:pt x="756" y="674"/>
                  <a:pt x="756" y="674"/>
                  <a:pt x="754" y="674"/>
                </a:cubicBezTo>
                <a:cubicBezTo>
                  <a:pt x="753" y="674"/>
                  <a:pt x="752" y="674"/>
                  <a:pt x="752" y="674"/>
                </a:cubicBezTo>
                <a:lnTo>
                  <a:pt x="753" y="675"/>
                </a:lnTo>
                <a:cubicBezTo>
                  <a:pt x="754" y="675"/>
                  <a:pt x="754" y="676"/>
                  <a:pt x="754" y="676"/>
                </a:cubicBezTo>
                <a:cubicBezTo>
                  <a:pt x="754" y="677"/>
                  <a:pt x="753" y="678"/>
                  <a:pt x="752" y="679"/>
                </a:cubicBezTo>
                <a:cubicBezTo>
                  <a:pt x="750" y="681"/>
                  <a:pt x="749" y="687"/>
                  <a:pt x="749" y="695"/>
                </a:cubicBezTo>
                <a:lnTo>
                  <a:pt x="749" y="695"/>
                </a:lnTo>
                <a:lnTo>
                  <a:pt x="747" y="695"/>
                </a:lnTo>
                <a:lnTo>
                  <a:pt x="746" y="695"/>
                </a:lnTo>
                <a:cubicBezTo>
                  <a:pt x="745" y="695"/>
                  <a:pt x="744" y="696"/>
                  <a:pt x="744" y="699"/>
                </a:cubicBezTo>
                <a:cubicBezTo>
                  <a:pt x="744" y="700"/>
                  <a:pt x="745" y="701"/>
                  <a:pt x="745" y="701"/>
                </a:cubicBezTo>
                <a:cubicBezTo>
                  <a:pt x="746" y="702"/>
                  <a:pt x="746" y="703"/>
                  <a:pt x="746" y="703"/>
                </a:cubicBezTo>
                <a:lnTo>
                  <a:pt x="745" y="702"/>
                </a:lnTo>
                <a:cubicBezTo>
                  <a:pt x="744" y="702"/>
                  <a:pt x="743" y="703"/>
                  <a:pt x="742" y="706"/>
                </a:cubicBezTo>
                <a:cubicBezTo>
                  <a:pt x="741" y="708"/>
                  <a:pt x="739" y="711"/>
                  <a:pt x="739" y="714"/>
                </a:cubicBezTo>
                <a:cubicBezTo>
                  <a:pt x="738" y="717"/>
                  <a:pt x="737" y="720"/>
                  <a:pt x="737" y="722"/>
                </a:cubicBezTo>
                <a:cubicBezTo>
                  <a:pt x="737" y="723"/>
                  <a:pt x="737" y="723"/>
                  <a:pt x="736" y="723"/>
                </a:cubicBezTo>
                <a:cubicBezTo>
                  <a:pt x="735" y="723"/>
                  <a:pt x="734" y="725"/>
                  <a:pt x="733" y="730"/>
                </a:cubicBezTo>
                <a:cubicBezTo>
                  <a:pt x="732" y="732"/>
                  <a:pt x="732" y="735"/>
                  <a:pt x="732" y="737"/>
                </a:cubicBezTo>
                <a:lnTo>
                  <a:pt x="732" y="737"/>
                </a:lnTo>
                <a:cubicBezTo>
                  <a:pt x="732" y="737"/>
                  <a:pt x="732" y="737"/>
                  <a:pt x="731" y="737"/>
                </a:cubicBezTo>
                <a:cubicBezTo>
                  <a:pt x="730" y="737"/>
                  <a:pt x="730" y="739"/>
                  <a:pt x="729" y="743"/>
                </a:cubicBezTo>
                <a:cubicBezTo>
                  <a:pt x="729" y="747"/>
                  <a:pt x="728" y="749"/>
                  <a:pt x="727" y="749"/>
                </a:cubicBezTo>
                <a:cubicBezTo>
                  <a:pt x="727" y="749"/>
                  <a:pt x="726" y="750"/>
                  <a:pt x="726" y="751"/>
                </a:cubicBezTo>
                <a:lnTo>
                  <a:pt x="723" y="761"/>
                </a:lnTo>
                <a:cubicBezTo>
                  <a:pt x="719" y="776"/>
                  <a:pt x="712" y="798"/>
                  <a:pt x="701" y="828"/>
                </a:cubicBezTo>
                <a:cubicBezTo>
                  <a:pt x="697" y="840"/>
                  <a:pt x="695" y="846"/>
                  <a:pt x="695" y="847"/>
                </a:cubicBezTo>
                <a:cubicBezTo>
                  <a:pt x="695" y="848"/>
                  <a:pt x="694" y="853"/>
                  <a:pt x="691" y="861"/>
                </a:cubicBezTo>
                <a:lnTo>
                  <a:pt x="689" y="867"/>
                </a:lnTo>
                <a:cubicBezTo>
                  <a:pt x="688" y="872"/>
                  <a:pt x="686" y="877"/>
                  <a:pt x="684" y="882"/>
                </a:cubicBezTo>
                <a:cubicBezTo>
                  <a:pt x="683" y="886"/>
                  <a:pt x="682" y="889"/>
                  <a:pt x="681" y="892"/>
                </a:cubicBezTo>
                <a:cubicBezTo>
                  <a:pt x="681" y="893"/>
                  <a:pt x="680" y="895"/>
                  <a:pt x="680" y="897"/>
                </a:cubicBezTo>
                <a:cubicBezTo>
                  <a:pt x="679" y="898"/>
                  <a:pt x="679" y="899"/>
                  <a:pt x="678" y="900"/>
                </a:cubicBezTo>
                <a:cubicBezTo>
                  <a:pt x="677" y="901"/>
                  <a:pt x="677" y="902"/>
                  <a:pt x="677" y="902"/>
                </a:cubicBezTo>
                <a:cubicBezTo>
                  <a:pt x="677" y="903"/>
                  <a:pt x="678" y="904"/>
                  <a:pt x="679" y="904"/>
                </a:cubicBezTo>
                <a:cubicBezTo>
                  <a:pt x="680" y="904"/>
                  <a:pt x="682" y="899"/>
                  <a:pt x="685" y="888"/>
                </a:cubicBezTo>
                <a:cubicBezTo>
                  <a:pt x="692" y="867"/>
                  <a:pt x="697" y="851"/>
                  <a:pt x="701" y="842"/>
                </a:cubicBezTo>
                <a:cubicBezTo>
                  <a:pt x="702" y="839"/>
                  <a:pt x="702" y="836"/>
                  <a:pt x="703" y="834"/>
                </a:cubicBezTo>
                <a:cubicBezTo>
                  <a:pt x="703" y="832"/>
                  <a:pt x="704" y="830"/>
                  <a:pt x="704" y="829"/>
                </a:cubicBezTo>
                <a:cubicBezTo>
                  <a:pt x="705" y="828"/>
                  <a:pt x="705" y="826"/>
                  <a:pt x="705" y="826"/>
                </a:cubicBezTo>
                <a:cubicBezTo>
                  <a:pt x="705" y="826"/>
                  <a:pt x="706" y="824"/>
                  <a:pt x="707" y="820"/>
                </a:cubicBezTo>
                <a:cubicBezTo>
                  <a:pt x="709" y="816"/>
                  <a:pt x="710" y="814"/>
                  <a:pt x="710" y="814"/>
                </a:cubicBezTo>
                <a:cubicBezTo>
                  <a:pt x="711" y="810"/>
                  <a:pt x="712" y="806"/>
                  <a:pt x="714" y="803"/>
                </a:cubicBezTo>
                <a:cubicBezTo>
                  <a:pt x="715" y="800"/>
                  <a:pt x="717" y="798"/>
                  <a:pt x="718" y="798"/>
                </a:cubicBezTo>
                <a:lnTo>
                  <a:pt x="721" y="800"/>
                </a:lnTo>
                <a:cubicBezTo>
                  <a:pt x="721" y="800"/>
                  <a:pt x="720" y="799"/>
                  <a:pt x="719" y="797"/>
                </a:cubicBezTo>
                <a:cubicBezTo>
                  <a:pt x="717" y="796"/>
                  <a:pt x="717" y="795"/>
                  <a:pt x="717" y="794"/>
                </a:cubicBezTo>
                <a:cubicBezTo>
                  <a:pt x="717" y="794"/>
                  <a:pt x="717" y="794"/>
                  <a:pt x="718" y="793"/>
                </a:cubicBezTo>
                <a:cubicBezTo>
                  <a:pt x="719" y="793"/>
                  <a:pt x="719" y="792"/>
                  <a:pt x="719" y="792"/>
                </a:cubicBezTo>
                <a:lnTo>
                  <a:pt x="719" y="790"/>
                </a:lnTo>
                <a:cubicBezTo>
                  <a:pt x="719" y="789"/>
                  <a:pt x="719" y="789"/>
                  <a:pt x="720" y="789"/>
                </a:cubicBezTo>
                <a:cubicBezTo>
                  <a:pt x="720" y="789"/>
                  <a:pt x="721" y="789"/>
                  <a:pt x="721" y="789"/>
                </a:cubicBezTo>
                <a:cubicBezTo>
                  <a:pt x="721" y="788"/>
                  <a:pt x="720" y="787"/>
                  <a:pt x="720" y="787"/>
                </a:cubicBezTo>
                <a:cubicBezTo>
                  <a:pt x="720" y="786"/>
                  <a:pt x="719" y="786"/>
                  <a:pt x="719" y="786"/>
                </a:cubicBezTo>
                <a:cubicBezTo>
                  <a:pt x="720" y="786"/>
                  <a:pt x="720" y="786"/>
                  <a:pt x="722" y="788"/>
                </a:cubicBezTo>
                <a:cubicBezTo>
                  <a:pt x="723" y="789"/>
                  <a:pt x="724" y="790"/>
                  <a:pt x="724" y="791"/>
                </a:cubicBezTo>
                <a:cubicBezTo>
                  <a:pt x="724" y="793"/>
                  <a:pt x="723" y="798"/>
                  <a:pt x="720" y="804"/>
                </a:cubicBezTo>
                <a:cubicBezTo>
                  <a:pt x="720" y="806"/>
                  <a:pt x="719" y="807"/>
                  <a:pt x="719" y="808"/>
                </a:cubicBezTo>
                <a:cubicBezTo>
                  <a:pt x="719" y="808"/>
                  <a:pt x="718" y="809"/>
                  <a:pt x="716" y="810"/>
                </a:cubicBezTo>
                <a:lnTo>
                  <a:pt x="715" y="809"/>
                </a:lnTo>
                <a:lnTo>
                  <a:pt x="716" y="810"/>
                </a:lnTo>
                <a:cubicBezTo>
                  <a:pt x="716" y="814"/>
                  <a:pt x="715" y="818"/>
                  <a:pt x="713" y="823"/>
                </a:cubicBezTo>
                <a:lnTo>
                  <a:pt x="711" y="831"/>
                </a:lnTo>
                <a:lnTo>
                  <a:pt x="710" y="837"/>
                </a:lnTo>
                <a:cubicBezTo>
                  <a:pt x="710" y="838"/>
                  <a:pt x="710" y="839"/>
                  <a:pt x="709" y="839"/>
                </a:cubicBezTo>
                <a:cubicBezTo>
                  <a:pt x="708" y="839"/>
                  <a:pt x="708" y="839"/>
                  <a:pt x="707" y="841"/>
                </a:cubicBezTo>
                <a:cubicBezTo>
                  <a:pt x="706" y="845"/>
                  <a:pt x="705" y="848"/>
                  <a:pt x="705" y="851"/>
                </a:cubicBezTo>
                <a:cubicBezTo>
                  <a:pt x="705" y="853"/>
                  <a:pt x="705" y="855"/>
                  <a:pt x="706" y="855"/>
                </a:cubicBezTo>
                <a:cubicBezTo>
                  <a:pt x="706" y="855"/>
                  <a:pt x="706" y="856"/>
                  <a:pt x="706" y="856"/>
                </a:cubicBezTo>
                <a:lnTo>
                  <a:pt x="705" y="856"/>
                </a:lnTo>
                <a:cubicBezTo>
                  <a:pt x="704" y="856"/>
                  <a:pt x="702" y="860"/>
                  <a:pt x="699" y="869"/>
                </a:cubicBezTo>
                <a:cubicBezTo>
                  <a:pt x="696" y="877"/>
                  <a:pt x="695" y="881"/>
                  <a:pt x="694" y="881"/>
                </a:cubicBezTo>
                <a:cubicBezTo>
                  <a:pt x="693" y="881"/>
                  <a:pt x="693" y="881"/>
                  <a:pt x="693" y="881"/>
                </a:cubicBezTo>
                <a:cubicBezTo>
                  <a:pt x="693" y="882"/>
                  <a:pt x="694" y="883"/>
                  <a:pt x="694" y="884"/>
                </a:cubicBezTo>
                <a:lnTo>
                  <a:pt x="695" y="887"/>
                </a:lnTo>
                <a:lnTo>
                  <a:pt x="694" y="887"/>
                </a:lnTo>
                <a:cubicBezTo>
                  <a:pt x="693" y="887"/>
                  <a:pt x="692" y="887"/>
                  <a:pt x="692" y="888"/>
                </a:cubicBezTo>
                <a:lnTo>
                  <a:pt x="693" y="893"/>
                </a:lnTo>
                <a:lnTo>
                  <a:pt x="692" y="894"/>
                </a:lnTo>
                <a:cubicBezTo>
                  <a:pt x="691" y="894"/>
                  <a:pt x="690" y="898"/>
                  <a:pt x="687" y="905"/>
                </a:cubicBezTo>
                <a:cubicBezTo>
                  <a:pt x="680" y="923"/>
                  <a:pt x="674" y="943"/>
                  <a:pt x="668" y="964"/>
                </a:cubicBezTo>
                <a:cubicBezTo>
                  <a:pt x="664" y="976"/>
                  <a:pt x="662" y="982"/>
                  <a:pt x="661" y="983"/>
                </a:cubicBezTo>
                <a:cubicBezTo>
                  <a:pt x="660" y="984"/>
                  <a:pt x="660" y="985"/>
                  <a:pt x="660" y="987"/>
                </a:cubicBezTo>
                <a:cubicBezTo>
                  <a:pt x="660" y="990"/>
                  <a:pt x="658" y="995"/>
                  <a:pt x="655" y="1004"/>
                </a:cubicBezTo>
                <a:cubicBezTo>
                  <a:pt x="653" y="1013"/>
                  <a:pt x="651" y="1018"/>
                  <a:pt x="650" y="1018"/>
                </a:cubicBezTo>
                <a:cubicBezTo>
                  <a:pt x="650" y="1018"/>
                  <a:pt x="650" y="1018"/>
                  <a:pt x="650" y="1019"/>
                </a:cubicBezTo>
                <a:lnTo>
                  <a:pt x="651" y="1021"/>
                </a:lnTo>
                <a:cubicBezTo>
                  <a:pt x="651" y="1021"/>
                  <a:pt x="651" y="1022"/>
                  <a:pt x="650" y="1022"/>
                </a:cubicBezTo>
                <a:cubicBezTo>
                  <a:pt x="649" y="1022"/>
                  <a:pt x="649" y="1022"/>
                  <a:pt x="649" y="1023"/>
                </a:cubicBezTo>
                <a:cubicBezTo>
                  <a:pt x="649" y="1023"/>
                  <a:pt x="649" y="1024"/>
                  <a:pt x="649" y="1024"/>
                </a:cubicBezTo>
                <a:cubicBezTo>
                  <a:pt x="650" y="1025"/>
                  <a:pt x="650" y="1026"/>
                  <a:pt x="650" y="1026"/>
                </a:cubicBezTo>
                <a:cubicBezTo>
                  <a:pt x="650" y="1027"/>
                  <a:pt x="650" y="1027"/>
                  <a:pt x="649" y="1027"/>
                </a:cubicBezTo>
                <a:cubicBezTo>
                  <a:pt x="648" y="1027"/>
                  <a:pt x="648" y="1028"/>
                  <a:pt x="648" y="1031"/>
                </a:cubicBezTo>
                <a:cubicBezTo>
                  <a:pt x="648" y="1034"/>
                  <a:pt x="647" y="1035"/>
                  <a:pt x="646" y="1036"/>
                </a:cubicBezTo>
                <a:cubicBezTo>
                  <a:pt x="645" y="1037"/>
                  <a:pt x="645" y="1038"/>
                  <a:pt x="645" y="1038"/>
                </a:cubicBezTo>
                <a:lnTo>
                  <a:pt x="644" y="1045"/>
                </a:lnTo>
                <a:cubicBezTo>
                  <a:pt x="644" y="1049"/>
                  <a:pt x="644" y="1050"/>
                  <a:pt x="643" y="1051"/>
                </a:cubicBezTo>
                <a:cubicBezTo>
                  <a:pt x="642" y="1052"/>
                  <a:pt x="641" y="1052"/>
                  <a:pt x="641" y="1053"/>
                </a:cubicBezTo>
                <a:lnTo>
                  <a:pt x="642" y="1053"/>
                </a:lnTo>
                <a:cubicBezTo>
                  <a:pt x="642" y="1053"/>
                  <a:pt x="643" y="1053"/>
                  <a:pt x="643" y="1053"/>
                </a:cubicBezTo>
                <a:cubicBezTo>
                  <a:pt x="643" y="1054"/>
                  <a:pt x="642" y="1054"/>
                  <a:pt x="642" y="1055"/>
                </a:cubicBezTo>
                <a:cubicBezTo>
                  <a:pt x="641" y="1057"/>
                  <a:pt x="640" y="1058"/>
                  <a:pt x="640" y="1059"/>
                </a:cubicBezTo>
                <a:cubicBezTo>
                  <a:pt x="640" y="1061"/>
                  <a:pt x="640" y="1064"/>
                  <a:pt x="640" y="1067"/>
                </a:cubicBezTo>
                <a:cubicBezTo>
                  <a:pt x="639" y="1070"/>
                  <a:pt x="639" y="1073"/>
                  <a:pt x="639" y="1076"/>
                </a:cubicBezTo>
                <a:cubicBezTo>
                  <a:pt x="639" y="1080"/>
                  <a:pt x="639" y="1083"/>
                  <a:pt x="640" y="1087"/>
                </a:cubicBezTo>
                <a:cubicBezTo>
                  <a:pt x="640" y="1090"/>
                  <a:pt x="641" y="1092"/>
                  <a:pt x="642" y="1093"/>
                </a:cubicBezTo>
                <a:cubicBezTo>
                  <a:pt x="643" y="1094"/>
                  <a:pt x="643" y="1095"/>
                  <a:pt x="643" y="1096"/>
                </a:cubicBezTo>
                <a:cubicBezTo>
                  <a:pt x="643" y="1097"/>
                  <a:pt x="643" y="1098"/>
                  <a:pt x="642" y="1098"/>
                </a:cubicBezTo>
                <a:cubicBezTo>
                  <a:pt x="640" y="1099"/>
                  <a:pt x="639" y="1100"/>
                  <a:pt x="637" y="1100"/>
                </a:cubicBezTo>
                <a:close/>
                <a:moveTo>
                  <a:pt x="811" y="505"/>
                </a:moveTo>
                <a:cubicBezTo>
                  <a:pt x="811" y="505"/>
                  <a:pt x="812" y="505"/>
                  <a:pt x="812" y="504"/>
                </a:cubicBezTo>
                <a:lnTo>
                  <a:pt x="812" y="502"/>
                </a:lnTo>
                <a:cubicBezTo>
                  <a:pt x="812" y="502"/>
                  <a:pt x="812" y="501"/>
                  <a:pt x="811" y="501"/>
                </a:cubicBezTo>
                <a:lnTo>
                  <a:pt x="811" y="501"/>
                </a:lnTo>
                <a:cubicBezTo>
                  <a:pt x="810" y="501"/>
                  <a:pt x="810" y="502"/>
                  <a:pt x="810" y="502"/>
                </a:cubicBezTo>
                <a:cubicBezTo>
                  <a:pt x="810" y="504"/>
                  <a:pt x="811" y="505"/>
                  <a:pt x="811" y="505"/>
                </a:cubicBezTo>
                <a:close/>
                <a:moveTo>
                  <a:pt x="782" y="569"/>
                </a:moveTo>
                <a:cubicBezTo>
                  <a:pt x="782" y="569"/>
                  <a:pt x="782" y="569"/>
                  <a:pt x="783" y="568"/>
                </a:cubicBezTo>
                <a:cubicBezTo>
                  <a:pt x="783" y="566"/>
                  <a:pt x="783" y="566"/>
                  <a:pt x="783" y="565"/>
                </a:cubicBezTo>
                <a:cubicBezTo>
                  <a:pt x="783" y="565"/>
                  <a:pt x="783" y="565"/>
                  <a:pt x="782" y="565"/>
                </a:cubicBezTo>
                <a:lnTo>
                  <a:pt x="782" y="565"/>
                </a:lnTo>
                <a:cubicBezTo>
                  <a:pt x="781" y="566"/>
                  <a:pt x="781" y="566"/>
                  <a:pt x="781" y="568"/>
                </a:cubicBezTo>
                <a:cubicBezTo>
                  <a:pt x="781" y="569"/>
                  <a:pt x="781" y="569"/>
                  <a:pt x="782" y="569"/>
                </a:cubicBezTo>
                <a:close/>
                <a:moveTo>
                  <a:pt x="767" y="652"/>
                </a:moveTo>
                <a:cubicBezTo>
                  <a:pt x="767" y="652"/>
                  <a:pt x="768" y="652"/>
                  <a:pt x="768" y="651"/>
                </a:cubicBezTo>
                <a:cubicBezTo>
                  <a:pt x="768" y="650"/>
                  <a:pt x="767" y="650"/>
                  <a:pt x="765" y="649"/>
                </a:cubicBezTo>
                <a:lnTo>
                  <a:pt x="764" y="649"/>
                </a:lnTo>
                <a:cubicBezTo>
                  <a:pt x="763" y="649"/>
                  <a:pt x="763" y="649"/>
                  <a:pt x="763" y="650"/>
                </a:cubicBezTo>
                <a:lnTo>
                  <a:pt x="764" y="651"/>
                </a:lnTo>
                <a:cubicBezTo>
                  <a:pt x="765" y="652"/>
                  <a:pt x="766" y="652"/>
                  <a:pt x="767" y="652"/>
                </a:cubicBezTo>
                <a:close/>
                <a:moveTo>
                  <a:pt x="922" y="549"/>
                </a:moveTo>
                <a:cubicBezTo>
                  <a:pt x="920" y="549"/>
                  <a:pt x="920" y="549"/>
                  <a:pt x="920" y="549"/>
                </a:cubicBezTo>
                <a:lnTo>
                  <a:pt x="920" y="548"/>
                </a:lnTo>
                <a:lnTo>
                  <a:pt x="922" y="548"/>
                </a:lnTo>
                <a:cubicBezTo>
                  <a:pt x="924" y="548"/>
                  <a:pt x="925" y="548"/>
                  <a:pt x="925" y="549"/>
                </a:cubicBezTo>
                <a:cubicBezTo>
                  <a:pt x="925" y="549"/>
                  <a:pt x="924" y="549"/>
                  <a:pt x="922" y="549"/>
                </a:cubicBezTo>
                <a:close/>
                <a:moveTo>
                  <a:pt x="1068" y="761"/>
                </a:moveTo>
                <a:lnTo>
                  <a:pt x="1067" y="761"/>
                </a:lnTo>
                <a:cubicBezTo>
                  <a:pt x="1067" y="761"/>
                  <a:pt x="1068" y="760"/>
                  <a:pt x="1069" y="759"/>
                </a:cubicBezTo>
                <a:cubicBezTo>
                  <a:pt x="1069" y="758"/>
                  <a:pt x="1071" y="758"/>
                  <a:pt x="1071" y="758"/>
                </a:cubicBezTo>
                <a:lnTo>
                  <a:pt x="1072" y="758"/>
                </a:lnTo>
                <a:lnTo>
                  <a:pt x="1072" y="758"/>
                </a:lnTo>
                <a:cubicBezTo>
                  <a:pt x="1072" y="759"/>
                  <a:pt x="1072" y="759"/>
                  <a:pt x="1071" y="760"/>
                </a:cubicBezTo>
                <a:cubicBezTo>
                  <a:pt x="1070" y="761"/>
                  <a:pt x="1069" y="761"/>
                  <a:pt x="1068" y="761"/>
                </a:cubicBezTo>
                <a:close/>
                <a:moveTo>
                  <a:pt x="1057" y="714"/>
                </a:moveTo>
                <a:cubicBezTo>
                  <a:pt x="1057" y="714"/>
                  <a:pt x="1056" y="713"/>
                  <a:pt x="1056" y="712"/>
                </a:cubicBezTo>
                <a:lnTo>
                  <a:pt x="1056" y="711"/>
                </a:lnTo>
                <a:cubicBezTo>
                  <a:pt x="1056" y="710"/>
                  <a:pt x="1056" y="709"/>
                  <a:pt x="1057" y="708"/>
                </a:cubicBezTo>
                <a:cubicBezTo>
                  <a:pt x="1057" y="708"/>
                  <a:pt x="1058" y="708"/>
                  <a:pt x="1058" y="708"/>
                </a:cubicBezTo>
                <a:cubicBezTo>
                  <a:pt x="1058" y="708"/>
                  <a:pt x="1058" y="709"/>
                  <a:pt x="1058" y="710"/>
                </a:cubicBezTo>
                <a:cubicBezTo>
                  <a:pt x="1058" y="713"/>
                  <a:pt x="1058" y="714"/>
                  <a:pt x="1057" y="714"/>
                </a:cubicBezTo>
                <a:close/>
                <a:moveTo>
                  <a:pt x="1091" y="501"/>
                </a:moveTo>
                <a:lnTo>
                  <a:pt x="1091" y="499"/>
                </a:lnTo>
                <a:cubicBezTo>
                  <a:pt x="1091" y="498"/>
                  <a:pt x="1092" y="497"/>
                  <a:pt x="1092" y="496"/>
                </a:cubicBezTo>
                <a:cubicBezTo>
                  <a:pt x="1092" y="495"/>
                  <a:pt x="1093" y="494"/>
                  <a:pt x="1093" y="493"/>
                </a:cubicBezTo>
                <a:cubicBezTo>
                  <a:pt x="1093" y="492"/>
                  <a:pt x="1094" y="492"/>
                  <a:pt x="1094" y="492"/>
                </a:cubicBezTo>
                <a:cubicBezTo>
                  <a:pt x="1094" y="492"/>
                  <a:pt x="1094" y="492"/>
                  <a:pt x="1094" y="493"/>
                </a:cubicBezTo>
                <a:lnTo>
                  <a:pt x="1094" y="496"/>
                </a:lnTo>
                <a:cubicBezTo>
                  <a:pt x="1093" y="499"/>
                  <a:pt x="1092" y="501"/>
                  <a:pt x="1091" y="501"/>
                </a:cubicBezTo>
                <a:close/>
                <a:moveTo>
                  <a:pt x="1087" y="512"/>
                </a:moveTo>
                <a:lnTo>
                  <a:pt x="1087" y="512"/>
                </a:lnTo>
                <a:cubicBezTo>
                  <a:pt x="1087" y="511"/>
                  <a:pt x="1087" y="510"/>
                  <a:pt x="1087" y="509"/>
                </a:cubicBezTo>
                <a:cubicBezTo>
                  <a:pt x="1087" y="507"/>
                  <a:pt x="1088" y="506"/>
                  <a:pt x="1089" y="506"/>
                </a:cubicBezTo>
                <a:lnTo>
                  <a:pt x="1089" y="506"/>
                </a:lnTo>
                <a:lnTo>
                  <a:pt x="1090" y="507"/>
                </a:lnTo>
                <a:cubicBezTo>
                  <a:pt x="1090" y="508"/>
                  <a:pt x="1089" y="509"/>
                  <a:pt x="1089" y="510"/>
                </a:cubicBezTo>
                <a:lnTo>
                  <a:pt x="1087" y="512"/>
                </a:lnTo>
                <a:close/>
                <a:moveTo>
                  <a:pt x="1054" y="812"/>
                </a:moveTo>
                <a:cubicBezTo>
                  <a:pt x="1052" y="812"/>
                  <a:pt x="1050" y="811"/>
                  <a:pt x="1047" y="807"/>
                </a:cubicBezTo>
                <a:cubicBezTo>
                  <a:pt x="1044" y="804"/>
                  <a:pt x="1041" y="803"/>
                  <a:pt x="1037" y="803"/>
                </a:cubicBezTo>
                <a:cubicBezTo>
                  <a:pt x="1033" y="803"/>
                  <a:pt x="1029" y="801"/>
                  <a:pt x="1026" y="798"/>
                </a:cubicBezTo>
                <a:cubicBezTo>
                  <a:pt x="1021" y="794"/>
                  <a:pt x="1018" y="789"/>
                  <a:pt x="1017" y="783"/>
                </a:cubicBezTo>
                <a:cubicBezTo>
                  <a:pt x="1016" y="779"/>
                  <a:pt x="1016" y="773"/>
                  <a:pt x="1016" y="763"/>
                </a:cubicBezTo>
                <a:cubicBezTo>
                  <a:pt x="1017" y="748"/>
                  <a:pt x="1019" y="741"/>
                  <a:pt x="1021" y="741"/>
                </a:cubicBezTo>
                <a:lnTo>
                  <a:pt x="1022" y="741"/>
                </a:lnTo>
                <a:cubicBezTo>
                  <a:pt x="1022" y="741"/>
                  <a:pt x="1022" y="740"/>
                  <a:pt x="1022" y="740"/>
                </a:cubicBezTo>
                <a:cubicBezTo>
                  <a:pt x="1022" y="740"/>
                  <a:pt x="1022" y="739"/>
                  <a:pt x="1022" y="739"/>
                </a:cubicBezTo>
                <a:cubicBezTo>
                  <a:pt x="1022" y="738"/>
                  <a:pt x="1021" y="737"/>
                  <a:pt x="1021" y="736"/>
                </a:cubicBezTo>
                <a:cubicBezTo>
                  <a:pt x="1021" y="735"/>
                  <a:pt x="1021" y="735"/>
                  <a:pt x="1022" y="735"/>
                </a:cubicBezTo>
                <a:cubicBezTo>
                  <a:pt x="1023" y="735"/>
                  <a:pt x="1024" y="734"/>
                  <a:pt x="1024" y="734"/>
                </a:cubicBezTo>
                <a:cubicBezTo>
                  <a:pt x="1024" y="733"/>
                  <a:pt x="1023" y="733"/>
                  <a:pt x="1023" y="732"/>
                </a:cubicBezTo>
                <a:cubicBezTo>
                  <a:pt x="1023" y="732"/>
                  <a:pt x="1022" y="731"/>
                  <a:pt x="1022" y="730"/>
                </a:cubicBezTo>
                <a:lnTo>
                  <a:pt x="1023" y="724"/>
                </a:lnTo>
                <a:cubicBezTo>
                  <a:pt x="1024" y="721"/>
                  <a:pt x="1025" y="719"/>
                  <a:pt x="1025" y="719"/>
                </a:cubicBezTo>
                <a:lnTo>
                  <a:pt x="1025" y="719"/>
                </a:lnTo>
                <a:lnTo>
                  <a:pt x="1026" y="720"/>
                </a:lnTo>
                <a:cubicBezTo>
                  <a:pt x="1026" y="720"/>
                  <a:pt x="1027" y="719"/>
                  <a:pt x="1027" y="718"/>
                </a:cubicBezTo>
                <a:cubicBezTo>
                  <a:pt x="1027" y="718"/>
                  <a:pt x="1028" y="717"/>
                  <a:pt x="1028" y="716"/>
                </a:cubicBezTo>
                <a:cubicBezTo>
                  <a:pt x="1028" y="716"/>
                  <a:pt x="1028" y="715"/>
                  <a:pt x="1027" y="714"/>
                </a:cubicBezTo>
                <a:cubicBezTo>
                  <a:pt x="1027" y="713"/>
                  <a:pt x="1027" y="712"/>
                  <a:pt x="1026" y="711"/>
                </a:cubicBezTo>
                <a:cubicBezTo>
                  <a:pt x="1026" y="711"/>
                  <a:pt x="1026" y="710"/>
                  <a:pt x="1026" y="710"/>
                </a:cubicBezTo>
                <a:cubicBezTo>
                  <a:pt x="1026" y="710"/>
                  <a:pt x="1026" y="709"/>
                  <a:pt x="1027" y="709"/>
                </a:cubicBezTo>
                <a:cubicBezTo>
                  <a:pt x="1028" y="709"/>
                  <a:pt x="1028" y="709"/>
                  <a:pt x="1028" y="708"/>
                </a:cubicBezTo>
                <a:cubicBezTo>
                  <a:pt x="1027" y="707"/>
                  <a:pt x="1027" y="706"/>
                  <a:pt x="1027" y="706"/>
                </a:cubicBezTo>
                <a:lnTo>
                  <a:pt x="1027" y="705"/>
                </a:lnTo>
                <a:cubicBezTo>
                  <a:pt x="1029" y="705"/>
                  <a:pt x="1030" y="705"/>
                  <a:pt x="1030" y="704"/>
                </a:cubicBezTo>
                <a:cubicBezTo>
                  <a:pt x="1030" y="704"/>
                  <a:pt x="1029" y="704"/>
                  <a:pt x="1029" y="703"/>
                </a:cubicBezTo>
                <a:cubicBezTo>
                  <a:pt x="1029" y="703"/>
                  <a:pt x="1029" y="703"/>
                  <a:pt x="1029" y="702"/>
                </a:cubicBezTo>
                <a:cubicBezTo>
                  <a:pt x="1029" y="702"/>
                  <a:pt x="1029" y="701"/>
                  <a:pt x="1029" y="701"/>
                </a:cubicBezTo>
                <a:cubicBezTo>
                  <a:pt x="1029" y="700"/>
                  <a:pt x="1029" y="699"/>
                  <a:pt x="1030" y="698"/>
                </a:cubicBezTo>
                <a:cubicBezTo>
                  <a:pt x="1031" y="697"/>
                  <a:pt x="1031" y="696"/>
                  <a:pt x="1031" y="694"/>
                </a:cubicBezTo>
                <a:lnTo>
                  <a:pt x="1030" y="692"/>
                </a:lnTo>
                <a:cubicBezTo>
                  <a:pt x="1030" y="691"/>
                  <a:pt x="1031" y="691"/>
                  <a:pt x="1031" y="691"/>
                </a:cubicBezTo>
                <a:cubicBezTo>
                  <a:pt x="1032" y="691"/>
                  <a:pt x="1033" y="690"/>
                  <a:pt x="1034" y="686"/>
                </a:cubicBezTo>
                <a:cubicBezTo>
                  <a:pt x="1034" y="684"/>
                  <a:pt x="1034" y="683"/>
                  <a:pt x="1035" y="683"/>
                </a:cubicBezTo>
                <a:lnTo>
                  <a:pt x="1036" y="683"/>
                </a:lnTo>
                <a:cubicBezTo>
                  <a:pt x="1037" y="683"/>
                  <a:pt x="1038" y="682"/>
                  <a:pt x="1038" y="681"/>
                </a:cubicBezTo>
                <a:cubicBezTo>
                  <a:pt x="1038" y="679"/>
                  <a:pt x="1038" y="678"/>
                  <a:pt x="1038" y="678"/>
                </a:cubicBezTo>
                <a:lnTo>
                  <a:pt x="1036" y="679"/>
                </a:lnTo>
                <a:cubicBezTo>
                  <a:pt x="1036" y="679"/>
                  <a:pt x="1036" y="678"/>
                  <a:pt x="1036" y="677"/>
                </a:cubicBezTo>
                <a:lnTo>
                  <a:pt x="1036" y="676"/>
                </a:lnTo>
                <a:cubicBezTo>
                  <a:pt x="1036" y="674"/>
                  <a:pt x="1037" y="674"/>
                  <a:pt x="1039" y="674"/>
                </a:cubicBezTo>
                <a:lnTo>
                  <a:pt x="1040" y="674"/>
                </a:lnTo>
                <a:cubicBezTo>
                  <a:pt x="1040" y="674"/>
                  <a:pt x="1040" y="674"/>
                  <a:pt x="1040" y="674"/>
                </a:cubicBezTo>
                <a:lnTo>
                  <a:pt x="1038" y="670"/>
                </a:lnTo>
                <a:cubicBezTo>
                  <a:pt x="1038" y="669"/>
                  <a:pt x="1039" y="668"/>
                  <a:pt x="1040" y="667"/>
                </a:cubicBezTo>
                <a:cubicBezTo>
                  <a:pt x="1041" y="667"/>
                  <a:pt x="1042" y="666"/>
                  <a:pt x="1042" y="665"/>
                </a:cubicBezTo>
                <a:cubicBezTo>
                  <a:pt x="1042" y="664"/>
                  <a:pt x="1042" y="663"/>
                  <a:pt x="1041" y="663"/>
                </a:cubicBezTo>
                <a:cubicBezTo>
                  <a:pt x="1041" y="662"/>
                  <a:pt x="1041" y="661"/>
                  <a:pt x="1040" y="660"/>
                </a:cubicBezTo>
                <a:lnTo>
                  <a:pt x="1043" y="661"/>
                </a:lnTo>
                <a:cubicBezTo>
                  <a:pt x="1043" y="661"/>
                  <a:pt x="1044" y="661"/>
                  <a:pt x="1044" y="660"/>
                </a:cubicBezTo>
                <a:lnTo>
                  <a:pt x="1041" y="656"/>
                </a:lnTo>
                <a:cubicBezTo>
                  <a:pt x="1041" y="655"/>
                  <a:pt x="1041" y="655"/>
                  <a:pt x="1042" y="655"/>
                </a:cubicBezTo>
                <a:lnTo>
                  <a:pt x="1044" y="656"/>
                </a:lnTo>
                <a:lnTo>
                  <a:pt x="1042" y="651"/>
                </a:lnTo>
                <a:lnTo>
                  <a:pt x="1044" y="651"/>
                </a:lnTo>
                <a:cubicBezTo>
                  <a:pt x="1044" y="651"/>
                  <a:pt x="1046" y="648"/>
                  <a:pt x="1047" y="643"/>
                </a:cubicBezTo>
                <a:cubicBezTo>
                  <a:pt x="1048" y="637"/>
                  <a:pt x="1049" y="634"/>
                  <a:pt x="1050" y="634"/>
                </a:cubicBezTo>
                <a:cubicBezTo>
                  <a:pt x="1051" y="634"/>
                  <a:pt x="1052" y="633"/>
                  <a:pt x="1052" y="632"/>
                </a:cubicBezTo>
                <a:cubicBezTo>
                  <a:pt x="1052" y="632"/>
                  <a:pt x="1051" y="632"/>
                  <a:pt x="1051" y="631"/>
                </a:cubicBezTo>
                <a:cubicBezTo>
                  <a:pt x="1050" y="630"/>
                  <a:pt x="1050" y="630"/>
                  <a:pt x="1050" y="630"/>
                </a:cubicBezTo>
                <a:lnTo>
                  <a:pt x="1050" y="630"/>
                </a:lnTo>
                <a:cubicBezTo>
                  <a:pt x="1051" y="630"/>
                  <a:pt x="1052" y="630"/>
                  <a:pt x="1053" y="630"/>
                </a:cubicBezTo>
                <a:cubicBezTo>
                  <a:pt x="1054" y="631"/>
                  <a:pt x="1055" y="631"/>
                  <a:pt x="1056" y="631"/>
                </a:cubicBezTo>
                <a:cubicBezTo>
                  <a:pt x="1056" y="631"/>
                  <a:pt x="1056" y="631"/>
                  <a:pt x="1056" y="630"/>
                </a:cubicBezTo>
                <a:lnTo>
                  <a:pt x="1054" y="628"/>
                </a:lnTo>
                <a:cubicBezTo>
                  <a:pt x="1053" y="627"/>
                  <a:pt x="1052" y="626"/>
                  <a:pt x="1052" y="625"/>
                </a:cubicBezTo>
                <a:cubicBezTo>
                  <a:pt x="1052" y="625"/>
                  <a:pt x="1052" y="623"/>
                  <a:pt x="1053" y="621"/>
                </a:cubicBezTo>
                <a:cubicBezTo>
                  <a:pt x="1054" y="620"/>
                  <a:pt x="1055" y="619"/>
                  <a:pt x="1055" y="618"/>
                </a:cubicBezTo>
                <a:lnTo>
                  <a:pt x="1054" y="617"/>
                </a:lnTo>
                <a:cubicBezTo>
                  <a:pt x="1054" y="616"/>
                  <a:pt x="1056" y="614"/>
                  <a:pt x="1059" y="611"/>
                </a:cubicBezTo>
                <a:lnTo>
                  <a:pt x="1063" y="607"/>
                </a:lnTo>
                <a:cubicBezTo>
                  <a:pt x="1063" y="606"/>
                  <a:pt x="1063" y="606"/>
                  <a:pt x="1062" y="606"/>
                </a:cubicBezTo>
                <a:cubicBezTo>
                  <a:pt x="1061" y="606"/>
                  <a:pt x="1060" y="605"/>
                  <a:pt x="1060" y="603"/>
                </a:cubicBezTo>
                <a:cubicBezTo>
                  <a:pt x="1060" y="599"/>
                  <a:pt x="1061" y="596"/>
                  <a:pt x="1063" y="593"/>
                </a:cubicBezTo>
                <a:cubicBezTo>
                  <a:pt x="1064" y="592"/>
                  <a:pt x="1064" y="591"/>
                  <a:pt x="1065" y="591"/>
                </a:cubicBezTo>
                <a:lnTo>
                  <a:pt x="1066" y="591"/>
                </a:lnTo>
                <a:cubicBezTo>
                  <a:pt x="1067" y="591"/>
                  <a:pt x="1067" y="591"/>
                  <a:pt x="1067" y="590"/>
                </a:cubicBezTo>
                <a:lnTo>
                  <a:pt x="1066" y="588"/>
                </a:lnTo>
                <a:cubicBezTo>
                  <a:pt x="1066" y="586"/>
                  <a:pt x="1067" y="585"/>
                  <a:pt x="1068" y="584"/>
                </a:cubicBezTo>
                <a:cubicBezTo>
                  <a:pt x="1069" y="583"/>
                  <a:pt x="1069" y="583"/>
                  <a:pt x="1069" y="582"/>
                </a:cubicBezTo>
                <a:lnTo>
                  <a:pt x="1069" y="580"/>
                </a:lnTo>
                <a:cubicBezTo>
                  <a:pt x="1069" y="580"/>
                  <a:pt x="1068" y="580"/>
                  <a:pt x="1068" y="579"/>
                </a:cubicBezTo>
                <a:cubicBezTo>
                  <a:pt x="1068" y="579"/>
                  <a:pt x="1069" y="578"/>
                  <a:pt x="1070" y="578"/>
                </a:cubicBezTo>
                <a:cubicBezTo>
                  <a:pt x="1071" y="578"/>
                  <a:pt x="1071" y="578"/>
                  <a:pt x="1071" y="577"/>
                </a:cubicBezTo>
                <a:cubicBezTo>
                  <a:pt x="1071" y="577"/>
                  <a:pt x="1071" y="577"/>
                  <a:pt x="1071" y="576"/>
                </a:cubicBezTo>
                <a:cubicBezTo>
                  <a:pt x="1070" y="576"/>
                  <a:pt x="1070" y="575"/>
                  <a:pt x="1070" y="575"/>
                </a:cubicBezTo>
                <a:cubicBezTo>
                  <a:pt x="1070" y="574"/>
                  <a:pt x="1070" y="574"/>
                  <a:pt x="1071" y="574"/>
                </a:cubicBezTo>
                <a:cubicBezTo>
                  <a:pt x="1072" y="574"/>
                  <a:pt x="1072" y="573"/>
                  <a:pt x="1072" y="573"/>
                </a:cubicBezTo>
                <a:lnTo>
                  <a:pt x="1070" y="570"/>
                </a:lnTo>
                <a:cubicBezTo>
                  <a:pt x="1071" y="570"/>
                  <a:pt x="1071" y="570"/>
                  <a:pt x="1072" y="570"/>
                </a:cubicBezTo>
                <a:cubicBezTo>
                  <a:pt x="1072" y="571"/>
                  <a:pt x="1073" y="571"/>
                  <a:pt x="1074" y="571"/>
                </a:cubicBezTo>
                <a:cubicBezTo>
                  <a:pt x="1074" y="571"/>
                  <a:pt x="1074" y="570"/>
                  <a:pt x="1074" y="569"/>
                </a:cubicBezTo>
                <a:cubicBezTo>
                  <a:pt x="1074" y="568"/>
                  <a:pt x="1074" y="566"/>
                  <a:pt x="1074" y="565"/>
                </a:cubicBezTo>
                <a:cubicBezTo>
                  <a:pt x="1074" y="564"/>
                  <a:pt x="1074" y="564"/>
                  <a:pt x="1074" y="563"/>
                </a:cubicBezTo>
                <a:cubicBezTo>
                  <a:pt x="1075" y="562"/>
                  <a:pt x="1076" y="560"/>
                  <a:pt x="1077" y="559"/>
                </a:cubicBezTo>
                <a:cubicBezTo>
                  <a:pt x="1077" y="557"/>
                  <a:pt x="1078" y="557"/>
                  <a:pt x="1079" y="557"/>
                </a:cubicBezTo>
                <a:lnTo>
                  <a:pt x="1079" y="558"/>
                </a:lnTo>
                <a:cubicBezTo>
                  <a:pt x="1079" y="559"/>
                  <a:pt x="1078" y="563"/>
                  <a:pt x="1077" y="568"/>
                </a:cubicBezTo>
                <a:cubicBezTo>
                  <a:pt x="1076" y="573"/>
                  <a:pt x="1074" y="582"/>
                  <a:pt x="1071" y="595"/>
                </a:cubicBezTo>
                <a:cubicBezTo>
                  <a:pt x="1070" y="599"/>
                  <a:pt x="1069" y="602"/>
                  <a:pt x="1068" y="605"/>
                </a:cubicBezTo>
                <a:cubicBezTo>
                  <a:pt x="1066" y="616"/>
                  <a:pt x="1063" y="625"/>
                  <a:pt x="1062" y="633"/>
                </a:cubicBezTo>
                <a:lnTo>
                  <a:pt x="1059" y="648"/>
                </a:lnTo>
                <a:cubicBezTo>
                  <a:pt x="1060" y="649"/>
                  <a:pt x="1060" y="649"/>
                  <a:pt x="1060" y="649"/>
                </a:cubicBezTo>
                <a:cubicBezTo>
                  <a:pt x="1060" y="649"/>
                  <a:pt x="1060" y="650"/>
                  <a:pt x="1059" y="650"/>
                </a:cubicBezTo>
                <a:cubicBezTo>
                  <a:pt x="1058" y="650"/>
                  <a:pt x="1057" y="650"/>
                  <a:pt x="1057" y="651"/>
                </a:cubicBezTo>
                <a:lnTo>
                  <a:pt x="1058" y="653"/>
                </a:lnTo>
                <a:cubicBezTo>
                  <a:pt x="1058" y="654"/>
                  <a:pt x="1058" y="654"/>
                  <a:pt x="1057" y="655"/>
                </a:cubicBezTo>
                <a:cubicBezTo>
                  <a:pt x="1056" y="656"/>
                  <a:pt x="1056" y="657"/>
                  <a:pt x="1056" y="659"/>
                </a:cubicBezTo>
                <a:cubicBezTo>
                  <a:pt x="1056" y="661"/>
                  <a:pt x="1055" y="664"/>
                  <a:pt x="1054" y="668"/>
                </a:cubicBezTo>
                <a:cubicBezTo>
                  <a:pt x="1053" y="669"/>
                  <a:pt x="1053" y="671"/>
                  <a:pt x="1053" y="673"/>
                </a:cubicBezTo>
                <a:cubicBezTo>
                  <a:pt x="1053" y="674"/>
                  <a:pt x="1054" y="676"/>
                  <a:pt x="1056" y="679"/>
                </a:cubicBezTo>
                <a:lnTo>
                  <a:pt x="1056" y="681"/>
                </a:lnTo>
                <a:lnTo>
                  <a:pt x="1056" y="681"/>
                </a:lnTo>
                <a:cubicBezTo>
                  <a:pt x="1055" y="681"/>
                  <a:pt x="1055" y="681"/>
                  <a:pt x="1054" y="679"/>
                </a:cubicBezTo>
                <a:cubicBezTo>
                  <a:pt x="1054" y="678"/>
                  <a:pt x="1054" y="677"/>
                  <a:pt x="1053" y="677"/>
                </a:cubicBezTo>
                <a:cubicBezTo>
                  <a:pt x="1052" y="677"/>
                  <a:pt x="1050" y="680"/>
                  <a:pt x="1049" y="685"/>
                </a:cubicBezTo>
                <a:cubicBezTo>
                  <a:pt x="1048" y="690"/>
                  <a:pt x="1047" y="693"/>
                  <a:pt x="1047" y="694"/>
                </a:cubicBezTo>
                <a:cubicBezTo>
                  <a:pt x="1047" y="694"/>
                  <a:pt x="1048" y="695"/>
                  <a:pt x="1048" y="695"/>
                </a:cubicBezTo>
                <a:cubicBezTo>
                  <a:pt x="1049" y="695"/>
                  <a:pt x="1049" y="694"/>
                  <a:pt x="1051" y="693"/>
                </a:cubicBezTo>
                <a:cubicBezTo>
                  <a:pt x="1052" y="693"/>
                  <a:pt x="1053" y="691"/>
                  <a:pt x="1053" y="689"/>
                </a:cubicBezTo>
                <a:cubicBezTo>
                  <a:pt x="1053" y="686"/>
                  <a:pt x="1054" y="685"/>
                  <a:pt x="1056" y="685"/>
                </a:cubicBezTo>
                <a:lnTo>
                  <a:pt x="1057" y="686"/>
                </a:lnTo>
                <a:cubicBezTo>
                  <a:pt x="1059" y="686"/>
                  <a:pt x="1060" y="684"/>
                  <a:pt x="1060" y="682"/>
                </a:cubicBezTo>
                <a:cubicBezTo>
                  <a:pt x="1060" y="680"/>
                  <a:pt x="1059" y="678"/>
                  <a:pt x="1058" y="674"/>
                </a:cubicBezTo>
                <a:cubicBezTo>
                  <a:pt x="1058" y="673"/>
                  <a:pt x="1059" y="671"/>
                  <a:pt x="1061" y="668"/>
                </a:cubicBezTo>
                <a:cubicBezTo>
                  <a:pt x="1062" y="666"/>
                  <a:pt x="1062" y="664"/>
                  <a:pt x="1062" y="663"/>
                </a:cubicBezTo>
                <a:cubicBezTo>
                  <a:pt x="1062" y="661"/>
                  <a:pt x="1062" y="661"/>
                  <a:pt x="1062" y="660"/>
                </a:cubicBezTo>
                <a:cubicBezTo>
                  <a:pt x="1061" y="660"/>
                  <a:pt x="1061" y="659"/>
                  <a:pt x="1061" y="659"/>
                </a:cubicBezTo>
                <a:cubicBezTo>
                  <a:pt x="1061" y="657"/>
                  <a:pt x="1062" y="656"/>
                  <a:pt x="1063" y="656"/>
                </a:cubicBezTo>
                <a:cubicBezTo>
                  <a:pt x="1064" y="655"/>
                  <a:pt x="1065" y="654"/>
                  <a:pt x="1065" y="653"/>
                </a:cubicBezTo>
                <a:lnTo>
                  <a:pt x="1064" y="649"/>
                </a:lnTo>
                <a:cubicBezTo>
                  <a:pt x="1064" y="649"/>
                  <a:pt x="1064" y="648"/>
                  <a:pt x="1064" y="648"/>
                </a:cubicBezTo>
                <a:cubicBezTo>
                  <a:pt x="1064" y="647"/>
                  <a:pt x="1064" y="647"/>
                  <a:pt x="1065" y="647"/>
                </a:cubicBezTo>
                <a:cubicBezTo>
                  <a:pt x="1066" y="647"/>
                  <a:pt x="1066" y="647"/>
                  <a:pt x="1066" y="647"/>
                </a:cubicBezTo>
                <a:lnTo>
                  <a:pt x="1066" y="646"/>
                </a:lnTo>
                <a:cubicBezTo>
                  <a:pt x="1065" y="646"/>
                  <a:pt x="1065" y="645"/>
                  <a:pt x="1065" y="645"/>
                </a:cubicBezTo>
                <a:cubicBezTo>
                  <a:pt x="1065" y="644"/>
                  <a:pt x="1065" y="643"/>
                  <a:pt x="1066" y="642"/>
                </a:cubicBezTo>
                <a:cubicBezTo>
                  <a:pt x="1067" y="641"/>
                  <a:pt x="1067" y="640"/>
                  <a:pt x="1067" y="639"/>
                </a:cubicBezTo>
                <a:cubicBezTo>
                  <a:pt x="1067" y="637"/>
                  <a:pt x="1067" y="636"/>
                  <a:pt x="1067" y="636"/>
                </a:cubicBezTo>
                <a:cubicBezTo>
                  <a:pt x="1067" y="636"/>
                  <a:pt x="1067" y="635"/>
                  <a:pt x="1067" y="634"/>
                </a:cubicBezTo>
                <a:cubicBezTo>
                  <a:pt x="1067" y="634"/>
                  <a:pt x="1067" y="633"/>
                  <a:pt x="1067" y="633"/>
                </a:cubicBezTo>
                <a:cubicBezTo>
                  <a:pt x="1068" y="632"/>
                  <a:pt x="1068" y="631"/>
                  <a:pt x="1069" y="628"/>
                </a:cubicBezTo>
                <a:cubicBezTo>
                  <a:pt x="1070" y="626"/>
                  <a:pt x="1071" y="623"/>
                  <a:pt x="1071" y="619"/>
                </a:cubicBezTo>
                <a:cubicBezTo>
                  <a:pt x="1072" y="616"/>
                  <a:pt x="1073" y="613"/>
                  <a:pt x="1074" y="610"/>
                </a:cubicBezTo>
                <a:cubicBezTo>
                  <a:pt x="1074" y="607"/>
                  <a:pt x="1074" y="606"/>
                  <a:pt x="1074" y="605"/>
                </a:cubicBezTo>
                <a:cubicBezTo>
                  <a:pt x="1074" y="605"/>
                  <a:pt x="1075" y="602"/>
                  <a:pt x="1076" y="596"/>
                </a:cubicBezTo>
                <a:cubicBezTo>
                  <a:pt x="1077" y="590"/>
                  <a:pt x="1079" y="583"/>
                  <a:pt x="1081" y="575"/>
                </a:cubicBezTo>
                <a:cubicBezTo>
                  <a:pt x="1082" y="567"/>
                  <a:pt x="1084" y="560"/>
                  <a:pt x="1085" y="554"/>
                </a:cubicBezTo>
                <a:cubicBezTo>
                  <a:pt x="1086" y="549"/>
                  <a:pt x="1086" y="545"/>
                  <a:pt x="1086" y="544"/>
                </a:cubicBezTo>
                <a:cubicBezTo>
                  <a:pt x="1086" y="543"/>
                  <a:pt x="1086" y="543"/>
                  <a:pt x="1086" y="543"/>
                </a:cubicBezTo>
                <a:lnTo>
                  <a:pt x="1086" y="542"/>
                </a:lnTo>
                <a:cubicBezTo>
                  <a:pt x="1088" y="542"/>
                  <a:pt x="1089" y="542"/>
                  <a:pt x="1089" y="541"/>
                </a:cubicBezTo>
                <a:lnTo>
                  <a:pt x="1087" y="539"/>
                </a:lnTo>
                <a:cubicBezTo>
                  <a:pt x="1087" y="537"/>
                  <a:pt x="1088" y="536"/>
                  <a:pt x="1089" y="534"/>
                </a:cubicBezTo>
                <a:cubicBezTo>
                  <a:pt x="1091" y="532"/>
                  <a:pt x="1091" y="530"/>
                  <a:pt x="1091" y="529"/>
                </a:cubicBezTo>
                <a:lnTo>
                  <a:pt x="1091" y="529"/>
                </a:lnTo>
                <a:cubicBezTo>
                  <a:pt x="1091" y="524"/>
                  <a:pt x="1095" y="510"/>
                  <a:pt x="1103" y="487"/>
                </a:cubicBezTo>
                <a:cubicBezTo>
                  <a:pt x="1112" y="458"/>
                  <a:pt x="1118" y="443"/>
                  <a:pt x="1121" y="443"/>
                </a:cubicBezTo>
                <a:cubicBezTo>
                  <a:pt x="1122" y="443"/>
                  <a:pt x="1123" y="444"/>
                  <a:pt x="1125" y="445"/>
                </a:cubicBezTo>
                <a:cubicBezTo>
                  <a:pt x="1130" y="447"/>
                  <a:pt x="1133" y="448"/>
                  <a:pt x="1133" y="448"/>
                </a:cubicBezTo>
                <a:cubicBezTo>
                  <a:pt x="1136" y="448"/>
                  <a:pt x="1137" y="449"/>
                  <a:pt x="1138" y="451"/>
                </a:cubicBezTo>
                <a:cubicBezTo>
                  <a:pt x="1138" y="458"/>
                  <a:pt x="1135" y="471"/>
                  <a:pt x="1129" y="490"/>
                </a:cubicBezTo>
                <a:cubicBezTo>
                  <a:pt x="1126" y="498"/>
                  <a:pt x="1123" y="508"/>
                  <a:pt x="1120" y="519"/>
                </a:cubicBezTo>
                <a:cubicBezTo>
                  <a:pt x="1103" y="576"/>
                  <a:pt x="1094" y="606"/>
                  <a:pt x="1093" y="611"/>
                </a:cubicBezTo>
                <a:cubicBezTo>
                  <a:pt x="1091" y="615"/>
                  <a:pt x="1090" y="620"/>
                  <a:pt x="1089" y="626"/>
                </a:cubicBezTo>
                <a:cubicBezTo>
                  <a:pt x="1089" y="630"/>
                  <a:pt x="1088" y="632"/>
                  <a:pt x="1088" y="632"/>
                </a:cubicBezTo>
                <a:cubicBezTo>
                  <a:pt x="1087" y="632"/>
                  <a:pt x="1086" y="633"/>
                  <a:pt x="1085" y="636"/>
                </a:cubicBezTo>
                <a:cubicBezTo>
                  <a:pt x="1084" y="639"/>
                  <a:pt x="1083" y="643"/>
                  <a:pt x="1082" y="648"/>
                </a:cubicBezTo>
                <a:cubicBezTo>
                  <a:pt x="1080" y="659"/>
                  <a:pt x="1078" y="664"/>
                  <a:pt x="1077" y="665"/>
                </a:cubicBezTo>
                <a:cubicBezTo>
                  <a:pt x="1077" y="666"/>
                  <a:pt x="1076" y="666"/>
                  <a:pt x="1076" y="668"/>
                </a:cubicBezTo>
                <a:lnTo>
                  <a:pt x="1077" y="676"/>
                </a:lnTo>
                <a:cubicBezTo>
                  <a:pt x="1077" y="679"/>
                  <a:pt x="1076" y="681"/>
                  <a:pt x="1075" y="681"/>
                </a:cubicBezTo>
                <a:lnTo>
                  <a:pt x="1074" y="681"/>
                </a:lnTo>
                <a:cubicBezTo>
                  <a:pt x="1074" y="681"/>
                  <a:pt x="1073" y="681"/>
                  <a:pt x="1073" y="681"/>
                </a:cubicBezTo>
                <a:cubicBezTo>
                  <a:pt x="1074" y="682"/>
                  <a:pt x="1075" y="683"/>
                  <a:pt x="1075" y="685"/>
                </a:cubicBezTo>
                <a:cubicBezTo>
                  <a:pt x="1075" y="686"/>
                  <a:pt x="1074" y="686"/>
                  <a:pt x="1074" y="686"/>
                </a:cubicBezTo>
                <a:cubicBezTo>
                  <a:pt x="1073" y="686"/>
                  <a:pt x="1072" y="687"/>
                  <a:pt x="1072" y="688"/>
                </a:cubicBezTo>
                <a:lnTo>
                  <a:pt x="1072" y="688"/>
                </a:lnTo>
                <a:cubicBezTo>
                  <a:pt x="1073" y="690"/>
                  <a:pt x="1073" y="691"/>
                  <a:pt x="1073" y="692"/>
                </a:cubicBezTo>
                <a:cubicBezTo>
                  <a:pt x="1073" y="694"/>
                  <a:pt x="1073" y="695"/>
                  <a:pt x="1072" y="695"/>
                </a:cubicBezTo>
                <a:lnTo>
                  <a:pt x="1069" y="694"/>
                </a:lnTo>
                <a:cubicBezTo>
                  <a:pt x="1069" y="694"/>
                  <a:pt x="1069" y="694"/>
                  <a:pt x="1069" y="694"/>
                </a:cubicBezTo>
                <a:cubicBezTo>
                  <a:pt x="1069" y="694"/>
                  <a:pt x="1070" y="695"/>
                  <a:pt x="1070" y="696"/>
                </a:cubicBezTo>
                <a:cubicBezTo>
                  <a:pt x="1071" y="698"/>
                  <a:pt x="1071" y="698"/>
                  <a:pt x="1071" y="699"/>
                </a:cubicBezTo>
                <a:lnTo>
                  <a:pt x="1071" y="700"/>
                </a:lnTo>
                <a:lnTo>
                  <a:pt x="1071" y="700"/>
                </a:lnTo>
                <a:cubicBezTo>
                  <a:pt x="1071" y="700"/>
                  <a:pt x="1070" y="699"/>
                  <a:pt x="1069" y="699"/>
                </a:cubicBezTo>
                <a:cubicBezTo>
                  <a:pt x="1067" y="698"/>
                  <a:pt x="1067" y="698"/>
                  <a:pt x="1066" y="698"/>
                </a:cubicBezTo>
                <a:lnTo>
                  <a:pt x="1066" y="699"/>
                </a:lnTo>
                <a:lnTo>
                  <a:pt x="1067" y="699"/>
                </a:lnTo>
                <a:cubicBezTo>
                  <a:pt x="1067" y="700"/>
                  <a:pt x="1067" y="700"/>
                  <a:pt x="1067" y="701"/>
                </a:cubicBezTo>
                <a:cubicBezTo>
                  <a:pt x="1067" y="701"/>
                  <a:pt x="1067" y="702"/>
                  <a:pt x="1067" y="703"/>
                </a:cubicBezTo>
                <a:cubicBezTo>
                  <a:pt x="1067" y="704"/>
                  <a:pt x="1067" y="705"/>
                  <a:pt x="1067" y="706"/>
                </a:cubicBezTo>
                <a:cubicBezTo>
                  <a:pt x="1067" y="707"/>
                  <a:pt x="1067" y="709"/>
                  <a:pt x="1067" y="711"/>
                </a:cubicBezTo>
                <a:cubicBezTo>
                  <a:pt x="1067" y="718"/>
                  <a:pt x="1067" y="722"/>
                  <a:pt x="1068" y="722"/>
                </a:cubicBezTo>
                <a:lnTo>
                  <a:pt x="1069" y="721"/>
                </a:lnTo>
                <a:cubicBezTo>
                  <a:pt x="1069" y="721"/>
                  <a:pt x="1069" y="720"/>
                  <a:pt x="1071" y="718"/>
                </a:cubicBezTo>
                <a:cubicBezTo>
                  <a:pt x="1072" y="716"/>
                  <a:pt x="1073" y="713"/>
                  <a:pt x="1074" y="710"/>
                </a:cubicBezTo>
                <a:cubicBezTo>
                  <a:pt x="1076" y="707"/>
                  <a:pt x="1077" y="705"/>
                  <a:pt x="1079" y="703"/>
                </a:cubicBezTo>
                <a:cubicBezTo>
                  <a:pt x="1080" y="701"/>
                  <a:pt x="1081" y="700"/>
                  <a:pt x="1082" y="700"/>
                </a:cubicBezTo>
                <a:cubicBezTo>
                  <a:pt x="1083" y="700"/>
                  <a:pt x="1084" y="700"/>
                  <a:pt x="1085" y="698"/>
                </a:cubicBezTo>
                <a:cubicBezTo>
                  <a:pt x="1087" y="697"/>
                  <a:pt x="1088" y="696"/>
                  <a:pt x="1089" y="693"/>
                </a:cubicBezTo>
                <a:cubicBezTo>
                  <a:pt x="1090" y="691"/>
                  <a:pt x="1091" y="690"/>
                  <a:pt x="1091" y="689"/>
                </a:cubicBezTo>
                <a:cubicBezTo>
                  <a:pt x="1091" y="689"/>
                  <a:pt x="1091" y="688"/>
                  <a:pt x="1090" y="688"/>
                </a:cubicBezTo>
                <a:cubicBezTo>
                  <a:pt x="1089" y="688"/>
                  <a:pt x="1088" y="690"/>
                  <a:pt x="1087" y="693"/>
                </a:cubicBezTo>
                <a:cubicBezTo>
                  <a:pt x="1086" y="696"/>
                  <a:pt x="1084" y="698"/>
                  <a:pt x="1083" y="698"/>
                </a:cubicBezTo>
                <a:cubicBezTo>
                  <a:pt x="1082" y="698"/>
                  <a:pt x="1082" y="697"/>
                  <a:pt x="1082" y="696"/>
                </a:cubicBezTo>
                <a:cubicBezTo>
                  <a:pt x="1082" y="694"/>
                  <a:pt x="1084" y="690"/>
                  <a:pt x="1089" y="685"/>
                </a:cubicBezTo>
                <a:cubicBezTo>
                  <a:pt x="1090" y="683"/>
                  <a:pt x="1090" y="682"/>
                  <a:pt x="1090" y="681"/>
                </a:cubicBezTo>
                <a:cubicBezTo>
                  <a:pt x="1090" y="680"/>
                  <a:pt x="1090" y="679"/>
                  <a:pt x="1089" y="679"/>
                </a:cubicBezTo>
                <a:lnTo>
                  <a:pt x="1089" y="677"/>
                </a:lnTo>
                <a:lnTo>
                  <a:pt x="1092" y="679"/>
                </a:lnTo>
                <a:cubicBezTo>
                  <a:pt x="1094" y="680"/>
                  <a:pt x="1095" y="681"/>
                  <a:pt x="1095" y="681"/>
                </a:cubicBezTo>
                <a:cubicBezTo>
                  <a:pt x="1096" y="681"/>
                  <a:pt x="1097" y="680"/>
                  <a:pt x="1098" y="679"/>
                </a:cubicBezTo>
                <a:lnTo>
                  <a:pt x="1099" y="676"/>
                </a:lnTo>
                <a:cubicBezTo>
                  <a:pt x="1098" y="676"/>
                  <a:pt x="1097" y="676"/>
                  <a:pt x="1096" y="676"/>
                </a:cubicBezTo>
                <a:cubicBezTo>
                  <a:pt x="1094" y="676"/>
                  <a:pt x="1093" y="676"/>
                  <a:pt x="1093" y="676"/>
                </a:cubicBezTo>
                <a:lnTo>
                  <a:pt x="1093" y="674"/>
                </a:lnTo>
                <a:cubicBezTo>
                  <a:pt x="1093" y="674"/>
                  <a:pt x="1093" y="673"/>
                  <a:pt x="1095" y="672"/>
                </a:cubicBezTo>
                <a:cubicBezTo>
                  <a:pt x="1096" y="671"/>
                  <a:pt x="1097" y="671"/>
                  <a:pt x="1097" y="670"/>
                </a:cubicBezTo>
                <a:lnTo>
                  <a:pt x="1097" y="669"/>
                </a:lnTo>
                <a:cubicBezTo>
                  <a:pt x="1097" y="669"/>
                  <a:pt x="1096" y="667"/>
                  <a:pt x="1095" y="666"/>
                </a:cubicBezTo>
                <a:lnTo>
                  <a:pt x="1095" y="666"/>
                </a:lnTo>
                <a:cubicBezTo>
                  <a:pt x="1096" y="666"/>
                  <a:pt x="1097" y="666"/>
                  <a:pt x="1098" y="667"/>
                </a:cubicBezTo>
                <a:cubicBezTo>
                  <a:pt x="1099" y="668"/>
                  <a:pt x="1101" y="669"/>
                  <a:pt x="1101" y="669"/>
                </a:cubicBezTo>
                <a:cubicBezTo>
                  <a:pt x="1103" y="669"/>
                  <a:pt x="1104" y="668"/>
                  <a:pt x="1104" y="665"/>
                </a:cubicBezTo>
                <a:lnTo>
                  <a:pt x="1104" y="661"/>
                </a:lnTo>
                <a:lnTo>
                  <a:pt x="1103" y="660"/>
                </a:lnTo>
                <a:cubicBezTo>
                  <a:pt x="1103" y="659"/>
                  <a:pt x="1104" y="659"/>
                  <a:pt x="1104" y="658"/>
                </a:cubicBezTo>
                <a:cubicBezTo>
                  <a:pt x="1104" y="658"/>
                  <a:pt x="1105" y="658"/>
                  <a:pt x="1106" y="658"/>
                </a:cubicBezTo>
                <a:cubicBezTo>
                  <a:pt x="1106" y="658"/>
                  <a:pt x="1107" y="657"/>
                  <a:pt x="1108" y="657"/>
                </a:cubicBezTo>
                <a:cubicBezTo>
                  <a:pt x="1110" y="655"/>
                  <a:pt x="1111" y="653"/>
                  <a:pt x="1111" y="652"/>
                </a:cubicBezTo>
                <a:lnTo>
                  <a:pt x="1109" y="653"/>
                </a:lnTo>
                <a:cubicBezTo>
                  <a:pt x="1109" y="652"/>
                  <a:pt x="1110" y="650"/>
                  <a:pt x="1112" y="646"/>
                </a:cubicBezTo>
                <a:cubicBezTo>
                  <a:pt x="1119" y="634"/>
                  <a:pt x="1127" y="622"/>
                  <a:pt x="1136" y="611"/>
                </a:cubicBezTo>
                <a:cubicBezTo>
                  <a:pt x="1139" y="606"/>
                  <a:pt x="1141" y="603"/>
                  <a:pt x="1142" y="603"/>
                </a:cubicBezTo>
                <a:lnTo>
                  <a:pt x="1142" y="605"/>
                </a:lnTo>
                <a:cubicBezTo>
                  <a:pt x="1143" y="605"/>
                  <a:pt x="1144" y="603"/>
                  <a:pt x="1146" y="601"/>
                </a:cubicBezTo>
                <a:cubicBezTo>
                  <a:pt x="1148" y="599"/>
                  <a:pt x="1149" y="597"/>
                  <a:pt x="1149" y="595"/>
                </a:cubicBezTo>
                <a:lnTo>
                  <a:pt x="1149" y="593"/>
                </a:lnTo>
                <a:cubicBezTo>
                  <a:pt x="1149" y="591"/>
                  <a:pt x="1151" y="588"/>
                  <a:pt x="1154" y="581"/>
                </a:cubicBezTo>
                <a:cubicBezTo>
                  <a:pt x="1163" y="567"/>
                  <a:pt x="1171" y="554"/>
                  <a:pt x="1181" y="544"/>
                </a:cubicBezTo>
                <a:cubicBezTo>
                  <a:pt x="1187" y="536"/>
                  <a:pt x="1193" y="532"/>
                  <a:pt x="1199" y="532"/>
                </a:cubicBezTo>
                <a:cubicBezTo>
                  <a:pt x="1202" y="532"/>
                  <a:pt x="1205" y="533"/>
                  <a:pt x="1207" y="535"/>
                </a:cubicBezTo>
                <a:lnTo>
                  <a:pt x="1210" y="537"/>
                </a:lnTo>
                <a:lnTo>
                  <a:pt x="1210" y="537"/>
                </a:lnTo>
                <a:lnTo>
                  <a:pt x="1209" y="535"/>
                </a:lnTo>
                <a:lnTo>
                  <a:pt x="1209" y="535"/>
                </a:lnTo>
                <a:cubicBezTo>
                  <a:pt x="1210" y="535"/>
                  <a:pt x="1211" y="536"/>
                  <a:pt x="1213" y="537"/>
                </a:cubicBezTo>
                <a:cubicBezTo>
                  <a:pt x="1216" y="538"/>
                  <a:pt x="1218" y="539"/>
                  <a:pt x="1221" y="541"/>
                </a:cubicBezTo>
                <a:cubicBezTo>
                  <a:pt x="1224" y="542"/>
                  <a:pt x="1226" y="544"/>
                  <a:pt x="1227" y="545"/>
                </a:cubicBezTo>
                <a:cubicBezTo>
                  <a:pt x="1230" y="549"/>
                  <a:pt x="1234" y="560"/>
                  <a:pt x="1240" y="577"/>
                </a:cubicBezTo>
                <a:cubicBezTo>
                  <a:pt x="1245" y="594"/>
                  <a:pt x="1249" y="606"/>
                  <a:pt x="1252" y="612"/>
                </a:cubicBezTo>
                <a:cubicBezTo>
                  <a:pt x="1255" y="617"/>
                  <a:pt x="1258" y="620"/>
                  <a:pt x="1262" y="620"/>
                </a:cubicBezTo>
                <a:cubicBezTo>
                  <a:pt x="1266" y="620"/>
                  <a:pt x="1272" y="618"/>
                  <a:pt x="1280" y="614"/>
                </a:cubicBezTo>
                <a:cubicBezTo>
                  <a:pt x="1286" y="610"/>
                  <a:pt x="1292" y="607"/>
                  <a:pt x="1298" y="602"/>
                </a:cubicBezTo>
                <a:cubicBezTo>
                  <a:pt x="1301" y="600"/>
                  <a:pt x="1305" y="596"/>
                  <a:pt x="1311" y="593"/>
                </a:cubicBezTo>
                <a:cubicBezTo>
                  <a:pt x="1324" y="583"/>
                  <a:pt x="1332" y="578"/>
                  <a:pt x="1334" y="578"/>
                </a:cubicBezTo>
                <a:cubicBezTo>
                  <a:pt x="1338" y="578"/>
                  <a:pt x="1340" y="581"/>
                  <a:pt x="1340" y="586"/>
                </a:cubicBezTo>
                <a:cubicBezTo>
                  <a:pt x="1340" y="597"/>
                  <a:pt x="1336" y="606"/>
                  <a:pt x="1329" y="615"/>
                </a:cubicBezTo>
                <a:cubicBezTo>
                  <a:pt x="1314" y="633"/>
                  <a:pt x="1297" y="642"/>
                  <a:pt x="1278" y="642"/>
                </a:cubicBezTo>
                <a:cubicBezTo>
                  <a:pt x="1269" y="642"/>
                  <a:pt x="1260" y="640"/>
                  <a:pt x="1252" y="636"/>
                </a:cubicBezTo>
                <a:cubicBezTo>
                  <a:pt x="1235" y="630"/>
                  <a:pt x="1223" y="612"/>
                  <a:pt x="1215" y="582"/>
                </a:cubicBezTo>
                <a:cubicBezTo>
                  <a:pt x="1212" y="571"/>
                  <a:pt x="1209" y="565"/>
                  <a:pt x="1206" y="565"/>
                </a:cubicBezTo>
                <a:cubicBezTo>
                  <a:pt x="1203" y="565"/>
                  <a:pt x="1198" y="572"/>
                  <a:pt x="1190" y="584"/>
                </a:cubicBezTo>
                <a:cubicBezTo>
                  <a:pt x="1185" y="592"/>
                  <a:pt x="1179" y="600"/>
                  <a:pt x="1172" y="611"/>
                </a:cubicBezTo>
                <a:cubicBezTo>
                  <a:pt x="1165" y="621"/>
                  <a:pt x="1159" y="631"/>
                  <a:pt x="1154" y="639"/>
                </a:cubicBezTo>
                <a:cubicBezTo>
                  <a:pt x="1142" y="659"/>
                  <a:pt x="1135" y="669"/>
                  <a:pt x="1133" y="671"/>
                </a:cubicBezTo>
                <a:cubicBezTo>
                  <a:pt x="1130" y="672"/>
                  <a:pt x="1129" y="673"/>
                  <a:pt x="1129" y="674"/>
                </a:cubicBezTo>
                <a:cubicBezTo>
                  <a:pt x="1129" y="674"/>
                  <a:pt x="1129" y="674"/>
                  <a:pt x="1129" y="674"/>
                </a:cubicBezTo>
                <a:cubicBezTo>
                  <a:pt x="1130" y="674"/>
                  <a:pt x="1130" y="674"/>
                  <a:pt x="1130" y="674"/>
                </a:cubicBezTo>
                <a:lnTo>
                  <a:pt x="1133" y="673"/>
                </a:lnTo>
                <a:lnTo>
                  <a:pt x="1131" y="678"/>
                </a:lnTo>
                <a:lnTo>
                  <a:pt x="1124" y="692"/>
                </a:lnTo>
                <a:cubicBezTo>
                  <a:pt x="1123" y="695"/>
                  <a:pt x="1121" y="698"/>
                  <a:pt x="1119" y="700"/>
                </a:cubicBezTo>
                <a:cubicBezTo>
                  <a:pt x="1118" y="702"/>
                  <a:pt x="1116" y="703"/>
                  <a:pt x="1116" y="703"/>
                </a:cubicBezTo>
                <a:lnTo>
                  <a:pt x="1114" y="702"/>
                </a:lnTo>
                <a:cubicBezTo>
                  <a:pt x="1114" y="703"/>
                  <a:pt x="1115" y="703"/>
                  <a:pt x="1115" y="703"/>
                </a:cubicBezTo>
                <a:cubicBezTo>
                  <a:pt x="1116" y="704"/>
                  <a:pt x="1116" y="705"/>
                  <a:pt x="1116" y="705"/>
                </a:cubicBezTo>
                <a:cubicBezTo>
                  <a:pt x="1116" y="707"/>
                  <a:pt x="1116" y="710"/>
                  <a:pt x="1115" y="712"/>
                </a:cubicBezTo>
                <a:cubicBezTo>
                  <a:pt x="1114" y="714"/>
                  <a:pt x="1113" y="715"/>
                  <a:pt x="1111" y="715"/>
                </a:cubicBezTo>
                <a:lnTo>
                  <a:pt x="1109" y="714"/>
                </a:lnTo>
                <a:lnTo>
                  <a:pt x="1110" y="717"/>
                </a:lnTo>
                <a:cubicBezTo>
                  <a:pt x="1110" y="722"/>
                  <a:pt x="1103" y="739"/>
                  <a:pt x="1089" y="766"/>
                </a:cubicBezTo>
                <a:cubicBezTo>
                  <a:pt x="1074" y="794"/>
                  <a:pt x="1065" y="808"/>
                  <a:pt x="1062" y="808"/>
                </a:cubicBezTo>
                <a:cubicBezTo>
                  <a:pt x="1059" y="808"/>
                  <a:pt x="1057" y="809"/>
                  <a:pt x="1056" y="810"/>
                </a:cubicBezTo>
                <a:cubicBezTo>
                  <a:pt x="1056" y="812"/>
                  <a:pt x="1055" y="812"/>
                  <a:pt x="1054" y="812"/>
                </a:cubicBezTo>
                <a:close/>
                <a:moveTo>
                  <a:pt x="1064" y="688"/>
                </a:moveTo>
                <a:cubicBezTo>
                  <a:pt x="1064" y="688"/>
                  <a:pt x="1065" y="688"/>
                  <a:pt x="1066" y="687"/>
                </a:cubicBezTo>
                <a:cubicBezTo>
                  <a:pt x="1066" y="686"/>
                  <a:pt x="1067" y="685"/>
                  <a:pt x="1067" y="684"/>
                </a:cubicBezTo>
                <a:lnTo>
                  <a:pt x="1066" y="683"/>
                </a:lnTo>
                <a:cubicBezTo>
                  <a:pt x="1065" y="683"/>
                  <a:pt x="1064" y="683"/>
                  <a:pt x="1064" y="686"/>
                </a:cubicBezTo>
                <a:lnTo>
                  <a:pt x="1064" y="688"/>
                </a:lnTo>
                <a:close/>
                <a:moveTo>
                  <a:pt x="1052" y="810"/>
                </a:moveTo>
                <a:cubicBezTo>
                  <a:pt x="1052" y="810"/>
                  <a:pt x="1053" y="809"/>
                  <a:pt x="1054" y="807"/>
                </a:cubicBezTo>
                <a:cubicBezTo>
                  <a:pt x="1055" y="806"/>
                  <a:pt x="1056" y="805"/>
                  <a:pt x="1056" y="804"/>
                </a:cubicBezTo>
                <a:lnTo>
                  <a:pt x="1055" y="804"/>
                </a:lnTo>
                <a:cubicBezTo>
                  <a:pt x="1055" y="804"/>
                  <a:pt x="1054" y="804"/>
                  <a:pt x="1052" y="805"/>
                </a:cubicBezTo>
                <a:cubicBezTo>
                  <a:pt x="1051" y="806"/>
                  <a:pt x="1050" y="806"/>
                  <a:pt x="1050" y="808"/>
                </a:cubicBezTo>
                <a:cubicBezTo>
                  <a:pt x="1050" y="809"/>
                  <a:pt x="1051" y="810"/>
                  <a:pt x="1052" y="810"/>
                </a:cubicBezTo>
                <a:close/>
                <a:moveTo>
                  <a:pt x="1051" y="800"/>
                </a:moveTo>
                <a:cubicBezTo>
                  <a:pt x="1052" y="800"/>
                  <a:pt x="1053" y="800"/>
                  <a:pt x="1054" y="799"/>
                </a:cubicBezTo>
                <a:cubicBezTo>
                  <a:pt x="1055" y="797"/>
                  <a:pt x="1056" y="796"/>
                  <a:pt x="1056" y="796"/>
                </a:cubicBezTo>
                <a:cubicBezTo>
                  <a:pt x="1056" y="796"/>
                  <a:pt x="1056" y="796"/>
                  <a:pt x="1055" y="795"/>
                </a:cubicBezTo>
                <a:cubicBezTo>
                  <a:pt x="1055" y="795"/>
                  <a:pt x="1055" y="795"/>
                  <a:pt x="1054" y="794"/>
                </a:cubicBezTo>
                <a:cubicBezTo>
                  <a:pt x="1054" y="794"/>
                  <a:pt x="1054" y="794"/>
                  <a:pt x="1054" y="794"/>
                </a:cubicBezTo>
                <a:cubicBezTo>
                  <a:pt x="1053" y="794"/>
                  <a:pt x="1052" y="795"/>
                  <a:pt x="1051" y="796"/>
                </a:cubicBezTo>
                <a:cubicBezTo>
                  <a:pt x="1051" y="796"/>
                  <a:pt x="1050" y="797"/>
                  <a:pt x="1050" y="798"/>
                </a:cubicBezTo>
                <a:cubicBezTo>
                  <a:pt x="1050" y="800"/>
                  <a:pt x="1051" y="800"/>
                  <a:pt x="1051" y="800"/>
                </a:cubicBezTo>
                <a:close/>
                <a:moveTo>
                  <a:pt x="1060" y="802"/>
                </a:moveTo>
                <a:cubicBezTo>
                  <a:pt x="1061" y="802"/>
                  <a:pt x="1064" y="801"/>
                  <a:pt x="1067" y="797"/>
                </a:cubicBezTo>
                <a:cubicBezTo>
                  <a:pt x="1069" y="795"/>
                  <a:pt x="1069" y="794"/>
                  <a:pt x="1069" y="792"/>
                </a:cubicBezTo>
                <a:lnTo>
                  <a:pt x="1068" y="790"/>
                </a:lnTo>
                <a:lnTo>
                  <a:pt x="1069" y="790"/>
                </a:lnTo>
                <a:cubicBezTo>
                  <a:pt x="1070" y="790"/>
                  <a:pt x="1071" y="790"/>
                  <a:pt x="1072" y="788"/>
                </a:cubicBezTo>
                <a:cubicBezTo>
                  <a:pt x="1074" y="787"/>
                  <a:pt x="1075" y="785"/>
                  <a:pt x="1076" y="782"/>
                </a:cubicBezTo>
                <a:cubicBezTo>
                  <a:pt x="1078" y="779"/>
                  <a:pt x="1079" y="777"/>
                  <a:pt x="1079" y="777"/>
                </a:cubicBezTo>
                <a:lnTo>
                  <a:pt x="1077" y="777"/>
                </a:lnTo>
                <a:lnTo>
                  <a:pt x="1077" y="777"/>
                </a:lnTo>
                <a:cubicBezTo>
                  <a:pt x="1077" y="776"/>
                  <a:pt x="1078" y="775"/>
                  <a:pt x="1080" y="773"/>
                </a:cubicBezTo>
                <a:cubicBezTo>
                  <a:pt x="1082" y="771"/>
                  <a:pt x="1083" y="769"/>
                  <a:pt x="1083" y="767"/>
                </a:cubicBezTo>
                <a:lnTo>
                  <a:pt x="1082" y="767"/>
                </a:lnTo>
                <a:cubicBezTo>
                  <a:pt x="1082" y="766"/>
                  <a:pt x="1082" y="766"/>
                  <a:pt x="1082" y="765"/>
                </a:cubicBezTo>
                <a:cubicBezTo>
                  <a:pt x="1082" y="765"/>
                  <a:pt x="1082" y="765"/>
                  <a:pt x="1083" y="765"/>
                </a:cubicBezTo>
                <a:cubicBezTo>
                  <a:pt x="1084" y="765"/>
                  <a:pt x="1084" y="764"/>
                  <a:pt x="1084" y="763"/>
                </a:cubicBezTo>
                <a:cubicBezTo>
                  <a:pt x="1084" y="762"/>
                  <a:pt x="1085" y="760"/>
                  <a:pt x="1087" y="758"/>
                </a:cubicBezTo>
                <a:cubicBezTo>
                  <a:pt x="1090" y="756"/>
                  <a:pt x="1091" y="754"/>
                  <a:pt x="1091" y="752"/>
                </a:cubicBezTo>
                <a:cubicBezTo>
                  <a:pt x="1091" y="750"/>
                  <a:pt x="1091" y="750"/>
                  <a:pt x="1091" y="749"/>
                </a:cubicBezTo>
                <a:cubicBezTo>
                  <a:pt x="1091" y="747"/>
                  <a:pt x="1091" y="747"/>
                  <a:pt x="1091" y="747"/>
                </a:cubicBezTo>
                <a:lnTo>
                  <a:pt x="1093" y="747"/>
                </a:lnTo>
                <a:cubicBezTo>
                  <a:pt x="1095" y="747"/>
                  <a:pt x="1096" y="745"/>
                  <a:pt x="1096" y="742"/>
                </a:cubicBezTo>
                <a:cubicBezTo>
                  <a:pt x="1096" y="740"/>
                  <a:pt x="1096" y="738"/>
                  <a:pt x="1096" y="737"/>
                </a:cubicBezTo>
                <a:cubicBezTo>
                  <a:pt x="1095" y="737"/>
                  <a:pt x="1094" y="737"/>
                  <a:pt x="1094" y="737"/>
                </a:cubicBezTo>
                <a:cubicBezTo>
                  <a:pt x="1093" y="737"/>
                  <a:pt x="1093" y="737"/>
                  <a:pt x="1093" y="738"/>
                </a:cubicBezTo>
                <a:cubicBezTo>
                  <a:pt x="1093" y="739"/>
                  <a:pt x="1093" y="740"/>
                  <a:pt x="1094" y="740"/>
                </a:cubicBezTo>
                <a:cubicBezTo>
                  <a:pt x="1094" y="741"/>
                  <a:pt x="1094" y="742"/>
                  <a:pt x="1095" y="742"/>
                </a:cubicBezTo>
                <a:cubicBezTo>
                  <a:pt x="1095" y="742"/>
                  <a:pt x="1095" y="743"/>
                  <a:pt x="1094" y="743"/>
                </a:cubicBezTo>
                <a:lnTo>
                  <a:pt x="1091" y="742"/>
                </a:lnTo>
                <a:lnTo>
                  <a:pt x="1094" y="745"/>
                </a:lnTo>
                <a:lnTo>
                  <a:pt x="1094" y="746"/>
                </a:lnTo>
                <a:cubicBezTo>
                  <a:pt x="1094" y="746"/>
                  <a:pt x="1093" y="745"/>
                  <a:pt x="1092" y="745"/>
                </a:cubicBezTo>
                <a:cubicBezTo>
                  <a:pt x="1091" y="745"/>
                  <a:pt x="1091" y="744"/>
                  <a:pt x="1090" y="744"/>
                </a:cubicBezTo>
                <a:cubicBezTo>
                  <a:pt x="1089" y="744"/>
                  <a:pt x="1088" y="745"/>
                  <a:pt x="1088" y="746"/>
                </a:cubicBezTo>
                <a:cubicBezTo>
                  <a:pt x="1087" y="747"/>
                  <a:pt x="1085" y="748"/>
                  <a:pt x="1081" y="750"/>
                </a:cubicBezTo>
                <a:cubicBezTo>
                  <a:pt x="1076" y="751"/>
                  <a:pt x="1073" y="752"/>
                  <a:pt x="1073" y="753"/>
                </a:cubicBezTo>
                <a:cubicBezTo>
                  <a:pt x="1073" y="754"/>
                  <a:pt x="1074" y="754"/>
                  <a:pt x="1074" y="755"/>
                </a:cubicBezTo>
                <a:cubicBezTo>
                  <a:pt x="1074" y="756"/>
                  <a:pt x="1075" y="756"/>
                  <a:pt x="1076" y="756"/>
                </a:cubicBezTo>
                <a:cubicBezTo>
                  <a:pt x="1077" y="756"/>
                  <a:pt x="1078" y="755"/>
                  <a:pt x="1079" y="754"/>
                </a:cubicBezTo>
                <a:cubicBezTo>
                  <a:pt x="1080" y="752"/>
                  <a:pt x="1081" y="752"/>
                  <a:pt x="1082" y="752"/>
                </a:cubicBezTo>
                <a:cubicBezTo>
                  <a:pt x="1084" y="752"/>
                  <a:pt x="1084" y="752"/>
                  <a:pt x="1084" y="753"/>
                </a:cubicBezTo>
                <a:cubicBezTo>
                  <a:pt x="1084" y="755"/>
                  <a:pt x="1084" y="755"/>
                  <a:pt x="1083" y="756"/>
                </a:cubicBezTo>
                <a:cubicBezTo>
                  <a:pt x="1082" y="756"/>
                  <a:pt x="1081" y="757"/>
                  <a:pt x="1080" y="759"/>
                </a:cubicBezTo>
                <a:cubicBezTo>
                  <a:pt x="1078" y="762"/>
                  <a:pt x="1074" y="769"/>
                  <a:pt x="1068" y="782"/>
                </a:cubicBezTo>
                <a:lnTo>
                  <a:pt x="1062" y="792"/>
                </a:lnTo>
                <a:cubicBezTo>
                  <a:pt x="1060" y="796"/>
                  <a:pt x="1058" y="799"/>
                  <a:pt x="1058" y="801"/>
                </a:cubicBezTo>
                <a:cubicBezTo>
                  <a:pt x="1058" y="802"/>
                  <a:pt x="1059" y="802"/>
                  <a:pt x="1060" y="802"/>
                </a:cubicBezTo>
                <a:close/>
                <a:moveTo>
                  <a:pt x="1058" y="792"/>
                </a:moveTo>
                <a:cubicBezTo>
                  <a:pt x="1058" y="792"/>
                  <a:pt x="1059" y="791"/>
                  <a:pt x="1059" y="791"/>
                </a:cubicBezTo>
                <a:cubicBezTo>
                  <a:pt x="1059" y="790"/>
                  <a:pt x="1060" y="789"/>
                  <a:pt x="1061" y="789"/>
                </a:cubicBezTo>
                <a:cubicBezTo>
                  <a:pt x="1061" y="788"/>
                  <a:pt x="1062" y="787"/>
                  <a:pt x="1062" y="786"/>
                </a:cubicBezTo>
                <a:cubicBezTo>
                  <a:pt x="1062" y="785"/>
                  <a:pt x="1061" y="785"/>
                  <a:pt x="1060" y="785"/>
                </a:cubicBezTo>
                <a:cubicBezTo>
                  <a:pt x="1059" y="785"/>
                  <a:pt x="1058" y="786"/>
                  <a:pt x="1058" y="788"/>
                </a:cubicBezTo>
                <a:lnTo>
                  <a:pt x="1058" y="792"/>
                </a:lnTo>
                <a:close/>
                <a:moveTo>
                  <a:pt x="1061" y="780"/>
                </a:moveTo>
                <a:cubicBezTo>
                  <a:pt x="1062" y="780"/>
                  <a:pt x="1063" y="780"/>
                  <a:pt x="1065" y="779"/>
                </a:cubicBezTo>
                <a:cubicBezTo>
                  <a:pt x="1066" y="778"/>
                  <a:pt x="1067" y="777"/>
                  <a:pt x="1068" y="776"/>
                </a:cubicBezTo>
                <a:cubicBezTo>
                  <a:pt x="1069" y="774"/>
                  <a:pt x="1069" y="773"/>
                  <a:pt x="1069" y="772"/>
                </a:cubicBezTo>
                <a:cubicBezTo>
                  <a:pt x="1069" y="772"/>
                  <a:pt x="1068" y="771"/>
                  <a:pt x="1067" y="771"/>
                </a:cubicBezTo>
                <a:cubicBezTo>
                  <a:pt x="1067" y="771"/>
                  <a:pt x="1066" y="770"/>
                  <a:pt x="1066" y="768"/>
                </a:cubicBezTo>
                <a:lnTo>
                  <a:pt x="1067" y="767"/>
                </a:lnTo>
                <a:lnTo>
                  <a:pt x="1066" y="767"/>
                </a:lnTo>
                <a:lnTo>
                  <a:pt x="1064" y="767"/>
                </a:lnTo>
                <a:cubicBezTo>
                  <a:pt x="1061" y="768"/>
                  <a:pt x="1060" y="769"/>
                  <a:pt x="1059" y="769"/>
                </a:cubicBezTo>
                <a:cubicBezTo>
                  <a:pt x="1059" y="770"/>
                  <a:pt x="1060" y="771"/>
                  <a:pt x="1063" y="772"/>
                </a:cubicBezTo>
                <a:lnTo>
                  <a:pt x="1067" y="775"/>
                </a:lnTo>
                <a:cubicBezTo>
                  <a:pt x="1067" y="776"/>
                  <a:pt x="1066" y="777"/>
                  <a:pt x="1063" y="778"/>
                </a:cubicBezTo>
                <a:cubicBezTo>
                  <a:pt x="1061" y="779"/>
                  <a:pt x="1060" y="779"/>
                  <a:pt x="1060" y="779"/>
                </a:cubicBezTo>
                <a:cubicBezTo>
                  <a:pt x="1060" y="780"/>
                  <a:pt x="1061" y="780"/>
                  <a:pt x="1061" y="780"/>
                </a:cubicBezTo>
                <a:close/>
                <a:moveTo>
                  <a:pt x="1071" y="767"/>
                </a:moveTo>
                <a:cubicBezTo>
                  <a:pt x="1072" y="767"/>
                  <a:pt x="1073" y="766"/>
                  <a:pt x="1074" y="764"/>
                </a:cubicBezTo>
                <a:cubicBezTo>
                  <a:pt x="1075" y="762"/>
                  <a:pt x="1075" y="761"/>
                  <a:pt x="1075" y="760"/>
                </a:cubicBezTo>
                <a:cubicBezTo>
                  <a:pt x="1074" y="757"/>
                  <a:pt x="1072" y="755"/>
                  <a:pt x="1069" y="755"/>
                </a:cubicBezTo>
                <a:cubicBezTo>
                  <a:pt x="1067" y="755"/>
                  <a:pt x="1066" y="756"/>
                  <a:pt x="1066" y="758"/>
                </a:cubicBezTo>
                <a:lnTo>
                  <a:pt x="1066" y="759"/>
                </a:lnTo>
                <a:cubicBezTo>
                  <a:pt x="1067" y="764"/>
                  <a:pt x="1069" y="767"/>
                  <a:pt x="1071" y="767"/>
                </a:cubicBezTo>
                <a:close/>
                <a:moveTo>
                  <a:pt x="1112" y="693"/>
                </a:moveTo>
                <a:cubicBezTo>
                  <a:pt x="1113" y="693"/>
                  <a:pt x="1113" y="693"/>
                  <a:pt x="1114" y="693"/>
                </a:cubicBezTo>
                <a:cubicBezTo>
                  <a:pt x="1114" y="692"/>
                  <a:pt x="1114" y="692"/>
                  <a:pt x="1114" y="691"/>
                </a:cubicBezTo>
                <a:cubicBezTo>
                  <a:pt x="1113" y="689"/>
                  <a:pt x="1113" y="688"/>
                  <a:pt x="1112" y="688"/>
                </a:cubicBezTo>
                <a:lnTo>
                  <a:pt x="1112" y="689"/>
                </a:lnTo>
                <a:cubicBezTo>
                  <a:pt x="1111" y="690"/>
                  <a:pt x="1111" y="691"/>
                  <a:pt x="1111" y="691"/>
                </a:cubicBezTo>
                <a:cubicBezTo>
                  <a:pt x="1111" y="691"/>
                  <a:pt x="1111" y="692"/>
                  <a:pt x="1111" y="692"/>
                </a:cubicBezTo>
                <a:lnTo>
                  <a:pt x="1112" y="693"/>
                </a:lnTo>
                <a:close/>
                <a:moveTo>
                  <a:pt x="1124" y="686"/>
                </a:moveTo>
                <a:cubicBezTo>
                  <a:pt x="1125" y="686"/>
                  <a:pt x="1126" y="685"/>
                  <a:pt x="1127" y="683"/>
                </a:cubicBezTo>
                <a:lnTo>
                  <a:pt x="1129" y="679"/>
                </a:lnTo>
                <a:lnTo>
                  <a:pt x="1128" y="679"/>
                </a:lnTo>
                <a:lnTo>
                  <a:pt x="1126" y="682"/>
                </a:lnTo>
                <a:cubicBezTo>
                  <a:pt x="1124" y="684"/>
                  <a:pt x="1123" y="685"/>
                  <a:pt x="1123" y="686"/>
                </a:cubicBezTo>
                <a:lnTo>
                  <a:pt x="1124" y="686"/>
                </a:lnTo>
                <a:close/>
                <a:moveTo>
                  <a:pt x="1077" y="732"/>
                </a:moveTo>
                <a:cubicBezTo>
                  <a:pt x="1077" y="732"/>
                  <a:pt x="1079" y="732"/>
                  <a:pt x="1081" y="731"/>
                </a:cubicBezTo>
                <a:cubicBezTo>
                  <a:pt x="1082" y="730"/>
                  <a:pt x="1083" y="729"/>
                  <a:pt x="1083" y="728"/>
                </a:cubicBezTo>
                <a:lnTo>
                  <a:pt x="1083" y="725"/>
                </a:lnTo>
                <a:cubicBezTo>
                  <a:pt x="1083" y="724"/>
                  <a:pt x="1084" y="722"/>
                  <a:pt x="1085" y="721"/>
                </a:cubicBezTo>
                <a:cubicBezTo>
                  <a:pt x="1087" y="719"/>
                  <a:pt x="1091" y="713"/>
                  <a:pt x="1097" y="701"/>
                </a:cubicBezTo>
                <a:lnTo>
                  <a:pt x="1108" y="681"/>
                </a:lnTo>
                <a:lnTo>
                  <a:pt x="1115" y="665"/>
                </a:lnTo>
                <a:cubicBezTo>
                  <a:pt x="1119" y="656"/>
                  <a:pt x="1122" y="650"/>
                  <a:pt x="1124" y="646"/>
                </a:cubicBezTo>
                <a:cubicBezTo>
                  <a:pt x="1127" y="642"/>
                  <a:pt x="1128" y="639"/>
                  <a:pt x="1129" y="636"/>
                </a:cubicBezTo>
                <a:cubicBezTo>
                  <a:pt x="1130" y="632"/>
                  <a:pt x="1132" y="627"/>
                  <a:pt x="1136" y="620"/>
                </a:cubicBezTo>
                <a:cubicBezTo>
                  <a:pt x="1138" y="615"/>
                  <a:pt x="1140" y="612"/>
                  <a:pt x="1140" y="611"/>
                </a:cubicBezTo>
                <a:cubicBezTo>
                  <a:pt x="1140" y="611"/>
                  <a:pt x="1139" y="611"/>
                  <a:pt x="1139" y="611"/>
                </a:cubicBezTo>
                <a:lnTo>
                  <a:pt x="1124" y="639"/>
                </a:lnTo>
                <a:cubicBezTo>
                  <a:pt x="1093" y="698"/>
                  <a:pt x="1077" y="729"/>
                  <a:pt x="1077" y="732"/>
                </a:cubicBezTo>
                <a:close/>
                <a:moveTo>
                  <a:pt x="1068" y="751"/>
                </a:moveTo>
                <a:cubicBezTo>
                  <a:pt x="1069" y="751"/>
                  <a:pt x="1071" y="750"/>
                  <a:pt x="1074" y="749"/>
                </a:cubicBezTo>
                <a:cubicBezTo>
                  <a:pt x="1077" y="747"/>
                  <a:pt x="1079" y="747"/>
                  <a:pt x="1081" y="747"/>
                </a:cubicBezTo>
                <a:cubicBezTo>
                  <a:pt x="1083" y="747"/>
                  <a:pt x="1086" y="745"/>
                  <a:pt x="1089" y="741"/>
                </a:cubicBezTo>
                <a:cubicBezTo>
                  <a:pt x="1091" y="737"/>
                  <a:pt x="1094" y="735"/>
                  <a:pt x="1097" y="735"/>
                </a:cubicBezTo>
                <a:lnTo>
                  <a:pt x="1099" y="736"/>
                </a:lnTo>
                <a:cubicBezTo>
                  <a:pt x="1100" y="736"/>
                  <a:pt x="1100" y="735"/>
                  <a:pt x="1100" y="735"/>
                </a:cubicBezTo>
                <a:lnTo>
                  <a:pt x="1099" y="734"/>
                </a:lnTo>
                <a:cubicBezTo>
                  <a:pt x="1099" y="732"/>
                  <a:pt x="1100" y="730"/>
                  <a:pt x="1101" y="729"/>
                </a:cubicBezTo>
                <a:cubicBezTo>
                  <a:pt x="1101" y="728"/>
                  <a:pt x="1102" y="727"/>
                  <a:pt x="1103" y="727"/>
                </a:cubicBezTo>
                <a:lnTo>
                  <a:pt x="1104" y="728"/>
                </a:lnTo>
                <a:lnTo>
                  <a:pt x="1105" y="728"/>
                </a:lnTo>
                <a:cubicBezTo>
                  <a:pt x="1105" y="727"/>
                  <a:pt x="1105" y="727"/>
                  <a:pt x="1105" y="727"/>
                </a:cubicBezTo>
                <a:cubicBezTo>
                  <a:pt x="1104" y="727"/>
                  <a:pt x="1104" y="726"/>
                  <a:pt x="1104" y="725"/>
                </a:cubicBezTo>
                <a:cubicBezTo>
                  <a:pt x="1103" y="724"/>
                  <a:pt x="1102" y="724"/>
                  <a:pt x="1101" y="724"/>
                </a:cubicBezTo>
                <a:cubicBezTo>
                  <a:pt x="1101" y="724"/>
                  <a:pt x="1099" y="725"/>
                  <a:pt x="1098" y="728"/>
                </a:cubicBezTo>
                <a:cubicBezTo>
                  <a:pt x="1097" y="730"/>
                  <a:pt x="1096" y="732"/>
                  <a:pt x="1096" y="732"/>
                </a:cubicBezTo>
                <a:lnTo>
                  <a:pt x="1097" y="728"/>
                </a:lnTo>
                <a:cubicBezTo>
                  <a:pt x="1098" y="726"/>
                  <a:pt x="1098" y="725"/>
                  <a:pt x="1099" y="724"/>
                </a:cubicBezTo>
                <a:cubicBezTo>
                  <a:pt x="1100" y="723"/>
                  <a:pt x="1100" y="723"/>
                  <a:pt x="1101" y="723"/>
                </a:cubicBezTo>
                <a:lnTo>
                  <a:pt x="1102" y="723"/>
                </a:lnTo>
                <a:cubicBezTo>
                  <a:pt x="1103" y="723"/>
                  <a:pt x="1104" y="722"/>
                  <a:pt x="1104" y="720"/>
                </a:cubicBezTo>
                <a:cubicBezTo>
                  <a:pt x="1105" y="719"/>
                  <a:pt x="1106" y="717"/>
                  <a:pt x="1106" y="715"/>
                </a:cubicBezTo>
                <a:cubicBezTo>
                  <a:pt x="1106" y="714"/>
                  <a:pt x="1106" y="714"/>
                  <a:pt x="1105" y="714"/>
                </a:cubicBezTo>
                <a:cubicBezTo>
                  <a:pt x="1105" y="714"/>
                  <a:pt x="1105" y="713"/>
                  <a:pt x="1105" y="712"/>
                </a:cubicBezTo>
                <a:cubicBezTo>
                  <a:pt x="1105" y="711"/>
                  <a:pt x="1105" y="708"/>
                  <a:pt x="1106" y="705"/>
                </a:cubicBezTo>
                <a:cubicBezTo>
                  <a:pt x="1108" y="702"/>
                  <a:pt x="1108" y="700"/>
                  <a:pt x="1108" y="699"/>
                </a:cubicBezTo>
                <a:lnTo>
                  <a:pt x="1108" y="699"/>
                </a:lnTo>
                <a:lnTo>
                  <a:pt x="1106" y="703"/>
                </a:lnTo>
                <a:cubicBezTo>
                  <a:pt x="1105" y="705"/>
                  <a:pt x="1104" y="705"/>
                  <a:pt x="1103" y="706"/>
                </a:cubicBezTo>
                <a:cubicBezTo>
                  <a:pt x="1103" y="707"/>
                  <a:pt x="1101" y="708"/>
                  <a:pt x="1099" y="708"/>
                </a:cubicBezTo>
                <a:lnTo>
                  <a:pt x="1099" y="707"/>
                </a:lnTo>
                <a:lnTo>
                  <a:pt x="1100" y="710"/>
                </a:lnTo>
                <a:cubicBezTo>
                  <a:pt x="1100" y="713"/>
                  <a:pt x="1099" y="715"/>
                  <a:pt x="1096" y="719"/>
                </a:cubicBezTo>
                <a:cubicBezTo>
                  <a:pt x="1093" y="723"/>
                  <a:pt x="1091" y="726"/>
                  <a:pt x="1091" y="728"/>
                </a:cubicBezTo>
                <a:lnTo>
                  <a:pt x="1091" y="728"/>
                </a:lnTo>
                <a:cubicBezTo>
                  <a:pt x="1091" y="729"/>
                  <a:pt x="1091" y="729"/>
                  <a:pt x="1091" y="729"/>
                </a:cubicBezTo>
                <a:lnTo>
                  <a:pt x="1087" y="728"/>
                </a:lnTo>
                <a:cubicBezTo>
                  <a:pt x="1086" y="728"/>
                  <a:pt x="1086" y="728"/>
                  <a:pt x="1086" y="728"/>
                </a:cubicBezTo>
                <a:cubicBezTo>
                  <a:pt x="1086" y="729"/>
                  <a:pt x="1086" y="729"/>
                  <a:pt x="1087" y="730"/>
                </a:cubicBezTo>
                <a:cubicBezTo>
                  <a:pt x="1087" y="731"/>
                  <a:pt x="1087" y="732"/>
                  <a:pt x="1087" y="732"/>
                </a:cubicBezTo>
                <a:cubicBezTo>
                  <a:pt x="1087" y="734"/>
                  <a:pt x="1086" y="736"/>
                  <a:pt x="1084" y="737"/>
                </a:cubicBezTo>
                <a:cubicBezTo>
                  <a:pt x="1081" y="739"/>
                  <a:pt x="1080" y="740"/>
                  <a:pt x="1080" y="742"/>
                </a:cubicBezTo>
                <a:lnTo>
                  <a:pt x="1080" y="742"/>
                </a:lnTo>
                <a:cubicBezTo>
                  <a:pt x="1080" y="743"/>
                  <a:pt x="1079" y="744"/>
                  <a:pt x="1077" y="744"/>
                </a:cubicBezTo>
                <a:cubicBezTo>
                  <a:pt x="1076" y="744"/>
                  <a:pt x="1075" y="743"/>
                  <a:pt x="1075" y="743"/>
                </a:cubicBezTo>
                <a:cubicBezTo>
                  <a:pt x="1075" y="742"/>
                  <a:pt x="1076" y="742"/>
                  <a:pt x="1078" y="740"/>
                </a:cubicBezTo>
                <a:cubicBezTo>
                  <a:pt x="1080" y="739"/>
                  <a:pt x="1081" y="737"/>
                  <a:pt x="1082" y="736"/>
                </a:cubicBezTo>
                <a:cubicBezTo>
                  <a:pt x="1082" y="735"/>
                  <a:pt x="1083" y="734"/>
                  <a:pt x="1083" y="734"/>
                </a:cubicBezTo>
                <a:cubicBezTo>
                  <a:pt x="1083" y="733"/>
                  <a:pt x="1082" y="733"/>
                  <a:pt x="1082" y="733"/>
                </a:cubicBezTo>
                <a:cubicBezTo>
                  <a:pt x="1080" y="733"/>
                  <a:pt x="1079" y="734"/>
                  <a:pt x="1077" y="736"/>
                </a:cubicBezTo>
                <a:cubicBezTo>
                  <a:pt x="1073" y="738"/>
                  <a:pt x="1071" y="740"/>
                  <a:pt x="1071" y="742"/>
                </a:cubicBezTo>
                <a:lnTo>
                  <a:pt x="1072" y="745"/>
                </a:lnTo>
                <a:cubicBezTo>
                  <a:pt x="1072" y="746"/>
                  <a:pt x="1071" y="747"/>
                  <a:pt x="1069" y="747"/>
                </a:cubicBezTo>
                <a:cubicBezTo>
                  <a:pt x="1068" y="749"/>
                  <a:pt x="1067" y="750"/>
                  <a:pt x="1067" y="751"/>
                </a:cubicBezTo>
                <a:lnTo>
                  <a:pt x="1068" y="751"/>
                </a:lnTo>
                <a:close/>
                <a:moveTo>
                  <a:pt x="1061" y="705"/>
                </a:moveTo>
                <a:cubicBezTo>
                  <a:pt x="1062" y="705"/>
                  <a:pt x="1062" y="703"/>
                  <a:pt x="1063" y="701"/>
                </a:cubicBezTo>
                <a:lnTo>
                  <a:pt x="1063" y="700"/>
                </a:lnTo>
                <a:cubicBezTo>
                  <a:pt x="1063" y="699"/>
                  <a:pt x="1062" y="699"/>
                  <a:pt x="1062" y="699"/>
                </a:cubicBezTo>
                <a:cubicBezTo>
                  <a:pt x="1062" y="699"/>
                  <a:pt x="1061" y="699"/>
                  <a:pt x="1061" y="699"/>
                </a:cubicBezTo>
                <a:cubicBezTo>
                  <a:pt x="1061" y="700"/>
                  <a:pt x="1060" y="701"/>
                  <a:pt x="1060" y="702"/>
                </a:cubicBezTo>
                <a:cubicBezTo>
                  <a:pt x="1060" y="702"/>
                  <a:pt x="1060" y="703"/>
                  <a:pt x="1061" y="703"/>
                </a:cubicBezTo>
                <a:cubicBezTo>
                  <a:pt x="1061" y="704"/>
                  <a:pt x="1061" y="705"/>
                  <a:pt x="1061" y="705"/>
                </a:cubicBezTo>
                <a:close/>
                <a:moveTo>
                  <a:pt x="1051" y="751"/>
                </a:moveTo>
                <a:cubicBezTo>
                  <a:pt x="1052" y="751"/>
                  <a:pt x="1054" y="747"/>
                  <a:pt x="1056" y="739"/>
                </a:cubicBezTo>
                <a:lnTo>
                  <a:pt x="1058" y="732"/>
                </a:lnTo>
                <a:lnTo>
                  <a:pt x="1059" y="729"/>
                </a:lnTo>
                <a:lnTo>
                  <a:pt x="1060" y="730"/>
                </a:lnTo>
                <a:cubicBezTo>
                  <a:pt x="1061" y="730"/>
                  <a:pt x="1062" y="729"/>
                  <a:pt x="1063" y="728"/>
                </a:cubicBezTo>
                <a:cubicBezTo>
                  <a:pt x="1064" y="727"/>
                  <a:pt x="1065" y="726"/>
                  <a:pt x="1065" y="724"/>
                </a:cubicBezTo>
                <a:lnTo>
                  <a:pt x="1065" y="723"/>
                </a:lnTo>
                <a:cubicBezTo>
                  <a:pt x="1065" y="722"/>
                  <a:pt x="1064" y="722"/>
                  <a:pt x="1064" y="722"/>
                </a:cubicBezTo>
                <a:cubicBezTo>
                  <a:pt x="1064" y="722"/>
                  <a:pt x="1063" y="723"/>
                  <a:pt x="1062" y="724"/>
                </a:cubicBezTo>
                <a:cubicBezTo>
                  <a:pt x="1061" y="726"/>
                  <a:pt x="1061" y="727"/>
                  <a:pt x="1060" y="727"/>
                </a:cubicBezTo>
                <a:cubicBezTo>
                  <a:pt x="1059" y="727"/>
                  <a:pt x="1059" y="726"/>
                  <a:pt x="1059" y="725"/>
                </a:cubicBezTo>
                <a:cubicBezTo>
                  <a:pt x="1059" y="723"/>
                  <a:pt x="1060" y="721"/>
                  <a:pt x="1061" y="718"/>
                </a:cubicBezTo>
                <a:lnTo>
                  <a:pt x="1061" y="714"/>
                </a:lnTo>
                <a:cubicBezTo>
                  <a:pt x="1061" y="710"/>
                  <a:pt x="1061" y="708"/>
                  <a:pt x="1060" y="706"/>
                </a:cubicBezTo>
                <a:cubicBezTo>
                  <a:pt x="1059" y="704"/>
                  <a:pt x="1059" y="702"/>
                  <a:pt x="1059" y="700"/>
                </a:cubicBezTo>
                <a:cubicBezTo>
                  <a:pt x="1059" y="695"/>
                  <a:pt x="1060" y="693"/>
                  <a:pt x="1061" y="693"/>
                </a:cubicBezTo>
                <a:cubicBezTo>
                  <a:pt x="1062" y="693"/>
                  <a:pt x="1062" y="693"/>
                  <a:pt x="1063" y="694"/>
                </a:cubicBezTo>
                <a:lnTo>
                  <a:pt x="1065" y="696"/>
                </a:lnTo>
                <a:lnTo>
                  <a:pt x="1065" y="695"/>
                </a:lnTo>
                <a:cubicBezTo>
                  <a:pt x="1065" y="693"/>
                  <a:pt x="1062" y="691"/>
                  <a:pt x="1058" y="690"/>
                </a:cubicBezTo>
                <a:lnTo>
                  <a:pt x="1056" y="690"/>
                </a:lnTo>
                <a:lnTo>
                  <a:pt x="1056" y="692"/>
                </a:lnTo>
                <a:cubicBezTo>
                  <a:pt x="1056" y="693"/>
                  <a:pt x="1056" y="694"/>
                  <a:pt x="1055" y="695"/>
                </a:cubicBezTo>
                <a:cubicBezTo>
                  <a:pt x="1054" y="696"/>
                  <a:pt x="1054" y="697"/>
                  <a:pt x="1054" y="698"/>
                </a:cubicBezTo>
                <a:cubicBezTo>
                  <a:pt x="1054" y="699"/>
                  <a:pt x="1054" y="700"/>
                  <a:pt x="1055" y="701"/>
                </a:cubicBezTo>
                <a:cubicBezTo>
                  <a:pt x="1055" y="702"/>
                  <a:pt x="1056" y="703"/>
                  <a:pt x="1056" y="703"/>
                </a:cubicBezTo>
                <a:cubicBezTo>
                  <a:pt x="1056" y="704"/>
                  <a:pt x="1055" y="705"/>
                  <a:pt x="1055" y="705"/>
                </a:cubicBezTo>
                <a:cubicBezTo>
                  <a:pt x="1053" y="705"/>
                  <a:pt x="1052" y="707"/>
                  <a:pt x="1052" y="713"/>
                </a:cubicBezTo>
                <a:cubicBezTo>
                  <a:pt x="1052" y="718"/>
                  <a:pt x="1052" y="722"/>
                  <a:pt x="1054" y="723"/>
                </a:cubicBezTo>
                <a:lnTo>
                  <a:pt x="1056" y="725"/>
                </a:lnTo>
                <a:lnTo>
                  <a:pt x="1054" y="725"/>
                </a:lnTo>
                <a:cubicBezTo>
                  <a:pt x="1052" y="725"/>
                  <a:pt x="1050" y="725"/>
                  <a:pt x="1049" y="725"/>
                </a:cubicBezTo>
                <a:cubicBezTo>
                  <a:pt x="1049" y="726"/>
                  <a:pt x="1049" y="727"/>
                  <a:pt x="1048" y="727"/>
                </a:cubicBezTo>
                <a:cubicBezTo>
                  <a:pt x="1047" y="727"/>
                  <a:pt x="1046" y="726"/>
                  <a:pt x="1045" y="725"/>
                </a:cubicBezTo>
                <a:lnTo>
                  <a:pt x="1043" y="723"/>
                </a:lnTo>
                <a:cubicBezTo>
                  <a:pt x="1043" y="722"/>
                  <a:pt x="1044" y="722"/>
                  <a:pt x="1044" y="721"/>
                </a:cubicBezTo>
                <a:cubicBezTo>
                  <a:pt x="1046" y="720"/>
                  <a:pt x="1046" y="720"/>
                  <a:pt x="1046" y="719"/>
                </a:cubicBezTo>
                <a:cubicBezTo>
                  <a:pt x="1046" y="719"/>
                  <a:pt x="1046" y="719"/>
                  <a:pt x="1045" y="718"/>
                </a:cubicBezTo>
                <a:cubicBezTo>
                  <a:pt x="1045" y="718"/>
                  <a:pt x="1045" y="718"/>
                  <a:pt x="1044" y="718"/>
                </a:cubicBezTo>
                <a:cubicBezTo>
                  <a:pt x="1044" y="717"/>
                  <a:pt x="1045" y="716"/>
                  <a:pt x="1046" y="716"/>
                </a:cubicBezTo>
                <a:cubicBezTo>
                  <a:pt x="1046" y="716"/>
                  <a:pt x="1047" y="716"/>
                  <a:pt x="1047" y="716"/>
                </a:cubicBezTo>
                <a:cubicBezTo>
                  <a:pt x="1047" y="715"/>
                  <a:pt x="1047" y="715"/>
                  <a:pt x="1047" y="715"/>
                </a:cubicBezTo>
                <a:cubicBezTo>
                  <a:pt x="1047" y="715"/>
                  <a:pt x="1047" y="715"/>
                  <a:pt x="1046" y="714"/>
                </a:cubicBezTo>
                <a:cubicBezTo>
                  <a:pt x="1046" y="714"/>
                  <a:pt x="1046" y="713"/>
                  <a:pt x="1046" y="713"/>
                </a:cubicBezTo>
                <a:cubicBezTo>
                  <a:pt x="1046" y="712"/>
                  <a:pt x="1046" y="712"/>
                  <a:pt x="1047" y="712"/>
                </a:cubicBezTo>
                <a:cubicBezTo>
                  <a:pt x="1048" y="712"/>
                  <a:pt x="1048" y="712"/>
                  <a:pt x="1048" y="711"/>
                </a:cubicBezTo>
                <a:lnTo>
                  <a:pt x="1047" y="708"/>
                </a:lnTo>
                <a:cubicBezTo>
                  <a:pt x="1047" y="707"/>
                  <a:pt x="1047" y="707"/>
                  <a:pt x="1048" y="707"/>
                </a:cubicBezTo>
                <a:cubicBezTo>
                  <a:pt x="1049" y="707"/>
                  <a:pt x="1049" y="706"/>
                  <a:pt x="1049" y="706"/>
                </a:cubicBezTo>
                <a:lnTo>
                  <a:pt x="1048" y="704"/>
                </a:lnTo>
                <a:cubicBezTo>
                  <a:pt x="1048" y="703"/>
                  <a:pt x="1049" y="702"/>
                  <a:pt x="1049" y="702"/>
                </a:cubicBezTo>
                <a:cubicBezTo>
                  <a:pt x="1050" y="701"/>
                  <a:pt x="1051" y="701"/>
                  <a:pt x="1051" y="701"/>
                </a:cubicBezTo>
                <a:cubicBezTo>
                  <a:pt x="1051" y="701"/>
                  <a:pt x="1050" y="700"/>
                  <a:pt x="1049" y="699"/>
                </a:cubicBezTo>
                <a:lnTo>
                  <a:pt x="1049" y="699"/>
                </a:lnTo>
                <a:cubicBezTo>
                  <a:pt x="1047" y="699"/>
                  <a:pt x="1046" y="706"/>
                  <a:pt x="1042" y="718"/>
                </a:cubicBezTo>
                <a:cubicBezTo>
                  <a:pt x="1042" y="719"/>
                  <a:pt x="1042" y="720"/>
                  <a:pt x="1042" y="722"/>
                </a:cubicBezTo>
                <a:cubicBezTo>
                  <a:pt x="1040" y="732"/>
                  <a:pt x="1039" y="738"/>
                  <a:pt x="1039" y="740"/>
                </a:cubicBezTo>
                <a:cubicBezTo>
                  <a:pt x="1039" y="740"/>
                  <a:pt x="1039" y="741"/>
                  <a:pt x="1040" y="741"/>
                </a:cubicBezTo>
                <a:lnTo>
                  <a:pt x="1041" y="741"/>
                </a:lnTo>
                <a:cubicBezTo>
                  <a:pt x="1042" y="741"/>
                  <a:pt x="1042" y="741"/>
                  <a:pt x="1042" y="740"/>
                </a:cubicBezTo>
                <a:cubicBezTo>
                  <a:pt x="1042" y="740"/>
                  <a:pt x="1042" y="739"/>
                  <a:pt x="1041" y="737"/>
                </a:cubicBezTo>
                <a:cubicBezTo>
                  <a:pt x="1041" y="737"/>
                  <a:pt x="1041" y="737"/>
                  <a:pt x="1042" y="737"/>
                </a:cubicBezTo>
                <a:cubicBezTo>
                  <a:pt x="1043" y="737"/>
                  <a:pt x="1044" y="736"/>
                  <a:pt x="1044" y="736"/>
                </a:cubicBezTo>
                <a:lnTo>
                  <a:pt x="1043" y="735"/>
                </a:lnTo>
                <a:cubicBezTo>
                  <a:pt x="1042" y="734"/>
                  <a:pt x="1042" y="733"/>
                  <a:pt x="1042" y="732"/>
                </a:cubicBezTo>
                <a:cubicBezTo>
                  <a:pt x="1042" y="730"/>
                  <a:pt x="1043" y="728"/>
                  <a:pt x="1045" y="728"/>
                </a:cubicBezTo>
                <a:cubicBezTo>
                  <a:pt x="1046" y="728"/>
                  <a:pt x="1047" y="729"/>
                  <a:pt x="1047" y="730"/>
                </a:cubicBezTo>
                <a:cubicBezTo>
                  <a:pt x="1048" y="730"/>
                  <a:pt x="1049" y="731"/>
                  <a:pt x="1050" y="731"/>
                </a:cubicBezTo>
                <a:cubicBezTo>
                  <a:pt x="1051" y="731"/>
                  <a:pt x="1052" y="731"/>
                  <a:pt x="1052" y="730"/>
                </a:cubicBezTo>
                <a:cubicBezTo>
                  <a:pt x="1053" y="729"/>
                  <a:pt x="1053" y="729"/>
                  <a:pt x="1054" y="729"/>
                </a:cubicBezTo>
                <a:lnTo>
                  <a:pt x="1054" y="730"/>
                </a:lnTo>
                <a:cubicBezTo>
                  <a:pt x="1054" y="731"/>
                  <a:pt x="1054" y="734"/>
                  <a:pt x="1053" y="739"/>
                </a:cubicBezTo>
                <a:cubicBezTo>
                  <a:pt x="1051" y="744"/>
                  <a:pt x="1051" y="748"/>
                  <a:pt x="1051" y="750"/>
                </a:cubicBezTo>
                <a:lnTo>
                  <a:pt x="1051" y="751"/>
                </a:lnTo>
                <a:close/>
                <a:moveTo>
                  <a:pt x="1041" y="753"/>
                </a:moveTo>
                <a:lnTo>
                  <a:pt x="1040" y="751"/>
                </a:lnTo>
                <a:lnTo>
                  <a:pt x="1039" y="749"/>
                </a:lnTo>
                <a:cubicBezTo>
                  <a:pt x="1039" y="749"/>
                  <a:pt x="1039" y="748"/>
                  <a:pt x="1040" y="748"/>
                </a:cubicBezTo>
                <a:cubicBezTo>
                  <a:pt x="1041" y="748"/>
                  <a:pt x="1042" y="748"/>
                  <a:pt x="1042" y="747"/>
                </a:cubicBezTo>
                <a:cubicBezTo>
                  <a:pt x="1042" y="747"/>
                  <a:pt x="1041" y="746"/>
                  <a:pt x="1041" y="746"/>
                </a:cubicBezTo>
                <a:cubicBezTo>
                  <a:pt x="1040" y="745"/>
                  <a:pt x="1039" y="745"/>
                  <a:pt x="1039" y="745"/>
                </a:cubicBezTo>
                <a:cubicBezTo>
                  <a:pt x="1039" y="745"/>
                  <a:pt x="1038" y="745"/>
                  <a:pt x="1038" y="746"/>
                </a:cubicBezTo>
                <a:lnTo>
                  <a:pt x="1037" y="749"/>
                </a:lnTo>
                <a:cubicBezTo>
                  <a:pt x="1038" y="752"/>
                  <a:pt x="1039" y="753"/>
                  <a:pt x="1041" y="753"/>
                </a:cubicBezTo>
                <a:close/>
                <a:moveTo>
                  <a:pt x="1039" y="764"/>
                </a:moveTo>
                <a:lnTo>
                  <a:pt x="1039" y="764"/>
                </a:lnTo>
                <a:lnTo>
                  <a:pt x="1038" y="761"/>
                </a:lnTo>
                <a:cubicBezTo>
                  <a:pt x="1038" y="760"/>
                  <a:pt x="1038" y="760"/>
                  <a:pt x="1039" y="760"/>
                </a:cubicBezTo>
                <a:cubicBezTo>
                  <a:pt x="1040" y="760"/>
                  <a:pt x="1041" y="759"/>
                  <a:pt x="1041" y="759"/>
                </a:cubicBezTo>
                <a:lnTo>
                  <a:pt x="1040" y="758"/>
                </a:lnTo>
                <a:lnTo>
                  <a:pt x="1039" y="758"/>
                </a:lnTo>
                <a:cubicBezTo>
                  <a:pt x="1037" y="758"/>
                  <a:pt x="1036" y="759"/>
                  <a:pt x="1036" y="760"/>
                </a:cubicBezTo>
                <a:cubicBezTo>
                  <a:pt x="1036" y="761"/>
                  <a:pt x="1036" y="762"/>
                  <a:pt x="1037" y="763"/>
                </a:cubicBezTo>
                <a:cubicBezTo>
                  <a:pt x="1038" y="764"/>
                  <a:pt x="1039" y="764"/>
                  <a:pt x="1039" y="764"/>
                </a:cubicBezTo>
                <a:close/>
                <a:moveTo>
                  <a:pt x="1068" y="715"/>
                </a:moveTo>
                <a:cubicBezTo>
                  <a:pt x="1068" y="715"/>
                  <a:pt x="1067" y="715"/>
                  <a:pt x="1067" y="715"/>
                </a:cubicBezTo>
                <a:lnTo>
                  <a:pt x="1068" y="707"/>
                </a:lnTo>
                <a:cubicBezTo>
                  <a:pt x="1069" y="704"/>
                  <a:pt x="1070" y="703"/>
                  <a:pt x="1070" y="703"/>
                </a:cubicBezTo>
                <a:cubicBezTo>
                  <a:pt x="1071" y="703"/>
                  <a:pt x="1071" y="703"/>
                  <a:pt x="1071" y="704"/>
                </a:cubicBezTo>
                <a:cubicBezTo>
                  <a:pt x="1071" y="705"/>
                  <a:pt x="1071" y="706"/>
                  <a:pt x="1071" y="707"/>
                </a:cubicBezTo>
                <a:cubicBezTo>
                  <a:pt x="1071" y="709"/>
                  <a:pt x="1070" y="710"/>
                  <a:pt x="1069" y="712"/>
                </a:cubicBezTo>
                <a:cubicBezTo>
                  <a:pt x="1069" y="714"/>
                  <a:pt x="1069" y="715"/>
                  <a:pt x="1068" y="715"/>
                </a:cubicBezTo>
                <a:close/>
                <a:moveTo>
                  <a:pt x="1445" y="667"/>
                </a:moveTo>
                <a:lnTo>
                  <a:pt x="1444" y="666"/>
                </a:lnTo>
                <a:lnTo>
                  <a:pt x="1445" y="664"/>
                </a:lnTo>
                <a:cubicBezTo>
                  <a:pt x="1446" y="662"/>
                  <a:pt x="1447" y="661"/>
                  <a:pt x="1448" y="661"/>
                </a:cubicBezTo>
                <a:lnTo>
                  <a:pt x="1448" y="662"/>
                </a:lnTo>
                <a:cubicBezTo>
                  <a:pt x="1448" y="663"/>
                  <a:pt x="1448" y="664"/>
                  <a:pt x="1447" y="665"/>
                </a:cubicBezTo>
                <a:lnTo>
                  <a:pt x="1445" y="667"/>
                </a:lnTo>
                <a:close/>
                <a:moveTo>
                  <a:pt x="1376" y="759"/>
                </a:moveTo>
                <a:cubicBezTo>
                  <a:pt x="1373" y="759"/>
                  <a:pt x="1372" y="759"/>
                  <a:pt x="1370" y="758"/>
                </a:cubicBezTo>
                <a:cubicBezTo>
                  <a:pt x="1369" y="757"/>
                  <a:pt x="1368" y="757"/>
                  <a:pt x="1368" y="756"/>
                </a:cubicBezTo>
                <a:cubicBezTo>
                  <a:pt x="1368" y="755"/>
                  <a:pt x="1368" y="754"/>
                  <a:pt x="1367" y="754"/>
                </a:cubicBezTo>
                <a:lnTo>
                  <a:pt x="1367" y="755"/>
                </a:lnTo>
                <a:cubicBezTo>
                  <a:pt x="1367" y="755"/>
                  <a:pt x="1366" y="755"/>
                  <a:pt x="1366" y="755"/>
                </a:cubicBezTo>
                <a:cubicBezTo>
                  <a:pt x="1364" y="755"/>
                  <a:pt x="1361" y="754"/>
                  <a:pt x="1357" y="753"/>
                </a:cubicBezTo>
                <a:cubicBezTo>
                  <a:pt x="1349" y="750"/>
                  <a:pt x="1344" y="746"/>
                  <a:pt x="1342" y="742"/>
                </a:cubicBezTo>
                <a:cubicBezTo>
                  <a:pt x="1338" y="736"/>
                  <a:pt x="1336" y="732"/>
                  <a:pt x="1336" y="730"/>
                </a:cubicBezTo>
                <a:cubicBezTo>
                  <a:pt x="1336" y="730"/>
                  <a:pt x="1336" y="730"/>
                  <a:pt x="1337" y="730"/>
                </a:cubicBezTo>
                <a:lnTo>
                  <a:pt x="1338" y="730"/>
                </a:lnTo>
                <a:cubicBezTo>
                  <a:pt x="1339" y="730"/>
                  <a:pt x="1339" y="730"/>
                  <a:pt x="1339" y="728"/>
                </a:cubicBezTo>
                <a:lnTo>
                  <a:pt x="1337" y="707"/>
                </a:lnTo>
                <a:lnTo>
                  <a:pt x="1336" y="699"/>
                </a:lnTo>
                <a:cubicBezTo>
                  <a:pt x="1337" y="699"/>
                  <a:pt x="1337" y="701"/>
                  <a:pt x="1337" y="703"/>
                </a:cubicBezTo>
                <a:cubicBezTo>
                  <a:pt x="1338" y="706"/>
                  <a:pt x="1338" y="708"/>
                  <a:pt x="1339" y="708"/>
                </a:cubicBezTo>
                <a:cubicBezTo>
                  <a:pt x="1339" y="708"/>
                  <a:pt x="1340" y="703"/>
                  <a:pt x="1341" y="694"/>
                </a:cubicBezTo>
                <a:cubicBezTo>
                  <a:pt x="1342" y="681"/>
                  <a:pt x="1343" y="674"/>
                  <a:pt x="1344" y="674"/>
                </a:cubicBezTo>
                <a:cubicBezTo>
                  <a:pt x="1345" y="673"/>
                  <a:pt x="1345" y="671"/>
                  <a:pt x="1345" y="669"/>
                </a:cubicBezTo>
                <a:cubicBezTo>
                  <a:pt x="1345" y="666"/>
                  <a:pt x="1346" y="665"/>
                  <a:pt x="1346" y="665"/>
                </a:cubicBezTo>
                <a:cubicBezTo>
                  <a:pt x="1347" y="665"/>
                  <a:pt x="1348" y="664"/>
                  <a:pt x="1348" y="663"/>
                </a:cubicBezTo>
                <a:lnTo>
                  <a:pt x="1347" y="662"/>
                </a:lnTo>
                <a:cubicBezTo>
                  <a:pt x="1347" y="661"/>
                  <a:pt x="1348" y="660"/>
                  <a:pt x="1349" y="659"/>
                </a:cubicBezTo>
                <a:cubicBezTo>
                  <a:pt x="1350" y="659"/>
                  <a:pt x="1351" y="659"/>
                  <a:pt x="1351" y="658"/>
                </a:cubicBezTo>
                <a:lnTo>
                  <a:pt x="1349" y="658"/>
                </a:lnTo>
                <a:cubicBezTo>
                  <a:pt x="1348" y="658"/>
                  <a:pt x="1347" y="657"/>
                  <a:pt x="1347" y="657"/>
                </a:cubicBezTo>
                <a:lnTo>
                  <a:pt x="1348" y="654"/>
                </a:lnTo>
                <a:cubicBezTo>
                  <a:pt x="1348" y="654"/>
                  <a:pt x="1347" y="653"/>
                  <a:pt x="1347" y="653"/>
                </a:cubicBezTo>
                <a:cubicBezTo>
                  <a:pt x="1345" y="653"/>
                  <a:pt x="1344" y="656"/>
                  <a:pt x="1343" y="662"/>
                </a:cubicBezTo>
                <a:cubicBezTo>
                  <a:pt x="1342" y="665"/>
                  <a:pt x="1342" y="667"/>
                  <a:pt x="1342" y="670"/>
                </a:cubicBezTo>
                <a:cubicBezTo>
                  <a:pt x="1342" y="671"/>
                  <a:pt x="1341" y="671"/>
                  <a:pt x="1340" y="671"/>
                </a:cubicBezTo>
                <a:cubicBezTo>
                  <a:pt x="1339" y="671"/>
                  <a:pt x="1339" y="672"/>
                  <a:pt x="1339" y="674"/>
                </a:cubicBezTo>
                <a:lnTo>
                  <a:pt x="1340" y="678"/>
                </a:lnTo>
                <a:cubicBezTo>
                  <a:pt x="1339" y="678"/>
                  <a:pt x="1339" y="677"/>
                  <a:pt x="1338" y="676"/>
                </a:cubicBezTo>
                <a:cubicBezTo>
                  <a:pt x="1337" y="674"/>
                  <a:pt x="1337" y="672"/>
                  <a:pt x="1337" y="668"/>
                </a:cubicBezTo>
                <a:cubicBezTo>
                  <a:pt x="1337" y="665"/>
                  <a:pt x="1337" y="663"/>
                  <a:pt x="1337" y="663"/>
                </a:cubicBezTo>
                <a:cubicBezTo>
                  <a:pt x="1338" y="663"/>
                  <a:pt x="1339" y="661"/>
                  <a:pt x="1339" y="656"/>
                </a:cubicBezTo>
                <a:cubicBezTo>
                  <a:pt x="1339" y="654"/>
                  <a:pt x="1338" y="653"/>
                  <a:pt x="1337" y="653"/>
                </a:cubicBezTo>
                <a:cubicBezTo>
                  <a:pt x="1337" y="653"/>
                  <a:pt x="1336" y="652"/>
                  <a:pt x="1336" y="650"/>
                </a:cubicBezTo>
                <a:cubicBezTo>
                  <a:pt x="1336" y="647"/>
                  <a:pt x="1337" y="646"/>
                  <a:pt x="1339" y="646"/>
                </a:cubicBezTo>
                <a:cubicBezTo>
                  <a:pt x="1341" y="646"/>
                  <a:pt x="1342" y="646"/>
                  <a:pt x="1342" y="646"/>
                </a:cubicBezTo>
                <a:cubicBezTo>
                  <a:pt x="1342" y="645"/>
                  <a:pt x="1341" y="645"/>
                  <a:pt x="1340" y="644"/>
                </a:cubicBezTo>
                <a:cubicBezTo>
                  <a:pt x="1339" y="643"/>
                  <a:pt x="1339" y="642"/>
                  <a:pt x="1339" y="641"/>
                </a:cubicBezTo>
                <a:cubicBezTo>
                  <a:pt x="1339" y="639"/>
                  <a:pt x="1339" y="636"/>
                  <a:pt x="1340" y="633"/>
                </a:cubicBezTo>
                <a:cubicBezTo>
                  <a:pt x="1341" y="630"/>
                  <a:pt x="1341" y="627"/>
                  <a:pt x="1342" y="625"/>
                </a:cubicBezTo>
                <a:cubicBezTo>
                  <a:pt x="1343" y="622"/>
                  <a:pt x="1343" y="621"/>
                  <a:pt x="1343" y="620"/>
                </a:cubicBezTo>
                <a:cubicBezTo>
                  <a:pt x="1343" y="620"/>
                  <a:pt x="1343" y="619"/>
                  <a:pt x="1344" y="618"/>
                </a:cubicBezTo>
                <a:cubicBezTo>
                  <a:pt x="1344" y="617"/>
                  <a:pt x="1344" y="616"/>
                  <a:pt x="1344" y="615"/>
                </a:cubicBezTo>
                <a:cubicBezTo>
                  <a:pt x="1345" y="613"/>
                  <a:pt x="1346" y="611"/>
                  <a:pt x="1347" y="608"/>
                </a:cubicBezTo>
                <a:cubicBezTo>
                  <a:pt x="1348" y="605"/>
                  <a:pt x="1349" y="601"/>
                  <a:pt x="1351" y="596"/>
                </a:cubicBezTo>
                <a:cubicBezTo>
                  <a:pt x="1357" y="576"/>
                  <a:pt x="1364" y="560"/>
                  <a:pt x="1372" y="547"/>
                </a:cubicBezTo>
                <a:cubicBezTo>
                  <a:pt x="1375" y="541"/>
                  <a:pt x="1376" y="538"/>
                  <a:pt x="1376" y="537"/>
                </a:cubicBezTo>
                <a:cubicBezTo>
                  <a:pt x="1376" y="537"/>
                  <a:pt x="1375" y="538"/>
                  <a:pt x="1374" y="539"/>
                </a:cubicBezTo>
                <a:cubicBezTo>
                  <a:pt x="1372" y="540"/>
                  <a:pt x="1371" y="541"/>
                  <a:pt x="1371" y="541"/>
                </a:cubicBezTo>
                <a:cubicBezTo>
                  <a:pt x="1371" y="541"/>
                  <a:pt x="1371" y="540"/>
                  <a:pt x="1371" y="540"/>
                </a:cubicBezTo>
                <a:lnTo>
                  <a:pt x="1372" y="538"/>
                </a:lnTo>
                <a:cubicBezTo>
                  <a:pt x="1372" y="535"/>
                  <a:pt x="1374" y="534"/>
                  <a:pt x="1376" y="534"/>
                </a:cubicBezTo>
                <a:cubicBezTo>
                  <a:pt x="1379" y="534"/>
                  <a:pt x="1381" y="533"/>
                  <a:pt x="1383" y="531"/>
                </a:cubicBezTo>
                <a:cubicBezTo>
                  <a:pt x="1385" y="530"/>
                  <a:pt x="1386" y="528"/>
                  <a:pt x="1386" y="527"/>
                </a:cubicBezTo>
                <a:cubicBezTo>
                  <a:pt x="1386" y="527"/>
                  <a:pt x="1386" y="526"/>
                  <a:pt x="1386" y="526"/>
                </a:cubicBezTo>
                <a:cubicBezTo>
                  <a:pt x="1383" y="526"/>
                  <a:pt x="1381" y="527"/>
                  <a:pt x="1380" y="527"/>
                </a:cubicBezTo>
                <a:cubicBezTo>
                  <a:pt x="1379" y="528"/>
                  <a:pt x="1378" y="529"/>
                  <a:pt x="1377" y="529"/>
                </a:cubicBezTo>
                <a:cubicBezTo>
                  <a:pt x="1377" y="529"/>
                  <a:pt x="1377" y="528"/>
                  <a:pt x="1377" y="527"/>
                </a:cubicBezTo>
                <a:cubicBezTo>
                  <a:pt x="1377" y="525"/>
                  <a:pt x="1378" y="524"/>
                  <a:pt x="1381" y="523"/>
                </a:cubicBezTo>
                <a:cubicBezTo>
                  <a:pt x="1383" y="523"/>
                  <a:pt x="1385" y="522"/>
                  <a:pt x="1385" y="521"/>
                </a:cubicBezTo>
                <a:lnTo>
                  <a:pt x="1384" y="520"/>
                </a:lnTo>
                <a:cubicBezTo>
                  <a:pt x="1384" y="520"/>
                  <a:pt x="1384" y="519"/>
                  <a:pt x="1384" y="519"/>
                </a:cubicBezTo>
                <a:cubicBezTo>
                  <a:pt x="1384" y="517"/>
                  <a:pt x="1385" y="516"/>
                  <a:pt x="1387" y="516"/>
                </a:cubicBezTo>
                <a:cubicBezTo>
                  <a:pt x="1388" y="516"/>
                  <a:pt x="1389" y="517"/>
                  <a:pt x="1390" y="517"/>
                </a:cubicBezTo>
                <a:cubicBezTo>
                  <a:pt x="1391" y="517"/>
                  <a:pt x="1391" y="518"/>
                  <a:pt x="1391" y="519"/>
                </a:cubicBezTo>
                <a:cubicBezTo>
                  <a:pt x="1391" y="519"/>
                  <a:pt x="1391" y="520"/>
                  <a:pt x="1389" y="522"/>
                </a:cubicBezTo>
                <a:cubicBezTo>
                  <a:pt x="1387" y="523"/>
                  <a:pt x="1386" y="524"/>
                  <a:pt x="1386" y="524"/>
                </a:cubicBezTo>
                <a:cubicBezTo>
                  <a:pt x="1386" y="525"/>
                  <a:pt x="1387" y="525"/>
                  <a:pt x="1388" y="525"/>
                </a:cubicBezTo>
                <a:cubicBezTo>
                  <a:pt x="1389" y="525"/>
                  <a:pt x="1390" y="524"/>
                  <a:pt x="1391" y="524"/>
                </a:cubicBezTo>
                <a:cubicBezTo>
                  <a:pt x="1392" y="524"/>
                  <a:pt x="1393" y="523"/>
                  <a:pt x="1394" y="522"/>
                </a:cubicBezTo>
                <a:cubicBezTo>
                  <a:pt x="1394" y="522"/>
                  <a:pt x="1395" y="521"/>
                  <a:pt x="1396" y="521"/>
                </a:cubicBezTo>
                <a:cubicBezTo>
                  <a:pt x="1397" y="521"/>
                  <a:pt x="1399" y="522"/>
                  <a:pt x="1400" y="524"/>
                </a:cubicBezTo>
                <a:cubicBezTo>
                  <a:pt x="1401" y="526"/>
                  <a:pt x="1402" y="529"/>
                  <a:pt x="1402" y="532"/>
                </a:cubicBezTo>
                <a:cubicBezTo>
                  <a:pt x="1402" y="534"/>
                  <a:pt x="1403" y="535"/>
                  <a:pt x="1403" y="535"/>
                </a:cubicBezTo>
                <a:lnTo>
                  <a:pt x="1404" y="535"/>
                </a:lnTo>
                <a:cubicBezTo>
                  <a:pt x="1406" y="535"/>
                  <a:pt x="1409" y="537"/>
                  <a:pt x="1413" y="541"/>
                </a:cubicBezTo>
                <a:cubicBezTo>
                  <a:pt x="1417" y="543"/>
                  <a:pt x="1419" y="545"/>
                  <a:pt x="1419" y="548"/>
                </a:cubicBezTo>
                <a:cubicBezTo>
                  <a:pt x="1419" y="551"/>
                  <a:pt x="1417" y="556"/>
                  <a:pt x="1413" y="563"/>
                </a:cubicBezTo>
                <a:cubicBezTo>
                  <a:pt x="1408" y="575"/>
                  <a:pt x="1404" y="580"/>
                  <a:pt x="1402" y="580"/>
                </a:cubicBezTo>
                <a:cubicBezTo>
                  <a:pt x="1401" y="580"/>
                  <a:pt x="1401" y="579"/>
                  <a:pt x="1401" y="577"/>
                </a:cubicBezTo>
                <a:cubicBezTo>
                  <a:pt x="1401" y="576"/>
                  <a:pt x="1401" y="576"/>
                  <a:pt x="1401" y="576"/>
                </a:cubicBezTo>
                <a:lnTo>
                  <a:pt x="1403" y="576"/>
                </a:lnTo>
                <a:cubicBezTo>
                  <a:pt x="1403" y="576"/>
                  <a:pt x="1404" y="576"/>
                  <a:pt x="1404" y="574"/>
                </a:cubicBezTo>
                <a:cubicBezTo>
                  <a:pt x="1404" y="572"/>
                  <a:pt x="1404" y="571"/>
                  <a:pt x="1404" y="571"/>
                </a:cubicBezTo>
                <a:cubicBezTo>
                  <a:pt x="1403" y="571"/>
                  <a:pt x="1402" y="572"/>
                  <a:pt x="1401" y="573"/>
                </a:cubicBezTo>
                <a:cubicBezTo>
                  <a:pt x="1399" y="575"/>
                  <a:pt x="1399" y="576"/>
                  <a:pt x="1399" y="577"/>
                </a:cubicBezTo>
                <a:cubicBezTo>
                  <a:pt x="1399" y="578"/>
                  <a:pt x="1399" y="580"/>
                  <a:pt x="1400" y="581"/>
                </a:cubicBezTo>
                <a:cubicBezTo>
                  <a:pt x="1401" y="582"/>
                  <a:pt x="1401" y="583"/>
                  <a:pt x="1401" y="584"/>
                </a:cubicBezTo>
                <a:cubicBezTo>
                  <a:pt x="1401" y="586"/>
                  <a:pt x="1401" y="588"/>
                  <a:pt x="1400" y="590"/>
                </a:cubicBezTo>
                <a:cubicBezTo>
                  <a:pt x="1399" y="593"/>
                  <a:pt x="1398" y="593"/>
                  <a:pt x="1397" y="593"/>
                </a:cubicBezTo>
                <a:lnTo>
                  <a:pt x="1397" y="593"/>
                </a:lnTo>
                <a:cubicBezTo>
                  <a:pt x="1397" y="592"/>
                  <a:pt x="1398" y="591"/>
                  <a:pt x="1399" y="588"/>
                </a:cubicBezTo>
                <a:cubicBezTo>
                  <a:pt x="1400" y="586"/>
                  <a:pt x="1401" y="584"/>
                  <a:pt x="1401" y="583"/>
                </a:cubicBezTo>
                <a:cubicBezTo>
                  <a:pt x="1401" y="583"/>
                  <a:pt x="1400" y="582"/>
                  <a:pt x="1399" y="582"/>
                </a:cubicBezTo>
                <a:cubicBezTo>
                  <a:pt x="1398" y="582"/>
                  <a:pt x="1396" y="583"/>
                  <a:pt x="1395" y="587"/>
                </a:cubicBezTo>
                <a:cubicBezTo>
                  <a:pt x="1394" y="590"/>
                  <a:pt x="1393" y="592"/>
                  <a:pt x="1393" y="593"/>
                </a:cubicBezTo>
                <a:cubicBezTo>
                  <a:pt x="1393" y="594"/>
                  <a:pt x="1392" y="595"/>
                  <a:pt x="1392" y="595"/>
                </a:cubicBezTo>
                <a:cubicBezTo>
                  <a:pt x="1391" y="599"/>
                  <a:pt x="1391" y="601"/>
                  <a:pt x="1391" y="602"/>
                </a:cubicBezTo>
                <a:cubicBezTo>
                  <a:pt x="1391" y="603"/>
                  <a:pt x="1391" y="604"/>
                  <a:pt x="1391" y="605"/>
                </a:cubicBezTo>
                <a:cubicBezTo>
                  <a:pt x="1392" y="606"/>
                  <a:pt x="1392" y="606"/>
                  <a:pt x="1392" y="607"/>
                </a:cubicBezTo>
                <a:cubicBezTo>
                  <a:pt x="1392" y="607"/>
                  <a:pt x="1392" y="607"/>
                  <a:pt x="1391" y="607"/>
                </a:cubicBezTo>
                <a:lnTo>
                  <a:pt x="1390" y="606"/>
                </a:lnTo>
                <a:cubicBezTo>
                  <a:pt x="1389" y="606"/>
                  <a:pt x="1388" y="608"/>
                  <a:pt x="1388" y="611"/>
                </a:cubicBezTo>
                <a:cubicBezTo>
                  <a:pt x="1388" y="614"/>
                  <a:pt x="1387" y="618"/>
                  <a:pt x="1386" y="623"/>
                </a:cubicBezTo>
                <a:cubicBezTo>
                  <a:pt x="1381" y="637"/>
                  <a:pt x="1377" y="657"/>
                  <a:pt x="1373" y="683"/>
                </a:cubicBezTo>
                <a:cubicBezTo>
                  <a:pt x="1371" y="695"/>
                  <a:pt x="1370" y="703"/>
                  <a:pt x="1370" y="708"/>
                </a:cubicBezTo>
                <a:lnTo>
                  <a:pt x="1371" y="712"/>
                </a:lnTo>
                <a:cubicBezTo>
                  <a:pt x="1372" y="712"/>
                  <a:pt x="1372" y="711"/>
                  <a:pt x="1372" y="710"/>
                </a:cubicBezTo>
                <a:cubicBezTo>
                  <a:pt x="1372" y="708"/>
                  <a:pt x="1373" y="708"/>
                  <a:pt x="1374" y="708"/>
                </a:cubicBezTo>
                <a:cubicBezTo>
                  <a:pt x="1375" y="707"/>
                  <a:pt x="1377" y="705"/>
                  <a:pt x="1382" y="701"/>
                </a:cubicBezTo>
                <a:cubicBezTo>
                  <a:pt x="1383" y="699"/>
                  <a:pt x="1385" y="698"/>
                  <a:pt x="1386" y="697"/>
                </a:cubicBezTo>
                <a:lnTo>
                  <a:pt x="1390" y="696"/>
                </a:lnTo>
                <a:lnTo>
                  <a:pt x="1391" y="696"/>
                </a:lnTo>
                <a:cubicBezTo>
                  <a:pt x="1392" y="696"/>
                  <a:pt x="1394" y="694"/>
                  <a:pt x="1397" y="691"/>
                </a:cubicBezTo>
                <a:cubicBezTo>
                  <a:pt x="1399" y="688"/>
                  <a:pt x="1400" y="686"/>
                  <a:pt x="1400" y="685"/>
                </a:cubicBezTo>
                <a:cubicBezTo>
                  <a:pt x="1400" y="684"/>
                  <a:pt x="1400" y="684"/>
                  <a:pt x="1400" y="684"/>
                </a:cubicBezTo>
                <a:cubicBezTo>
                  <a:pt x="1399" y="684"/>
                  <a:pt x="1397" y="685"/>
                  <a:pt x="1395" y="688"/>
                </a:cubicBezTo>
                <a:lnTo>
                  <a:pt x="1390" y="692"/>
                </a:lnTo>
                <a:lnTo>
                  <a:pt x="1394" y="687"/>
                </a:lnTo>
                <a:cubicBezTo>
                  <a:pt x="1397" y="684"/>
                  <a:pt x="1399" y="683"/>
                  <a:pt x="1402" y="683"/>
                </a:cubicBezTo>
                <a:cubicBezTo>
                  <a:pt x="1404" y="683"/>
                  <a:pt x="1405" y="682"/>
                  <a:pt x="1405" y="681"/>
                </a:cubicBezTo>
                <a:cubicBezTo>
                  <a:pt x="1405" y="679"/>
                  <a:pt x="1405" y="679"/>
                  <a:pt x="1403" y="679"/>
                </a:cubicBezTo>
                <a:cubicBezTo>
                  <a:pt x="1402" y="679"/>
                  <a:pt x="1401" y="678"/>
                  <a:pt x="1401" y="677"/>
                </a:cubicBezTo>
                <a:cubicBezTo>
                  <a:pt x="1401" y="677"/>
                  <a:pt x="1402" y="677"/>
                  <a:pt x="1403" y="676"/>
                </a:cubicBezTo>
                <a:cubicBezTo>
                  <a:pt x="1403" y="675"/>
                  <a:pt x="1405" y="675"/>
                  <a:pt x="1408" y="675"/>
                </a:cubicBezTo>
                <a:lnTo>
                  <a:pt x="1410" y="676"/>
                </a:lnTo>
                <a:lnTo>
                  <a:pt x="1411" y="674"/>
                </a:lnTo>
                <a:cubicBezTo>
                  <a:pt x="1411" y="674"/>
                  <a:pt x="1414" y="668"/>
                  <a:pt x="1421" y="657"/>
                </a:cubicBezTo>
                <a:lnTo>
                  <a:pt x="1424" y="651"/>
                </a:lnTo>
                <a:cubicBezTo>
                  <a:pt x="1430" y="642"/>
                  <a:pt x="1433" y="637"/>
                  <a:pt x="1433" y="636"/>
                </a:cubicBezTo>
                <a:lnTo>
                  <a:pt x="1429" y="639"/>
                </a:lnTo>
                <a:cubicBezTo>
                  <a:pt x="1426" y="642"/>
                  <a:pt x="1425" y="644"/>
                  <a:pt x="1425" y="646"/>
                </a:cubicBezTo>
                <a:cubicBezTo>
                  <a:pt x="1423" y="649"/>
                  <a:pt x="1421" y="652"/>
                  <a:pt x="1419" y="655"/>
                </a:cubicBezTo>
                <a:cubicBezTo>
                  <a:pt x="1416" y="658"/>
                  <a:pt x="1415" y="659"/>
                  <a:pt x="1415" y="659"/>
                </a:cubicBezTo>
                <a:cubicBezTo>
                  <a:pt x="1415" y="659"/>
                  <a:pt x="1416" y="656"/>
                  <a:pt x="1419" y="651"/>
                </a:cubicBezTo>
                <a:cubicBezTo>
                  <a:pt x="1423" y="644"/>
                  <a:pt x="1425" y="639"/>
                  <a:pt x="1426" y="635"/>
                </a:cubicBezTo>
                <a:lnTo>
                  <a:pt x="1430" y="623"/>
                </a:lnTo>
                <a:cubicBezTo>
                  <a:pt x="1432" y="618"/>
                  <a:pt x="1433" y="615"/>
                  <a:pt x="1433" y="612"/>
                </a:cubicBezTo>
                <a:lnTo>
                  <a:pt x="1432" y="611"/>
                </a:lnTo>
                <a:cubicBezTo>
                  <a:pt x="1432" y="610"/>
                  <a:pt x="1432" y="610"/>
                  <a:pt x="1433" y="610"/>
                </a:cubicBezTo>
                <a:cubicBezTo>
                  <a:pt x="1433" y="610"/>
                  <a:pt x="1433" y="610"/>
                  <a:pt x="1434" y="609"/>
                </a:cubicBezTo>
                <a:cubicBezTo>
                  <a:pt x="1434" y="608"/>
                  <a:pt x="1435" y="606"/>
                  <a:pt x="1436" y="602"/>
                </a:cubicBezTo>
                <a:cubicBezTo>
                  <a:pt x="1436" y="598"/>
                  <a:pt x="1437" y="594"/>
                  <a:pt x="1437" y="589"/>
                </a:cubicBezTo>
                <a:lnTo>
                  <a:pt x="1436" y="574"/>
                </a:lnTo>
                <a:cubicBezTo>
                  <a:pt x="1435" y="563"/>
                  <a:pt x="1432" y="552"/>
                  <a:pt x="1427" y="541"/>
                </a:cubicBezTo>
                <a:cubicBezTo>
                  <a:pt x="1424" y="536"/>
                  <a:pt x="1422" y="533"/>
                  <a:pt x="1421" y="533"/>
                </a:cubicBezTo>
                <a:cubicBezTo>
                  <a:pt x="1420" y="533"/>
                  <a:pt x="1419" y="533"/>
                  <a:pt x="1419" y="532"/>
                </a:cubicBezTo>
                <a:lnTo>
                  <a:pt x="1419" y="530"/>
                </a:lnTo>
                <a:cubicBezTo>
                  <a:pt x="1419" y="529"/>
                  <a:pt x="1417" y="526"/>
                  <a:pt x="1413" y="520"/>
                </a:cubicBezTo>
                <a:cubicBezTo>
                  <a:pt x="1408" y="516"/>
                  <a:pt x="1405" y="512"/>
                  <a:pt x="1405" y="511"/>
                </a:cubicBezTo>
                <a:cubicBezTo>
                  <a:pt x="1405" y="509"/>
                  <a:pt x="1407" y="508"/>
                  <a:pt x="1411" y="508"/>
                </a:cubicBezTo>
                <a:cubicBezTo>
                  <a:pt x="1414" y="507"/>
                  <a:pt x="1416" y="507"/>
                  <a:pt x="1416" y="506"/>
                </a:cubicBezTo>
                <a:cubicBezTo>
                  <a:pt x="1416" y="505"/>
                  <a:pt x="1414" y="504"/>
                  <a:pt x="1412" y="502"/>
                </a:cubicBezTo>
                <a:cubicBezTo>
                  <a:pt x="1410" y="500"/>
                  <a:pt x="1409" y="499"/>
                  <a:pt x="1409" y="498"/>
                </a:cubicBezTo>
                <a:cubicBezTo>
                  <a:pt x="1409" y="498"/>
                  <a:pt x="1409" y="497"/>
                  <a:pt x="1409" y="497"/>
                </a:cubicBezTo>
                <a:cubicBezTo>
                  <a:pt x="1410" y="497"/>
                  <a:pt x="1411" y="498"/>
                  <a:pt x="1413" y="499"/>
                </a:cubicBezTo>
                <a:cubicBezTo>
                  <a:pt x="1413" y="500"/>
                  <a:pt x="1414" y="501"/>
                  <a:pt x="1415" y="501"/>
                </a:cubicBezTo>
                <a:lnTo>
                  <a:pt x="1416" y="501"/>
                </a:lnTo>
                <a:cubicBezTo>
                  <a:pt x="1418" y="501"/>
                  <a:pt x="1421" y="504"/>
                  <a:pt x="1426" y="509"/>
                </a:cubicBezTo>
                <a:cubicBezTo>
                  <a:pt x="1428" y="512"/>
                  <a:pt x="1431" y="514"/>
                  <a:pt x="1434" y="517"/>
                </a:cubicBezTo>
                <a:cubicBezTo>
                  <a:pt x="1441" y="523"/>
                  <a:pt x="1444" y="526"/>
                  <a:pt x="1446" y="526"/>
                </a:cubicBezTo>
                <a:lnTo>
                  <a:pt x="1441" y="521"/>
                </a:lnTo>
                <a:cubicBezTo>
                  <a:pt x="1439" y="520"/>
                  <a:pt x="1438" y="518"/>
                  <a:pt x="1437" y="516"/>
                </a:cubicBezTo>
                <a:lnTo>
                  <a:pt x="1435" y="512"/>
                </a:lnTo>
                <a:cubicBezTo>
                  <a:pt x="1435" y="512"/>
                  <a:pt x="1435" y="512"/>
                  <a:pt x="1434" y="512"/>
                </a:cubicBezTo>
                <a:lnTo>
                  <a:pt x="1431" y="513"/>
                </a:lnTo>
                <a:lnTo>
                  <a:pt x="1433" y="511"/>
                </a:lnTo>
                <a:cubicBezTo>
                  <a:pt x="1433" y="510"/>
                  <a:pt x="1433" y="510"/>
                  <a:pt x="1435" y="510"/>
                </a:cubicBezTo>
                <a:cubicBezTo>
                  <a:pt x="1439" y="510"/>
                  <a:pt x="1446" y="515"/>
                  <a:pt x="1455" y="524"/>
                </a:cubicBezTo>
                <a:cubicBezTo>
                  <a:pt x="1460" y="529"/>
                  <a:pt x="1464" y="535"/>
                  <a:pt x="1468" y="540"/>
                </a:cubicBezTo>
                <a:cubicBezTo>
                  <a:pt x="1472" y="546"/>
                  <a:pt x="1474" y="550"/>
                  <a:pt x="1474" y="552"/>
                </a:cubicBezTo>
                <a:cubicBezTo>
                  <a:pt x="1474" y="552"/>
                  <a:pt x="1473" y="552"/>
                  <a:pt x="1473" y="552"/>
                </a:cubicBezTo>
                <a:lnTo>
                  <a:pt x="1473" y="553"/>
                </a:lnTo>
                <a:cubicBezTo>
                  <a:pt x="1473" y="554"/>
                  <a:pt x="1474" y="554"/>
                  <a:pt x="1475" y="555"/>
                </a:cubicBezTo>
                <a:cubicBezTo>
                  <a:pt x="1475" y="556"/>
                  <a:pt x="1476" y="557"/>
                  <a:pt x="1476" y="557"/>
                </a:cubicBezTo>
                <a:cubicBezTo>
                  <a:pt x="1476" y="557"/>
                  <a:pt x="1476" y="559"/>
                  <a:pt x="1476" y="561"/>
                </a:cubicBezTo>
                <a:cubicBezTo>
                  <a:pt x="1476" y="561"/>
                  <a:pt x="1476" y="561"/>
                  <a:pt x="1476" y="562"/>
                </a:cubicBezTo>
                <a:cubicBezTo>
                  <a:pt x="1476" y="563"/>
                  <a:pt x="1476" y="564"/>
                  <a:pt x="1477" y="566"/>
                </a:cubicBezTo>
                <a:cubicBezTo>
                  <a:pt x="1478" y="567"/>
                  <a:pt x="1479" y="568"/>
                  <a:pt x="1479" y="568"/>
                </a:cubicBezTo>
                <a:lnTo>
                  <a:pt x="1475" y="566"/>
                </a:lnTo>
                <a:cubicBezTo>
                  <a:pt x="1475" y="566"/>
                  <a:pt x="1475" y="567"/>
                  <a:pt x="1476" y="568"/>
                </a:cubicBezTo>
                <a:cubicBezTo>
                  <a:pt x="1477" y="569"/>
                  <a:pt x="1477" y="571"/>
                  <a:pt x="1478" y="572"/>
                </a:cubicBezTo>
                <a:cubicBezTo>
                  <a:pt x="1478" y="573"/>
                  <a:pt x="1478" y="574"/>
                  <a:pt x="1478" y="575"/>
                </a:cubicBezTo>
                <a:cubicBezTo>
                  <a:pt x="1478" y="576"/>
                  <a:pt x="1479" y="578"/>
                  <a:pt x="1479" y="582"/>
                </a:cubicBezTo>
                <a:cubicBezTo>
                  <a:pt x="1479" y="585"/>
                  <a:pt x="1480" y="588"/>
                  <a:pt x="1480" y="593"/>
                </a:cubicBezTo>
                <a:cubicBezTo>
                  <a:pt x="1481" y="597"/>
                  <a:pt x="1481" y="600"/>
                  <a:pt x="1481" y="603"/>
                </a:cubicBezTo>
                <a:cubicBezTo>
                  <a:pt x="1481" y="606"/>
                  <a:pt x="1481" y="610"/>
                  <a:pt x="1480" y="614"/>
                </a:cubicBezTo>
                <a:cubicBezTo>
                  <a:pt x="1475" y="633"/>
                  <a:pt x="1470" y="647"/>
                  <a:pt x="1465" y="656"/>
                </a:cubicBezTo>
                <a:cubicBezTo>
                  <a:pt x="1461" y="662"/>
                  <a:pt x="1459" y="666"/>
                  <a:pt x="1457" y="666"/>
                </a:cubicBezTo>
                <a:cubicBezTo>
                  <a:pt x="1455" y="666"/>
                  <a:pt x="1454" y="666"/>
                  <a:pt x="1454" y="667"/>
                </a:cubicBezTo>
                <a:lnTo>
                  <a:pt x="1453" y="668"/>
                </a:lnTo>
                <a:cubicBezTo>
                  <a:pt x="1453" y="669"/>
                  <a:pt x="1453" y="669"/>
                  <a:pt x="1454" y="669"/>
                </a:cubicBezTo>
                <a:lnTo>
                  <a:pt x="1456" y="667"/>
                </a:lnTo>
                <a:cubicBezTo>
                  <a:pt x="1457" y="667"/>
                  <a:pt x="1457" y="668"/>
                  <a:pt x="1457" y="668"/>
                </a:cubicBezTo>
                <a:cubicBezTo>
                  <a:pt x="1457" y="670"/>
                  <a:pt x="1456" y="672"/>
                  <a:pt x="1454" y="675"/>
                </a:cubicBezTo>
                <a:cubicBezTo>
                  <a:pt x="1453" y="678"/>
                  <a:pt x="1451" y="679"/>
                  <a:pt x="1448" y="679"/>
                </a:cubicBezTo>
                <a:lnTo>
                  <a:pt x="1447" y="679"/>
                </a:lnTo>
                <a:lnTo>
                  <a:pt x="1447" y="681"/>
                </a:lnTo>
                <a:cubicBezTo>
                  <a:pt x="1447" y="682"/>
                  <a:pt x="1445" y="685"/>
                  <a:pt x="1442" y="690"/>
                </a:cubicBezTo>
                <a:cubicBezTo>
                  <a:pt x="1439" y="695"/>
                  <a:pt x="1435" y="700"/>
                  <a:pt x="1430" y="706"/>
                </a:cubicBezTo>
                <a:cubicBezTo>
                  <a:pt x="1429" y="707"/>
                  <a:pt x="1428" y="709"/>
                  <a:pt x="1426" y="711"/>
                </a:cubicBezTo>
                <a:cubicBezTo>
                  <a:pt x="1424" y="714"/>
                  <a:pt x="1423" y="718"/>
                  <a:pt x="1421" y="721"/>
                </a:cubicBezTo>
                <a:cubicBezTo>
                  <a:pt x="1414" y="731"/>
                  <a:pt x="1407" y="740"/>
                  <a:pt x="1398" y="748"/>
                </a:cubicBezTo>
                <a:cubicBezTo>
                  <a:pt x="1389" y="755"/>
                  <a:pt x="1382" y="759"/>
                  <a:pt x="1376" y="759"/>
                </a:cubicBezTo>
                <a:close/>
                <a:moveTo>
                  <a:pt x="1411" y="555"/>
                </a:moveTo>
                <a:cubicBezTo>
                  <a:pt x="1413" y="555"/>
                  <a:pt x="1414" y="554"/>
                  <a:pt x="1414" y="552"/>
                </a:cubicBezTo>
                <a:cubicBezTo>
                  <a:pt x="1414" y="551"/>
                  <a:pt x="1414" y="550"/>
                  <a:pt x="1413" y="550"/>
                </a:cubicBezTo>
                <a:cubicBezTo>
                  <a:pt x="1412" y="550"/>
                  <a:pt x="1411" y="551"/>
                  <a:pt x="1411" y="552"/>
                </a:cubicBezTo>
                <a:lnTo>
                  <a:pt x="1410" y="554"/>
                </a:lnTo>
                <a:cubicBezTo>
                  <a:pt x="1410" y="554"/>
                  <a:pt x="1411" y="555"/>
                  <a:pt x="1411" y="555"/>
                </a:cubicBezTo>
                <a:close/>
                <a:moveTo>
                  <a:pt x="1406" y="564"/>
                </a:moveTo>
                <a:lnTo>
                  <a:pt x="1409" y="562"/>
                </a:lnTo>
                <a:cubicBezTo>
                  <a:pt x="1410" y="560"/>
                  <a:pt x="1411" y="558"/>
                  <a:pt x="1411" y="558"/>
                </a:cubicBezTo>
                <a:cubicBezTo>
                  <a:pt x="1411" y="557"/>
                  <a:pt x="1410" y="557"/>
                  <a:pt x="1410" y="557"/>
                </a:cubicBezTo>
                <a:cubicBezTo>
                  <a:pt x="1408" y="557"/>
                  <a:pt x="1407" y="558"/>
                  <a:pt x="1407" y="560"/>
                </a:cubicBezTo>
                <a:lnTo>
                  <a:pt x="1406" y="563"/>
                </a:lnTo>
                <a:lnTo>
                  <a:pt x="1406" y="564"/>
                </a:lnTo>
                <a:close/>
                <a:moveTo>
                  <a:pt x="1454" y="660"/>
                </a:moveTo>
                <a:cubicBezTo>
                  <a:pt x="1454" y="659"/>
                  <a:pt x="1454" y="658"/>
                  <a:pt x="1453" y="656"/>
                </a:cubicBezTo>
                <a:cubicBezTo>
                  <a:pt x="1451" y="655"/>
                  <a:pt x="1451" y="654"/>
                  <a:pt x="1451" y="653"/>
                </a:cubicBezTo>
                <a:lnTo>
                  <a:pt x="1456" y="655"/>
                </a:lnTo>
                <a:cubicBezTo>
                  <a:pt x="1456" y="654"/>
                  <a:pt x="1456" y="653"/>
                  <a:pt x="1455" y="652"/>
                </a:cubicBezTo>
                <a:cubicBezTo>
                  <a:pt x="1454" y="650"/>
                  <a:pt x="1453" y="650"/>
                  <a:pt x="1452" y="650"/>
                </a:cubicBezTo>
                <a:cubicBezTo>
                  <a:pt x="1452" y="650"/>
                  <a:pt x="1451" y="650"/>
                  <a:pt x="1451" y="651"/>
                </a:cubicBezTo>
                <a:cubicBezTo>
                  <a:pt x="1451" y="652"/>
                  <a:pt x="1450" y="652"/>
                  <a:pt x="1449" y="652"/>
                </a:cubicBezTo>
                <a:lnTo>
                  <a:pt x="1447" y="651"/>
                </a:lnTo>
                <a:lnTo>
                  <a:pt x="1447" y="652"/>
                </a:lnTo>
                <a:lnTo>
                  <a:pt x="1449" y="655"/>
                </a:lnTo>
                <a:cubicBezTo>
                  <a:pt x="1452" y="658"/>
                  <a:pt x="1454" y="660"/>
                  <a:pt x="1454" y="660"/>
                </a:cubicBezTo>
                <a:close/>
                <a:moveTo>
                  <a:pt x="1452" y="646"/>
                </a:moveTo>
                <a:cubicBezTo>
                  <a:pt x="1453" y="646"/>
                  <a:pt x="1454" y="645"/>
                  <a:pt x="1456" y="643"/>
                </a:cubicBezTo>
                <a:cubicBezTo>
                  <a:pt x="1457" y="641"/>
                  <a:pt x="1457" y="640"/>
                  <a:pt x="1457" y="639"/>
                </a:cubicBezTo>
                <a:cubicBezTo>
                  <a:pt x="1457" y="639"/>
                  <a:pt x="1457" y="639"/>
                  <a:pt x="1456" y="639"/>
                </a:cubicBezTo>
                <a:cubicBezTo>
                  <a:pt x="1456" y="639"/>
                  <a:pt x="1454" y="639"/>
                  <a:pt x="1453" y="642"/>
                </a:cubicBezTo>
                <a:cubicBezTo>
                  <a:pt x="1451" y="644"/>
                  <a:pt x="1450" y="645"/>
                  <a:pt x="1450" y="645"/>
                </a:cubicBezTo>
                <a:cubicBezTo>
                  <a:pt x="1450" y="646"/>
                  <a:pt x="1450" y="646"/>
                  <a:pt x="1452" y="646"/>
                </a:cubicBezTo>
                <a:close/>
                <a:moveTo>
                  <a:pt x="1456" y="634"/>
                </a:moveTo>
                <a:lnTo>
                  <a:pt x="1458" y="632"/>
                </a:lnTo>
                <a:cubicBezTo>
                  <a:pt x="1460" y="632"/>
                  <a:pt x="1461" y="631"/>
                  <a:pt x="1463" y="631"/>
                </a:cubicBezTo>
                <a:lnTo>
                  <a:pt x="1464" y="631"/>
                </a:lnTo>
                <a:cubicBezTo>
                  <a:pt x="1464" y="631"/>
                  <a:pt x="1465" y="631"/>
                  <a:pt x="1466" y="630"/>
                </a:cubicBezTo>
                <a:cubicBezTo>
                  <a:pt x="1467" y="629"/>
                  <a:pt x="1468" y="628"/>
                  <a:pt x="1468" y="626"/>
                </a:cubicBezTo>
                <a:cubicBezTo>
                  <a:pt x="1468" y="626"/>
                  <a:pt x="1467" y="627"/>
                  <a:pt x="1466" y="628"/>
                </a:cubicBezTo>
                <a:cubicBezTo>
                  <a:pt x="1466" y="630"/>
                  <a:pt x="1465" y="630"/>
                  <a:pt x="1465" y="630"/>
                </a:cubicBezTo>
                <a:cubicBezTo>
                  <a:pt x="1464" y="630"/>
                  <a:pt x="1463" y="629"/>
                  <a:pt x="1463" y="628"/>
                </a:cubicBezTo>
                <a:cubicBezTo>
                  <a:pt x="1462" y="626"/>
                  <a:pt x="1461" y="625"/>
                  <a:pt x="1460" y="625"/>
                </a:cubicBezTo>
                <a:cubicBezTo>
                  <a:pt x="1459" y="625"/>
                  <a:pt x="1459" y="627"/>
                  <a:pt x="1458" y="629"/>
                </a:cubicBezTo>
                <a:cubicBezTo>
                  <a:pt x="1457" y="631"/>
                  <a:pt x="1456" y="633"/>
                  <a:pt x="1456" y="634"/>
                </a:cubicBezTo>
                <a:close/>
                <a:moveTo>
                  <a:pt x="1460" y="658"/>
                </a:moveTo>
                <a:cubicBezTo>
                  <a:pt x="1461" y="658"/>
                  <a:pt x="1465" y="650"/>
                  <a:pt x="1471" y="635"/>
                </a:cubicBezTo>
                <a:cubicBezTo>
                  <a:pt x="1475" y="624"/>
                  <a:pt x="1478" y="612"/>
                  <a:pt x="1478" y="599"/>
                </a:cubicBezTo>
                <a:cubicBezTo>
                  <a:pt x="1478" y="590"/>
                  <a:pt x="1476" y="582"/>
                  <a:pt x="1474" y="575"/>
                </a:cubicBezTo>
                <a:cubicBezTo>
                  <a:pt x="1472" y="572"/>
                  <a:pt x="1471" y="571"/>
                  <a:pt x="1470" y="571"/>
                </a:cubicBezTo>
                <a:cubicBezTo>
                  <a:pt x="1470" y="571"/>
                  <a:pt x="1469" y="572"/>
                  <a:pt x="1469" y="575"/>
                </a:cubicBezTo>
                <a:cubicBezTo>
                  <a:pt x="1469" y="577"/>
                  <a:pt x="1470" y="578"/>
                  <a:pt x="1470" y="578"/>
                </a:cubicBezTo>
                <a:lnTo>
                  <a:pt x="1471" y="578"/>
                </a:lnTo>
                <a:cubicBezTo>
                  <a:pt x="1473" y="578"/>
                  <a:pt x="1473" y="586"/>
                  <a:pt x="1473" y="601"/>
                </a:cubicBezTo>
                <a:cubicBezTo>
                  <a:pt x="1473" y="606"/>
                  <a:pt x="1473" y="609"/>
                  <a:pt x="1472" y="610"/>
                </a:cubicBezTo>
                <a:cubicBezTo>
                  <a:pt x="1471" y="610"/>
                  <a:pt x="1470" y="611"/>
                  <a:pt x="1470" y="612"/>
                </a:cubicBezTo>
                <a:cubicBezTo>
                  <a:pt x="1470" y="613"/>
                  <a:pt x="1471" y="613"/>
                  <a:pt x="1471" y="613"/>
                </a:cubicBezTo>
                <a:lnTo>
                  <a:pt x="1474" y="612"/>
                </a:lnTo>
                <a:cubicBezTo>
                  <a:pt x="1474" y="612"/>
                  <a:pt x="1474" y="614"/>
                  <a:pt x="1473" y="615"/>
                </a:cubicBezTo>
                <a:cubicBezTo>
                  <a:pt x="1471" y="617"/>
                  <a:pt x="1471" y="618"/>
                  <a:pt x="1471" y="619"/>
                </a:cubicBezTo>
                <a:lnTo>
                  <a:pt x="1471" y="621"/>
                </a:lnTo>
                <a:cubicBezTo>
                  <a:pt x="1471" y="624"/>
                  <a:pt x="1468" y="635"/>
                  <a:pt x="1460" y="654"/>
                </a:cubicBezTo>
                <a:lnTo>
                  <a:pt x="1459" y="657"/>
                </a:lnTo>
                <a:lnTo>
                  <a:pt x="1460" y="658"/>
                </a:lnTo>
                <a:close/>
                <a:moveTo>
                  <a:pt x="1470" y="568"/>
                </a:moveTo>
                <a:cubicBezTo>
                  <a:pt x="1472" y="568"/>
                  <a:pt x="1472" y="568"/>
                  <a:pt x="1472" y="567"/>
                </a:cubicBezTo>
                <a:cubicBezTo>
                  <a:pt x="1472" y="566"/>
                  <a:pt x="1471" y="563"/>
                  <a:pt x="1470" y="559"/>
                </a:cubicBezTo>
                <a:cubicBezTo>
                  <a:pt x="1465" y="550"/>
                  <a:pt x="1462" y="543"/>
                  <a:pt x="1459" y="540"/>
                </a:cubicBezTo>
                <a:cubicBezTo>
                  <a:pt x="1456" y="537"/>
                  <a:pt x="1454" y="535"/>
                  <a:pt x="1454" y="534"/>
                </a:cubicBezTo>
                <a:cubicBezTo>
                  <a:pt x="1454" y="534"/>
                  <a:pt x="1454" y="534"/>
                  <a:pt x="1454" y="534"/>
                </a:cubicBezTo>
                <a:lnTo>
                  <a:pt x="1454" y="533"/>
                </a:lnTo>
                <a:cubicBezTo>
                  <a:pt x="1454" y="532"/>
                  <a:pt x="1454" y="531"/>
                  <a:pt x="1453" y="531"/>
                </a:cubicBezTo>
                <a:lnTo>
                  <a:pt x="1452" y="530"/>
                </a:lnTo>
                <a:cubicBezTo>
                  <a:pt x="1451" y="530"/>
                  <a:pt x="1451" y="531"/>
                  <a:pt x="1451" y="531"/>
                </a:cubicBezTo>
                <a:cubicBezTo>
                  <a:pt x="1451" y="534"/>
                  <a:pt x="1453" y="537"/>
                  <a:pt x="1455" y="539"/>
                </a:cubicBezTo>
                <a:cubicBezTo>
                  <a:pt x="1456" y="540"/>
                  <a:pt x="1458" y="542"/>
                  <a:pt x="1459" y="545"/>
                </a:cubicBezTo>
                <a:cubicBezTo>
                  <a:pt x="1459" y="547"/>
                  <a:pt x="1460" y="549"/>
                  <a:pt x="1461" y="549"/>
                </a:cubicBezTo>
                <a:cubicBezTo>
                  <a:pt x="1462" y="550"/>
                  <a:pt x="1463" y="551"/>
                  <a:pt x="1463" y="553"/>
                </a:cubicBezTo>
                <a:lnTo>
                  <a:pt x="1462" y="554"/>
                </a:lnTo>
                <a:cubicBezTo>
                  <a:pt x="1462" y="554"/>
                  <a:pt x="1463" y="555"/>
                  <a:pt x="1464" y="555"/>
                </a:cubicBezTo>
                <a:cubicBezTo>
                  <a:pt x="1465" y="555"/>
                  <a:pt x="1466" y="556"/>
                  <a:pt x="1466" y="557"/>
                </a:cubicBezTo>
                <a:lnTo>
                  <a:pt x="1465" y="563"/>
                </a:lnTo>
                <a:lnTo>
                  <a:pt x="1466" y="565"/>
                </a:lnTo>
                <a:lnTo>
                  <a:pt x="1467" y="565"/>
                </a:lnTo>
                <a:cubicBezTo>
                  <a:pt x="1468" y="565"/>
                  <a:pt x="1468" y="565"/>
                  <a:pt x="1468" y="566"/>
                </a:cubicBezTo>
                <a:cubicBezTo>
                  <a:pt x="1468" y="567"/>
                  <a:pt x="1469" y="568"/>
                  <a:pt x="1470" y="568"/>
                </a:cubicBezTo>
                <a:close/>
                <a:moveTo>
                  <a:pt x="1436" y="627"/>
                </a:moveTo>
                <a:cubicBezTo>
                  <a:pt x="1436" y="627"/>
                  <a:pt x="1437" y="627"/>
                  <a:pt x="1438" y="626"/>
                </a:cubicBezTo>
                <a:cubicBezTo>
                  <a:pt x="1438" y="625"/>
                  <a:pt x="1439" y="624"/>
                  <a:pt x="1439" y="623"/>
                </a:cubicBezTo>
                <a:cubicBezTo>
                  <a:pt x="1439" y="622"/>
                  <a:pt x="1440" y="621"/>
                  <a:pt x="1440" y="620"/>
                </a:cubicBezTo>
                <a:cubicBezTo>
                  <a:pt x="1440" y="620"/>
                  <a:pt x="1439" y="619"/>
                  <a:pt x="1439" y="619"/>
                </a:cubicBezTo>
                <a:cubicBezTo>
                  <a:pt x="1439" y="619"/>
                  <a:pt x="1438" y="620"/>
                  <a:pt x="1438" y="621"/>
                </a:cubicBezTo>
                <a:cubicBezTo>
                  <a:pt x="1436" y="623"/>
                  <a:pt x="1435" y="625"/>
                  <a:pt x="1435" y="627"/>
                </a:cubicBezTo>
                <a:cubicBezTo>
                  <a:pt x="1435" y="627"/>
                  <a:pt x="1436" y="627"/>
                  <a:pt x="1436" y="627"/>
                </a:cubicBezTo>
                <a:close/>
                <a:moveTo>
                  <a:pt x="1390" y="579"/>
                </a:moveTo>
                <a:cubicBezTo>
                  <a:pt x="1391" y="579"/>
                  <a:pt x="1393" y="576"/>
                  <a:pt x="1397" y="569"/>
                </a:cubicBezTo>
                <a:lnTo>
                  <a:pt x="1398" y="567"/>
                </a:lnTo>
                <a:cubicBezTo>
                  <a:pt x="1397" y="567"/>
                  <a:pt x="1396" y="568"/>
                  <a:pt x="1394" y="571"/>
                </a:cubicBezTo>
                <a:cubicBezTo>
                  <a:pt x="1391" y="575"/>
                  <a:pt x="1390" y="577"/>
                  <a:pt x="1390" y="579"/>
                </a:cubicBezTo>
                <a:cubicBezTo>
                  <a:pt x="1390" y="579"/>
                  <a:pt x="1390" y="579"/>
                  <a:pt x="1390" y="579"/>
                </a:cubicBezTo>
                <a:close/>
                <a:moveTo>
                  <a:pt x="1387" y="590"/>
                </a:moveTo>
                <a:cubicBezTo>
                  <a:pt x="1389" y="590"/>
                  <a:pt x="1390" y="590"/>
                  <a:pt x="1390" y="588"/>
                </a:cubicBezTo>
                <a:lnTo>
                  <a:pt x="1390" y="588"/>
                </a:lnTo>
                <a:cubicBezTo>
                  <a:pt x="1390" y="588"/>
                  <a:pt x="1390" y="587"/>
                  <a:pt x="1390" y="586"/>
                </a:cubicBezTo>
                <a:cubicBezTo>
                  <a:pt x="1390" y="585"/>
                  <a:pt x="1390" y="585"/>
                  <a:pt x="1390" y="584"/>
                </a:cubicBezTo>
                <a:cubicBezTo>
                  <a:pt x="1390" y="583"/>
                  <a:pt x="1390" y="583"/>
                  <a:pt x="1389" y="583"/>
                </a:cubicBezTo>
                <a:cubicBezTo>
                  <a:pt x="1389" y="583"/>
                  <a:pt x="1388" y="584"/>
                  <a:pt x="1387" y="585"/>
                </a:cubicBezTo>
                <a:cubicBezTo>
                  <a:pt x="1386" y="587"/>
                  <a:pt x="1385" y="588"/>
                  <a:pt x="1384" y="588"/>
                </a:cubicBezTo>
                <a:lnTo>
                  <a:pt x="1382" y="587"/>
                </a:lnTo>
                <a:lnTo>
                  <a:pt x="1382" y="588"/>
                </a:lnTo>
                <a:cubicBezTo>
                  <a:pt x="1382" y="588"/>
                  <a:pt x="1382" y="588"/>
                  <a:pt x="1382" y="589"/>
                </a:cubicBezTo>
                <a:cubicBezTo>
                  <a:pt x="1383" y="590"/>
                  <a:pt x="1384" y="590"/>
                  <a:pt x="1387" y="590"/>
                </a:cubicBezTo>
                <a:close/>
                <a:moveTo>
                  <a:pt x="1361" y="740"/>
                </a:moveTo>
                <a:cubicBezTo>
                  <a:pt x="1361" y="740"/>
                  <a:pt x="1361" y="739"/>
                  <a:pt x="1361" y="737"/>
                </a:cubicBezTo>
                <a:lnTo>
                  <a:pt x="1361" y="734"/>
                </a:lnTo>
                <a:cubicBezTo>
                  <a:pt x="1361" y="729"/>
                  <a:pt x="1360" y="727"/>
                  <a:pt x="1358" y="727"/>
                </a:cubicBezTo>
                <a:cubicBezTo>
                  <a:pt x="1356" y="727"/>
                  <a:pt x="1355" y="728"/>
                  <a:pt x="1355" y="731"/>
                </a:cubicBezTo>
                <a:cubicBezTo>
                  <a:pt x="1355" y="733"/>
                  <a:pt x="1356" y="735"/>
                  <a:pt x="1357" y="737"/>
                </a:cubicBezTo>
                <a:cubicBezTo>
                  <a:pt x="1359" y="739"/>
                  <a:pt x="1360" y="740"/>
                  <a:pt x="1361" y="740"/>
                </a:cubicBezTo>
                <a:close/>
                <a:moveTo>
                  <a:pt x="1364" y="690"/>
                </a:moveTo>
                <a:cubicBezTo>
                  <a:pt x="1365" y="690"/>
                  <a:pt x="1366" y="688"/>
                  <a:pt x="1366" y="686"/>
                </a:cubicBezTo>
                <a:cubicBezTo>
                  <a:pt x="1366" y="684"/>
                  <a:pt x="1365" y="683"/>
                  <a:pt x="1364" y="683"/>
                </a:cubicBezTo>
                <a:cubicBezTo>
                  <a:pt x="1362" y="683"/>
                  <a:pt x="1362" y="683"/>
                  <a:pt x="1362" y="685"/>
                </a:cubicBezTo>
                <a:cubicBezTo>
                  <a:pt x="1362" y="686"/>
                  <a:pt x="1362" y="687"/>
                  <a:pt x="1363" y="688"/>
                </a:cubicBezTo>
                <a:cubicBezTo>
                  <a:pt x="1364" y="689"/>
                  <a:pt x="1364" y="690"/>
                  <a:pt x="1364" y="690"/>
                </a:cubicBezTo>
                <a:close/>
                <a:moveTo>
                  <a:pt x="1366" y="676"/>
                </a:moveTo>
                <a:cubicBezTo>
                  <a:pt x="1367" y="676"/>
                  <a:pt x="1367" y="675"/>
                  <a:pt x="1368" y="674"/>
                </a:cubicBezTo>
                <a:lnTo>
                  <a:pt x="1368" y="672"/>
                </a:lnTo>
                <a:cubicBezTo>
                  <a:pt x="1368" y="671"/>
                  <a:pt x="1368" y="670"/>
                  <a:pt x="1367" y="670"/>
                </a:cubicBezTo>
                <a:lnTo>
                  <a:pt x="1366" y="669"/>
                </a:lnTo>
                <a:cubicBezTo>
                  <a:pt x="1365" y="669"/>
                  <a:pt x="1364" y="670"/>
                  <a:pt x="1364" y="671"/>
                </a:cubicBezTo>
                <a:cubicBezTo>
                  <a:pt x="1364" y="672"/>
                  <a:pt x="1364" y="673"/>
                  <a:pt x="1365" y="674"/>
                </a:cubicBezTo>
                <a:cubicBezTo>
                  <a:pt x="1366" y="675"/>
                  <a:pt x="1366" y="676"/>
                  <a:pt x="1366" y="676"/>
                </a:cubicBezTo>
                <a:close/>
                <a:moveTo>
                  <a:pt x="1354" y="721"/>
                </a:moveTo>
                <a:cubicBezTo>
                  <a:pt x="1355" y="721"/>
                  <a:pt x="1357" y="720"/>
                  <a:pt x="1358" y="718"/>
                </a:cubicBezTo>
                <a:cubicBezTo>
                  <a:pt x="1360" y="718"/>
                  <a:pt x="1361" y="715"/>
                  <a:pt x="1361" y="713"/>
                </a:cubicBezTo>
                <a:cubicBezTo>
                  <a:pt x="1361" y="712"/>
                  <a:pt x="1361" y="712"/>
                  <a:pt x="1360" y="711"/>
                </a:cubicBezTo>
                <a:lnTo>
                  <a:pt x="1359" y="712"/>
                </a:lnTo>
                <a:cubicBezTo>
                  <a:pt x="1358" y="712"/>
                  <a:pt x="1357" y="710"/>
                  <a:pt x="1357" y="705"/>
                </a:cubicBezTo>
                <a:cubicBezTo>
                  <a:pt x="1357" y="701"/>
                  <a:pt x="1357" y="700"/>
                  <a:pt x="1358" y="700"/>
                </a:cubicBezTo>
                <a:cubicBezTo>
                  <a:pt x="1358" y="700"/>
                  <a:pt x="1359" y="701"/>
                  <a:pt x="1359" y="704"/>
                </a:cubicBezTo>
                <a:cubicBezTo>
                  <a:pt x="1360" y="707"/>
                  <a:pt x="1361" y="708"/>
                  <a:pt x="1361" y="708"/>
                </a:cubicBezTo>
                <a:cubicBezTo>
                  <a:pt x="1362" y="708"/>
                  <a:pt x="1362" y="706"/>
                  <a:pt x="1362" y="701"/>
                </a:cubicBezTo>
                <a:lnTo>
                  <a:pt x="1362" y="699"/>
                </a:lnTo>
                <a:cubicBezTo>
                  <a:pt x="1362" y="696"/>
                  <a:pt x="1362" y="695"/>
                  <a:pt x="1361" y="695"/>
                </a:cubicBezTo>
                <a:cubicBezTo>
                  <a:pt x="1360" y="695"/>
                  <a:pt x="1359" y="693"/>
                  <a:pt x="1359" y="691"/>
                </a:cubicBezTo>
                <a:cubicBezTo>
                  <a:pt x="1359" y="686"/>
                  <a:pt x="1360" y="682"/>
                  <a:pt x="1362" y="681"/>
                </a:cubicBezTo>
                <a:cubicBezTo>
                  <a:pt x="1364" y="680"/>
                  <a:pt x="1366" y="679"/>
                  <a:pt x="1366" y="679"/>
                </a:cubicBezTo>
                <a:cubicBezTo>
                  <a:pt x="1366" y="679"/>
                  <a:pt x="1365" y="679"/>
                  <a:pt x="1364" y="679"/>
                </a:cubicBezTo>
                <a:cubicBezTo>
                  <a:pt x="1363" y="679"/>
                  <a:pt x="1362" y="676"/>
                  <a:pt x="1362" y="670"/>
                </a:cubicBezTo>
                <a:cubicBezTo>
                  <a:pt x="1362" y="665"/>
                  <a:pt x="1363" y="663"/>
                  <a:pt x="1364" y="663"/>
                </a:cubicBezTo>
                <a:cubicBezTo>
                  <a:pt x="1365" y="663"/>
                  <a:pt x="1366" y="664"/>
                  <a:pt x="1368" y="665"/>
                </a:cubicBezTo>
                <a:lnTo>
                  <a:pt x="1370" y="667"/>
                </a:lnTo>
                <a:cubicBezTo>
                  <a:pt x="1370" y="666"/>
                  <a:pt x="1370" y="666"/>
                  <a:pt x="1370" y="666"/>
                </a:cubicBezTo>
                <a:cubicBezTo>
                  <a:pt x="1369" y="666"/>
                  <a:pt x="1369" y="665"/>
                  <a:pt x="1369" y="664"/>
                </a:cubicBezTo>
                <a:cubicBezTo>
                  <a:pt x="1369" y="663"/>
                  <a:pt x="1370" y="662"/>
                  <a:pt x="1371" y="661"/>
                </a:cubicBezTo>
                <a:cubicBezTo>
                  <a:pt x="1372" y="659"/>
                  <a:pt x="1372" y="658"/>
                  <a:pt x="1373" y="656"/>
                </a:cubicBezTo>
                <a:cubicBezTo>
                  <a:pt x="1374" y="654"/>
                  <a:pt x="1374" y="652"/>
                  <a:pt x="1374" y="650"/>
                </a:cubicBezTo>
                <a:cubicBezTo>
                  <a:pt x="1374" y="649"/>
                  <a:pt x="1374" y="648"/>
                  <a:pt x="1373" y="648"/>
                </a:cubicBezTo>
                <a:cubicBezTo>
                  <a:pt x="1372" y="648"/>
                  <a:pt x="1371" y="649"/>
                  <a:pt x="1370" y="650"/>
                </a:cubicBezTo>
                <a:cubicBezTo>
                  <a:pt x="1369" y="652"/>
                  <a:pt x="1369" y="654"/>
                  <a:pt x="1369" y="655"/>
                </a:cubicBezTo>
                <a:cubicBezTo>
                  <a:pt x="1369" y="657"/>
                  <a:pt x="1368" y="658"/>
                  <a:pt x="1366" y="659"/>
                </a:cubicBezTo>
                <a:cubicBezTo>
                  <a:pt x="1366" y="659"/>
                  <a:pt x="1365" y="659"/>
                  <a:pt x="1365" y="658"/>
                </a:cubicBezTo>
                <a:cubicBezTo>
                  <a:pt x="1365" y="657"/>
                  <a:pt x="1365" y="656"/>
                  <a:pt x="1366" y="653"/>
                </a:cubicBezTo>
                <a:lnTo>
                  <a:pt x="1367" y="644"/>
                </a:lnTo>
                <a:cubicBezTo>
                  <a:pt x="1367" y="642"/>
                  <a:pt x="1369" y="641"/>
                  <a:pt x="1372" y="641"/>
                </a:cubicBezTo>
                <a:lnTo>
                  <a:pt x="1372" y="641"/>
                </a:lnTo>
                <a:cubicBezTo>
                  <a:pt x="1375" y="641"/>
                  <a:pt x="1376" y="639"/>
                  <a:pt x="1376" y="637"/>
                </a:cubicBezTo>
                <a:cubicBezTo>
                  <a:pt x="1376" y="635"/>
                  <a:pt x="1375" y="634"/>
                  <a:pt x="1372" y="633"/>
                </a:cubicBezTo>
                <a:lnTo>
                  <a:pt x="1371" y="633"/>
                </a:lnTo>
                <a:cubicBezTo>
                  <a:pt x="1371" y="632"/>
                  <a:pt x="1373" y="632"/>
                  <a:pt x="1375" y="632"/>
                </a:cubicBezTo>
                <a:cubicBezTo>
                  <a:pt x="1377" y="632"/>
                  <a:pt x="1377" y="631"/>
                  <a:pt x="1377" y="630"/>
                </a:cubicBezTo>
                <a:lnTo>
                  <a:pt x="1377" y="629"/>
                </a:lnTo>
                <a:cubicBezTo>
                  <a:pt x="1377" y="627"/>
                  <a:pt x="1376" y="627"/>
                  <a:pt x="1375" y="627"/>
                </a:cubicBezTo>
                <a:cubicBezTo>
                  <a:pt x="1374" y="627"/>
                  <a:pt x="1374" y="627"/>
                  <a:pt x="1374" y="627"/>
                </a:cubicBezTo>
                <a:cubicBezTo>
                  <a:pt x="1371" y="627"/>
                  <a:pt x="1370" y="627"/>
                  <a:pt x="1370" y="626"/>
                </a:cubicBezTo>
                <a:cubicBezTo>
                  <a:pt x="1370" y="625"/>
                  <a:pt x="1371" y="624"/>
                  <a:pt x="1372" y="624"/>
                </a:cubicBezTo>
                <a:lnTo>
                  <a:pt x="1376" y="624"/>
                </a:lnTo>
                <a:cubicBezTo>
                  <a:pt x="1378" y="624"/>
                  <a:pt x="1380" y="622"/>
                  <a:pt x="1382" y="620"/>
                </a:cubicBezTo>
                <a:cubicBezTo>
                  <a:pt x="1383" y="617"/>
                  <a:pt x="1384" y="614"/>
                  <a:pt x="1384" y="610"/>
                </a:cubicBezTo>
                <a:cubicBezTo>
                  <a:pt x="1384" y="608"/>
                  <a:pt x="1384" y="606"/>
                  <a:pt x="1383" y="605"/>
                </a:cubicBezTo>
                <a:lnTo>
                  <a:pt x="1381" y="603"/>
                </a:lnTo>
                <a:lnTo>
                  <a:pt x="1382" y="608"/>
                </a:lnTo>
                <a:cubicBezTo>
                  <a:pt x="1382" y="609"/>
                  <a:pt x="1382" y="609"/>
                  <a:pt x="1381" y="610"/>
                </a:cubicBezTo>
                <a:cubicBezTo>
                  <a:pt x="1380" y="610"/>
                  <a:pt x="1380" y="611"/>
                  <a:pt x="1380" y="614"/>
                </a:cubicBezTo>
                <a:cubicBezTo>
                  <a:pt x="1380" y="618"/>
                  <a:pt x="1379" y="620"/>
                  <a:pt x="1376" y="620"/>
                </a:cubicBezTo>
                <a:cubicBezTo>
                  <a:pt x="1375" y="620"/>
                  <a:pt x="1374" y="619"/>
                  <a:pt x="1374" y="618"/>
                </a:cubicBezTo>
                <a:lnTo>
                  <a:pt x="1372" y="617"/>
                </a:lnTo>
                <a:cubicBezTo>
                  <a:pt x="1372" y="617"/>
                  <a:pt x="1373" y="617"/>
                  <a:pt x="1373" y="617"/>
                </a:cubicBezTo>
                <a:lnTo>
                  <a:pt x="1376" y="618"/>
                </a:lnTo>
                <a:cubicBezTo>
                  <a:pt x="1376" y="618"/>
                  <a:pt x="1376" y="618"/>
                  <a:pt x="1376" y="617"/>
                </a:cubicBezTo>
                <a:cubicBezTo>
                  <a:pt x="1376" y="617"/>
                  <a:pt x="1376" y="615"/>
                  <a:pt x="1375" y="613"/>
                </a:cubicBezTo>
                <a:cubicBezTo>
                  <a:pt x="1374" y="612"/>
                  <a:pt x="1373" y="611"/>
                  <a:pt x="1372" y="611"/>
                </a:cubicBezTo>
                <a:lnTo>
                  <a:pt x="1371" y="611"/>
                </a:lnTo>
                <a:cubicBezTo>
                  <a:pt x="1371" y="611"/>
                  <a:pt x="1372" y="610"/>
                  <a:pt x="1374" y="608"/>
                </a:cubicBezTo>
                <a:cubicBezTo>
                  <a:pt x="1376" y="607"/>
                  <a:pt x="1376" y="605"/>
                  <a:pt x="1376" y="604"/>
                </a:cubicBezTo>
                <a:cubicBezTo>
                  <a:pt x="1376" y="604"/>
                  <a:pt x="1376" y="604"/>
                  <a:pt x="1376" y="604"/>
                </a:cubicBezTo>
                <a:lnTo>
                  <a:pt x="1376" y="603"/>
                </a:lnTo>
                <a:cubicBezTo>
                  <a:pt x="1376" y="602"/>
                  <a:pt x="1377" y="600"/>
                  <a:pt x="1378" y="598"/>
                </a:cubicBezTo>
                <a:cubicBezTo>
                  <a:pt x="1380" y="596"/>
                  <a:pt x="1380" y="595"/>
                  <a:pt x="1380" y="594"/>
                </a:cubicBezTo>
                <a:cubicBezTo>
                  <a:pt x="1380" y="594"/>
                  <a:pt x="1380" y="593"/>
                  <a:pt x="1380" y="593"/>
                </a:cubicBezTo>
                <a:cubicBezTo>
                  <a:pt x="1378" y="593"/>
                  <a:pt x="1376" y="594"/>
                  <a:pt x="1375" y="596"/>
                </a:cubicBezTo>
                <a:cubicBezTo>
                  <a:pt x="1373" y="598"/>
                  <a:pt x="1371" y="599"/>
                  <a:pt x="1369" y="599"/>
                </a:cubicBezTo>
                <a:lnTo>
                  <a:pt x="1368" y="599"/>
                </a:lnTo>
                <a:cubicBezTo>
                  <a:pt x="1366" y="599"/>
                  <a:pt x="1366" y="600"/>
                  <a:pt x="1366" y="602"/>
                </a:cubicBezTo>
                <a:cubicBezTo>
                  <a:pt x="1366" y="604"/>
                  <a:pt x="1365" y="607"/>
                  <a:pt x="1363" y="610"/>
                </a:cubicBezTo>
                <a:cubicBezTo>
                  <a:pt x="1362" y="611"/>
                  <a:pt x="1362" y="612"/>
                  <a:pt x="1362" y="612"/>
                </a:cubicBezTo>
                <a:lnTo>
                  <a:pt x="1366" y="610"/>
                </a:lnTo>
                <a:cubicBezTo>
                  <a:pt x="1366" y="610"/>
                  <a:pt x="1365" y="611"/>
                  <a:pt x="1364" y="612"/>
                </a:cubicBezTo>
                <a:cubicBezTo>
                  <a:pt x="1363" y="614"/>
                  <a:pt x="1362" y="615"/>
                  <a:pt x="1362" y="616"/>
                </a:cubicBezTo>
                <a:lnTo>
                  <a:pt x="1364" y="618"/>
                </a:lnTo>
                <a:cubicBezTo>
                  <a:pt x="1364" y="619"/>
                  <a:pt x="1363" y="619"/>
                  <a:pt x="1362" y="619"/>
                </a:cubicBezTo>
                <a:cubicBezTo>
                  <a:pt x="1361" y="619"/>
                  <a:pt x="1360" y="621"/>
                  <a:pt x="1360" y="626"/>
                </a:cubicBezTo>
                <a:lnTo>
                  <a:pt x="1359" y="629"/>
                </a:lnTo>
                <a:lnTo>
                  <a:pt x="1359" y="629"/>
                </a:lnTo>
                <a:cubicBezTo>
                  <a:pt x="1357" y="629"/>
                  <a:pt x="1357" y="631"/>
                  <a:pt x="1356" y="634"/>
                </a:cubicBezTo>
                <a:cubicBezTo>
                  <a:pt x="1355" y="638"/>
                  <a:pt x="1354" y="639"/>
                  <a:pt x="1352" y="639"/>
                </a:cubicBezTo>
                <a:cubicBezTo>
                  <a:pt x="1352" y="639"/>
                  <a:pt x="1352" y="639"/>
                  <a:pt x="1352" y="639"/>
                </a:cubicBezTo>
                <a:cubicBezTo>
                  <a:pt x="1352" y="638"/>
                  <a:pt x="1352" y="637"/>
                  <a:pt x="1352" y="637"/>
                </a:cubicBezTo>
                <a:cubicBezTo>
                  <a:pt x="1352" y="636"/>
                  <a:pt x="1352" y="636"/>
                  <a:pt x="1352" y="635"/>
                </a:cubicBezTo>
                <a:cubicBezTo>
                  <a:pt x="1352" y="635"/>
                  <a:pt x="1352" y="635"/>
                  <a:pt x="1352" y="635"/>
                </a:cubicBezTo>
                <a:lnTo>
                  <a:pt x="1351" y="636"/>
                </a:lnTo>
                <a:cubicBezTo>
                  <a:pt x="1350" y="637"/>
                  <a:pt x="1349" y="639"/>
                  <a:pt x="1347" y="641"/>
                </a:cubicBezTo>
                <a:cubicBezTo>
                  <a:pt x="1346" y="644"/>
                  <a:pt x="1346" y="646"/>
                  <a:pt x="1346" y="648"/>
                </a:cubicBezTo>
                <a:cubicBezTo>
                  <a:pt x="1346" y="649"/>
                  <a:pt x="1346" y="650"/>
                  <a:pt x="1347" y="651"/>
                </a:cubicBezTo>
                <a:cubicBezTo>
                  <a:pt x="1350" y="651"/>
                  <a:pt x="1352" y="654"/>
                  <a:pt x="1352" y="659"/>
                </a:cubicBezTo>
                <a:cubicBezTo>
                  <a:pt x="1352" y="664"/>
                  <a:pt x="1351" y="671"/>
                  <a:pt x="1350" y="681"/>
                </a:cubicBezTo>
                <a:lnTo>
                  <a:pt x="1349" y="685"/>
                </a:lnTo>
                <a:cubicBezTo>
                  <a:pt x="1349" y="685"/>
                  <a:pt x="1350" y="684"/>
                  <a:pt x="1351" y="683"/>
                </a:cubicBezTo>
                <a:cubicBezTo>
                  <a:pt x="1351" y="682"/>
                  <a:pt x="1352" y="681"/>
                  <a:pt x="1352" y="681"/>
                </a:cubicBezTo>
                <a:cubicBezTo>
                  <a:pt x="1352" y="681"/>
                  <a:pt x="1352" y="683"/>
                  <a:pt x="1352" y="685"/>
                </a:cubicBezTo>
                <a:cubicBezTo>
                  <a:pt x="1352" y="687"/>
                  <a:pt x="1351" y="688"/>
                  <a:pt x="1350" y="688"/>
                </a:cubicBezTo>
                <a:cubicBezTo>
                  <a:pt x="1349" y="688"/>
                  <a:pt x="1349" y="689"/>
                  <a:pt x="1349" y="691"/>
                </a:cubicBezTo>
                <a:cubicBezTo>
                  <a:pt x="1349" y="692"/>
                  <a:pt x="1349" y="692"/>
                  <a:pt x="1349" y="693"/>
                </a:cubicBezTo>
                <a:cubicBezTo>
                  <a:pt x="1350" y="694"/>
                  <a:pt x="1350" y="695"/>
                  <a:pt x="1351" y="695"/>
                </a:cubicBezTo>
                <a:cubicBezTo>
                  <a:pt x="1352" y="695"/>
                  <a:pt x="1352" y="698"/>
                  <a:pt x="1352" y="704"/>
                </a:cubicBezTo>
                <a:cubicBezTo>
                  <a:pt x="1352" y="715"/>
                  <a:pt x="1353" y="721"/>
                  <a:pt x="1354" y="721"/>
                </a:cubicBezTo>
                <a:close/>
                <a:moveTo>
                  <a:pt x="1369" y="732"/>
                </a:moveTo>
                <a:cubicBezTo>
                  <a:pt x="1371" y="732"/>
                  <a:pt x="1374" y="729"/>
                  <a:pt x="1379" y="722"/>
                </a:cubicBezTo>
                <a:cubicBezTo>
                  <a:pt x="1382" y="718"/>
                  <a:pt x="1385" y="715"/>
                  <a:pt x="1387" y="713"/>
                </a:cubicBezTo>
                <a:lnTo>
                  <a:pt x="1392" y="710"/>
                </a:lnTo>
                <a:lnTo>
                  <a:pt x="1393" y="710"/>
                </a:lnTo>
                <a:cubicBezTo>
                  <a:pt x="1394" y="710"/>
                  <a:pt x="1394" y="710"/>
                  <a:pt x="1394" y="709"/>
                </a:cubicBezTo>
                <a:lnTo>
                  <a:pt x="1393" y="708"/>
                </a:lnTo>
                <a:cubicBezTo>
                  <a:pt x="1393" y="707"/>
                  <a:pt x="1395" y="705"/>
                  <a:pt x="1398" y="702"/>
                </a:cubicBezTo>
                <a:cubicBezTo>
                  <a:pt x="1400" y="700"/>
                  <a:pt x="1403" y="697"/>
                  <a:pt x="1406" y="695"/>
                </a:cubicBezTo>
                <a:cubicBezTo>
                  <a:pt x="1409" y="692"/>
                  <a:pt x="1412" y="691"/>
                  <a:pt x="1413" y="691"/>
                </a:cubicBezTo>
                <a:lnTo>
                  <a:pt x="1415" y="692"/>
                </a:lnTo>
                <a:cubicBezTo>
                  <a:pt x="1417" y="692"/>
                  <a:pt x="1418" y="691"/>
                  <a:pt x="1420" y="690"/>
                </a:cubicBezTo>
                <a:cubicBezTo>
                  <a:pt x="1421" y="688"/>
                  <a:pt x="1422" y="688"/>
                  <a:pt x="1423" y="688"/>
                </a:cubicBezTo>
                <a:lnTo>
                  <a:pt x="1421" y="691"/>
                </a:lnTo>
                <a:lnTo>
                  <a:pt x="1421" y="691"/>
                </a:lnTo>
                <a:lnTo>
                  <a:pt x="1425" y="687"/>
                </a:lnTo>
                <a:cubicBezTo>
                  <a:pt x="1429" y="683"/>
                  <a:pt x="1431" y="680"/>
                  <a:pt x="1431" y="679"/>
                </a:cubicBezTo>
                <a:cubicBezTo>
                  <a:pt x="1431" y="679"/>
                  <a:pt x="1431" y="679"/>
                  <a:pt x="1431" y="679"/>
                </a:cubicBezTo>
                <a:lnTo>
                  <a:pt x="1428" y="680"/>
                </a:lnTo>
                <a:cubicBezTo>
                  <a:pt x="1428" y="679"/>
                  <a:pt x="1428" y="678"/>
                  <a:pt x="1429" y="676"/>
                </a:cubicBezTo>
                <a:cubicBezTo>
                  <a:pt x="1430" y="675"/>
                  <a:pt x="1430" y="674"/>
                  <a:pt x="1431" y="673"/>
                </a:cubicBezTo>
                <a:cubicBezTo>
                  <a:pt x="1432" y="672"/>
                  <a:pt x="1432" y="671"/>
                  <a:pt x="1433" y="671"/>
                </a:cubicBezTo>
                <a:lnTo>
                  <a:pt x="1433" y="672"/>
                </a:lnTo>
                <a:lnTo>
                  <a:pt x="1432" y="676"/>
                </a:lnTo>
                <a:cubicBezTo>
                  <a:pt x="1432" y="676"/>
                  <a:pt x="1433" y="674"/>
                  <a:pt x="1434" y="672"/>
                </a:cubicBezTo>
                <a:cubicBezTo>
                  <a:pt x="1436" y="670"/>
                  <a:pt x="1436" y="669"/>
                  <a:pt x="1436" y="667"/>
                </a:cubicBezTo>
                <a:lnTo>
                  <a:pt x="1436" y="665"/>
                </a:lnTo>
                <a:lnTo>
                  <a:pt x="1439" y="666"/>
                </a:lnTo>
                <a:cubicBezTo>
                  <a:pt x="1439" y="666"/>
                  <a:pt x="1440" y="666"/>
                  <a:pt x="1440" y="666"/>
                </a:cubicBezTo>
                <a:lnTo>
                  <a:pt x="1439" y="664"/>
                </a:lnTo>
                <a:cubicBezTo>
                  <a:pt x="1439" y="662"/>
                  <a:pt x="1441" y="656"/>
                  <a:pt x="1445" y="648"/>
                </a:cubicBezTo>
                <a:cubicBezTo>
                  <a:pt x="1450" y="638"/>
                  <a:pt x="1453" y="631"/>
                  <a:pt x="1454" y="626"/>
                </a:cubicBezTo>
                <a:cubicBezTo>
                  <a:pt x="1455" y="622"/>
                  <a:pt x="1456" y="619"/>
                  <a:pt x="1456" y="618"/>
                </a:cubicBezTo>
                <a:cubicBezTo>
                  <a:pt x="1459" y="608"/>
                  <a:pt x="1460" y="600"/>
                  <a:pt x="1460" y="591"/>
                </a:cubicBezTo>
                <a:cubicBezTo>
                  <a:pt x="1460" y="584"/>
                  <a:pt x="1459" y="579"/>
                  <a:pt x="1457" y="577"/>
                </a:cubicBezTo>
                <a:lnTo>
                  <a:pt x="1457" y="577"/>
                </a:lnTo>
                <a:cubicBezTo>
                  <a:pt x="1456" y="577"/>
                  <a:pt x="1455" y="580"/>
                  <a:pt x="1454" y="587"/>
                </a:cubicBezTo>
                <a:cubicBezTo>
                  <a:pt x="1453" y="593"/>
                  <a:pt x="1452" y="600"/>
                  <a:pt x="1449" y="608"/>
                </a:cubicBezTo>
                <a:cubicBezTo>
                  <a:pt x="1447" y="615"/>
                  <a:pt x="1445" y="620"/>
                  <a:pt x="1445" y="621"/>
                </a:cubicBezTo>
                <a:cubicBezTo>
                  <a:pt x="1445" y="623"/>
                  <a:pt x="1445" y="624"/>
                  <a:pt x="1444" y="625"/>
                </a:cubicBezTo>
                <a:cubicBezTo>
                  <a:pt x="1444" y="626"/>
                  <a:pt x="1444" y="626"/>
                  <a:pt x="1444" y="626"/>
                </a:cubicBezTo>
                <a:cubicBezTo>
                  <a:pt x="1444" y="627"/>
                  <a:pt x="1444" y="627"/>
                  <a:pt x="1444" y="627"/>
                </a:cubicBezTo>
                <a:lnTo>
                  <a:pt x="1444" y="628"/>
                </a:lnTo>
                <a:cubicBezTo>
                  <a:pt x="1444" y="630"/>
                  <a:pt x="1443" y="630"/>
                  <a:pt x="1443" y="630"/>
                </a:cubicBezTo>
                <a:cubicBezTo>
                  <a:pt x="1442" y="630"/>
                  <a:pt x="1441" y="631"/>
                  <a:pt x="1440" y="632"/>
                </a:cubicBezTo>
                <a:cubicBezTo>
                  <a:pt x="1438" y="636"/>
                  <a:pt x="1437" y="638"/>
                  <a:pt x="1437" y="641"/>
                </a:cubicBezTo>
                <a:lnTo>
                  <a:pt x="1437" y="643"/>
                </a:lnTo>
                <a:cubicBezTo>
                  <a:pt x="1437" y="643"/>
                  <a:pt x="1437" y="644"/>
                  <a:pt x="1437" y="644"/>
                </a:cubicBezTo>
                <a:lnTo>
                  <a:pt x="1434" y="642"/>
                </a:lnTo>
                <a:cubicBezTo>
                  <a:pt x="1433" y="642"/>
                  <a:pt x="1433" y="645"/>
                  <a:pt x="1432" y="650"/>
                </a:cubicBezTo>
                <a:cubicBezTo>
                  <a:pt x="1432" y="652"/>
                  <a:pt x="1432" y="653"/>
                  <a:pt x="1431" y="655"/>
                </a:cubicBezTo>
                <a:cubicBezTo>
                  <a:pt x="1431" y="657"/>
                  <a:pt x="1430" y="658"/>
                  <a:pt x="1429" y="658"/>
                </a:cubicBezTo>
                <a:lnTo>
                  <a:pt x="1429" y="657"/>
                </a:lnTo>
                <a:lnTo>
                  <a:pt x="1430" y="652"/>
                </a:lnTo>
                <a:cubicBezTo>
                  <a:pt x="1429" y="652"/>
                  <a:pt x="1427" y="655"/>
                  <a:pt x="1423" y="662"/>
                </a:cubicBezTo>
                <a:cubicBezTo>
                  <a:pt x="1418" y="669"/>
                  <a:pt x="1411" y="679"/>
                  <a:pt x="1401" y="690"/>
                </a:cubicBezTo>
                <a:cubicBezTo>
                  <a:pt x="1391" y="701"/>
                  <a:pt x="1386" y="708"/>
                  <a:pt x="1385" y="710"/>
                </a:cubicBezTo>
                <a:cubicBezTo>
                  <a:pt x="1384" y="712"/>
                  <a:pt x="1383" y="713"/>
                  <a:pt x="1381" y="713"/>
                </a:cubicBezTo>
                <a:cubicBezTo>
                  <a:pt x="1381" y="713"/>
                  <a:pt x="1380" y="713"/>
                  <a:pt x="1380" y="712"/>
                </a:cubicBezTo>
                <a:cubicBezTo>
                  <a:pt x="1380" y="711"/>
                  <a:pt x="1381" y="710"/>
                  <a:pt x="1383" y="708"/>
                </a:cubicBezTo>
                <a:cubicBezTo>
                  <a:pt x="1387" y="703"/>
                  <a:pt x="1389" y="700"/>
                  <a:pt x="1389" y="699"/>
                </a:cubicBezTo>
                <a:lnTo>
                  <a:pt x="1388" y="699"/>
                </a:lnTo>
                <a:cubicBezTo>
                  <a:pt x="1388" y="699"/>
                  <a:pt x="1386" y="700"/>
                  <a:pt x="1383" y="703"/>
                </a:cubicBezTo>
                <a:cubicBezTo>
                  <a:pt x="1379" y="707"/>
                  <a:pt x="1376" y="709"/>
                  <a:pt x="1374" y="709"/>
                </a:cubicBezTo>
                <a:lnTo>
                  <a:pt x="1373" y="709"/>
                </a:lnTo>
                <a:lnTo>
                  <a:pt x="1374" y="710"/>
                </a:lnTo>
                <a:cubicBezTo>
                  <a:pt x="1374" y="712"/>
                  <a:pt x="1373" y="713"/>
                  <a:pt x="1372" y="714"/>
                </a:cubicBezTo>
                <a:cubicBezTo>
                  <a:pt x="1371" y="717"/>
                  <a:pt x="1369" y="720"/>
                  <a:pt x="1369" y="726"/>
                </a:cubicBezTo>
                <a:lnTo>
                  <a:pt x="1369" y="730"/>
                </a:lnTo>
                <a:cubicBezTo>
                  <a:pt x="1369" y="731"/>
                  <a:pt x="1369" y="732"/>
                  <a:pt x="1369" y="732"/>
                </a:cubicBezTo>
                <a:close/>
                <a:moveTo>
                  <a:pt x="1420" y="704"/>
                </a:moveTo>
                <a:cubicBezTo>
                  <a:pt x="1421" y="704"/>
                  <a:pt x="1421" y="704"/>
                  <a:pt x="1423" y="703"/>
                </a:cubicBezTo>
                <a:lnTo>
                  <a:pt x="1419" y="702"/>
                </a:lnTo>
                <a:lnTo>
                  <a:pt x="1419" y="704"/>
                </a:lnTo>
                <a:lnTo>
                  <a:pt x="1420" y="704"/>
                </a:lnTo>
                <a:close/>
                <a:moveTo>
                  <a:pt x="1381" y="747"/>
                </a:moveTo>
                <a:cubicBezTo>
                  <a:pt x="1381" y="747"/>
                  <a:pt x="1381" y="747"/>
                  <a:pt x="1382" y="746"/>
                </a:cubicBezTo>
                <a:cubicBezTo>
                  <a:pt x="1382" y="746"/>
                  <a:pt x="1383" y="746"/>
                  <a:pt x="1383" y="746"/>
                </a:cubicBezTo>
                <a:cubicBezTo>
                  <a:pt x="1388" y="742"/>
                  <a:pt x="1391" y="740"/>
                  <a:pt x="1392" y="738"/>
                </a:cubicBezTo>
                <a:cubicBezTo>
                  <a:pt x="1394" y="735"/>
                  <a:pt x="1399" y="730"/>
                  <a:pt x="1407" y="723"/>
                </a:cubicBezTo>
                <a:cubicBezTo>
                  <a:pt x="1415" y="715"/>
                  <a:pt x="1419" y="711"/>
                  <a:pt x="1419" y="710"/>
                </a:cubicBezTo>
                <a:lnTo>
                  <a:pt x="1418" y="710"/>
                </a:lnTo>
                <a:cubicBezTo>
                  <a:pt x="1418" y="710"/>
                  <a:pt x="1417" y="709"/>
                  <a:pt x="1417" y="706"/>
                </a:cubicBezTo>
                <a:lnTo>
                  <a:pt x="1418" y="705"/>
                </a:lnTo>
                <a:lnTo>
                  <a:pt x="1417" y="705"/>
                </a:lnTo>
                <a:cubicBezTo>
                  <a:pt x="1416" y="705"/>
                  <a:pt x="1415" y="706"/>
                  <a:pt x="1413" y="709"/>
                </a:cubicBezTo>
                <a:cubicBezTo>
                  <a:pt x="1410" y="712"/>
                  <a:pt x="1408" y="714"/>
                  <a:pt x="1407" y="714"/>
                </a:cubicBezTo>
                <a:lnTo>
                  <a:pt x="1406" y="713"/>
                </a:lnTo>
                <a:cubicBezTo>
                  <a:pt x="1406" y="712"/>
                  <a:pt x="1408" y="710"/>
                  <a:pt x="1411" y="706"/>
                </a:cubicBezTo>
                <a:cubicBezTo>
                  <a:pt x="1413" y="705"/>
                  <a:pt x="1414" y="704"/>
                  <a:pt x="1415" y="702"/>
                </a:cubicBezTo>
                <a:lnTo>
                  <a:pt x="1416" y="699"/>
                </a:lnTo>
                <a:lnTo>
                  <a:pt x="1416" y="697"/>
                </a:lnTo>
                <a:cubicBezTo>
                  <a:pt x="1416" y="697"/>
                  <a:pt x="1417" y="697"/>
                  <a:pt x="1417" y="697"/>
                </a:cubicBezTo>
                <a:cubicBezTo>
                  <a:pt x="1418" y="697"/>
                  <a:pt x="1419" y="698"/>
                  <a:pt x="1421" y="701"/>
                </a:cubicBezTo>
                <a:lnTo>
                  <a:pt x="1423" y="703"/>
                </a:lnTo>
                <a:cubicBezTo>
                  <a:pt x="1425" y="702"/>
                  <a:pt x="1427" y="700"/>
                  <a:pt x="1429" y="696"/>
                </a:cubicBezTo>
                <a:cubicBezTo>
                  <a:pt x="1431" y="693"/>
                  <a:pt x="1431" y="691"/>
                  <a:pt x="1431" y="688"/>
                </a:cubicBezTo>
                <a:lnTo>
                  <a:pt x="1431" y="686"/>
                </a:lnTo>
                <a:cubicBezTo>
                  <a:pt x="1431" y="686"/>
                  <a:pt x="1431" y="686"/>
                  <a:pt x="1432" y="686"/>
                </a:cubicBezTo>
                <a:lnTo>
                  <a:pt x="1434" y="686"/>
                </a:lnTo>
                <a:cubicBezTo>
                  <a:pt x="1435" y="686"/>
                  <a:pt x="1437" y="685"/>
                  <a:pt x="1438" y="682"/>
                </a:cubicBezTo>
                <a:cubicBezTo>
                  <a:pt x="1439" y="679"/>
                  <a:pt x="1440" y="676"/>
                  <a:pt x="1441" y="673"/>
                </a:cubicBezTo>
                <a:lnTo>
                  <a:pt x="1442" y="670"/>
                </a:lnTo>
                <a:cubicBezTo>
                  <a:pt x="1442" y="670"/>
                  <a:pt x="1441" y="670"/>
                  <a:pt x="1441" y="670"/>
                </a:cubicBezTo>
                <a:cubicBezTo>
                  <a:pt x="1441" y="670"/>
                  <a:pt x="1439" y="671"/>
                  <a:pt x="1438" y="674"/>
                </a:cubicBezTo>
                <a:cubicBezTo>
                  <a:pt x="1436" y="677"/>
                  <a:pt x="1434" y="680"/>
                  <a:pt x="1434" y="682"/>
                </a:cubicBezTo>
                <a:lnTo>
                  <a:pt x="1434" y="683"/>
                </a:lnTo>
                <a:cubicBezTo>
                  <a:pt x="1434" y="684"/>
                  <a:pt x="1434" y="685"/>
                  <a:pt x="1434" y="685"/>
                </a:cubicBezTo>
                <a:lnTo>
                  <a:pt x="1433" y="684"/>
                </a:lnTo>
                <a:cubicBezTo>
                  <a:pt x="1432" y="684"/>
                  <a:pt x="1431" y="685"/>
                  <a:pt x="1429" y="686"/>
                </a:cubicBezTo>
                <a:cubicBezTo>
                  <a:pt x="1428" y="687"/>
                  <a:pt x="1428" y="688"/>
                  <a:pt x="1427" y="690"/>
                </a:cubicBezTo>
                <a:cubicBezTo>
                  <a:pt x="1426" y="691"/>
                  <a:pt x="1425" y="692"/>
                  <a:pt x="1425" y="693"/>
                </a:cubicBezTo>
                <a:cubicBezTo>
                  <a:pt x="1425" y="694"/>
                  <a:pt x="1426" y="694"/>
                  <a:pt x="1426" y="695"/>
                </a:cubicBezTo>
                <a:cubicBezTo>
                  <a:pt x="1426" y="695"/>
                  <a:pt x="1426" y="696"/>
                  <a:pt x="1426" y="696"/>
                </a:cubicBezTo>
                <a:lnTo>
                  <a:pt x="1423" y="695"/>
                </a:lnTo>
                <a:lnTo>
                  <a:pt x="1424" y="699"/>
                </a:lnTo>
                <a:lnTo>
                  <a:pt x="1422" y="697"/>
                </a:lnTo>
                <a:cubicBezTo>
                  <a:pt x="1419" y="694"/>
                  <a:pt x="1417" y="693"/>
                  <a:pt x="1415" y="693"/>
                </a:cubicBezTo>
                <a:cubicBezTo>
                  <a:pt x="1412" y="693"/>
                  <a:pt x="1410" y="695"/>
                  <a:pt x="1409" y="700"/>
                </a:cubicBezTo>
                <a:lnTo>
                  <a:pt x="1409" y="703"/>
                </a:lnTo>
                <a:cubicBezTo>
                  <a:pt x="1409" y="703"/>
                  <a:pt x="1409" y="703"/>
                  <a:pt x="1409" y="703"/>
                </a:cubicBezTo>
                <a:lnTo>
                  <a:pt x="1408" y="703"/>
                </a:lnTo>
                <a:cubicBezTo>
                  <a:pt x="1406" y="703"/>
                  <a:pt x="1405" y="703"/>
                  <a:pt x="1404" y="705"/>
                </a:cubicBezTo>
                <a:cubicBezTo>
                  <a:pt x="1401" y="708"/>
                  <a:pt x="1400" y="712"/>
                  <a:pt x="1400" y="715"/>
                </a:cubicBezTo>
                <a:cubicBezTo>
                  <a:pt x="1399" y="717"/>
                  <a:pt x="1398" y="718"/>
                  <a:pt x="1397" y="718"/>
                </a:cubicBezTo>
                <a:lnTo>
                  <a:pt x="1397" y="718"/>
                </a:lnTo>
                <a:cubicBezTo>
                  <a:pt x="1395" y="718"/>
                  <a:pt x="1394" y="718"/>
                  <a:pt x="1394" y="718"/>
                </a:cubicBezTo>
                <a:lnTo>
                  <a:pt x="1395" y="719"/>
                </a:lnTo>
                <a:cubicBezTo>
                  <a:pt x="1395" y="719"/>
                  <a:pt x="1395" y="720"/>
                  <a:pt x="1395" y="720"/>
                </a:cubicBezTo>
                <a:cubicBezTo>
                  <a:pt x="1395" y="721"/>
                  <a:pt x="1394" y="723"/>
                  <a:pt x="1393" y="725"/>
                </a:cubicBezTo>
                <a:lnTo>
                  <a:pt x="1392" y="727"/>
                </a:lnTo>
                <a:cubicBezTo>
                  <a:pt x="1392" y="727"/>
                  <a:pt x="1394" y="725"/>
                  <a:pt x="1397" y="721"/>
                </a:cubicBezTo>
                <a:lnTo>
                  <a:pt x="1402" y="716"/>
                </a:lnTo>
                <a:lnTo>
                  <a:pt x="1406" y="715"/>
                </a:lnTo>
                <a:cubicBezTo>
                  <a:pt x="1406" y="716"/>
                  <a:pt x="1401" y="723"/>
                  <a:pt x="1391" y="734"/>
                </a:cubicBezTo>
                <a:cubicBezTo>
                  <a:pt x="1384" y="741"/>
                  <a:pt x="1381" y="746"/>
                  <a:pt x="1381" y="747"/>
                </a:cubicBezTo>
                <a:close/>
                <a:moveTo>
                  <a:pt x="1445" y="674"/>
                </a:moveTo>
                <a:lnTo>
                  <a:pt x="1446" y="672"/>
                </a:lnTo>
                <a:cubicBezTo>
                  <a:pt x="1447" y="672"/>
                  <a:pt x="1447" y="671"/>
                  <a:pt x="1447" y="670"/>
                </a:cubicBezTo>
                <a:lnTo>
                  <a:pt x="1447" y="669"/>
                </a:lnTo>
                <a:lnTo>
                  <a:pt x="1447" y="668"/>
                </a:lnTo>
                <a:cubicBezTo>
                  <a:pt x="1447" y="667"/>
                  <a:pt x="1448" y="666"/>
                  <a:pt x="1449" y="666"/>
                </a:cubicBezTo>
                <a:cubicBezTo>
                  <a:pt x="1450" y="665"/>
                  <a:pt x="1451" y="664"/>
                  <a:pt x="1451" y="663"/>
                </a:cubicBezTo>
                <a:cubicBezTo>
                  <a:pt x="1451" y="662"/>
                  <a:pt x="1451" y="661"/>
                  <a:pt x="1450" y="659"/>
                </a:cubicBezTo>
                <a:cubicBezTo>
                  <a:pt x="1449" y="658"/>
                  <a:pt x="1448" y="658"/>
                  <a:pt x="1446" y="658"/>
                </a:cubicBezTo>
                <a:cubicBezTo>
                  <a:pt x="1446" y="658"/>
                  <a:pt x="1445" y="659"/>
                  <a:pt x="1444" y="660"/>
                </a:cubicBezTo>
                <a:cubicBezTo>
                  <a:pt x="1444" y="662"/>
                  <a:pt x="1443" y="663"/>
                  <a:pt x="1443" y="665"/>
                </a:cubicBezTo>
                <a:cubicBezTo>
                  <a:pt x="1443" y="666"/>
                  <a:pt x="1444" y="668"/>
                  <a:pt x="1444" y="668"/>
                </a:cubicBezTo>
                <a:cubicBezTo>
                  <a:pt x="1445" y="669"/>
                  <a:pt x="1445" y="669"/>
                  <a:pt x="1445" y="670"/>
                </a:cubicBezTo>
                <a:cubicBezTo>
                  <a:pt x="1445" y="671"/>
                  <a:pt x="1445" y="671"/>
                  <a:pt x="1445" y="672"/>
                </a:cubicBezTo>
                <a:lnTo>
                  <a:pt x="1444" y="673"/>
                </a:lnTo>
                <a:cubicBezTo>
                  <a:pt x="1444" y="673"/>
                  <a:pt x="1445" y="674"/>
                  <a:pt x="1445" y="674"/>
                </a:cubicBezTo>
                <a:close/>
                <a:moveTo>
                  <a:pt x="1420" y="543"/>
                </a:moveTo>
                <a:cubicBezTo>
                  <a:pt x="1419" y="543"/>
                  <a:pt x="1418" y="542"/>
                  <a:pt x="1416" y="540"/>
                </a:cubicBezTo>
                <a:cubicBezTo>
                  <a:pt x="1416" y="539"/>
                  <a:pt x="1415" y="539"/>
                  <a:pt x="1415" y="538"/>
                </a:cubicBezTo>
                <a:cubicBezTo>
                  <a:pt x="1415" y="537"/>
                  <a:pt x="1416" y="537"/>
                  <a:pt x="1418" y="537"/>
                </a:cubicBezTo>
                <a:cubicBezTo>
                  <a:pt x="1420" y="537"/>
                  <a:pt x="1421" y="538"/>
                  <a:pt x="1421" y="540"/>
                </a:cubicBezTo>
                <a:cubicBezTo>
                  <a:pt x="1421" y="542"/>
                  <a:pt x="1421" y="543"/>
                  <a:pt x="1420" y="543"/>
                </a:cubicBezTo>
                <a:close/>
                <a:moveTo>
                  <a:pt x="1374" y="637"/>
                </a:moveTo>
                <a:lnTo>
                  <a:pt x="1372" y="637"/>
                </a:lnTo>
                <a:cubicBezTo>
                  <a:pt x="1371" y="636"/>
                  <a:pt x="1370" y="635"/>
                  <a:pt x="1370" y="634"/>
                </a:cubicBezTo>
                <a:lnTo>
                  <a:pt x="1371" y="633"/>
                </a:lnTo>
                <a:cubicBezTo>
                  <a:pt x="1371" y="633"/>
                  <a:pt x="1371" y="634"/>
                  <a:pt x="1372" y="635"/>
                </a:cubicBezTo>
                <a:cubicBezTo>
                  <a:pt x="1374" y="636"/>
                  <a:pt x="1374" y="636"/>
                  <a:pt x="1374" y="637"/>
                </a:cubicBezTo>
                <a:close/>
                <a:moveTo>
                  <a:pt x="1401" y="713"/>
                </a:moveTo>
                <a:cubicBezTo>
                  <a:pt x="1401" y="713"/>
                  <a:pt x="1401" y="713"/>
                  <a:pt x="1401" y="712"/>
                </a:cubicBezTo>
                <a:cubicBezTo>
                  <a:pt x="1401" y="711"/>
                  <a:pt x="1402" y="710"/>
                  <a:pt x="1405" y="708"/>
                </a:cubicBezTo>
                <a:lnTo>
                  <a:pt x="1407" y="706"/>
                </a:lnTo>
                <a:cubicBezTo>
                  <a:pt x="1407" y="706"/>
                  <a:pt x="1406" y="708"/>
                  <a:pt x="1405" y="710"/>
                </a:cubicBezTo>
                <a:cubicBezTo>
                  <a:pt x="1403" y="712"/>
                  <a:pt x="1402" y="713"/>
                  <a:pt x="1401" y="713"/>
                </a:cubicBezTo>
                <a:close/>
                <a:moveTo>
                  <a:pt x="1354" y="649"/>
                </a:moveTo>
                <a:cubicBezTo>
                  <a:pt x="1351" y="649"/>
                  <a:pt x="1349" y="647"/>
                  <a:pt x="1349" y="645"/>
                </a:cubicBezTo>
                <a:cubicBezTo>
                  <a:pt x="1349" y="644"/>
                  <a:pt x="1349" y="643"/>
                  <a:pt x="1349" y="643"/>
                </a:cubicBezTo>
                <a:cubicBezTo>
                  <a:pt x="1350" y="643"/>
                  <a:pt x="1350" y="642"/>
                  <a:pt x="1350" y="642"/>
                </a:cubicBezTo>
                <a:cubicBezTo>
                  <a:pt x="1350" y="642"/>
                  <a:pt x="1351" y="642"/>
                  <a:pt x="1352" y="642"/>
                </a:cubicBezTo>
                <a:cubicBezTo>
                  <a:pt x="1352" y="643"/>
                  <a:pt x="1354" y="644"/>
                  <a:pt x="1355" y="645"/>
                </a:cubicBezTo>
                <a:cubicBezTo>
                  <a:pt x="1356" y="647"/>
                  <a:pt x="1356" y="647"/>
                  <a:pt x="1356" y="648"/>
                </a:cubicBezTo>
                <a:cubicBezTo>
                  <a:pt x="1356" y="649"/>
                  <a:pt x="1356" y="649"/>
                  <a:pt x="1354" y="649"/>
                </a:cubicBezTo>
                <a:close/>
                <a:moveTo>
                  <a:pt x="1408" y="720"/>
                </a:moveTo>
                <a:cubicBezTo>
                  <a:pt x="1408" y="718"/>
                  <a:pt x="1409" y="717"/>
                  <a:pt x="1411" y="714"/>
                </a:cubicBezTo>
                <a:cubicBezTo>
                  <a:pt x="1414" y="711"/>
                  <a:pt x="1415" y="710"/>
                  <a:pt x="1415" y="710"/>
                </a:cubicBezTo>
                <a:lnTo>
                  <a:pt x="1416" y="711"/>
                </a:lnTo>
                <a:lnTo>
                  <a:pt x="1413" y="715"/>
                </a:lnTo>
                <a:cubicBezTo>
                  <a:pt x="1410" y="718"/>
                  <a:pt x="1408" y="720"/>
                  <a:pt x="1408" y="720"/>
                </a:cubicBezTo>
                <a:close/>
                <a:moveTo>
                  <a:pt x="1406" y="671"/>
                </a:moveTo>
                <a:lnTo>
                  <a:pt x="1405" y="671"/>
                </a:lnTo>
                <a:lnTo>
                  <a:pt x="1408" y="667"/>
                </a:lnTo>
                <a:cubicBezTo>
                  <a:pt x="1411" y="664"/>
                  <a:pt x="1413" y="662"/>
                  <a:pt x="1413" y="662"/>
                </a:cubicBezTo>
                <a:cubicBezTo>
                  <a:pt x="1413" y="663"/>
                  <a:pt x="1412" y="665"/>
                  <a:pt x="1410" y="667"/>
                </a:cubicBezTo>
                <a:cubicBezTo>
                  <a:pt x="1407" y="670"/>
                  <a:pt x="1406" y="671"/>
                  <a:pt x="1406" y="671"/>
                </a:cubicBezTo>
                <a:close/>
                <a:moveTo>
                  <a:pt x="1371" y="633"/>
                </a:moveTo>
                <a:lnTo>
                  <a:pt x="1370" y="633"/>
                </a:lnTo>
                <a:lnTo>
                  <a:pt x="1371" y="633"/>
                </a:lnTo>
                <a:close/>
                <a:moveTo>
                  <a:pt x="1531" y="753"/>
                </a:moveTo>
                <a:cubicBezTo>
                  <a:pt x="1529" y="753"/>
                  <a:pt x="1528" y="753"/>
                  <a:pt x="1528" y="753"/>
                </a:cubicBezTo>
                <a:cubicBezTo>
                  <a:pt x="1528" y="752"/>
                  <a:pt x="1529" y="752"/>
                  <a:pt x="1530" y="751"/>
                </a:cubicBezTo>
                <a:cubicBezTo>
                  <a:pt x="1531" y="750"/>
                  <a:pt x="1532" y="750"/>
                  <a:pt x="1532" y="749"/>
                </a:cubicBezTo>
                <a:cubicBezTo>
                  <a:pt x="1532" y="749"/>
                  <a:pt x="1532" y="748"/>
                  <a:pt x="1530" y="748"/>
                </a:cubicBezTo>
                <a:cubicBezTo>
                  <a:pt x="1529" y="747"/>
                  <a:pt x="1528" y="747"/>
                  <a:pt x="1528" y="747"/>
                </a:cubicBezTo>
                <a:lnTo>
                  <a:pt x="1531" y="746"/>
                </a:lnTo>
                <a:cubicBezTo>
                  <a:pt x="1532" y="746"/>
                  <a:pt x="1532" y="746"/>
                  <a:pt x="1532" y="746"/>
                </a:cubicBezTo>
                <a:cubicBezTo>
                  <a:pt x="1532" y="745"/>
                  <a:pt x="1532" y="745"/>
                  <a:pt x="1530" y="744"/>
                </a:cubicBezTo>
                <a:cubicBezTo>
                  <a:pt x="1529" y="743"/>
                  <a:pt x="1528" y="742"/>
                  <a:pt x="1528" y="742"/>
                </a:cubicBezTo>
                <a:lnTo>
                  <a:pt x="1531" y="742"/>
                </a:lnTo>
                <a:cubicBezTo>
                  <a:pt x="1533" y="742"/>
                  <a:pt x="1534" y="743"/>
                  <a:pt x="1534" y="746"/>
                </a:cubicBezTo>
                <a:cubicBezTo>
                  <a:pt x="1534" y="751"/>
                  <a:pt x="1533" y="753"/>
                  <a:pt x="1531" y="753"/>
                </a:cubicBezTo>
                <a:close/>
                <a:moveTo>
                  <a:pt x="1555" y="810"/>
                </a:moveTo>
                <a:cubicBezTo>
                  <a:pt x="1551" y="810"/>
                  <a:pt x="1547" y="810"/>
                  <a:pt x="1543" y="808"/>
                </a:cubicBezTo>
                <a:cubicBezTo>
                  <a:pt x="1538" y="807"/>
                  <a:pt x="1534" y="803"/>
                  <a:pt x="1529" y="796"/>
                </a:cubicBezTo>
                <a:cubicBezTo>
                  <a:pt x="1524" y="789"/>
                  <a:pt x="1521" y="784"/>
                  <a:pt x="1519" y="778"/>
                </a:cubicBezTo>
                <a:cubicBezTo>
                  <a:pt x="1518" y="773"/>
                  <a:pt x="1517" y="765"/>
                  <a:pt x="1517" y="756"/>
                </a:cubicBezTo>
                <a:cubicBezTo>
                  <a:pt x="1517" y="735"/>
                  <a:pt x="1519" y="710"/>
                  <a:pt x="1523" y="679"/>
                </a:cubicBezTo>
                <a:cubicBezTo>
                  <a:pt x="1528" y="647"/>
                  <a:pt x="1533" y="619"/>
                  <a:pt x="1540" y="593"/>
                </a:cubicBezTo>
                <a:lnTo>
                  <a:pt x="1541" y="592"/>
                </a:lnTo>
                <a:cubicBezTo>
                  <a:pt x="1541" y="589"/>
                  <a:pt x="1542" y="586"/>
                  <a:pt x="1542" y="583"/>
                </a:cubicBezTo>
                <a:cubicBezTo>
                  <a:pt x="1542" y="580"/>
                  <a:pt x="1542" y="579"/>
                  <a:pt x="1543" y="579"/>
                </a:cubicBezTo>
                <a:cubicBezTo>
                  <a:pt x="1544" y="579"/>
                  <a:pt x="1545" y="578"/>
                  <a:pt x="1545" y="577"/>
                </a:cubicBezTo>
                <a:lnTo>
                  <a:pt x="1544" y="573"/>
                </a:lnTo>
                <a:cubicBezTo>
                  <a:pt x="1544" y="571"/>
                  <a:pt x="1544" y="570"/>
                  <a:pt x="1545" y="570"/>
                </a:cubicBezTo>
                <a:cubicBezTo>
                  <a:pt x="1546" y="570"/>
                  <a:pt x="1546" y="569"/>
                  <a:pt x="1546" y="568"/>
                </a:cubicBezTo>
                <a:lnTo>
                  <a:pt x="1546" y="566"/>
                </a:lnTo>
                <a:cubicBezTo>
                  <a:pt x="1546" y="564"/>
                  <a:pt x="1547" y="563"/>
                  <a:pt x="1549" y="563"/>
                </a:cubicBezTo>
                <a:cubicBezTo>
                  <a:pt x="1550" y="563"/>
                  <a:pt x="1551" y="562"/>
                  <a:pt x="1551" y="562"/>
                </a:cubicBezTo>
                <a:lnTo>
                  <a:pt x="1550" y="561"/>
                </a:lnTo>
                <a:cubicBezTo>
                  <a:pt x="1550" y="561"/>
                  <a:pt x="1549" y="560"/>
                  <a:pt x="1548" y="559"/>
                </a:cubicBezTo>
                <a:cubicBezTo>
                  <a:pt x="1548" y="558"/>
                  <a:pt x="1547" y="558"/>
                  <a:pt x="1547" y="557"/>
                </a:cubicBezTo>
                <a:cubicBezTo>
                  <a:pt x="1547" y="555"/>
                  <a:pt x="1548" y="554"/>
                  <a:pt x="1550" y="554"/>
                </a:cubicBezTo>
                <a:cubicBezTo>
                  <a:pt x="1552" y="555"/>
                  <a:pt x="1553" y="556"/>
                  <a:pt x="1553" y="558"/>
                </a:cubicBezTo>
                <a:cubicBezTo>
                  <a:pt x="1553" y="562"/>
                  <a:pt x="1550" y="573"/>
                  <a:pt x="1545" y="590"/>
                </a:cubicBezTo>
                <a:cubicBezTo>
                  <a:pt x="1538" y="618"/>
                  <a:pt x="1533" y="646"/>
                  <a:pt x="1528" y="674"/>
                </a:cubicBezTo>
                <a:cubicBezTo>
                  <a:pt x="1524" y="703"/>
                  <a:pt x="1522" y="726"/>
                  <a:pt x="1522" y="744"/>
                </a:cubicBezTo>
                <a:cubicBezTo>
                  <a:pt x="1522" y="750"/>
                  <a:pt x="1523" y="755"/>
                  <a:pt x="1523" y="760"/>
                </a:cubicBezTo>
                <a:cubicBezTo>
                  <a:pt x="1525" y="772"/>
                  <a:pt x="1526" y="778"/>
                  <a:pt x="1527" y="778"/>
                </a:cubicBezTo>
                <a:cubicBezTo>
                  <a:pt x="1528" y="778"/>
                  <a:pt x="1528" y="777"/>
                  <a:pt x="1528" y="774"/>
                </a:cubicBezTo>
                <a:cubicBezTo>
                  <a:pt x="1528" y="772"/>
                  <a:pt x="1529" y="770"/>
                  <a:pt x="1530" y="767"/>
                </a:cubicBezTo>
                <a:lnTo>
                  <a:pt x="1530" y="765"/>
                </a:lnTo>
                <a:lnTo>
                  <a:pt x="1531" y="768"/>
                </a:lnTo>
                <a:cubicBezTo>
                  <a:pt x="1532" y="770"/>
                  <a:pt x="1532" y="773"/>
                  <a:pt x="1533" y="776"/>
                </a:cubicBezTo>
                <a:cubicBezTo>
                  <a:pt x="1534" y="779"/>
                  <a:pt x="1535" y="782"/>
                  <a:pt x="1536" y="785"/>
                </a:cubicBezTo>
                <a:cubicBezTo>
                  <a:pt x="1537" y="787"/>
                  <a:pt x="1538" y="789"/>
                  <a:pt x="1538" y="789"/>
                </a:cubicBezTo>
                <a:cubicBezTo>
                  <a:pt x="1540" y="789"/>
                  <a:pt x="1540" y="789"/>
                  <a:pt x="1540" y="788"/>
                </a:cubicBezTo>
                <a:lnTo>
                  <a:pt x="1540" y="784"/>
                </a:lnTo>
                <a:cubicBezTo>
                  <a:pt x="1538" y="780"/>
                  <a:pt x="1538" y="768"/>
                  <a:pt x="1538" y="749"/>
                </a:cubicBezTo>
                <a:cubicBezTo>
                  <a:pt x="1538" y="730"/>
                  <a:pt x="1537" y="721"/>
                  <a:pt x="1536" y="721"/>
                </a:cubicBezTo>
                <a:cubicBezTo>
                  <a:pt x="1535" y="721"/>
                  <a:pt x="1534" y="726"/>
                  <a:pt x="1534" y="735"/>
                </a:cubicBezTo>
                <a:cubicBezTo>
                  <a:pt x="1534" y="736"/>
                  <a:pt x="1534" y="737"/>
                  <a:pt x="1533" y="737"/>
                </a:cubicBezTo>
                <a:cubicBezTo>
                  <a:pt x="1532" y="738"/>
                  <a:pt x="1532" y="739"/>
                  <a:pt x="1531" y="739"/>
                </a:cubicBezTo>
                <a:cubicBezTo>
                  <a:pt x="1530" y="739"/>
                  <a:pt x="1529" y="738"/>
                  <a:pt x="1529" y="736"/>
                </a:cubicBezTo>
                <a:cubicBezTo>
                  <a:pt x="1529" y="733"/>
                  <a:pt x="1531" y="719"/>
                  <a:pt x="1534" y="693"/>
                </a:cubicBezTo>
                <a:cubicBezTo>
                  <a:pt x="1538" y="665"/>
                  <a:pt x="1540" y="650"/>
                  <a:pt x="1541" y="648"/>
                </a:cubicBezTo>
                <a:cubicBezTo>
                  <a:pt x="1542" y="647"/>
                  <a:pt x="1542" y="644"/>
                  <a:pt x="1542" y="641"/>
                </a:cubicBezTo>
                <a:cubicBezTo>
                  <a:pt x="1543" y="631"/>
                  <a:pt x="1545" y="616"/>
                  <a:pt x="1550" y="597"/>
                </a:cubicBezTo>
                <a:cubicBezTo>
                  <a:pt x="1555" y="577"/>
                  <a:pt x="1560" y="559"/>
                  <a:pt x="1567" y="542"/>
                </a:cubicBezTo>
                <a:cubicBezTo>
                  <a:pt x="1572" y="528"/>
                  <a:pt x="1574" y="519"/>
                  <a:pt x="1574" y="514"/>
                </a:cubicBezTo>
                <a:cubicBezTo>
                  <a:pt x="1574" y="510"/>
                  <a:pt x="1575" y="508"/>
                  <a:pt x="1576" y="508"/>
                </a:cubicBezTo>
                <a:cubicBezTo>
                  <a:pt x="1577" y="508"/>
                  <a:pt x="1578" y="508"/>
                  <a:pt x="1578" y="509"/>
                </a:cubicBezTo>
                <a:cubicBezTo>
                  <a:pt x="1578" y="511"/>
                  <a:pt x="1578" y="512"/>
                  <a:pt x="1579" y="512"/>
                </a:cubicBezTo>
                <a:cubicBezTo>
                  <a:pt x="1579" y="512"/>
                  <a:pt x="1580" y="511"/>
                  <a:pt x="1580" y="510"/>
                </a:cubicBezTo>
                <a:cubicBezTo>
                  <a:pt x="1581" y="509"/>
                  <a:pt x="1584" y="509"/>
                  <a:pt x="1587" y="509"/>
                </a:cubicBezTo>
                <a:cubicBezTo>
                  <a:pt x="1589" y="509"/>
                  <a:pt x="1590" y="509"/>
                  <a:pt x="1590" y="509"/>
                </a:cubicBezTo>
                <a:cubicBezTo>
                  <a:pt x="1590" y="508"/>
                  <a:pt x="1589" y="507"/>
                  <a:pt x="1589" y="506"/>
                </a:cubicBezTo>
                <a:cubicBezTo>
                  <a:pt x="1588" y="505"/>
                  <a:pt x="1587" y="504"/>
                  <a:pt x="1587" y="503"/>
                </a:cubicBezTo>
                <a:cubicBezTo>
                  <a:pt x="1587" y="502"/>
                  <a:pt x="1588" y="502"/>
                  <a:pt x="1589" y="502"/>
                </a:cubicBezTo>
                <a:cubicBezTo>
                  <a:pt x="1592" y="502"/>
                  <a:pt x="1597" y="505"/>
                  <a:pt x="1601" y="509"/>
                </a:cubicBezTo>
                <a:cubicBezTo>
                  <a:pt x="1602" y="510"/>
                  <a:pt x="1603" y="511"/>
                  <a:pt x="1603" y="512"/>
                </a:cubicBezTo>
                <a:cubicBezTo>
                  <a:pt x="1605" y="513"/>
                  <a:pt x="1607" y="514"/>
                  <a:pt x="1608" y="515"/>
                </a:cubicBezTo>
                <a:cubicBezTo>
                  <a:pt x="1608" y="515"/>
                  <a:pt x="1609" y="516"/>
                  <a:pt x="1609" y="517"/>
                </a:cubicBezTo>
                <a:cubicBezTo>
                  <a:pt x="1609" y="521"/>
                  <a:pt x="1603" y="538"/>
                  <a:pt x="1592" y="570"/>
                </a:cubicBezTo>
                <a:cubicBezTo>
                  <a:pt x="1590" y="577"/>
                  <a:pt x="1588" y="581"/>
                  <a:pt x="1587" y="584"/>
                </a:cubicBezTo>
                <a:cubicBezTo>
                  <a:pt x="1587" y="588"/>
                  <a:pt x="1585" y="593"/>
                  <a:pt x="1585" y="600"/>
                </a:cubicBezTo>
                <a:cubicBezTo>
                  <a:pt x="1584" y="603"/>
                  <a:pt x="1584" y="604"/>
                  <a:pt x="1584" y="606"/>
                </a:cubicBezTo>
                <a:cubicBezTo>
                  <a:pt x="1583" y="607"/>
                  <a:pt x="1583" y="609"/>
                  <a:pt x="1582" y="610"/>
                </a:cubicBezTo>
                <a:cubicBezTo>
                  <a:pt x="1582" y="612"/>
                  <a:pt x="1582" y="614"/>
                  <a:pt x="1581" y="617"/>
                </a:cubicBezTo>
                <a:cubicBezTo>
                  <a:pt x="1581" y="619"/>
                  <a:pt x="1580" y="622"/>
                  <a:pt x="1579" y="627"/>
                </a:cubicBezTo>
                <a:lnTo>
                  <a:pt x="1578" y="632"/>
                </a:lnTo>
                <a:cubicBezTo>
                  <a:pt x="1577" y="636"/>
                  <a:pt x="1576" y="642"/>
                  <a:pt x="1575" y="650"/>
                </a:cubicBezTo>
                <a:cubicBezTo>
                  <a:pt x="1574" y="652"/>
                  <a:pt x="1573" y="654"/>
                  <a:pt x="1573" y="656"/>
                </a:cubicBezTo>
                <a:cubicBezTo>
                  <a:pt x="1573" y="657"/>
                  <a:pt x="1573" y="659"/>
                  <a:pt x="1572" y="660"/>
                </a:cubicBezTo>
                <a:cubicBezTo>
                  <a:pt x="1572" y="662"/>
                  <a:pt x="1572" y="663"/>
                  <a:pt x="1572" y="665"/>
                </a:cubicBezTo>
                <a:cubicBezTo>
                  <a:pt x="1572" y="667"/>
                  <a:pt x="1571" y="669"/>
                  <a:pt x="1571" y="671"/>
                </a:cubicBezTo>
                <a:cubicBezTo>
                  <a:pt x="1570" y="673"/>
                  <a:pt x="1570" y="675"/>
                  <a:pt x="1569" y="677"/>
                </a:cubicBezTo>
                <a:cubicBezTo>
                  <a:pt x="1569" y="680"/>
                  <a:pt x="1568" y="682"/>
                  <a:pt x="1568" y="684"/>
                </a:cubicBezTo>
                <a:cubicBezTo>
                  <a:pt x="1568" y="687"/>
                  <a:pt x="1567" y="691"/>
                  <a:pt x="1567" y="695"/>
                </a:cubicBezTo>
                <a:cubicBezTo>
                  <a:pt x="1563" y="721"/>
                  <a:pt x="1561" y="744"/>
                  <a:pt x="1561" y="763"/>
                </a:cubicBezTo>
                <a:cubicBezTo>
                  <a:pt x="1561" y="770"/>
                  <a:pt x="1562" y="773"/>
                  <a:pt x="1563" y="773"/>
                </a:cubicBezTo>
                <a:cubicBezTo>
                  <a:pt x="1565" y="773"/>
                  <a:pt x="1570" y="768"/>
                  <a:pt x="1577" y="758"/>
                </a:cubicBezTo>
                <a:cubicBezTo>
                  <a:pt x="1587" y="744"/>
                  <a:pt x="1599" y="726"/>
                  <a:pt x="1612" y="705"/>
                </a:cubicBezTo>
                <a:cubicBezTo>
                  <a:pt x="1623" y="688"/>
                  <a:pt x="1629" y="681"/>
                  <a:pt x="1629" y="681"/>
                </a:cubicBezTo>
                <a:lnTo>
                  <a:pt x="1625" y="688"/>
                </a:lnTo>
                <a:cubicBezTo>
                  <a:pt x="1620" y="698"/>
                  <a:pt x="1612" y="711"/>
                  <a:pt x="1601" y="727"/>
                </a:cubicBezTo>
                <a:cubicBezTo>
                  <a:pt x="1590" y="743"/>
                  <a:pt x="1582" y="756"/>
                  <a:pt x="1574" y="765"/>
                </a:cubicBezTo>
                <a:cubicBezTo>
                  <a:pt x="1565" y="777"/>
                  <a:pt x="1560" y="784"/>
                  <a:pt x="1560" y="785"/>
                </a:cubicBezTo>
                <a:cubicBezTo>
                  <a:pt x="1560" y="786"/>
                  <a:pt x="1560" y="787"/>
                  <a:pt x="1559" y="787"/>
                </a:cubicBezTo>
                <a:lnTo>
                  <a:pt x="1558" y="786"/>
                </a:lnTo>
                <a:cubicBezTo>
                  <a:pt x="1557" y="786"/>
                  <a:pt x="1556" y="788"/>
                  <a:pt x="1556" y="791"/>
                </a:cubicBezTo>
                <a:cubicBezTo>
                  <a:pt x="1556" y="794"/>
                  <a:pt x="1557" y="795"/>
                  <a:pt x="1558" y="795"/>
                </a:cubicBezTo>
                <a:cubicBezTo>
                  <a:pt x="1558" y="795"/>
                  <a:pt x="1560" y="795"/>
                  <a:pt x="1561" y="795"/>
                </a:cubicBezTo>
                <a:cubicBezTo>
                  <a:pt x="1563" y="794"/>
                  <a:pt x="1563" y="794"/>
                  <a:pt x="1563" y="793"/>
                </a:cubicBezTo>
                <a:cubicBezTo>
                  <a:pt x="1563" y="793"/>
                  <a:pt x="1563" y="792"/>
                  <a:pt x="1562" y="792"/>
                </a:cubicBezTo>
                <a:cubicBezTo>
                  <a:pt x="1561" y="791"/>
                  <a:pt x="1560" y="790"/>
                  <a:pt x="1560" y="790"/>
                </a:cubicBezTo>
                <a:cubicBezTo>
                  <a:pt x="1560" y="789"/>
                  <a:pt x="1561" y="788"/>
                  <a:pt x="1562" y="787"/>
                </a:cubicBezTo>
                <a:cubicBezTo>
                  <a:pt x="1563" y="786"/>
                  <a:pt x="1564" y="785"/>
                  <a:pt x="1564" y="785"/>
                </a:cubicBezTo>
                <a:cubicBezTo>
                  <a:pt x="1564" y="785"/>
                  <a:pt x="1565" y="786"/>
                  <a:pt x="1565" y="787"/>
                </a:cubicBezTo>
                <a:cubicBezTo>
                  <a:pt x="1565" y="789"/>
                  <a:pt x="1565" y="789"/>
                  <a:pt x="1565" y="789"/>
                </a:cubicBezTo>
                <a:cubicBezTo>
                  <a:pt x="1566" y="789"/>
                  <a:pt x="1567" y="789"/>
                  <a:pt x="1568" y="788"/>
                </a:cubicBezTo>
                <a:cubicBezTo>
                  <a:pt x="1569" y="787"/>
                  <a:pt x="1570" y="787"/>
                  <a:pt x="1570" y="787"/>
                </a:cubicBezTo>
                <a:cubicBezTo>
                  <a:pt x="1571" y="787"/>
                  <a:pt x="1572" y="787"/>
                  <a:pt x="1572" y="787"/>
                </a:cubicBezTo>
                <a:lnTo>
                  <a:pt x="1573" y="787"/>
                </a:lnTo>
                <a:lnTo>
                  <a:pt x="1572" y="785"/>
                </a:lnTo>
                <a:cubicBezTo>
                  <a:pt x="1572" y="783"/>
                  <a:pt x="1573" y="782"/>
                  <a:pt x="1577" y="780"/>
                </a:cubicBezTo>
                <a:cubicBezTo>
                  <a:pt x="1578" y="779"/>
                  <a:pt x="1580" y="779"/>
                  <a:pt x="1581" y="778"/>
                </a:cubicBezTo>
                <a:cubicBezTo>
                  <a:pt x="1582" y="777"/>
                  <a:pt x="1582" y="776"/>
                  <a:pt x="1582" y="776"/>
                </a:cubicBezTo>
                <a:cubicBezTo>
                  <a:pt x="1582" y="775"/>
                  <a:pt x="1582" y="774"/>
                  <a:pt x="1581" y="774"/>
                </a:cubicBezTo>
                <a:lnTo>
                  <a:pt x="1579" y="776"/>
                </a:lnTo>
                <a:lnTo>
                  <a:pt x="1579" y="775"/>
                </a:lnTo>
                <a:lnTo>
                  <a:pt x="1581" y="772"/>
                </a:lnTo>
                <a:cubicBezTo>
                  <a:pt x="1583" y="771"/>
                  <a:pt x="1584" y="769"/>
                  <a:pt x="1587" y="767"/>
                </a:cubicBezTo>
                <a:cubicBezTo>
                  <a:pt x="1589" y="765"/>
                  <a:pt x="1591" y="764"/>
                  <a:pt x="1593" y="763"/>
                </a:cubicBezTo>
                <a:cubicBezTo>
                  <a:pt x="1594" y="762"/>
                  <a:pt x="1595" y="761"/>
                  <a:pt x="1595" y="761"/>
                </a:cubicBezTo>
                <a:lnTo>
                  <a:pt x="1589" y="762"/>
                </a:lnTo>
                <a:lnTo>
                  <a:pt x="1589" y="761"/>
                </a:lnTo>
                <a:cubicBezTo>
                  <a:pt x="1589" y="761"/>
                  <a:pt x="1590" y="760"/>
                  <a:pt x="1592" y="758"/>
                </a:cubicBezTo>
                <a:cubicBezTo>
                  <a:pt x="1594" y="756"/>
                  <a:pt x="1596" y="754"/>
                  <a:pt x="1597" y="753"/>
                </a:cubicBezTo>
                <a:cubicBezTo>
                  <a:pt x="1598" y="752"/>
                  <a:pt x="1599" y="750"/>
                  <a:pt x="1599" y="750"/>
                </a:cubicBezTo>
                <a:cubicBezTo>
                  <a:pt x="1599" y="749"/>
                  <a:pt x="1599" y="748"/>
                  <a:pt x="1600" y="748"/>
                </a:cubicBezTo>
                <a:cubicBezTo>
                  <a:pt x="1600" y="747"/>
                  <a:pt x="1601" y="747"/>
                  <a:pt x="1602" y="747"/>
                </a:cubicBezTo>
                <a:cubicBezTo>
                  <a:pt x="1603" y="747"/>
                  <a:pt x="1603" y="747"/>
                  <a:pt x="1604" y="746"/>
                </a:cubicBezTo>
                <a:cubicBezTo>
                  <a:pt x="1605" y="745"/>
                  <a:pt x="1605" y="745"/>
                  <a:pt x="1606" y="744"/>
                </a:cubicBezTo>
                <a:lnTo>
                  <a:pt x="1606" y="743"/>
                </a:lnTo>
                <a:cubicBezTo>
                  <a:pt x="1606" y="742"/>
                  <a:pt x="1605" y="742"/>
                  <a:pt x="1605" y="742"/>
                </a:cubicBezTo>
                <a:lnTo>
                  <a:pt x="1604" y="743"/>
                </a:lnTo>
                <a:cubicBezTo>
                  <a:pt x="1604" y="743"/>
                  <a:pt x="1603" y="743"/>
                  <a:pt x="1602" y="743"/>
                </a:cubicBezTo>
                <a:cubicBezTo>
                  <a:pt x="1602" y="743"/>
                  <a:pt x="1602" y="743"/>
                  <a:pt x="1602" y="743"/>
                </a:cubicBezTo>
                <a:cubicBezTo>
                  <a:pt x="1602" y="742"/>
                  <a:pt x="1602" y="742"/>
                  <a:pt x="1604" y="741"/>
                </a:cubicBezTo>
                <a:cubicBezTo>
                  <a:pt x="1605" y="740"/>
                  <a:pt x="1606" y="740"/>
                  <a:pt x="1609" y="739"/>
                </a:cubicBezTo>
                <a:cubicBezTo>
                  <a:pt x="1610" y="738"/>
                  <a:pt x="1612" y="737"/>
                  <a:pt x="1612" y="736"/>
                </a:cubicBezTo>
                <a:cubicBezTo>
                  <a:pt x="1612" y="736"/>
                  <a:pt x="1611" y="736"/>
                  <a:pt x="1610" y="735"/>
                </a:cubicBezTo>
                <a:cubicBezTo>
                  <a:pt x="1610" y="735"/>
                  <a:pt x="1609" y="735"/>
                  <a:pt x="1609" y="734"/>
                </a:cubicBezTo>
                <a:cubicBezTo>
                  <a:pt x="1609" y="732"/>
                  <a:pt x="1610" y="731"/>
                  <a:pt x="1612" y="729"/>
                </a:cubicBezTo>
                <a:cubicBezTo>
                  <a:pt x="1613" y="727"/>
                  <a:pt x="1614" y="725"/>
                  <a:pt x="1614" y="724"/>
                </a:cubicBezTo>
                <a:cubicBezTo>
                  <a:pt x="1614" y="724"/>
                  <a:pt x="1614" y="723"/>
                  <a:pt x="1614" y="723"/>
                </a:cubicBezTo>
                <a:cubicBezTo>
                  <a:pt x="1613" y="723"/>
                  <a:pt x="1613" y="723"/>
                  <a:pt x="1613" y="723"/>
                </a:cubicBezTo>
                <a:cubicBezTo>
                  <a:pt x="1613" y="723"/>
                  <a:pt x="1614" y="722"/>
                  <a:pt x="1615" y="720"/>
                </a:cubicBezTo>
                <a:cubicBezTo>
                  <a:pt x="1617" y="718"/>
                  <a:pt x="1618" y="718"/>
                  <a:pt x="1619" y="718"/>
                </a:cubicBezTo>
                <a:cubicBezTo>
                  <a:pt x="1619" y="718"/>
                  <a:pt x="1619" y="718"/>
                  <a:pt x="1620" y="718"/>
                </a:cubicBezTo>
                <a:cubicBezTo>
                  <a:pt x="1620" y="718"/>
                  <a:pt x="1620" y="719"/>
                  <a:pt x="1620" y="719"/>
                </a:cubicBezTo>
                <a:cubicBezTo>
                  <a:pt x="1620" y="720"/>
                  <a:pt x="1620" y="720"/>
                  <a:pt x="1618" y="721"/>
                </a:cubicBezTo>
                <a:lnTo>
                  <a:pt x="1615" y="723"/>
                </a:lnTo>
                <a:cubicBezTo>
                  <a:pt x="1615" y="723"/>
                  <a:pt x="1616" y="723"/>
                  <a:pt x="1617" y="723"/>
                </a:cubicBezTo>
                <a:cubicBezTo>
                  <a:pt x="1620" y="723"/>
                  <a:pt x="1622" y="721"/>
                  <a:pt x="1623" y="719"/>
                </a:cubicBezTo>
                <a:cubicBezTo>
                  <a:pt x="1625" y="716"/>
                  <a:pt x="1625" y="714"/>
                  <a:pt x="1625" y="713"/>
                </a:cubicBezTo>
                <a:cubicBezTo>
                  <a:pt x="1625" y="713"/>
                  <a:pt x="1625" y="712"/>
                  <a:pt x="1624" y="712"/>
                </a:cubicBezTo>
                <a:lnTo>
                  <a:pt x="1622" y="713"/>
                </a:lnTo>
                <a:cubicBezTo>
                  <a:pt x="1620" y="713"/>
                  <a:pt x="1619" y="713"/>
                  <a:pt x="1619" y="712"/>
                </a:cubicBezTo>
                <a:cubicBezTo>
                  <a:pt x="1619" y="711"/>
                  <a:pt x="1620" y="710"/>
                  <a:pt x="1621" y="710"/>
                </a:cubicBezTo>
                <a:cubicBezTo>
                  <a:pt x="1622" y="710"/>
                  <a:pt x="1623" y="709"/>
                  <a:pt x="1624" y="709"/>
                </a:cubicBezTo>
                <a:cubicBezTo>
                  <a:pt x="1625" y="709"/>
                  <a:pt x="1626" y="709"/>
                  <a:pt x="1627" y="708"/>
                </a:cubicBezTo>
                <a:cubicBezTo>
                  <a:pt x="1630" y="707"/>
                  <a:pt x="1633" y="703"/>
                  <a:pt x="1638" y="696"/>
                </a:cubicBezTo>
                <a:cubicBezTo>
                  <a:pt x="1642" y="688"/>
                  <a:pt x="1650" y="675"/>
                  <a:pt x="1661" y="655"/>
                </a:cubicBezTo>
                <a:cubicBezTo>
                  <a:pt x="1672" y="636"/>
                  <a:pt x="1677" y="626"/>
                  <a:pt x="1677" y="625"/>
                </a:cubicBezTo>
                <a:cubicBezTo>
                  <a:pt x="1677" y="623"/>
                  <a:pt x="1677" y="622"/>
                  <a:pt x="1677" y="622"/>
                </a:cubicBezTo>
                <a:lnTo>
                  <a:pt x="1677" y="622"/>
                </a:lnTo>
                <a:cubicBezTo>
                  <a:pt x="1675" y="622"/>
                  <a:pt x="1674" y="624"/>
                  <a:pt x="1672" y="628"/>
                </a:cubicBezTo>
                <a:cubicBezTo>
                  <a:pt x="1672" y="632"/>
                  <a:pt x="1671" y="634"/>
                  <a:pt x="1670" y="634"/>
                </a:cubicBezTo>
                <a:cubicBezTo>
                  <a:pt x="1669" y="634"/>
                  <a:pt x="1668" y="634"/>
                  <a:pt x="1668" y="635"/>
                </a:cubicBezTo>
                <a:cubicBezTo>
                  <a:pt x="1667" y="636"/>
                  <a:pt x="1667" y="636"/>
                  <a:pt x="1667" y="637"/>
                </a:cubicBezTo>
                <a:cubicBezTo>
                  <a:pt x="1667" y="639"/>
                  <a:pt x="1666" y="641"/>
                  <a:pt x="1664" y="644"/>
                </a:cubicBezTo>
                <a:cubicBezTo>
                  <a:pt x="1663" y="644"/>
                  <a:pt x="1662" y="647"/>
                  <a:pt x="1659" y="652"/>
                </a:cubicBezTo>
                <a:cubicBezTo>
                  <a:pt x="1658" y="655"/>
                  <a:pt x="1657" y="657"/>
                  <a:pt x="1656" y="657"/>
                </a:cubicBezTo>
                <a:cubicBezTo>
                  <a:pt x="1654" y="657"/>
                  <a:pt x="1654" y="658"/>
                  <a:pt x="1654" y="660"/>
                </a:cubicBezTo>
                <a:cubicBezTo>
                  <a:pt x="1654" y="663"/>
                  <a:pt x="1653" y="664"/>
                  <a:pt x="1652" y="664"/>
                </a:cubicBezTo>
                <a:cubicBezTo>
                  <a:pt x="1651" y="664"/>
                  <a:pt x="1650" y="664"/>
                  <a:pt x="1650" y="665"/>
                </a:cubicBezTo>
                <a:lnTo>
                  <a:pt x="1651" y="666"/>
                </a:lnTo>
                <a:cubicBezTo>
                  <a:pt x="1651" y="667"/>
                  <a:pt x="1650" y="668"/>
                  <a:pt x="1649" y="668"/>
                </a:cubicBezTo>
                <a:cubicBezTo>
                  <a:pt x="1648" y="668"/>
                  <a:pt x="1647" y="669"/>
                  <a:pt x="1647" y="672"/>
                </a:cubicBezTo>
                <a:cubicBezTo>
                  <a:pt x="1647" y="673"/>
                  <a:pt x="1647" y="673"/>
                  <a:pt x="1647" y="674"/>
                </a:cubicBezTo>
                <a:cubicBezTo>
                  <a:pt x="1646" y="675"/>
                  <a:pt x="1646" y="675"/>
                  <a:pt x="1646" y="675"/>
                </a:cubicBezTo>
                <a:cubicBezTo>
                  <a:pt x="1645" y="675"/>
                  <a:pt x="1644" y="675"/>
                  <a:pt x="1644" y="676"/>
                </a:cubicBezTo>
                <a:cubicBezTo>
                  <a:pt x="1643" y="677"/>
                  <a:pt x="1643" y="677"/>
                  <a:pt x="1643" y="678"/>
                </a:cubicBezTo>
                <a:cubicBezTo>
                  <a:pt x="1643" y="679"/>
                  <a:pt x="1643" y="680"/>
                  <a:pt x="1642" y="681"/>
                </a:cubicBezTo>
                <a:cubicBezTo>
                  <a:pt x="1642" y="682"/>
                  <a:pt x="1639" y="685"/>
                  <a:pt x="1636" y="690"/>
                </a:cubicBezTo>
                <a:cubicBezTo>
                  <a:pt x="1634" y="692"/>
                  <a:pt x="1633" y="694"/>
                  <a:pt x="1632" y="695"/>
                </a:cubicBezTo>
                <a:cubicBezTo>
                  <a:pt x="1631" y="697"/>
                  <a:pt x="1631" y="697"/>
                  <a:pt x="1631" y="698"/>
                </a:cubicBezTo>
                <a:cubicBezTo>
                  <a:pt x="1630" y="698"/>
                  <a:pt x="1630" y="699"/>
                  <a:pt x="1628" y="700"/>
                </a:cubicBezTo>
                <a:lnTo>
                  <a:pt x="1628" y="699"/>
                </a:lnTo>
                <a:cubicBezTo>
                  <a:pt x="1628" y="697"/>
                  <a:pt x="1630" y="693"/>
                  <a:pt x="1634" y="688"/>
                </a:cubicBezTo>
                <a:lnTo>
                  <a:pt x="1636" y="683"/>
                </a:lnTo>
                <a:cubicBezTo>
                  <a:pt x="1639" y="679"/>
                  <a:pt x="1641" y="676"/>
                  <a:pt x="1641" y="675"/>
                </a:cubicBezTo>
                <a:cubicBezTo>
                  <a:pt x="1642" y="674"/>
                  <a:pt x="1644" y="670"/>
                  <a:pt x="1647" y="665"/>
                </a:cubicBezTo>
                <a:cubicBezTo>
                  <a:pt x="1649" y="663"/>
                  <a:pt x="1651" y="659"/>
                  <a:pt x="1653" y="654"/>
                </a:cubicBezTo>
                <a:cubicBezTo>
                  <a:pt x="1654" y="651"/>
                  <a:pt x="1655" y="650"/>
                  <a:pt x="1656" y="650"/>
                </a:cubicBezTo>
                <a:cubicBezTo>
                  <a:pt x="1657" y="650"/>
                  <a:pt x="1657" y="649"/>
                  <a:pt x="1657" y="648"/>
                </a:cubicBezTo>
                <a:lnTo>
                  <a:pt x="1657" y="647"/>
                </a:lnTo>
                <a:cubicBezTo>
                  <a:pt x="1657" y="646"/>
                  <a:pt x="1658" y="645"/>
                  <a:pt x="1659" y="644"/>
                </a:cubicBezTo>
                <a:cubicBezTo>
                  <a:pt x="1661" y="644"/>
                  <a:pt x="1662" y="643"/>
                  <a:pt x="1662" y="642"/>
                </a:cubicBezTo>
                <a:lnTo>
                  <a:pt x="1661" y="640"/>
                </a:lnTo>
                <a:cubicBezTo>
                  <a:pt x="1661" y="639"/>
                  <a:pt x="1662" y="639"/>
                  <a:pt x="1662" y="639"/>
                </a:cubicBezTo>
                <a:cubicBezTo>
                  <a:pt x="1663" y="639"/>
                  <a:pt x="1664" y="638"/>
                  <a:pt x="1664" y="638"/>
                </a:cubicBezTo>
                <a:lnTo>
                  <a:pt x="1664" y="636"/>
                </a:lnTo>
                <a:cubicBezTo>
                  <a:pt x="1664" y="635"/>
                  <a:pt x="1664" y="634"/>
                  <a:pt x="1666" y="633"/>
                </a:cubicBezTo>
                <a:cubicBezTo>
                  <a:pt x="1668" y="632"/>
                  <a:pt x="1669" y="629"/>
                  <a:pt x="1670" y="626"/>
                </a:cubicBezTo>
                <a:cubicBezTo>
                  <a:pt x="1671" y="624"/>
                  <a:pt x="1672" y="622"/>
                  <a:pt x="1674" y="620"/>
                </a:cubicBezTo>
                <a:cubicBezTo>
                  <a:pt x="1675" y="618"/>
                  <a:pt x="1676" y="616"/>
                  <a:pt x="1677" y="614"/>
                </a:cubicBezTo>
                <a:cubicBezTo>
                  <a:pt x="1677" y="612"/>
                  <a:pt x="1678" y="610"/>
                  <a:pt x="1679" y="608"/>
                </a:cubicBezTo>
                <a:cubicBezTo>
                  <a:pt x="1681" y="607"/>
                  <a:pt x="1681" y="605"/>
                  <a:pt x="1681" y="605"/>
                </a:cubicBezTo>
                <a:cubicBezTo>
                  <a:pt x="1681" y="604"/>
                  <a:pt x="1681" y="604"/>
                  <a:pt x="1681" y="604"/>
                </a:cubicBezTo>
                <a:cubicBezTo>
                  <a:pt x="1681" y="604"/>
                  <a:pt x="1681" y="604"/>
                  <a:pt x="1681" y="604"/>
                </a:cubicBezTo>
                <a:cubicBezTo>
                  <a:pt x="1681" y="603"/>
                  <a:pt x="1682" y="602"/>
                  <a:pt x="1684" y="599"/>
                </a:cubicBezTo>
                <a:cubicBezTo>
                  <a:pt x="1687" y="596"/>
                  <a:pt x="1688" y="595"/>
                  <a:pt x="1688" y="593"/>
                </a:cubicBezTo>
                <a:lnTo>
                  <a:pt x="1688" y="593"/>
                </a:lnTo>
                <a:cubicBezTo>
                  <a:pt x="1688" y="592"/>
                  <a:pt x="1689" y="590"/>
                  <a:pt x="1691" y="588"/>
                </a:cubicBezTo>
                <a:cubicBezTo>
                  <a:pt x="1693" y="585"/>
                  <a:pt x="1694" y="584"/>
                  <a:pt x="1695" y="584"/>
                </a:cubicBezTo>
                <a:cubicBezTo>
                  <a:pt x="1695" y="584"/>
                  <a:pt x="1695" y="584"/>
                  <a:pt x="1695" y="584"/>
                </a:cubicBezTo>
                <a:cubicBezTo>
                  <a:pt x="1695" y="585"/>
                  <a:pt x="1695" y="587"/>
                  <a:pt x="1694" y="589"/>
                </a:cubicBezTo>
                <a:cubicBezTo>
                  <a:pt x="1691" y="595"/>
                  <a:pt x="1689" y="600"/>
                  <a:pt x="1687" y="602"/>
                </a:cubicBezTo>
                <a:cubicBezTo>
                  <a:pt x="1685" y="603"/>
                  <a:pt x="1684" y="606"/>
                  <a:pt x="1681" y="611"/>
                </a:cubicBezTo>
                <a:lnTo>
                  <a:pt x="1678" y="621"/>
                </a:lnTo>
                <a:cubicBezTo>
                  <a:pt x="1679" y="621"/>
                  <a:pt x="1682" y="617"/>
                  <a:pt x="1687" y="608"/>
                </a:cubicBezTo>
                <a:cubicBezTo>
                  <a:pt x="1692" y="600"/>
                  <a:pt x="1695" y="595"/>
                  <a:pt x="1695" y="595"/>
                </a:cubicBezTo>
                <a:cubicBezTo>
                  <a:pt x="1696" y="595"/>
                  <a:pt x="1696" y="595"/>
                  <a:pt x="1696" y="595"/>
                </a:cubicBezTo>
                <a:cubicBezTo>
                  <a:pt x="1696" y="597"/>
                  <a:pt x="1695" y="600"/>
                  <a:pt x="1692" y="605"/>
                </a:cubicBezTo>
                <a:cubicBezTo>
                  <a:pt x="1680" y="631"/>
                  <a:pt x="1662" y="663"/>
                  <a:pt x="1638" y="700"/>
                </a:cubicBezTo>
                <a:cubicBezTo>
                  <a:pt x="1612" y="742"/>
                  <a:pt x="1592" y="771"/>
                  <a:pt x="1577" y="786"/>
                </a:cubicBezTo>
                <a:cubicBezTo>
                  <a:pt x="1572" y="791"/>
                  <a:pt x="1570" y="794"/>
                  <a:pt x="1570" y="795"/>
                </a:cubicBezTo>
                <a:cubicBezTo>
                  <a:pt x="1570" y="796"/>
                  <a:pt x="1571" y="797"/>
                  <a:pt x="1574" y="797"/>
                </a:cubicBezTo>
                <a:lnTo>
                  <a:pt x="1576" y="797"/>
                </a:lnTo>
                <a:cubicBezTo>
                  <a:pt x="1579" y="797"/>
                  <a:pt x="1581" y="797"/>
                  <a:pt x="1581" y="796"/>
                </a:cubicBezTo>
                <a:lnTo>
                  <a:pt x="1581" y="795"/>
                </a:lnTo>
                <a:cubicBezTo>
                  <a:pt x="1581" y="794"/>
                  <a:pt x="1581" y="794"/>
                  <a:pt x="1582" y="794"/>
                </a:cubicBezTo>
                <a:cubicBezTo>
                  <a:pt x="1584" y="794"/>
                  <a:pt x="1587" y="791"/>
                  <a:pt x="1592" y="786"/>
                </a:cubicBezTo>
                <a:lnTo>
                  <a:pt x="1594" y="781"/>
                </a:lnTo>
                <a:lnTo>
                  <a:pt x="1594" y="780"/>
                </a:lnTo>
                <a:cubicBezTo>
                  <a:pt x="1594" y="779"/>
                  <a:pt x="1594" y="778"/>
                  <a:pt x="1595" y="777"/>
                </a:cubicBezTo>
                <a:cubicBezTo>
                  <a:pt x="1597" y="775"/>
                  <a:pt x="1598" y="774"/>
                  <a:pt x="1599" y="774"/>
                </a:cubicBezTo>
                <a:lnTo>
                  <a:pt x="1600" y="775"/>
                </a:lnTo>
                <a:cubicBezTo>
                  <a:pt x="1601" y="775"/>
                  <a:pt x="1605" y="771"/>
                  <a:pt x="1611" y="762"/>
                </a:cubicBezTo>
                <a:cubicBezTo>
                  <a:pt x="1613" y="760"/>
                  <a:pt x="1614" y="758"/>
                  <a:pt x="1615" y="757"/>
                </a:cubicBezTo>
                <a:cubicBezTo>
                  <a:pt x="1618" y="755"/>
                  <a:pt x="1619" y="752"/>
                  <a:pt x="1619" y="751"/>
                </a:cubicBezTo>
                <a:cubicBezTo>
                  <a:pt x="1619" y="750"/>
                  <a:pt x="1620" y="748"/>
                  <a:pt x="1622" y="747"/>
                </a:cubicBezTo>
                <a:cubicBezTo>
                  <a:pt x="1624" y="745"/>
                  <a:pt x="1625" y="743"/>
                  <a:pt x="1625" y="739"/>
                </a:cubicBezTo>
                <a:cubicBezTo>
                  <a:pt x="1625" y="736"/>
                  <a:pt x="1625" y="734"/>
                  <a:pt x="1627" y="734"/>
                </a:cubicBezTo>
                <a:cubicBezTo>
                  <a:pt x="1628" y="734"/>
                  <a:pt x="1630" y="732"/>
                  <a:pt x="1632" y="730"/>
                </a:cubicBezTo>
                <a:cubicBezTo>
                  <a:pt x="1638" y="723"/>
                  <a:pt x="1641" y="718"/>
                  <a:pt x="1641" y="716"/>
                </a:cubicBezTo>
                <a:lnTo>
                  <a:pt x="1637" y="720"/>
                </a:lnTo>
                <a:cubicBezTo>
                  <a:pt x="1637" y="721"/>
                  <a:pt x="1636" y="722"/>
                  <a:pt x="1635" y="722"/>
                </a:cubicBezTo>
                <a:cubicBezTo>
                  <a:pt x="1635" y="722"/>
                  <a:pt x="1634" y="722"/>
                  <a:pt x="1634" y="721"/>
                </a:cubicBezTo>
                <a:cubicBezTo>
                  <a:pt x="1634" y="721"/>
                  <a:pt x="1635" y="720"/>
                  <a:pt x="1636" y="718"/>
                </a:cubicBezTo>
                <a:cubicBezTo>
                  <a:pt x="1637" y="717"/>
                  <a:pt x="1638" y="715"/>
                  <a:pt x="1639" y="713"/>
                </a:cubicBezTo>
                <a:cubicBezTo>
                  <a:pt x="1641" y="712"/>
                  <a:pt x="1641" y="710"/>
                  <a:pt x="1641" y="710"/>
                </a:cubicBezTo>
                <a:cubicBezTo>
                  <a:pt x="1641" y="710"/>
                  <a:pt x="1641" y="709"/>
                  <a:pt x="1641" y="709"/>
                </a:cubicBezTo>
                <a:cubicBezTo>
                  <a:pt x="1641" y="709"/>
                  <a:pt x="1640" y="709"/>
                  <a:pt x="1640" y="709"/>
                </a:cubicBezTo>
                <a:cubicBezTo>
                  <a:pt x="1640" y="708"/>
                  <a:pt x="1641" y="707"/>
                  <a:pt x="1643" y="705"/>
                </a:cubicBezTo>
                <a:cubicBezTo>
                  <a:pt x="1646" y="702"/>
                  <a:pt x="1647" y="699"/>
                  <a:pt x="1647" y="698"/>
                </a:cubicBezTo>
                <a:cubicBezTo>
                  <a:pt x="1647" y="696"/>
                  <a:pt x="1649" y="695"/>
                  <a:pt x="1651" y="693"/>
                </a:cubicBezTo>
                <a:cubicBezTo>
                  <a:pt x="1653" y="691"/>
                  <a:pt x="1654" y="689"/>
                  <a:pt x="1654" y="686"/>
                </a:cubicBezTo>
                <a:cubicBezTo>
                  <a:pt x="1655" y="684"/>
                  <a:pt x="1656" y="682"/>
                  <a:pt x="1659" y="680"/>
                </a:cubicBezTo>
                <a:cubicBezTo>
                  <a:pt x="1661" y="679"/>
                  <a:pt x="1662" y="674"/>
                  <a:pt x="1662" y="667"/>
                </a:cubicBezTo>
                <a:cubicBezTo>
                  <a:pt x="1662" y="667"/>
                  <a:pt x="1662" y="666"/>
                  <a:pt x="1663" y="666"/>
                </a:cubicBezTo>
                <a:lnTo>
                  <a:pt x="1665" y="667"/>
                </a:lnTo>
                <a:cubicBezTo>
                  <a:pt x="1666" y="667"/>
                  <a:pt x="1666" y="667"/>
                  <a:pt x="1666" y="666"/>
                </a:cubicBezTo>
                <a:lnTo>
                  <a:pt x="1665" y="664"/>
                </a:lnTo>
                <a:cubicBezTo>
                  <a:pt x="1665" y="661"/>
                  <a:pt x="1666" y="660"/>
                  <a:pt x="1667" y="659"/>
                </a:cubicBezTo>
                <a:cubicBezTo>
                  <a:pt x="1668" y="659"/>
                  <a:pt x="1669" y="657"/>
                  <a:pt x="1671" y="653"/>
                </a:cubicBezTo>
                <a:cubicBezTo>
                  <a:pt x="1672" y="648"/>
                  <a:pt x="1675" y="644"/>
                  <a:pt x="1678" y="639"/>
                </a:cubicBezTo>
                <a:cubicBezTo>
                  <a:pt x="1681" y="634"/>
                  <a:pt x="1683" y="630"/>
                  <a:pt x="1685" y="627"/>
                </a:cubicBezTo>
                <a:cubicBezTo>
                  <a:pt x="1686" y="624"/>
                  <a:pt x="1687" y="622"/>
                  <a:pt x="1688" y="622"/>
                </a:cubicBezTo>
                <a:cubicBezTo>
                  <a:pt x="1689" y="622"/>
                  <a:pt x="1690" y="622"/>
                  <a:pt x="1690" y="621"/>
                </a:cubicBezTo>
                <a:lnTo>
                  <a:pt x="1689" y="619"/>
                </a:lnTo>
                <a:cubicBezTo>
                  <a:pt x="1689" y="618"/>
                  <a:pt x="1690" y="617"/>
                  <a:pt x="1691" y="615"/>
                </a:cubicBezTo>
                <a:cubicBezTo>
                  <a:pt x="1692" y="614"/>
                  <a:pt x="1693" y="612"/>
                  <a:pt x="1694" y="609"/>
                </a:cubicBezTo>
                <a:cubicBezTo>
                  <a:pt x="1696" y="606"/>
                  <a:pt x="1697" y="604"/>
                  <a:pt x="1698" y="603"/>
                </a:cubicBezTo>
                <a:cubicBezTo>
                  <a:pt x="1699" y="602"/>
                  <a:pt x="1700" y="601"/>
                  <a:pt x="1700" y="599"/>
                </a:cubicBezTo>
                <a:lnTo>
                  <a:pt x="1700" y="597"/>
                </a:lnTo>
                <a:cubicBezTo>
                  <a:pt x="1700" y="595"/>
                  <a:pt x="1701" y="594"/>
                  <a:pt x="1703" y="593"/>
                </a:cubicBezTo>
                <a:cubicBezTo>
                  <a:pt x="1704" y="592"/>
                  <a:pt x="1705" y="591"/>
                  <a:pt x="1705" y="590"/>
                </a:cubicBezTo>
                <a:cubicBezTo>
                  <a:pt x="1705" y="590"/>
                  <a:pt x="1705" y="589"/>
                  <a:pt x="1704" y="589"/>
                </a:cubicBezTo>
                <a:cubicBezTo>
                  <a:pt x="1704" y="587"/>
                  <a:pt x="1705" y="585"/>
                  <a:pt x="1707" y="584"/>
                </a:cubicBezTo>
                <a:cubicBezTo>
                  <a:pt x="1708" y="583"/>
                  <a:pt x="1709" y="582"/>
                  <a:pt x="1709" y="581"/>
                </a:cubicBezTo>
                <a:lnTo>
                  <a:pt x="1709" y="581"/>
                </a:lnTo>
                <a:cubicBezTo>
                  <a:pt x="1709" y="580"/>
                  <a:pt x="1708" y="579"/>
                  <a:pt x="1706" y="579"/>
                </a:cubicBezTo>
                <a:lnTo>
                  <a:pt x="1704" y="580"/>
                </a:lnTo>
                <a:cubicBezTo>
                  <a:pt x="1703" y="580"/>
                  <a:pt x="1703" y="580"/>
                  <a:pt x="1703" y="579"/>
                </a:cubicBezTo>
                <a:lnTo>
                  <a:pt x="1703" y="578"/>
                </a:lnTo>
                <a:cubicBezTo>
                  <a:pt x="1703" y="577"/>
                  <a:pt x="1703" y="576"/>
                  <a:pt x="1702" y="576"/>
                </a:cubicBezTo>
                <a:cubicBezTo>
                  <a:pt x="1701" y="575"/>
                  <a:pt x="1701" y="575"/>
                  <a:pt x="1701" y="575"/>
                </a:cubicBezTo>
                <a:cubicBezTo>
                  <a:pt x="1700" y="575"/>
                  <a:pt x="1700" y="576"/>
                  <a:pt x="1700" y="577"/>
                </a:cubicBezTo>
                <a:cubicBezTo>
                  <a:pt x="1700" y="578"/>
                  <a:pt x="1699" y="579"/>
                  <a:pt x="1699" y="580"/>
                </a:cubicBezTo>
                <a:cubicBezTo>
                  <a:pt x="1698" y="580"/>
                  <a:pt x="1697" y="581"/>
                  <a:pt x="1696" y="581"/>
                </a:cubicBezTo>
                <a:cubicBezTo>
                  <a:pt x="1695" y="581"/>
                  <a:pt x="1694" y="581"/>
                  <a:pt x="1694" y="580"/>
                </a:cubicBezTo>
                <a:cubicBezTo>
                  <a:pt x="1694" y="580"/>
                  <a:pt x="1695" y="579"/>
                  <a:pt x="1696" y="577"/>
                </a:cubicBezTo>
                <a:cubicBezTo>
                  <a:pt x="1698" y="576"/>
                  <a:pt x="1699" y="574"/>
                  <a:pt x="1699" y="573"/>
                </a:cubicBezTo>
                <a:lnTo>
                  <a:pt x="1698" y="570"/>
                </a:lnTo>
                <a:cubicBezTo>
                  <a:pt x="1698" y="570"/>
                  <a:pt x="1698" y="570"/>
                  <a:pt x="1699" y="570"/>
                </a:cubicBezTo>
                <a:cubicBezTo>
                  <a:pt x="1701" y="570"/>
                  <a:pt x="1703" y="571"/>
                  <a:pt x="1704" y="573"/>
                </a:cubicBezTo>
                <a:cubicBezTo>
                  <a:pt x="1706" y="575"/>
                  <a:pt x="1708" y="576"/>
                  <a:pt x="1708" y="576"/>
                </a:cubicBezTo>
                <a:cubicBezTo>
                  <a:pt x="1709" y="576"/>
                  <a:pt x="1710" y="576"/>
                  <a:pt x="1712" y="574"/>
                </a:cubicBezTo>
                <a:cubicBezTo>
                  <a:pt x="1713" y="572"/>
                  <a:pt x="1714" y="571"/>
                  <a:pt x="1714" y="571"/>
                </a:cubicBezTo>
                <a:cubicBezTo>
                  <a:pt x="1714" y="571"/>
                  <a:pt x="1714" y="570"/>
                  <a:pt x="1714" y="570"/>
                </a:cubicBezTo>
                <a:cubicBezTo>
                  <a:pt x="1714" y="570"/>
                  <a:pt x="1713" y="570"/>
                  <a:pt x="1713" y="570"/>
                </a:cubicBezTo>
                <a:cubicBezTo>
                  <a:pt x="1712" y="570"/>
                  <a:pt x="1711" y="571"/>
                  <a:pt x="1709" y="572"/>
                </a:cubicBezTo>
                <a:cubicBezTo>
                  <a:pt x="1708" y="573"/>
                  <a:pt x="1707" y="574"/>
                  <a:pt x="1706" y="574"/>
                </a:cubicBezTo>
                <a:cubicBezTo>
                  <a:pt x="1706" y="574"/>
                  <a:pt x="1706" y="574"/>
                  <a:pt x="1706" y="573"/>
                </a:cubicBezTo>
                <a:cubicBezTo>
                  <a:pt x="1706" y="573"/>
                  <a:pt x="1706" y="572"/>
                  <a:pt x="1706" y="571"/>
                </a:cubicBezTo>
                <a:cubicBezTo>
                  <a:pt x="1707" y="571"/>
                  <a:pt x="1707" y="570"/>
                  <a:pt x="1707" y="569"/>
                </a:cubicBezTo>
                <a:cubicBezTo>
                  <a:pt x="1707" y="568"/>
                  <a:pt x="1707" y="567"/>
                  <a:pt x="1706" y="566"/>
                </a:cubicBezTo>
                <a:cubicBezTo>
                  <a:pt x="1705" y="566"/>
                  <a:pt x="1705" y="565"/>
                  <a:pt x="1705" y="564"/>
                </a:cubicBezTo>
                <a:cubicBezTo>
                  <a:pt x="1705" y="563"/>
                  <a:pt x="1705" y="563"/>
                  <a:pt x="1706" y="561"/>
                </a:cubicBezTo>
                <a:cubicBezTo>
                  <a:pt x="1707" y="560"/>
                  <a:pt x="1708" y="559"/>
                  <a:pt x="1710" y="559"/>
                </a:cubicBezTo>
                <a:lnTo>
                  <a:pt x="1711" y="560"/>
                </a:lnTo>
                <a:cubicBezTo>
                  <a:pt x="1711" y="560"/>
                  <a:pt x="1712" y="559"/>
                  <a:pt x="1712" y="559"/>
                </a:cubicBezTo>
                <a:cubicBezTo>
                  <a:pt x="1712" y="558"/>
                  <a:pt x="1711" y="558"/>
                  <a:pt x="1711" y="557"/>
                </a:cubicBezTo>
                <a:cubicBezTo>
                  <a:pt x="1711" y="556"/>
                  <a:pt x="1711" y="555"/>
                  <a:pt x="1711" y="554"/>
                </a:cubicBezTo>
                <a:cubicBezTo>
                  <a:pt x="1711" y="552"/>
                  <a:pt x="1711" y="550"/>
                  <a:pt x="1713" y="550"/>
                </a:cubicBezTo>
                <a:cubicBezTo>
                  <a:pt x="1714" y="550"/>
                  <a:pt x="1715" y="551"/>
                  <a:pt x="1716" y="551"/>
                </a:cubicBezTo>
                <a:cubicBezTo>
                  <a:pt x="1717" y="553"/>
                  <a:pt x="1718" y="553"/>
                  <a:pt x="1719" y="553"/>
                </a:cubicBezTo>
                <a:cubicBezTo>
                  <a:pt x="1720" y="553"/>
                  <a:pt x="1720" y="553"/>
                  <a:pt x="1721" y="553"/>
                </a:cubicBezTo>
                <a:lnTo>
                  <a:pt x="1721" y="552"/>
                </a:lnTo>
                <a:cubicBezTo>
                  <a:pt x="1721" y="551"/>
                  <a:pt x="1720" y="551"/>
                  <a:pt x="1719" y="551"/>
                </a:cubicBezTo>
                <a:cubicBezTo>
                  <a:pt x="1718" y="551"/>
                  <a:pt x="1718" y="551"/>
                  <a:pt x="1718" y="550"/>
                </a:cubicBezTo>
                <a:lnTo>
                  <a:pt x="1719" y="548"/>
                </a:lnTo>
                <a:cubicBezTo>
                  <a:pt x="1719" y="547"/>
                  <a:pt x="1719" y="547"/>
                  <a:pt x="1718" y="547"/>
                </a:cubicBezTo>
                <a:lnTo>
                  <a:pt x="1716" y="548"/>
                </a:lnTo>
                <a:cubicBezTo>
                  <a:pt x="1715" y="548"/>
                  <a:pt x="1714" y="547"/>
                  <a:pt x="1714" y="546"/>
                </a:cubicBezTo>
                <a:cubicBezTo>
                  <a:pt x="1714" y="544"/>
                  <a:pt x="1715" y="543"/>
                  <a:pt x="1716" y="542"/>
                </a:cubicBezTo>
                <a:cubicBezTo>
                  <a:pt x="1717" y="541"/>
                  <a:pt x="1718" y="541"/>
                  <a:pt x="1718" y="541"/>
                </a:cubicBezTo>
                <a:cubicBezTo>
                  <a:pt x="1719" y="541"/>
                  <a:pt x="1720" y="541"/>
                  <a:pt x="1721" y="542"/>
                </a:cubicBezTo>
                <a:cubicBezTo>
                  <a:pt x="1721" y="544"/>
                  <a:pt x="1723" y="544"/>
                  <a:pt x="1724" y="544"/>
                </a:cubicBezTo>
                <a:cubicBezTo>
                  <a:pt x="1724" y="544"/>
                  <a:pt x="1724" y="544"/>
                  <a:pt x="1724" y="544"/>
                </a:cubicBezTo>
                <a:cubicBezTo>
                  <a:pt x="1724" y="543"/>
                  <a:pt x="1724" y="542"/>
                  <a:pt x="1723" y="541"/>
                </a:cubicBezTo>
                <a:cubicBezTo>
                  <a:pt x="1721" y="539"/>
                  <a:pt x="1720" y="537"/>
                  <a:pt x="1720" y="534"/>
                </a:cubicBezTo>
                <a:cubicBezTo>
                  <a:pt x="1720" y="532"/>
                  <a:pt x="1721" y="530"/>
                  <a:pt x="1721" y="528"/>
                </a:cubicBezTo>
                <a:cubicBezTo>
                  <a:pt x="1722" y="526"/>
                  <a:pt x="1723" y="525"/>
                  <a:pt x="1724" y="525"/>
                </a:cubicBezTo>
                <a:lnTo>
                  <a:pt x="1726" y="525"/>
                </a:lnTo>
                <a:cubicBezTo>
                  <a:pt x="1727" y="525"/>
                  <a:pt x="1728" y="524"/>
                  <a:pt x="1730" y="522"/>
                </a:cubicBezTo>
                <a:lnTo>
                  <a:pt x="1732" y="519"/>
                </a:lnTo>
                <a:cubicBezTo>
                  <a:pt x="1732" y="519"/>
                  <a:pt x="1731" y="520"/>
                  <a:pt x="1730" y="521"/>
                </a:cubicBezTo>
                <a:cubicBezTo>
                  <a:pt x="1728" y="522"/>
                  <a:pt x="1727" y="523"/>
                  <a:pt x="1726" y="523"/>
                </a:cubicBezTo>
                <a:cubicBezTo>
                  <a:pt x="1726" y="523"/>
                  <a:pt x="1726" y="522"/>
                  <a:pt x="1726" y="521"/>
                </a:cubicBezTo>
                <a:cubicBezTo>
                  <a:pt x="1726" y="518"/>
                  <a:pt x="1727" y="516"/>
                  <a:pt x="1729" y="513"/>
                </a:cubicBezTo>
                <a:cubicBezTo>
                  <a:pt x="1729" y="512"/>
                  <a:pt x="1730" y="512"/>
                  <a:pt x="1730" y="512"/>
                </a:cubicBezTo>
                <a:cubicBezTo>
                  <a:pt x="1731" y="512"/>
                  <a:pt x="1731" y="513"/>
                  <a:pt x="1731" y="514"/>
                </a:cubicBezTo>
                <a:lnTo>
                  <a:pt x="1730" y="517"/>
                </a:lnTo>
                <a:cubicBezTo>
                  <a:pt x="1731" y="517"/>
                  <a:pt x="1731" y="517"/>
                  <a:pt x="1732" y="516"/>
                </a:cubicBezTo>
                <a:cubicBezTo>
                  <a:pt x="1733" y="515"/>
                  <a:pt x="1733" y="514"/>
                  <a:pt x="1733" y="514"/>
                </a:cubicBezTo>
                <a:cubicBezTo>
                  <a:pt x="1733" y="513"/>
                  <a:pt x="1733" y="512"/>
                  <a:pt x="1733" y="512"/>
                </a:cubicBezTo>
                <a:cubicBezTo>
                  <a:pt x="1733" y="512"/>
                  <a:pt x="1732" y="511"/>
                  <a:pt x="1732" y="509"/>
                </a:cubicBezTo>
                <a:cubicBezTo>
                  <a:pt x="1732" y="507"/>
                  <a:pt x="1733" y="505"/>
                  <a:pt x="1733" y="502"/>
                </a:cubicBezTo>
                <a:cubicBezTo>
                  <a:pt x="1734" y="499"/>
                  <a:pt x="1735" y="497"/>
                  <a:pt x="1736" y="495"/>
                </a:cubicBezTo>
                <a:cubicBezTo>
                  <a:pt x="1737" y="493"/>
                  <a:pt x="1738" y="492"/>
                  <a:pt x="1739" y="492"/>
                </a:cubicBezTo>
                <a:cubicBezTo>
                  <a:pt x="1740" y="492"/>
                  <a:pt x="1740" y="491"/>
                  <a:pt x="1740" y="491"/>
                </a:cubicBezTo>
                <a:lnTo>
                  <a:pt x="1740" y="488"/>
                </a:lnTo>
                <a:cubicBezTo>
                  <a:pt x="1740" y="485"/>
                  <a:pt x="1742" y="479"/>
                  <a:pt x="1746" y="470"/>
                </a:cubicBezTo>
                <a:cubicBezTo>
                  <a:pt x="1752" y="455"/>
                  <a:pt x="1756" y="446"/>
                  <a:pt x="1757" y="441"/>
                </a:cubicBezTo>
                <a:cubicBezTo>
                  <a:pt x="1758" y="438"/>
                  <a:pt x="1759" y="435"/>
                  <a:pt x="1761" y="433"/>
                </a:cubicBezTo>
                <a:cubicBezTo>
                  <a:pt x="1762" y="431"/>
                  <a:pt x="1763" y="430"/>
                  <a:pt x="1763" y="430"/>
                </a:cubicBezTo>
                <a:cubicBezTo>
                  <a:pt x="1763" y="430"/>
                  <a:pt x="1764" y="429"/>
                  <a:pt x="1764" y="429"/>
                </a:cubicBezTo>
                <a:lnTo>
                  <a:pt x="1764" y="427"/>
                </a:lnTo>
                <a:cubicBezTo>
                  <a:pt x="1764" y="421"/>
                  <a:pt x="1767" y="409"/>
                  <a:pt x="1775" y="391"/>
                </a:cubicBezTo>
                <a:cubicBezTo>
                  <a:pt x="1782" y="372"/>
                  <a:pt x="1787" y="363"/>
                  <a:pt x="1788" y="363"/>
                </a:cubicBezTo>
                <a:cubicBezTo>
                  <a:pt x="1790" y="363"/>
                  <a:pt x="1791" y="362"/>
                  <a:pt x="1791" y="360"/>
                </a:cubicBezTo>
                <a:cubicBezTo>
                  <a:pt x="1791" y="358"/>
                  <a:pt x="1792" y="357"/>
                  <a:pt x="1794" y="357"/>
                </a:cubicBezTo>
                <a:cubicBezTo>
                  <a:pt x="1796" y="357"/>
                  <a:pt x="1797" y="356"/>
                  <a:pt x="1797" y="354"/>
                </a:cubicBezTo>
                <a:cubicBezTo>
                  <a:pt x="1797" y="353"/>
                  <a:pt x="1797" y="353"/>
                  <a:pt x="1796" y="353"/>
                </a:cubicBezTo>
                <a:lnTo>
                  <a:pt x="1793" y="353"/>
                </a:lnTo>
                <a:cubicBezTo>
                  <a:pt x="1793" y="353"/>
                  <a:pt x="1794" y="353"/>
                  <a:pt x="1796" y="351"/>
                </a:cubicBezTo>
                <a:cubicBezTo>
                  <a:pt x="1797" y="350"/>
                  <a:pt x="1798" y="349"/>
                  <a:pt x="1800" y="348"/>
                </a:cubicBezTo>
                <a:cubicBezTo>
                  <a:pt x="1801" y="348"/>
                  <a:pt x="1802" y="348"/>
                  <a:pt x="1803" y="348"/>
                </a:cubicBezTo>
                <a:cubicBezTo>
                  <a:pt x="1803" y="348"/>
                  <a:pt x="1803" y="347"/>
                  <a:pt x="1803" y="346"/>
                </a:cubicBezTo>
                <a:cubicBezTo>
                  <a:pt x="1803" y="346"/>
                  <a:pt x="1803" y="345"/>
                  <a:pt x="1803" y="344"/>
                </a:cubicBezTo>
                <a:cubicBezTo>
                  <a:pt x="1802" y="344"/>
                  <a:pt x="1802" y="343"/>
                  <a:pt x="1802" y="343"/>
                </a:cubicBezTo>
                <a:cubicBezTo>
                  <a:pt x="1802" y="343"/>
                  <a:pt x="1803" y="343"/>
                  <a:pt x="1804" y="344"/>
                </a:cubicBezTo>
                <a:cubicBezTo>
                  <a:pt x="1805" y="345"/>
                  <a:pt x="1805" y="345"/>
                  <a:pt x="1805" y="346"/>
                </a:cubicBezTo>
                <a:cubicBezTo>
                  <a:pt x="1805" y="347"/>
                  <a:pt x="1805" y="347"/>
                  <a:pt x="1805" y="348"/>
                </a:cubicBezTo>
                <a:lnTo>
                  <a:pt x="1805" y="348"/>
                </a:lnTo>
                <a:cubicBezTo>
                  <a:pt x="1805" y="349"/>
                  <a:pt x="1805" y="350"/>
                  <a:pt x="1806" y="350"/>
                </a:cubicBezTo>
                <a:cubicBezTo>
                  <a:pt x="1807" y="350"/>
                  <a:pt x="1807" y="354"/>
                  <a:pt x="1807" y="362"/>
                </a:cubicBezTo>
                <a:cubicBezTo>
                  <a:pt x="1807" y="376"/>
                  <a:pt x="1806" y="386"/>
                  <a:pt x="1805" y="392"/>
                </a:cubicBezTo>
                <a:cubicBezTo>
                  <a:pt x="1803" y="403"/>
                  <a:pt x="1795" y="426"/>
                  <a:pt x="1781" y="462"/>
                </a:cubicBezTo>
                <a:cubicBezTo>
                  <a:pt x="1768" y="497"/>
                  <a:pt x="1760" y="517"/>
                  <a:pt x="1757" y="520"/>
                </a:cubicBezTo>
                <a:cubicBezTo>
                  <a:pt x="1756" y="522"/>
                  <a:pt x="1755" y="523"/>
                  <a:pt x="1755" y="524"/>
                </a:cubicBezTo>
                <a:cubicBezTo>
                  <a:pt x="1755" y="524"/>
                  <a:pt x="1755" y="524"/>
                  <a:pt x="1755" y="524"/>
                </a:cubicBezTo>
                <a:cubicBezTo>
                  <a:pt x="1756" y="525"/>
                  <a:pt x="1756" y="525"/>
                  <a:pt x="1756" y="525"/>
                </a:cubicBezTo>
                <a:cubicBezTo>
                  <a:pt x="1756" y="526"/>
                  <a:pt x="1755" y="528"/>
                  <a:pt x="1755" y="529"/>
                </a:cubicBezTo>
                <a:cubicBezTo>
                  <a:pt x="1753" y="534"/>
                  <a:pt x="1751" y="536"/>
                  <a:pt x="1750" y="536"/>
                </a:cubicBezTo>
                <a:lnTo>
                  <a:pt x="1749" y="536"/>
                </a:lnTo>
                <a:cubicBezTo>
                  <a:pt x="1747" y="536"/>
                  <a:pt x="1746" y="538"/>
                  <a:pt x="1746" y="542"/>
                </a:cubicBezTo>
                <a:lnTo>
                  <a:pt x="1747" y="546"/>
                </a:lnTo>
                <a:cubicBezTo>
                  <a:pt x="1747" y="546"/>
                  <a:pt x="1747" y="546"/>
                  <a:pt x="1746" y="546"/>
                </a:cubicBezTo>
                <a:lnTo>
                  <a:pt x="1745" y="546"/>
                </a:lnTo>
                <a:cubicBezTo>
                  <a:pt x="1744" y="546"/>
                  <a:pt x="1743" y="546"/>
                  <a:pt x="1742" y="548"/>
                </a:cubicBezTo>
                <a:cubicBezTo>
                  <a:pt x="1742" y="549"/>
                  <a:pt x="1741" y="550"/>
                  <a:pt x="1741" y="552"/>
                </a:cubicBezTo>
                <a:lnTo>
                  <a:pt x="1742" y="555"/>
                </a:lnTo>
                <a:cubicBezTo>
                  <a:pt x="1742" y="555"/>
                  <a:pt x="1742" y="556"/>
                  <a:pt x="1741" y="556"/>
                </a:cubicBezTo>
                <a:cubicBezTo>
                  <a:pt x="1740" y="556"/>
                  <a:pt x="1739" y="556"/>
                  <a:pt x="1739" y="557"/>
                </a:cubicBezTo>
                <a:lnTo>
                  <a:pt x="1740" y="558"/>
                </a:lnTo>
                <a:cubicBezTo>
                  <a:pt x="1740" y="560"/>
                  <a:pt x="1739" y="561"/>
                  <a:pt x="1738" y="561"/>
                </a:cubicBezTo>
                <a:cubicBezTo>
                  <a:pt x="1738" y="561"/>
                  <a:pt x="1737" y="561"/>
                  <a:pt x="1737" y="562"/>
                </a:cubicBezTo>
                <a:lnTo>
                  <a:pt x="1738" y="564"/>
                </a:lnTo>
                <a:cubicBezTo>
                  <a:pt x="1738" y="565"/>
                  <a:pt x="1737" y="565"/>
                  <a:pt x="1736" y="565"/>
                </a:cubicBezTo>
                <a:cubicBezTo>
                  <a:pt x="1736" y="565"/>
                  <a:pt x="1735" y="566"/>
                  <a:pt x="1735" y="567"/>
                </a:cubicBezTo>
                <a:lnTo>
                  <a:pt x="1736" y="569"/>
                </a:lnTo>
                <a:cubicBezTo>
                  <a:pt x="1736" y="570"/>
                  <a:pt x="1735" y="570"/>
                  <a:pt x="1734" y="570"/>
                </a:cubicBezTo>
                <a:cubicBezTo>
                  <a:pt x="1733" y="570"/>
                  <a:pt x="1733" y="570"/>
                  <a:pt x="1733" y="571"/>
                </a:cubicBezTo>
                <a:lnTo>
                  <a:pt x="1733" y="572"/>
                </a:lnTo>
                <a:cubicBezTo>
                  <a:pt x="1733" y="573"/>
                  <a:pt x="1733" y="574"/>
                  <a:pt x="1732" y="574"/>
                </a:cubicBezTo>
                <a:cubicBezTo>
                  <a:pt x="1731" y="574"/>
                  <a:pt x="1731" y="575"/>
                  <a:pt x="1731" y="576"/>
                </a:cubicBezTo>
                <a:lnTo>
                  <a:pt x="1731" y="578"/>
                </a:lnTo>
                <a:cubicBezTo>
                  <a:pt x="1731" y="579"/>
                  <a:pt x="1731" y="579"/>
                  <a:pt x="1730" y="579"/>
                </a:cubicBezTo>
                <a:cubicBezTo>
                  <a:pt x="1729" y="579"/>
                  <a:pt x="1729" y="580"/>
                  <a:pt x="1728" y="581"/>
                </a:cubicBezTo>
                <a:cubicBezTo>
                  <a:pt x="1726" y="582"/>
                  <a:pt x="1725" y="584"/>
                  <a:pt x="1724" y="587"/>
                </a:cubicBezTo>
                <a:cubicBezTo>
                  <a:pt x="1723" y="589"/>
                  <a:pt x="1723" y="591"/>
                  <a:pt x="1723" y="592"/>
                </a:cubicBezTo>
                <a:lnTo>
                  <a:pt x="1725" y="590"/>
                </a:lnTo>
                <a:cubicBezTo>
                  <a:pt x="1725" y="590"/>
                  <a:pt x="1726" y="591"/>
                  <a:pt x="1726" y="591"/>
                </a:cubicBezTo>
                <a:cubicBezTo>
                  <a:pt x="1726" y="592"/>
                  <a:pt x="1724" y="594"/>
                  <a:pt x="1721" y="598"/>
                </a:cubicBezTo>
                <a:lnTo>
                  <a:pt x="1718" y="601"/>
                </a:lnTo>
                <a:lnTo>
                  <a:pt x="1720" y="600"/>
                </a:lnTo>
                <a:cubicBezTo>
                  <a:pt x="1721" y="600"/>
                  <a:pt x="1721" y="600"/>
                  <a:pt x="1721" y="600"/>
                </a:cubicBezTo>
                <a:cubicBezTo>
                  <a:pt x="1721" y="600"/>
                  <a:pt x="1720" y="602"/>
                  <a:pt x="1719" y="603"/>
                </a:cubicBezTo>
                <a:cubicBezTo>
                  <a:pt x="1718" y="605"/>
                  <a:pt x="1717" y="606"/>
                  <a:pt x="1716" y="607"/>
                </a:cubicBezTo>
                <a:cubicBezTo>
                  <a:pt x="1715" y="608"/>
                  <a:pt x="1715" y="609"/>
                  <a:pt x="1714" y="609"/>
                </a:cubicBezTo>
                <a:cubicBezTo>
                  <a:pt x="1713" y="609"/>
                  <a:pt x="1713" y="609"/>
                  <a:pt x="1713" y="610"/>
                </a:cubicBezTo>
                <a:lnTo>
                  <a:pt x="1714" y="611"/>
                </a:lnTo>
                <a:cubicBezTo>
                  <a:pt x="1714" y="613"/>
                  <a:pt x="1713" y="615"/>
                  <a:pt x="1711" y="617"/>
                </a:cubicBezTo>
                <a:cubicBezTo>
                  <a:pt x="1708" y="620"/>
                  <a:pt x="1707" y="622"/>
                  <a:pt x="1707" y="622"/>
                </a:cubicBezTo>
                <a:lnTo>
                  <a:pt x="1708" y="625"/>
                </a:lnTo>
                <a:cubicBezTo>
                  <a:pt x="1708" y="625"/>
                  <a:pt x="1707" y="627"/>
                  <a:pt x="1706" y="628"/>
                </a:cubicBezTo>
                <a:cubicBezTo>
                  <a:pt x="1704" y="630"/>
                  <a:pt x="1703" y="631"/>
                  <a:pt x="1703" y="632"/>
                </a:cubicBezTo>
                <a:cubicBezTo>
                  <a:pt x="1702" y="632"/>
                  <a:pt x="1702" y="634"/>
                  <a:pt x="1702" y="635"/>
                </a:cubicBezTo>
                <a:cubicBezTo>
                  <a:pt x="1702" y="637"/>
                  <a:pt x="1701" y="637"/>
                  <a:pt x="1700" y="637"/>
                </a:cubicBezTo>
                <a:lnTo>
                  <a:pt x="1699" y="637"/>
                </a:lnTo>
                <a:cubicBezTo>
                  <a:pt x="1698" y="637"/>
                  <a:pt x="1698" y="638"/>
                  <a:pt x="1697" y="639"/>
                </a:cubicBezTo>
                <a:cubicBezTo>
                  <a:pt x="1696" y="640"/>
                  <a:pt x="1696" y="641"/>
                  <a:pt x="1696" y="642"/>
                </a:cubicBezTo>
                <a:cubicBezTo>
                  <a:pt x="1696" y="642"/>
                  <a:pt x="1696" y="642"/>
                  <a:pt x="1696" y="642"/>
                </a:cubicBezTo>
                <a:lnTo>
                  <a:pt x="1698" y="642"/>
                </a:lnTo>
                <a:cubicBezTo>
                  <a:pt x="1698" y="642"/>
                  <a:pt x="1698" y="642"/>
                  <a:pt x="1698" y="642"/>
                </a:cubicBezTo>
                <a:cubicBezTo>
                  <a:pt x="1698" y="644"/>
                  <a:pt x="1697" y="645"/>
                  <a:pt x="1695" y="648"/>
                </a:cubicBezTo>
                <a:lnTo>
                  <a:pt x="1693" y="649"/>
                </a:lnTo>
                <a:cubicBezTo>
                  <a:pt x="1691" y="649"/>
                  <a:pt x="1689" y="650"/>
                  <a:pt x="1689" y="653"/>
                </a:cubicBezTo>
                <a:cubicBezTo>
                  <a:pt x="1689" y="654"/>
                  <a:pt x="1690" y="654"/>
                  <a:pt x="1690" y="654"/>
                </a:cubicBezTo>
                <a:lnTo>
                  <a:pt x="1691" y="653"/>
                </a:lnTo>
                <a:cubicBezTo>
                  <a:pt x="1691" y="653"/>
                  <a:pt x="1692" y="653"/>
                  <a:pt x="1692" y="653"/>
                </a:cubicBezTo>
                <a:cubicBezTo>
                  <a:pt x="1693" y="653"/>
                  <a:pt x="1693" y="653"/>
                  <a:pt x="1693" y="653"/>
                </a:cubicBezTo>
                <a:cubicBezTo>
                  <a:pt x="1693" y="655"/>
                  <a:pt x="1692" y="657"/>
                  <a:pt x="1689" y="659"/>
                </a:cubicBezTo>
                <a:lnTo>
                  <a:pt x="1686" y="660"/>
                </a:lnTo>
                <a:cubicBezTo>
                  <a:pt x="1686" y="660"/>
                  <a:pt x="1686" y="660"/>
                  <a:pt x="1685" y="660"/>
                </a:cubicBezTo>
                <a:cubicBezTo>
                  <a:pt x="1685" y="660"/>
                  <a:pt x="1684" y="660"/>
                  <a:pt x="1682" y="662"/>
                </a:cubicBezTo>
                <a:cubicBezTo>
                  <a:pt x="1681" y="663"/>
                  <a:pt x="1681" y="664"/>
                  <a:pt x="1681" y="665"/>
                </a:cubicBezTo>
                <a:cubicBezTo>
                  <a:pt x="1681" y="666"/>
                  <a:pt x="1681" y="666"/>
                  <a:pt x="1683" y="666"/>
                </a:cubicBezTo>
                <a:lnTo>
                  <a:pt x="1686" y="666"/>
                </a:lnTo>
                <a:cubicBezTo>
                  <a:pt x="1686" y="667"/>
                  <a:pt x="1684" y="667"/>
                  <a:pt x="1682" y="669"/>
                </a:cubicBezTo>
                <a:cubicBezTo>
                  <a:pt x="1679" y="670"/>
                  <a:pt x="1677" y="672"/>
                  <a:pt x="1676" y="675"/>
                </a:cubicBezTo>
                <a:cubicBezTo>
                  <a:pt x="1675" y="679"/>
                  <a:pt x="1673" y="681"/>
                  <a:pt x="1670" y="683"/>
                </a:cubicBezTo>
                <a:cubicBezTo>
                  <a:pt x="1668" y="684"/>
                  <a:pt x="1667" y="685"/>
                  <a:pt x="1667" y="686"/>
                </a:cubicBezTo>
                <a:lnTo>
                  <a:pt x="1667" y="687"/>
                </a:lnTo>
                <a:cubicBezTo>
                  <a:pt x="1667" y="689"/>
                  <a:pt x="1666" y="693"/>
                  <a:pt x="1662" y="699"/>
                </a:cubicBezTo>
                <a:cubicBezTo>
                  <a:pt x="1658" y="708"/>
                  <a:pt x="1656" y="713"/>
                  <a:pt x="1656" y="714"/>
                </a:cubicBezTo>
                <a:cubicBezTo>
                  <a:pt x="1656" y="715"/>
                  <a:pt x="1655" y="716"/>
                  <a:pt x="1655" y="716"/>
                </a:cubicBezTo>
                <a:lnTo>
                  <a:pt x="1654" y="715"/>
                </a:lnTo>
                <a:cubicBezTo>
                  <a:pt x="1652" y="715"/>
                  <a:pt x="1651" y="717"/>
                  <a:pt x="1649" y="720"/>
                </a:cubicBezTo>
                <a:cubicBezTo>
                  <a:pt x="1647" y="723"/>
                  <a:pt x="1646" y="725"/>
                  <a:pt x="1646" y="725"/>
                </a:cubicBezTo>
                <a:cubicBezTo>
                  <a:pt x="1646" y="726"/>
                  <a:pt x="1643" y="730"/>
                  <a:pt x="1637" y="737"/>
                </a:cubicBezTo>
                <a:cubicBezTo>
                  <a:pt x="1618" y="764"/>
                  <a:pt x="1608" y="777"/>
                  <a:pt x="1606" y="777"/>
                </a:cubicBezTo>
                <a:cubicBezTo>
                  <a:pt x="1605" y="777"/>
                  <a:pt x="1605" y="777"/>
                  <a:pt x="1605" y="778"/>
                </a:cubicBezTo>
                <a:lnTo>
                  <a:pt x="1606" y="781"/>
                </a:lnTo>
                <a:cubicBezTo>
                  <a:pt x="1606" y="782"/>
                  <a:pt x="1605" y="783"/>
                  <a:pt x="1604" y="783"/>
                </a:cubicBezTo>
                <a:cubicBezTo>
                  <a:pt x="1603" y="783"/>
                  <a:pt x="1599" y="786"/>
                  <a:pt x="1593" y="792"/>
                </a:cubicBezTo>
                <a:cubicBezTo>
                  <a:pt x="1580" y="804"/>
                  <a:pt x="1568" y="810"/>
                  <a:pt x="1555" y="810"/>
                </a:cubicBezTo>
                <a:close/>
                <a:moveTo>
                  <a:pt x="1614" y="732"/>
                </a:moveTo>
                <a:cubicBezTo>
                  <a:pt x="1614" y="732"/>
                  <a:pt x="1614" y="731"/>
                  <a:pt x="1615" y="731"/>
                </a:cubicBezTo>
                <a:cubicBezTo>
                  <a:pt x="1616" y="730"/>
                  <a:pt x="1617" y="729"/>
                  <a:pt x="1617" y="728"/>
                </a:cubicBezTo>
                <a:cubicBezTo>
                  <a:pt x="1617" y="727"/>
                  <a:pt x="1617" y="727"/>
                  <a:pt x="1616" y="727"/>
                </a:cubicBezTo>
                <a:lnTo>
                  <a:pt x="1615" y="727"/>
                </a:lnTo>
                <a:cubicBezTo>
                  <a:pt x="1613" y="728"/>
                  <a:pt x="1612" y="729"/>
                  <a:pt x="1612" y="730"/>
                </a:cubicBezTo>
                <a:cubicBezTo>
                  <a:pt x="1612" y="731"/>
                  <a:pt x="1613" y="732"/>
                  <a:pt x="1614" y="732"/>
                </a:cubicBezTo>
                <a:close/>
                <a:moveTo>
                  <a:pt x="1590" y="521"/>
                </a:moveTo>
                <a:cubicBezTo>
                  <a:pt x="1592" y="521"/>
                  <a:pt x="1593" y="520"/>
                  <a:pt x="1594" y="518"/>
                </a:cubicBezTo>
                <a:lnTo>
                  <a:pt x="1594" y="517"/>
                </a:lnTo>
                <a:cubicBezTo>
                  <a:pt x="1594" y="515"/>
                  <a:pt x="1594" y="514"/>
                  <a:pt x="1593" y="514"/>
                </a:cubicBezTo>
                <a:cubicBezTo>
                  <a:pt x="1592" y="513"/>
                  <a:pt x="1591" y="513"/>
                  <a:pt x="1591" y="513"/>
                </a:cubicBezTo>
                <a:lnTo>
                  <a:pt x="1591" y="514"/>
                </a:lnTo>
                <a:cubicBezTo>
                  <a:pt x="1592" y="514"/>
                  <a:pt x="1592" y="514"/>
                  <a:pt x="1592" y="515"/>
                </a:cubicBezTo>
                <a:cubicBezTo>
                  <a:pt x="1592" y="516"/>
                  <a:pt x="1591" y="517"/>
                  <a:pt x="1590" y="518"/>
                </a:cubicBezTo>
                <a:lnTo>
                  <a:pt x="1589" y="520"/>
                </a:lnTo>
                <a:cubicBezTo>
                  <a:pt x="1589" y="521"/>
                  <a:pt x="1590" y="521"/>
                  <a:pt x="1590" y="521"/>
                </a:cubicBezTo>
                <a:close/>
                <a:moveTo>
                  <a:pt x="1584" y="546"/>
                </a:moveTo>
                <a:lnTo>
                  <a:pt x="1583" y="544"/>
                </a:lnTo>
                <a:cubicBezTo>
                  <a:pt x="1583" y="543"/>
                  <a:pt x="1584" y="542"/>
                  <a:pt x="1585" y="541"/>
                </a:cubicBezTo>
                <a:cubicBezTo>
                  <a:pt x="1587" y="541"/>
                  <a:pt x="1588" y="539"/>
                  <a:pt x="1588" y="536"/>
                </a:cubicBezTo>
                <a:lnTo>
                  <a:pt x="1588" y="535"/>
                </a:lnTo>
                <a:cubicBezTo>
                  <a:pt x="1587" y="531"/>
                  <a:pt x="1587" y="528"/>
                  <a:pt x="1586" y="528"/>
                </a:cubicBezTo>
                <a:cubicBezTo>
                  <a:pt x="1586" y="528"/>
                  <a:pt x="1585" y="529"/>
                  <a:pt x="1585" y="530"/>
                </a:cubicBezTo>
                <a:cubicBezTo>
                  <a:pt x="1584" y="531"/>
                  <a:pt x="1584" y="532"/>
                  <a:pt x="1584" y="534"/>
                </a:cubicBezTo>
                <a:cubicBezTo>
                  <a:pt x="1584" y="535"/>
                  <a:pt x="1584" y="536"/>
                  <a:pt x="1585" y="537"/>
                </a:cubicBezTo>
                <a:cubicBezTo>
                  <a:pt x="1586" y="538"/>
                  <a:pt x="1587" y="539"/>
                  <a:pt x="1587" y="539"/>
                </a:cubicBezTo>
                <a:lnTo>
                  <a:pt x="1586" y="540"/>
                </a:lnTo>
                <a:lnTo>
                  <a:pt x="1582" y="539"/>
                </a:lnTo>
                <a:cubicBezTo>
                  <a:pt x="1581" y="539"/>
                  <a:pt x="1580" y="540"/>
                  <a:pt x="1580" y="541"/>
                </a:cubicBezTo>
                <a:cubicBezTo>
                  <a:pt x="1580" y="542"/>
                  <a:pt x="1580" y="544"/>
                  <a:pt x="1581" y="545"/>
                </a:cubicBezTo>
                <a:cubicBezTo>
                  <a:pt x="1582" y="546"/>
                  <a:pt x="1583" y="546"/>
                  <a:pt x="1584" y="546"/>
                </a:cubicBezTo>
                <a:close/>
                <a:moveTo>
                  <a:pt x="1569" y="558"/>
                </a:moveTo>
                <a:cubicBezTo>
                  <a:pt x="1570" y="558"/>
                  <a:pt x="1571" y="557"/>
                  <a:pt x="1571" y="556"/>
                </a:cubicBezTo>
                <a:cubicBezTo>
                  <a:pt x="1571" y="554"/>
                  <a:pt x="1571" y="554"/>
                  <a:pt x="1570" y="554"/>
                </a:cubicBezTo>
                <a:cubicBezTo>
                  <a:pt x="1570" y="554"/>
                  <a:pt x="1569" y="554"/>
                  <a:pt x="1568" y="556"/>
                </a:cubicBezTo>
                <a:lnTo>
                  <a:pt x="1568" y="557"/>
                </a:lnTo>
                <a:cubicBezTo>
                  <a:pt x="1568" y="558"/>
                  <a:pt x="1568" y="558"/>
                  <a:pt x="1569" y="558"/>
                </a:cubicBezTo>
                <a:close/>
                <a:moveTo>
                  <a:pt x="1563" y="579"/>
                </a:moveTo>
                <a:cubicBezTo>
                  <a:pt x="1564" y="579"/>
                  <a:pt x="1565" y="578"/>
                  <a:pt x="1565" y="574"/>
                </a:cubicBezTo>
                <a:lnTo>
                  <a:pt x="1565" y="572"/>
                </a:lnTo>
                <a:cubicBezTo>
                  <a:pt x="1565" y="571"/>
                  <a:pt x="1565" y="571"/>
                  <a:pt x="1565" y="571"/>
                </a:cubicBezTo>
                <a:lnTo>
                  <a:pt x="1565" y="571"/>
                </a:lnTo>
                <a:cubicBezTo>
                  <a:pt x="1563" y="572"/>
                  <a:pt x="1563" y="574"/>
                  <a:pt x="1563" y="575"/>
                </a:cubicBezTo>
                <a:cubicBezTo>
                  <a:pt x="1563" y="578"/>
                  <a:pt x="1563" y="579"/>
                  <a:pt x="1563" y="579"/>
                </a:cubicBezTo>
                <a:close/>
                <a:moveTo>
                  <a:pt x="1559" y="595"/>
                </a:moveTo>
                <a:cubicBezTo>
                  <a:pt x="1560" y="595"/>
                  <a:pt x="1560" y="594"/>
                  <a:pt x="1560" y="593"/>
                </a:cubicBezTo>
                <a:lnTo>
                  <a:pt x="1560" y="590"/>
                </a:lnTo>
                <a:cubicBezTo>
                  <a:pt x="1560" y="589"/>
                  <a:pt x="1559" y="589"/>
                  <a:pt x="1559" y="589"/>
                </a:cubicBezTo>
                <a:cubicBezTo>
                  <a:pt x="1558" y="589"/>
                  <a:pt x="1558" y="590"/>
                  <a:pt x="1558" y="591"/>
                </a:cubicBezTo>
                <a:cubicBezTo>
                  <a:pt x="1558" y="593"/>
                  <a:pt x="1559" y="594"/>
                  <a:pt x="1559" y="595"/>
                </a:cubicBezTo>
                <a:close/>
                <a:moveTo>
                  <a:pt x="1552" y="622"/>
                </a:moveTo>
                <a:cubicBezTo>
                  <a:pt x="1553" y="622"/>
                  <a:pt x="1554" y="621"/>
                  <a:pt x="1554" y="617"/>
                </a:cubicBezTo>
                <a:cubicBezTo>
                  <a:pt x="1554" y="615"/>
                  <a:pt x="1554" y="614"/>
                  <a:pt x="1553" y="614"/>
                </a:cubicBezTo>
                <a:cubicBezTo>
                  <a:pt x="1553" y="614"/>
                  <a:pt x="1552" y="614"/>
                  <a:pt x="1552" y="615"/>
                </a:cubicBezTo>
                <a:cubicBezTo>
                  <a:pt x="1550" y="618"/>
                  <a:pt x="1550" y="620"/>
                  <a:pt x="1550" y="620"/>
                </a:cubicBezTo>
                <a:cubicBezTo>
                  <a:pt x="1550" y="622"/>
                  <a:pt x="1550" y="622"/>
                  <a:pt x="1552" y="622"/>
                </a:cubicBezTo>
                <a:close/>
                <a:moveTo>
                  <a:pt x="1550" y="632"/>
                </a:moveTo>
                <a:cubicBezTo>
                  <a:pt x="1551" y="632"/>
                  <a:pt x="1552" y="631"/>
                  <a:pt x="1552" y="630"/>
                </a:cubicBezTo>
                <a:cubicBezTo>
                  <a:pt x="1552" y="628"/>
                  <a:pt x="1551" y="627"/>
                  <a:pt x="1550" y="627"/>
                </a:cubicBezTo>
                <a:cubicBezTo>
                  <a:pt x="1548" y="627"/>
                  <a:pt x="1547" y="628"/>
                  <a:pt x="1547" y="630"/>
                </a:cubicBezTo>
                <a:cubicBezTo>
                  <a:pt x="1547" y="631"/>
                  <a:pt x="1548" y="632"/>
                  <a:pt x="1550" y="632"/>
                </a:cubicBezTo>
                <a:close/>
                <a:moveTo>
                  <a:pt x="1547" y="644"/>
                </a:moveTo>
                <a:cubicBezTo>
                  <a:pt x="1549" y="643"/>
                  <a:pt x="1550" y="642"/>
                  <a:pt x="1550" y="639"/>
                </a:cubicBezTo>
                <a:cubicBezTo>
                  <a:pt x="1550" y="637"/>
                  <a:pt x="1549" y="636"/>
                  <a:pt x="1548" y="636"/>
                </a:cubicBezTo>
                <a:cubicBezTo>
                  <a:pt x="1547" y="636"/>
                  <a:pt x="1547" y="637"/>
                  <a:pt x="1546" y="641"/>
                </a:cubicBezTo>
                <a:lnTo>
                  <a:pt x="1546" y="642"/>
                </a:lnTo>
                <a:cubicBezTo>
                  <a:pt x="1546" y="644"/>
                  <a:pt x="1546" y="644"/>
                  <a:pt x="1547" y="644"/>
                </a:cubicBezTo>
                <a:close/>
                <a:moveTo>
                  <a:pt x="1545" y="655"/>
                </a:moveTo>
                <a:cubicBezTo>
                  <a:pt x="1547" y="655"/>
                  <a:pt x="1547" y="654"/>
                  <a:pt x="1547" y="652"/>
                </a:cubicBezTo>
                <a:cubicBezTo>
                  <a:pt x="1547" y="651"/>
                  <a:pt x="1547" y="650"/>
                  <a:pt x="1545" y="650"/>
                </a:cubicBezTo>
                <a:cubicBezTo>
                  <a:pt x="1544" y="650"/>
                  <a:pt x="1543" y="651"/>
                  <a:pt x="1543" y="652"/>
                </a:cubicBezTo>
                <a:cubicBezTo>
                  <a:pt x="1543" y="654"/>
                  <a:pt x="1544" y="655"/>
                  <a:pt x="1545" y="655"/>
                </a:cubicBezTo>
                <a:close/>
                <a:moveTo>
                  <a:pt x="1543" y="668"/>
                </a:moveTo>
                <a:cubicBezTo>
                  <a:pt x="1545" y="668"/>
                  <a:pt x="1545" y="667"/>
                  <a:pt x="1545" y="666"/>
                </a:cubicBezTo>
                <a:cubicBezTo>
                  <a:pt x="1545" y="664"/>
                  <a:pt x="1545" y="664"/>
                  <a:pt x="1543" y="664"/>
                </a:cubicBezTo>
                <a:cubicBezTo>
                  <a:pt x="1542" y="664"/>
                  <a:pt x="1541" y="664"/>
                  <a:pt x="1541" y="666"/>
                </a:cubicBezTo>
                <a:cubicBezTo>
                  <a:pt x="1541" y="667"/>
                  <a:pt x="1542" y="668"/>
                  <a:pt x="1543" y="668"/>
                </a:cubicBezTo>
                <a:close/>
                <a:moveTo>
                  <a:pt x="1540" y="685"/>
                </a:moveTo>
                <a:cubicBezTo>
                  <a:pt x="1540" y="685"/>
                  <a:pt x="1541" y="684"/>
                  <a:pt x="1542" y="683"/>
                </a:cubicBezTo>
                <a:cubicBezTo>
                  <a:pt x="1543" y="681"/>
                  <a:pt x="1543" y="680"/>
                  <a:pt x="1543" y="678"/>
                </a:cubicBezTo>
                <a:cubicBezTo>
                  <a:pt x="1543" y="676"/>
                  <a:pt x="1543" y="676"/>
                  <a:pt x="1542" y="676"/>
                </a:cubicBezTo>
                <a:lnTo>
                  <a:pt x="1541" y="676"/>
                </a:lnTo>
                <a:cubicBezTo>
                  <a:pt x="1540" y="677"/>
                  <a:pt x="1539" y="679"/>
                  <a:pt x="1539" y="683"/>
                </a:cubicBezTo>
                <a:cubicBezTo>
                  <a:pt x="1539" y="684"/>
                  <a:pt x="1539" y="685"/>
                  <a:pt x="1539" y="685"/>
                </a:cubicBezTo>
                <a:lnTo>
                  <a:pt x="1540" y="685"/>
                </a:lnTo>
                <a:close/>
                <a:moveTo>
                  <a:pt x="1537" y="719"/>
                </a:moveTo>
                <a:cubicBezTo>
                  <a:pt x="1538" y="719"/>
                  <a:pt x="1539" y="716"/>
                  <a:pt x="1539" y="710"/>
                </a:cubicBezTo>
                <a:cubicBezTo>
                  <a:pt x="1539" y="705"/>
                  <a:pt x="1538" y="703"/>
                  <a:pt x="1538" y="703"/>
                </a:cubicBezTo>
                <a:cubicBezTo>
                  <a:pt x="1537" y="703"/>
                  <a:pt x="1537" y="706"/>
                  <a:pt x="1536" y="711"/>
                </a:cubicBezTo>
                <a:lnTo>
                  <a:pt x="1536" y="714"/>
                </a:lnTo>
                <a:cubicBezTo>
                  <a:pt x="1536" y="716"/>
                  <a:pt x="1536" y="717"/>
                  <a:pt x="1536" y="717"/>
                </a:cubicBezTo>
                <a:cubicBezTo>
                  <a:pt x="1536" y="717"/>
                  <a:pt x="1536" y="718"/>
                  <a:pt x="1537" y="719"/>
                </a:cubicBezTo>
                <a:close/>
                <a:moveTo>
                  <a:pt x="1539" y="700"/>
                </a:moveTo>
                <a:cubicBezTo>
                  <a:pt x="1541" y="700"/>
                  <a:pt x="1541" y="698"/>
                  <a:pt x="1541" y="694"/>
                </a:cubicBezTo>
                <a:cubicBezTo>
                  <a:pt x="1541" y="691"/>
                  <a:pt x="1541" y="689"/>
                  <a:pt x="1540" y="689"/>
                </a:cubicBezTo>
                <a:lnTo>
                  <a:pt x="1539" y="690"/>
                </a:lnTo>
                <a:cubicBezTo>
                  <a:pt x="1538" y="691"/>
                  <a:pt x="1538" y="691"/>
                  <a:pt x="1538" y="693"/>
                </a:cubicBezTo>
                <a:cubicBezTo>
                  <a:pt x="1538" y="694"/>
                  <a:pt x="1538" y="695"/>
                  <a:pt x="1538" y="696"/>
                </a:cubicBezTo>
                <a:cubicBezTo>
                  <a:pt x="1538" y="697"/>
                  <a:pt x="1538" y="698"/>
                  <a:pt x="1538" y="698"/>
                </a:cubicBezTo>
                <a:cubicBezTo>
                  <a:pt x="1538" y="699"/>
                  <a:pt x="1538" y="700"/>
                  <a:pt x="1539" y="700"/>
                </a:cubicBezTo>
                <a:close/>
                <a:moveTo>
                  <a:pt x="1543" y="803"/>
                </a:moveTo>
                <a:cubicBezTo>
                  <a:pt x="1545" y="803"/>
                  <a:pt x="1546" y="803"/>
                  <a:pt x="1546" y="803"/>
                </a:cubicBezTo>
                <a:lnTo>
                  <a:pt x="1546" y="802"/>
                </a:lnTo>
                <a:cubicBezTo>
                  <a:pt x="1545" y="801"/>
                  <a:pt x="1544" y="801"/>
                  <a:pt x="1544" y="800"/>
                </a:cubicBezTo>
                <a:cubicBezTo>
                  <a:pt x="1544" y="800"/>
                  <a:pt x="1545" y="799"/>
                  <a:pt x="1546" y="797"/>
                </a:cubicBezTo>
                <a:cubicBezTo>
                  <a:pt x="1547" y="796"/>
                  <a:pt x="1547" y="795"/>
                  <a:pt x="1547" y="795"/>
                </a:cubicBezTo>
                <a:cubicBezTo>
                  <a:pt x="1547" y="795"/>
                  <a:pt x="1545" y="795"/>
                  <a:pt x="1544" y="796"/>
                </a:cubicBezTo>
                <a:cubicBezTo>
                  <a:pt x="1542" y="798"/>
                  <a:pt x="1541" y="799"/>
                  <a:pt x="1540" y="800"/>
                </a:cubicBezTo>
                <a:cubicBezTo>
                  <a:pt x="1539" y="801"/>
                  <a:pt x="1539" y="801"/>
                  <a:pt x="1539" y="802"/>
                </a:cubicBezTo>
                <a:cubicBezTo>
                  <a:pt x="1539" y="803"/>
                  <a:pt x="1540" y="803"/>
                  <a:pt x="1543" y="803"/>
                </a:cubicBezTo>
                <a:close/>
                <a:moveTo>
                  <a:pt x="1543" y="776"/>
                </a:moveTo>
                <a:cubicBezTo>
                  <a:pt x="1543" y="776"/>
                  <a:pt x="1544" y="774"/>
                  <a:pt x="1544" y="771"/>
                </a:cubicBezTo>
                <a:lnTo>
                  <a:pt x="1544" y="769"/>
                </a:lnTo>
                <a:cubicBezTo>
                  <a:pt x="1544" y="764"/>
                  <a:pt x="1545" y="762"/>
                  <a:pt x="1545" y="762"/>
                </a:cubicBezTo>
                <a:cubicBezTo>
                  <a:pt x="1546" y="762"/>
                  <a:pt x="1547" y="762"/>
                  <a:pt x="1547" y="762"/>
                </a:cubicBezTo>
                <a:cubicBezTo>
                  <a:pt x="1547" y="762"/>
                  <a:pt x="1546" y="761"/>
                  <a:pt x="1545" y="760"/>
                </a:cubicBezTo>
                <a:cubicBezTo>
                  <a:pt x="1544" y="759"/>
                  <a:pt x="1543" y="759"/>
                  <a:pt x="1543" y="758"/>
                </a:cubicBezTo>
                <a:cubicBezTo>
                  <a:pt x="1543" y="758"/>
                  <a:pt x="1545" y="758"/>
                  <a:pt x="1547" y="757"/>
                </a:cubicBezTo>
                <a:cubicBezTo>
                  <a:pt x="1549" y="757"/>
                  <a:pt x="1550" y="757"/>
                  <a:pt x="1550" y="757"/>
                </a:cubicBezTo>
                <a:lnTo>
                  <a:pt x="1546" y="755"/>
                </a:lnTo>
                <a:cubicBezTo>
                  <a:pt x="1545" y="754"/>
                  <a:pt x="1544" y="754"/>
                  <a:pt x="1544" y="754"/>
                </a:cubicBezTo>
                <a:cubicBezTo>
                  <a:pt x="1544" y="754"/>
                  <a:pt x="1545" y="753"/>
                  <a:pt x="1547" y="753"/>
                </a:cubicBezTo>
                <a:cubicBezTo>
                  <a:pt x="1548" y="753"/>
                  <a:pt x="1549" y="750"/>
                  <a:pt x="1549" y="742"/>
                </a:cubicBezTo>
                <a:cubicBezTo>
                  <a:pt x="1549" y="734"/>
                  <a:pt x="1550" y="726"/>
                  <a:pt x="1552" y="717"/>
                </a:cubicBezTo>
                <a:lnTo>
                  <a:pt x="1557" y="684"/>
                </a:lnTo>
                <a:cubicBezTo>
                  <a:pt x="1557" y="680"/>
                  <a:pt x="1558" y="679"/>
                  <a:pt x="1558" y="679"/>
                </a:cubicBezTo>
                <a:cubicBezTo>
                  <a:pt x="1558" y="679"/>
                  <a:pt x="1559" y="678"/>
                  <a:pt x="1559" y="676"/>
                </a:cubicBezTo>
                <a:cubicBezTo>
                  <a:pt x="1559" y="675"/>
                  <a:pt x="1559" y="674"/>
                  <a:pt x="1559" y="672"/>
                </a:cubicBezTo>
                <a:lnTo>
                  <a:pt x="1560" y="665"/>
                </a:lnTo>
                <a:cubicBezTo>
                  <a:pt x="1560" y="665"/>
                  <a:pt x="1561" y="662"/>
                  <a:pt x="1562" y="656"/>
                </a:cubicBezTo>
                <a:cubicBezTo>
                  <a:pt x="1562" y="650"/>
                  <a:pt x="1563" y="646"/>
                  <a:pt x="1564" y="644"/>
                </a:cubicBezTo>
                <a:cubicBezTo>
                  <a:pt x="1565" y="640"/>
                  <a:pt x="1565" y="637"/>
                  <a:pt x="1565" y="634"/>
                </a:cubicBezTo>
                <a:lnTo>
                  <a:pt x="1565" y="633"/>
                </a:lnTo>
                <a:cubicBezTo>
                  <a:pt x="1565" y="631"/>
                  <a:pt x="1566" y="630"/>
                  <a:pt x="1567" y="630"/>
                </a:cubicBezTo>
                <a:cubicBezTo>
                  <a:pt x="1568" y="630"/>
                  <a:pt x="1568" y="629"/>
                  <a:pt x="1568" y="628"/>
                </a:cubicBezTo>
                <a:cubicBezTo>
                  <a:pt x="1568" y="628"/>
                  <a:pt x="1568" y="627"/>
                  <a:pt x="1568" y="627"/>
                </a:cubicBezTo>
                <a:cubicBezTo>
                  <a:pt x="1568" y="626"/>
                  <a:pt x="1567" y="625"/>
                  <a:pt x="1566" y="625"/>
                </a:cubicBezTo>
                <a:lnTo>
                  <a:pt x="1564" y="626"/>
                </a:lnTo>
                <a:cubicBezTo>
                  <a:pt x="1564" y="626"/>
                  <a:pt x="1563" y="626"/>
                  <a:pt x="1563" y="625"/>
                </a:cubicBezTo>
                <a:cubicBezTo>
                  <a:pt x="1563" y="624"/>
                  <a:pt x="1564" y="622"/>
                  <a:pt x="1565" y="621"/>
                </a:cubicBezTo>
                <a:cubicBezTo>
                  <a:pt x="1567" y="620"/>
                  <a:pt x="1568" y="620"/>
                  <a:pt x="1569" y="620"/>
                </a:cubicBezTo>
                <a:cubicBezTo>
                  <a:pt x="1570" y="620"/>
                  <a:pt x="1571" y="620"/>
                  <a:pt x="1571" y="619"/>
                </a:cubicBezTo>
                <a:cubicBezTo>
                  <a:pt x="1571" y="619"/>
                  <a:pt x="1570" y="619"/>
                  <a:pt x="1569" y="618"/>
                </a:cubicBezTo>
                <a:cubicBezTo>
                  <a:pt x="1568" y="617"/>
                  <a:pt x="1568" y="615"/>
                  <a:pt x="1568" y="611"/>
                </a:cubicBezTo>
                <a:cubicBezTo>
                  <a:pt x="1568" y="605"/>
                  <a:pt x="1569" y="603"/>
                  <a:pt x="1570" y="603"/>
                </a:cubicBezTo>
                <a:lnTo>
                  <a:pt x="1572" y="603"/>
                </a:lnTo>
                <a:lnTo>
                  <a:pt x="1573" y="603"/>
                </a:lnTo>
                <a:cubicBezTo>
                  <a:pt x="1573" y="602"/>
                  <a:pt x="1572" y="601"/>
                  <a:pt x="1572" y="599"/>
                </a:cubicBezTo>
                <a:cubicBezTo>
                  <a:pt x="1571" y="598"/>
                  <a:pt x="1570" y="597"/>
                  <a:pt x="1570" y="596"/>
                </a:cubicBezTo>
                <a:cubicBezTo>
                  <a:pt x="1570" y="595"/>
                  <a:pt x="1571" y="595"/>
                  <a:pt x="1572" y="595"/>
                </a:cubicBezTo>
                <a:cubicBezTo>
                  <a:pt x="1573" y="595"/>
                  <a:pt x="1573" y="594"/>
                  <a:pt x="1573" y="593"/>
                </a:cubicBezTo>
                <a:lnTo>
                  <a:pt x="1573" y="588"/>
                </a:lnTo>
                <a:cubicBezTo>
                  <a:pt x="1573" y="586"/>
                  <a:pt x="1573" y="585"/>
                  <a:pt x="1574" y="585"/>
                </a:cubicBezTo>
                <a:cubicBezTo>
                  <a:pt x="1575" y="585"/>
                  <a:pt x="1575" y="585"/>
                  <a:pt x="1575" y="583"/>
                </a:cubicBezTo>
                <a:cubicBezTo>
                  <a:pt x="1575" y="582"/>
                  <a:pt x="1575" y="580"/>
                  <a:pt x="1575" y="579"/>
                </a:cubicBezTo>
                <a:cubicBezTo>
                  <a:pt x="1574" y="577"/>
                  <a:pt x="1574" y="576"/>
                  <a:pt x="1574" y="575"/>
                </a:cubicBezTo>
                <a:lnTo>
                  <a:pt x="1574" y="575"/>
                </a:lnTo>
                <a:cubicBezTo>
                  <a:pt x="1575" y="575"/>
                  <a:pt x="1576" y="576"/>
                  <a:pt x="1577" y="577"/>
                </a:cubicBezTo>
                <a:lnTo>
                  <a:pt x="1580" y="579"/>
                </a:lnTo>
                <a:cubicBezTo>
                  <a:pt x="1580" y="579"/>
                  <a:pt x="1579" y="578"/>
                  <a:pt x="1579" y="576"/>
                </a:cubicBezTo>
                <a:cubicBezTo>
                  <a:pt x="1578" y="575"/>
                  <a:pt x="1577" y="573"/>
                  <a:pt x="1577" y="571"/>
                </a:cubicBezTo>
                <a:cubicBezTo>
                  <a:pt x="1577" y="569"/>
                  <a:pt x="1578" y="566"/>
                  <a:pt x="1579" y="561"/>
                </a:cubicBezTo>
                <a:cubicBezTo>
                  <a:pt x="1580" y="557"/>
                  <a:pt x="1580" y="554"/>
                  <a:pt x="1580" y="552"/>
                </a:cubicBezTo>
                <a:cubicBezTo>
                  <a:pt x="1580" y="551"/>
                  <a:pt x="1580" y="550"/>
                  <a:pt x="1579" y="550"/>
                </a:cubicBezTo>
                <a:cubicBezTo>
                  <a:pt x="1579" y="550"/>
                  <a:pt x="1578" y="550"/>
                  <a:pt x="1578" y="551"/>
                </a:cubicBezTo>
                <a:cubicBezTo>
                  <a:pt x="1577" y="553"/>
                  <a:pt x="1577" y="554"/>
                  <a:pt x="1576" y="556"/>
                </a:cubicBezTo>
                <a:cubicBezTo>
                  <a:pt x="1576" y="557"/>
                  <a:pt x="1576" y="559"/>
                  <a:pt x="1575" y="560"/>
                </a:cubicBezTo>
                <a:cubicBezTo>
                  <a:pt x="1575" y="561"/>
                  <a:pt x="1574" y="562"/>
                  <a:pt x="1574" y="563"/>
                </a:cubicBezTo>
                <a:cubicBezTo>
                  <a:pt x="1570" y="566"/>
                  <a:pt x="1565" y="581"/>
                  <a:pt x="1560" y="607"/>
                </a:cubicBezTo>
                <a:cubicBezTo>
                  <a:pt x="1555" y="634"/>
                  <a:pt x="1551" y="663"/>
                  <a:pt x="1547" y="694"/>
                </a:cubicBezTo>
                <a:cubicBezTo>
                  <a:pt x="1542" y="725"/>
                  <a:pt x="1540" y="748"/>
                  <a:pt x="1540" y="763"/>
                </a:cubicBezTo>
                <a:cubicBezTo>
                  <a:pt x="1540" y="772"/>
                  <a:pt x="1541" y="776"/>
                  <a:pt x="1543" y="776"/>
                </a:cubicBezTo>
                <a:close/>
                <a:moveTo>
                  <a:pt x="1555" y="783"/>
                </a:moveTo>
                <a:cubicBezTo>
                  <a:pt x="1556" y="783"/>
                  <a:pt x="1556" y="780"/>
                  <a:pt x="1556" y="774"/>
                </a:cubicBezTo>
                <a:lnTo>
                  <a:pt x="1556" y="770"/>
                </a:lnTo>
                <a:cubicBezTo>
                  <a:pt x="1556" y="767"/>
                  <a:pt x="1556" y="764"/>
                  <a:pt x="1557" y="763"/>
                </a:cubicBezTo>
                <a:cubicBezTo>
                  <a:pt x="1557" y="762"/>
                  <a:pt x="1557" y="762"/>
                  <a:pt x="1557" y="761"/>
                </a:cubicBezTo>
                <a:cubicBezTo>
                  <a:pt x="1557" y="760"/>
                  <a:pt x="1557" y="760"/>
                  <a:pt x="1556" y="760"/>
                </a:cubicBezTo>
                <a:cubicBezTo>
                  <a:pt x="1555" y="760"/>
                  <a:pt x="1554" y="758"/>
                  <a:pt x="1553" y="755"/>
                </a:cubicBezTo>
                <a:lnTo>
                  <a:pt x="1553" y="753"/>
                </a:lnTo>
                <a:cubicBezTo>
                  <a:pt x="1552" y="753"/>
                  <a:pt x="1552" y="756"/>
                  <a:pt x="1552" y="762"/>
                </a:cubicBezTo>
                <a:cubicBezTo>
                  <a:pt x="1552" y="769"/>
                  <a:pt x="1553" y="775"/>
                  <a:pt x="1554" y="780"/>
                </a:cubicBezTo>
                <a:lnTo>
                  <a:pt x="1555" y="783"/>
                </a:lnTo>
                <a:close/>
                <a:moveTo>
                  <a:pt x="1567" y="805"/>
                </a:moveTo>
                <a:lnTo>
                  <a:pt x="1576" y="804"/>
                </a:lnTo>
                <a:lnTo>
                  <a:pt x="1576" y="803"/>
                </a:lnTo>
                <a:cubicBezTo>
                  <a:pt x="1576" y="803"/>
                  <a:pt x="1575" y="802"/>
                  <a:pt x="1573" y="800"/>
                </a:cubicBezTo>
                <a:cubicBezTo>
                  <a:pt x="1571" y="799"/>
                  <a:pt x="1570" y="798"/>
                  <a:pt x="1568" y="798"/>
                </a:cubicBezTo>
                <a:cubicBezTo>
                  <a:pt x="1567" y="798"/>
                  <a:pt x="1566" y="799"/>
                  <a:pt x="1565" y="799"/>
                </a:cubicBezTo>
                <a:cubicBezTo>
                  <a:pt x="1562" y="801"/>
                  <a:pt x="1561" y="802"/>
                  <a:pt x="1561" y="803"/>
                </a:cubicBezTo>
                <a:cubicBezTo>
                  <a:pt x="1561" y="804"/>
                  <a:pt x="1563" y="805"/>
                  <a:pt x="1567" y="805"/>
                </a:cubicBezTo>
                <a:close/>
                <a:moveTo>
                  <a:pt x="1714" y="565"/>
                </a:moveTo>
                <a:cubicBezTo>
                  <a:pt x="1716" y="565"/>
                  <a:pt x="1717" y="564"/>
                  <a:pt x="1717" y="563"/>
                </a:cubicBezTo>
                <a:cubicBezTo>
                  <a:pt x="1717" y="561"/>
                  <a:pt x="1717" y="561"/>
                  <a:pt x="1716" y="561"/>
                </a:cubicBezTo>
                <a:cubicBezTo>
                  <a:pt x="1715" y="561"/>
                  <a:pt x="1715" y="561"/>
                  <a:pt x="1714" y="562"/>
                </a:cubicBezTo>
                <a:cubicBezTo>
                  <a:pt x="1714" y="563"/>
                  <a:pt x="1714" y="563"/>
                  <a:pt x="1714" y="564"/>
                </a:cubicBezTo>
                <a:cubicBezTo>
                  <a:pt x="1714" y="565"/>
                  <a:pt x="1714" y="565"/>
                  <a:pt x="1714" y="565"/>
                </a:cubicBezTo>
                <a:close/>
                <a:moveTo>
                  <a:pt x="1744" y="491"/>
                </a:moveTo>
                <a:lnTo>
                  <a:pt x="1745" y="490"/>
                </a:lnTo>
                <a:cubicBezTo>
                  <a:pt x="1745" y="489"/>
                  <a:pt x="1744" y="488"/>
                  <a:pt x="1743" y="487"/>
                </a:cubicBezTo>
                <a:cubicBezTo>
                  <a:pt x="1742" y="485"/>
                  <a:pt x="1742" y="485"/>
                  <a:pt x="1741" y="485"/>
                </a:cubicBezTo>
                <a:lnTo>
                  <a:pt x="1741" y="485"/>
                </a:lnTo>
                <a:cubicBezTo>
                  <a:pt x="1741" y="486"/>
                  <a:pt x="1742" y="487"/>
                  <a:pt x="1742" y="488"/>
                </a:cubicBezTo>
                <a:cubicBezTo>
                  <a:pt x="1743" y="490"/>
                  <a:pt x="1743" y="491"/>
                  <a:pt x="1744" y="491"/>
                </a:cubicBezTo>
                <a:close/>
                <a:moveTo>
                  <a:pt x="1750" y="533"/>
                </a:moveTo>
                <a:cubicBezTo>
                  <a:pt x="1751" y="533"/>
                  <a:pt x="1751" y="532"/>
                  <a:pt x="1752" y="529"/>
                </a:cubicBezTo>
                <a:lnTo>
                  <a:pt x="1753" y="527"/>
                </a:lnTo>
                <a:cubicBezTo>
                  <a:pt x="1753" y="527"/>
                  <a:pt x="1753" y="527"/>
                  <a:pt x="1752" y="527"/>
                </a:cubicBezTo>
                <a:lnTo>
                  <a:pt x="1752" y="527"/>
                </a:lnTo>
                <a:cubicBezTo>
                  <a:pt x="1751" y="528"/>
                  <a:pt x="1751" y="528"/>
                  <a:pt x="1750" y="529"/>
                </a:cubicBezTo>
                <a:cubicBezTo>
                  <a:pt x="1750" y="529"/>
                  <a:pt x="1749" y="530"/>
                  <a:pt x="1749" y="531"/>
                </a:cubicBezTo>
                <a:cubicBezTo>
                  <a:pt x="1749" y="532"/>
                  <a:pt x="1750" y="533"/>
                  <a:pt x="1750" y="533"/>
                </a:cubicBezTo>
                <a:close/>
                <a:moveTo>
                  <a:pt x="1752" y="501"/>
                </a:moveTo>
                <a:lnTo>
                  <a:pt x="1755" y="497"/>
                </a:lnTo>
                <a:cubicBezTo>
                  <a:pt x="1757" y="495"/>
                  <a:pt x="1758" y="492"/>
                  <a:pt x="1758" y="491"/>
                </a:cubicBezTo>
                <a:cubicBezTo>
                  <a:pt x="1758" y="490"/>
                  <a:pt x="1758" y="490"/>
                  <a:pt x="1758" y="490"/>
                </a:cubicBezTo>
                <a:cubicBezTo>
                  <a:pt x="1757" y="490"/>
                  <a:pt x="1756" y="492"/>
                  <a:pt x="1754" y="497"/>
                </a:cubicBezTo>
                <a:lnTo>
                  <a:pt x="1752" y="500"/>
                </a:lnTo>
                <a:lnTo>
                  <a:pt x="1752" y="501"/>
                </a:lnTo>
                <a:close/>
                <a:moveTo>
                  <a:pt x="1757" y="516"/>
                </a:moveTo>
                <a:cubicBezTo>
                  <a:pt x="1758" y="516"/>
                  <a:pt x="1758" y="515"/>
                  <a:pt x="1759" y="512"/>
                </a:cubicBezTo>
                <a:cubicBezTo>
                  <a:pt x="1759" y="510"/>
                  <a:pt x="1760" y="508"/>
                  <a:pt x="1761" y="506"/>
                </a:cubicBezTo>
                <a:cubicBezTo>
                  <a:pt x="1762" y="504"/>
                  <a:pt x="1765" y="497"/>
                  <a:pt x="1769" y="486"/>
                </a:cubicBezTo>
                <a:cubicBezTo>
                  <a:pt x="1779" y="459"/>
                  <a:pt x="1788" y="435"/>
                  <a:pt x="1794" y="414"/>
                </a:cubicBezTo>
                <a:cubicBezTo>
                  <a:pt x="1798" y="402"/>
                  <a:pt x="1800" y="392"/>
                  <a:pt x="1803" y="382"/>
                </a:cubicBezTo>
                <a:cubicBezTo>
                  <a:pt x="1805" y="372"/>
                  <a:pt x="1806" y="365"/>
                  <a:pt x="1806" y="362"/>
                </a:cubicBezTo>
                <a:cubicBezTo>
                  <a:pt x="1806" y="360"/>
                  <a:pt x="1806" y="360"/>
                  <a:pt x="1805" y="360"/>
                </a:cubicBezTo>
                <a:cubicBezTo>
                  <a:pt x="1805" y="360"/>
                  <a:pt x="1804" y="360"/>
                  <a:pt x="1803" y="362"/>
                </a:cubicBezTo>
                <a:cubicBezTo>
                  <a:pt x="1803" y="363"/>
                  <a:pt x="1802" y="365"/>
                  <a:pt x="1802" y="367"/>
                </a:cubicBezTo>
                <a:lnTo>
                  <a:pt x="1803" y="371"/>
                </a:lnTo>
                <a:cubicBezTo>
                  <a:pt x="1803" y="372"/>
                  <a:pt x="1802" y="373"/>
                  <a:pt x="1801" y="374"/>
                </a:cubicBezTo>
                <a:cubicBezTo>
                  <a:pt x="1801" y="375"/>
                  <a:pt x="1800" y="375"/>
                  <a:pt x="1800" y="376"/>
                </a:cubicBezTo>
                <a:lnTo>
                  <a:pt x="1801" y="378"/>
                </a:lnTo>
                <a:cubicBezTo>
                  <a:pt x="1801" y="379"/>
                  <a:pt x="1800" y="379"/>
                  <a:pt x="1799" y="379"/>
                </a:cubicBezTo>
                <a:cubicBezTo>
                  <a:pt x="1798" y="379"/>
                  <a:pt x="1798" y="380"/>
                  <a:pt x="1798" y="382"/>
                </a:cubicBezTo>
                <a:lnTo>
                  <a:pt x="1798" y="387"/>
                </a:lnTo>
                <a:cubicBezTo>
                  <a:pt x="1798" y="388"/>
                  <a:pt x="1798" y="389"/>
                  <a:pt x="1797" y="390"/>
                </a:cubicBezTo>
                <a:cubicBezTo>
                  <a:pt x="1796" y="391"/>
                  <a:pt x="1795" y="393"/>
                  <a:pt x="1794" y="397"/>
                </a:cubicBezTo>
                <a:cubicBezTo>
                  <a:pt x="1793" y="401"/>
                  <a:pt x="1791" y="407"/>
                  <a:pt x="1788" y="416"/>
                </a:cubicBezTo>
                <a:cubicBezTo>
                  <a:pt x="1780" y="438"/>
                  <a:pt x="1775" y="452"/>
                  <a:pt x="1772" y="456"/>
                </a:cubicBezTo>
                <a:cubicBezTo>
                  <a:pt x="1771" y="457"/>
                  <a:pt x="1770" y="458"/>
                  <a:pt x="1770" y="459"/>
                </a:cubicBezTo>
                <a:cubicBezTo>
                  <a:pt x="1770" y="460"/>
                  <a:pt x="1771" y="460"/>
                  <a:pt x="1772" y="461"/>
                </a:cubicBezTo>
                <a:cubicBezTo>
                  <a:pt x="1773" y="462"/>
                  <a:pt x="1773" y="463"/>
                  <a:pt x="1773" y="464"/>
                </a:cubicBezTo>
                <a:cubicBezTo>
                  <a:pt x="1773" y="465"/>
                  <a:pt x="1773" y="465"/>
                  <a:pt x="1771" y="466"/>
                </a:cubicBezTo>
                <a:cubicBezTo>
                  <a:pt x="1771" y="466"/>
                  <a:pt x="1771" y="465"/>
                  <a:pt x="1770" y="465"/>
                </a:cubicBezTo>
                <a:cubicBezTo>
                  <a:pt x="1769" y="465"/>
                  <a:pt x="1769" y="465"/>
                  <a:pt x="1768" y="465"/>
                </a:cubicBezTo>
                <a:cubicBezTo>
                  <a:pt x="1767" y="465"/>
                  <a:pt x="1767" y="465"/>
                  <a:pt x="1767" y="466"/>
                </a:cubicBezTo>
                <a:cubicBezTo>
                  <a:pt x="1766" y="472"/>
                  <a:pt x="1765" y="477"/>
                  <a:pt x="1761" y="480"/>
                </a:cubicBezTo>
                <a:cubicBezTo>
                  <a:pt x="1760" y="482"/>
                  <a:pt x="1759" y="484"/>
                  <a:pt x="1759" y="485"/>
                </a:cubicBezTo>
                <a:cubicBezTo>
                  <a:pt x="1759" y="486"/>
                  <a:pt x="1759" y="487"/>
                  <a:pt x="1760" y="487"/>
                </a:cubicBezTo>
                <a:cubicBezTo>
                  <a:pt x="1760" y="487"/>
                  <a:pt x="1760" y="486"/>
                  <a:pt x="1760" y="485"/>
                </a:cubicBezTo>
                <a:cubicBezTo>
                  <a:pt x="1760" y="484"/>
                  <a:pt x="1761" y="483"/>
                  <a:pt x="1761" y="483"/>
                </a:cubicBezTo>
                <a:lnTo>
                  <a:pt x="1764" y="484"/>
                </a:lnTo>
                <a:lnTo>
                  <a:pt x="1764" y="482"/>
                </a:lnTo>
                <a:cubicBezTo>
                  <a:pt x="1764" y="481"/>
                  <a:pt x="1765" y="480"/>
                  <a:pt x="1766" y="478"/>
                </a:cubicBezTo>
                <a:cubicBezTo>
                  <a:pt x="1767" y="477"/>
                  <a:pt x="1768" y="476"/>
                  <a:pt x="1769" y="476"/>
                </a:cubicBezTo>
                <a:lnTo>
                  <a:pt x="1769" y="477"/>
                </a:lnTo>
                <a:cubicBezTo>
                  <a:pt x="1769" y="478"/>
                  <a:pt x="1768" y="480"/>
                  <a:pt x="1766" y="485"/>
                </a:cubicBezTo>
                <a:cubicBezTo>
                  <a:pt x="1765" y="489"/>
                  <a:pt x="1764" y="491"/>
                  <a:pt x="1763" y="491"/>
                </a:cubicBezTo>
                <a:cubicBezTo>
                  <a:pt x="1762" y="491"/>
                  <a:pt x="1761" y="493"/>
                  <a:pt x="1761" y="498"/>
                </a:cubicBezTo>
                <a:cubicBezTo>
                  <a:pt x="1760" y="502"/>
                  <a:pt x="1760" y="505"/>
                  <a:pt x="1758" y="507"/>
                </a:cubicBezTo>
                <a:cubicBezTo>
                  <a:pt x="1757" y="508"/>
                  <a:pt x="1756" y="511"/>
                  <a:pt x="1756" y="513"/>
                </a:cubicBezTo>
                <a:cubicBezTo>
                  <a:pt x="1756" y="515"/>
                  <a:pt x="1756" y="516"/>
                  <a:pt x="1757" y="516"/>
                </a:cubicBezTo>
                <a:close/>
                <a:moveTo>
                  <a:pt x="1531" y="757"/>
                </a:moveTo>
                <a:cubicBezTo>
                  <a:pt x="1530" y="757"/>
                  <a:pt x="1529" y="757"/>
                  <a:pt x="1529" y="757"/>
                </a:cubicBezTo>
                <a:lnTo>
                  <a:pt x="1530" y="756"/>
                </a:lnTo>
                <a:lnTo>
                  <a:pt x="1532" y="755"/>
                </a:lnTo>
                <a:cubicBezTo>
                  <a:pt x="1533" y="755"/>
                  <a:pt x="1534" y="756"/>
                  <a:pt x="1534" y="756"/>
                </a:cubicBezTo>
                <a:cubicBezTo>
                  <a:pt x="1534" y="757"/>
                  <a:pt x="1533" y="757"/>
                  <a:pt x="1531" y="757"/>
                </a:cubicBezTo>
                <a:close/>
                <a:moveTo>
                  <a:pt x="1626" y="707"/>
                </a:moveTo>
                <a:cubicBezTo>
                  <a:pt x="1624" y="707"/>
                  <a:pt x="1624" y="706"/>
                  <a:pt x="1624" y="705"/>
                </a:cubicBezTo>
                <a:cubicBezTo>
                  <a:pt x="1624" y="703"/>
                  <a:pt x="1624" y="703"/>
                  <a:pt x="1626" y="703"/>
                </a:cubicBezTo>
                <a:cubicBezTo>
                  <a:pt x="1627" y="703"/>
                  <a:pt x="1628" y="703"/>
                  <a:pt x="1628" y="705"/>
                </a:cubicBezTo>
                <a:cubicBezTo>
                  <a:pt x="1628" y="706"/>
                  <a:pt x="1627" y="707"/>
                  <a:pt x="1626" y="707"/>
                </a:cubicBezTo>
                <a:close/>
                <a:moveTo>
                  <a:pt x="1632" y="677"/>
                </a:moveTo>
                <a:lnTo>
                  <a:pt x="1631" y="676"/>
                </a:lnTo>
                <a:cubicBezTo>
                  <a:pt x="1631" y="675"/>
                  <a:pt x="1633" y="672"/>
                  <a:pt x="1636" y="667"/>
                </a:cubicBezTo>
                <a:lnTo>
                  <a:pt x="1638" y="666"/>
                </a:lnTo>
                <a:lnTo>
                  <a:pt x="1638" y="666"/>
                </a:lnTo>
                <a:cubicBezTo>
                  <a:pt x="1638" y="668"/>
                  <a:pt x="1637" y="670"/>
                  <a:pt x="1634" y="674"/>
                </a:cubicBezTo>
                <a:cubicBezTo>
                  <a:pt x="1633" y="676"/>
                  <a:pt x="1632" y="677"/>
                  <a:pt x="1632" y="677"/>
                </a:cubicBezTo>
                <a:close/>
                <a:moveTo>
                  <a:pt x="1716" y="515"/>
                </a:moveTo>
                <a:lnTo>
                  <a:pt x="1716" y="511"/>
                </a:lnTo>
                <a:cubicBezTo>
                  <a:pt x="1717" y="509"/>
                  <a:pt x="1718" y="508"/>
                  <a:pt x="1720" y="508"/>
                </a:cubicBezTo>
                <a:cubicBezTo>
                  <a:pt x="1720" y="508"/>
                  <a:pt x="1720" y="508"/>
                  <a:pt x="1720" y="509"/>
                </a:cubicBezTo>
                <a:cubicBezTo>
                  <a:pt x="1720" y="509"/>
                  <a:pt x="1720" y="510"/>
                  <a:pt x="1719" y="511"/>
                </a:cubicBezTo>
                <a:cubicBezTo>
                  <a:pt x="1717" y="514"/>
                  <a:pt x="1716" y="515"/>
                  <a:pt x="1716" y="515"/>
                </a:cubicBezTo>
                <a:close/>
                <a:moveTo>
                  <a:pt x="1727" y="494"/>
                </a:moveTo>
                <a:cubicBezTo>
                  <a:pt x="1726" y="494"/>
                  <a:pt x="1726" y="493"/>
                  <a:pt x="1726" y="490"/>
                </a:cubicBezTo>
                <a:cubicBezTo>
                  <a:pt x="1726" y="489"/>
                  <a:pt x="1726" y="488"/>
                  <a:pt x="1727" y="488"/>
                </a:cubicBezTo>
                <a:cubicBezTo>
                  <a:pt x="1728" y="488"/>
                  <a:pt x="1729" y="489"/>
                  <a:pt x="1729" y="491"/>
                </a:cubicBezTo>
                <a:lnTo>
                  <a:pt x="1729" y="492"/>
                </a:lnTo>
                <a:cubicBezTo>
                  <a:pt x="1728" y="493"/>
                  <a:pt x="1727" y="494"/>
                  <a:pt x="1727" y="494"/>
                </a:cubicBezTo>
                <a:close/>
                <a:moveTo>
                  <a:pt x="1712" y="531"/>
                </a:moveTo>
                <a:cubicBezTo>
                  <a:pt x="1711" y="531"/>
                  <a:pt x="1711" y="531"/>
                  <a:pt x="1711" y="530"/>
                </a:cubicBezTo>
                <a:cubicBezTo>
                  <a:pt x="1710" y="529"/>
                  <a:pt x="1710" y="529"/>
                  <a:pt x="1709" y="528"/>
                </a:cubicBezTo>
                <a:cubicBezTo>
                  <a:pt x="1709" y="528"/>
                  <a:pt x="1709" y="528"/>
                  <a:pt x="1709" y="527"/>
                </a:cubicBezTo>
                <a:cubicBezTo>
                  <a:pt x="1709" y="527"/>
                  <a:pt x="1709" y="526"/>
                  <a:pt x="1710" y="526"/>
                </a:cubicBezTo>
                <a:cubicBezTo>
                  <a:pt x="1712" y="526"/>
                  <a:pt x="1713" y="527"/>
                  <a:pt x="1713" y="528"/>
                </a:cubicBezTo>
                <a:cubicBezTo>
                  <a:pt x="1713" y="530"/>
                  <a:pt x="1712" y="531"/>
                  <a:pt x="1712" y="531"/>
                </a:cubicBezTo>
                <a:close/>
                <a:moveTo>
                  <a:pt x="1735" y="470"/>
                </a:moveTo>
                <a:cubicBezTo>
                  <a:pt x="1734" y="470"/>
                  <a:pt x="1734" y="470"/>
                  <a:pt x="1734" y="469"/>
                </a:cubicBezTo>
                <a:cubicBezTo>
                  <a:pt x="1734" y="468"/>
                  <a:pt x="1735" y="467"/>
                  <a:pt x="1736" y="466"/>
                </a:cubicBezTo>
                <a:cubicBezTo>
                  <a:pt x="1737" y="465"/>
                  <a:pt x="1738" y="464"/>
                  <a:pt x="1739" y="464"/>
                </a:cubicBezTo>
                <a:cubicBezTo>
                  <a:pt x="1739" y="464"/>
                  <a:pt x="1740" y="465"/>
                  <a:pt x="1740" y="465"/>
                </a:cubicBezTo>
                <a:cubicBezTo>
                  <a:pt x="1740" y="465"/>
                  <a:pt x="1740" y="466"/>
                  <a:pt x="1739" y="467"/>
                </a:cubicBezTo>
                <a:cubicBezTo>
                  <a:pt x="1739" y="468"/>
                  <a:pt x="1738" y="468"/>
                  <a:pt x="1738" y="469"/>
                </a:cubicBezTo>
                <a:cubicBezTo>
                  <a:pt x="1737" y="470"/>
                  <a:pt x="1736" y="470"/>
                  <a:pt x="1735" y="470"/>
                </a:cubicBezTo>
                <a:close/>
                <a:moveTo>
                  <a:pt x="1739" y="462"/>
                </a:moveTo>
                <a:cubicBezTo>
                  <a:pt x="1739" y="462"/>
                  <a:pt x="1738" y="461"/>
                  <a:pt x="1738" y="460"/>
                </a:cubicBezTo>
                <a:cubicBezTo>
                  <a:pt x="1738" y="458"/>
                  <a:pt x="1739" y="457"/>
                  <a:pt x="1741" y="457"/>
                </a:cubicBezTo>
                <a:cubicBezTo>
                  <a:pt x="1742" y="457"/>
                  <a:pt x="1742" y="457"/>
                  <a:pt x="1742" y="458"/>
                </a:cubicBezTo>
                <a:lnTo>
                  <a:pt x="1742" y="460"/>
                </a:lnTo>
                <a:cubicBezTo>
                  <a:pt x="1741" y="461"/>
                  <a:pt x="1740" y="462"/>
                  <a:pt x="1739" y="462"/>
                </a:cubicBezTo>
                <a:close/>
                <a:moveTo>
                  <a:pt x="1554" y="554"/>
                </a:moveTo>
                <a:cubicBezTo>
                  <a:pt x="1553" y="554"/>
                  <a:pt x="1552" y="553"/>
                  <a:pt x="1551" y="552"/>
                </a:cubicBezTo>
                <a:lnTo>
                  <a:pt x="1551" y="551"/>
                </a:lnTo>
                <a:cubicBezTo>
                  <a:pt x="1551" y="549"/>
                  <a:pt x="1552" y="544"/>
                  <a:pt x="1555" y="535"/>
                </a:cubicBezTo>
                <a:cubicBezTo>
                  <a:pt x="1558" y="527"/>
                  <a:pt x="1559" y="523"/>
                  <a:pt x="1559" y="521"/>
                </a:cubicBezTo>
                <a:cubicBezTo>
                  <a:pt x="1559" y="521"/>
                  <a:pt x="1560" y="519"/>
                  <a:pt x="1561" y="515"/>
                </a:cubicBezTo>
                <a:cubicBezTo>
                  <a:pt x="1570" y="497"/>
                  <a:pt x="1575" y="487"/>
                  <a:pt x="1577" y="487"/>
                </a:cubicBezTo>
                <a:cubicBezTo>
                  <a:pt x="1580" y="487"/>
                  <a:pt x="1582" y="491"/>
                  <a:pt x="1582" y="497"/>
                </a:cubicBezTo>
                <a:cubicBezTo>
                  <a:pt x="1582" y="501"/>
                  <a:pt x="1581" y="504"/>
                  <a:pt x="1580" y="508"/>
                </a:cubicBezTo>
                <a:lnTo>
                  <a:pt x="1577" y="506"/>
                </a:lnTo>
                <a:cubicBezTo>
                  <a:pt x="1575" y="506"/>
                  <a:pt x="1571" y="512"/>
                  <a:pt x="1565" y="526"/>
                </a:cubicBezTo>
                <a:cubicBezTo>
                  <a:pt x="1558" y="539"/>
                  <a:pt x="1555" y="547"/>
                  <a:pt x="1555" y="551"/>
                </a:cubicBezTo>
                <a:lnTo>
                  <a:pt x="1555" y="553"/>
                </a:lnTo>
                <a:cubicBezTo>
                  <a:pt x="1555" y="553"/>
                  <a:pt x="1555" y="554"/>
                  <a:pt x="1554" y="554"/>
                </a:cubicBezTo>
                <a:close/>
                <a:moveTo>
                  <a:pt x="2155" y="589"/>
                </a:moveTo>
                <a:cubicBezTo>
                  <a:pt x="2154" y="589"/>
                  <a:pt x="2154" y="589"/>
                  <a:pt x="2153" y="588"/>
                </a:cubicBezTo>
                <a:cubicBezTo>
                  <a:pt x="2153" y="587"/>
                  <a:pt x="2152" y="586"/>
                  <a:pt x="2152" y="585"/>
                </a:cubicBezTo>
                <a:cubicBezTo>
                  <a:pt x="2152" y="585"/>
                  <a:pt x="2151" y="584"/>
                  <a:pt x="2151" y="583"/>
                </a:cubicBezTo>
                <a:lnTo>
                  <a:pt x="2152" y="583"/>
                </a:lnTo>
                <a:lnTo>
                  <a:pt x="2154" y="585"/>
                </a:lnTo>
                <a:cubicBezTo>
                  <a:pt x="2155" y="586"/>
                  <a:pt x="2155" y="587"/>
                  <a:pt x="2155" y="588"/>
                </a:cubicBezTo>
                <a:lnTo>
                  <a:pt x="2155" y="589"/>
                </a:lnTo>
                <a:close/>
                <a:moveTo>
                  <a:pt x="1841" y="595"/>
                </a:moveTo>
                <a:cubicBezTo>
                  <a:pt x="1840" y="595"/>
                  <a:pt x="1840" y="595"/>
                  <a:pt x="1839" y="594"/>
                </a:cubicBezTo>
                <a:cubicBezTo>
                  <a:pt x="1838" y="593"/>
                  <a:pt x="1838" y="592"/>
                  <a:pt x="1838" y="591"/>
                </a:cubicBezTo>
                <a:cubicBezTo>
                  <a:pt x="1838" y="589"/>
                  <a:pt x="1838" y="587"/>
                  <a:pt x="1840" y="584"/>
                </a:cubicBezTo>
                <a:cubicBezTo>
                  <a:pt x="1841" y="582"/>
                  <a:pt x="1842" y="580"/>
                  <a:pt x="1842" y="580"/>
                </a:cubicBezTo>
                <a:lnTo>
                  <a:pt x="1844" y="586"/>
                </a:lnTo>
                <a:lnTo>
                  <a:pt x="1844" y="588"/>
                </a:lnTo>
                <a:cubicBezTo>
                  <a:pt x="1844" y="593"/>
                  <a:pt x="1843" y="595"/>
                  <a:pt x="1841" y="595"/>
                </a:cubicBezTo>
                <a:close/>
                <a:moveTo>
                  <a:pt x="1857" y="565"/>
                </a:moveTo>
                <a:cubicBezTo>
                  <a:pt x="1857" y="565"/>
                  <a:pt x="1856" y="564"/>
                  <a:pt x="1856" y="563"/>
                </a:cubicBezTo>
                <a:cubicBezTo>
                  <a:pt x="1855" y="563"/>
                  <a:pt x="1855" y="563"/>
                  <a:pt x="1854" y="562"/>
                </a:cubicBezTo>
                <a:lnTo>
                  <a:pt x="1854" y="561"/>
                </a:lnTo>
                <a:cubicBezTo>
                  <a:pt x="1854" y="560"/>
                  <a:pt x="1854" y="560"/>
                  <a:pt x="1855" y="560"/>
                </a:cubicBezTo>
                <a:cubicBezTo>
                  <a:pt x="1857" y="560"/>
                  <a:pt x="1858" y="561"/>
                  <a:pt x="1858" y="562"/>
                </a:cubicBezTo>
                <a:cubicBezTo>
                  <a:pt x="1858" y="564"/>
                  <a:pt x="1857" y="565"/>
                  <a:pt x="1857" y="565"/>
                </a:cubicBezTo>
                <a:close/>
                <a:moveTo>
                  <a:pt x="1862" y="747"/>
                </a:moveTo>
                <a:cubicBezTo>
                  <a:pt x="1858" y="747"/>
                  <a:pt x="1854" y="747"/>
                  <a:pt x="1850" y="746"/>
                </a:cubicBezTo>
                <a:cubicBezTo>
                  <a:pt x="1838" y="743"/>
                  <a:pt x="1830" y="738"/>
                  <a:pt x="1825" y="732"/>
                </a:cubicBezTo>
                <a:cubicBezTo>
                  <a:pt x="1823" y="729"/>
                  <a:pt x="1821" y="728"/>
                  <a:pt x="1819" y="728"/>
                </a:cubicBezTo>
                <a:cubicBezTo>
                  <a:pt x="1817" y="728"/>
                  <a:pt x="1815" y="726"/>
                  <a:pt x="1812" y="722"/>
                </a:cubicBezTo>
                <a:cubicBezTo>
                  <a:pt x="1809" y="718"/>
                  <a:pt x="1806" y="714"/>
                  <a:pt x="1803" y="710"/>
                </a:cubicBezTo>
                <a:cubicBezTo>
                  <a:pt x="1801" y="705"/>
                  <a:pt x="1800" y="702"/>
                  <a:pt x="1800" y="699"/>
                </a:cubicBezTo>
                <a:lnTo>
                  <a:pt x="1801" y="696"/>
                </a:lnTo>
                <a:cubicBezTo>
                  <a:pt x="1801" y="696"/>
                  <a:pt x="1800" y="695"/>
                  <a:pt x="1799" y="695"/>
                </a:cubicBezTo>
                <a:cubicBezTo>
                  <a:pt x="1798" y="695"/>
                  <a:pt x="1797" y="689"/>
                  <a:pt x="1797" y="678"/>
                </a:cubicBezTo>
                <a:cubicBezTo>
                  <a:pt x="1797" y="667"/>
                  <a:pt x="1798" y="654"/>
                  <a:pt x="1799" y="638"/>
                </a:cubicBezTo>
                <a:cubicBezTo>
                  <a:pt x="1801" y="623"/>
                  <a:pt x="1803" y="612"/>
                  <a:pt x="1805" y="604"/>
                </a:cubicBezTo>
                <a:cubicBezTo>
                  <a:pt x="1806" y="599"/>
                  <a:pt x="1807" y="595"/>
                  <a:pt x="1807" y="592"/>
                </a:cubicBezTo>
                <a:lnTo>
                  <a:pt x="1806" y="589"/>
                </a:lnTo>
                <a:cubicBezTo>
                  <a:pt x="1806" y="588"/>
                  <a:pt x="1807" y="586"/>
                  <a:pt x="1808" y="585"/>
                </a:cubicBezTo>
                <a:cubicBezTo>
                  <a:pt x="1810" y="583"/>
                  <a:pt x="1810" y="581"/>
                  <a:pt x="1810" y="579"/>
                </a:cubicBezTo>
                <a:lnTo>
                  <a:pt x="1810" y="577"/>
                </a:lnTo>
                <a:cubicBezTo>
                  <a:pt x="1810" y="577"/>
                  <a:pt x="1810" y="576"/>
                  <a:pt x="1811" y="576"/>
                </a:cubicBezTo>
                <a:lnTo>
                  <a:pt x="1813" y="577"/>
                </a:lnTo>
                <a:cubicBezTo>
                  <a:pt x="1813" y="577"/>
                  <a:pt x="1813" y="577"/>
                  <a:pt x="1813" y="576"/>
                </a:cubicBezTo>
                <a:lnTo>
                  <a:pt x="1813" y="574"/>
                </a:lnTo>
                <a:cubicBezTo>
                  <a:pt x="1813" y="572"/>
                  <a:pt x="1815" y="566"/>
                  <a:pt x="1820" y="557"/>
                </a:cubicBezTo>
                <a:cubicBezTo>
                  <a:pt x="1824" y="549"/>
                  <a:pt x="1829" y="541"/>
                  <a:pt x="1834" y="533"/>
                </a:cubicBezTo>
                <a:cubicBezTo>
                  <a:pt x="1843" y="521"/>
                  <a:pt x="1850" y="515"/>
                  <a:pt x="1856" y="515"/>
                </a:cubicBezTo>
                <a:cubicBezTo>
                  <a:pt x="1858" y="515"/>
                  <a:pt x="1859" y="516"/>
                  <a:pt x="1860" y="516"/>
                </a:cubicBezTo>
                <a:cubicBezTo>
                  <a:pt x="1863" y="517"/>
                  <a:pt x="1867" y="518"/>
                  <a:pt x="1871" y="519"/>
                </a:cubicBezTo>
                <a:cubicBezTo>
                  <a:pt x="1875" y="520"/>
                  <a:pt x="1877" y="522"/>
                  <a:pt x="1877" y="523"/>
                </a:cubicBezTo>
                <a:lnTo>
                  <a:pt x="1876" y="529"/>
                </a:lnTo>
                <a:cubicBezTo>
                  <a:pt x="1876" y="531"/>
                  <a:pt x="1877" y="533"/>
                  <a:pt x="1879" y="533"/>
                </a:cubicBezTo>
                <a:cubicBezTo>
                  <a:pt x="1880" y="534"/>
                  <a:pt x="1881" y="535"/>
                  <a:pt x="1881" y="537"/>
                </a:cubicBezTo>
                <a:lnTo>
                  <a:pt x="1881" y="541"/>
                </a:lnTo>
                <a:cubicBezTo>
                  <a:pt x="1881" y="541"/>
                  <a:pt x="1880" y="540"/>
                  <a:pt x="1880" y="538"/>
                </a:cubicBezTo>
                <a:cubicBezTo>
                  <a:pt x="1879" y="536"/>
                  <a:pt x="1879" y="535"/>
                  <a:pt x="1878" y="535"/>
                </a:cubicBezTo>
                <a:cubicBezTo>
                  <a:pt x="1876" y="535"/>
                  <a:pt x="1875" y="537"/>
                  <a:pt x="1874" y="541"/>
                </a:cubicBezTo>
                <a:cubicBezTo>
                  <a:pt x="1873" y="546"/>
                  <a:pt x="1872" y="548"/>
                  <a:pt x="1872" y="548"/>
                </a:cubicBezTo>
                <a:lnTo>
                  <a:pt x="1870" y="547"/>
                </a:lnTo>
                <a:cubicBezTo>
                  <a:pt x="1869" y="547"/>
                  <a:pt x="1869" y="547"/>
                  <a:pt x="1868" y="548"/>
                </a:cubicBezTo>
                <a:cubicBezTo>
                  <a:pt x="1867" y="548"/>
                  <a:pt x="1867" y="549"/>
                  <a:pt x="1867" y="550"/>
                </a:cubicBezTo>
                <a:cubicBezTo>
                  <a:pt x="1867" y="550"/>
                  <a:pt x="1867" y="551"/>
                  <a:pt x="1867" y="551"/>
                </a:cubicBezTo>
                <a:lnTo>
                  <a:pt x="1870" y="550"/>
                </a:lnTo>
                <a:cubicBezTo>
                  <a:pt x="1870" y="550"/>
                  <a:pt x="1870" y="550"/>
                  <a:pt x="1870" y="551"/>
                </a:cubicBezTo>
                <a:cubicBezTo>
                  <a:pt x="1870" y="553"/>
                  <a:pt x="1870" y="555"/>
                  <a:pt x="1868" y="558"/>
                </a:cubicBezTo>
                <a:lnTo>
                  <a:pt x="1867" y="560"/>
                </a:lnTo>
                <a:lnTo>
                  <a:pt x="1868" y="554"/>
                </a:lnTo>
                <a:lnTo>
                  <a:pt x="1868" y="553"/>
                </a:lnTo>
                <a:cubicBezTo>
                  <a:pt x="1867" y="553"/>
                  <a:pt x="1866" y="554"/>
                  <a:pt x="1865" y="556"/>
                </a:cubicBezTo>
                <a:cubicBezTo>
                  <a:pt x="1863" y="558"/>
                  <a:pt x="1862" y="560"/>
                  <a:pt x="1860" y="560"/>
                </a:cubicBezTo>
                <a:cubicBezTo>
                  <a:pt x="1857" y="560"/>
                  <a:pt x="1855" y="556"/>
                  <a:pt x="1855" y="550"/>
                </a:cubicBezTo>
                <a:lnTo>
                  <a:pt x="1855" y="544"/>
                </a:lnTo>
                <a:cubicBezTo>
                  <a:pt x="1855" y="542"/>
                  <a:pt x="1855" y="541"/>
                  <a:pt x="1854" y="541"/>
                </a:cubicBezTo>
                <a:cubicBezTo>
                  <a:pt x="1853" y="541"/>
                  <a:pt x="1853" y="541"/>
                  <a:pt x="1853" y="541"/>
                </a:cubicBezTo>
                <a:cubicBezTo>
                  <a:pt x="1852" y="542"/>
                  <a:pt x="1852" y="543"/>
                  <a:pt x="1852" y="544"/>
                </a:cubicBezTo>
                <a:lnTo>
                  <a:pt x="1852" y="548"/>
                </a:lnTo>
                <a:cubicBezTo>
                  <a:pt x="1852" y="549"/>
                  <a:pt x="1852" y="551"/>
                  <a:pt x="1851" y="553"/>
                </a:cubicBezTo>
                <a:cubicBezTo>
                  <a:pt x="1850" y="556"/>
                  <a:pt x="1849" y="557"/>
                  <a:pt x="1848" y="559"/>
                </a:cubicBezTo>
                <a:cubicBezTo>
                  <a:pt x="1847" y="560"/>
                  <a:pt x="1846" y="561"/>
                  <a:pt x="1845" y="561"/>
                </a:cubicBezTo>
                <a:cubicBezTo>
                  <a:pt x="1845" y="561"/>
                  <a:pt x="1845" y="561"/>
                  <a:pt x="1844" y="561"/>
                </a:cubicBezTo>
                <a:lnTo>
                  <a:pt x="1844" y="560"/>
                </a:lnTo>
                <a:lnTo>
                  <a:pt x="1844" y="562"/>
                </a:lnTo>
                <a:cubicBezTo>
                  <a:pt x="1844" y="564"/>
                  <a:pt x="1841" y="571"/>
                  <a:pt x="1836" y="583"/>
                </a:cubicBezTo>
                <a:cubicBezTo>
                  <a:pt x="1829" y="598"/>
                  <a:pt x="1826" y="607"/>
                  <a:pt x="1826" y="611"/>
                </a:cubicBezTo>
                <a:lnTo>
                  <a:pt x="1826" y="612"/>
                </a:lnTo>
                <a:cubicBezTo>
                  <a:pt x="1826" y="612"/>
                  <a:pt x="1827" y="611"/>
                  <a:pt x="1827" y="610"/>
                </a:cubicBezTo>
                <a:cubicBezTo>
                  <a:pt x="1827" y="610"/>
                  <a:pt x="1828" y="609"/>
                  <a:pt x="1828" y="609"/>
                </a:cubicBezTo>
                <a:lnTo>
                  <a:pt x="1830" y="610"/>
                </a:lnTo>
                <a:lnTo>
                  <a:pt x="1831" y="609"/>
                </a:lnTo>
                <a:cubicBezTo>
                  <a:pt x="1831" y="608"/>
                  <a:pt x="1831" y="608"/>
                  <a:pt x="1830" y="607"/>
                </a:cubicBezTo>
                <a:cubicBezTo>
                  <a:pt x="1830" y="606"/>
                  <a:pt x="1830" y="605"/>
                  <a:pt x="1830" y="604"/>
                </a:cubicBezTo>
                <a:cubicBezTo>
                  <a:pt x="1830" y="602"/>
                  <a:pt x="1830" y="600"/>
                  <a:pt x="1832" y="598"/>
                </a:cubicBezTo>
                <a:cubicBezTo>
                  <a:pt x="1833" y="597"/>
                  <a:pt x="1834" y="596"/>
                  <a:pt x="1835" y="596"/>
                </a:cubicBezTo>
                <a:cubicBezTo>
                  <a:pt x="1836" y="596"/>
                  <a:pt x="1837" y="596"/>
                  <a:pt x="1837" y="597"/>
                </a:cubicBezTo>
                <a:cubicBezTo>
                  <a:pt x="1838" y="597"/>
                  <a:pt x="1839" y="598"/>
                  <a:pt x="1840" y="599"/>
                </a:cubicBezTo>
                <a:cubicBezTo>
                  <a:pt x="1840" y="600"/>
                  <a:pt x="1840" y="601"/>
                  <a:pt x="1840" y="602"/>
                </a:cubicBezTo>
                <a:cubicBezTo>
                  <a:pt x="1840" y="603"/>
                  <a:pt x="1840" y="603"/>
                  <a:pt x="1840" y="603"/>
                </a:cubicBezTo>
                <a:cubicBezTo>
                  <a:pt x="1840" y="603"/>
                  <a:pt x="1839" y="602"/>
                  <a:pt x="1837" y="600"/>
                </a:cubicBezTo>
                <a:lnTo>
                  <a:pt x="1835" y="597"/>
                </a:lnTo>
                <a:lnTo>
                  <a:pt x="1834" y="597"/>
                </a:lnTo>
                <a:cubicBezTo>
                  <a:pt x="1834" y="598"/>
                  <a:pt x="1835" y="599"/>
                  <a:pt x="1836" y="602"/>
                </a:cubicBezTo>
                <a:cubicBezTo>
                  <a:pt x="1837" y="604"/>
                  <a:pt x="1837" y="605"/>
                  <a:pt x="1837" y="606"/>
                </a:cubicBezTo>
                <a:cubicBezTo>
                  <a:pt x="1837" y="607"/>
                  <a:pt x="1837" y="607"/>
                  <a:pt x="1837" y="607"/>
                </a:cubicBezTo>
                <a:lnTo>
                  <a:pt x="1835" y="606"/>
                </a:lnTo>
                <a:cubicBezTo>
                  <a:pt x="1834" y="606"/>
                  <a:pt x="1834" y="607"/>
                  <a:pt x="1834" y="607"/>
                </a:cubicBezTo>
                <a:lnTo>
                  <a:pt x="1836" y="614"/>
                </a:lnTo>
                <a:cubicBezTo>
                  <a:pt x="1836" y="614"/>
                  <a:pt x="1835" y="614"/>
                  <a:pt x="1835" y="614"/>
                </a:cubicBezTo>
                <a:lnTo>
                  <a:pt x="1832" y="613"/>
                </a:lnTo>
                <a:cubicBezTo>
                  <a:pt x="1832" y="613"/>
                  <a:pt x="1832" y="614"/>
                  <a:pt x="1832" y="614"/>
                </a:cubicBezTo>
                <a:cubicBezTo>
                  <a:pt x="1832" y="615"/>
                  <a:pt x="1832" y="616"/>
                  <a:pt x="1832" y="617"/>
                </a:cubicBezTo>
                <a:cubicBezTo>
                  <a:pt x="1833" y="618"/>
                  <a:pt x="1833" y="619"/>
                  <a:pt x="1833" y="620"/>
                </a:cubicBezTo>
                <a:cubicBezTo>
                  <a:pt x="1833" y="622"/>
                  <a:pt x="1832" y="623"/>
                  <a:pt x="1832" y="623"/>
                </a:cubicBezTo>
                <a:cubicBezTo>
                  <a:pt x="1831" y="624"/>
                  <a:pt x="1830" y="625"/>
                  <a:pt x="1830" y="625"/>
                </a:cubicBezTo>
                <a:lnTo>
                  <a:pt x="1831" y="628"/>
                </a:lnTo>
                <a:cubicBezTo>
                  <a:pt x="1831" y="628"/>
                  <a:pt x="1831" y="628"/>
                  <a:pt x="1831" y="628"/>
                </a:cubicBezTo>
                <a:lnTo>
                  <a:pt x="1828" y="627"/>
                </a:lnTo>
                <a:cubicBezTo>
                  <a:pt x="1828" y="627"/>
                  <a:pt x="1827" y="628"/>
                  <a:pt x="1827" y="629"/>
                </a:cubicBezTo>
                <a:lnTo>
                  <a:pt x="1827" y="634"/>
                </a:lnTo>
                <a:cubicBezTo>
                  <a:pt x="1827" y="636"/>
                  <a:pt x="1827" y="638"/>
                  <a:pt x="1827" y="639"/>
                </a:cubicBezTo>
                <a:cubicBezTo>
                  <a:pt x="1825" y="642"/>
                  <a:pt x="1824" y="648"/>
                  <a:pt x="1823" y="657"/>
                </a:cubicBezTo>
                <a:cubicBezTo>
                  <a:pt x="1823" y="666"/>
                  <a:pt x="1822" y="674"/>
                  <a:pt x="1822" y="683"/>
                </a:cubicBezTo>
                <a:cubicBezTo>
                  <a:pt x="1822" y="690"/>
                  <a:pt x="1823" y="696"/>
                  <a:pt x="1823" y="701"/>
                </a:cubicBezTo>
                <a:cubicBezTo>
                  <a:pt x="1825" y="711"/>
                  <a:pt x="1832" y="716"/>
                  <a:pt x="1845" y="716"/>
                </a:cubicBezTo>
                <a:cubicBezTo>
                  <a:pt x="1873" y="716"/>
                  <a:pt x="1933" y="689"/>
                  <a:pt x="2024" y="637"/>
                </a:cubicBezTo>
                <a:lnTo>
                  <a:pt x="2124" y="578"/>
                </a:lnTo>
                <a:cubicBezTo>
                  <a:pt x="2149" y="563"/>
                  <a:pt x="2163" y="555"/>
                  <a:pt x="2167" y="555"/>
                </a:cubicBezTo>
                <a:lnTo>
                  <a:pt x="2167" y="555"/>
                </a:lnTo>
                <a:cubicBezTo>
                  <a:pt x="2168" y="555"/>
                  <a:pt x="2168" y="555"/>
                  <a:pt x="2168" y="554"/>
                </a:cubicBezTo>
                <a:cubicBezTo>
                  <a:pt x="2168" y="553"/>
                  <a:pt x="2169" y="552"/>
                  <a:pt x="2170" y="551"/>
                </a:cubicBezTo>
                <a:cubicBezTo>
                  <a:pt x="2170" y="551"/>
                  <a:pt x="2171" y="551"/>
                  <a:pt x="2171" y="551"/>
                </a:cubicBezTo>
                <a:cubicBezTo>
                  <a:pt x="2173" y="551"/>
                  <a:pt x="2175" y="550"/>
                  <a:pt x="2175" y="549"/>
                </a:cubicBezTo>
                <a:cubicBezTo>
                  <a:pt x="2175" y="548"/>
                  <a:pt x="2175" y="547"/>
                  <a:pt x="2176" y="547"/>
                </a:cubicBezTo>
                <a:lnTo>
                  <a:pt x="2178" y="548"/>
                </a:lnTo>
                <a:cubicBezTo>
                  <a:pt x="2179" y="548"/>
                  <a:pt x="2179" y="547"/>
                  <a:pt x="2179" y="546"/>
                </a:cubicBezTo>
                <a:cubicBezTo>
                  <a:pt x="2179" y="545"/>
                  <a:pt x="2180" y="545"/>
                  <a:pt x="2182" y="545"/>
                </a:cubicBezTo>
                <a:lnTo>
                  <a:pt x="2183" y="545"/>
                </a:lnTo>
                <a:cubicBezTo>
                  <a:pt x="2185" y="545"/>
                  <a:pt x="2188" y="543"/>
                  <a:pt x="2192" y="540"/>
                </a:cubicBezTo>
                <a:lnTo>
                  <a:pt x="2192" y="539"/>
                </a:lnTo>
                <a:cubicBezTo>
                  <a:pt x="2194" y="539"/>
                  <a:pt x="2195" y="540"/>
                  <a:pt x="2197" y="542"/>
                </a:cubicBezTo>
                <a:cubicBezTo>
                  <a:pt x="2199" y="544"/>
                  <a:pt x="2201" y="546"/>
                  <a:pt x="2203" y="548"/>
                </a:cubicBezTo>
                <a:cubicBezTo>
                  <a:pt x="2205" y="550"/>
                  <a:pt x="2205" y="551"/>
                  <a:pt x="2205" y="552"/>
                </a:cubicBezTo>
                <a:cubicBezTo>
                  <a:pt x="2205" y="555"/>
                  <a:pt x="2200" y="560"/>
                  <a:pt x="2188" y="568"/>
                </a:cubicBezTo>
                <a:cubicBezTo>
                  <a:pt x="2185" y="570"/>
                  <a:pt x="2182" y="571"/>
                  <a:pt x="2181" y="571"/>
                </a:cubicBezTo>
                <a:cubicBezTo>
                  <a:pt x="2180" y="571"/>
                  <a:pt x="2180" y="571"/>
                  <a:pt x="2180" y="570"/>
                </a:cubicBezTo>
                <a:cubicBezTo>
                  <a:pt x="2180" y="569"/>
                  <a:pt x="2180" y="568"/>
                  <a:pt x="2181" y="568"/>
                </a:cubicBezTo>
                <a:lnTo>
                  <a:pt x="2182" y="568"/>
                </a:lnTo>
                <a:cubicBezTo>
                  <a:pt x="2183" y="568"/>
                  <a:pt x="2183" y="568"/>
                  <a:pt x="2183" y="567"/>
                </a:cubicBezTo>
                <a:cubicBezTo>
                  <a:pt x="2183" y="566"/>
                  <a:pt x="2184" y="566"/>
                  <a:pt x="2185" y="565"/>
                </a:cubicBezTo>
                <a:cubicBezTo>
                  <a:pt x="2187" y="564"/>
                  <a:pt x="2189" y="563"/>
                  <a:pt x="2191" y="562"/>
                </a:cubicBezTo>
                <a:cubicBezTo>
                  <a:pt x="2193" y="561"/>
                  <a:pt x="2195" y="561"/>
                  <a:pt x="2196" y="559"/>
                </a:cubicBezTo>
                <a:cubicBezTo>
                  <a:pt x="2197" y="558"/>
                  <a:pt x="2198" y="557"/>
                  <a:pt x="2198" y="556"/>
                </a:cubicBezTo>
                <a:cubicBezTo>
                  <a:pt x="2198" y="554"/>
                  <a:pt x="2198" y="553"/>
                  <a:pt x="2197" y="553"/>
                </a:cubicBezTo>
                <a:cubicBezTo>
                  <a:pt x="2196" y="553"/>
                  <a:pt x="2195" y="554"/>
                  <a:pt x="2192" y="557"/>
                </a:cubicBezTo>
                <a:cubicBezTo>
                  <a:pt x="2190" y="560"/>
                  <a:pt x="2188" y="561"/>
                  <a:pt x="2186" y="561"/>
                </a:cubicBezTo>
                <a:lnTo>
                  <a:pt x="2185" y="561"/>
                </a:lnTo>
                <a:cubicBezTo>
                  <a:pt x="2184" y="561"/>
                  <a:pt x="2182" y="562"/>
                  <a:pt x="2181" y="564"/>
                </a:cubicBezTo>
                <a:cubicBezTo>
                  <a:pt x="2179" y="566"/>
                  <a:pt x="2176" y="568"/>
                  <a:pt x="2173" y="569"/>
                </a:cubicBezTo>
                <a:cubicBezTo>
                  <a:pt x="2170" y="571"/>
                  <a:pt x="2168" y="571"/>
                  <a:pt x="2166" y="571"/>
                </a:cubicBezTo>
                <a:lnTo>
                  <a:pt x="2164" y="571"/>
                </a:lnTo>
                <a:cubicBezTo>
                  <a:pt x="2163" y="571"/>
                  <a:pt x="2163" y="571"/>
                  <a:pt x="2162" y="573"/>
                </a:cubicBezTo>
                <a:cubicBezTo>
                  <a:pt x="2161" y="574"/>
                  <a:pt x="2160" y="576"/>
                  <a:pt x="2160" y="578"/>
                </a:cubicBezTo>
                <a:cubicBezTo>
                  <a:pt x="2159" y="580"/>
                  <a:pt x="2159" y="581"/>
                  <a:pt x="2159" y="583"/>
                </a:cubicBezTo>
                <a:lnTo>
                  <a:pt x="2159" y="586"/>
                </a:lnTo>
                <a:lnTo>
                  <a:pt x="2158" y="585"/>
                </a:lnTo>
                <a:cubicBezTo>
                  <a:pt x="2157" y="582"/>
                  <a:pt x="2155" y="580"/>
                  <a:pt x="2153" y="580"/>
                </a:cubicBezTo>
                <a:cubicBezTo>
                  <a:pt x="2152" y="580"/>
                  <a:pt x="2151" y="581"/>
                  <a:pt x="2150" y="583"/>
                </a:cubicBezTo>
                <a:cubicBezTo>
                  <a:pt x="2148" y="585"/>
                  <a:pt x="2148" y="586"/>
                  <a:pt x="2148" y="588"/>
                </a:cubicBezTo>
                <a:lnTo>
                  <a:pt x="2148" y="588"/>
                </a:lnTo>
                <a:cubicBezTo>
                  <a:pt x="2148" y="589"/>
                  <a:pt x="2148" y="589"/>
                  <a:pt x="2147" y="589"/>
                </a:cubicBezTo>
                <a:lnTo>
                  <a:pt x="2144" y="588"/>
                </a:lnTo>
                <a:cubicBezTo>
                  <a:pt x="2143" y="588"/>
                  <a:pt x="2142" y="590"/>
                  <a:pt x="2142" y="593"/>
                </a:cubicBezTo>
                <a:cubicBezTo>
                  <a:pt x="2142" y="596"/>
                  <a:pt x="2141" y="598"/>
                  <a:pt x="2140" y="598"/>
                </a:cubicBezTo>
                <a:cubicBezTo>
                  <a:pt x="2138" y="599"/>
                  <a:pt x="2137" y="600"/>
                  <a:pt x="2137" y="601"/>
                </a:cubicBezTo>
                <a:lnTo>
                  <a:pt x="2138" y="603"/>
                </a:lnTo>
                <a:lnTo>
                  <a:pt x="2137" y="604"/>
                </a:lnTo>
                <a:lnTo>
                  <a:pt x="2137" y="603"/>
                </a:lnTo>
                <a:cubicBezTo>
                  <a:pt x="2137" y="603"/>
                  <a:pt x="2136" y="603"/>
                  <a:pt x="2135" y="603"/>
                </a:cubicBezTo>
                <a:cubicBezTo>
                  <a:pt x="2134" y="603"/>
                  <a:pt x="2133" y="603"/>
                  <a:pt x="2132" y="604"/>
                </a:cubicBezTo>
                <a:cubicBezTo>
                  <a:pt x="2131" y="605"/>
                  <a:pt x="2130" y="605"/>
                  <a:pt x="2130" y="605"/>
                </a:cubicBezTo>
                <a:cubicBezTo>
                  <a:pt x="2129" y="605"/>
                  <a:pt x="2129" y="605"/>
                  <a:pt x="2129" y="604"/>
                </a:cubicBezTo>
                <a:cubicBezTo>
                  <a:pt x="2129" y="603"/>
                  <a:pt x="2130" y="601"/>
                  <a:pt x="2131" y="601"/>
                </a:cubicBezTo>
                <a:cubicBezTo>
                  <a:pt x="2132" y="600"/>
                  <a:pt x="2133" y="600"/>
                  <a:pt x="2133" y="599"/>
                </a:cubicBezTo>
                <a:cubicBezTo>
                  <a:pt x="2133" y="598"/>
                  <a:pt x="2133" y="596"/>
                  <a:pt x="2132" y="595"/>
                </a:cubicBezTo>
                <a:cubicBezTo>
                  <a:pt x="2132" y="593"/>
                  <a:pt x="2131" y="593"/>
                  <a:pt x="2131" y="593"/>
                </a:cubicBezTo>
                <a:cubicBezTo>
                  <a:pt x="2130" y="593"/>
                  <a:pt x="2130" y="593"/>
                  <a:pt x="2129" y="595"/>
                </a:cubicBezTo>
                <a:cubicBezTo>
                  <a:pt x="2126" y="598"/>
                  <a:pt x="2116" y="603"/>
                  <a:pt x="2100" y="612"/>
                </a:cubicBezTo>
                <a:cubicBezTo>
                  <a:pt x="2084" y="620"/>
                  <a:pt x="2076" y="625"/>
                  <a:pt x="2076" y="627"/>
                </a:cubicBezTo>
                <a:cubicBezTo>
                  <a:pt x="2076" y="628"/>
                  <a:pt x="2075" y="628"/>
                  <a:pt x="2073" y="628"/>
                </a:cubicBezTo>
                <a:cubicBezTo>
                  <a:pt x="2071" y="628"/>
                  <a:pt x="2070" y="629"/>
                  <a:pt x="2070" y="630"/>
                </a:cubicBezTo>
                <a:lnTo>
                  <a:pt x="2070" y="635"/>
                </a:lnTo>
                <a:cubicBezTo>
                  <a:pt x="2070" y="635"/>
                  <a:pt x="2070" y="634"/>
                  <a:pt x="2069" y="634"/>
                </a:cubicBezTo>
                <a:cubicBezTo>
                  <a:pt x="2068" y="633"/>
                  <a:pt x="2067" y="632"/>
                  <a:pt x="2066" y="632"/>
                </a:cubicBezTo>
                <a:cubicBezTo>
                  <a:pt x="2064" y="632"/>
                  <a:pt x="2062" y="633"/>
                  <a:pt x="2060" y="634"/>
                </a:cubicBezTo>
                <a:cubicBezTo>
                  <a:pt x="2057" y="635"/>
                  <a:pt x="2055" y="636"/>
                  <a:pt x="2053" y="638"/>
                </a:cubicBezTo>
                <a:cubicBezTo>
                  <a:pt x="2051" y="639"/>
                  <a:pt x="2051" y="641"/>
                  <a:pt x="2051" y="642"/>
                </a:cubicBezTo>
                <a:lnTo>
                  <a:pt x="2051" y="643"/>
                </a:lnTo>
                <a:lnTo>
                  <a:pt x="2050" y="646"/>
                </a:lnTo>
                <a:cubicBezTo>
                  <a:pt x="2048" y="648"/>
                  <a:pt x="2046" y="650"/>
                  <a:pt x="2044" y="650"/>
                </a:cubicBezTo>
                <a:cubicBezTo>
                  <a:pt x="2043" y="650"/>
                  <a:pt x="2043" y="649"/>
                  <a:pt x="2043" y="649"/>
                </a:cubicBezTo>
                <a:cubicBezTo>
                  <a:pt x="2043" y="648"/>
                  <a:pt x="2044" y="647"/>
                  <a:pt x="2045" y="646"/>
                </a:cubicBezTo>
                <a:cubicBezTo>
                  <a:pt x="2046" y="644"/>
                  <a:pt x="2046" y="643"/>
                  <a:pt x="2046" y="643"/>
                </a:cubicBezTo>
                <a:lnTo>
                  <a:pt x="2046" y="643"/>
                </a:lnTo>
                <a:cubicBezTo>
                  <a:pt x="2045" y="643"/>
                  <a:pt x="2042" y="644"/>
                  <a:pt x="2036" y="648"/>
                </a:cubicBezTo>
                <a:cubicBezTo>
                  <a:pt x="2031" y="652"/>
                  <a:pt x="2028" y="654"/>
                  <a:pt x="2028" y="655"/>
                </a:cubicBezTo>
                <a:cubicBezTo>
                  <a:pt x="2028" y="657"/>
                  <a:pt x="2028" y="658"/>
                  <a:pt x="2027" y="659"/>
                </a:cubicBezTo>
                <a:cubicBezTo>
                  <a:pt x="2026" y="660"/>
                  <a:pt x="2025" y="661"/>
                  <a:pt x="2023" y="661"/>
                </a:cubicBezTo>
                <a:cubicBezTo>
                  <a:pt x="2023" y="661"/>
                  <a:pt x="2023" y="660"/>
                  <a:pt x="2025" y="659"/>
                </a:cubicBezTo>
                <a:cubicBezTo>
                  <a:pt x="2026" y="658"/>
                  <a:pt x="2027" y="657"/>
                  <a:pt x="2027" y="656"/>
                </a:cubicBezTo>
                <a:cubicBezTo>
                  <a:pt x="2027" y="655"/>
                  <a:pt x="2026" y="655"/>
                  <a:pt x="2026" y="655"/>
                </a:cubicBezTo>
                <a:cubicBezTo>
                  <a:pt x="2024" y="655"/>
                  <a:pt x="2023" y="655"/>
                  <a:pt x="2021" y="657"/>
                </a:cubicBezTo>
                <a:cubicBezTo>
                  <a:pt x="2019" y="658"/>
                  <a:pt x="2018" y="659"/>
                  <a:pt x="2018" y="660"/>
                </a:cubicBezTo>
                <a:cubicBezTo>
                  <a:pt x="2018" y="661"/>
                  <a:pt x="2018" y="661"/>
                  <a:pt x="2019" y="661"/>
                </a:cubicBezTo>
                <a:cubicBezTo>
                  <a:pt x="2019" y="661"/>
                  <a:pt x="2019" y="661"/>
                  <a:pt x="2019" y="662"/>
                </a:cubicBezTo>
                <a:lnTo>
                  <a:pt x="2019" y="665"/>
                </a:lnTo>
                <a:cubicBezTo>
                  <a:pt x="2019" y="666"/>
                  <a:pt x="2020" y="668"/>
                  <a:pt x="2021" y="669"/>
                </a:cubicBezTo>
                <a:cubicBezTo>
                  <a:pt x="2023" y="671"/>
                  <a:pt x="2023" y="672"/>
                  <a:pt x="2023" y="673"/>
                </a:cubicBezTo>
                <a:cubicBezTo>
                  <a:pt x="2023" y="674"/>
                  <a:pt x="2022" y="674"/>
                  <a:pt x="2020" y="674"/>
                </a:cubicBezTo>
                <a:cubicBezTo>
                  <a:pt x="2018" y="674"/>
                  <a:pt x="2013" y="677"/>
                  <a:pt x="2004" y="681"/>
                </a:cubicBezTo>
                <a:cubicBezTo>
                  <a:pt x="1996" y="686"/>
                  <a:pt x="1992" y="689"/>
                  <a:pt x="1992" y="690"/>
                </a:cubicBezTo>
                <a:cubicBezTo>
                  <a:pt x="1992" y="691"/>
                  <a:pt x="1991" y="692"/>
                  <a:pt x="1989" y="692"/>
                </a:cubicBezTo>
                <a:lnTo>
                  <a:pt x="1986" y="692"/>
                </a:lnTo>
                <a:cubicBezTo>
                  <a:pt x="1982" y="692"/>
                  <a:pt x="1981" y="692"/>
                  <a:pt x="1981" y="693"/>
                </a:cubicBezTo>
                <a:cubicBezTo>
                  <a:pt x="1981" y="694"/>
                  <a:pt x="1981" y="694"/>
                  <a:pt x="1980" y="694"/>
                </a:cubicBezTo>
                <a:lnTo>
                  <a:pt x="1978" y="693"/>
                </a:lnTo>
                <a:cubicBezTo>
                  <a:pt x="1977" y="693"/>
                  <a:pt x="1977" y="693"/>
                  <a:pt x="1977" y="694"/>
                </a:cubicBezTo>
                <a:cubicBezTo>
                  <a:pt x="1977" y="695"/>
                  <a:pt x="1978" y="696"/>
                  <a:pt x="1978" y="697"/>
                </a:cubicBezTo>
                <a:cubicBezTo>
                  <a:pt x="1979" y="699"/>
                  <a:pt x="1979" y="699"/>
                  <a:pt x="1979" y="700"/>
                </a:cubicBezTo>
                <a:cubicBezTo>
                  <a:pt x="1979" y="700"/>
                  <a:pt x="1977" y="698"/>
                  <a:pt x="1976" y="696"/>
                </a:cubicBezTo>
                <a:cubicBezTo>
                  <a:pt x="1974" y="694"/>
                  <a:pt x="1973" y="693"/>
                  <a:pt x="1972" y="693"/>
                </a:cubicBezTo>
                <a:cubicBezTo>
                  <a:pt x="1972" y="693"/>
                  <a:pt x="1972" y="693"/>
                  <a:pt x="1972" y="694"/>
                </a:cubicBezTo>
                <a:cubicBezTo>
                  <a:pt x="1972" y="694"/>
                  <a:pt x="1972" y="696"/>
                  <a:pt x="1973" y="697"/>
                </a:cubicBezTo>
                <a:cubicBezTo>
                  <a:pt x="1973" y="698"/>
                  <a:pt x="1974" y="700"/>
                  <a:pt x="1974" y="701"/>
                </a:cubicBezTo>
                <a:cubicBezTo>
                  <a:pt x="1974" y="703"/>
                  <a:pt x="1972" y="704"/>
                  <a:pt x="1970" y="704"/>
                </a:cubicBezTo>
                <a:cubicBezTo>
                  <a:pt x="1969" y="704"/>
                  <a:pt x="1969" y="704"/>
                  <a:pt x="1969" y="703"/>
                </a:cubicBezTo>
                <a:lnTo>
                  <a:pt x="1970" y="700"/>
                </a:lnTo>
                <a:cubicBezTo>
                  <a:pt x="1970" y="699"/>
                  <a:pt x="1969" y="698"/>
                  <a:pt x="1967" y="698"/>
                </a:cubicBezTo>
                <a:cubicBezTo>
                  <a:pt x="1965" y="698"/>
                  <a:pt x="1964" y="700"/>
                  <a:pt x="1964" y="703"/>
                </a:cubicBezTo>
                <a:cubicBezTo>
                  <a:pt x="1964" y="706"/>
                  <a:pt x="1962" y="709"/>
                  <a:pt x="1959" y="711"/>
                </a:cubicBezTo>
                <a:cubicBezTo>
                  <a:pt x="1955" y="714"/>
                  <a:pt x="1952" y="715"/>
                  <a:pt x="1950" y="715"/>
                </a:cubicBezTo>
                <a:cubicBezTo>
                  <a:pt x="1948" y="715"/>
                  <a:pt x="1947" y="714"/>
                  <a:pt x="1946" y="713"/>
                </a:cubicBezTo>
                <a:cubicBezTo>
                  <a:pt x="1945" y="713"/>
                  <a:pt x="1945" y="712"/>
                  <a:pt x="1945" y="712"/>
                </a:cubicBezTo>
                <a:cubicBezTo>
                  <a:pt x="1944" y="713"/>
                  <a:pt x="1944" y="714"/>
                  <a:pt x="1944" y="716"/>
                </a:cubicBezTo>
                <a:lnTo>
                  <a:pt x="1944" y="716"/>
                </a:lnTo>
                <a:cubicBezTo>
                  <a:pt x="1944" y="719"/>
                  <a:pt x="1937" y="723"/>
                  <a:pt x="1924" y="729"/>
                </a:cubicBezTo>
                <a:cubicBezTo>
                  <a:pt x="1899" y="741"/>
                  <a:pt x="1879" y="747"/>
                  <a:pt x="1862" y="747"/>
                </a:cubicBezTo>
                <a:close/>
                <a:moveTo>
                  <a:pt x="1821" y="627"/>
                </a:moveTo>
                <a:cubicBezTo>
                  <a:pt x="1822" y="627"/>
                  <a:pt x="1822" y="627"/>
                  <a:pt x="1823" y="626"/>
                </a:cubicBezTo>
                <a:cubicBezTo>
                  <a:pt x="1823" y="625"/>
                  <a:pt x="1823" y="624"/>
                  <a:pt x="1824" y="622"/>
                </a:cubicBezTo>
                <a:cubicBezTo>
                  <a:pt x="1825" y="621"/>
                  <a:pt x="1825" y="620"/>
                  <a:pt x="1825" y="618"/>
                </a:cubicBezTo>
                <a:cubicBezTo>
                  <a:pt x="1825" y="618"/>
                  <a:pt x="1825" y="618"/>
                  <a:pt x="1825" y="618"/>
                </a:cubicBezTo>
                <a:cubicBezTo>
                  <a:pt x="1824" y="618"/>
                  <a:pt x="1824" y="618"/>
                  <a:pt x="1823" y="619"/>
                </a:cubicBezTo>
                <a:cubicBezTo>
                  <a:pt x="1822" y="620"/>
                  <a:pt x="1822" y="622"/>
                  <a:pt x="1821" y="623"/>
                </a:cubicBezTo>
                <a:cubicBezTo>
                  <a:pt x="1821" y="624"/>
                  <a:pt x="1821" y="625"/>
                  <a:pt x="1821" y="626"/>
                </a:cubicBezTo>
                <a:cubicBezTo>
                  <a:pt x="1821" y="627"/>
                  <a:pt x="1821" y="627"/>
                  <a:pt x="1821" y="627"/>
                </a:cubicBezTo>
                <a:close/>
                <a:moveTo>
                  <a:pt x="1846" y="734"/>
                </a:moveTo>
                <a:cubicBezTo>
                  <a:pt x="1848" y="734"/>
                  <a:pt x="1848" y="734"/>
                  <a:pt x="1848" y="733"/>
                </a:cubicBezTo>
                <a:lnTo>
                  <a:pt x="1848" y="732"/>
                </a:lnTo>
                <a:lnTo>
                  <a:pt x="1847" y="732"/>
                </a:lnTo>
                <a:cubicBezTo>
                  <a:pt x="1844" y="732"/>
                  <a:pt x="1843" y="732"/>
                  <a:pt x="1843" y="734"/>
                </a:cubicBezTo>
                <a:cubicBezTo>
                  <a:pt x="1843" y="734"/>
                  <a:pt x="1844" y="734"/>
                  <a:pt x="1846" y="734"/>
                </a:cubicBezTo>
                <a:close/>
                <a:moveTo>
                  <a:pt x="1951" y="712"/>
                </a:moveTo>
                <a:cubicBezTo>
                  <a:pt x="1953" y="712"/>
                  <a:pt x="1954" y="711"/>
                  <a:pt x="1954" y="710"/>
                </a:cubicBezTo>
                <a:cubicBezTo>
                  <a:pt x="1954" y="710"/>
                  <a:pt x="1954" y="709"/>
                  <a:pt x="1953" y="708"/>
                </a:cubicBezTo>
                <a:cubicBezTo>
                  <a:pt x="1952" y="707"/>
                  <a:pt x="1952" y="707"/>
                  <a:pt x="1951" y="707"/>
                </a:cubicBezTo>
                <a:cubicBezTo>
                  <a:pt x="1951" y="707"/>
                  <a:pt x="1950" y="708"/>
                  <a:pt x="1949" y="709"/>
                </a:cubicBezTo>
                <a:cubicBezTo>
                  <a:pt x="1948" y="710"/>
                  <a:pt x="1947" y="711"/>
                  <a:pt x="1946" y="711"/>
                </a:cubicBezTo>
                <a:lnTo>
                  <a:pt x="1951" y="712"/>
                </a:lnTo>
                <a:close/>
                <a:moveTo>
                  <a:pt x="1866" y="735"/>
                </a:moveTo>
                <a:cubicBezTo>
                  <a:pt x="1868" y="735"/>
                  <a:pt x="1873" y="733"/>
                  <a:pt x="1884" y="730"/>
                </a:cubicBezTo>
                <a:cubicBezTo>
                  <a:pt x="1887" y="730"/>
                  <a:pt x="1895" y="727"/>
                  <a:pt x="1907" y="722"/>
                </a:cubicBezTo>
                <a:cubicBezTo>
                  <a:pt x="1920" y="717"/>
                  <a:pt x="1926" y="714"/>
                  <a:pt x="1927" y="713"/>
                </a:cubicBezTo>
                <a:cubicBezTo>
                  <a:pt x="1928" y="713"/>
                  <a:pt x="1930" y="712"/>
                  <a:pt x="1933" y="712"/>
                </a:cubicBezTo>
                <a:cubicBezTo>
                  <a:pt x="1937" y="711"/>
                  <a:pt x="1941" y="709"/>
                  <a:pt x="1946" y="706"/>
                </a:cubicBezTo>
                <a:cubicBezTo>
                  <a:pt x="1951" y="704"/>
                  <a:pt x="1954" y="702"/>
                  <a:pt x="1954" y="702"/>
                </a:cubicBezTo>
                <a:cubicBezTo>
                  <a:pt x="1955" y="702"/>
                  <a:pt x="1955" y="703"/>
                  <a:pt x="1955" y="703"/>
                </a:cubicBezTo>
                <a:lnTo>
                  <a:pt x="1954" y="706"/>
                </a:lnTo>
                <a:cubicBezTo>
                  <a:pt x="1954" y="707"/>
                  <a:pt x="1955" y="708"/>
                  <a:pt x="1956" y="708"/>
                </a:cubicBezTo>
                <a:cubicBezTo>
                  <a:pt x="1957" y="708"/>
                  <a:pt x="1959" y="707"/>
                  <a:pt x="1960" y="706"/>
                </a:cubicBezTo>
                <a:cubicBezTo>
                  <a:pt x="1961" y="705"/>
                  <a:pt x="1962" y="705"/>
                  <a:pt x="1962" y="704"/>
                </a:cubicBezTo>
                <a:cubicBezTo>
                  <a:pt x="1962" y="704"/>
                  <a:pt x="1961" y="703"/>
                  <a:pt x="1960" y="702"/>
                </a:cubicBezTo>
                <a:cubicBezTo>
                  <a:pt x="1959" y="701"/>
                  <a:pt x="1958" y="701"/>
                  <a:pt x="1958" y="700"/>
                </a:cubicBezTo>
                <a:lnTo>
                  <a:pt x="1958" y="699"/>
                </a:lnTo>
                <a:cubicBezTo>
                  <a:pt x="1962" y="697"/>
                  <a:pt x="1966" y="694"/>
                  <a:pt x="1972" y="692"/>
                </a:cubicBezTo>
                <a:lnTo>
                  <a:pt x="1976" y="691"/>
                </a:lnTo>
                <a:cubicBezTo>
                  <a:pt x="1978" y="691"/>
                  <a:pt x="1979" y="690"/>
                  <a:pt x="1979" y="688"/>
                </a:cubicBezTo>
                <a:cubicBezTo>
                  <a:pt x="1979" y="687"/>
                  <a:pt x="1979" y="686"/>
                  <a:pt x="1978" y="686"/>
                </a:cubicBezTo>
                <a:cubicBezTo>
                  <a:pt x="1976" y="686"/>
                  <a:pt x="1973" y="688"/>
                  <a:pt x="1969" y="690"/>
                </a:cubicBezTo>
                <a:lnTo>
                  <a:pt x="1967" y="691"/>
                </a:lnTo>
                <a:cubicBezTo>
                  <a:pt x="1967" y="691"/>
                  <a:pt x="1966" y="690"/>
                  <a:pt x="1966" y="690"/>
                </a:cubicBezTo>
                <a:lnTo>
                  <a:pt x="1967" y="688"/>
                </a:lnTo>
                <a:cubicBezTo>
                  <a:pt x="1967" y="687"/>
                  <a:pt x="1967" y="687"/>
                  <a:pt x="1967" y="687"/>
                </a:cubicBezTo>
                <a:cubicBezTo>
                  <a:pt x="1967" y="687"/>
                  <a:pt x="1966" y="687"/>
                  <a:pt x="1965" y="688"/>
                </a:cubicBezTo>
                <a:cubicBezTo>
                  <a:pt x="1964" y="688"/>
                  <a:pt x="1964" y="688"/>
                  <a:pt x="1963" y="689"/>
                </a:cubicBezTo>
                <a:cubicBezTo>
                  <a:pt x="1963" y="690"/>
                  <a:pt x="1962" y="690"/>
                  <a:pt x="1962" y="691"/>
                </a:cubicBezTo>
                <a:lnTo>
                  <a:pt x="1962" y="691"/>
                </a:lnTo>
                <a:cubicBezTo>
                  <a:pt x="1962" y="693"/>
                  <a:pt x="1961" y="694"/>
                  <a:pt x="1958" y="694"/>
                </a:cubicBezTo>
                <a:cubicBezTo>
                  <a:pt x="1952" y="695"/>
                  <a:pt x="1942" y="699"/>
                  <a:pt x="1927" y="707"/>
                </a:cubicBezTo>
                <a:cubicBezTo>
                  <a:pt x="1915" y="713"/>
                  <a:pt x="1906" y="718"/>
                  <a:pt x="1901" y="720"/>
                </a:cubicBezTo>
                <a:cubicBezTo>
                  <a:pt x="1895" y="722"/>
                  <a:pt x="1891" y="723"/>
                  <a:pt x="1888" y="724"/>
                </a:cubicBezTo>
                <a:cubicBezTo>
                  <a:pt x="1884" y="725"/>
                  <a:pt x="1882" y="725"/>
                  <a:pt x="1882" y="727"/>
                </a:cubicBezTo>
                <a:cubicBezTo>
                  <a:pt x="1881" y="728"/>
                  <a:pt x="1880" y="728"/>
                  <a:pt x="1879" y="728"/>
                </a:cubicBezTo>
                <a:cubicBezTo>
                  <a:pt x="1878" y="728"/>
                  <a:pt x="1877" y="728"/>
                  <a:pt x="1876" y="728"/>
                </a:cubicBezTo>
                <a:cubicBezTo>
                  <a:pt x="1875" y="728"/>
                  <a:pt x="1874" y="728"/>
                  <a:pt x="1874" y="728"/>
                </a:cubicBezTo>
                <a:cubicBezTo>
                  <a:pt x="1873" y="728"/>
                  <a:pt x="1873" y="728"/>
                  <a:pt x="1873" y="728"/>
                </a:cubicBezTo>
                <a:lnTo>
                  <a:pt x="1874" y="730"/>
                </a:lnTo>
                <a:cubicBezTo>
                  <a:pt x="1874" y="731"/>
                  <a:pt x="1874" y="732"/>
                  <a:pt x="1872" y="732"/>
                </a:cubicBezTo>
                <a:lnTo>
                  <a:pt x="1864" y="730"/>
                </a:lnTo>
                <a:lnTo>
                  <a:pt x="1863" y="730"/>
                </a:lnTo>
                <a:lnTo>
                  <a:pt x="1864" y="731"/>
                </a:lnTo>
                <a:cubicBezTo>
                  <a:pt x="1865" y="732"/>
                  <a:pt x="1865" y="732"/>
                  <a:pt x="1865" y="733"/>
                </a:cubicBezTo>
                <a:lnTo>
                  <a:pt x="1865" y="735"/>
                </a:lnTo>
                <a:lnTo>
                  <a:pt x="1866" y="735"/>
                </a:lnTo>
                <a:close/>
                <a:moveTo>
                  <a:pt x="1972" y="686"/>
                </a:moveTo>
                <a:cubicBezTo>
                  <a:pt x="1974" y="686"/>
                  <a:pt x="1975" y="685"/>
                  <a:pt x="1976" y="683"/>
                </a:cubicBezTo>
                <a:lnTo>
                  <a:pt x="1976" y="683"/>
                </a:lnTo>
                <a:cubicBezTo>
                  <a:pt x="1976" y="683"/>
                  <a:pt x="1976" y="683"/>
                  <a:pt x="1976" y="683"/>
                </a:cubicBezTo>
                <a:lnTo>
                  <a:pt x="1974" y="683"/>
                </a:lnTo>
                <a:cubicBezTo>
                  <a:pt x="1972" y="684"/>
                  <a:pt x="1971" y="685"/>
                  <a:pt x="1971" y="686"/>
                </a:cubicBezTo>
                <a:cubicBezTo>
                  <a:pt x="1971" y="686"/>
                  <a:pt x="1971" y="686"/>
                  <a:pt x="1972" y="686"/>
                </a:cubicBezTo>
                <a:close/>
                <a:moveTo>
                  <a:pt x="1852" y="727"/>
                </a:moveTo>
                <a:cubicBezTo>
                  <a:pt x="1857" y="727"/>
                  <a:pt x="1861" y="726"/>
                  <a:pt x="1866" y="725"/>
                </a:cubicBezTo>
                <a:cubicBezTo>
                  <a:pt x="1869" y="724"/>
                  <a:pt x="1872" y="724"/>
                  <a:pt x="1874" y="723"/>
                </a:cubicBezTo>
                <a:cubicBezTo>
                  <a:pt x="1877" y="722"/>
                  <a:pt x="1878" y="722"/>
                  <a:pt x="1879" y="722"/>
                </a:cubicBezTo>
                <a:cubicBezTo>
                  <a:pt x="1879" y="721"/>
                  <a:pt x="1880" y="721"/>
                  <a:pt x="1881" y="721"/>
                </a:cubicBezTo>
                <a:cubicBezTo>
                  <a:pt x="1882" y="720"/>
                  <a:pt x="1882" y="720"/>
                  <a:pt x="1883" y="719"/>
                </a:cubicBezTo>
                <a:cubicBezTo>
                  <a:pt x="1884" y="718"/>
                  <a:pt x="1885" y="718"/>
                  <a:pt x="1887" y="718"/>
                </a:cubicBezTo>
                <a:cubicBezTo>
                  <a:pt x="1889" y="718"/>
                  <a:pt x="1895" y="716"/>
                  <a:pt x="1904" y="712"/>
                </a:cubicBezTo>
                <a:cubicBezTo>
                  <a:pt x="1913" y="708"/>
                  <a:pt x="1922" y="705"/>
                  <a:pt x="1931" y="700"/>
                </a:cubicBezTo>
                <a:cubicBezTo>
                  <a:pt x="1937" y="697"/>
                  <a:pt x="1942" y="695"/>
                  <a:pt x="1947" y="694"/>
                </a:cubicBezTo>
                <a:cubicBezTo>
                  <a:pt x="1948" y="694"/>
                  <a:pt x="1950" y="693"/>
                  <a:pt x="1951" y="691"/>
                </a:cubicBezTo>
                <a:cubicBezTo>
                  <a:pt x="1951" y="690"/>
                  <a:pt x="1952" y="690"/>
                  <a:pt x="1952" y="690"/>
                </a:cubicBezTo>
                <a:lnTo>
                  <a:pt x="1954" y="690"/>
                </a:lnTo>
                <a:cubicBezTo>
                  <a:pt x="1955" y="690"/>
                  <a:pt x="1955" y="689"/>
                  <a:pt x="1955" y="688"/>
                </a:cubicBezTo>
                <a:cubicBezTo>
                  <a:pt x="1955" y="687"/>
                  <a:pt x="1956" y="687"/>
                  <a:pt x="1958" y="687"/>
                </a:cubicBezTo>
                <a:cubicBezTo>
                  <a:pt x="1959" y="687"/>
                  <a:pt x="1961" y="686"/>
                  <a:pt x="1962" y="686"/>
                </a:cubicBezTo>
                <a:cubicBezTo>
                  <a:pt x="1965" y="683"/>
                  <a:pt x="1967" y="682"/>
                  <a:pt x="1969" y="681"/>
                </a:cubicBezTo>
                <a:cubicBezTo>
                  <a:pt x="1971" y="681"/>
                  <a:pt x="1972" y="680"/>
                  <a:pt x="1973" y="679"/>
                </a:cubicBezTo>
                <a:cubicBezTo>
                  <a:pt x="1974" y="678"/>
                  <a:pt x="1975" y="678"/>
                  <a:pt x="1976" y="678"/>
                </a:cubicBezTo>
                <a:cubicBezTo>
                  <a:pt x="1981" y="677"/>
                  <a:pt x="1983" y="677"/>
                  <a:pt x="1983" y="676"/>
                </a:cubicBezTo>
                <a:lnTo>
                  <a:pt x="1983" y="674"/>
                </a:lnTo>
                <a:cubicBezTo>
                  <a:pt x="1983" y="674"/>
                  <a:pt x="1984" y="674"/>
                  <a:pt x="1986" y="674"/>
                </a:cubicBezTo>
                <a:cubicBezTo>
                  <a:pt x="1988" y="674"/>
                  <a:pt x="1989" y="674"/>
                  <a:pt x="1989" y="674"/>
                </a:cubicBezTo>
                <a:cubicBezTo>
                  <a:pt x="1989" y="674"/>
                  <a:pt x="1988" y="675"/>
                  <a:pt x="1987" y="676"/>
                </a:cubicBezTo>
                <a:cubicBezTo>
                  <a:pt x="1985" y="677"/>
                  <a:pt x="1984" y="678"/>
                  <a:pt x="1984" y="679"/>
                </a:cubicBezTo>
                <a:cubicBezTo>
                  <a:pt x="1984" y="679"/>
                  <a:pt x="1985" y="680"/>
                  <a:pt x="1986" y="680"/>
                </a:cubicBezTo>
                <a:lnTo>
                  <a:pt x="1987" y="681"/>
                </a:lnTo>
                <a:cubicBezTo>
                  <a:pt x="1987" y="681"/>
                  <a:pt x="1987" y="681"/>
                  <a:pt x="1986" y="681"/>
                </a:cubicBezTo>
                <a:lnTo>
                  <a:pt x="1980" y="680"/>
                </a:lnTo>
                <a:cubicBezTo>
                  <a:pt x="1980" y="680"/>
                  <a:pt x="1981" y="681"/>
                  <a:pt x="1982" y="681"/>
                </a:cubicBezTo>
                <a:cubicBezTo>
                  <a:pt x="1982" y="681"/>
                  <a:pt x="1983" y="682"/>
                  <a:pt x="1983" y="683"/>
                </a:cubicBezTo>
                <a:lnTo>
                  <a:pt x="1982" y="685"/>
                </a:lnTo>
                <a:cubicBezTo>
                  <a:pt x="1982" y="686"/>
                  <a:pt x="1983" y="687"/>
                  <a:pt x="1984" y="687"/>
                </a:cubicBezTo>
                <a:cubicBezTo>
                  <a:pt x="1985" y="687"/>
                  <a:pt x="1987" y="685"/>
                  <a:pt x="1989" y="681"/>
                </a:cubicBezTo>
                <a:cubicBezTo>
                  <a:pt x="1990" y="679"/>
                  <a:pt x="1991" y="678"/>
                  <a:pt x="1992" y="676"/>
                </a:cubicBezTo>
                <a:cubicBezTo>
                  <a:pt x="1994" y="675"/>
                  <a:pt x="1994" y="674"/>
                  <a:pt x="1995" y="674"/>
                </a:cubicBezTo>
                <a:cubicBezTo>
                  <a:pt x="1996" y="674"/>
                  <a:pt x="1997" y="675"/>
                  <a:pt x="1997" y="675"/>
                </a:cubicBezTo>
                <a:cubicBezTo>
                  <a:pt x="1997" y="675"/>
                  <a:pt x="1996" y="676"/>
                  <a:pt x="1995" y="676"/>
                </a:cubicBezTo>
                <a:cubicBezTo>
                  <a:pt x="1994" y="677"/>
                  <a:pt x="1993" y="678"/>
                  <a:pt x="1993" y="679"/>
                </a:cubicBezTo>
                <a:cubicBezTo>
                  <a:pt x="1993" y="680"/>
                  <a:pt x="1994" y="681"/>
                  <a:pt x="1996" y="681"/>
                </a:cubicBezTo>
                <a:cubicBezTo>
                  <a:pt x="1996" y="681"/>
                  <a:pt x="1997" y="680"/>
                  <a:pt x="1997" y="679"/>
                </a:cubicBezTo>
                <a:cubicBezTo>
                  <a:pt x="1997" y="679"/>
                  <a:pt x="1997" y="678"/>
                  <a:pt x="1998" y="676"/>
                </a:cubicBezTo>
                <a:lnTo>
                  <a:pt x="1998" y="673"/>
                </a:lnTo>
                <a:cubicBezTo>
                  <a:pt x="1998" y="672"/>
                  <a:pt x="1997" y="671"/>
                  <a:pt x="1996" y="669"/>
                </a:cubicBezTo>
                <a:cubicBezTo>
                  <a:pt x="1996" y="668"/>
                  <a:pt x="1995" y="666"/>
                  <a:pt x="1995" y="666"/>
                </a:cubicBezTo>
                <a:cubicBezTo>
                  <a:pt x="1995" y="666"/>
                  <a:pt x="1995" y="665"/>
                  <a:pt x="1996" y="665"/>
                </a:cubicBezTo>
                <a:lnTo>
                  <a:pt x="1999" y="666"/>
                </a:lnTo>
                <a:cubicBezTo>
                  <a:pt x="2001" y="666"/>
                  <a:pt x="2002" y="665"/>
                  <a:pt x="2002" y="664"/>
                </a:cubicBezTo>
                <a:lnTo>
                  <a:pt x="2002" y="663"/>
                </a:lnTo>
                <a:cubicBezTo>
                  <a:pt x="2002" y="662"/>
                  <a:pt x="2005" y="661"/>
                  <a:pt x="2011" y="661"/>
                </a:cubicBezTo>
                <a:cubicBezTo>
                  <a:pt x="2011" y="662"/>
                  <a:pt x="2009" y="664"/>
                  <a:pt x="2006" y="666"/>
                </a:cubicBezTo>
                <a:cubicBezTo>
                  <a:pt x="2002" y="668"/>
                  <a:pt x="2000" y="669"/>
                  <a:pt x="2000" y="670"/>
                </a:cubicBezTo>
                <a:lnTo>
                  <a:pt x="2000" y="670"/>
                </a:lnTo>
                <a:cubicBezTo>
                  <a:pt x="2002" y="670"/>
                  <a:pt x="2003" y="671"/>
                  <a:pt x="2003" y="672"/>
                </a:cubicBezTo>
                <a:lnTo>
                  <a:pt x="2003" y="673"/>
                </a:lnTo>
                <a:cubicBezTo>
                  <a:pt x="2003" y="674"/>
                  <a:pt x="2004" y="675"/>
                  <a:pt x="2005" y="676"/>
                </a:cubicBezTo>
                <a:lnTo>
                  <a:pt x="2007" y="676"/>
                </a:lnTo>
                <a:lnTo>
                  <a:pt x="2008" y="676"/>
                </a:lnTo>
                <a:lnTo>
                  <a:pt x="2006" y="675"/>
                </a:lnTo>
                <a:cubicBezTo>
                  <a:pt x="2004" y="674"/>
                  <a:pt x="2003" y="673"/>
                  <a:pt x="2003" y="673"/>
                </a:cubicBezTo>
                <a:cubicBezTo>
                  <a:pt x="2003" y="673"/>
                  <a:pt x="2004" y="672"/>
                  <a:pt x="2004" y="672"/>
                </a:cubicBezTo>
                <a:cubicBezTo>
                  <a:pt x="2005" y="672"/>
                  <a:pt x="2006" y="672"/>
                  <a:pt x="2006" y="671"/>
                </a:cubicBezTo>
                <a:cubicBezTo>
                  <a:pt x="2007" y="671"/>
                  <a:pt x="2007" y="670"/>
                  <a:pt x="2007" y="670"/>
                </a:cubicBezTo>
                <a:cubicBezTo>
                  <a:pt x="2007" y="668"/>
                  <a:pt x="2008" y="667"/>
                  <a:pt x="2009" y="666"/>
                </a:cubicBezTo>
                <a:cubicBezTo>
                  <a:pt x="2011" y="666"/>
                  <a:pt x="2011" y="666"/>
                  <a:pt x="2011" y="667"/>
                </a:cubicBezTo>
                <a:lnTo>
                  <a:pt x="2011" y="668"/>
                </a:lnTo>
                <a:cubicBezTo>
                  <a:pt x="2011" y="668"/>
                  <a:pt x="2011" y="668"/>
                  <a:pt x="2012" y="669"/>
                </a:cubicBezTo>
                <a:cubicBezTo>
                  <a:pt x="2012" y="669"/>
                  <a:pt x="2012" y="669"/>
                  <a:pt x="2013" y="669"/>
                </a:cubicBezTo>
                <a:cubicBezTo>
                  <a:pt x="2014" y="669"/>
                  <a:pt x="2015" y="665"/>
                  <a:pt x="2015" y="660"/>
                </a:cubicBezTo>
                <a:cubicBezTo>
                  <a:pt x="2015" y="656"/>
                  <a:pt x="2014" y="654"/>
                  <a:pt x="2013" y="653"/>
                </a:cubicBezTo>
                <a:cubicBezTo>
                  <a:pt x="2011" y="653"/>
                  <a:pt x="1999" y="659"/>
                  <a:pt x="1975" y="671"/>
                </a:cubicBezTo>
                <a:cubicBezTo>
                  <a:pt x="1931" y="694"/>
                  <a:pt x="1903" y="707"/>
                  <a:pt x="1890" y="710"/>
                </a:cubicBezTo>
                <a:lnTo>
                  <a:pt x="1874" y="714"/>
                </a:lnTo>
                <a:cubicBezTo>
                  <a:pt x="1867" y="717"/>
                  <a:pt x="1857" y="718"/>
                  <a:pt x="1846" y="718"/>
                </a:cubicBezTo>
                <a:cubicBezTo>
                  <a:pt x="1836" y="718"/>
                  <a:pt x="1831" y="718"/>
                  <a:pt x="1831" y="720"/>
                </a:cubicBezTo>
                <a:cubicBezTo>
                  <a:pt x="1831" y="721"/>
                  <a:pt x="1833" y="722"/>
                  <a:pt x="1838" y="724"/>
                </a:cubicBezTo>
                <a:cubicBezTo>
                  <a:pt x="1843" y="726"/>
                  <a:pt x="1848" y="727"/>
                  <a:pt x="1852" y="727"/>
                </a:cubicBezTo>
                <a:close/>
                <a:moveTo>
                  <a:pt x="2021" y="652"/>
                </a:moveTo>
                <a:cubicBezTo>
                  <a:pt x="2022" y="652"/>
                  <a:pt x="2023" y="651"/>
                  <a:pt x="2023" y="650"/>
                </a:cubicBezTo>
                <a:cubicBezTo>
                  <a:pt x="2023" y="649"/>
                  <a:pt x="2023" y="648"/>
                  <a:pt x="2022" y="648"/>
                </a:cubicBezTo>
                <a:lnTo>
                  <a:pt x="2021" y="647"/>
                </a:lnTo>
                <a:cubicBezTo>
                  <a:pt x="2020" y="647"/>
                  <a:pt x="2019" y="647"/>
                  <a:pt x="2018" y="648"/>
                </a:cubicBezTo>
                <a:cubicBezTo>
                  <a:pt x="2017" y="649"/>
                  <a:pt x="2017" y="649"/>
                  <a:pt x="2017" y="650"/>
                </a:cubicBezTo>
                <a:cubicBezTo>
                  <a:pt x="2017" y="650"/>
                  <a:pt x="2017" y="651"/>
                  <a:pt x="2019" y="652"/>
                </a:cubicBezTo>
                <a:lnTo>
                  <a:pt x="2021" y="652"/>
                </a:lnTo>
                <a:close/>
                <a:moveTo>
                  <a:pt x="2027" y="650"/>
                </a:moveTo>
                <a:cubicBezTo>
                  <a:pt x="2027" y="650"/>
                  <a:pt x="2028" y="650"/>
                  <a:pt x="2029" y="649"/>
                </a:cubicBezTo>
                <a:cubicBezTo>
                  <a:pt x="2031" y="648"/>
                  <a:pt x="2033" y="647"/>
                  <a:pt x="2033" y="645"/>
                </a:cubicBezTo>
                <a:lnTo>
                  <a:pt x="2033" y="644"/>
                </a:lnTo>
                <a:cubicBezTo>
                  <a:pt x="2032" y="643"/>
                  <a:pt x="2031" y="643"/>
                  <a:pt x="2029" y="643"/>
                </a:cubicBezTo>
                <a:cubicBezTo>
                  <a:pt x="2029" y="643"/>
                  <a:pt x="2028" y="643"/>
                  <a:pt x="2027" y="644"/>
                </a:cubicBezTo>
                <a:cubicBezTo>
                  <a:pt x="2026" y="645"/>
                  <a:pt x="2026" y="647"/>
                  <a:pt x="2026" y="649"/>
                </a:cubicBezTo>
                <a:cubicBezTo>
                  <a:pt x="2026" y="649"/>
                  <a:pt x="2026" y="650"/>
                  <a:pt x="2027" y="650"/>
                </a:cubicBezTo>
                <a:close/>
                <a:moveTo>
                  <a:pt x="2137" y="597"/>
                </a:moveTo>
                <a:cubicBezTo>
                  <a:pt x="2139" y="597"/>
                  <a:pt x="2139" y="595"/>
                  <a:pt x="2139" y="593"/>
                </a:cubicBezTo>
                <a:cubicBezTo>
                  <a:pt x="2139" y="592"/>
                  <a:pt x="2139" y="591"/>
                  <a:pt x="2138" y="591"/>
                </a:cubicBezTo>
                <a:lnTo>
                  <a:pt x="2137" y="592"/>
                </a:lnTo>
                <a:cubicBezTo>
                  <a:pt x="2136" y="592"/>
                  <a:pt x="2136" y="593"/>
                  <a:pt x="2136" y="595"/>
                </a:cubicBezTo>
                <a:cubicBezTo>
                  <a:pt x="2136" y="595"/>
                  <a:pt x="2136" y="595"/>
                  <a:pt x="2136" y="595"/>
                </a:cubicBezTo>
                <a:cubicBezTo>
                  <a:pt x="2137" y="596"/>
                  <a:pt x="2137" y="596"/>
                  <a:pt x="2137" y="597"/>
                </a:cubicBezTo>
                <a:close/>
                <a:moveTo>
                  <a:pt x="1846" y="576"/>
                </a:moveTo>
                <a:cubicBezTo>
                  <a:pt x="1846" y="576"/>
                  <a:pt x="1846" y="576"/>
                  <a:pt x="1846" y="575"/>
                </a:cubicBezTo>
                <a:cubicBezTo>
                  <a:pt x="1846" y="575"/>
                  <a:pt x="1846" y="574"/>
                  <a:pt x="1847" y="573"/>
                </a:cubicBezTo>
                <a:cubicBezTo>
                  <a:pt x="1848" y="572"/>
                  <a:pt x="1850" y="571"/>
                  <a:pt x="1850" y="570"/>
                </a:cubicBezTo>
                <a:cubicBezTo>
                  <a:pt x="1851" y="570"/>
                  <a:pt x="1852" y="569"/>
                  <a:pt x="1852" y="569"/>
                </a:cubicBezTo>
                <a:cubicBezTo>
                  <a:pt x="1853" y="569"/>
                  <a:pt x="1853" y="570"/>
                  <a:pt x="1853" y="570"/>
                </a:cubicBezTo>
                <a:cubicBezTo>
                  <a:pt x="1853" y="570"/>
                  <a:pt x="1852" y="571"/>
                  <a:pt x="1851" y="573"/>
                </a:cubicBezTo>
                <a:cubicBezTo>
                  <a:pt x="1849" y="575"/>
                  <a:pt x="1848" y="576"/>
                  <a:pt x="1846" y="576"/>
                </a:cubicBezTo>
                <a:close/>
                <a:moveTo>
                  <a:pt x="2169" y="578"/>
                </a:moveTo>
                <a:cubicBezTo>
                  <a:pt x="2169" y="578"/>
                  <a:pt x="2169" y="578"/>
                  <a:pt x="2169" y="578"/>
                </a:cubicBezTo>
                <a:cubicBezTo>
                  <a:pt x="2169" y="577"/>
                  <a:pt x="2170" y="576"/>
                  <a:pt x="2172" y="575"/>
                </a:cubicBezTo>
                <a:cubicBezTo>
                  <a:pt x="2173" y="573"/>
                  <a:pt x="2175" y="572"/>
                  <a:pt x="2176" y="572"/>
                </a:cubicBezTo>
                <a:cubicBezTo>
                  <a:pt x="2176" y="572"/>
                  <a:pt x="2177" y="573"/>
                  <a:pt x="2177" y="573"/>
                </a:cubicBezTo>
                <a:lnTo>
                  <a:pt x="2177" y="573"/>
                </a:lnTo>
                <a:cubicBezTo>
                  <a:pt x="2177" y="574"/>
                  <a:pt x="2177" y="575"/>
                  <a:pt x="2176" y="576"/>
                </a:cubicBezTo>
                <a:cubicBezTo>
                  <a:pt x="2175" y="576"/>
                  <a:pt x="2174" y="577"/>
                  <a:pt x="2173" y="578"/>
                </a:cubicBezTo>
                <a:cubicBezTo>
                  <a:pt x="2172" y="578"/>
                  <a:pt x="2170" y="578"/>
                  <a:pt x="2169" y="578"/>
                </a:cubicBezTo>
                <a:close/>
                <a:moveTo>
                  <a:pt x="1827" y="679"/>
                </a:moveTo>
                <a:cubicBezTo>
                  <a:pt x="1826" y="679"/>
                  <a:pt x="1826" y="678"/>
                  <a:pt x="1826" y="676"/>
                </a:cubicBezTo>
                <a:cubicBezTo>
                  <a:pt x="1826" y="674"/>
                  <a:pt x="1826" y="674"/>
                  <a:pt x="1827" y="674"/>
                </a:cubicBezTo>
                <a:cubicBezTo>
                  <a:pt x="1827" y="674"/>
                  <a:pt x="1827" y="674"/>
                  <a:pt x="1828" y="674"/>
                </a:cubicBezTo>
                <a:cubicBezTo>
                  <a:pt x="1828" y="674"/>
                  <a:pt x="1828" y="675"/>
                  <a:pt x="1828" y="676"/>
                </a:cubicBezTo>
                <a:cubicBezTo>
                  <a:pt x="1828" y="676"/>
                  <a:pt x="1828" y="677"/>
                  <a:pt x="1828" y="678"/>
                </a:cubicBezTo>
                <a:cubicBezTo>
                  <a:pt x="1827" y="679"/>
                  <a:pt x="1827" y="679"/>
                  <a:pt x="1827" y="679"/>
                </a:cubicBezTo>
                <a:close/>
                <a:moveTo>
                  <a:pt x="2034" y="656"/>
                </a:moveTo>
                <a:cubicBezTo>
                  <a:pt x="2034" y="656"/>
                  <a:pt x="2033" y="656"/>
                  <a:pt x="2033" y="654"/>
                </a:cubicBezTo>
                <a:cubicBezTo>
                  <a:pt x="2033" y="654"/>
                  <a:pt x="2034" y="653"/>
                  <a:pt x="2035" y="652"/>
                </a:cubicBezTo>
                <a:cubicBezTo>
                  <a:pt x="2036" y="652"/>
                  <a:pt x="2036" y="652"/>
                  <a:pt x="2037" y="651"/>
                </a:cubicBezTo>
                <a:cubicBezTo>
                  <a:pt x="2038" y="650"/>
                  <a:pt x="2039" y="650"/>
                  <a:pt x="2039" y="650"/>
                </a:cubicBezTo>
                <a:lnTo>
                  <a:pt x="2040" y="650"/>
                </a:lnTo>
                <a:lnTo>
                  <a:pt x="2038" y="653"/>
                </a:lnTo>
                <a:cubicBezTo>
                  <a:pt x="2036" y="655"/>
                  <a:pt x="2035" y="656"/>
                  <a:pt x="2034" y="656"/>
                </a:cubicBezTo>
                <a:close/>
                <a:moveTo>
                  <a:pt x="2085" y="633"/>
                </a:moveTo>
                <a:lnTo>
                  <a:pt x="2082" y="633"/>
                </a:lnTo>
                <a:cubicBezTo>
                  <a:pt x="2082" y="633"/>
                  <a:pt x="2082" y="632"/>
                  <a:pt x="2084" y="632"/>
                </a:cubicBezTo>
                <a:cubicBezTo>
                  <a:pt x="2086" y="631"/>
                  <a:pt x="2088" y="630"/>
                  <a:pt x="2090" y="627"/>
                </a:cubicBezTo>
                <a:cubicBezTo>
                  <a:pt x="2092" y="626"/>
                  <a:pt x="2094" y="625"/>
                  <a:pt x="2096" y="625"/>
                </a:cubicBezTo>
                <a:cubicBezTo>
                  <a:pt x="2098" y="625"/>
                  <a:pt x="2098" y="625"/>
                  <a:pt x="2098" y="626"/>
                </a:cubicBezTo>
                <a:lnTo>
                  <a:pt x="2095" y="626"/>
                </a:lnTo>
                <a:cubicBezTo>
                  <a:pt x="2094" y="626"/>
                  <a:pt x="2092" y="627"/>
                  <a:pt x="2090" y="630"/>
                </a:cubicBezTo>
                <a:cubicBezTo>
                  <a:pt x="2088" y="632"/>
                  <a:pt x="2086" y="633"/>
                  <a:pt x="2085" y="633"/>
                </a:cubicBezTo>
                <a:close/>
                <a:moveTo>
                  <a:pt x="2067" y="644"/>
                </a:moveTo>
                <a:cubicBezTo>
                  <a:pt x="2066" y="644"/>
                  <a:pt x="2066" y="643"/>
                  <a:pt x="2066" y="643"/>
                </a:cubicBezTo>
                <a:cubicBezTo>
                  <a:pt x="2066" y="642"/>
                  <a:pt x="2068" y="640"/>
                  <a:pt x="2073" y="638"/>
                </a:cubicBezTo>
                <a:cubicBezTo>
                  <a:pt x="2075" y="637"/>
                  <a:pt x="2077" y="637"/>
                  <a:pt x="2078" y="637"/>
                </a:cubicBezTo>
                <a:lnTo>
                  <a:pt x="2078" y="637"/>
                </a:lnTo>
                <a:cubicBezTo>
                  <a:pt x="2078" y="637"/>
                  <a:pt x="2078" y="638"/>
                  <a:pt x="2077" y="639"/>
                </a:cubicBezTo>
                <a:cubicBezTo>
                  <a:pt x="2076" y="640"/>
                  <a:pt x="2074" y="641"/>
                  <a:pt x="2072" y="642"/>
                </a:cubicBezTo>
                <a:cubicBezTo>
                  <a:pt x="2070" y="643"/>
                  <a:pt x="2069" y="644"/>
                  <a:pt x="2067" y="644"/>
                </a:cubicBezTo>
                <a:close/>
                <a:moveTo>
                  <a:pt x="2027" y="669"/>
                </a:moveTo>
                <a:cubicBezTo>
                  <a:pt x="2026" y="669"/>
                  <a:pt x="2025" y="669"/>
                  <a:pt x="2024" y="669"/>
                </a:cubicBezTo>
                <a:cubicBezTo>
                  <a:pt x="2022" y="669"/>
                  <a:pt x="2021" y="668"/>
                  <a:pt x="2021" y="667"/>
                </a:cubicBezTo>
                <a:cubicBezTo>
                  <a:pt x="2021" y="666"/>
                  <a:pt x="2023" y="665"/>
                  <a:pt x="2026" y="665"/>
                </a:cubicBezTo>
                <a:cubicBezTo>
                  <a:pt x="2029" y="665"/>
                  <a:pt x="2030" y="665"/>
                  <a:pt x="2031" y="664"/>
                </a:cubicBezTo>
                <a:lnTo>
                  <a:pt x="2029" y="662"/>
                </a:lnTo>
                <a:cubicBezTo>
                  <a:pt x="2029" y="661"/>
                  <a:pt x="2030" y="661"/>
                  <a:pt x="2030" y="661"/>
                </a:cubicBezTo>
                <a:lnTo>
                  <a:pt x="2031" y="661"/>
                </a:lnTo>
                <a:cubicBezTo>
                  <a:pt x="2032" y="661"/>
                  <a:pt x="2034" y="660"/>
                  <a:pt x="2038" y="659"/>
                </a:cubicBezTo>
                <a:cubicBezTo>
                  <a:pt x="2042" y="657"/>
                  <a:pt x="2045" y="655"/>
                  <a:pt x="2049" y="653"/>
                </a:cubicBezTo>
                <a:cubicBezTo>
                  <a:pt x="2053" y="651"/>
                  <a:pt x="2056" y="649"/>
                  <a:pt x="2058" y="647"/>
                </a:cubicBezTo>
                <a:cubicBezTo>
                  <a:pt x="2060" y="646"/>
                  <a:pt x="2061" y="645"/>
                  <a:pt x="2062" y="645"/>
                </a:cubicBezTo>
                <a:cubicBezTo>
                  <a:pt x="2063" y="645"/>
                  <a:pt x="2064" y="646"/>
                  <a:pt x="2064" y="647"/>
                </a:cubicBezTo>
                <a:cubicBezTo>
                  <a:pt x="2064" y="649"/>
                  <a:pt x="2063" y="649"/>
                  <a:pt x="2061" y="649"/>
                </a:cubicBezTo>
                <a:cubicBezTo>
                  <a:pt x="2060" y="649"/>
                  <a:pt x="2059" y="650"/>
                  <a:pt x="2058" y="651"/>
                </a:cubicBezTo>
                <a:lnTo>
                  <a:pt x="2059" y="653"/>
                </a:lnTo>
                <a:cubicBezTo>
                  <a:pt x="2059" y="654"/>
                  <a:pt x="2059" y="654"/>
                  <a:pt x="2059" y="654"/>
                </a:cubicBezTo>
                <a:lnTo>
                  <a:pt x="2057" y="653"/>
                </a:lnTo>
                <a:cubicBezTo>
                  <a:pt x="2055" y="653"/>
                  <a:pt x="2054" y="654"/>
                  <a:pt x="2052" y="656"/>
                </a:cubicBezTo>
                <a:cubicBezTo>
                  <a:pt x="2051" y="658"/>
                  <a:pt x="2049" y="659"/>
                  <a:pt x="2048" y="659"/>
                </a:cubicBezTo>
                <a:cubicBezTo>
                  <a:pt x="2046" y="659"/>
                  <a:pt x="2044" y="660"/>
                  <a:pt x="2041" y="661"/>
                </a:cubicBezTo>
                <a:cubicBezTo>
                  <a:pt x="2035" y="665"/>
                  <a:pt x="2031" y="667"/>
                  <a:pt x="2031" y="668"/>
                </a:cubicBezTo>
                <a:cubicBezTo>
                  <a:pt x="2031" y="669"/>
                  <a:pt x="2030" y="669"/>
                  <a:pt x="2027" y="669"/>
                </a:cubicBezTo>
                <a:close/>
                <a:moveTo>
                  <a:pt x="2021" y="667"/>
                </a:moveTo>
                <a:close/>
                <a:moveTo>
                  <a:pt x="2104" y="623"/>
                </a:moveTo>
                <a:cubicBezTo>
                  <a:pt x="2103" y="623"/>
                  <a:pt x="2103" y="623"/>
                  <a:pt x="2103" y="623"/>
                </a:cubicBezTo>
                <a:cubicBezTo>
                  <a:pt x="2103" y="622"/>
                  <a:pt x="2104" y="620"/>
                  <a:pt x="2106" y="618"/>
                </a:cubicBezTo>
                <a:cubicBezTo>
                  <a:pt x="2109" y="614"/>
                  <a:pt x="2112" y="611"/>
                  <a:pt x="2113" y="611"/>
                </a:cubicBezTo>
                <a:cubicBezTo>
                  <a:pt x="2115" y="611"/>
                  <a:pt x="2117" y="610"/>
                  <a:pt x="2120" y="608"/>
                </a:cubicBezTo>
                <a:cubicBezTo>
                  <a:pt x="2123" y="606"/>
                  <a:pt x="2125" y="605"/>
                  <a:pt x="2126" y="605"/>
                </a:cubicBezTo>
                <a:cubicBezTo>
                  <a:pt x="2127" y="605"/>
                  <a:pt x="2127" y="605"/>
                  <a:pt x="2127" y="606"/>
                </a:cubicBezTo>
                <a:cubicBezTo>
                  <a:pt x="2127" y="608"/>
                  <a:pt x="2127" y="610"/>
                  <a:pt x="2126" y="610"/>
                </a:cubicBezTo>
                <a:lnTo>
                  <a:pt x="2124" y="609"/>
                </a:lnTo>
                <a:cubicBezTo>
                  <a:pt x="2123" y="609"/>
                  <a:pt x="2120" y="610"/>
                  <a:pt x="2117" y="613"/>
                </a:cubicBezTo>
                <a:cubicBezTo>
                  <a:pt x="2114" y="616"/>
                  <a:pt x="2111" y="617"/>
                  <a:pt x="2110" y="617"/>
                </a:cubicBezTo>
                <a:cubicBezTo>
                  <a:pt x="2108" y="617"/>
                  <a:pt x="2107" y="619"/>
                  <a:pt x="2105" y="621"/>
                </a:cubicBezTo>
                <a:cubicBezTo>
                  <a:pt x="2105" y="623"/>
                  <a:pt x="2104" y="623"/>
                  <a:pt x="2104" y="623"/>
                </a:cubicBezTo>
                <a:close/>
                <a:moveTo>
                  <a:pt x="1938" y="362"/>
                </a:moveTo>
                <a:close/>
                <a:moveTo>
                  <a:pt x="1923" y="383"/>
                </a:moveTo>
                <a:cubicBezTo>
                  <a:pt x="1923" y="383"/>
                  <a:pt x="1923" y="383"/>
                  <a:pt x="1923" y="382"/>
                </a:cubicBezTo>
                <a:lnTo>
                  <a:pt x="1929" y="377"/>
                </a:lnTo>
                <a:cubicBezTo>
                  <a:pt x="1929" y="377"/>
                  <a:pt x="1929" y="378"/>
                  <a:pt x="1927" y="379"/>
                </a:cubicBezTo>
                <a:cubicBezTo>
                  <a:pt x="1925" y="382"/>
                  <a:pt x="1924" y="383"/>
                  <a:pt x="1923" y="383"/>
                </a:cubicBezTo>
                <a:close/>
                <a:moveTo>
                  <a:pt x="1912" y="394"/>
                </a:moveTo>
                <a:close/>
                <a:moveTo>
                  <a:pt x="1939" y="362"/>
                </a:moveTo>
                <a:cubicBezTo>
                  <a:pt x="1938" y="362"/>
                  <a:pt x="1938" y="362"/>
                  <a:pt x="1938" y="362"/>
                </a:cubicBezTo>
                <a:cubicBezTo>
                  <a:pt x="1938" y="361"/>
                  <a:pt x="1939" y="360"/>
                  <a:pt x="1941" y="358"/>
                </a:cubicBezTo>
                <a:lnTo>
                  <a:pt x="1944" y="356"/>
                </a:lnTo>
                <a:lnTo>
                  <a:pt x="1942" y="359"/>
                </a:lnTo>
                <a:cubicBezTo>
                  <a:pt x="1941" y="361"/>
                  <a:pt x="1939" y="362"/>
                  <a:pt x="1939" y="362"/>
                </a:cubicBezTo>
                <a:close/>
                <a:moveTo>
                  <a:pt x="1923" y="382"/>
                </a:moveTo>
                <a:close/>
                <a:moveTo>
                  <a:pt x="1887" y="458"/>
                </a:moveTo>
                <a:cubicBezTo>
                  <a:pt x="1886" y="458"/>
                  <a:pt x="1885" y="457"/>
                  <a:pt x="1884" y="455"/>
                </a:cubicBezTo>
                <a:lnTo>
                  <a:pt x="1884" y="455"/>
                </a:lnTo>
                <a:cubicBezTo>
                  <a:pt x="1884" y="453"/>
                  <a:pt x="1885" y="451"/>
                  <a:pt x="1886" y="451"/>
                </a:cubicBezTo>
                <a:cubicBezTo>
                  <a:pt x="1886" y="451"/>
                  <a:pt x="1887" y="452"/>
                  <a:pt x="1887" y="452"/>
                </a:cubicBezTo>
                <a:cubicBezTo>
                  <a:pt x="1888" y="453"/>
                  <a:pt x="1889" y="453"/>
                  <a:pt x="1889" y="453"/>
                </a:cubicBezTo>
                <a:cubicBezTo>
                  <a:pt x="1890" y="453"/>
                  <a:pt x="1891" y="453"/>
                  <a:pt x="1892" y="451"/>
                </a:cubicBezTo>
                <a:cubicBezTo>
                  <a:pt x="1893" y="451"/>
                  <a:pt x="1894" y="450"/>
                  <a:pt x="1894" y="450"/>
                </a:cubicBezTo>
                <a:lnTo>
                  <a:pt x="1894" y="453"/>
                </a:lnTo>
                <a:cubicBezTo>
                  <a:pt x="1892" y="456"/>
                  <a:pt x="1890" y="458"/>
                  <a:pt x="1887" y="458"/>
                </a:cubicBezTo>
                <a:close/>
                <a:moveTo>
                  <a:pt x="1912" y="394"/>
                </a:moveTo>
                <a:cubicBezTo>
                  <a:pt x="1912" y="394"/>
                  <a:pt x="1912" y="394"/>
                  <a:pt x="1912" y="394"/>
                </a:cubicBezTo>
                <a:cubicBezTo>
                  <a:pt x="1912" y="394"/>
                  <a:pt x="1912" y="393"/>
                  <a:pt x="1914" y="392"/>
                </a:cubicBezTo>
                <a:cubicBezTo>
                  <a:pt x="1915" y="391"/>
                  <a:pt x="1916" y="390"/>
                  <a:pt x="1918" y="389"/>
                </a:cubicBezTo>
                <a:cubicBezTo>
                  <a:pt x="1920" y="387"/>
                  <a:pt x="1921" y="387"/>
                  <a:pt x="1922" y="387"/>
                </a:cubicBezTo>
                <a:lnTo>
                  <a:pt x="1922" y="387"/>
                </a:lnTo>
                <a:cubicBezTo>
                  <a:pt x="1922" y="388"/>
                  <a:pt x="1921" y="389"/>
                  <a:pt x="1919" y="390"/>
                </a:cubicBezTo>
                <a:cubicBezTo>
                  <a:pt x="1916" y="393"/>
                  <a:pt x="1914" y="394"/>
                  <a:pt x="1912" y="394"/>
                </a:cubicBezTo>
                <a:close/>
                <a:moveTo>
                  <a:pt x="1872" y="482"/>
                </a:moveTo>
                <a:cubicBezTo>
                  <a:pt x="1872" y="482"/>
                  <a:pt x="1871" y="481"/>
                  <a:pt x="1869" y="479"/>
                </a:cubicBezTo>
                <a:cubicBezTo>
                  <a:pt x="1868" y="478"/>
                  <a:pt x="1867" y="474"/>
                  <a:pt x="1865" y="468"/>
                </a:cubicBezTo>
                <a:cubicBezTo>
                  <a:pt x="1864" y="463"/>
                  <a:pt x="1863" y="459"/>
                  <a:pt x="1861" y="457"/>
                </a:cubicBezTo>
                <a:lnTo>
                  <a:pt x="1860" y="455"/>
                </a:lnTo>
                <a:lnTo>
                  <a:pt x="1863" y="457"/>
                </a:lnTo>
                <a:cubicBezTo>
                  <a:pt x="1864" y="457"/>
                  <a:pt x="1864" y="456"/>
                  <a:pt x="1864" y="456"/>
                </a:cubicBezTo>
                <a:lnTo>
                  <a:pt x="1863" y="453"/>
                </a:lnTo>
                <a:cubicBezTo>
                  <a:pt x="1863" y="453"/>
                  <a:pt x="1863" y="452"/>
                  <a:pt x="1865" y="452"/>
                </a:cubicBezTo>
                <a:cubicBezTo>
                  <a:pt x="1866" y="452"/>
                  <a:pt x="1866" y="451"/>
                  <a:pt x="1866" y="449"/>
                </a:cubicBezTo>
                <a:cubicBezTo>
                  <a:pt x="1866" y="447"/>
                  <a:pt x="1868" y="442"/>
                  <a:pt x="1872" y="434"/>
                </a:cubicBezTo>
                <a:cubicBezTo>
                  <a:pt x="1874" y="428"/>
                  <a:pt x="1876" y="424"/>
                  <a:pt x="1876" y="423"/>
                </a:cubicBezTo>
                <a:cubicBezTo>
                  <a:pt x="1876" y="422"/>
                  <a:pt x="1876" y="422"/>
                  <a:pt x="1875" y="422"/>
                </a:cubicBezTo>
                <a:cubicBezTo>
                  <a:pt x="1875" y="422"/>
                  <a:pt x="1873" y="424"/>
                  <a:pt x="1872" y="427"/>
                </a:cubicBezTo>
                <a:cubicBezTo>
                  <a:pt x="1870" y="431"/>
                  <a:pt x="1868" y="434"/>
                  <a:pt x="1867" y="438"/>
                </a:cubicBezTo>
                <a:cubicBezTo>
                  <a:pt x="1865" y="442"/>
                  <a:pt x="1864" y="444"/>
                  <a:pt x="1864" y="445"/>
                </a:cubicBezTo>
                <a:cubicBezTo>
                  <a:pt x="1864" y="446"/>
                  <a:pt x="1864" y="448"/>
                  <a:pt x="1862" y="450"/>
                </a:cubicBezTo>
                <a:cubicBezTo>
                  <a:pt x="1861" y="452"/>
                  <a:pt x="1860" y="453"/>
                  <a:pt x="1858" y="455"/>
                </a:cubicBezTo>
                <a:cubicBezTo>
                  <a:pt x="1857" y="456"/>
                  <a:pt x="1855" y="457"/>
                  <a:pt x="1854" y="457"/>
                </a:cubicBezTo>
                <a:cubicBezTo>
                  <a:pt x="1853" y="457"/>
                  <a:pt x="1853" y="456"/>
                  <a:pt x="1853" y="453"/>
                </a:cubicBezTo>
                <a:cubicBezTo>
                  <a:pt x="1853" y="441"/>
                  <a:pt x="1862" y="421"/>
                  <a:pt x="1879" y="394"/>
                </a:cubicBezTo>
                <a:cubicBezTo>
                  <a:pt x="1896" y="366"/>
                  <a:pt x="1908" y="349"/>
                  <a:pt x="1914" y="342"/>
                </a:cubicBezTo>
                <a:cubicBezTo>
                  <a:pt x="1914" y="341"/>
                  <a:pt x="1917" y="338"/>
                  <a:pt x="1921" y="333"/>
                </a:cubicBezTo>
                <a:cubicBezTo>
                  <a:pt x="1928" y="322"/>
                  <a:pt x="1934" y="317"/>
                  <a:pt x="1937" y="317"/>
                </a:cubicBezTo>
                <a:cubicBezTo>
                  <a:pt x="1940" y="317"/>
                  <a:pt x="1941" y="319"/>
                  <a:pt x="1941" y="322"/>
                </a:cubicBezTo>
                <a:cubicBezTo>
                  <a:pt x="1941" y="324"/>
                  <a:pt x="1941" y="326"/>
                  <a:pt x="1939" y="329"/>
                </a:cubicBezTo>
                <a:cubicBezTo>
                  <a:pt x="1938" y="332"/>
                  <a:pt x="1937" y="333"/>
                  <a:pt x="1937" y="334"/>
                </a:cubicBezTo>
                <a:cubicBezTo>
                  <a:pt x="1937" y="335"/>
                  <a:pt x="1938" y="335"/>
                  <a:pt x="1939" y="335"/>
                </a:cubicBezTo>
                <a:cubicBezTo>
                  <a:pt x="1941" y="335"/>
                  <a:pt x="1941" y="337"/>
                  <a:pt x="1941" y="341"/>
                </a:cubicBezTo>
                <a:cubicBezTo>
                  <a:pt x="1941" y="348"/>
                  <a:pt x="1940" y="352"/>
                  <a:pt x="1938" y="355"/>
                </a:cubicBezTo>
                <a:cubicBezTo>
                  <a:pt x="1932" y="360"/>
                  <a:pt x="1924" y="372"/>
                  <a:pt x="1914" y="390"/>
                </a:cubicBezTo>
                <a:cubicBezTo>
                  <a:pt x="1910" y="397"/>
                  <a:pt x="1907" y="401"/>
                  <a:pt x="1907" y="403"/>
                </a:cubicBezTo>
                <a:lnTo>
                  <a:pt x="1907" y="404"/>
                </a:lnTo>
                <a:cubicBezTo>
                  <a:pt x="1907" y="405"/>
                  <a:pt x="1907" y="406"/>
                  <a:pt x="1907" y="406"/>
                </a:cubicBezTo>
                <a:lnTo>
                  <a:pt x="1905" y="405"/>
                </a:lnTo>
                <a:cubicBezTo>
                  <a:pt x="1904" y="405"/>
                  <a:pt x="1903" y="406"/>
                  <a:pt x="1901" y="408"/>
                </a:cubicBezTo>
                <a:lnTo>
                  <a:pt x="1899" y="411"/>
                </a:lnTo>
                <a:cubicBezTo>
                  <a:pt x="1900" y="411"/>
                  <a:pt x="1901" y="411"/>
                  <a:pt x="1902" y="410"/>
                </a:cubicBezTo>
                <a:lnTo>
                  <a:pt x="1905" y="409"/>
                </a:lnTo>
                <a:cubicBezTo>
                  <a:pt x="1905" y="410"/>
                  <a:pt x="1904" y="411"/>
                  <a:pt x="1903" y="411"/>
                </a:cubicBezTo>
                <a:cubicBezTo>
                  <a:pt x="1902" y="413"/>
                  <a:pt x="1900" y="415"/>
                  <a:pt x="1899" y="419"/>
                </a:cubicBezTo>
                <a:cubicBezTo>
                  <a:pt x="1898" y="422"/>
                  <a:pt x="1896" y="426"/>
                  <a:pt x="1894" y="429"/>
                </a:cubicBezTo>
                <a:cubicBezTo>
                  <a:pt x="1883" y="447"/>
                  <a:pt x="1877" y="456"/>
                  <a:pt x="1877" y="458"/>
                </a:cubicBezTo>
                <a:cubicBezTo>
                  <a:pt x="1877" y="458"/>
                  <a:pt x="1877" y="459"/>
                  <a:pt x="1878" y="459"/>
                </a:cubicBezTo>
                <a:lnTo>
                  <a:pt x="1879" y="458"/>
                </a:lnTo>
                <a:cubicBezTo>
                  <a:pt x="1880" y="458"/>
                  <a:pt x="1882" y="459"/>
                  <a:pt x="1883" y="460"/>
                </a:cubicBezTo>
                <a:cubicBezTo>
                  <a:pt x="1884" y="461"/>
                  <a:pt x="1884" y="462"/>
                  <a:pt x="1884" y="463"/>
                </a:cubicBezTo>
                <a:cubicBezTo>
                  <a:pt x="1884" y="464"/>
                  <a:pt x="1884" y="464"/>
                  <a:pt x="1884" y="465"/>
                </a:cubicBezTo>
                <a:cubicBezTo>
                  <a:pt x="1883" y="465"/>
                  <a:pt x="1883" y="465"/>
                  <a:pt x="1883" y="465"/>
                </a:cubicBezTo>
                <a:cubicBezTo>
                  <a:pt x="1882" y="465"/>
                  <a:pt x="1882" y="465"/>
                  <a:pt x="1882" y="464"/>
                </a:cubicBezTo>
                <a:cubicBezTo>
                  <a:pt x="1882" y="463"/>
                  <a:pt x="1880" y="462"/>
                  <a:pt x="1878" y="462"/>
                </a:cubicBezTo>
                <a:cubicBezTo>
                  <a:pt x="1877" y="462"/>
                  <a:pt x="1876" y="463"/>
                  <a:pt x="1876" y="463"/>
                </a:cubicBezTo>
                <a:cubicBezTo>
                  <a:pt x="1876" y="463"/>
                  <a:pt x="1877" y="464"/>
                  <a:pt x="1877" y="464"/>
                </a:cubicBezTo>
                <a:cubicBezTo>
                  <a:pt x="1877" y="465"/>
                  <a:pt x="1878" y="466"/>
                  <a:pt x="1878" y="467"/>
                </a:cubicBezTo>
                <a:cubicBezTo>
                  <a:pt x="1878" y="469"/>
                  <a:pt x="1877" y="471"/>
                  <a:pt x="1877" y="473"/>
                </a:cubicBezTo>
                <a:cubicBezTo>
                  <a:pt x="1876" y="476"/>
                  <a:pt x="1875" y="478"/>
                  <a:pt x="1875" y="479"/>
                </a:cubicBezTo>
                <a:cubicBezTo>
                  <a:pt x="1874" y="481"/>
                  <a:pt x="1873" y="482"/>
                  <a:pt x="1872" y="482"/>
                </a:cubicBezTo>
                <a:close/>
                <a:moveTo>
                  <a:pt x="1921" y="353"/>
                </a:moveTo>
                <a:cubicBezTo>
                  <a:pt x="1922" y="353"/>
                  <a:pt x="1923" y="352"/>
                  <a:pt x="1925" y="349"/>
                </a:cubicBezTo>
                <a:cubicBezTo>
                  <a:pt x="1928" y="346"/>
                  <a:pt x="1929" y="345"/>
                  <a:pt x="1929" y="344"/>
                </a:cubicBezTo>
                <a:cubicBezTo>
                  <a:pt x="1928" y="344"/>
                  <a:pt x="1927" y="346"/>
                  <a:pt x="1924" y="349"/>
                </a:cubicBezTo>
                <a:cubicBezTo>
                  <a:pt x="1922" y="352"/>
                  <a:pt x="1921" y="353"/>
                  <a:pt x="1921" y="353"/>
                </a:cubicBezTo>
                <a:close/>
                <a:moveTo>
                  <a:pt x="1912" y="365"/>
                </a:moveTo>
                <a:cubicBezTo>
                  <a:pt x="1913" y="365"/>
                  <a:pt x="1914" y="364"/>
                  <a:pt x="1917" y="361"/>
                </a:cubicBezTo>
                <a:cubicBezTo>
                  <a:pt x="1919" y="358"/>
                  <a:pt x="1920" y="356"/>
                  <a:pt x="1920" y="356"/>
                </a:cubicBezTo>
                <a:cubicBezTo>
                  <a:pt x="1920" y="356"/>
                  <a:pt x="1918" y="357"/>
                  <a:pt x="1915" y="360"/>
                </a:cubicBezTo>
                <a:cubicBezTo>
                  <a:pt x="1913" y="363"/>
                  <a:pt x="1912" y="365"/>
                  <a:pt x="1912" y="365"/>
                </a:cubicBezTo>
                <a:close/>
                <a:moveTo>
                  <a:pt x="1884" y="408"/>
                </a:moveTo>
                <a:cubicBezTo>
                  <a:pt x="1885" y="408"/>
                  <a:pt x="1890" y="401"/>
                  <a:pt x="1900" y="386"/>
                </a:cubicBezTo>
                <a:cubicBezTo>
                  <a:pt x="1907" y="375"/>
                  <a:pt x="1911" y="368"/>
                  <a:pt x="1911" y="368"/>
                </a:cubicBezTo>
                <a:cubicBezTo>
                  <a:pt x="1910" y="368"/>
                  <a:pt x="1907" y="372"/>
                  <a:pt x="1902" y="379"/>
                </a:cubicBezTo>
                <a:cubicBezTo>
                  <a:pt x="1897" y="387"/>
                  <a:pt x="1893" y="392"/>
                  <a:pt x="1892" y="392"/>
                </a:cubicBezTo>
                <a:cubicBezTo>
                  <a:pt x="1891" y="392"/>
                  <a:pt x="1891" y="393"/>
                  <a:pt x="1891" y="394"/>
                </a:cubicBezTo>
                <a:cubicBezTo>
                  <a:pt x="1890" y="394"/>
                  <a:pt x="1890" y="395"/>
                  <a:pt x="1890" y="396"/>
                </a:cubicBezTo>
                <a:cubicBezTo>
                  <a:pt x="1890" y="397"/>
                  <a:pt x="1890" y="398"/>
                  <a:pt x="1889" y="398"/>
                </a:cubicBezTo>
                <a:cubicBezTo>
                  <a:pt x="1889" y="399"/>
                  <a:pt x="1888" y="399"/>
                  <a:pt x="1886" y="399"/>
                </a:cubicBezTo>
                <a:cubicBezTo>
                  <a:pt x="1885" y="399"/>
                  <a:pt x="1884" y="401"/>
                  <a:pt x="1884" y="404"/>
                </a:cubicBezTo>
                <a:lnTo>
                  <a:pt x="1884" y="408"/>
                </a:lnTo>
                <a:close/>
                <a:moveTo>
                  <a:pt x="1877" y="420"/>
                </a:moveTo>
                <a:cubicBezTo>
                  <a:pt x="1879" y="420"/>
                  <a:pt x="1880" y="419"/>
                  <a:pt x="1882" y="416"/>
                </a:cubicBezTo>
                <a:cubicBezTo>
                  <a:pt x="1882" y="414"/>
                  <a:pt x="1883" y="413"/>
                  <a:pt x="1883" y="412"/>
                </a:cubicBezTo>
                <a:cubicBezTo>
                  <a:pt x="1883" y="411"/>
                  <a:pt x="1882" y="411"/>
                  <a:pt x="1882" y="411"/>
                </a:cubicBezTo>
                <a:cubicBezTo>
                  <a:pt x="1881" y="411"/>
                  <a:pt x="1879" y="413"/>
                  <a:pt x="1878" y="416"/>
                </a:cubicBezTo>
                <a:cubicBezTo>
                  <a:pt x="1877" y="417"/>
                  <a:pt x="1876" y="419"/>
                  <a:pt x="1876" y="419"/>
                </a:cubicBezTo>
                <a:cubicBezTo>
                  <a:pt x="1876" y="420"/>
                  <a:pt x="1877" y="420"/>
                  <a:pt x="1877" y="420"/>
                </a:cubicBezTo>
                <a:close/>
                <a:moveTo>
                  <a:pt x="1890" y="449"/>
                </a:moveTo>
                <a:cubicBezTo>
                  <a:pt x="1889" y="449"/>
                  <a:pt x="1889" y="449"/>
                  <a:pt x="1888" y="448"/>
                </a:cubicBezTo>
                <a:lnTo>
                  <a:pt x="1889" y="447"/>
                </a:lnTo>
                <a:cubicBezTo>
                  <a:pt x="1889" y="446"/>
                  <a:pt x="1890" y="445"/>
                  <a:pt x="1891" y="445"/>
                </a:cubicBezTo>
                <a:lnTo>
                  <a:pt x="1892" y="445"/>
                </a:lnTo>
                <a:cubicBezTo>
                  <a:pt x="1893" y="445"/>
                  <a:pt x="1894" y="445"/>
                  <a:pt x="1894" y="444"/>
                </a:cubicBezTo>
                <a:lnTo>
                  <a:pt x="1893" y="441"/>
                </a:lnTo>
                <a:cubicBezTo>
                  <a:pt x="1893" y="439"/>
                  <a:pt x="1894" y="438"/>
                  <a:pt x="1895" y="436"/>
                </a:cubicBezTo>
                <a:cubicBezTo>
                  <a:pt x="1896" y="434"/>
                  <a:pt x="1897" y="433"/>
                  <a:pt x="1898" y="433"/>
                </a:cubicBezTo>
                <a:lnTo>
                  <a:pt x="1900" y="433"/>
                </a:lnTo>
                <a:cubicBezTo>
                  <a:pt x="1900" y="433"/>
                  <a:pt x="1901" y="433"/>
                  <a:pt x="1901" y="433"/>
                </a:cubicBezTo>
                <a:lnTo>
                  <a:pt x="1900" y="430"/>
                </a:lnTo>
                <a:cubicBezTo>
                  <a:pt x="1900" y="429"/>
                  <a:pt x="1900" y="427"/>
                  <a:pt x="1901" y="425"/>
                </a:cubicBezTo>
                <a:cubicBezTo>
                  <a:pt x="1902" y="424"/>
                  <a:pt x="1903" y="422"/>
                  <a:pt x="1904" y="421"/>
                </a:cubicBezTo>
                <a:cubicBezTo>
                  <a:pt x="1905" y="419"/>
                  <a:pt x="1906" y="419"/>
                  <a:pt x="1907" y="419"/>
                </a:cubicBezTo>
                <a:lnTo>
                  <a:pt x="1909" y="419"/>
                </a:lnTo>
                <a:cubicBezTo>
                  <a:pt x="1910" y="419"/>
                  <a:pt x="1910" y="419"/>
                  <a:pt x="1911" y="418"/>
                </a:cubicBezTo>
                <a:cubicBezTo>
                  <a:pt x="1912" y="417"/>
                  <a:pt x="1912" y="416"/>
                  <a:pt x="1912" y="416"/>
                </a:cubicBezTo>
                <a:lnTo>
                  <a:pt x="1909" y="417"/>
                </a:lnTo>
                <a:cubicBezTo>
                  <a:pt x="1908" y="417"/>
                  <a:pt x="1908" y="417"/>
                  <a:pt x="1908" y="417"/>
                </a:cubicBezTo>
                <a:cubicBezTo>
                  <a:pt x="1908" y="415"/>
                  <a:pt x="1910" y="410"/>
                  <a:pt x="1915" y="403"/>
                </a:cubicBezTo>
                <a:cubicBezTo>
                  <a:pt x="1920" y="397"/>
                  <a:pt x="1923" y="393"/>
                  <a:pt x="1924" y="393"/>
                </a:cubicBezTo>
                <a:cubicBezTo>
                  <a:pt x="1924" y="394"/>
                  <a:pt x="1925" y="394"/>
                  <a:pt x="1926" y="394"/>
                </a:cubicBezTo>
                <a:cubicBezTo>
                  <a:pt x="1927" y="394"/>
                  <a:pt x="1928" y="393"/>
                  <a:pt x="1929" y="392"/>
                </a:cubicBezTo>
                <a:cubicBezTo>
                  <a:pt x="1930" y="392"/>
                  <a:pt x="1931" y="391"/>
                  <a:pt x="1931" y="391"/>
                </a:cubicBezTo>
                <a:cubicBezTo>
                  <a:pt x="1931" y="391"/>
                  <a:pt x="1931" y="391"/>
                  <a:pt x="1931" y="391"/>
                </a:cubicBezTo>
                <a:cubicBezTo>
                  <a:pt x="1931" y="393"/>
                  <a:pt x="1930" y="395"/>
                  <a:pt x="1927" y="399"/>
                </a:cubicBezTo>
                <a:cubicBezTo>
                  <a:pt x="1925" y="400"/>
                  <a:pt x="1924" y="400"/>
                  <a:pt x="1924" y="400"/>
                </a:cubicBezTo>
                <a:lnTo>
                  <a:pt x="1923" y="400"/>
                </a:lnTo>
                <a:lnTo>
                  <a:pt x="1925" y="398"/>
                </a:lnTo>
                <a:cubicBezTo>
                  <a:pt x="1925" y="398"/>
                  <a:pt x="1924" y="397"/>
                  <a:pt x="1924" y="397"/>
                </a:cubicBezTo>
                <a:lnTo>
                  <a:pt x="1923" y="399"/>
                </a:lnTo>
                <a:cubicBezTo>
                  <a:pt x="1922" y="399"/>
                  <a:pt x="1922" y="400"/>
                  <a:pt x="1922" y="401"/>
                </a:cubicBezTo>
                <a:lnTo>
                  <a:pt x="1922" y="404"/>
                </a:lnTo>
                <a:cubicBezTo>
                  <a:pt x="1922" y="405"/>
                  <a:pt x="1922" y="406"/>
                  <a:pt x="1920" y="407"/>
                </a:cubicBezTo>
                <a:cubicBezTo>
                  <a:pt x="1919" y="409"/>
                  <a:pt x="1918" y="409"/>
                  <a:pt x="1917" y="409"/>
                </a:cubicBezTo>
                <a:lnTo>
                  <a:pt x="1915" y="409"/>
                </a:lnTo>
                <a:lnTo>
                  <a:pt x="1915" y="411"/>
                </a:lnTo>
                <a:cubicBezTo>
                  <a:pt x="1915" y="413"/>
                  <a:pt x="1915" y="414"/>
                  <a:pt x="1914" y="417"/>
                </a:cubicBezTo>
                <a:cubicBezTo>
                  <a:pt x="1912" y="419"/>
                  <a:pt x="1911" y="422"/>
                  <a:pt x="1909" y="425"/>
                </a:cubicBezTo>
                <a:cubicBezTo>
                  <a:pt x="1907" y="429"/>
                  <a:pt x="1905" y="432"/>
                  <a:pt x="1903" y="435"/>
                </a:cubicBezTo>
                <a:cubicBezTo>
                  <a:pt x="1901" y="438"/>
                  <a:pt x="1900" y="441"/>
                  <a:pt x="1899" y="442"/>
                </a:cubicBezTo>
                <a:cubicBezTo>
                  <a:pt x="1898" y="444"/>
                  <a:pt x="1897" y="446"/>
                  <a:pt x="1895" y="447"/>
                </a:cubicBezTo>
                <a:cubicBezTo>
                  <a:pt x="1893" y="448"/>
                  <a:pt x="1891" y="449"/>
                  <a:pt x="1890" y="449"/>
                </a:cubicBezTo>
                <a:close/>
                <a:moveTo>
                  <a:pt x="1926" y="391"/>
                </a:moveTo>
                <a:cubicBezTo>
                  <a:pt x="1925" y="391"/>
                  <a:pt x="1925" y="391"/>
                  <a:pt x="1925" y="391"/>
                </a:cubicBezTo>
                <a:cubicBezTo>
                  <a:pt x="1925" y="389"/>
                  <a:pt x="1929" y="384"/>
                  <a:pt x="1937" y="373"/>
                </a:cubicBezTo>
                <a:cubicBezTo>
                  <a:pt x="1943" y="365"/>
                  <a:pt x="1947" y="359"/>
                  <a:pt x="1947" y="356"/>
                </a:cubicBezTo>
                <a:cubicBezTo>
                  <a:pt x="1947" y="355"/>
                  <a:pt x="1946" y="355"/>
                  <a:pt x="1946" y="354"/>
                </a:cubicBezTo>
                <a:cubicBezTo>
                  <a:pt x="1946" y="353"/>
                  <a:pt x="1945" y="353"/>
                  <a:pt x="1945" y="351"/>
                </a:cubicBezTo>
                <a:cubicBezTo>
                  <a:pt x="1945" y="350"/>
                  <a:pt x="1946" y="349"/>
                  <a:pt x="1948" y="347"/>
                </a:cubicBezTo>
                <a:cubicBezTo>
                  <a:pt x="1949" y="345"/>
                  <a:pt x="1950" y="344"/>
                  <a:pt x="1951" y="344"/>
                </a:cubicBezTo>
                <a:lnTo>
                  <a:pt x="1951" y="345"/>
                </a:lnTo>
                <a:lnTo>
                  <a:pt x="1948" y="353"/>
                </a:lnTo>
                <a:cubicBezTo>
                  <a:pt x="1948" y="353"/>
                  <a:pt x="1949" y="352"/>
                  <a:pt x="1952" y="348"/>
                </a:cubicBezTo>
                <a:cubicBezTo>
                  <a:pt x="1954" y="346"/>
                  <a:pt x="1956" y="345"/>
                  <a:pt x="1956" y="345"/>
                </a:cubicBezTo>
                <a:cubicBezTo>
                  <a:pt x="1957" y="345"/>
                  <a:pt x="1957" y="345"/>
                  <a:pt x="1957" y="346"/>
                </a:cubicBezTo>
                <a:cubicBezTo>
                  <a:pt x="1957" y="348"/>
                  <a:pt x="1956" y="350"/>
                  <a:pt x="1954" y="353"/>
                </a:cubicBezTo>
                <a:lnTo>
                  <a:pt x="1953" y="355"/>
                </a:lnTo>
                <a:lnTo>
                  <a:pt x="1956" y="354"/>
                </a:lnTo>
                <a:cubicBezTo>
                  <a:pt x="1957" y="354"/>
                  <a:pt x="1957" y="354"/>
                  <a:pt x="1957" y="355"/>
                </a:cubicBezTo>
                <a:cubicBezTo>
                  <a:pt x="1957" y="356"/>
                  <a:pt x="1953" y="362"/>
                  <a:pt x="1946" y="372"/>
                </a:cubicBezTo>
                <a:cubicBezTo>
                  <a:pt x="1938" y="384"/>
                  <a:pt x="1933" y="389"/>
                  <a:pt x="1932" y="389"/>
                </a:cubicBezTo>
                <a:cubicBezTo>
                  <a:pt x="1930" y="389"/>
                  <a:pt x="1929" y="390"/>
                  <a:pt x="1928" y="390"/>
                </a:cubicBezTo>
                <a:cubicBezTo>
                  <a:pt x="1927" y="391"/>
                  <a:pt x="1926" y="391"/>
                  <a:pt x="1926" y="391"/>
                </a:cubicBezTo>
                <a:close/>
                <a:moveTo>
                  <a:pt x="1941" y="374"/>
                </a:moveTo>
                <a:cubicBezTo>
                  <a:pt x="1941" y="374"/>
                  <a:pt x="1943" y="373"/>
                  <a:pt x="1945" y="370"/>
                </a:cubicBezTo>
                <a:lnTo>
                  <a:pt x="1947" y="368"/>
                </a:lnTo>
                <a:lnTo>
                  <a:pt x="1947" y="367"/>
                </a:lnTo>
                <a:cubicBezTo>
                  <a:pt x="1946" y="367"/>
                  <a:pt x="1946" y="368"/>
                  <a:pt x="1945" y="369"/>
                </a:cubicBezTo>
                <a:cubicBezTo>
                  <a:pt x="1944" y="370"/>
                  <a:pt x="1942" y="370"/>
                  <a:pt x="1942" y="371"/>
                </a:cubicBezTo>
                <a:cubicBezTo>
                  <a:pt x="1941" y="372"/>
                  <a:pt x="1940" y="373"/>
                  <a:pt x="1940" y="373"/>
                </a:cubicBezTo>
                <a:cubicBezTo>
                  <a:pt x="1940" y="374"/>
                  <a:pt x="1940" y="374"/>
                  <a:pt x="1941" y="374"/>
                </a:cubicBezTo>
                <a:close/>
                <a:moveTo>
                  <a:pt x="1948" y="365"/>
                </a:moveTo>
                <a:cubicBezTo>
                  <a:pt x="1948" y="365"/>
                  <a:pt x="1949" y="365"/>
                  <a:pt x="1949" y="364"/>
                </a:cubicBezTo>
                <a:cubicBezTo>
                  <a:pt x="1950" y="363"/>
                  <a:pt x="1951" y="362"/>
                  <a:pt x="1952" y="361"/>
                </a:cubicBezTo>
                <a:lnTo>
                  <a:pt x="1953" y="359"/>
                </a:lnTo>
                <a:lnTo>
                  <a:pt x="1953" y="358"/>
                </a:lnTo>
                <a:lnTo>
                  <a:pt x="1951" y="360"/>
                </a:lnTo>
                <a:cubicBezTo>
                  <a:pt x="1948" y="362"/>
                  <a:pt x="1947" y="364"/>
                  <a:pt x="1947" y="365"/>
                </a:cubicBezTo>
                <a:cubicBezTo>
                  <a:pt x="1947" y="365"/>
                  <a:pt x="1947" y="365"/>
                  <a:pt x="1948" y="365"/>
                </a:cubicBezTo>
                <a:close/>
                <a:moveTo>
                  <a:pt x="1880" y="475"/>
                </a:moveTo>
                <a:cubicBezTo>
                  <a:pt x="1879" y="475"/>
                  <a:pt x="1879" y="474"/>
                  <a:pt x="1879" y="472"/>
                </a:cubicBezTo>
                <a:cubicBezTo>
                  <a:pt x="1879" y="469"/>
                  <a:pt x="1880" y="468"/>
                  <a:pt x="1882" y="468"/>
                </a:cubicBezTo>
                <a:cubicBezTo>
                  <a:pt x="1882" y="468"/>
                  <a:pt x="1883" y="469"/>
                  <a:pt x="1883" y="470"/>
                </a:cubicBezTo>
                <a:cubicBezTo>
                  <a:pt x="1883" y="470"/>
                  <a:pt x="1882" y="471"/>
                  <a:pt x="1882" y="472"/>
                </a:cubicBezTo>
                <a:cubicBezTo>
                  <a:pt x="1882" y="473"/>
                  <a:pt x="1882" y="474"/>
                  <a:pt x="1881" y="474"/>
                </a:cubicBezTo>
                <a:cubicBezTo>
                  <a:pt x="1881" y="475"/>
                  <a:pt x="1880" y="475"/>
                  <a:pt x="1880" y="475"/>
                </a:cubicBezTo>
                <a:close/>
                <a:moveTo>
                  <a:pt x="2192" y="588"/>
                </a:moveTo>
                <a:cubicBezTo>
                  <a:pt x="2192" y="588"/>
                  <a:pt x="2191" y="587"/>
                  <a:pt x="2191" y="586"/>
                </a:cubicBezTo>
                <a:cubicBezTo>
                  <a:pt x="2190" y="585"/>
                  <a:pt x="2190" y="584"/>
                  <a:pt x="2190" y="584"/>
                </a:cubicBezTo>
                <a:cubicBezTo>
                  <a:pt x="2190" y="583"/>
                  <a:pt x="2190" y="583"/>
                  <a:pt x="2192" y="583"/>
                </a:cubicBezTo>
                <a:cubicBezTo>
                  <a:pt x="2193" y="583"/>
                  <a:pt x="2193" y="583"/>
                  <a:pt x="2193" y="585"/>
                </a:cubicBezTo>
                <a:cubicBezTo>
                  <a:pt x="2193" y="587"/>
                  <a:pt x="2193" y="588"/>
                  <a:pt x="2192" y="588"/>
                </a:cubicBezTo>
                <a:close/>
                <a:moveTo>
                  <a:pt x="2295" y="608"/>
                </a:moveTo>
                <a:cubicBezTo>
                  <a:pt x="2294" y="608"/>
                  <a:pt x="2294" y="608"/>
                  <a:pt x="2294" y="607"/>
                </a:cubicBezTo>
                <a:cubicBezTo>
                  <a:pt x="2294" y="606"/>
                  <a:pt x="2295" y="605"/>
                  <a:pt x="2296" y="604"/>
                </a:cubicBezTo>
                <a:lnTo>
                  <a:pt x="2298" y="604"/>
                </a:lnTo>
                <a:cubicBezTo>
                  <a:pt x="2299" y="604"/>
                  <a:pt x="2299" y="604"/>
                  <a:pt x="2299" y="605"/>
                </a:cubicBezTo>
                <a:cubicBezTo>
                  <a:pt x="2299" y="605"/>
                  <a:pt x="2299" y="606"/>
                  <a:pt x="2299" y="607"/>
                </a:cubicBezTo>
                <a:cubicBezTo>
                  <a:pt x="2298" y="607"/>
                  <a:pt x="2297" y="608"/>
                  <a:pt x="2295" y="608"/>
                </a:cubicBezTo>
                <a:close/>
                <a:moveTo>
                  <a:pt x="2318" y="591"/>
                </a:moveTo>
                <a:lnTo>
                  <a:pt x="2316" y="591"/>
                </a:lnTo>
                <a:cubicBezTo>
                  <a:pt x="2316" y="591"/>
                  <a:pt x="2315" y="591"/>
                  <a:pt x="2315" y="590"/>
                </a:cubicBezTo>
                <a:cubicBezTo>
                  <a:pt x="2314" y="590"/>
                  <a:pt x="2314" y="589"/>
                  <a:pt x="2314" y="589"/>
                </a:cubicBezTo>
                <a:cubicBezTo>
                  <a:pt x="2314" y="587"/>
                  <a:pt x="2315" y="586"/>
                  <a:pt x="2316" y="586"/>
                </a:cubicBezTo>
                <a:cubicBezTo>
                  <a:pt x="2318" y="586"/>
                  <a:pt x="2319" y="587"/>
                  <a:pt x="2319" y="588"/>
                </a:cubicBezTo>
                <a:cubicBezTo>
                  <a:pt x="2319" y="589"/>
                  <a:pt x="2318" y="590"/>
                  <a:pt x="2318" y="591"/>
                </a:cubicBezTo>
                <a:close/>
                <a:moveTo>
                  <a:pt x="2272" y="630"/>
                </a:moveTo>
                <a:lnTo>
                  <a:pt x="2275" y="626"/>
                </a:lnTo>
                <a:cubicBezTo>
                  <a:pt x="2277" y="623"/>
                  <a:pt x="2279" y="621"/>
                  <a:pt x="2280" y="621"/>
                </a:cubicBezTo>
                <a:cubicBezTo>
                  <a:pt x="2280" y="621"/>
                  <a:pt x="2280" y="621"/>
                  <a:pt x="2280" y="621"/>
                </a:cubicBezTo>
                <a:cubicBezTo>
                  <a:pt x="2280" y="623"/>
                  <a:pt x="2279" y="625"/>
                  <a:pt x="2276" y="627"/>
                </a:cubicBezTo>
                <a:cubicBezTo>
                  <a:pt x="2274" y="629"/>
                  <a:pt x="2273" y="630"/>
                  <a:pt x="2272" y="630"/>
                </a:cubicBezTo>
                <a:close/>
                <a:moveTo>
                  <a:pt x="2345" y="593"/>
                </a:moveTo>
                <a:lnTo>
                  <a:pt x="2344" y="593"/>
                </a:lnTo>
                <a:lnTo>
                  <a:pt x="2344" y="593"/>
                </a:lnTo>
                <a:cubicBezTo>
                  <a:pt x="2345" y="592"/>
                  <a:pt x="2346" y="590"/>
                  <a:pt x="2347" y="590"/>
                </a:cubicBezTo>
                <a:cubicBezTo>
                  <a:pt x="2348" y="589"/>
                  <a:pt x="2350" y="588"/>
                  <a:pt x="2351" y="587"/>
                </a:cubicBezTo>
                <a:cubicBezTo>
                  <a:pt x="2353" y="586"/>
                  <a:pt x="2354" y="585"/>
                  <a:pt x="2354" y="585"/>
                </a:cubicBezTo>
                <a:lnTo>
                  <a:pt x="2354" y="586"/>
                </a:lnTo>
                <a:cubicBezTo>
                  <a:pt x="2354" y="586"/>
                  <a:pt x="2354" y="587"/>
                  <a:pt x="2353" y="588"/>
                </a:cubicBezTo>
                <a:cubicBezTo>
                  <a:pt x="2351" y="588"/>
                  <a:pt x="2350" y="590"/>
                  <a:pt x="2348" y="591"/>
                </a:cubicBezTo>
                <a:cubicBezTo>
                  <a:pt x="2346" y="593"/>
                  <a:pt x="2345" y="593"/>
                  <a:pt x="2345" y="593"/>
                </a:cubicBezTo>
                <a:close/>
                <a:moveTo>
                  <a:pt x="2358" y="583"/>
                </a:moveTo>
                <a:lnTo>
                  <a:pt x="2358" y="583"/>
                </a:lnTo>
                <a:cubicBezTo>
                  <a:pt x="2358" y="582"/>
                  <a:pt x="2359" y="581"/>
                  <a:pt x="2361" y="580"/>
                </a:cubicBezTo>
                <a:cubicBezTo>
                  <a:pt x="2363" y="578"/>
                  <a:pt x="2365" y="577"/>
                  <a:pt x="2367" y="576"/>
                </a:cubicBezTo>
                <a:cubicBezTo>
                  <a:pt x="2369" y="575"/>
                  <a:pt x="2370" y="574"/>
                  <a:pt x="2371" y="574"/>
                </a:cubicBezTo>
                <a:lnTo>
                  <a:pt x="2371" y="575"/>
                </a:lnTo>
                <a:cubicBezTo>
                  <a:pt x="2371" y="576"/>
                  <a:pt x="2369" y="577"/>
                  <a:pt x="2364" y="580"/>
                </a:cubicBezTo>
                <a:cubicBezTo>
                  <a:pt x="2360" y="583"/>
                  <a:pt x="2358" y="583"/>
                  <a:pt x="2358" y="583"/>
                </a:cubicBezTo>
                <a:close/>
                <a:moveTo>
                  <a:pt x="2304" y="602"/>
                </a:moveTo>
                <a:lnTo>
                  <a:pt x="2304" y="602"/>
                </a:lnTo>
                <a:cubicBezTo>
                  <a:pt x="2303" y="602"/>
                  <a:pt x="2303" y="602"/>
                  <a:pt x="2303" y="600"/>
                </a:cubicBezTo>
                <a:cubicBezTo>
                  <a:pt x="2303" y="598"/>
                  <a:pt x="2304" y="596"/>
                  <a:pt x="2306" y="594"/>
                </a:cubicBezTo>
                <a:cubicBezTo>
                  <a:pt x="2308" y="592"/>
                  <a:pt x="2309" y="591"/>
                  <a:pt x="2311" y="591"/>
                </a:cubicBezTo>
                <a:cubicBezTo>
                  <a:pt x="2312" y="591"/>
                  <a:pt x="2312" y="592"/>
                  <a:pt x="2312" y="593"/>
                </a:cubicBezTo>
                <a:cubicBezTo>
                  <a:pt x="2312" y="594"/>
                  <a:pt x="2311" y="595"/>
                  <a:pt x="2309" y="596"/>
                </a:cubicBezTo>
                <a:cubicBezTo>
                  <a:pt x="2307" y="597"/>
                  <a:pt x="2306" y="598"/>
                  <a:pt x="2306" y="599"/>
                </a:cubicBezTo>
                <a:lnTo>
                  <a:pt x="2306" y="600"/>
                </a:lnTo>
                <a:cubicBezTo>
                  <a:pt x="2306" y="601"/>
                  <a:pt x="2305" y="602"/>
                  <a:pt x="2304" y="602"/>
                </a:cubicBezTo>
                <a:close/>
                <a:moveTo>
                  <a:pt x="2213" y="690"/>
                </a:moveTo>
                <a:close/>
                <a:moveTo>
                  <a:pt x="2214" y="691"/>
                </a:moveTo>
                <a:cubicBezTo>
                  <a:pt x="2213" y="691"/>
                  <a:pt x="2213" y="690"/>
                  <a:pt x="2213" y="690"/>
                </a:cubicBezTo>
                <a:cubicBezTo>
                  <a:pt x="2213" y="689"/>
                  <a:pt x="2214" y="688"/>
                  <a:pt x="2214" y="688"/>
                </a:cubicBezTo>
                <a:cubicBezTo>
                  <a:pt x="2215" y="687"/>
                  <a:pt x="2216" y="686"/>
                  <a:pt x="2218" y="685"/>
                </a:cubicBezTo>
                <a:lnTo>
                  <a:pt x="2219" y="683"/>
                </a:lnTo>
                <a:lnTo>
                  <a:pt x="2220" y="684"/>
                </a:lnTo>
                <a:lnTo>
                  <a:pt x="2218" y="686"/>
                </a:lnTo>
                <a:cubicBezTo>
                  <a:pt x="2216" y="689"/>
                  <a:pt x="2214" y="691"/>
                  <a:pt x="2214" y="691"/>
                </a:cubicBezTo>
                <a:close/>
                <a:moveTo>
                  <a:pt x="2165" y="766"/>
                </a:moveTo>
                <a:cubicBezTo>
                  <a:pt x="2162" y="766"/>
                  <a:pt x="2160" y="764"/>
                  <a:pt x="2157" y="762"/>
                </a:cubicBezTo>
                <a:cubicBezTo>
                  <a:pt x="2155" y="759"/>
                  <a:pt x="2154" y="758"/>
                  <a:pt x="2152" y="758"/>
                </a:cubicBezTo>
                <a:cubicBezTo>
                  <a:pt x="2152" y="759"/>
                  <a:pt x="2152" y="759"/>
                  <a:pt x="2152" y="759"/>
                </a:cubicBezTo>
                <a:cubicBezTo>
                  <a:pt x="2151" y="759"/>
                  <a:pt x="2149" y="758"/>
                  <a:pt x="2146" y="756"/>
                </a:cubicBezTo>
                <a:cubicBezTo>
                  <a:pt x="2144" y="754"/>
                  <a:pt x="2142" y="753"/>
                  <a:pt x="2140" y="753"/>
                </a:cubicBezTo>
                <a:lnTo>
                  <a:pt x="2139" y="754"/>
                </a:lnTo>
                <a:cubicBezTo>
                  <a:pt x="2138" y="754"/>
                  <a:pt x="2138" y="753"/>
                  <a:pt x="2137" y="752"/>
                </a:cubicBezTo>
                <a:cubicBezTo>
                  <a:pt x="2136" y="752"/>
                  <a:pt x="2135" y="750"/>
                  <a:pt x="2134" y="749"/>
                </a:cubicBezTo>
                <a:cubicBezTo>
                  <a:pt x="2133" y="747"/>
                  <a:pt x="2132" y="743"/>
                  <a:pt x="2132" y="736"/>
                </a:cubicBezTo>
                <a:cubicBezTo>
                  <a:pt x="2131" y="729"/>
                  <a:pt x="2131" y="722"/>
                  <a:pt x="2131" y="715"/>
                </a:cubicBezTo>
                <a:cubicBezTo>
                  <a:pt x="2131" y="703"/>
                  <a:pt x="2131" y="697"/>
                  <a:pt x="2133" y="697"/>
                </a:cubicBezTo>
                <a:lnTo>
                  <a:pt x="2133" y="697"/>
                </a:lnTo>
                <a:cubicBezTo>
                  <a:pt x="2134" y="697"/>
                  <a:pt x="2135" y="693"/>
                  <a:pt x="2137" y="685"/>
                </a:cubicBezTo>
                <a:cubicBezTo>
                  <a:pt x="2138" y="682"/>
                  <a:pt x="2139" y="679"/>
                  <a:pt x="2140" y="677"/>
                </a:cubicBezTo>
                <a:lnTo>
                  <a:pt x="2142" y="674"/>
                </a:lnTo>
                <a:lnTo>
                  <a:pt x="2142" y="674"/>
                </a:lnTo>
                <a:cubicBezTo>
                  <a:pt x="2143" y="674"/>
                  <a:pt x="2143" y="673"/>
                  <a:pt x="2143" y="672"/>
                </a:cubicBezTo>
                <a:lnTo>
                  <a:pt x="2143" y="667"/>
                </a:lnTo>
                <a:cubicBezTo>
                  <a:pt x="2143" y="662"/>
                  <a:pt x="2144" y="659"/>
                  <a:pt x="2147" y="659"/>
                </a:cubicBezTo>
                <a:cubicBezTo>
                  <a:pt x="2148" y="659"/>
                  <a:pt x="2149" y="659"/>
                  <a:pt x="2149" y="660"/>
                </a:cubicBezTo>
                <a:cubicBezTo>
                  <a:pt x="2149" y="661"/>
                  <a:pt x="2149" y="661"/>
                  <a:pt x="2148" y="662"/>
                </a:cubicBezTo>
                <a:cubicBezTo>
                  <a:pt x="2148" y="662"/>
                  <a:pt x="2147" y="665"/>
                  <a:pt x="2146" y="670"/>
                </a:cubicBezTo>
                <a:cubicBezTo>
                  <a:pt x="2146" y="673"/>
                  <a:pt x="2145" y="675"/>
                  <a:pt x="2144" y="676"/>
                </a:cubicBezTo>
                <a:cubicBezTo>
                  <a:pt x="2143" y="677"/>
                  <a:pt x="2143" y="678"/>
                  <a:pt x="2143" y="681"/>
                </a:cubicBezTo>
                <a:cubicBezTo>
                  <a:pt x="2143" y="681"/>
                  <a:pt x="2143" y="681"/>
                  <a:pt x="2143" y="682"/>
                </a:cubicBezTo>
                <a:cubicBezTo>
                  <a:pt x="2143" y="683"/>
                  <a:pt x="2143" y="684"/>
                  <a:pt x="2142" y="684"/>
                </a:cubicBezTo>
                <a:cubicBezTo>
                  <a:pt x="2141" y="685"/>
                  <a:pt x="2140" y="686"/>
                  <a:pt x="2140" y="688"/>
                </a:cubicBezTo>
                <a:lnTo>
                  <a:pt x="2141" y="690"/>
                </a:lnTo>
                <a:cubicBezTo>
                  <a:pt x="2141" y="690"/>
                  <a:pt x="2140" y="691"/>
                  <a:pt x="2139" y="691"/>
                </a:cubicBezTo>
                <a:cubicBezTo>
                  <a:pt x="2138" y="691"/>
                  <a:pt x="2137" y="691"/>
                  <a:pt x="2137" y="693"/>
                </a:cubicBezTo>
                <a:lnTo>
                  <a:pt x="2137" y="693"/>
                </a:lnTo>
                <a:cubicBezTo>
                  <a:pt x="2137" y="696"/>
                  <a:pt x="2137" y="699"/>
                  <a:pt x="2135" y="703"/>
                </a:cubicBezTo>
                <a:cubicBezTo>
                  <a:pt x="2134" y="710"/>
                  <a:pt x="2133" y="718"/>
                  <a:pt x="2133" y="726"/>
                </a:cubicBezTo>
                <a:cubicBezTo>
                  <a:pt x="2133" y="736"/>
                  <a:pt x="2134" y="742"/>
                  <a:pt x="2137" y="742"/>
                </a:cubicBezTo>
                <a:cubicBezTo>
                  <a:pt x="2139" y="742"/>
                  <a:pt x="2140" y="737"/>
                  <a:pt x="2141" y="728"/>
                </a:cubicBezTo>
                <a:cubicBezTo>
                  <a:pt x="2141" y="718"/>
                  <a:pt x="2143" y="705"/>
                  <a:pt x="2147" y="688"/>
                </a:cubicBezTo>
                <a:cubicBezTo>
                  <a:pt x="2152" y="670"/>
                  <a:pt x="2156" y="656"/>
                  <a:pt x="2160" y="645"/>
                </a:cubicBezTo>
                <a:cubicBezTo>
                  <a:pt x="2163" y="636"/>
                  <a:pt x="2165" y="630"/>
                  <a:pt x="2165" y="628"/>
                </a:cubicBezTo>
                <a:cubicBezTo>
                  <a:pt x="2165" y="627"/>
                  <a:pt x="2165" y="626"/>
                  <a:pt x="2164" y="626"/>
                </a:cubicBezTo>
                <a:cubicBezTo>
                  <a:pt x="2163" y="626"/>
                  <a:pt x="2162" y="627"/>
                  <a:pt x="2161" y="629"/>
                </a:cubicBezTo>
                <a:cubicBezTo>
                  <a:pt x="2158" y="634"/>
                  <a:pt x="2157" y="638"/>
                  <a:pt x="2157" y="641"/>
                </a:cubicBezTo>
                <a:cubicBezTo>
                  <a:pt x="2157" y="641"/>
                  <a:pt x="2157" y="642"/>
                  <a:pt x="2157" y="642"/>
                </a:cubicBezTo>
                <a:cubicBezTo>
                  <a:pt x="2158" y="642"/>
                  <a:pt x="2158" y="643"/>
                  <a:pt x="2158" y="643"/>
                </a:cubicBezTo>
                <a:cubicBezTo>
                  <a:pt x="2158" y="643"/>
                  <a:pt x="2157" y="644"/>
                  <a:pt x="2157" y="644"/>
                </a:cubicBezTo>
                <a:cubicBezTo>
                  <a:pt x="2156" y="644"/>
                  <a:pt x="2155" y="643"/>
                  <a:pt x="2154" y="643"/>
                </a:cubicBezTo>
                <a:cubicBezTo>
                  <a:pt x="2153" y="643"/>
                  <a:pt x="2152" y="643"/>
                  <a:pt x="2151" y="642"/>
                </a:cubicBezTo>
                <a:cubicBezTo>
                  <a:pt x="2150" y="642"/>
                  <a:pt x="2150" y="642"/>
                  <a:pt x="2150" y="642"/>
                </a:cubicBezTo>
                <a:cubicBezTo>
                  <a:pt x="2150" y="641"/>
                  <a:pt x="2151" y="639"/>
                  <a:pt x="2152" y="637"/>
                </a:cubicBezTo>
                <a:cubicBezTo>
                  <a:pt x="2154" y="631"/>
                  <a:pt x="2156" y="627"/>
                  <a:pt x="2157" y="624"/>
                </a:cubicBezTo>
                <a:lnTo>
                  <a:pt x="2159" y="621"/>
                </a:lnTo>
                <a:lnTo>
                  <a:pt x="2160" y="622"/>
                </a:lnTo>
                <a:cubicBezTo>
                  <a:pt x="2160" y="622"/>
                  <a:pt x="2160" y="622"/>
                  <a:pt x="2160" y="621"/>
                </a:cubicBezTo>
                <a:lnTo>
                  <a:pt x="2159" y="617"/>
                </a:lnTo>
                <a:cubicBezTo>
                  <a:pt x="2159" y="616"/>
                  <a:pt x="2160" y="615"/>
                  <a:pt x="2161" y="615"/>
                </a:cubicBezTo>
                <a:cubicBezTo>
                  <a:pt x="2162" y="615"/>
                  <a:pt x="2162" y="614"/>
                  <a:pt x="2162" y="611"/>
                </a:cubicBezTo>
                <a:lnTo>
                  <a:pt x="2161" y="609"/>
                </a:lnTo>
                <a:cubicBezTo>
                  <a:pt x="2161" y="609"/>
                  <a:pt x="2162" y="609"/>
                  <a:pt x="2163" y="609"/>
                </a:cubicBezTo>
                <a:cubicBezTo>
                  <a:pt x="2164" y="609"/>
                  <a:pt x="2165" y="606"/>
                  <a:pt x="2165" y="601"/>
                </a:cubicBezTo>
                <a:cubicBezTo>
                  <a:pt x="2165" y="595"/>
                  <a:pt x="2164" y="593"/>
                  <a:pt x="2163" y="592"/>
                </a:cubicBezTo>
                <a:cubicBezTo>
                  <a:pt x="2163" y="592"/>
                  <a:pt x="2162" y="592"/>
                  <a:pt x="2162" y="591"/>
                </a:cubicBezTo>
                <a:cubicBezTo>
                  <a:pt x="2162" y="590"/>
                  <a:pt x="2163" y="588"/>
                  <a:pt x="2164" y="586"/>
                </a:cubicBezTo>
                <a:cubicBezTo>
                  <a:pt x="2165" y="583"/>
                  <a:pt x="2167" y="581"/>
                  <a:pt x="2168" y="581"/>
                </a:cubicBezTo>
                <a:cubicBezTo>
                  <a:pt x="2169" y="581"/>
                  <a:pt x="2169" y="582"/>
                  <a:pt x="2170" y="582"/>
                </a:cubicBezTo>
                <a:cubicBezTo>
                  <a:pt x="2170" y="582"/>
                  <a:pt x="2171" y="583"/>
                  <a:pt x="2171" y="583"/>
                </a:cubicBezTo>
                <a:cubicBezTo>
                  <a:pt x="2171" y="583"/>
                  <a:pt x="2171" y="582"/>
                  <a:pt x="2171" y="582"/>
                </a:cubicBezTo>
                <a:cubicBezTo>
                  <a:pt x="2171" y="582"/>
                  <a:pt x="2171" y="581"/>
                  <a:pt x="2170" y="580"/>
                </a:cubicBezTo>
                <a:cubicBezTo>
                  <a:pt x="2168" y="578"/>
                  <a:pt x="2168" y="577"/>
                  <a:pt x="2168" y="576"/>
                </a:cubicBezTo>
                <a:cubicBezTo>
                  <a:pt x="2168" y="574"/>
                  <a:pt x="2169" y="572"/>
                  <a:pt x="2171" y="569"/>
                </a:cubicBezTo>
                <a:cubicBezTo>
                  <a:pt x="2174" y="564"/>
                  <a:pt x="2177" y="558"/>
                  <a:pt x="2179" y="552"/>
                </a:cubicBezTo>
                <a:cubicBezTo>
                  <a:pt x="2181" y="545"/>
                  <a:pt x="2185" y="537"/>
                  <a:pt x="2190" y="526"/>
                </a:cubicBezTo>
                <a:cubicBezTo>
                  <a:pt x="2194" y="518"/>
                  <a:pt x="2196" y="513"/>
                  <a:pt x="2196" y="511"/>
                </a:cubicBezTo>
                <a:lnTo>
                  <a:pt x="2195" y="511"/>
                </a:lnTo>
                <a:cubicBezTo>
                  <a:pt x="2195" y="510"/>
                  <a:pt x="2201" y="497"/>
                  <a:pt x="2214" y="474"/>
                </a:cubicBezTo>
                <a:cubicBezTo>
                  <a:pt x="2222" y="460"/>
                  <a:pt x="2226" y="452"/>
                  <a:pt x="2228" y="450"/>
                </a:cubicBezTo>
                <a:cubicBezTo>
                  <a:pt x="2239" y="435"/>
                  <a:pt x="2247" y="428"/>
                  <a:pt x="2253" y="428"/>
                </a:cubicBezTo>
                <a:cubicBezTo>
                  <a:pt x="2256" y="428"/>
                  <a:pt x="2257" y="430"/>
                  <a:pt x="2257" y="434"/>
                </a:cubicBezTo>
                <a:lnTo>
                  <a:pt x="2257" y="437"/>
                </a:lnTo>
                <a:cubicBezTo>
                  <a:pt x="2257" y="438"/>
                  <a:pt x="2259" y="439"/>
                  <a:pt x="2262" y="441"/>
                </a:cubicBezTo>
                <a:cubicBezTo>
                  <a:pt x="2266" y="442"/>
                  <a:pt x="2268" y="445"/>
                  <a:pt x="2269" y="450"/>
                </a:cubicBezTo>
                <a:cubicBezTo>
                  <a:pt x="2269" y="451"/>
                  <a:pt x="2270" y="452"/>
                  <a:pt x="2271" y="453"/>
                </a:cubicBezTo>
                <a:cubicBezTo>
                  <a:pt x="2272" y="454"/>
                  <a:pt x="2273" y="454"/>
                  <a:pt x="2276" y="454"/>
                </a:cubicBezTo>
                <a:cubicBezTo>
                  <a:pt x="2279" y="454"/>
                  <a:pt x="2281" y="455"/>
                  <a:pt x="2281" y="456"/>
                </a:cubicBezTo>
                <a:cubicBezTo>
                  <a:pt x="2281" y="456"/>
                  <a:pt x="2281" y="460"/>
                  <a:pt x="2281" y="465"/>
                </a:cubicBezTo>
                <a:cubicBezTo>
                  <a:pt x="2281" y="469"/>
                  <a:pt x="2281" y="471"/>
                  <a:pt x="2280" y="471"/>
                </a:cubicBezTo>
                <a:cubicBezTo>
                  <a:pt x="2279" y="471"/>
                  <a:pt x="2279" y="471"/>
                  <a:pt x="2279" y="472"/>
                </a:cubicBezTo>
                <a:lnTo>
                  <a:pt x="2279" y="474"/>
                </a:lnTo>
                <a:cubicBezTo>
                  <a:pt x="2279" y="476"/>
                  <a:pt x="2279" y="478"/>
                  <a:pt x="2278" y="478"/>
                </a:cubicBezTo>
                <a:cubicBezTo>
                  <a:pt x="2277" y="478"/>
                  <a:pt x="2276" y="480"/>
                  <a:pt x="2276" y="482"/>
                </a:cubicBezTo>
                <a:cubicBezTo>
                  <a:pt x="2275" y="485"/>
                  <a:pt x="2274" y="487"/>
                  <a:pt x="2274" y="487"/>
                </a:cubicBezTo>
                <a:cubicBezTo>
                  <a:pt x="2273" y="488"/>
                  <a:pt x="2273" y="490"/>
                  <a:pt x="2273" y="490"/>
                </a:cubicBezTo>
                <a:lnTo>
                  <a:pt x="2273" y="493"/>
                </a:lnTo>
                <a:cubicBezTo>
                  <a:pt x="2273" y="495"/>
                  <a:pt x="2272" y="498"/>
                  <a:pt x="2271" y="501"/>
                </a:cubicBezTo>
                <a:cubicBezTo>
                  <a:pt x="2269" y="504"/>
                  <a:pt x="2268" y="506"/>
                  <a:pt x="2268" y="507"/>
                </a:cubicBezTo>
                <a:cubicBezTo>
                  <a:pt x="2268" y="507"/>
                  <a:pt x="2268" y="507"/>
                  <a:pt x="2269" y="507"/>
                </a:cubicBezTo>
                <a:cubicBezTo>
                  <a:pt x="2269" y="507"/>
                  <a:pt x="2269" y="507"/>
                  <a:pt x="2269" y="508"/>
                </a:cubicBezTo>
                <a:cubicBezTo>
                  <a:pt x="2269" y="508"/>
                  <a:pt x="2269" y="509"/>
                  <a:pt x="2267" y="511"/>
                </a:cubicBezTo>
                <a:cubicBezTo>
                  <a:pt x="2265" y="513"/>
                  <a:pt x="2263" y="514"/>
                  <a:pt x="2261" y="514"/>
                </a:cubicBezTo>
                <a:cubicBezTo>
                  <a:pt x="2260" y="514"/>
                  <a:pt x="2259" y="514"/>
                  <a:pt x="2259" y="513"/>
                </a:cubicBezTo>
                <a:lnTo>
                  <a:pt x="2262" y="507"/>
                </a:lnTo>
                <a:cubicBezTo>
                  <a:pt x="2262" y="506"/>
                  <a:pt x="2261" y="506"/>
                  <a:pt x="2261" y="505"/>
                </a:cubicBezTo>
                <a:cubicBezTo>
                  <a:pt x="2261" y="503"/>
                  <a:pt x="2262" y="501"/>
                  <a:pt x="2264" y="497"/>
                </a:cubicBezTo>
                <a:cubicBezTo>
                  <a:pt x="2266" y="493"/>
                  <a:pt x="2267" y="489"/>
                  <a:pt x="2267" y="484"/>
                </a:cubicBezTo>
                <a:cubicBezTo>
                  <a:pt x="2267" y="482"/>
                  <a:pt x="2267" y="480"/>
                  <a:pt x="2268" y="480"/>
                </a:cubicBezTo>
                <a:cubicBezTo>
                  <a:pt x="2269" y="479"/>
                  <a:pt x="2269" y="478"/>
                  <a:pt x="2269" y="478"/>
                </a:cubicBezTo>
                <a:cubicBezTo>
                  <a:pt x="2269" y="478"/>
                  <a:pt x="2269" y="477"/>
                  <a:pt x="2268" y="477"/>
                </a:cubicBezTo>
                <a:cubicBezTo>
                  <a:pt x="2265" y="477"/>
                  <a:pt x="2263" y="480"/>
                  <a:pt x="2262" y="486"/>
                </a:cubicBezTo>
                <a:lnTo>
                  <a:pt x="2259" y="497"/>
                </a:lnTo>
                <a:cubicBezTo>
                  <a:pt x="2257" y="501"/>
                  <a:pt x="2256" y="504"/>
                  <a:pt x="2256" y="506"/>
                </a:cubicBezTo>
                <a:lnTo>
                  <a:pt x="2255" y="506"/>
                </a:lnTo>
                <a:lnTo>
                  <a:pt x="2253" y="506"/>
                </a:lnTo>
                <a:cubicBezTo>
                  <a:pt x="2252" y="506"/>
                  <a:pt x="2251" y="507"/>
                  <a:pt x="2250" y="508"/>
                </a:cubicBezTo>
                <a:cubicBezTo>
                  <a:pt x="2248" y="511"/>
                  <a:pt x="2243" y="521"/>
                  <a:pt x="2235" y="539"/>
                </a:cubicBezTo>
                <a:cubicBezTo>
                  <a:pt x="2220" y="572"/>
                  <a:pt x="2210" y="596"/>
                  <a:pt x="2205" y="610"/>
                </a:cubicBezTo>
                <a:cubicBezTo>
                  <a:pt x="2201" y="622"/>
                  <a:pt x="2195" y="640"/>
                  <a:pt x="2188" y="663"/>
                </a:cubicBezTo>
                <a:lnTo>
                  <a:pt x="2188" y="664"/>
                </a:lnTo>
                <a:cubicBezTo>
                  <a:pt x="2180" y="688"/>
                  <a:pt x="2177" y="701"/>
                  <a:pt x="2177" y="705"/>
                </a:cubicBezTo>
                <a:cubicBezTo>
                  <a:pt x="2177" y="705"/>
                  <a:pt x="2177" y="706"/>
                  <a:pt x="2177" y="706"/>
                </a:cubicBezTo>
                <a:cubicBezTo>
                  <a:pt x="2178" y="706"/>
                  <a:pt x="2178" y="705"/>
                  <a:pt x="2180" y="704"/>
                </a:cubicBezTo>
                <a:cubicBezTo>
                  <a:pt x="2182" y="702"/>
                  <a:pt x="2184" y="701"/>
                  <a:pt x="2185" y="701"/>
                </a:cubicBezTo>
                <a:cubicBezTo>
                  <a:pt x="2185" y="701"/>
                  <a:pt x="2185" y="701"/>
                  <a:pt x="2185" y="699"/>
                </a:cubicBezTo>
                <a:cubicBezTo>
                  <a:pt x="2185" y="698"/>
                  <a:pt x="2186" y="698"/>
                  <a:pt x="2188" y="698"/>
                </a:cubicBezTo>
                <a:cubicBezTo>
                  <a:pt x="2190" y="698"/>
                  <a:pt x="2191" y="697"/>
                  <a:pt x="2192" y="696"/>
                </a:cubicBezTo>
                <a:cubicBezTo>
                  <a:pt x="2192" y="695"/>
                  <a:pt x="2194" y="693"/>
                  <a:pt x="2197" y="690"/>
                </a:cubicBezTo>
                <a:cubicBezTo>
                  <a:pt x="2206" y="681"/>
                  <a:pt x="2213" y="676"/>
                  <a:pt x="2217" y="672"/>
                </a:cubicBezTo>
                <a:lnTo>
                  <a:pt x="2222" y="669"/>
                </a:lnTo>
                <a:cubicBezTo>
                  <a:pt x="2222" y="669"/>
                  <a:pt x="2222" y="669"/>
                  <a:pt x="2222" y="669"/>
                </a:cubicBezTo>
                <a:cubicBezTo>
                  <a:pt x="2223" y="669"/>
                  <a:pt x="2224" y="669"/>
                  <a:pt x="2225" y="667"/>
                </a:cubicBezTo>
                <a:cubicBezTo>
                  <a:pt x="2227" y="666"/>
                  <a:pt x="2227" y="665"/>
                  <a:pt x="2227" y="664"/>
                </a:cubicBezTo>
                <a:lnTo>
                  <a:pt x="2227" y="663"/>
                </a:lnTo>
                <a:cubicBezTo>
                  <a:pt x="2227" y="661"/>
                  <a:pt x="2231" y="656"/>
                  <a:pt x="2239" y="649"/>
                </a:cubicBezTo>
                <a:cubicBezTo>
                  <a:pt x="2247" y="642"/>
                  <a:pt x="2252" y="638"/>
                  <a:pt x="2254" y="638"/>
                </a:cubicBezTo>
                <a:cubicBezTo>
                  <a:pt x="2256" y="638"/>
                  <a:pt x="2258" y="636"/>
                  <a:pt x="2260" y="631"/>
                </a:cubicBezTo>
                <a:cubicBezTo>
                  <a:pt x="2263" y="627"/>
                  <a:pt x="2264" y="625"/>
                  <a:pt x="2265" y="625"/>
                </a:cubicBezTo>
                <a:cubicBezTo>
                  <a:pt x="2266" y="625"/>
                  <a:pt x="2269" y="622"/>
                  <a:pt x="2275" y="616"/>
                </a:cubicBezTo>
                <a:cubicBezTo>
                  <a:pt x="2295" y="597"/>
                  <a:pt x="2308" y="585"/>
                  <a:pt x="2313" y="582"/>
                </a:cubicBezTo>
                <a:cubicBezTo>
                  <a:pt x="2316" y="580"/>
                  <a:pt x="2318" y="579"/>
                  <a:pt x="2318" y="578"/>
                </a:cubicBezTo>
                <a:cubicBezTo>
                  <a:pt x="2318" y="578"/>
                  <a:pt x="2318" y="577"/>
                  <a:pt x="2319" y="576"/>
                </a:cubicBezTo>
                <a:cubicBezTo>
                  <a:pt x="2320" y="575"/>
                  <a:pt x="2321" y="575"/>
                  <a:pt x="2323" y="575"/>
                </a:cubicBezTo>
                <a:cubicBezTo>
                  <a:pt x="2323" y="575"/>
                  <a:pt x="2323" y="575"/>
                  <a:pt x="2323" y="575"/>
                </a:cubicBezTo>
                <a:cubicBezTo>
                  <a:pt x="2323" y="576"/>
                  <a:pt x="2323" y="576"/>
                  <a:pt x="2322" y="577"/>
                </a:cubicBezTo>
                <a:cubicBezTo>
                  <a:pt x="2321" y="579"/>
                  <a:pt x="2320" y="581"/>
                  <a:pt x="2320" y="583"/>
                </a:cubicBezTo>
                <a:cubicBezTo>
                  <a:pt x="2320" y="585"/>
                  <a:pt x="2321" y="586"/>
                  <a:pt x="2324" y="586"/>
                </a:cubicBezTo>
                <a:cubicBezTo>
                  <a:pt x="2325" y="586"/>
                  <a:pt x="2327" y="585"/>
                  <a:pt x="2329" y="583"/>
                </a:cubicBezTo>
                <a:cubicBezTo>
                  <a:pt x="2331" y="581"/>
                  <a:pt x="2331" y="580"/>
                  <a:pt x="2331" y="579"/>
                </a:cubicBezTo>
                <a:cubicBezTo>
                  <a:pt x="2331" y="577"/>
                  <a:pt x="2331" y="576"/>
                  <a:pt x="2329" y="576"/>
                </a:cubicBezTo>
                <a:cubicBezTo>
                  <a:pt x="2329" y="576"/>
                  <a:pt x="2328" y="577"/>
                  <a:pt x="2328" y="577"/>
                </a:cubicBezTo>
                <a:lnTo>
                  <a:pt x="2330" y="580"/>
                </a:lnTo>
                <a:lnTo>
                  <a:pt x="2326" y="579"/>
                </a:lnTo>
                <a:lnTo>
                  <a:pt x="2328" y="582"/>
                </a:lnTo>
                <a:cubicBezTo>
                  <a:pt x="2328" y="582"/>
                  <a:pt x="2328" y="583"/>
                  <a:pt x="2328" y="583"/>
                </a:cubicBezTo>
                <a:cubicBezTo>
                  <a:pt x="2327" y="583"/>
                  <a:pt x="2327" y="582"/>
                  <a:pt x="2326" y="582"/>
                </a:cubicBezTo>
                <a:cubicBezTo>
                  <a:pt x="2325" y="581"/>
                  <a:pt x="2324" y="580"/>
                  <a:pt x="2324" y="580"/>
                </a:cubicBezTo>
                <a:cubicBezTo>
                  <a:pt x="2324" y="579"/>
                  <a:pt x="2325" y="578"/>
                  <a:pt x="2326" y="578"/>
                </a:cubicBezTo>
                <a:cubicBezTo>
                  <a:pt x="2326" y="577"/>
                  <a:pt x="2326" y="576"/>
                  <a:pt x="2327" y="576"/>
                </a:cubicBezTo>
                <a:cubicBezTo>
                  <a:pt x="2327" y="576"/>
                  <a:pt x="2327" y="575"/>
                  <a:pt x="2327" y="573"/>
                </a:cubicBezTo>
                <a:lnTo>
                  <a:pt x="2327" y="573"/>
                </a:lnTo>
                <a:cubicBezTo>
                  <a:pt x="2327" y="572"/>
                  <a:pt x="2329" y="570"/>
                  <a:pt x="2333" y="567"/>
                </a:cubicBezTo>
                <a:lnTo>
                  <a:pt x="2338" y="563"/>
                </a:lnTo>
                <a:lnTo>
                  <a:pt x="2334" y="567"/>
                </a:lnTo>
                <a:cubicBezTo>
                  <a:pt x="2331" y="569"/>
                  <a:pt x="2330" y="571"/>
                  <a:pt x="2330" y="572"/>
                </a:cubicBezTo>
                <a:cubicBezTo>
                  <a:pt x="2330" y="573"/>
                  <a:pt x="2332" y="573"/>
                  <a:pt x="2336" y="573"/>
                </a:cubicBezTo>
                <a:cubicBezTo>
                  <a:pt x="2342" y="573"/>
                  <a:pt x="2345" y="572"/>
                  <a:pt x="2345" y="570"/>
                </a:cubicBezTo>
                <a:cubicBezTo>
                  <a:pt x="2345" y="570"/>
                  <a:pt x="2345" y="569"/>
                  <a:pt x="2344" y="568"/>
                </a:cubicBezTo>
                <a:cubicBezTo>
                  <a:pt x="2343" y="568"/>
                  <a:pt x="2342" y="567"/>
                  <a:pt x="2342" y="567"/>
                </a:cubicBezTo>
                <a:lnTo>
                  <a:pt x="2343" y="571"/>
                </a:lnTo>
                <a:cubicBezTo>
                  <a:pt x="2343" y="571"/>
                  <a:pt x="2342" y="571"/>
                  <a:pt x="2341" y="570"/>
                </a:cubicBezTo>
                <a:cubicBezTo>
                  <a:pt x="2340" y="570"/>
                  <a:pt x="2339" y="569"/>
                  <a:pt x="2339" y="568"/>
                </a:cubicBezTo>
                <a:cubicBezTo>
                  <a:pt x="2339" y="567"/>
                  <a:pt x="2342" y="566"/>
                  <a:pt x="2348" y="566"/>
                </a:cubicBezTo>
                <a:cubicBezTo>
                  <a:pt x="2352" y="566"/>
                  <a:pt x="2354" y="565"/>
                  <a:pt x="2354" y="564"/>
                </a:cubicBezTo>
                <a:cubicBezTo>
                  <a:pt x="2354" y="563"/>
                  <a:pt x="2356" y="562"/>
                  <a:pt x="2358" y="561"/>
                </a:cubicBezTo>
                <a:cubicBezTo>
                  <a:pt x="2361" y="561"/>
                  <a:pt x="2363" y="560"/>
                  <a:pt x="2363" y="559"/>
                </a:cubicBezTo>
                <a:lnTo>
                  <a:pt x="2361" y="556"/>
                </a:lnTo>
                <a:cubicBezTo>
                  <a:pt x="2361" y="555"/>
                  <a:pt x="2362" y="555"/>
                  <a:pt x="2364" y="555"/>
                </a:cubicBezTo>
                <a:cubicBezTo>
                  <a:pt x="2368" y="555"/>
                  <a:pt x="2373" y="556"/>
                  <a:pt x="2381" y="560"/>
                </a:cubicBezTo>
                <a:cubicBezTo>
                  <a:pt x="2388" y="563"/>
                  <a:pt x="2394" y="567"/>
                  <a:pt x="2398" y="571"/>
                </a:cubicBezTo>
                <a:lnTo>
                  <a:pt x="2403" y="577"/>
                </a:lnTo>
                <a:lnTo>
                  <a:pt x="2401" y="577"/>
                </a:lnTo>
                <a:cubicBezTo>
                  <a:pt x="2400" y="577"/>
                  <a:pt x="2400" y="577"/>
                  <a:pt x="2399" y="578"/>
                </a:cubicBezTo>
                <a:lnTo>
                  <a:pt x="2399" y="578"/>
                </a:lnTo>
                <a:cubicBezTo>
                  <a:pt x="2399" y="579"/>
                  <a:pt x="2400" y="579"/>
                  <a:pt x="2401" y="579"/>
                </a:cubicBezTo>
                <a:cubicBezTo>
                  <a:pt x="2407" y="579"/>
                  <a:pt x="2410" y="580"/>
                  <a:pt x="2410" y="583"/>
                </a:cubicBezTo>
                <a:lnTo>
                  <a:pt x="2408" y="581"/>
                </a:lnTo>
                <a:lnTo>
                  <a:pt x="2407" y="581"/>
                </a:lnTo>
                <a:cubicBezTo>
                  <a:pt x="2407" y="582"/>
                  <a:pt x="2409" y="584"/>
                  <a:pt x="2412" y="587"/>
                </a:cubicBezTo>
                <a:cubicBezTo>
                  <a:pt x="2419" y="594"/>
                  <a:pt x="2426" y="610"/>
                  <a:pt x="2432" y="634"/>
                </a:cubicBezTo>
                <a:cubicBezTo>
                  <a:pt x="2434" y="643"/>
                  <a:pt x="2437" y="652"/>
                  <a:pt x="2440" y="661"/>
                </a:cubicBezTo>
                <a:cubicBezTo>
                  <a:pt x="2447" y="676"/>
                  <a:pt x="2452" y="683"/>
                  <a:pt x="2456" y="683"/>
                </a:cubicBezTo>
                <a:cubicBezTo>
                  <a:pt x="2457" y="683"/>
                  <a:pt x="2457" y="683"/>
                  <a:pt x="2457" y="683"/>
                </a:cubicBezTo>
                <a:cubicBezTo>
                  <a:pt x="2457" y="681"/>
                  <a:pt x="2456" y="679"/>
                  <a:pt x="2453" y="676"/>
                </a:cubicBezTo>
                <a:cubicBezTo>
                  <a:pt x="2450" y="672"/>
                  <a:pt x="2448" y="667"/>
                  <a:pt x="2445" y="662"/>
                </a:cubicBezTo>
                <a:cubicBezTo>
                  <a:pt x="2443" y="658"/>
                  <a:pt x="2442" y="655"/>
                  <a:pt x="2442" y="653"/>
                </a:cubicBezTo>
                <a:lnTo>
                  <a:pt x="2442" y="653"/>
                </a:lnTo>
                <a:cubicBezTo>
                  <a:pt x="2443" y="653"/>
                  <a:pt x="2445" y="656"/>
                  <a:pt x="2448" y="662"/>
                </a:cubicBezTo>
                <a:cubicBezTo>
                  <a:pt x="2450" y="665"/>
                  <a:pt x="2451" y="668"/>
                  <a:pt x="2453" y="670"/>
                </a:cubicBezTo>
                <a:lnTo>
                  <a:pt x="2456" y="673"/>
                </a:lnTo>
                <a:lnTo>
                  <a:pt x="2456" y="673"/>
                </a:lnTo>
                <a:cubicBezTo>
                  <a:pt x="2457" y="673"/>
                  <a:pt x="2457" y="674"/>
                  <a:pt x="2457" y="676"/>
                </a:cubicBezTo>
                <a:cubicBezTo>
                  <a:pt x="2457" y="679"/>
                  <a:pt x="2460" y="681"/>
                  <a:pt x="2465" y="684"/>
                </a:cubicBezTo>
                <a:cubicBezTo>
                  <a:pt x="2471" y="687"/>
                  <a:pt x="2477" y="689"/>
                  <a:pt x="2483" y="690"/>
                </a:cubicBezTo>
                <a:cubicBezTo>
                  <a:pt x="2490" y="690"/>
                  <a:pt x="2493" y="689"/>
                  <a:pt x="2493" y="688"/>
                </a:cubicBezTo>
                <a:cubicBezTo>
                  <a:pt x="2493" y="687"/>
                  <a:pt x="2495" y="687"/>
                  <a:pt x="2497" y="687"/>
                </a:cubicBezTo>
                <a:lnTo>
                  <a:pt x="2500" y="688"/>
                </a:lnTo>
                <a:cubicBezTo>
                  <a:pt x="2501" y="688"/>
                  <a:pt x="2502" y="687"/>
                  <a:pt x="2502" y="686"/>
                </a:cubicBezTo>
                <a:cubicBezTo>
                  <a:pt x="2502" y="685"/>
                  <a:pt x="2503" y="685"/>
                  <a:pt x="2505" y="685"/>
                </a:cubicBezTo>
                <a:lnTo>
                  <a:pt x="2507" y="686"/>
                </a:lnTo>
                <a:cubicBezTo>
                  <a:pt x="2508" y="686"/>
                  <a:pt x="2509" y="685"/>
                  <a:pt x="2509" y="684"/>
                </a:cubicBezTo>
                <a:cubicBezTo>
                  <a:pt x="2509" y="683"/>
                  <a:pt x="2509" y="683"/>
                  <a:pt x="2511" y="683"/>
                </a:cubicBezTo>
                <a:lnTo>
                  <a:pt x="2512" y="683"/>
                </a:lnTo>
                <a:cubicBezTo>
                  <a:pt x="2512" y="683"/>
                  <a:pt x="2513" y="682"/>
                  <a:pt x="2513" y="681"/>
                </a:cubicBezTo>
                <a:cubicBezTo>
                  <a:pt x="2513" y="681"/>
                  <a:pt x="2514" y="680"/>
                  <a:pt x="2517" y="680"/>
                </a:cubicBezTo>
                <a:lnTo>
                  <a:pt x="2518" y="681"/>
                </a:lnTo>
                <a:cubicBezTo>
                  <a:pt x="2520" y="681"/>
                  <a:pt x="2522" y="679"/>
                  <a:pt x="2524" y="677"/>
                </a:cubicBezTo>
                <a:cubicBezTo>
                  <a:pt x="2525" y="674"/>
                  <a:pt x="2528" y="673"/>
                  <a:pt x="2530" y="673"/>
                </a:cubicBezTo>
                <a:lnTo>
                  <a:pt x="2532" y="674"/>
                </a:lnTo>
                <a:cubicBezTo>
                  <a:pt x="2533" y="674"/>
                  <a:pt x="2534" y="673"/>
                  <a:pt x="2534" y="672"/>
                </a:cubicBezTo>
                <a:lnTo>
                  <a:pt x="2534" y="671"/>
                </a:lnTo>
                <a:cubicBezTo>
                  <a:pt x="2534" y="670"/>
                  <a:pt x="2535" y="669"/>
                  <a:pt x="2538" y="669"/>
                </a:cubicBezTo>
                <a:cubicBezTo>
                  <a:pt x="2540" y="669"/>
                  <a:pt x="2542" y="669"/>
                  <a:pt x="2542" y="668"/>
                </a:cubicBezTo>
                <a:lnTo>
                  <a:pt x="2542" y="667"/>
                </a:lnTo>
                <a:cubicBezTo>
                  <a:pt x="2542" y="666"/>
                  <a:pt x="2543" y="666"/>
                  <a:pt x="2545" y="666"/>
                </a:cubicBezTo>
                <a:cubicBezTo>
                  <a:pt x="2546" y="665"/>
                  <a:pt x="2547" y="665"/>
                  <a:pt x="2547" y="665"/>
                </a:cubicBezTo>
                <a:cubicBezTo>
                  <a:pt x="2547" y="664"/>
                  <a:pt x="2547" y="664"/>
                  <a:pt x="2545" y="663"/>
                </a:cubicBezTo>
                <a:cubicBezTo>
                  <a:pt x="2544" y="662"/>
                  <a:pt x="2544" y="661"/>
                  <a:pt x="2544" y="661"/>
                </a:cubicBezTo>
                <a:lnTo>
                  <a:pt x="2548" y="661"/>
                </a:lnTo>
                <a:lnTo>
                  <a:pt x="2551" y="662"/>
                </a:lnTo>
                <a:cubicBezTo>
                  <a:pt x="2552" y="662"/>
                  <a:pt x="2553" y="661"/>
                  <a:pt x="2553" y="661"/>
                </a:cubicBezTo>
                <a:lnTo>
                  <a:pt x="2552" y="659"/>
                </a:lnTo>
                <a:cubicBezTo>
                  <a:pt x="2552" y="656"/>
                  <a:pt x="2554" y="655"/>
                  <a:pt x="2556" y="655"/>
                </a:cubicBezTo>
                <a:cubicBezTo>
                  <a:pt x="2556" y="655"/>
                  <a:pt x="2556" y="655"/>
                  <a:pt x="2556" y="656"/>
                </a:cubicBezTo>
                <a:cubicBezTo>
                  <a:pt x="2556" y="657"/>
                  <a:pt x="2557" y="657"/>
                  <a:pt x="2557" y="657"/>
                </a:cubicBezTo>
                <a:cubicBezTo>
                  <a:pt x="2557" y="657"/>
                  <a:pt x="2558" y="657"/>
                  <a:pt x="2560" y="655"/>
                </a:cubicBezTo>
                <a:cubicBezTo>
                  <a:pt x="2561" y="654"/>
                  <a:pt x="2562" y="653"/>
                  <a:pt x="2562" y="652"/>
                </a:cubicBezTo>
                <a:lnTo>
                  <a:pt x="2561" y="651"/>
                </a:lnTo>
                <a:cubicBezTo>
                  <a:pt x="2561" y="650"/>
                  <a:pt x="2563" y="649"/>
                  <a:pt x="2568" y="649"/>
                </a:cubicBezTo>
                <a:cubicBezTo>
                  <a:pt x="2569" y="649"/>
                  <a:pt x="2570" y="648"/>
                  <a:pt x="2571" y="645"/>
                </a:cubicBezTo>
                <a:cubicBezTo>
                  <a:pt x="2572" y="643"/>
                  <a:pt x="2574" y="642"/>
                  <a:pt x="2575" y="642"/>
                </a:cubicBezTo>
                <a:cubicBezTo>
                  <a:pt x="2575" y="642"/>
                  <a:pt x="2576" y="642"/>
                  <a:pt x="2577" y="643"/>
                </a:cubicBezTo>
                <a:cubicBezTo>
                  <a:pt x="2578" y="644"/>
                  <a:pt x="2579" y="646"/>
                  <a:pt x="2579" y="648"/>
                </a:cubicBezTo>
                <a:lnTo>
                  <a:pt x="2578" y="649"/>
                </a:lnTo>
                <a:cubicBezTo>
                  <a:pt x="2579" y="649"/>
                  <a:pt x="2579" y="649"/>
                  <a:pt x="2581" y="647"/>
                </a:cubicBezTo>
                <a:cubicBezTo>
                  <a:pt x="2582" y="646"/>
                  <a:pt x="2583" y="646"/>
                  <a:pt x="2585" y="646"/>
                </a:cubicBezTo>
                <a:lnTo>
                  <a:pt x="2587" y="646"/>
                </a:lnTo>
                <a:lnTo>
                  <a:pt x="2586" y="645"/>
                </a:lnTo>
                <a:cubicBezTo>
                  <a:pt x="2585" y="644"/>
                  <a:pt x="2584" y="644"/>
                  <a:pt x="2584" y="643"/>
                </a:cubicBezTo>
                <a:cubicBezTo>
                  <a:pt x="2584" y="641"/>
                  <a:pt x="2585" y="639"/>
                  <a:pt x="2587" y="639"/>
                </a:cubicBezTo>
                <a:cubicBezTo>
                  <a:pt x="2588" y="639"/>
                  <a:pt x="2588" y="639"/>
                  <a:pt x="2589" y="640"/>
                </a:cubicBezTo>
                <a:cubicBezTo>
                  <a:pt x="2589" y="640"/>
                  <a:pt x="2590" y="641"/>
                  <a:pt x="2593" y="642"/>
                </a:cubicBezTo>
                <a:cubicBezTo>
                  <a:pt x="2593" y="641"/>
                  <a:pt x="2593" y="641"/>
                  <a:pt x="2592" y="640"/>
                </a:cubicBezTo>
                <a:cubicBezTo>
                  <a:pt x="2591" y="639"/>
                  <a:pt x="2590" y="639"/>
                  <a:pt x="2589" y="638"/>
                </a:cubicBezTo>
                <a:cubicBezTo>
                  <a:pt x="2587" y="637"/>
                  <a:pt x="2586" y="637"/>
                  <a:pt x="2586" y="637"/>
                </a:cubicBezTo>
                <a:cubicBezTo>
                  <a:pt x="2584" y="637"/>
                  <a:pt x="2583" y="638"/>
                  <a:pt x="2582" y="641"/>
                </a:cubicBezTo>
                <a:cubicBezTo>
                  <a:pt x="2582" y="643"/>
                  <a:pt x="2581" y="644"/>
                  <a:pt x="2581" y="644"/>
                </a:cubicBezTo>
                <a:cubicBezTo>
                  <a:pt x="2581" y="644"/>
                  <a:pt x="2580" y="643"/>
                  <a:pt x="2580" y="641"/>
                </a:cubicBezTo>
                <a:cubicBezTo>
                  <a:pt x="2580" y="640"/>
                  <a:pt x="2581" y="638"/>
                  <a:pt x="2582" y="637"/>
                </a:cubicBezTo>
                <a:cubicBezTo>
                  <a:pt x="2582" y="635"/>
                  <a:pt x="2584" y="633"/>
                  <a:pt x="2585" y="632"/>
                </a:cubicBezTo>
                <a:cubicBezTo>
                  <a:pt x="2587" y="630"/>
                  <a:pt x="2588" y="630"/>
                  <a:pt x="2588" y="630"/>
                </a:cubicBezTo>
                <a:cubicBezTo>
                  <a:pt x="2588" y="630"/>
                  <a:pt x="2589" y="630"/>
                  <a:pt x="2589" y="630"/>
                </a:cubicBezTo>
                <a:lnTo>
                  <a:pt x="2588" y="631"/>
                </a:lnTo>
                <a:cubicBezTo>
                  <a:pt x="2587" y="632"/>
                  <a:pt x="2587" y="632"/>
                  <a:pt x="2587" y="632"/>
                </a:cubicBezTo>
                <a:cubicBezTo>
                  <a:pt x="2587" y="633"/>
                  <a:pt x="2587" y="633"/>
                  <a:pt x="2587" y="633"/>
                </a:cubicBezTo>
                <a:cubicBezTo>
                  <a:pt x="2588" y="633"/>
                  <a:pt x="2590" y="632"/>
                  <a:pt x="2593" y="629"/>
                </a:cubicBezTo>
                <a:cubicBezTo>
                  <a:pt x="2596" y="626"/>
                  <a:pt x="2598" y="623"/>
                  <a:pt x="2601" y="619"/>
                </a:cubicBezTo>
                <a:cubicBezTo>
                  <a:pt x="2605" y="613"/>
                  <a:pt x="2609" y="609"/>
                  <a:pt x="2611" y="607"/>
                </a:cubicBezTo>
                <a:cubicBezTo>
                  <a:pt x="2614" y="606"/>
                  <a:pt x="2616" y="604"/>
                  <a:pt x="2617" y="601"/>
                </a:cubicBezTo>
                <a:cubicBezTo>
                  <a:pt x="2618" y="598"/>
                  <a:pt x="2619" y="597"/>
                  <a:pt x="2620" y="596"/>
                </a:cubicBezTo>
                <a:lnTo>
                  <a:pt x="2621" y="595"/>
                </a:lnTo>
                <a:lnTo>
                  <a:pt x="2619" y="599"/>
                </a:lnTo>
                <a:cubicBezTo>
                  <a:pt x="2619" y="599"/>
                  <a:pt x="2619" y="599"/>
                  <a:pt x="2620" y="599"/>
                </a:cubicBezTo>
                <a:cubicBezTo>
                  <a:pt x="2621" y="599"/>
                  <a:pt x="2622" y="598"/>
                  <a:pt x="2624" y="595"/>
                </a:cubicBezTo>
                <a:lnTo>
                  <a:pt x="2625" y="592"/>
                </a:lnTo>
                <a:cubicBezTo>
                  <a:pt x="2625" y="590"/>
                  <a:pt x="2626" y="589"/>
                  <a:pt x="2629" y="587"/>
                </a:cubicBezTo>
                <a:cubicBezTo>
                  <a:pt x="2632" y="585"/>
                  <a:pt x="2634" y="582"/>
                  <a:pt x="2636" y="577"/>
                </a:cubicBezTo>
                <a:cubicBezTo>
                  <a:pt x="2636" y="576"/>
                  <a:pt x="2637" y="575"/>
                  <a:pt x="2637" y="574"/>
                </a:cubicBezTo>
                <a:cubicBezTo>
                  <a:pt x="2637" y="574"/>
                  <a:pt x="2638" y="573"/>
                  <a:pt x="2639" y="572"/>
                </a:cubicBezTo>
                <a:lnTo>
                  <a:pt x="2639" y="572"/>
                </a:lnTo>
                <a:cubicBezTo>
                  <a:pt x="2640" y="572"/>
                  <a:pt x="2641" y="572"/>
                  <a:pt x="2643" y="570"/>
                </a:cubicBezTo>
                <a:cubicBezTo>
                  <a:pt x="2644" y="569"/>
                  <a:pt x="2644" y="568"/>
                  <a:pt x="2644" y="567"/>
                </a:cubicBezTo>
                <a:lnTo>
                  <a:pt x="2644" y="567"/>
                </a:lnTo>
                <a:cubicBezTo>
                  <a:pt x="2644" y="566"/>
                  <a:pt x="2645" y="565"/>
                  <a:pt x="2647" y="564"/>
                </a:cubicBezTo>
                <a:cubicBezTo>
                  <a:pt x="2649" y="562"/>
                  <a:pt x="2650" y="561"/>
                  <a:pt x="2650" y="559"/>
                </a:cubicBezTo>
                <a:cubicBezTo>
                  <a:pt x="2650" y="557"/>
                  <a:pt x="2650" y="556"/>
                  <a:pt x="2651" y="556"/>
                </a:cubicBezTo>
                <a:lnTo>
                  <a:pt x="2654" y="557"/>
                </a:lnTo>
                <a:cubicBezTo>
                  <a:pt x="2656" y="557"/>
                  <a:pt x="2656" y="556"/>
                  <a:pt x="2656" y="554"/>
                </a:cubicBezTo>
                <a:cubicBezTo>
                  <a:pt x="2656" y="553"/>
                  <a:pt x="2657" y="552"/>
                  <a:pt x="2658" y="552"/>
                </a:cubicBezTo>
                <a:lnTo>
                  <a:pt x="2659" y="552"/>
                </a:lnTo>
                <a:cubicBezTo>
                  <a:pt x="2659" y="552"/>
                  <a:pt x="2659" y="551"/>
                  <a:pt x="2659" y="551"/>
                </a:cubicBezTo>
                <a:lnTo>
                  <a:pt x="2659" y="549"/>
                </a:lnTo>
                <a:cubicBezTo>
                  <a:pt x="2659" y="546"/>
                  <a:pt x="2661" y="544"/>
                  <a:pt x="2663" y="542"/>
                </a:cubicBezTo>
                <a:cubicBezTo>
                  <a:pt x="2666" y="540"/>
                  <a:pt x="2668" y="539"/>
                  <a:pt x="2670" y="539"/>
                </a:cubicBezTo>
                <a:lnTo>
                  <a:pt x="2670" y="541"/>
                </a:lnTo>
                <a:cubicBezTo>
                  <a:pt x="2670" y="543"/>
                  <a:pt x="2669" y="547"/>
                  <a:pt x="2669" y="553"/>
                </a:cubicBezTo>
                <a:cubicBezTo>
                  <a:pt x="2664" y="579"/>
                  <a:pt x="2646" y="608"/>
                  <a:pt x="2613" y="639"/>
                </a:cubicBezTo>
                <a:cubicBezTo>
                  <a:pt x="2581" y="669"/>
                  <a:pt x="2547" y="691"/>
                  <a:pt x="2512" y="703"/>
                </a:cubicBezTo>
                <a:cubicBezTo>
                  <a:pt x="2505" y="705"/>
                  <a:pt x="2498" y="706"/>
                  <a:pt x="2490" y="706"/>
                </a:cubicBezTo>
                <a:cubicBezTo>
                  <a:pt x="2481" y="706"/>
                  <a:pt x="2472" y="705"/>
                  <a:pt x="2464" y="703"/>
                </a:cubicBezTo>
                <a:cubicBezTo>
                  <a:pt x="2455" y="701"/>
                  <a:pt x="2449" y="697"/>
                  <a:pt x="2446" y="693"/>
                </a:cubicBezTo>
                <a:lnTo>
                  <a:pt x="2439" y="688"/>
                </a:lnTo>
                <a:cubicBezTo>
                  <a:pt x="2435" y="686"/>
                  <a:pt x="2432" y="683"/>
                  <a:pt x="2430" y="679"/>
                </a:cubicBezTo>
                <a:cubicBezTo>
                  <a:pt x="2428" y="676"/>
                  <a:pt x="2425" y="674"/>
                  <a:pt x="2423" y="674"/>
                </a:cubicBezTo>
                <a:lnTo>
                  <a:pt x="2422" y="674"/>
                </a:lnTo>
                <a:cubicBezTo>
                  <a:pt x="2422" y="674"/>
                  <a:pt x="2422" y="674"/>
                  <a:pt x="2422" y="674"/>
                </a:cubicBezTo>
                <a:lnTo>
                  <a:pt x="2423" y="671"/>
                </a:lnTo>
                <a:cubicBezTo>
                  <a:pt x="2423" y="670"/>
                  <a:pt x="2422" y="669"/>
                  <a:pt x="2421" y="668"/>
                </a:cubicBezTo>
                <a:cubicBezTo>
                  <a:pt x="2419" y="667"/>
                  <a:pt x="2417" y="664"/>
                  <a:pt x="2415" y="661"/>
                </a:cubicBezTo>
                <a:cubicBezTo>
                  <a:pt x="2413" y="657"/>
                  <a:pt x="2412" y="654"/>
                  <a:pt x="2412" y="652"/>
                </a:cubicBezTo>
                <a:cubicBezTo>
                  <a:pt x="2412" y="650"/>
                  <a:pt x="2413" y="649"/>
                  <a:pt x="2413" y="649"/>
                </a:cubicBezTo>
                <a:cubicBezTo>
                  <a:pt x="2414" y="649"/>
                  <a:pt x="2415" y="648"/>
                  <a:pt x="2415" y="648"/>
                </a:cubicBezTo>
                <a:cubicBezTo>
                  <a:pt x="2415" y="647"/>
                  <a:pt x="2414" y="647"/>
                  <a:pt x="2412" y="647"/>
                </a:cubicBezTo>
                <a:lnTo>
                  <a:pt x="2410" y="647"/>
                </a:lnTo>
                <a:cubicBezTo>
                  <a:pt x="2409" y="647"/>
                  <a:pt x="2408" y="646"/>
                  <a:pt x="2408" y="644"/>
                </a:cubicBezTo>
                <a:cubicBezTo>
                  <a:pt x="2408" y="643"/>
                  <a:pt x="2409" y="643"/>
                  <a:pt x="2411" y="643"/>
                </a:cubicBezTo>
                <a:cubicBezTo>
                  <a:pt x="2413" y="643"/>
                  <a:pt x="2414" y="642"/>
                  <a:pt x="2414" y="641"/>
                </a:cubicBezTo>
                <a:cubicBezTo>
                  <a:pt x="2414" y="640"/>
                  <a:pt x="2414" y="639"/>
                  <a:pt x="2413" y="638"/>
                </a:cubicBezTo>
                <a:cubicBezTo>
                  <a:pt x="2413" y="637"/>
                  <a:pt x="2413" y="637"/>
                  <a:pt x="2412" y="637"/>
                </a:cubicBezTo>
                <a:cubicBezTo>
                  <a:pt x="2412" y="637"/>
                  <a:pt x="2411" y="637"/>
                  <a:pt x="2411" y="638"/>
                </a:cubicBezTo>
                <a:cubicBezTo>
                  <a:pt x="2411" y="639"/>
                  <a:pt x="2410" y="640"/>
                  <a:pt x="2409" y="640"/>
                </a:cubicBezTo>
                <a:cubicBezTo>
                  <a:pt x="2407" y="640"/>
                  <a:pt x="2405" y="634"/>
                  <a:pt x="2402" y="624"/>
                </a:cubicBezTo>
                <a:cubicBezTo>
                  <a:pt x="2399" y="613"/>
                  <a:pt x="2396" y="607"/>
                  <a:pt x="2395" y="607"/>
                </a:cubicBezTo>
                <a:lnTo>
                  <a:pt x="2394" y="608"/>
                </a:lnTo>
                <a:cubicBezTo>
                  <a:pt x="2394" y="607"/>
                  <a:pt x="2394" y="607"/>
                  <a:pt x="2395" y="606"/>
                </a:cubicBezTo>
                <a:cubicBezTo>
                  <a:pt x="2395" y="605"/>
                  <a:pt x="2395" y="604"/>
                  <a:pt x="2395" y="603"/>
                </a:cubicBezTo>
                <a:lnTo>
                  <a:pt x="2395" y="597"/>
                </a:lnTo>
                <a:cubicBezTo>
                  <a:pt x="2394" y="593"/>
                  <a:pt x="2393" y="591"/>
                  <a:pt x="2392" y="591"/>
                </a:cubicBezTo>
                <a:lnTo>
                  <a:pt x="2391" y="591"/>
                </a:lnTo>
                <a:cubicBezTo>
                  <a:pt x="2390" y="591"/>
                  <a:pt x="2390" y="590"/>
                  <a:pt x="2390" y="589"/>
                </a:cubicBezTo>
                <a:lnTo>
                  <a:pt x="2391" y="586"/>
                </a:lnTo>
                <a:cubicBezTo>
                  <a:pt x="2391" y="585"/>
                  <a:pt x="2390" y="585"/>
                  <a:pt x="2389" y="585"/>
                </a:cubicBezTo>
                <a:cubicBezTo>
                  <a:pt x="2385" y="585"/>
                  <a:pt x="2373" y="593"/>
                  <a:pt x="2353" y="609"/>
                </a:cubicBezTo>
                <a:cubicBezTo>
                  <a:pt x="2333" y="626"/>
                  <a:pt x="2311" y="647"/>
                  <a:pt x="2286" y="672"/>
                </a:cubicBezTo>
                <a:cubicBezTo>
                  <a:pt x="2259" y="699"/>
                  <a:pt x="2244" y="714"/>
                  <a:pt x="2240" y="717"/>
                </a:cubicBezTo>
                <a:cubicBezTo>
                  <a:pt x="2219" y="736"/>
                  <a:pt x="2208" y="746"/>
                  <a:pt x="2205" y="746"/>
                </a:cubicBezTo>
                <a:cubicBezTo>
                  <a:pt x="2203" y="746"/>
                  <a:pt x="2202" y="746"/>
                  <a:pt x="2202" y="747"/>
                </a:cubicBezTo>
                <a:cubicBezTo>
                  <a:pt x="2202" y="749"/>
                  <a:pt x="2200" y="750"/>
                  <a:pt x="2196" y="753"/>
                </a:cubicBezTo>
                <a:cubicBezTo>
                  <a:pt x="2192" y="755"/>
                  <a:pt x="2190" y="756"/>
                  <a:pt x="2189" y="756"/>
                </a:cubicBezTo>
                <a:cubicBezTo>
                  <a:pt x="2189" y="756"/>
                  <a:pt x="2189" y="756"/>
                  <a:pt x="2189" y="756"/>
                </a:cubicBezTo>
                <a:cubicBezTo>
                  <a:pt x="2188" y="756"/>
                  <a:pt x="2184" y="757"/>
                  <a:pt x="2179" y="761"/>
                </a:cubicBezTo>
                <a:cubicBezTo>
                  <a:pt x="2173" y="764"/>
                  <a:pt x="2169" y="766"/>
                  <a:pt x="2165" y="766"/>
                </a:cubicBezTo>
                <a:close/>
                <a:moveTo>
                  <a:pt x="2368" y="560"/>
                </a:moveTo>
                <a:lnTo>
                  <a:pt x="2371" y="559"/>
                </a:lnTo>
                <a:lnTo>
                  <a:pt x="2371" y="559"/>
                </a:lnTo>
                <a:cubicBezTo>
                  <a:pt x="2371" y="558"/>
                  <a:pt x="2370" y="558"/>
                  <a:pt x="2370" y="558"/>
                </a:cubicBezTo>
                <a:lnTo>
                  <a:pt x="2367" y="559"/>
                </a:lnTo>
                <a:lnTo>
                  <a:pt x="2366" y="559"/>
                </a:lnTo>
                <a:cubicBezTo>
                  <a:pt x="2366" y="559"/>
                  <a:pt x="2367" y="560"/>
                  <a:pt x="2368" y="560"/>
                </a:cubicBezTo>
                <a:close/>
                <a:moveTo>
                  <a:pt x="2183" y="619"/>
                </a:moveTo>
                <a:cubicBezTo>
                  <a:pt x="2183" y="619"/>
                  <a:pt x="2184" y="618"/>
                  <a:pt x="2185" y="617"/>
                </a:cubicBezTo>
                <a:cubicBezTo>
                  <a:pt x="2186" y="615"/>
                  <a:pt x="2186" y="614"/>
                  <a:pt x="2186" y="612"/>
                </a:cubicBezTo>
                <a:lnTo>
                  <a:pt x="2186" y="610"/>
                </a:lnTo>
                <a:cubicBezTo>
                  <a:pt x="2185" y="609"/>
                  <a:pt x="2184" y="608"/>
                  <a:pt x="2182" y="608"/>
                </a:cubicBezTo>
                <a:cubicBezTo>
                  <a:pt x="2181" y="608"/>
                  <a:pt x="2181" y="608"/>
                  <a:pt x="2181" y="609"/>
                </a:cubicBezTo>
                <a:cubicBezTo>
                  <a:pt x="2181" y="609"/>
                  <a:pt x="2181" y="610"/>
                  <a:pt x="2182" y="611"/>
                </a:cubicBezTo>
                <a:cubicBezTo>
                  <a:pt x="2183" y="612"/>
                  <a:pt x="2183" y="614"/>
                  <a:pt x="2183" y="615"/>
                </a:cubicBezTo>
                <a:lnTo>
                  <a:pt x="2183" y="619"/>
                </a:lnTo>
                <a:close/>
                <a:moveTo>
                  <a:pt x="2240" y="442"/>
                </a:moveTo>
                <a:cubicBezTo>
                  <a:pt x="2240" y="442"/>
                  <a:pt x="2242" y="441"/>
                  <a:pt x="2246" y="439"/>
                </a:cubicBezTo>
                <a:cubicBezTo>
                  <a:pt x="2251" y="436"/>
                  <a:pt x="2254" y="433"/>
                  <a:pt x="2254" y="432"/>
                </a:cubicBezTo>
                <a:cubicBezTo>
                  <a:pt x="2254" y="431"/>
                  <a:pt x="2254" y="431"/>
                  <a:pt x="2254" y="430"/>
                </a:cubicBezTo>
                <a:cubicBezTo>
                  <a:pt x="2254" y="429"/>
                  <a:pt x="2254" y="429"/>
                  <a:pt x="2253" y="429"/>
                </a:cubicBezTo>
                <a:cubicBezTo>
                  <a:pt x="2252" y="429"/>
                  <a:pt x="2249" y="432"/>
                  <a:pt x="2245" y="436"/>
                </a:cubicBezTo>
                <a:cubicBezTo>
                  <a:pt x="2242" y="440"/>
                  <a:pt x="2240" y="442"/>
                  <a:pt x="2240" y="442"/>
                </a:cubicBezTo>
                <a:close/>
                <a:moveTo>
                  <a:pt x="2196" y="539"/>
                </a:moveTo>
                <a:cubicBezTo>
                  <a:pt x="2198" y="539"/>
                  <a:pt x="2200" y="535"/>
                  <a:pt x="2204" y="528"/>
                </a:cubicBezTo>
                <a:cubicBezTo>
                  <a:pt x="2205" y="523"/>
                  <a:pt x="2206" y="520"/>
                  <a:pt x="2206" y="519"/>
                </a:cubicBezTo>
                <a:cubicBezTo>
                  <a:pt x="2206" y="518"/>
                  <a:pt x="2206" y="518"/>
                  <a:pt x="2206" y="518"/>
                </a:cubicBezTo>
                <a:cubicBezTo>
                  <a:pt x="2205" y="518"/>
                  <a:pt x="2205" y="518"/>
                  <a:pt x="2205" y="518"/>
                </a:cubicBezTo>
                <a:cubicBezTo>
                  <a:pt x="2205" y="518"/>
                  <a:pt x="2204" y="519"/>
                  <a:pt x="2204" y="519"/>
                </a:cubicBezTo>
                <a:cubicBezTo>
                  <a:pt x="2203" y="519"/>
                  <a:pt x="2203" y="520"/>
                  <a:pt x="2203" y="520"/>
                </a:cubicBezTo>
                <a:lnTo>
                  <a:pt x="2203" y="521"/>
                </a:lnTo>
                <a:cubicBezTo>
                  <a:pt x="2203" y="523"/>
                  <a:pt x="2203" y="524"/>
                  <a:pt x="2202" y="526"/>
                </a:cubicBezTo>
                <a:cubicBezTo>
                  <a:pt x="2201" y="527"/>
                  <a:pt x="2201" y="529"/>
                  <a:pt x="2200" y="530"/>
                </a:cubicBezTo>
                <a:cubicBezTo>
                  <a:pt x="2199" y="532"/>
                  <a:pt x="2198" y="532"/>
                  <a:pt x="2197" y="532"/>
                </a:cubicBezTo>
                <a:cubicBezTo>
                  <a:pt x="2197" y="532"/>
                  <a:pt x="2196" y="533"/>
                  <a:pt x="2196" y="534"/>
                </a:cubicBezTo>
                <a:lnTo>
                  <a:pt x="2197" y="535"/>
                </a:lnTo>
                <a:cubicBezTo>
                  <a:pt x="2197" y="536"/>
                  <a:pt x="2196" y="537"/>
                  <a:pt x="2195" y="538"/>
                </a:cubicBezTo>
                <a:lnTo>
                  <a:pt x="2194" y="539"/>
                </a:lnTo>
                <a:cubicBezTo>
                  <a:pt x="2194" y="539"/>
                  <a:pt x="2194" y="539"/>
                  <a:pt x="2196" y="539"/>
                </a:cubicBezTo>
                <a:close/>
                <a:moveTo>
                  <a:pt x="2191" y="553"/>
                </a:moveTo>
                <a:cubicBezTo>
                  <a:pt x="2192" y="553"/>
                  <a:pt x="2194" y="552"/>
                  <a:pt x="2194" y="550"/>
                </a:cubicBezTo>
                <a:lnTo>
                  <a:pt x="2195" y="547"/>
                </a:lnTo>
                <a:lnTo>
                  <a:pt x="2195" y="546"/>
                </a:lnTo>
                <a:lnTo>
                  <a:pt x="2192" y="549"/>
                </a:lnTo>
                <a:cubicBezTo>
                  <a:pt x="2190" y="550"/>
                  <a:pt x="2189" y="551"/>
                  <a:pt x="2189" y="552"/>
                </a:cubicBezTo>
                <a:cubicBezTo>
                  <a:pt x="2189" y="553"/>
                  <a:pt x="2190" y="553"/>
                  <a:pt x="2191" y="553"/>
                </a:cubicBezTo>
                <a:close/>
                <a:moveTo>
                  <a:pt x="2186" y="608"/>
                </a:moveTo>
                <a:cubicBezTo>
                  <a:pt x="2188" y="608"/>
                  <a:pt x="2191" y="602"/>
                  <a:pt x="2195" y="589"/>
                </a:cubicBezTo>
                <a:cubicBezTo>
                  <a:pt x="2208" y="557"/>
                  <a:pt x="2221" y="529"/>
                  <a:pt x="2235" y="506"/>
                </a:cubicBezTo>
                <a:cubicBezTo>
                  <a:pt x="2241" y="495"/>
                  <a:pt x="2244" y="488"/>
                  <a:pt x="2244" y="486"/>
                </a:cubicBezTo>
                <a:cubicBezTo>
                  <a:pt x="2244" y="484"/>
                  <a:pt x="2245" y="482"/>
                  <a:pt x="2246" y="480"/>
                </a:cubicBezTo>
                <a:cubicBezTo>
                  <a:pt x="2247" y="478"/>
                  <a:pt x="2247" y="476"/>
                  <a:pt x="2247" y="475"/>
                </a:cubicBezTo>
                <a:lnTo>
                  <a:pt x="2247" y="474"/>
                </a:lnTo>
                <a:cubicBezTo>
                  <a:pt x="2246" y="474"/>
                  <a:pt x="2242" y="480"/>
                  <a:pt x="2237" y="490"/>
                </a:cubicBezTo>
                <a:cubicBezTo>
                  <a:pt x="2231" y="501"/>
                  <a:pt x="2228" y="508"/>
                  <a:pt x="2228" y="510"/>
                </a:cubicBezTo>
                <a:cubicBezTo>
                  <a:pt x="2228" y="512"/>
                  <a:pt x="2227" y="513"/>
                  <a:pt x="2226" y="513"/>
                </a:cubicBezTo>
                <a:lnTo>
                  <a:pt x="2224" y="512"/>
                </a:lnTo>
                <a:lnTo>
                  <a:pt x="2225" y="514"/>
                </a:lnTo>
                <a:cubicBezTo>
                  <a:pt x="2225" y="515"/>
                  <a:pt x="2224" y="517"/>
                  <a:pt x="2222" y="518"/>
                </a:cubicBezTo>
                <a:cubicBezTo>
                  <a:pt x="2220" y="520"/>
                  <a:pt x="2219" y="522"/>
                  <a:pt x="2218" y="526"/>
                </a:cubicBezTo>
                <a:cubicBezTo>
                  <a:pt x="2218" y="531"/>
                  <a:pt x="2217" y="534"/>
                  <a:pt x="2217" y="534"/>
                </a:cubicBezTo>
                <a:lnTo>
                  <a:pt x="2215" y="534"/>
                </a:lnTo>
                <a:cubicBezTo>
                  <a:pt x="2214" y="534"/>
                  <a:pt x="2214" y="534"/>
                  <a:pt x="2214" y="534"/>
                </a:cubicBezTo>
                <a:lnTo>
                  <a:pt x="2215" y="539"/>
                </a:lnTo>
                <a:lnTo>
                  <a:pt x="2212" y="538"/>
                </a:lnTo>
                <a:lnTo>
                  <a:pt x="2213" y="543"/>
                </a:lnTo>
                <a:cubicBezTo>
                  <a:pt x="2213" y="543"/>
                  <a:pt x="2213" y="544"/>
                  <a:pt x="2212" y="544"/>
                </a:cubicBezTo>
                <a:lnTo>
                  <a:pt x="2210" y="542"/>
                </a:lnTo>
                <a:cubicBezTo>
                  <a:pt x="2209" y="542"/>
                  <a:pt x="2209" y="542"/>
                  <a:pt x="2209" y="543"/>
                </a:cubicBezTo>
                <a:lnTo>
                  <a:pt x="2210" y="545"/>
                </a:lnTo>
                <a:cubicBezTo>
                  <a:pt x="2210" y="546"/>
                  <a:pt x="2210" y="546"/>
                  <a:pt x="2209" y="546"/>
                </a:cubicBezTo>
                <a:cubicBezTo>
                  <a:pt x="2208" y="546"/>
                  <a:pt x="2207" y="546"/>
                  <a:pt x="2207" y="547"/>
                </a:cubicBezTo>
                <a:lnTo>
                  <a:pt x="2208" y="550"/>
                </a:lnTo>
                <a:cubicBezTo>
                  <a:pt x="2208" y="550"/>
                  <a:pt x="2207" y="551"/>
                  <a:pt x="2207" y="551"/>
                </a:cubicBezTo>
                <a:cubicBezTo>
                  <a:pt x="2206" y="551"/>
                  <a:pt x="2205" y="551"/>
                  <a:pt x="2205" y="552"/>
                </a:cubicBezTo>
                <a:lnTo>
                  <a:pt x="2206" y="556"/>
                </a:lnTo>
                <a:cubicBezTo>
                  <a:pt x="2206" y="556"/>
                  <a:pt x="2205" y="558"/>
                  <a:pt x="2205" y="559"/>
                </a:cubicBezTo>
                <a:cubicBezTo>
                  <a:pt x="2204" y="561"/>
                  <a:pt x="2203" y="561"/>
                  <a:pt x="2202" y="561"/>
                </a:cubicBezTo>
                <a:lnTo>
                  <a:pt x="2202" y="561"/>
                </a:lnTo>
                <a:cubicBezTo>
                  <a:pt x="2201" y="561"/>
                  <a:pt x="2201" y="561"/>
                  <a:pt x="2201" y="562"/>
                </a:cubicBezTo>
                <a:lnTo>
                  <a:pt x="2202" y="566"/>
                </a:lnTo>
                <a:cubicBezTo>
                  <a:pt x="2202" y="566"/>
                  <a:pt x="2202" y="567"/>
                  <a:pt x="2202" y="567"/>
                </a:cubicBezTo>
                <a:lnTo>
                  <a:pt x="2198" y="565"/>
                </a:lnTo>
                <a:lnTo>
                  <a:pt x="2198" y="565"/>
                </a:lnTo>
                <a:lnTo>
                  <a:pt x="2199" y="570"/>
                </a:lnTo>
                <a:cubicBezTo>
                  <a:pt x="2199" y="571"/>
                  <a:pt x="2199" y="571"/>
                  <a:pt x="2198" y="571"/>
                </a:cubicBezTo>
                <a:cubicBezTo>
                  <a:pt x="2196" y="571"/>
                  <a:pt x="2196" y="571"/>
                  <a:pt x="2196" y="569"/>
                </a:cubicBezTo>
                <a:cubicBezTo>
                  <a:pt x="2196" y="568"/>
                  <a:pt x="2195" y="567"/>
                  <a:pt x="2195" y="567"/>
                </a:cubicBezTo>
                <a:cubicBezTo>
                  <a:pt x="2194" y="567"/>
                  <a:pt x="2194" y="568"/>
                  <a:pt x="2194" y="569"/>
                </a:cubicBezTo>
                <a:cubicBezTo>
                  <a:pt x="2194" y="570"/>
                  <a:pt x="2194" y="571"/>
                  <a:pt x="2196" y="573"/>
                </a:cubicBezTo>
                <a:cubicBezTo>
                  <a:pt x="2197" y="574"/>
                  <a:pt x="2198" y="576"/>
                  <a:pt x="2198" y="576"/>
                </a:cubicBezTo>
                <a:lnTo>
                  <a:pt x="2198" y="576"/>
                </a:lnTo>
                <a:lnTo>
                  <a:pt x="2192" y="574"/>
                </a:lnTo>
                <a:cubicBezTo>
                  <a:pt x="2192" y="575"/>
                  <a:pt x="2192" y="576"/>
                  <a:pt x="2194" y="577"/>
                </a:cubicBezTo>
                <a:cubicBezTo>
                  <a:pt x="2195" y="579"/>
                  <a:pt x="2196" y="580"/>
                  <a:pt x="2196" y="580"/>
                </a:cubicBezTo>
                <a:cubicBezTo>
                  <a:pt x="2195" y="580"/>
                  <a:pt x="2195" y="580"/>
                  <a:pt x="2194" y="580"/>
                </a:cubicBezTo>
                <a:cubicBezTo>
                  <a:pt x="2193" y="579"/>
                  <a:pt x="2193" y="579"/>
                  <a:pt x="2192" y="579"/>
                </a:cubicBezTo>
                <a:cubicBezTo>
                  <a:pt x="2190" y="579"/>
                  <a:pt x="2189" y="581"/>
                  <a:pt x="2189" y="584"/>
                </a:cubicBezTo>
                <a:cubicBezTo>
                  <a:pt x="2189" y="585"/>
                  <a:pt x="2189" y="587"/>
                  <a:pt x="2190" y="588"/>
                </a:cubicBezTo>
                <a:cubicBezTo>
                  <a:pt x="2190" y="589"/>
                  <a:pt x="2190" y="590"/>
                  <a:pt x="2190" y="591"/>
                </a:cubicBezTo>
                <a:cubicBezTo>
                  <a:pt x="2190" y="592"/>
                  <a:pt x="2190" y="592"/>
                  <a:pt x="2189" y="592"/>
                </a:cubicBezTo>
                <a:cubicBezTo>
                  <a:pt x="2188" y="592"/>
                  <a:pt x="2188" y="592"/>
                  <a:pt x="2188" y="593"/>
                </a:cubicBezTo>
                <a:lnTo>
                  <a:pt x="2189" y="596"/>
                </a:lnTo>
                <a:cubicBezTo>
                  <a:pt x="2189" y="596"/>
                  <a:pt x="2189" y="597"/>
                  <a:pt x="2188" y="597"/>
                </a:cubicBezTo>
                <a:lnTo>
                  <a:pt x="2184" y="595"/>
                </a:lnTo>
                <a:lnTo>
                  <a:pt x="2183" y="595"/>
                </a:lnTo>
                <a:lnTo>
                  <a:pt x="2187" y="603"/>
                </a:lnTo>
                <a:lnTo>
                  <a:pt x="2187" y="604"/>
                </a:lnTo>
                <a:cubicBezTo>
                  <a:pt x="2186" y="604"/>
                  <a:pt x="2185" y="603"/>
                  <a:pt x="2184" y="601"/>
                </a:cubicBezTo>
                <a:cubicBezTo>
                  <a:pt x="2182" y="600"/>
                  <a:pt x="2181" y="599"/>
                  <a:pt x="2181" y="599"/>
                </a:cubicBezTo>
                <a:cubicBezTo>
                  <a:pt x="2181" y="600"/>
                  <a:pt x="2182" y="601"/>
                  <a:pt x="2183" y="604"/>
                </a:cubicBezTo>
                <a:cubicBezTo>
                  <a:pt x="2184" y="607"/>
                  <a:pt x="2185" y="608"/>
                  <a:pt x="2186" y="608"/>
                </a:cubicBezTo>
                <a:close/>
                <a:moveTo>
                  <a:pt x="2180" y="590"/>
                </a:moveTo>
                <a:cubicBezTo>
                  <a:pt x="2180" y="590"/>
                  <a:pt x="2180" y="590"/>
                  <a:pt x="2180" y="590"/>
                </a:cubicBezTo>
                <a:lnTo>
                  <a:pt x="2179" y="586"/>
                </a:lnTo>
                <a:cubicBezTo>
                  <a:pt x="2179" y="585"/>
                  <a:pt x="2179" y="585"/>
                  <a:pt x="2180" y="585"/>
                </a:cubicBezTo>
                <a:cubicBezTo>
                  <a:pt x="2181" y="585"/>
                  <a:pt x="2181" y="584"/>
                  <a:pt x="2181" y="583"/>
                </a:cubicBezTo>
                <a:lnTo>
                  <a:pt x="2180" y="579"/>
                </a:lnTo>
                <a:cubicBezTo>
                  <a:pt x="2180" y="579"/>
                  <a:pt x="2181" y="579"/>
                  <a:pt x="2181" y="579"/>
                </a:cubicBezTo>
                <a:lnTo>
                  <a:pt x="2183" y="580"/>
                </a:lnTo>
                <a:cubicBezTo>
                  <a:pt x="2184" y="580"/>
                  <a:pt x="2184" y="580"/>
                  <a:pt x="2184" y="579"/>
                </a:cubicBezTo>
                <a:cubicBezTo>
                  <a:pt x="2184" y="579"/>
                  <a:pt x="2184" y="578"/>
                  <a:pt x="2184" y="577"/>
                </a:cubicBezTo>
                <a:cubicBezTo>
                  <a:pt x="2183" y="576"/>
                  <a:pt x="2183" y="575"/>
                  <a:pt x="2182" y="575"/>
                </a:cubicBezTo>
                <a:cubicBezTo>
                  <a:pt x="2181" y="575"/>
                  <a:pt x="2180" y="576"/>
                  <a:pt x="2179" y="579"/>
                </a:cubicBezTo>
                <a:cubicBezTo>
                  <a:pt x="2178" y="582"/>
                  <a:pt x="2177" y="584"/>
                  <a:pt x="2177" y="586"/>
                </a:cubicBezTo>
                <a:cubicBezTo>
                  <a:pt x="2177" y="588"/>
                  <a:pt x="2178" y="590"/>
                  <a:pt x="2180" y="590"/>
                </a:cubicBezTo>
                <a:close/>
                <a:moveTo>
                  <a:pt x="2177" y="644"/>
                </a:moveTo>
                <a:cubicBezTo>
                  <a:pt x="2178" y="643"/>
                  <a:pt x="2179" y="641"/>
                  <a:pt x="2179" y="638"/>
                </a:cubicBezTo>
                <a:lnTo>
                  <a:pt x="2179" y="637"/>
                </a:lnTo>
                <a:cubicBezTo>
                  <a:pt x="2179" y="634"/>
                  <a:pt x="2180" y="634"/>
                  <a:pt x="2180" y="634"/>
                </a:cubicBezTo>
                <a:cubicBezTo>
                  <a:pt x="2181" y="634"/>
                  <a:pt x="2182" y="633"/>
                  <a:pt x="2182" y="632"/>
                </a:cubicBezTo>
                <a:lnTo>
                  <a:pt x="2181" y="631"/>
                </a:lnTo>
                <a:cubicBezTo>
                  <a:pt x="2181" y="630"/>
                  <a:pt x="2180" y="630"/>
                  <a:pt x="2180" y="630"/>
                </a:cubicBezTo>
                <a:cubicBezTo>
                  <a:pt x="2179" y="630"/>
                  <a:pt x="2178" y="631"/>
                  <a:pt x="2178" y="632"/>
                </a:cubicBezTo>
                <a:cubicBezTo>
                  <a:pt x="2177" y="633"/>
                  <a:pt x="2177" y="634"/>
                  <a:pt x="2177" y="636"/>
                </a:cubicBezTo>
                <a:lnTo>
                  <a:pt x="2178" y="641"/>
                </a:lnTo>
                <a:cubicBezTo>
                  <a:pt x="2178" y="642"/>
                  <a:pt x="2178" y="642"/>
                  <a:pt x="2178" y="642"/>
                </a:cubicBezTo>
                <a:lnTo>
                  <a:pt x="2175" y="641"/>
                </a:lnTo>
                <a:cubicBezTo>
                  <a:pt x="2174" y="641"/>
                  <a:pt x="2174" y="642"/>
                  <a:pt x="2174" y="643"/>
                </a:cubicBezTo>
                <a:cubicBezTo>
                  <a:pt x="2174" y="644"/>
                  <a:pt x="2174" y="644"/>
                  <a:pt x="2176" y="644"/>
                </a:cubicBezTo>
                <a:lnTo>
                  <a:pt x="2177" y="644"/>
                </a:lnTo>
                <a:close/>
                <a:moveTo>
                  <a:pt x="2169" y="663"/>
                </a:moveTo>
                <a:cubicBezTo>
                  <a:pt x="2170" y="663"/>
                  <a:pt x="2171" y="661"/>
                  <a:pt x="2173" y="658"/>
                </a:cubicBezTo>
                <a:lnTo>
                  <a:pt x="2175" y="655"/>
                </a:lnTo>
                <a:lnTo>
                  <a:pt x="2175" y="654"/>
                </a:lnTo>
                <a:lnTo>
                  <a:pt x="2173" y="655"/>
                </a:lnTo>
                <a:cubicBezTo>
                  <a:pt x="2172" y="655"/>
                  <a:pt x="2172" y="655"/>
                  <a:pt x="2172" y="654"/>
                </a:cubicBezTo>
                <a:cubicBezTo>
                  <a:pt x="2171" y="653"/>
                  <a:pt x="2171" y="653"/>
                  <a:pt x="2171" y="653"/>
                </a:cubicBezTo>
                <a:cubicBezTo>
                  <a:pt x="2171" y="653"/>
                  <a:pt x="2170" y="654"/>
                  <a:pt x="2170" y="657"/>
                </a:cubicBezTo>
                <a:cubicBezTo>
                  <a:pt x="2169" y="659"/>
                  <a:pt x="2168" y="661"/>
                  <a:pt x="2168" y="662"/>
                </a:cubicBezTo>
                <a:lnTo>
                  <a:pt x="2169" y="663"/>
                </a:lnTo>
                <a:close/>
                <a:moveTo>
                  <a:pt x="2170" y="613"/>
                </a:moveTo>
                <a:cubicBezTo>
                  <a:pt x="2171" y="613"/>
                  <a:pt x="2171" y="612"/>
                  <a:pt x="2171" y="612"/>
                </a:cubicBezTo>
                <a:lnTo>
                  <a:pt x="2170" y="607"/>
                </a:lnTo>
                <a:cubicBezTo>
                  <a:pt x="2170" y="606"/>
                  <a:pt x="2170" y="606"/>
                  <a:pt x="2170" y="606"/>
                </a:cubicBezTo>
                <a:lnTo>
                  <a:pt x="2171" y="607"/>
                </a:lnTo>
                <a:cubicBezTo>
                  <a:pt x="2172" y="607"/>
                  <a:pt x="2173" y="606"/>
                  <a:pt x="2174" y="605"/>
                </a:cubicBezTo>
                <a:cubicBezTo>
                  <a:pt x="2175" y="603"/>
                  <a:pt x="2175" y="602"/>
                  <a:pt x="2176" y="600"/>
                </a:cubicBezTo>
                <a:cubicBezTo>
                  <a:pt x="2176" y="598"/>
                  <a:pt x="2177" y="596"/>
                  <a:pt x="2177" y="595"/>
                </a:cubicBezTo>
                <a:cubicBezTo>
                  <a:pt x="2177" y="594"/>
                  <a:pt x="2176" y="593"/>
                  <a:pt x="2176" y="592"/>
                </a:cubicBezTo>
                <a:lnTo>
                  <a:pt x="2176" y="592"/>
                </a:lnTo>
                <a:cubicBezTo>
                  <a:pt x="2174" y="592"/>
                  <a:pt x="2173" y="594"/>
                  <a:pt x="2171" y="599"/>
                </a:cubicBezTo>
                <a:cubicBezTo>
                  <a:pt x="2169" y="604"/>
                  <a:pt x="2168" y="607"/>
                  <a:pt x="2168" y="610"/>
                </a:cubicBezTo>
                <a:lnTo>
                  <a:pt x="2168" y="611"/>
                </a:lnTo>
                <a:cubicBezTo>
                  <a:pt x="2169" y="612"/>
                  <a:pt x="2170" y="613"/>
                  <a:pt x="2170" y="613"/>
                </a:cubicBezTo>
                <a:close/>
                <a:moveTo>
                  <a:pt x="2169" y="592"/>
                </a:moveTo>
                <a:lnTo>
                  <a:pt x="2171" y="592"/>
                </a:lnTo>
                <a:cubicBezTo>
                  <a:pt x="2171" y="591"/>
                  <a:pt x="2171" y="591"/>
                  <a:pt x="2170" y="590"/>
                </a:cubicBezTo>
                <a:cubicBezTo>
                  <a:pt x="2168" y="590"/>
                  <a:pt x="2168" y="590"/>
                  <a:pt x="2168" y="589"/>
                </a:cubicBezTo>
                <a:cubicBezTo>
                  <a:pt x="2168" y="589"/>
                  <a:pt x="2168" y="588"/>
                  <a:pt x="2170" y="587"/>
                </a:cubicBezTo>
                <a:cubicBezTo>
                  <a:pt x="2171" y="587"/>
                  <a:pt x="2171" y="586"/>
                  <a:pt x="2171" y="586"/>
                </a:cubicBezTo>
                <a:cubicBezTo>
                  <a:pt x="2171" y="586"/>
                  <a:pt x="2170" y="585"/>
                  <a:pt x="2169" y="585"/>
                </a:cubicBezTo>
                <a:cubicBezTo>
                  <a:pt x="2168" y="585"/>
                  <a:pt x="2167" y="586"/>
                  <a:pt x="2166" y="586"/>
                </a:cubicBezTo>
                <a:cubicBezTo>
                  <a:pt x="2165" y="587"/>
                  <a:pt x="2165" y="588"/>
                  <a:pt x="2165" y="588"/>
                </a:cubicBezTo>
                <a:cubicBezTo>
                  <a:pt x="2165" y="589"/>
                  <a:pt x="2165" y="590"/>
                  <a:pt x="2166" y="591"/>
                </a:cubicBezTo>
                <a:cubicBezTo>
                  <a:pt x="2167" y="592"/>
                  <a:pt x="2168" y="592"/>
                  <a:pt x="2169" y="592"/>
                </a:cubicBezTo>
                <a:close/>
                <a:moveTo>
                  <a:pt x="2165" y="625"/>
                </a:moveTo>
                <a:cubicBezTo>
                  <a:pt x="2166" y="625"/>
                  <a:pt x="2167" y="623"/>
                  <a:pt x="2168" y="620"/>
                </a:cubicBezTo>
                <a:lnTo>
                  <a:pt x="2169" y="618"/>
                </a:lnTo>
                <a:cubicBezTo>
                  <a:pt x="2169" y="615"/>
                  <a:pt x="2168" y="614"/>
                  <a:pt x="2167" y="614"/>
                </a:cubicBezTo>
                <a:cubicBezTo>
                  <a:pt x="2166" y="614"/>
                  <a:pt x="2165" y="615"/>
                  <a:pt x="2165" y="616"/>
                </a:cubicBezTo>
                <a:cubicBezTo>
                  <a:pt x="2164" y="618"/>
                  <a:pt x="2163" y="620"/>
                  <a:pt x="2163" y="621"/>
                </a:cubicBezTo>
                <a:cubicBezTo>
                  <a:pt x="2163" y="623"/>
                  <a:pt x="2164" y="624"/>
                  <a:pt x="2165" y="625"/>
                </a:cubicBezTo>
                <a:close/>
                <a:moveTo>
                  <a:pt x="2153" y="737"/>
                </a:moveTo>
                <a:lnTo>
                  <a:pt x="2153" y="735"/>
                </a:lnTo>
                <a:cubicBezTo>
                  <a:pt x="2154" y="733"/>
                  <a:pt x="2154" y="732"/>
                  <a:pt x="2155" y="732"/>
                </a:cubicBezTo>
                <a:cubicBezTo>
                  <a:pt x="2155" y="731"/>
                  <a:pt x="2156" y="730"/>
                  <a:pt x="2157" y="730"/>
                </a:cubicBezTo>
                <a:cubicBezTo>
                  <a:pt x="2158" y="730"/>
                  <a:pt x="2158" y="729"/>
                  <a:pt x="2158" y="729"/>
                </a:cubicBezTo>
                <a:cubicBezTo>
                  <a:pt x="2158" y="729"/>
                  <a:pt x="2158" y="728"/>
                  <a:pt x="2157" y="728"/>
                </a:cubicBezTo>
                <a:cubicBezTo>
                  <a:pt x="2157" y="727"/>
                  <a:pt x="2157" y="726"/>
                  <a:pt x="2157" y="724"/>
                </a:cubicBezTo>
                <a:cubicBezTo>
                  <a:pt x="2157" y="718"/>
                  <a:pt x="2160" y="706"/>
                  <a:pt x="2166" y="688"/>
                </a:cubicBezTo>
                <a:cubicBezTo>
                  <a:pt x="2167" y="686"/>
                  <a:pt x="2167" y="684"/>
                  <a:pt x="2167" y="683"/>
                </a:cubicBezTo>
                <a:cubicBezTo>
                  <a:pt x="2167" y="681"/>
                  <a:pt x="2167" y="679"/>
                  <a:pt x="2166" y="679"/>
                </a:cubicBezTo>
                <a:cubicBezTo>
                  <a:pt x="2165" y="678"/>
                  <a:pt x="2164" y="677"/>
                  <a:pt x="2164" y="677"/>
                </a:cubicBezTo>
                <a:cubicBezTo>
                  <a:pt x="2163" y="677"/>
                  <a:pt x="2163" y="678"/>
                  <a:pt x="2163" y="678"/>
                </a:cubicBezTo>
                <a:lnTo>
                  <a:pt x="2164" y="683"/>
                </a:lnTo>
                <a:cubicBezTo>
                  <a:pt x="2164" y="685"/>
                  <a:pt x="2163" y="686"/>
                  <a:pt x="2163" y="687"/>
                </a:cubicBezTo>
                <a:cubicBezTo>
                  <a:pt x="2162" y="687"/>
                  <a:pt x="2160" y="691"/>
                  <a:pt x="2159" y="696"/>
                </a:cubicBezTo>
                <a:cubicBezTo>
                  <a:pt x="2157" y="702"/>
                  <a:pt x="2156" y="708"/>
                  <a:pt x="2155" y="715"/>
                </a:cubicBezTo>
                <a:cubicBezTo>
                  <a:pt x="2153" y="722"/>
                  <a:pt x="2153" y="727"/>
                  <a:pt x="2153" y="730"/>
                </a:cubicBezTo>
                <a:cubicBezTo>
                  <a:pt x="2153" y="735"/>
                  <a:pt x="2153" y="737"/>
                  <a:pt x="2153" y="737"/>
                </a:cubicBezTo>
                <a:close/>
                <a:moveTo>
                  <a:pt x="2168" y="762"/>
                </a:moveTo>
                <a:cubicBezTo>
                  <a:pt x="2169" y="762"/>
                  <a:pt x="2169" y="761"/>
                  <a:pt x="2169" y="759"/>
                </a:cubicBezTo>
                <a:cubicBezTo>
                  <a:pt x="2169" y="758"/>
                  <a:pt x="2169" y="757"/>
                  <a:pt x="2167" y="757"/>
                </a:cubicBezTo>
                <a:cubicBezTo>
                  <a:pt x="2167" y="757"/>
                  <a:pt x="2166" y="758"/>
                  <a:pt x="2166" y="758"/>
                </a:cubicBezTo>
                <a:cubicBezTo>
                  <a:pt x="2166" y="759"/>
                  <a:pt x="2166" y="759"/>
                  <a:pt x="2167" y="759"/>
                </a:cubicBezTo>
                <a:cubicBezTo>
                  <a:pt x="2167" y="760"/>
                  <a:pt x="2167" y="760"/>
                  <a:pt x="2167" y="761"/>
                </a:cubicBezTo>
                <a:cubicBezTo>
                  <a:pt x="2167" y="761"/>
                  <a:pt x="2168" y="762"/>
                  <a:pt x="2168" y="762"/>
                </a:cubicBezTo>
                <a:close/>
                <a:moveTo>
                  <a:pt x="2168" y="676"/>
                </a:moveTo>
                <a:cubicBezTo>
                  <a:pt x="2171" y="676"/>
                  <a:pt x="2172" y="674"/>
                  <a:pt x="2172" y="669"/>
                </a:cubicBezTo>
                <a:cubicBezTo>
                  <a:pt x="2172" y="667"/>
                  <a:pt x="2172" y="666"/>
                  <a:pt x="2171" y="666"/>
                </a:cubicBezTo>
                <a:cubicBezTo>
                  <a:pt x="2171" y="666"/>
                  <a:pt x="2171" y="667"/>
                  <a:pt x="2170" y="670"/>
                </a:cubicBezTo>
                <a:cubicBezTo>
                  <a:pt x="2169" y="672"/>
                  <a:pt x="2168" y="674"/>
                  <a:pt x="2168" y="674"/>
                </a:cubicBezTo>
                <a:cubicBezTo>
                  <a:pt x="2168" y="674"/>
                  <a:pt x="2167" y="673"/>
                  <a:pt x="2167" y="672"/>
                </a:cubicBezTo>
                <a:cubicBezTo>
                  <a:pt x="2167" y="671"/>
                  <a:pt x="2167" y="671"/>
                  <a:pt x="2167" y="671"/>
                </a:cubicBezTo>
                <a:cubicBezTo>
                  <a:pt x="2166" y="671"/>
                  <a:pt x="2166" y="671"/>
                  <a:pt x="2165" y="671"/>
                </a:cubicBezTo>
                <a:cubicBezTo>
                  <a:pt x="2164" y="671"/>
                  <a:pt x="2164" y="672"/>
                  <a:pt x="2164" y="673"/>
                </a:cubicBezTo>
                <a:cubicBezTo>
                  <a:pt x="2164" y="674"/>
                  <a:pt x="2164" y="674"/>
                  <a:pt x="2166" y="675"/>
                </a:cubicBezTo>
                <a:cubicBezTo>
                  <a:pt x="2167" y="676"/>
                  <a:pt x="2168" y="676"/>
                  <a:pt x="2168" y="676"/>
                </a:cubicBezTo>
                <a:close/>
                <a:moveTo>
                  <a:pt x="2224" y="700"/>
                </a:moveTo>
                <a:cubicBezTo>
                  <a:pt x="2225" y="700"/>
                  <a:pt x="2226" y="698"/>
                  <a:pt x="2228" y="696"/>
                </a:cubicBezTo>
                <a:lnTo>
                  <a:pt x="2230" y="693"/>
                </a:lnTo>
                <a:lnTo>
                  <a:pt x="2227" y="695"/>
                </a:lnTo>
                <a:cubicBezTo>
                  <a:pt x="2225" y="697"/>
                  <a:pt x="2224" y="698"/>
                  <a:pt x="2224" y="699"/>
                </a:cubicBezTo>
                <a:cubicBezTo>
                  <a:pt x="2224" y="700"/>
                  <a:pt x="2224" y="700"/>
                  <a:pt x="2224" y="700"/>
                </a:cubicBezTo>
                <a:close/>
                <a:moveTo>
                  <a:pt x="2172" y="738"/>
                </a:moveTo>
                <a:cubicBezTo>
                  <a:pt x="2174" y="738"/>
                  <a:pt x="2177" y="736"/>
                  <a:pt x="2180" y="732"/>
                </a:cubicBezTo>
                <a:cubicBezTo>
                  <a:pt x="2181" y="731"/>
                  <a:pt x="2185" y="728"/>
                  <a:pt x="2192" y="723"/>
                </a:cubicBezTo>
                <a:cubicBezTo>
                  <a:pt x="2198" y="718"/>
                  <a:pt x="2202" y="714"/>
                  <a:pt x="2202" y="712"/>
                </a:cubicBezTo>
                <a:lnTo>
                  <a:pt x="2202" y="711"/>
                </a:lnTo>
                <a:cubicBezTo>
                  <a:pt x="2202" y="709"/>
                  <a:pt x="2203" y="708"/>
                  <a:pt x="2206" y="708"/>
                </a:cubicBezTo>
                <a:cubicBezTo>
                  <a:pt x="2208" y="708"/>
                  <a:pt x="2210" y="707"/>
                  <a:pt x="2210" y="706"/>
                </a:cubicBezTo>
                <a:cubicBezTo>
                  <a:pt x="2210" y="705"/>
                  <a:pt x="2210" y="704"/>
                  <a:pt x="2211" y="702"/>
                </a:cubicBezTo>
                <a:cubicBezTo>
                  <a:pt x="2211" y="701"/>
                  <a:pt x="2212" y="700"/>
                  <a:pt x="2212" y="700"/>
                </a:cubicBezTo>
                <a:lnTo>
                  <a:pt x="2212" y="703"/>
                </a:lnTo>
                <a:cubicBezTo>
                  <a:pt x="2212" y="704"/>
                  <a:pt x="2212" y="704"/>
                  <a:pt x="2212" y="704"/>
                </a:cubicBezTo>
                <a:cubicBezTo>
                  <a:pt x="2214" y="704"/>
                  <a:pt x="2215" y="703"/>
                  <a:pt x="2217" y="700"/>
                </a:cubicBezTo>
                <a:cubicBezTo>
                  <a:pt x="2220" y="698"/>
                  <a:pt x="2222" y="695"/>
                  <a:pt x="2224" y="691"/>
                </a:cubicBezTo>
                <a:cubicBezTo>
                  <a:pt x="2225" y="688"/>
                  <a:pt x="2227" y="686"/>
                  <a:pt x="2227" y="685"/>
                </a:cubicBezTo>
                <a:cubicBezTo>
                  <a:pt x="2227" y="683"/>
                  <a:pt x="2228" y="681"/>
                  <a:pt x="2230" y="679"/>
                </a:cubicBezTo>
                <a:cubicBezTo>
                  <a:pt x="2232" y="676"/>
                  <a:pt x="2234" y="674"/>
                  <a:pt x="2237" y="672"/>
                </a:cubicBezTo>
                <a:cubicBezTo>
                  <a:pt x="2239" y="670"/>
                  <a:pt x="2240" y="669"/>
                  <a:pt x="2241" y="669"/>
                </a:cubicBezTo>
                <a:cubicBezTo>
                  <a:pt x="2242" y="669"/>
                  <a:pt x="2242" y="670"/>
                  <a:pt x="2242" y="671"/>
                </a:cubicBezTo>
                <a:cubicBezTo>
                  <a:pt x="2242" y="671"/>
                  <a:pt x="2242" y="672"/>
                  <a:pt x="2241" y="674"/>
                </a:cubicBezTo>
                <a:cubicBezTo>
                  <a:pt x="2240" y="675"/>
                  <a:pt x="2239" y="676"/>
                  <a:pt x="2237" y="676"/>
                </a:cubicBezTo>
                <a:lnTo>
                  <a:pt x="2235" y="675"/>
                </a:lnTo>
                <a:cubicBezTo>
                  <a:pt x="2235" y="675"/>
                  <a:pt x="2235" y="675"/>
                  <a:pt x="2235" y="676"/>
                </a:cubicBezTo>
                <a:lnTo>
                  <a:pt x="2236" y="678"/>
                </a:lnTo>
                <a:cubicBezTo>
                  <a:pt x="2236" y="678"/>
                  <a:pt x="2236" y="679"/>
                  <a:pt x="2235" y="679"/>
                </a:cubicBezTo>
                <a:lnTo>
                  <a:pt x="2235" y="679"/>
                </a:lnTo>
                <a:cubicBezTo>
                  <a:pt x="2233" y="679"/>
                  <a:pt x="2232" y="679"/>
                  <a:pt x="2232" y="681"/>
                </a:cubicBezTo>
                <a:lnTo>
                  <a:pt x="2232" y="682"/>
                </a:lnTo>
                <a:cubicBezTo>
                  <a:pt x="2232" y="683"/>
                  <a:pt x="2232" y="683"/>
                  <a:pt x="2231" y="683"/>
                </a:cubicBezTo>
                <a:lnTo>
                  <a:pt x="2230" y="683"/>
                </a:lnTo>
                <a:cubicBezTo>
                  <a:pt x="2229" y="683"/>
                  <a:pt x="2229" y="683"/>
                  <a:pt x="2229" y="685"/>
                </a:cubicBezTo>
                <a:cubicBezTo>
                  <a:pt x="2229" y="686"/>
                  <a:pt x="2229" y="686"/>
                  <a:pt x="2230" y="686"/>
                </a:cubicBezTo>
                <a:cubicBezTo>
                  <a:pt x="2231" y="686"/>
                  <a:pt x="2232" y="685"/>
                  <a:pt x="2234" y="683"/>
                </a:cubicBezTo>
                <a:cubicBezTo>
                  <a:pt x="2239" y="679"/>
                  <a:pt x="2243" y="675"/>
                  <a:pt x="2246" y="670"/>
                </a:cubicBezTo>
                <a:cubicBezTo>
                  <a:pt x="2248" y="667"/>
                  <a:pt x="2250" y="665"/>
                  <a:pt x="2252" y="665"/>
                </a:cubicBezTo>
                <a:cubicBezTo>
                  <a:pt x="2253" y="665"/>
                  <a:pt x="2254" y="665"/>
                  <a:pt x="2254" y="664"/>
                </a:cubicBezTo>
                <a:cubicBezTo>
                  <a:pt x="2254" y="662"/>
                  <a:pt x="2256" y="660"/>
                  <a:pt x="2258" y="657"/>
                </a:cubicBezTo>
                <a:cubicBezTo>
                  <a:pt x="2265" y="648"/>
                  <a:pt x="2270" y="644"/>
                  <a:pt x="2272" y="644"/>
                </a:cubicBezTo>
                <a:cubicBezTo>
                  <a:pt x="2272" y="644"/>
                  <a:pt x="2274" y="642"/>
                  <a:pt x="2276" y="640"/>
                </a:cubicBezTo>
                <a:cubicBezTo>
                  <a:pt x="2278" y="638"/>
                  <a:pt x="2280" y="636"/>
                  <a:pt x="2282" y="633"/>
                </a:cubicBezTo>
                <a:cubicBezTo>
                  <a:pt x="2284" y="631"/>
                  <a:pt x="2284" y="629"/>
                  <a:pt x="2284" y="628"/>
                </a:cubicBezTo>
                <a:lnTo>
                  <a:pt x="2284" y="627"/>
                </a:lnTo>
                <a:cubicBezTo>
                  <a:pt x="2284" y="625"/>
                  <a:pt x="2291" y="619"/>
                  <a:pt x="2303" y="607"/>
                </a:cubicBezTo>
                <a:cubicBezTo>
                  <a:pt x="2308" y="603"/>
                  <a:pt x="2311" y="601"/>
                  <a:pt x="2312" y="601"/>
                </a:cubicBezTo>
                <a:lnTo>
                  <a:pt x="2313" y="601"/>
                </a:lnTo>
                <a:lnTo>
                  <a:pt x="2312" y="604"/>
                </a:lnTo>
                <a:cubicBezTo>
                  <a:pt x="2312" y="605"/>
                  <a:pt x="2313" y="606"/>
                  <a:pt x="2313" y="606"/>
                </a:cubicBezTo>
                <a:cubicBezTo>
                  <a:pt x="2314" y="606"/>
                  <a:pt x="2314" y="607"/>
                  <a:pt x="2314" y="607"/>
                </a:cubicBezTo>
                <a:cubicBezTo>
                  <a:pt x="2314" y="608"/>
                  <a:pt x="2314" y="609"/>
                  <a:pt x="2312" y="610"/>
                </a:cubicBezTo>
                <a:cubicBezTo>
                  <a:pt x="2311" y="611"/>
                  <a:pt x="2310" y="612"/>
                  <a:pt x="2310" y="612"/>
                </a:cubicBezTo>
                <a:lnTo>
                  <a:pt x="2309" y="612"/>
                </a:lnTo>
                <a:lnTo>
                  <a:pt x="2309" y="611"/>
                </a:lnTo>
                <a:cubicBezTo>
                  <a:pt x="2309" y="610"/>
                  <a:pt x="2309" y="608"/>
                  <a:pt x="2307" y="608"/>
                </a:cubicBezTo>
                <a:cubicBezTo>
                  <a:pt x="2306" y="608"/>
                  <a:pt x="2306" y="609"/>
                  <a:pt x="2306" y="611"/>
                </a:cubicBezTo>
                <a:cubicBezTo>
                  <a:pt x="2306" y="612"/>
                  <a:pt x="2305" y="613"/>
                  <a:pt x="2303" y="613"/>
                </a:cubicBezTo>
                <a:lnTo>
                  <a:pt x="2302" y="613"/>
                </a:lnTo>
                <a:cubicBezTo>
                  <a:pt x="2299" y="613"/>
                  <a:pt x="2297" y="615"/>
                  <a:pt x="2293" y="618"/>
                </a:cubicBezTo>
                <a:cubicBezTo>
                  <a:pt x="2291" y="621"/>
                  <a:pt x="2290" y="623"/>
                  <a:pt x="2290" y="624"/>
                </a:cubicBezTo>
                <a:cubicBezTo>
                  <a:pt x="2290" y="625"/>
                  <a:pt x="2291" y="625"/>
                  <a:pt x="2292" y="625"/>
                </a:cubicBezTo>
                <a:cubicBezTo>
                  <a:pt x="2294" y="625"/>
                  <a:pt x="2297" y="624"/>
                  <a:pt x="2302" y="620"/>
                </a:cubicBezTo>
                <a:cubicBezTo>
                  <a:pt x="2304" y="618"/>
                  <a:pt x="2306" y="617"/>
                  <a:pt x="2307" y="617"/>
                </a:cubicBezTo>
                <a:lnTo>
                  <a:pt x="2303" y="624"/>
                </a:lnTo>
                <a:lnTo>
                  <a:pt x="2304" y="625"/>
                </a:lnTo>
                <a:cubicBezTo>
                  <a:pt x="2304" y="626"/>
                  <a:pt x="2303" y="627"/>
                  <a:pt x="2301" y="629"/>
                </a:cubicBezTo>
                <a:cubicBezTo>
                  <a:pt x="2299" y="630"/>
                  <a:pt x="2299" y="631"/>
                  <a:pt x="2298" y="631"/>
                </a:cubicBezTo>
                <a:lnTo>
                  <a:pt x="2299" y="628"/>
                </a:lnTo>
                <a:cubicBezTo>
                  <a:pt x="2299" y="627"/>
                  <a:pt x="2299" y="626"/>
                  <a:pt x="2298" y="626"/>
                </a:cubicBezTo>
                <a:cubicBezTo>
                  <a:pt x="2297" y="626"/>
                  <a:pt x="2296" y="627"/>
                  <a:pt x="2294" y="629"/>
                </a:cubicBezTo>
                <a:cubicBezTo>
                  <a:pt x="2292" y="631"/>
                  <a:pt x="2290" y="633"/>
                  <a:pt x="2289" y="635"/>
                </a:cubicBezTo>
                <a:cubicBezTo>
                  <a:pt x="2287" y="638"/>
                  <a:pt x="2286" y="639"/>
                  <a:pt x="2286" y="640"/>
                </a:cubicBezTo>
                <a:lnTo>
                  <a:pt x="2286" y="642"/>
                </a:lnTo>
                <a:cubicBezTo>
                  <a:pt x="2286" y="642"/>
                  <a:pt x="2286" y="643"/>
                  <a:pt x="2285" y="644"/>
                </a:cubicBezTo>
                <a:lnTo>
                  <a:pt x="2283" y="644"/>
                </a:lnTo>
                <a:lnTo>
                  <a:pt x="2283" y="644"/>
                </a:lnTo>
                <a:lnTo>
                  <a:pt x="2284" y="641"/>
                </a:lnTo>
                <a:cubicBezTo>
                  <a:pt x="2284" y="641"/>
                  <a:pt x="2282" y="642"/>
                  <a:pt x="2279" y="645"/>
                </a:cubicBezTo>
                <a:cubicBezTo>
                  <a:pt x="2276" y="647"/>
                  <a:pt x="2272" y="650"/>
                  <a:pt x="2269" y="654"/>
                </a:cubicBezTo>
                <a:cubicBezTo>
                  <a:pt x="2265" y="658"/>
                  <a:pt x="2261" y="662"/>
                  <a:pt x="2257" y="666"/>
                </a:cubicBezTo>
                <a:lnTo>
                  <a:pt x="2249" y="676"/>
                </a:lnTo>
                <a:cubicBezTo>
                  <a:pt x="2249" y="676"/>
                  <a:pt x="2252" y="673"/>
                  <a:pt x="2257" y="669"/>
                </a:cubicBezTo>
                <a:cubicBezTo>
                  <a:pt x="2270" y="656"/>
                  <a:pt x="2276" y="650"/>
                  <a:pt x="2277" y="650"/>
                </a:cubicBezTo>
                <a:cubicBezTo>
                  <a:pt x="2277" y="650"/>
                  <a:pt x="2276" y="653"/>
                  <a:pt x="2272" y="657"/>
                </a:cubicBezTo>
                <a:cubicBezTo>
                  <a:pt x="2267" y="663"/>
                  <a:pt x="2264" y="667"/>
                  <a:pt x="2264" y="668"/>
                </a:cubicBezTo>
                <a:cubicBezTo>
                  <a:pt x="2265" y="668"/>
                  <a:pt x="2270" y="663"/>
                  <a:pt x="2279" y="654"/>
                </a:cubicBezTo>
                <a:cubicBezTo>
                  <a:pt x="2288" y="645"/>
                  <a:pt x="2292" y="639"/>
                  <a:pt x="2292" y="638"/>
                </a:cubicBezTo>
                <a:lnTo>
                  <a:pt x="2292" y="637"/>
                </a:lnTo>
                <a:cubicBezTo>
                  <a:pt x="2292" y="636"/>
                  <a:pt x="2292" y="636"/>
                  <a:pt x="2293" y="635"/>
                </a:cubicBezTo>
                <a:cubicBezTo>
                  <a:pt x="2294" y="634"/>
                  <a:pt x="2294" y="634"/>
                  <a:pt x="2295" y="634"/>
                </a:cubicBezTo>
                <a:lnTo>
                  <a:pt x="2294" y="637"/>
                </a:lnTo>
                <a:cubicBezTo>
                  <a:pt x="2294" y="638"/>
                  <a:pt x="2295" y="638"/>
                  <a:pt x="2295" y="638"/>
                </a:cubicBezTo>
                <a:cubicBezTo>
                  <a:pt x="2296" y="638"/>
                  <a:pt x="2297" y="637"/>
                  <a:pt x="2300" y="634"/>
                </a:cubicBezTo>
                <a:cubicBezTo>
                  <a:pt x="2302" y="632"/>
                  <a:pt x="2305" y="630"/>
                  <a:pt x="2307" y="627"/>
                </a:cubicBezTo>
                <a:cubicBezTo>
                  <a:pt x="2309" y="624"/>
                  <a:pt x="2310" y="622"/>
                  <a:pt x="2310" y="622"/>
                </a:cubicBezTo>
                <a:lnTo>
                  <a:pt x="2309" y="621"/>
                </a:lnTo>
                <a:cubicBezTo>
                  <a:pt x="2309" y="621"/>
                  <a:pt x="2309" y="620"/>
                  <a:pt x="2310" y="619"/>
                </a:cubicBezTo>
                <a:cubicBezTo>
                  <a:pt x="2311" y="618"/>
                  <a:pt x="2312" y="618"/>
                  <a:pt x="2313" y="618"/>
                </a:cubicBezTo>
                <a:lnTo>
                  <a:pt x="2311" y="621"/>
                </a:lnTo>
                <a:cubicBezTo>
                  <a:pt x="2311" y="622"/>
                  <a:pt x="2311" y="622"/>
                  <a:pt x="2312" y="622"/>
                </a:cubicBezTo>
                <a:cubicBezTo>
                  <a:pt x="2314" y="622"/>
                  <a:pt x="2316" y="620"/>
                  <a:pt x="2319" y="617"/>
                </a:cubicBezTo>
                <a:cubicBezTo>
                  <a:pt x="2322" y="615"/>
                  <a:pt x="2323" y="613"/>
                  <a:pt x="2323" y="611"/>
                </a:cubicBezTo>
                <a:lnTo>
                  <a:pt x="2323" y="610"/>
                </a:lnTo>
                <a:cubicBezTo>
                  <a:pt x="2323" y="608"/>
                  <a:pt x="2323" y="607"/>
                  <a:pt x="2324" y="607"/>
                </a:cubicBezTo>
                <a:cubicBezTo>
                  <a:pt x="2325" y="607"/>
                  <a:pt x="2325" y="606"/>
                  <a:pt x="2326" y="606"/>
                </a:cubicBezTo>
                <a:lnTo>
                  <a:pt x="2326" y="607"/>
                </a:lnTo>
                <a:lnTo>
                  <a:pt x="2324" y="610"/>
                </a:lnTo>
                <a:cubicBezTo>
                  <a:pt x="2324" y="610"/>
                  <a:pt x="2324" y="610"/>
                  <a:pt x="2325" y="610"/>
                </a:cubicBezTo>
                <a:cubicBezTo>
                  <a:pt x="2325" y="610"/>
                  <a:pt x="2326" y="610"/>
                  <a:pt x="2328" y="609"/>
                </a:cubicBezTo>
                <a:cubicBezTo>
                  <a:pt x="2329" y="608"/>
                  <a:pt x="2330" y="608"/>
                  <a:pt x="2332" y="608"/>
                </a:cubicBezTo>
                <a:cubicBezTo>
                  <a:pt x="2333" y="608"/>
                  <a:pt x="2334" y="607"/>
                  <a:pt x="2334" y="607"/>
                </a:cubicBezTo>
                <a:lnTo>
                  <a:pt x="2333" y="604"/>
                </a:lnTo>
                <a:cubicBezTo>
                  <a:pt x="2333" y="602"/>
                  <a:pt x="2334" y="601"/>
                  <a:pt x="2335" y="600"/>
                </a:cubicBezTo>
                <a:cubicBezTo>
                  <a:pt x="2336" y="600"/>
                  <a:pt x="2336" y="600"/>
                  <a:pt x="2337" y="600"/>
                </a:cubicBezTo>
                <a:cubicBezTo>
                  <a:pt x="2337" y="600"/>
                  <a:pt x="2336" y="600"/>
                  <a:pt x="2336" y="601"/>
                </a:cubicBezTo>
                <a:cubicBezTo>
                  <a:pt x="2336" y="601"/>
                  <a:pt x="2336" y="602"/>
                  <a:pt x="2336" y="603"/>
                </a:cubicBezTo>
                <a:cubicBezTo>
                  <a:pt x="2336" y="603"/>
                  <a:pt x="2336" y="604"/>
                  <a:pt x="2337" y="604"/>
                </a:cubicBezTo>
                <a:cubicBezTo>
                  <a:pt x="2338" y="604"/>
                  <a:pt x="2339" y="603"/>
                  <a:pt x="2339" y="601"/>
                </a:cubicBezTo>
                <a:cubicBezTo>
                  <a:pt x="2339" y="600"/>
                  <a:pt x="2340" y="599"/>
                  <a:pt x="2341" y="599"/>
                </a:cubicBezTo>
                <a:cubicBezTo>
                  <a:pt x="2343" y="599"/>
                  <a:pt x="2346" y="597"/>
                  <a:pt x="2353" y="593"/>
                </a:cubicBezTo>
                <a:cubicBezTo>
                  <a:pt x="2368" y="582"/>
                  <a:pt x="2378" y="577"/>
                  <a:pt x="2383" y="577"/>
                </a:cubicBezTo>
                <a:lnTo>
                  <a:pt x="2384" y="577"/>
                </a:lnTo>
                <a:lnTo>
                  <a:pt x="2386" y="578"/>
                </a:lnTo>
                <a:lnTo>
                  <a:pt x="2386" y="577"/>
                </a:lnTo>
                <a:cubicBezTo>
                  <a:pt x="2386" y="577"/>
                  <a:pt x="2386" y="576"/>
                  <a:pt x="2385" y="575"/>
                </a:cubicBezTo>
                <a:cubicBezTo>
                  <a:pt x="2383" y="573"/>
                  <a:pt x="2382" y="572"/>
                  <a:pt x="2380" y="572"/>
                </a:cubicBezTo>
                <a:lnTo>
                  <a:pt x="2375" y="573"/>
                </a:lnTo>
                <a:cubicBezTo>
                  <a:pt x="2375" y="573"/>
                  <a:pt x="2375" y="573"/>
                  <a:pt x="2375" y="572"/>
                </a:cubicBezTo>
                <a:lnTo>
                  <a:pt x="2375" y="571"/>
                </a:lnTo>
                <a:cubicBezTo>
                  <a:pt x="2375" y="571"/>
                  <a:pt x="2374" y="570"/>
                  <a:pt x="2371" y="570"/>
                </a:cubicBezTo>
                <a:cubicBezTo>
                  <a:pt x="2363" y="570"/>
                  <a:pt x="2359" y="571"/>
                  <a:pt x="2359" y="573"/>
                </a:cubicBezTo>
                <a:lnTo>
                  <a:pt x="2361" y="575"/>
                </a:lnTo>
                <a:cubicBezTo>
                  <a:pt x="2361" y="576"/>
                  <a:pt x="2360" y="576"/>
                  <a:pt x="2359" y="576"/>
                </a:cubicBezTo>
                <a:lnTo>
                  <a:pt x="2357" y="575"/>
                </a:lnTo>
                <a:cubicBezTo>
                  <a:pt x="2353" y="575"/>
                  <a:pt x="2351" y="576"/>
                  <a:pt x="2351" y="578"/>
                </a:cubicBezTo>
                <a:lnTo>
                  <a:pt x="2351" y="579"/>
                </a:lnTo>
                <a:cubicBezTo>
                  <a:pt x="2351" y="580"/>
                  <a:pt x="2351" y="581"/>
                  <a:pt x="2350" y="581"/>
                </a:cubicBezTo>
                <a:cubicBezTo>
                  <a:pt x="2349" y="582"/>
                  <a:pt x="2348" y="583"/>
                  <a:pt x="2348" y="583"/>
                </a:cubicBezTo>
                <a:lnTo>
                  <a:pt x="2349" y="580"/>
                </a:lnTo>
                <a:cubicBezTo>
                  <a:pt x="2349" y="578"/>
                  <a:pt x="2348" y="577"/>
                  <a:pt x="2345" y="577"/>
                </a:cubicBezTo>
                <a:cubicBezTo>
                  <a:pt x="2344" y="577"/>
                  <a:pt x="2342" y="578"/>
                  <a:pt x="2340" y="579"/>
                </a:cubicBezTo>
                <a:cubicBezTo>
                  <a:pt x="2338" y="581"/>
                  <a:pt x="2338" y="582"/>
                  <a:pt x="2338" y="583"/>
                </a:cubicBezTo>
                <a:cubicBezTo>
                  <a:pt x="2338" y="583"/>
                  <a:pt x="2338" y="583"/>
                  <a:pt x="2338" y="583"/>
                </a:cubicBezTo>
                <a:cubicBezTo>
                  <a:pt x="2339" y="583"/>
                  <a:pt x="2341" y="582"/>
                  <a:pt x="2342" y="581"/>
                </a:cubicBezTo>
                <a:cubicBezTo>
                  <a:pt x="2344" y="580"/>
                  <a:pt x="2344" y="579"/>
                  <a:pt x="2345" y="579"/>
                </a:cubicBezTo>
                <a:cubicBezTo>
                  <a:pt x="2346" y="579"/>
                  <a:pt x="2346" y="579"/>
                  <a:pt x="2346" y="580"/>
                </a:cubicBezTo>
                <a:cubicBezTo>
                  <a:pt x="2346" y="580"/>
                  <a:pt x="2345" y="581"/>
                  <a:pt x="2344" y="583"/>
                </a:cubicBezTo>
                <a:cubicBezTo>
                  <a:pt x="2343" y="584"/>
                  <a:pt x="2342" y="585"/>
                  <a:pt x="2340" y="586"/>
                </a:cubicBezTo>
                <a:cubicBezTo>
                  <a:pt x="2338" y="588"/>
                  <a:pt x="2336" y="588"/>
                  <a:pt x="2336" y="588"/>
                </a:cubicBezTo>
                <a:cubicBezTo>
                  <a:pt x="2335" y="588"/>
                  <a:pt x="2335" y="588"/>
                  <a:pt x="2335" y="586"/>
                </a:cubicBezTo>
                <a:cubicBezTo>
                  <a:pt x="2335" y="585"/>
                  <a:pt x="2334" y="585"/>
                  <a:pt x="2332" y="585"/>
                </a:cubicBezTo>
                <a:cubicBezTo>
                  <a:pt x="2332" y="585"/>
                  <a:pt x="2331" y="585"/>
                  <a:pt x="2331" y="586"/>
                </a:cubicBezTo>
                <a:lnTo>
                  <a:pt x="2331" y="588"/>
                </a:lnTo>
                <a:cubicBezTo>
                  <a:pt x="2331" y="589"/>
                  <a:pt x="2331" y="590"/>
                  <a:pt x="2330" y="593"/>
                </a:cubicBezTo>
                <a:cubicBezTo>
                  <a:pt x="2329" y="595"/>
                  <a:pt x="2328" y="596"/>
                  <a:pt x="2326" y="598"/>
                </a:cubicBezTo>
                <a:cubicBezTo>
                  <a:pt x="2325" y="599"/>
                  <a:pt x="2324" y="600"/>
                  <a:pt x="2323" y="600"/>
                </a:cubicBezTo>
                <a:lnTo>
                  <a:pt x="2322" y="600"/>
                </a:lnTo>
                <a:cubicBezTo>
                  <a:pt x="2320" y="600"/>
                  <a:pt x="2319" y="601"/>
                  <a:pt x="2318" y="602"/>
                </a:cubicBezTo>
                <a:cubicBezTo>
                  <a:pt x="2316" y="603"/>
                  <a:pt x="2316" y="604"/>
                  <a:pt x="2316" y="604"/>
                </a:cubicBezTo>
                <a:lnTo>
                  <a:pt x="2315" y="603"/>
                </a:lnTo>
                <a:lnTo>
                  <a:pt x="2316" y="600"/>
                </a:lnTo>
                <a:cubicBezTo>
                  <a:pt x="2316" y="599"/>
                  <a:pt x="2316" y="599"/>
                  <a:pt x="2316" y="599"/>
                </a:cubicBezTo>
                <a:cubicBezTo>
                  <a:pt x="2315" y="599"/>
                  <a:pt x="2314" y="599"/>
                  <a:pt x="2314" y="599"/>
                </a:cubicBezTo>
                <a:cubicBezTo>
                  <a:pt x="2314" y="598"/>
                  <a:pt x="2316" y="596"/>
                  <a:pt x="2318" y="593"/>
                </a:cubicBezTo>
                <a:cubicBezTo>
                  <a:pt x="2319" y="591"/>
                  <a:pt x="2320" y="589"/>
                  <a:pt x="2320" y="588"/>
                </a:cubicBezTo>
                <a:cubicBezTo>
                  <a:pt x="2320" y="587"/>
                  <a:pt x="2320" y="587"/>
                  <a:pt x="2319" y="586"/>
                </a:cubicBezTo>
                <a:cubicBezTo>
                  <a:pt x="2319" y="586"/>
                  <a:pt x="2318" y="585"/>
                  <a:pt x="2318" y="584"/>
                </a:cubicBezTo>
                <a:lnTo>
                  <a:pt x="2319" y="582"/>
                </a:lnTo>
                <a:lnTo>
                  <a:pt x="2319" y="581"/>
                </a:lnTo>
                <a:cubicBezTo>
                  <a:pt x="2317" y="581"/>
                  <a:pt x="2313" y="584"/>
                  <a:pt x="2307" y="589"/>
                </a:cubicBezTo>
                <a:cubicBezTo>
                  <a:pt x="2305" y="591"/>
                  <a:pt x="2298" y="598"/>
                  <a:pt x="2286" y="609"/>
                </a:cubicBezTo>
                <a:cubicBezTo>
                  <a:pt x="2274" y="620"/>
                  <a:pt x="2266" y="629"/>
                  <a:pt x="2262" y="634"/>
                </a:cubicBezTo>
                <a:lnTo>
                  <a:pt x="2251" y="646"/>
                </a:lnTo>
                <a:cubicBezTo>
                  <a:pt x="2240" y="657"/>
                  <a:pt x="2233" y="663"/>
                  <a:pt x="2232" y="663"/>
                </a:cubicBezTo>
                <a:cubicBezTo>
                  <a:pt x="2231" y="663"/>
                  <a:pt x="2231" y="663"/>
                  <a:pt x="2231" y="663"/>
                </a:cubicBezTo>
                <a:cubicBezTo>
                  <a:pt x="2231" y="662"/>
                  <a:pt x="2232" y="660"/>
                  <a:pt x="2234" y="658"/>
                </a:cubicBezTo>
                <a:lnTo>
                  <a:pt x="2237" y="654"/>
                </a:lnTo>
                <a:cubicBezTo>
                  <a:pt x="2237" y="654"/>
                  <a:pt x="2235" y="655"/>
                  <a:pt x="2233" y="658"/>
                </a:cubicBezTo>
                <a:cubicBezTo>
                  <a:pt x="2230" y="660"/>
                  <a:pt x="2229" y="662"/>
                  <a:pt x="2229" y="663"/>
                </a:cubicBezTo>
                <a:lnTo>
                  <a:pt x="2229" y="664"/>
                </a:lnTo>
                <a:cubicBezTo>
                  <a:pt x="2229" y="665"/>
                  <a:pt x="2228" y="667"/>
                  <a:pt x="2226" y="669"/>
                </a:cubicBezTo>
                <a:cubicBezTo>
                  <a:pt x="2224" y="671"/>
                  <a:pt x="2223" y="671"/>
                  <a:pt x="2222" y="671"/>
                </a:cubicBezTo>
                <a:cubicBezTo>
                  <a:pt x="2222" y="671"/>
                  <a:pt x="2222" y="671"/>
                  <a:pt x="2222" y="671"/>
                </a:cubicBezTo>
                <a:lnTo>
                  <a:pt x="2222" y="671"/>
                </a:lnTo>
                <a:cubicBezTo>
                  <a:pt x="2220" y="671"/>
                  <a:pt x="2217" y="674"/>
                  <a:pt x="2212" y="680"/>
                </a:cubicBezTo>
                <a:cubicBezTo>
                  <a:pt x="2207" y="686"/>
                  <a:pt x="2204" y="689"/>
                  <a:pt x="2202" y="689"/>
                </a:cubicBezTo>
                <a:lnTo>
                  <a:pt x="2200" y="688"/>
                </a:lnTo>
                <a:lnTo>
                  <a:pt x="2201" y="691"/>
                </a:lnTo>
                <a:cubicBezTo>
                  <a:pt x="2201" y="692"/>
                  <a:pt x="2198" y="695"/>
                  <a:pt x="2193" y="699"/>
                </a:cubicBezTo>
                <a:cubicBezTo>
                  <a:pt x="2187" y="704"/>
                  <a:pt x="2184" y="706"/>
                  <a:pt x="2183" y="706"/>
                </a:cubicBezTo>
                <a:lnTo>
                  <a:pt x="2183" y="705"/>
                </a:lnTo>
                <a:cubicBezTo>
                  <a:pt x="2183" y="705"/>
                  <a:pt x="2183" y="705"/>
                  <a:pt x="2182" y="705"/>
                </a:cubicBezTo>
                <a:cubicBezTo>
                  <a:pt x="2181" y="705"/>
                  <a:pt x="2179" y="708"/>
                  <a:pt x="2175" y="714"/>
                </a:cubicBezTo>
                <a:cubicBezTo>
                  <a:pt x="2173" y="719"/>
                  <a:pt x="2172" y="723"/>
                  <a:pt x="2172" y="727"/>
                </a:cubicBezTo>
                <a:cubicBezTo>
                  <a:pt x="2172" y="727"/>
                  <a:pt x="2172" y="727"/>
                  <a:pt x="2172" y="727"/>
                </a:cubicBezTo>
                <a:cubicBezTo>
                  <a:pt x="2173" y="727"/>
                  <a:pt x="2174" y="726"/>
                  <a:pt x="2176" y="725"/>
                </a:cubicBezTo>
                <a:cubicBezTo>
                  <a:pt x="2179" y="722"/>
                  <a:pt x="2181" y="720"/>
                  <a:pt x="2182" y="720"/>
                </a:cubicBezTo>
                <a:cubicBezTo>
                  <a:pt x="2182" y="720"/>
                  <a:pt x="2185" y="717"/>
                  <a:pt x="2192" y="711"/>
                </a:cubicBezTo>
                <a:cubicBezTo>
                  <a:pt x="2196" y="706"/>
                  <a:pt x="2199" y="703"/>
                  <a:pt x="2200" y="703"/>
                </a:cubicBezTo>
                <a:cubicBezTo>
                  <a:pt x="2200" y="703"/>
                  <a:pt x="2200" y="703"/>
                  <a:pt x="2200" y="704"/>
                </a:cubicBezTo>
                <a:cubicBezTo>
                  <a:pt x="2200" y="705"/>
                  <a:pt x="2199" y="707"/>
                  <a:pt x="2196" y="710"/>
                </a:cubicBezTo>
                <a:cubicBezTo>
                  <a:pt x="2194" y="712"/>
                  <a:pt x="2192" y="715"/>
                  <a:pt x="2190" y="718"/>
                </a:cubicBezTo>
                <a:cubicBezTo>
                  <a:pt x="2189" y="721"/>
                  <a:pt x="2188" y="723"/>
                  <a:pt x="2185" y="723"/>
                </a:cubicBezTo>
                <a:cubicBezTo>
                  <a:pt x="2184" y="723"/>
                  <a:pt x="2182" y="724"/>
                  <a:pt x="2180" y="726"/>
                </a:cubicBezTo>
                <a:cubicBezTo>
                  <a:pt x="2175" y="731"/>
                  <a:pt x="2172" y="735"/>
                  <a:pt x="2172" y="737"/>
                </a:cubicBezTo>
                <a:lnTo>
                  <a:pt x="2172" y="738"/>
                </a:lnTo>
                <a:close/>
                <a:moveTo>
                  <a:pt x="2259" y="659"/>
                </a:moveTo>
                <a:cubicBezTo>
                  <a:pt x="2260" y="659"/>
                  <a:pt x="2261" y="658"/>
                  <a:pt x="2262" y="656"/>
                </a:cubicBezTo>
                <a:cubicBezTo>
                  <a:pt x="2264" y="654"/>
                  <a:pt x="2265" y="653"/>
                  <a:pt x="2267" y="651"/>
                </a:cubicBezTo>
                <a:lnTo>
                  <a:pt x="2271" y="646"/>
                </a:lnTo>
                <a:cubicBezTo>
                  <a:pt x="2271" y="646"/>
                  <a:pt x="2269" y="647"/>
                  <a:pt x="2266" y="650"/>
                </a:cubicBezTo>
                <a:cubicBezTo>
                  <a:pt x="2261" y="654"/>
                  <a:pt x="2259" y="657"/>
                  <a:pt x="2259" y="658"/>
                </a:cubicBezTo>
                <a:cubicBezTo>
                  <a:pt x="2259" y="659"/>
                  <a:pt x="2259" y="659"/>
                  <a:pt x="2259" y="659"/>
                </a:cubicBezTo>
                <a:close/>
                <a:moveTo>
                  <a:pt x="2281" y="637"/>
                </a:moveTo>
                <a:cubicBezTo>
                  <a:pt x="2281" y="637"/>
                  <a:pt x="2282" y="637"/>
                  <a:pt x="2284" y="635"/>
                </a:cubicBezTo>
                <a:cubicBezTo>
                  <a:pt x="2287" y="633"/>
                  <a:pt x="2288" y="632"/>
                  <a:pt x="2289" y="631"/>
                </a:cubicBezTo>
                <a:cubicBezTo>
                  <a:pt x="2291" y="630"/>
                  <a:pt x="2291" y="629"/>
                  <a:pt x="2291" y="628"/>
                </a:cubicBezTo>
                <a:cubicBezTo>
                  <a:pt x="2291" y="628"/>
                  <a:pt x="2291" y="627"/>
                  <a:pt x="2290" y="626"/>
                </a:cubicBezTo>
                <a:cubicBezTo>
                  <a:pt x="2289" y="625"/>
                  <a:pt x="2289" y="625"/>
                  <a:pt x="2287" y="625"/>
                </a:cubicBezTo>
                <a:lnTo>
                  <a:pt x="2288" y="626"/>
                </a:lnTo>
                <a:cubicBezTo>
                  <a:pt x="2288" y="627"/>
                  <a:pt x="2287" y="630"/>
                  <a:pt x="2284" y="633"/>
                </a:cubicBezTo>
                <a:cubicBezTo>
                  <a:pt x="2282" y="636"/>
                  <a:pt x="2281" y="637"/>
                  <a:pt x="2281" y="637"/>
                </a:cubicBezTo>
                <a:close/>
                <a:moveTo>
                  <a:pt x="2402" y="606"/>
                </a:moveTo>
                <a:cubicBezTo>
                  <a:pt x="2402" y="606"/>
                  <a:pt x="2403" y="605"/>
                  <a:pt x="2404" y="605"/>
                </a:cubicBezTo>
                <a:cubicBezTo>
                  <a:pt x="2405" y="605"/>
                  <a:pt x="2406" y="604"/>
                  <a:pt x="2406" y="603"/>
                </a:cubicBezTo>
                <a:cubicBezTo>
                  <a:pt x="2406" y="602"/>
                  <a:pt x="2405" y="601"/>
                  <a:pt x="2404" y="601"/>
                </a:cubicBezTo>
                <a:cubicBezTo>
                  <a:pt x="2403" y="601"/>
                  <a:pt x="2403" y="600"/>
                  <a:pt x="2403" y="599"/>
                </a:cubicBezTo>
                <a:lnTo>
                  <a:pt x="2403" y="596"/>
                </a:lnTo>
                <a:cubicBezTo>
                  <a:pt x="2403" y="595"/>
                  <a:pt x="2402" y="595"/>
                  <a:pt x="2401" y="595"/>
                </a:cubicBezTo>
                <a:cubicBezTo>
                  <a:pt x="2399" y="595"/>
                  <a:pt x="2399" y="595"/>
                  <a:pt x="2399" y="595"/>
                </a:cubicBezTo>
                <a:cubicBezTo>
                  <a:pt x="2399" y="596"/>
                  <a:pt x="2399" y="598"/>
                  <a:pt x="2400" y="599"/>
                </a:cubicBezTo>
                <a:cubicBezTo>
                  <a:pt x="2400" y="601"/>
                  <a:pt x="2401" y="602"/>
                  <a:pt x="2401" y="603"/>
                </a:cubicBezTo>
                <a:lnTo>
                  <a:pt x="2400" y="605"/>
                </a:lnTo>
                <a:cubicBezTo>
                  <a:pt x="2400" y="605"/>
                  <a:pt x="2401" y="606"/>
                  <a:pt x="2402" y="606"/>
                </a:cubicBezTo>
                <a:close/>
                <a:moveTo>
                  <a:pt x="2410" y="632"/>
                </a:moveTo>
                <a:cubicBezTo>
                  <a:pt x="2410" y="632"/>
                  <a:pt x="2410" y="632"/>
                  <a:pt x="2410" y="631"/>
                </a:cubicBezTo>
                <a:cubicBezTo>
                  <a:pt x="2410" y="629"/>
                  <a:pt x="2410" y="626"/>
                  <a:pt x="2409" y="623"/>
                </a:cubicBezTo>
                <a:cubicBezTo>
                  <a:pt x="2408" y="620"/>
                  <a:pt x="2407" y="617"/>
                  <a:pt x="2407" y="614"/>
                </a:cubicBezTo>
                <a:lnTo>
                  <a:pt x="2408" y="611"/>
                </a:lnTo>
                <a:cubicBezTo>
                  <a:pt x="2408" y="609"/>
                  <a:pt x="2407" y="609"/>
                  <a:pt x="2406" y="609"/>
                </a:cubicBezTo>
                <a:cubicBezTo>
                  <a:pt x="2404" y="609"/>
                  <a:pt x="2403" y="610"/>
                  <a:pt x="2403" y="611"/>
                </a:cubicBezTo>
                <a:cubicBezTo>
                  <a:pt x="2403" y="612"/>
                  <a:pt x="2403" y="612"/>
                  <a:pt x="2404" y="614"/>
                </a:cubicBezTo>
                <a:cubicBezTo>
                  <a:pt x="2404" y="615"/>
                  <a:pt x="2405" y="617"/>
                  <a:pt x="2406" y="620"/>
                </a:cubicBezTo>
                <a:cubicBezTo>
                  <a:pt x="2407" y="628"/>
                  <a:pt x="2408" y="632"/>
                  <a:pt x="2409" y="632"/>
                </a:cubicBezTo>
                <a:lnTo>
                  <a:pt x="2410" y="632"/>
                </a:lnTo>
                <a:close/>
                <a:moveTo>
                  <a:pt x="2418" y="661"/>
                </a:moveTo>
                <a:cubicBezTo>
                  <a:pt x="2419" y="661"/>
                  <a:pt x="2420" y="660"/>
                  <a:pt x="2420" y="659"/>
                </a:cubicBezTo>
                <a:cubicBezTo>
                  <a:pt x="2420" y="657"/>
                  <a:pt x="2419" y="656"/>
                  <a:pt x="2417" y="656"/>
                </a:cubicBezTo>
                <a:cubicBezTo>
                  <a:pt x="2416" y="656"/>
                  <a:pt x="2416" y="657"/>
                  <a:pt x="2416" y="658"/>
                </a:cubicBezTo>
                <a:cubicBezTo>
                  <a:pt x="2416" y="658"/>
                  <a:pt x="2416" y="659"/>
                  <a:pt x="2416" y="659"/>
                </a:cubicBezTo>
                <a:cubicBezTo>
                  <a:pt x="2417" y="659"/>
                  <a:pt x="2417" y="660"/>
                  <a:pt x="2417" y="660"/>
                </a:cubicBezTo>
                <a:cubicBezTo>
                  <a:pt x="2418" y="660"/>
                  <a:pt x="2418" y="661"/>
                  <a:pt x="2418" y="661"/>
                </a:cubicBezTo>
                <a:close/>
                <a:moveTo>
                  <a:pt x="2463" y="692"/>
                </a:moveTo>
                <a:lnTo>
                  <a:pt x="2463" y="691"/>
                </a:lnTo>
                <a:cubicBezTo>
                  <a:pt x="2464" y="691"/>
                  <a:pt x="2464" y="691"/>
                  <a:pt x="2464" y="690"/>
                </a:cubicBezTo>
                <a:cubicBezTo>
                  <a:pt x="2464" y="689"/>
                  <a:pt x="2464" y="689"/>
                  <a:pt x="2463" y="688"/>
                </a:cubicBezTo>
                <a:cubicBezTo>
                  <a:pt x="2461" y="687"/>
                  <a:pt x="2459" y="686"/>
                  <a:pt x="2458" y="686"/>
                </a:cubicBezTo>
                <a:cubicBezTo>
                  <a:pt x="2458" y="686"/>
                  <a:pt x="2458" y="686"/>
                  <a:pt x="2458" y="686"/>
                </a:cubicBezTo>
                <a:cubicBezTo>
                  <a:pt x="2458" y="687"/>
                  <a:pt x="2458" y="688"/>
                  <a:pt x="2459" y="690"/>
                </a:cubicBezTo>
                <a:cubicBezTo>
                  <a:pt x="2460" y="691"/>
                  <a:pt x="2462" y="692"/>
                  <a:pt x="2463" y="692"/>
                </a:cubicBezTo>
                <a:close/>
                <a:moveTo>
                  <a:pt x="2469" y="695"/>
                </a:moveTo>
                <a:cubicBezTo>
                  <a:pt x="2472" y="695"/>
                  <a:pt x="2473" y="695"/>
                  <a:pt x="2473" y="694"/>
                </a:cubicBezTo>
                <a:cubicBezTo>
                  <a:pt x="2473" y="693"/>
                  <a:pt x="2472" y="693"/>
                  <a:pt x="2470" y="693"/>
                </a:cubicBezTo>
                <a:cubicBezTo>
                  <a:pt x="2467" y="693"/>
                  <a:pt x="2466" y="693"/>
                  <a:pt x="2466" y="694"/>
                </a:cubicBezTo>
                <a:cubicBezTo>
                  <a:pt x="2466" y="695"/>
                  <a:pt x="2467" y="695"/>
                  <a:pt x="2469" y="695"/>
                </a:cubicBezTo>
                <a:close/>
                <a:moveTo>
                  <a:pt x="2603" y="632"/>
                </a:moveTo>
                <a:cubicBezTo>
                  <a:pt x="2605" y="632"/>
                  <a:pt x="2607" y="631"/>
                  <a:pt x="2609" y="628"/>
                </a:cubicBezTo>
                <a:cubicBezTo>
                  <a:pt x="2610" y="627"/>
                  <a:pt x="2611" y="625"/>
                  <a:pt x="2611" y="625"/>
                </a:cubicBezTo>
                <a:cubicBezTo>
                  <a:pt x="2611" y="623"/>
                  <a:pt x="2609" y="623"/>
                  <a:pt x="2608" y="623"/>
                </a:cubicBezTo>
                <a:cubicBezTo>
                  <a:pt x="2607" y="623"/>
                  <a:pt x="2606" y="623"/>
                  <a:pt x="2605" y="624"/>
                </a:cubicBezTo>
                <a:cubicBezTo>
                  <a:pt x="2604" y="625"/>
                  <a:pt x="2604" y="626"/>
                  <a:pt x="2603" y="627"/>
                </a:cubicBezTo>
                <a:cubicBezTo>
                  <a:pt x="2602" y="629"/>
                  <a:pt x="2602" y="630"/>
                  <a:pt x="2602" y="630"/>
                </a:cubicBezTo>
                <a:cubicBezTo>
                  <a:pt x="2602" y="631"/>
                  <a:pt x="2602" y="632"/>
                  <a:pt x="2603" y="632"/>
                </a:cubicBezTo>
                <a:close/>
                <a:moveTo>
                  <a:pt x="2656" y="567"/>
                </a:moveTo>
                <a:cubicBezTo>
                  <a:pt x="2658" y="567"/>
                  <a:pt x="2659" y="565"/>
                  <a:pt x="2660" y="562"/>
                </a:cubicBezTo>
                <a:cubicBezTo>
                  <a:pt x="2662" y="560"/>
                  <a:pt x="2663" y="558"/>
                  <a:pt x="2663" y="557"/>
                </a:cubicBezTo>
                <a:cubicBezTo>
                  <a:pt x="2663" y="557"/>
                  <a:pt x="2663" y="557"/>
                  <a:pt x="2662" y="557"/>
                </a:cubicBezTo>
                <a:cubicBezTo>
                  <a:pt x="2661" y="557"/>
                  <a:pt x="2660" y="557"/>
                  <a:pt x="2658" y="558"/>
                </a:cubicBezTo>
                <a:cubicBezTo>
                  <a:pt x="2656" y="560"/>
                  <a:pt x="2654" y="562"/>
                  <a:pt x="2654" y="565"/>
                </a:cubicBezTo>
                <a:cubicBezTo>
                  <a:pt x="2654" y="566"/>
                  <a:pt x="2655" y="567"/>
                  <a:pt x="2656" y="567"/>
                </a:cubicBezTo>
                <a:close/>
                <a:moveTo>
                  <a:pt x="2651" y="574"/>
                </a:moveTo>
                <a:cubicBezTo>
                  <a:pt x="2653" y="574"/>
                  <a:pt x="2654" y="573"/>
                  <a:pt x="2656" y="571"/>
                </a:cubicBezTo>
                <a:lnTo>
                  <a:pt x="2656" y="569"/>
                </a:lnTo>
                <a:lnTo>
                  <a:pt x="2656" y="569"/>
                </a:lnTo>
                <a:lnTo>
                  <a:pt x="2655" y="570"/>
                </a:lnTo>
                <a:cubicBezTo>
                  <a:pt x="2655" y="570"/>
                  <a:pt x="2654" y="570"/>
                  <a:pt x="2654" y="570"/>
                </a:cubicBezTo>
                <a:cubicBezTo>
                  <a:pt x="2653" y="570"/>
                  <a:pt x="2652" y="570"/>
                  <a:pt x="2651" y="569"/>
                </a:cubicBezTo>
                <a:cubicBezTo>
                  <a:pt x="2650" y="568"/>
                  <a:pt x="2649" y="568"/>
                  <a:pt x="2649" y="568"/>
                </a:cubicBezTo>
                <a:cubicBezTo>
                  <a:pt x="2649" y="568"/>
                  <a:pt x="2648" y="569"/>
                  <a:pt x="2648" y="570"/>
                </a:cubicBezTo>
                <a:cubicBezTo>
                  <a:pt x="2648" y="573"/>
                  <a:pt x="2649" y="574"/>
                  <a:pt x="2651" y="574"/>
                </a:cubicBezTo>
                <a:close/>
                <a:moveTo>
                  <a:pt x="2636" y="599"/>
                </a:moveTo>
                <a:cubicBezTo>
                  <a:pt x="2637" y="599"/>
                  <a:pt x="2639" y="597"/>
                  <a:pt x="2642" y="592"/>
                </a:cubicBezTo>
                <a:cubicBezTo>
                  <a:pt x="2644" y="588"/>
                  <a:pt x="2646" y="584"/>
                  <a:pt x="2646" y="581"/>
                </a:cubicBezTo>
                <a:lnTo>
                  <a:pt x="2646" y="580"/>
                </a:lnTo>
                <a:cubicBezTo>
                  <a:pt x="2646" y="579"/>
                  <a:pt x="2646" y="579"/>
                  <a:pt x="2646" y="579"/>
                </a:cubicBezTo>
                <a:lnTo>
                  <a:pt x="2649" y="580"/>
                </a:lnTo>
                <a:cubicBezTo>
                  <a:pt x="2649" y="580"/>
                  <a:pt x="2650" y="580"/>
                  <a:pt x="2650" y="579"/>
                </a:cubicBezTo>
                <a:lnTo>
                  <a:pt x="2651" y="578"/>
                </a:lnTo>
                <a:cubicBezTo>
                  <a:pt x="2651" y="578"/>
                  <a:pt x="2650" y="577"/>
                  <a:pt x="2648" y="577"/>
                </a:cubicBezTo>
                <a:cubicBezTo>
                  <a:pt x="2646" y="577"/>
                  <a:pt x="2644" y="578"/>
                  <a:pt x="2643" y="582"/>
                </a:cubicBezTo>
                <a:cubicBezTo>
                  <a:pt x="2642" y="585"/>
                  <a:pt x="2640" y="588"/>
                  <a:pt x="2638" y="590"/>
                </a:cubicBezTo>
                <a:cubicBezTo>
                  <a:pt x="2636" y="592"/>
                  <a:pt x="2634" y="594"/>
                  <a:pt x="2634" y="597"/>
                </a:cubicBezTo>
                <a:cubicBezTo>
                  <a:pt x="2634" y="598"/>
                  <a:pt x="2635" y="599"/>
                  <a:pt x="2636" y="599"/>
                </a:cubicBezTo>
                <a:close/>
                <a:moveTo>
                  <a:pt x="2615" y="622"/>
                </a:moveTo>
                <a:cubicBezTo>
                  <a:pt x="2616" y="622"/>
                  <a:pt x="2619" y="619"/>
                  <a:pt x="2623" y="614"/>
                </a:cubicBezTo>
                <a:cubicBezTo>
                  <a:pt x="2628" y="610"/>
                  <a:pt x="2630" y="607"/>
                  <a:pt x="2630" y="605"/>
                </a:cubicBezTo>
                <a:lnTo>
                  <a:pt x="2629" y="603"/>
                </a:lnTo>
                <a:cubicBezTo>
                  <a:pt x="2629" y="602"/>
                  <a:pt x="2630" y="601"/>
                  <a:pt x="2631" y="600"/>
                </a:cubicBezTo>
                <a:cubicBezTo>
                  <a:pt x="2631" y="599"/>
                  <a:pt x="2632" y="598"/>
                  <a:pt x="2632" y="598"/>
                </a:cubicBezTo>
                <a:cubicBezTo>
                  <a:pt x="2631" y="598"/>
                  <a:pt x="2630" y="598"/>
                  <a:pt x="2629" y="600"/>
                </a:cubicBezTo>
                <a:cubicBezTo>
                  <a:pt x="2627" y="601"/>
                  <a:pt x="2626" y="603"/>
                  <a:pt x="2625" y="604"/>
                </a:cubicBezTo>
                <a:cubicBezTo>
                  <a:pt x="2624" y="605"/>
                  <a:pt x="2623" y="607"/>
                  <a:pt x="2623" y="607"/>
                </a:cubicBezTo>
                <a:cubicBezTo>
                  <a:pt x="2623" y="608"/>
                  <a:pt x="2623" y="609"/>
                  <a:pt x="2623" y="610"/>
                </a:cubicBezTo>
                <a:cubicBezTo>
                  <a:pt x="2622" y="611"/>
                  <a:pt x="2621" y="612"/>
                  <a:pt x="2620" y="613"/>
                </a:cubicBezTo>
                <a:cubicBezTo>
                  <a:pt x="2619" y="614"/>
                  <a:pt x="2618" y="614"/>
                  <a:pt x="2618" y="614"/>
                </a:cubicBezTo>
                <a:lnTo>
                  <a:pt x="2617" y="614"/>
                </a:lnTo>
                <a:lnTo>
                  <a:pt x="2618" y="612"/>
                </a:lnTo>
                <a:cubicBezTo>
                  <a:pt x="2618" y="611"/>
                  <a:pt x="2618" y="610"/>
                  <a:pt x="2617" y="609"/>
                </a:cubicBezTo>
                <a:cubicBezTo>
                  <a:pt x="2616" y="609"/>
                  <a:pt x="2616" y="609"/>
                  <a:pt x="2615" y="609"/>
                </a:cubicBezTo>
                <a:lnTo>
                  <a:pt x="2616" y="611"/>
                </a:lnTo>
                <a:cubicBezTo>
                  <a:pt x="2616" y="613"/>
                  <a:pt x="2616" y="614"/>
                  <a:pt x="2614" y="614"/>
                </a:cubicBezTo>
                <a:cubicBezTo>
                  <a:pt x="2613" y="615"/>
                  <a:pt x="2612" y="616"/>
                  <a:pt x="2612" y="618"/>
                </a:cubicBezTo>
                <a:cubicBezTo>
                  <a:pt x="2612" y="619"/>
                  <a:pt x="2612" y="620"/>
                  <a:pt x="2613" y="620"/>
                </a:cubicBezTo>
                <a:cubicBezTo>
                  <a:pt x="2613" y="621"/>
                  <a:pt x="2613" y="621"/>
                  <a:pt x="2615" y="622"/>
                </a:cubicBezTo>
                <a:close/>
                <a:moveTo>
                  <a:pt x="2148" y="626"/>
                </a:moveTo>
                <a:cubicBezTo>
                  <a:pt x="2148" y="626"/>
                  <a:pt x="2148" y="626"/>
                  <a:pt x="2148" y="625"/>
                </a:cubicBezTo>
                <a:cubicBezTo>
                  <a:pt x="2148" y="624"/>
                  <a:pt x="2149" y="621"/>
                  <a:pt x="2151" y="616"/>
                </a:cubicBezTo>
                <a:cubicBezTo>
                  <a:pt x="2153" y="611"/>
                  <a:pt x="2154" y="608"/>
                  <a:pt x="2155" y="608"/>
                </a:cubicBezTo>
                <a:cubicBezTo>
                  <a:pt x="2155" y="608"/>
                  <a:pt x="2155" y="608"/>
                  <a:pt x="2155" y="609"/>
                </a:cubicBezTo>
                <a:cubicBezTo>
                  <a:pt x="2155" y="610"/>
                  <a:pt x="2155" y="613"/>
                  <a:pt x="2153" y="617"/>
                </a:cubicBezTo>
                <a:cubicBezTo>
                  <a:pt x="2150" y="623"/>
                  <a:pt x="2149" y="626"/>
                  <a:pt x="2148" y="626"/>
                </a:cubicBezTo>
                <a:close/>
                <a:moveTo>
                  <a:pt x="2155" y="606"/>
                </a:moveTo>
                <a:cubicBezTo>
                  <a:pt x="2155" y="606"/>
                  <a:pt x="2155" y="605"/>
                  <a:pt x="2155" y="605"/>
                </a:cubicBezTo>
                <a:cubicBezTo>
                  <a:pt x="2155" y="604"/>
                  <a:pt x="2155" y="603"/>
                  <a:pt x="2156" y="601"/>
                </a:cubicBezTo>
                <a:cubicBezTo>
                  <a:pt x="2157" y="600"/>
                  <a:pt x="2158" y="599"/>
                  <a:pt x="2158" y="598"/>
                </a:cubicBezTo>
                <a:cubicBezTo>
                  <a:pt x="2159" y="597"/>
                  <a:pt x="2160" y="597"/>
                  <a:pt x="2160" y="597"/>
                </a:cubicBezTo>
                <a:cubicBezTo>
                  <a:pt x="2160" y="597"/>
                  <a:pt x="2160" y="597"/>
                  <a:pt x="2160" y="597"/>
                </a:cubicBezTo>
                <a:lnTo>
                  <a:pt x="2159" y="601"/>
                </a:lnTo>
                <a:cubicBezTo>
                  <a:pt x="2157" y="604"/>
                  <a:pt x="2156" y="606"/>
                  <a:pt x="2155" y="606"/>
                </a:cubicBezTo>
                <a:close/>
                <a:moveTo>
                  <a:pt x="2147" y="635"/>
                </a:moveTo>
                <a:cubicBezTo>
                  <a:pt x="2146" y="635"/>
                  <a:pt x="2146" y="634"/>
                  <a:pt x="2146" y="632"/>
                </a:cubicBezTo>
                <a:cubicBezTo>
                  <a:pt x="2146" y="630"/>
                  <a:pt x="2146" y="630"/>
                  <a:pt x="2147" y="630"/>
                </a:cubicBezTo>
                <a:cubicBezTo>
                  <a:pt x="2147" y="630"/>
                  <a:pt x="2148" y="631"/>
                  <a:pt x="2148" y="633"/>
                </a:cubicBezTo>
                <a:cubicBezTo>
                  <a:pt x="2148" y="634"/>
                  <a:pt x="2148" y="634"/>
                  <a:pt x="2147" y="635"/>
                </a:cubicBezTo>
                <a:cubicBezTo>
                  <a:pt x="2147" y="635"/>
                  <a:pt x="2147" y="635"/>
                  <a:pt x="2147" y="635"/>
                </a:cubicBezTo>
                <a:close/>
                <a:moveTo>
                  <a:pt x="2147" y="656"/>
                </a:moveTo>
                <a:cubicBezTo>
                  <a:pt x="2147" y="656"/>
                  <a:pt x="2146" y="656"/>
                  <a:pt x="2146" y="655"/>
                </a:cubicBezTo>
                <a:lnTo>
                  <a:pt x="2147" y="653"/>
                </a:lnTo>
                <a:cubicBezTo>
                  <a:pt x="2147" y="651"/>
                  <a:pt x="2148" y="649"/>
                  <a:pt x="2148" y="647"/>
                </a:cubicBezTo>
                <a:cubicBezTo>
                  <a:pt x="2148" y="645"/>
                  <a:pt x="2149" y="644"/>
                  <a:pt x="2151" y="644"/>
                </a:cubicBezTo>
                <a:cubicBezTo>
                  <a:pt x="2153" y="644"/>
                  <a:pt x="2154" y="645"/>
                  <a:pt x="2154" y="646"/>
                </a:cubicBezTo>
                <a:cubicBezTo>
                  <a:pt x="2154" y="648"/>
                  <a:pt x="2153" y="649"/>
                  <a:pt x="2152" y="652"/>
                </a:cubicBezTo>
                <a:cubicBezTo>
                  <a:pt x="2150" y="655"/>
                  <a:pt x="2149" y="656"/>
                  <a:pt x="2147" y="656"/>
                </a:cubicBezTo>
                <a:close/>
                <a:moveTo>
                  <a:pt x="2618" y="590"/>
                </a:moveTo>
                <a:cubicBezTo>
                  <a:pt x="2618" y="590"/>
                  <a:pt x="2617" y="590"/>
                  <a:pt x="2617" y="589"/>
                </a:cubicBezTo>
                <a:cubicBezTo>
                  <a:pt x="2617" y="588"/>
                  <a:pt x="2618" y="587"/>
                  <a:pt x="2621" y="585"/>
                </a:cubicBezTo>
                <a:lnTo>
                  <a:pt x="2623" y="583"/>
                </a:lnTo>
                <a:lnTo>
                  <a:pt x="2624" y="583"/>
                </a:lnTo>
                <a:lnTo>
                  <a:pt x="2622" y="586"/>
                </a:lnTo>
                <a:cubicBezTo>
                  <a:pt x="2620" y="589"/>
                  <a:pt x="2618" y="590"/>
                  <a:pt x="2618" y="590"/>
                </a:cubicBezTo>
                <a:close/>
                <a:moveTo>
                  <a:pt x="2143" y="651"/>
                </a:moveTo>
                <a:cubicBezTo>
                  <a:pt x="2142" y="651"/>
                  <a:pt x="2142" y="650"/>
                  <a:pt x="2142" y="648"/>
                </a:cubicBezTo>
                <a:cubicBezTo>
                  <a:pt x="2142" y="647"/>
                  <a:pt x="2142" y="646"/>
                  <a:pt x="2142" y="646"/>
                </a:cubicBezTo>
                <a:cubicBezTo>
                  <a:pt x="2143" y="646"/>
                  <a:pt x="2143" y="647"/>
                  <a:pt x="2143" y="649"/>
                </a:cubicBezTo>
                <a:cubicBezTo>
                  <a:pt x="2143" y="649"/>
                  <a:pt x="2143" y="650"/>
                  <a:pt x="2143" y="651"/>
                </a:cubicBezTo>
                <a:close/>
                <a:moveTo>
                  <a:pt x="2344" y="560"/>
                </a:moveTo>
                <a:cubicBezTo>
                  <a:pt x="2344" y="560"/>
                  <a:pt x="2343" y="559"/>
                  <a:pt x="2343" y="559"/>
                </a:cubicBezTo>
                <a:cubicBezTo>
                  <a:pt x="2343" y="559"/>
                  <a:pt x="2344" y="558"/>
                  <a:pt x="2345" y="558"/>
                </a:cubicBezTo>
                <a:cubicBezTo>
                  <a:pt x="2346" y="557"/>
                  <a:pt x="2347" y="557"/>
                  <a:pt x="2348" y="557"/>
                </a:cubicBezTo>
                <a:cubicBezTo>
                  <a:pt x="2349" y="557"/>
                  <a:pt x="2349" y="557"/>
                  <a:pt x="2349" y="557"/>
                </a:cubicBezTo>
                <a:lnTo>
                  <a:pt x="2349" y="558"/>
                </a:lnTo>
                <a:cubicBezTo>
                  <a:pt x="2348" y="559"/>
                  <a:pt x="2346" y="560"/>
                  <a:pt x="2344" y="560"/>
                </a:cubicBezTo>
                <a:close/>
                <a:moveTo>
                  <a:pt x="2443" y="649"/>
                </a:moveTo>
                <a:lnTo>
                  <a:pt x="2441" y="649"/>
                </a:lnTo>
                <a:cubicBezTo>
                  <a:pt x="2440" y="649"/>
                  <a:pt x="2439" y="649"/>
                  <a:pt x="2439" y="647"/>
                </a:cubicBezTo>
                <a:cubicBezTo>
                  <a:pt x="2439" y="646"/>
                  <a:pt x="2439" y="646"/>
                  <a:pt x="2440" y="646"/>
                </a:cubicBezTo>
                <a:cubicBezTo>
                  <a:pt x="2440" y="646"/>
                  <a:pt x="2441" y="646"/>
                  <a:pt x="2442" y="646"/>
                </a:cubicBezTo>
                <a:cubicBezTo>
                  <a:pt x="2443" y="647"/>
                  <a:pt x="2443" y="647"/>
                  <a:pt x="2443" y="648"/>
                </a:cubicBezTo>
                <a:lnTo>
                  <a:pt x="2443" y="649"/>
                </a:lnTo>
                <a:close/>
                <a:moveTo>
                  <a:pt x="2438" y="643"/>
                </a:moveTo>
                <a:cubicBezTo>
                  <a:pt x="2437" y="643"/>
                  <a:pt x="2437" y="642"/>
                  <a:pt x="2437" y="641"/>
                </a:cubicBezTo>
                <a:cubicBezTo>
                  <a:pt x="2437" y="639"/>
                  <a:pt x="2436" y="637"/>
                  <a:pt x="2435" y="634"/>
                </a:cubicBezTo>
                <a:lnTo>
                  <a:pt x="2435" y="632"/>
                </a:lnTo>
                <a:cubicBezTo>
                  <a:pt x="2435" y="632"/>
                  <a:pt x="2435" y="632"/>
                  <a:pt x="2435" y="632"/>
                </a:cubicBezTo>
                <a:lnTo>
                  <a:pt x="2436" y="632"/>
                </a:lnTo>
                <a:cubicBezTo>
                  <a:pt x="2437" y="633"/>
                  <a:pt x="2438" y="634"/>
                  <a:pt x="2439" y="636"/>
                </a:cubicBezTo>
                <a:cubicBezTo>
                  <a:pt x="2440" y="638"/>
                  <a:pt x="2440" y="639"/>
                  <a:pt x="2440" y="641"/>
                </a:cubicBezTo>
                <a:cubicBezTo>
                  <a:pt x="2440" y="642"/>
                  <a:pt x="2440" y="643"/>
                  <a:pt x="2438" y="643"/>
                </a:cubicBezTo>
                <a:close/>
                <a:moveTo>
                  <a:pt x="2617" y="589"/>
                </a:moveTo>
                <a:close/>
                <a:moveTo>
                  <a:pt x="2715" y="639"/>
                </a:moveTo>
                <a:lnTo>
                  <a:pt x="2714" y="639"/>
                </a:lnTo>
                <a:lnTo>
                  <a:pt x="2714" y="638"/>
                </a:lnTo>
                <a:cubicBezTo>
                  <a:pt x="2714" y="637"/>
                  <a:pt x="2715" y="637"/>
                  <a:pt x="2716" y="635"/>
                </a:cubicBezTo>
                <a:cubicBezTo>
                  <a:pt x="2716" y="634"/>
                  <a:pt x="2718" y="633"/>
                  <a:pt x="2719" y="632"/>
                </a:cubicBezTo>
                <a:cubicBezTo>
                  <a:pt x="2720" y="631"/>
                  <a:pt x="2721" y="630"/>
                  <a:pt x="2721" y="630"/>
                </a:cubicBezTo>
                <a:cubicBezTo>
                  <a:pt x="2721" y="631"/>
                  <a:pt x="2721" y="632"/>
                  <a:pt x="2720" y="633"/>
                </a:cubicBezTo>
                <a:cubicBezTo>
                  <a:pt x="2718" y="635"/>
                  <a:pt x="2717" y="637"/>
                  <a:pt x="2716" y="637"/>
                </a:cubicBezTo>
                <a:cubicBezTo>
                  <a:pt x="2716" y="639"/>
                  <a:pt x="2715" y="639"/>
                  <a:pt x="2715" y="639"/>
                </a:cubicBezTo>
                <a:close/>
                <a:moveTo>
                  <a:pt x="2604" y="954"/>
                </a:moveTo>
                <a:cubicBezTo>
                  <a:pt x="2604" y="954"/>
                  <a:pt x="2606" y="951"/>
                  <a:pt x="2612" y="945"/>
                </a:cubicBezTo>
                <a:cubicBezTo>
                  <a:pt x="2619" y="938"/>
                  <a:pt x="2624" y="935"/>
                  <a:pt x="2625" y="935"/>
                </a:cubicBezTo>
                <a:cubicBezTo>
                  <a:pt x="2625" y="935"/>
                  <a:pt x="2624" y="936"/>
                  <a:pt x="2623" y="938"/>
                </a:cubicBezTo>
                <a:cubicBezTo>
                  <a:pt x="2621" y="941"/>
                  <a:pt x="2620" y="942"/>
                  <a:pt x="2619" y="943"/>
                </a:cubicBezTo>
                <a:cubicBezTo>
                  <a:pt x="2619" y="945"/>
                  <a:pt x="2619" y="946"/>
                  <a:pt x="2618" y="946"/>
                </a:cubicBezTo>
                <a:cubicBezTo>
                  <a:pt x="2617" y="946"/>
                  <a:pt x="2613" y="948"/>
                  <a:pt x="2608" y="951"/>
                </a:cubicBezTo>
                <a:lnTo>
                  <a:pt x="2604" y="954"/>
                </a:lnTo>
                <a:close/>
                <a:moveTo>
                  <a:pt x="2660" y="612"/>
                </a:moveTo>
                <a:cubicBezTo>
                  <a:pt x="2659" y="612"/>
                  <a:pt x="2659" y="612"/>
                  <a:pt x="2659" y="612"/>
                </a:cubicBezTo>
                <a:cubicBezTo>
                  <a:pt x="2659" y="611"/>
                  <a:pt x="2660" y="610"/>
                  <a:pt x="2661" y="609"/>
                </a:cubicBezTo>
                <a:cubicBezTo>
                  <a:pt x="2664" y="606"/>
                  <a:pt x="2666" y="603"/>
                  <a:pt x="2667" y="600"/>
                </a:cubicBezTo>
                <a:cubicBezTo>
                  <a:pt x="2668" y="596"/>
                  <a:pt x="2669" y="594"/>
                  <a:pt x="2670" y="594"/>
                </a:cubicBezTo>
                <a:cubicBezTo>
                  <a:pt x="2671" y="594"/>
                  <a:pt x="2671" y="594"/>
                  <a:pt x="2671" y="595"/>
                </a:cubicBezTo>
                <a:cubicBezTo>
                  <a:pt x="2671" y="597"/>
                  <a:pt x="2670" y="599"/>
                  <a:pt x="2667" y="603"/>
                </a:cubicBezTo>
                <a:cubicBezTo>
                  <a:pt x="2664" y="609"/>
                  <a:pt x="2661" y="612"/>
                  <a:pt x="2660" y="612"/>
                </a:cubicBezTo>
                <a:close/>
                <a:moveTo>
                  <a:pt x="2780" y="846"/>
                </a:moveTo>
                <a:cubicBezTo>
                  <a:pt x="2778" y="846"/>
                  <a:pt x="2778" y="845"/>
                  <a:pt x="2778" y="845"/>
                </a:cubicBezTo>
                <a:cubicBezTo>
                  <a:pt x="2778" y="844"/>
                  <a:pt x="2778" y="843"/>
                  <a:pt x="2780" y="842"/>
                </a:cubicBezTo>
                <a:lnTo>
                  <a:pt x="2781" y="841"/>
                </a:lnTo>
                <a:cubicBezTo>
                  <a:pt x="2782" y="841"/>
                  <a:pt x="2782" y="842"/>
                  <a:pt x="2782" y="843"/>
                </a:cubicBezTo>
                <a:cubicBezTo>
                  <a:pt x="2782" y="845"/>
                  <a:pt x="2781" y="846"/>
                  <a:pt x="2780" y="846"/>
                </a:cubicBezTo>
                <a:close/>
                <a:moveTo>
                  <a:pt x="2833" y="682"/>
                </a:moveTo>
                <a:lnTo>
                  <a:pt x="2833" y="679"/>
                </a:lnTo>
                <a:cubicBezTo>
                  <a:pt x="2833" y="676"/>
                  <a:pt x="2833" y="676"/>
                  <a:pt x="2834" y="676"/>
                </a:cubicBezTo>
                <a:cubicBezTo>
                  <a:pt x="2834" y="676"/>
                  <a:pt x="2835" y="676"/>
                  <a:pt x="2835" y="678"/>
                </a:cubicBezTo>
                <a:cubicBezTo>
                  <a:pt x="2835" y="679"/>
                  <a:pt x="2834" y="680"/>
                  <a:pt x="2834" y="681"/>
                </a:cubicBezTo>
                <a:cubicBezTo>
                  <a:pt x="2834" y="682"/>
                  <a:pt x="2833" y="682"/>
                  <a:pt x="2833" y="682"/>
                </a:cubicBezTo>
                <a:close/>
                <a:moveTo>
                  <a:pt x="2648" y="635"/>
                </a:moveTo>
                <a:lnTo>
                  <a:pt x="2648" y="634"/>
                </a:lnTo>
                <a:lnTo>
                  <a:pt x="2649" y="632"/>
                </a:lnTo>
                <a:cubicBezTo>
                  <a:pt x="2649" y="630"/>
                  <a:pt x="2650" y="629"/>
                  <a:pt x="2651" y="629"/>
                </a:cubicBezTo>
                <a:cubicBezTo>
                  <a:pt x="2651" y="629"/>
                  <a:pt x="2652" y="629"/>
                  <a:pt x="2652" y="630"/>
                </a:cubicBezTo>
                <a:cubicBezTo>
                  <a:pt x="2652" y="631"/>
                  <a:pt x="2651" y="632"/>
                  <a:pt x="2650" y="633"/>
                </a:cubicBezTo>
                <a:cubicBezTo>
                  <a:pt x="2649" y="634"/>
                  <a:pt x="2648" y="635"/>
                  <a:pt x="2648" y="635"/>
                </a:cubicBezTo>
                <a:close/>
                <a:moveTo>
                  <a:pt x="2790" y="828"/>
                </a:moveTo>
                <a:close/>
                <a:moveTo>
                  <a:pt x="2794" y="829"/>
                </a:moveTo>
                <a:cubicBezTo>
                  <a:pt x="2792" y="829"/>
                  <a:pt x="2790" y="828"/>
                  <a:pt x="2790" y="828"/>
                </a:cubicBezTo>
                <a:cubicBezTo>
                  <a:pt x="2790" y="827"/>
                  <a:pt x="2793" y="825"/>
                  <a:pt x="2799" y="821"/>
                </a:cubicBezTo>
                <a:cubicBezTo>
                  <a:pt x="2805" y="816"/>
                  <a:pt x="2808" y="814"/>
                  <a:pt x="2810" y="814"/>
                </a:cubicBezTo>
                <a:cubicBezTo>
                  <a:pt x="2810" y="814"/>
                  <a:pt x="2808" y="816"/>
                  <a:pt x="2804" y="820"/>
                </a:cubicBezTo>
                <a:cubicBezTo>
                  <a:pt x="2799" y="823"/>
                  <a:pt x="2797" y="826"/>
                  <a:pt x="2797" y="827"/>
                </a:cubicBezTo>
                <a:lnTo>
                  <a:pt x="2797" y="828"/>
                </a:lnTo>
                <a:cubicBezTo>
                  <a:pt x="2797" y="828"/>
                  <a:pt x="2796" y="829"/>
                  <a:pt x="2794" y="829"/>
                </a:cubicBezTo>
                <a:close/>
                <a:moveTo>
                  <a:pt x="2837" y="670"/>
                </a:moveTo>
                <a:cubicBezTo>
                  <a:pt x="2836" y="670"/>
                  <a:pt x="2836" y="669"/>
                  <a:pt x="2836" y="667"/>
                </a:cubicBezTo>
                <a:cubicBezTo>
                  <a:pt x="2836" y="665"/>
                  <a:pt x="2837" y="664"/>
                  <a:pt x="2837" y="664"/>
                </a:cubicBezTo>
                <a:cubicBezTo>
                  <a:pt x="2838" y="664"/>
                  <a:pt x="2838" y="665"/>
                  <a:pt x="2838" y="666"/>
                </a:cubicBezTo>
                <a:cubicBezTo>
                  <a:pt x="2838" y="668"/>
                  <a:pt x="2838" y="669"/>
                  <a:pt x="2837" y="669"/>
                </a:cubicBezTo>
                <a:lnTo>
                  <a:pt x="2837" y="670"/>
                </a:lnTo>
                <a:close/>
                <a:moveTo>
                  <a:pt x="2840" y="655"/>
                </a:moveTo>
                <a:lnTo>
                  <a:pt x="2840" y="655"/>
                </a:lnTo>
                <a:cubicBezTo>
                  <a:pt x="2840" y="655"/>
                  <a:pt x="2839" y="655"/>
                  <a:pt x="2839" y="654"/>
                </a:cubicBezTo>
                <a:lnTo>
                  <a:pt x="2839" y="652"/>
                </a:lnTo>
                <a:cubicBezTo>
                  <a:pt x="2840" y="651"/>
                  <a:pt x="2840" y="650"/>
                  <a:pt x="2840" y="650"/>
                </a:cubicBezTo>
                <a:cubicBezTo>
                  <a:pt x="2841" y="650"/>
                  <a:pt x="2841" y="651"/>
                  <a:pt x="2841" y="653"/>
                </a:cubicBezTo>
                <a:cubicBezTo>
                  <a:pt x="2841" y="654"/>
                  <a:pt x="2841" y="654"/>
                  <a:pt x="2840" y="655"/>
                </a:cubicBezTo>
                <a:close/>
                <a:moveTo>
                  <a:pt x="2650" y="926"/>
                </a:moveTo>
                <a:cubicBezTo>
                  <a:pt x="2649" y="926"/>
                  <a:pt x="2649" y="925"/>
                  <a:pt x="2649" y="925"/>
                </a:cubicBezTo>
                <a:cubicBezTo>
                  <a:pt x="2649" y="923"/>
                  <a:pt x="2650" y="922"/>
                  <a:pt x="2651" y="921"/>
                </a:cubicBezTo>
                <a:cubicBezTo>
                  <a:pt x="2653" y="920"/>
                  <a:pt x="2654" y="920"/>
                  <a:pt x="2654" y="920"/>
                </a:cubicBezTo>
                <a:cubicBezTo>
                  <a:pt x="2655" y="920"/>
                  <a:pt x="2655" y="920"/>
                  <a:pt x="2655" y="920"/>
                </a:cubicBezTo>
                <a:cubicBezTo>
                  <a:pt x="2655" y="921"/>
                  <a:pt x="2654" y="922"/>
                  <a:pt x="2653" y="924"/>
                </a:cubicBezTo>
                <a:cubicBezTo>
                  <a:pt x="2651" y="925"/>
                  <a:pt x="2650" y="926"/>
                  <a:pt x="2650" y="926"/>
                </a:cubicBezTo>
                <a:close/>
                <a:moveTo>
                  <a:pt x="2552" y="1151"/>
                </a:moveTo>
                <a:cubicBezTo>
                  <a:pt x="2550" y="1151"/>
                  <a:pt x="2550" y="1151"/>
                  <a:pt x="2550" y="1150"/>
                </a:cubicBezTo>
                <a:cubicBezTo>
                  <a:pt x="2550" y="1150"/>
                  <a:pt x="2550" y="1149"/>
                  <a:pt x="2551" y="1149"/>
                </a:cubicBezTo>
                <a:cubicBezTo>
                  <a:pt x="2551" y="1149"/>
                  <a:pt x="2553" y="1149"/>
                  <a:pt x="2555" y="1148"/>
                </a:cubicBezTo>
                <a:lnTo>
                  <a:pt x="2557" y="1147"/>
                </a:lnTo>
                <a:lnTo>
                  <a:pt x="2558" y="1148"/>
                </a:lnTo>
                <a:cubicBezTo>
                  <a:pt x="2558" y="1148"/>
                  <a:pt x="2558" y="1149"/>
                  <a:pt x="2557" y="1149"/>
                </a:cubicBezTo>
                <a:cubicBezTo>
                  <a:pt x="2557" y="1150"/>
                  <a:pt x="2556" y="1150"/>
                  <a:pt x="2555" y="1151"/>
                </a:cubicBezTo>
                <a:cubicBezTo>
                  <a:pt x="2554" y="1151"/>
                  <a:pt x="2553" y="1151"/>
                  <a:pt x="2552" y="1151"/>
                </a:cubicBezTo>
                <a:close/>
                <a:moveTo>
                  <a:pt x="2598" y="1123"/>
                </a:moveTo>
                <a:close/>
                <a:moveTo>
                  <a:pt x="2598" y="1123"/>
                </a:moveTo>
                <a:cubicBezTo>
                  <a:pt x="2598" y="1123"/>
                  <a:pt x="2598" y="1123"/>
                  <a:pt x="2598" y="1123"/>
                </a:cubicBezTo>
                <a:cubicBezTo>
                  <a:pt x="2598" y="1122"/>
                  <a:pt x="2599" y="1121"/>
                  <a:pt x="2602" y="1119"/>
                </a:cubicBezTo>
                <a:lnTo>
                  <a:pt x="2605" y="1117"/>
                </a:lnTo>
                <a:lnTo>
                  <a:pt x="2603" y="1119"/>
                </a:lnTo>
                <a:cubicBezTo>
                  <a:pt x="2601" y="1122"/>
                  <a:pt x="2599" y="1123"/>
                  <a:pt x="2598" y="1123"/>
                </a:cubicBezTo>
                <a:close/>
                <a:moveTo>
                  <a:pt x="2522" y="1054"/>
                </a:moveTo>
                <a:lnTo>
                  <a:pt x="2524" y="1050"/>
                </a:lnTo>
                <a:cubicBezTo>
                  <a:pt x="2526" y="1046"/>
                  <a:pt x="2528" y="1044"/>
                  <a:pt x="2529" y="1044"/>
                </a:cubicBezTo>
                <a:lnTo>
                  <a:pt x="2529" y="1044"/>
                </a:lnTo>
                <a:cubicBezTo>
                  <a:pt x="2529" y="1045"/>
                  <a:pt x="2528" y="1046"/>
                  <a:pt x="2527" y="1047"/>
                </a:cubicBezTo>
                <a:cubicBezTo>
                  <a:pt x="2525" y="1052"/>
                  <a:pt x="2523" y="1054"/>
                  <a:pt x="2522" y="1054"/>
                </a:cubicBezTo>
                <a:close/>
                <a:moveTo>
                  <a:pt x="2795" y="803"/>
                </a:moveTo>
                <a:cubicBezTo>
                  <a:pt x="2795" y="803"/>
                  <a:pt x="2794" y="803"/>
                  <a:pt x="2794" y="802"/>
                </a:cubicBezTo>
                <a:lnTo>
                  <a:pt x="2798" y="791"/>
                </a:lnTo>
                <a:cubicBezTo>
                  <a:pt x="2800" y="787"/>
                  <a:pt x="2801" y="786"/>
                  <a:pt x="2802" y="786"/>
                </a:cubicBezTo>
                <a:lnTo>
                  <a:pt x="2802" y="786"/>
                </a:lnTo>
                <a:cubicBezTo>
                  <a:pt x="2802" y="787"/>
                  <a:pt x="2801" y="789"/>
                  <a:pt x="2800" y="791"/>
                </a:cubicBezTo>
                <a:cubicBezTo>
                  <a:pt x="2797" y="799"/>
                  <a:pt x="2795" y="803"/>
                  <a:pt x="2795" y="803"/>
                </a:cubicBezTo>
                <a:close/>
                <a:moveTo>
                  <a:pt x="2512" y="1073"/>
                </a:moveTo>
                <a:lnTo>
                  <a:pt x="2511" y="1073"/>
                </a:lnTo>
                <a:lnTo>
                  <a:pt x="2516" y="1063"/>
                </a:lnTo>
                <a:cubicBezTo>
                  <a:pt x="2518" y="1059"/>
                  <a:pt x="2519" y="1058"/>
                  <a:pt x="2520" y="1058"/>
                </a:cubicBezTo>
                <a:lnTo>
                  <a:pt x="2520" y="1058"/>
                </a:lnTo>
                <a:cubicBezTo>
                  <a:pt x="2520" y="1059"/>
                  <a:pt x="2519" y="1061"/>
                  <a:pt x="2518" y="1063"/>
                </a:cubicBezTo>
                <a:cubicBezTo>
                  <a:pt x="2517" y="1066"/>
                  <a:pt x="2516" y="1068"/>
                  <a:pt x="2515" y="1070"/>
                </a:cubicBezTo>
                <a:cubicBezTo>
                  <a:pt x="2513" y="1072"/>
                  <a:pt x="2512" y="1073"/>
                  <a:pt x="2512" y="1073"/>
                </a:cubicBezTo>
                <a:close/>
                <a:moveTo>
                  <a:pt x="2544" y="1168"/>
                </a:moveTo>
                <a:cubicBezTo>
                  <a:pt x="2531" y="1168"/>
                  <a:pt x="2525" y="1168"/>
                  <a:pt x="2525" y="1166"/>
                </a:cubicBezTo>
                <a:cubicBezTo>
                  <a:pt x="2525" y="1166"/>
                  <a:pt x="2524" y="1165"/>
                  <a:pt x="2523" y="1165"/>
                </a:cubicBezTo>
                <a:lnTo>
                  <a:pt x="2519" y="1166"/>
                </a:lnTo>
                <a:cubicBezTo>
                  <a:pt x="2517" y="1166"/>
                  <a:pt x="2514" y="1164"/>
                  <a:pt x="2511" y="1160"/>
                </a:cubicBezTo>
                <a:cubicBezTo>
                  <a:pt x="2508" y="1156"/>
                  <a:pt x="2503" y="1154"/>
                  <a:pt x="2497" y="1153"/>
                </a:cubicBezTo>
                <a:cubicBezTo>
                  <a:pt x="2489" y="1151"/>
                  <a:pt x="2482" y="1147"/>
                  <a:pt x="2477" y="1140"/>
                </a:cubicBezTo>
                <a:cubicBezTo>
                  <a:pt x="2473" y="1133"/>
                  <a:pt x="2470" y="1125"/>
                  <a:pt x="2470" y="1115"/>
                </a:cubicBezTo>
                <a:lnTo>
                  <a:pt x="2470" y="1109"/>
                </a:lnTo>
                <a:cubicBezTo>
                  <a:pt x="2472" y="1089"/>
                  <a:pt x="2474" y="1079"/>
                  <a:pt x="2476" y="1079"/>
                </a:cubicBezTo>
                <a:lnTo>
                  <a:pt x="2476" y="1079"/>
                </a:lnTo>
                <a:cubicBezTo>
                  <a:pt x="2477" y="1079"/>
                  <a:pt x="2478" y="1078"/>
                  <a:pt x="2479" y="1076"/>
                </a:cubicBezTo>
                <a:cubicBezTo>
                  <a:pt x="2480" y="1073"/>
                  <a:pt x="2480" y="1071"/>
                  <a:pt x="2481" y="1068"/>
                </a:cubicBezTo>
                <a:cubicBezTo>
                  <a:pt x="2482" y="1066"/>
                  <a:pt x="2482" y="1064"/>
                  <a:pt x="2482" y="1062"/>
                </a:cubicBezTo>
                <a:lnTo>
                  <a:pt x="2482" y="1060"/>
                </a:lnTo>
                <a:lnTo>
                  <a:pt x="2484" y="1061"/>
                </a:lnTo>
                <a:cubicBezTo>
                  <a:pt x="2485" y="1061"/>
                  <a:pt x="2487" y="1060"/>
                  <a:pt x="2487" y="1058"/>
                </a:cubicBezTo>
                <a:cubicBezTo>
                  <a:pt x="2488" y="1056"/>
                  <a:pt x="2489" y="1054"/>
                  <a:pt x="2489" y="1053"/>
                </a:cubicBezTo>
                <a:cubicBezTo>
                  <a:pt x="2489" y="1053"/>
                  <a:pt x="2488" y="1053"/>
                  <a:pt x="2488" y="1053"/>
                </a:cubicBezTo>
                <a:cubicBezTo>
                  <a:pt x="2488" y="1053"/>
                  <a:pt x="2487" y="1053"/>
                  <a:pt x="2486" y="1053"/>
                </a:cubicBezTo>
                <a:cubicBezTo>
                  <a:pt x="2486" y="1054"/>
                  <a:pt x="2485" y="1054"/>
                  <a:pt x="2485" y="1054"/>
                </a:cubicBezTo>
                <a:cubicBezTo>
                  <a:pt x="2484" y="1054"/>
                  <a:pt x="2484" y="1054"/>
                  <a:pt x="2484" y="1053"/>
                </a:cubicBezTo>
                <a:cubicBezTo>
                  <a:pt x="2484" y="1051"/>
                  <a:pt x="2487" y="1045"/>
                  <a:pt x="2494" y="1035"/>
                </a:cubicBezTo>
                <a:cubicBezTo>
                  <a:pt x="2500" y="1025"/>
                  <a:pt x="2508" y="1014"/>
                  <a:pt x="2517" y="1001"/>
                </a:cubicBezTo>
                <a:cubicBezTo>
                  <a:pt x="2551" y="954"/>
                  <a:pt x="2595" y="911"/>
                  <a:pt x="2648" y="874"/>
                </a:cubicBezTo>
                <a:cubicBezTo>
                  <a:pt x="2657" y="868"/>
                  <a:pt x="2662" y="865"/>
                  <a:pt x="2664" y="865"/>
                </a:cubicBezTo>
                <a:lnTo>
                  <a:pt x="2664" y="865"/>
                </a:lnTo>
                <a:cubicBezTo>
                  <a:pt x="2664" y="866"/>
                  <a:pt x="2664" y="867"/>
                  <a:pt x="2663" y="869"/>
                </a:cubicBezTo>
                <a:lnTo>
                  <a:pt x="2661" y="871"/>
                </a:lnTo>
                <a:lnTo>
                  <a:pt x="2663" y="869"/>
                </a:lnTo>
                <a:cubicBezTo>
                  <a:pt x="2665" y="867"/>
                  <a:pt x="2666" y="866"/>
                  <a:pt x="2666" y="864"/>
                </a:cubicBezTo>
                <a:cubicBezTo>
                  <a:pt x="2666" y="862"/>
                  <a:pt x="2671" y="859"/>
                  <a:pt x="2681" y="853"/>
                </a:cubicBezTo>
                <a:cubicBezTo>
                  <a:pt x="2691" y="848"/>
                  <a:pt x="2698" y="845"/>
                  <a:pt x="2700" y="845"/>
                </a:cubicBezTo>
                <a:lnTo>
                  <a:pt x="2702" y="845"/>
                </a:lnTo>
                <a:cubicBezTo>
                  <a:pt x="2703" y="845"/>
                  <a:pt x="2703" y="844"/>
                  <a:pt x="2703" y="843"/>
                </a:cubicBezTo>
                <a:cubicBezTo>
                  <a:pt x="2703" y="842"/>
                  <a:pt x="2708" y="838"/>
                  <a:pt x="2717" y="834"/>
                </a:cubicBezTo>
                <a:cubicBezTo>
                  <a:pt x="2726" y="829"/>
                  <a:pt x="2732" y="827"/>
                  <a:pt x="2735" y="827"/>
                </a:cubicBezTo>
                <a:lnTo>
                  <a:pt x="2736" y="827"/>
                </a:lnTo>
                <a:cubicBezTo>
                  <a:pt x="2737" y="827"/>
                  <a:pt x="2737" y="826"/>
                  <a:pt x="2737" y="826"/>
                </a:cubicBezTo>
                <a:lnTo>
                  <a:pt x="2737" y="825"/>
                </a:lnTo>
                <a:cubicBezTo>
                  <a:pt x="2737" y="824"/>
                  <a:pt x="2738" y="823"/>
                  <a:pt x="2740" y="823"/>
                </a:cubicBezTo>
                <a:cubicBezTo>
                  <a:pt x="2743" y="822"/>
                  <a:pt x="2745" y="820"/>
                  <a:pt x="2747" y="818"/>
                </a:cubicBezTo>
                <a:cubicBezTo>
                  <a:pt x="2748" y="815"/>
                  <a:pt x="2752" y="807"/>
                  <a:pt x="2758" y="792"/>
                </a:cubicBezTo>
                <a:cubicBezTo>
                  <a:pt x="2761" y="786"/>
                  <a:pt x="2763" y="782"/>
                  <a:pt x="2763" y="780"/>
                </a:cubicBezTo>
                <a:cubicBezTo>
                  <a:pt x="2764" y="779"/>
                  <a:pt x="2765" y="778"/>
                  <a:pt x="2765" y="777"/>
                </a:cubicBezTo>
                <a:cubicBezTo>
                  <a:pt x="2765" y="776"/>
                  <a:pt x="2770" y="766"/>
                  <a:pt x="2777" y="747"/>
                </a:cubicBezTo>
                <a:cubicBezTo>
                  <a:pt x="2783" y="732"/>
                  <a:pt x="2786" y="723"/>
                  <a:pt x="2787" y="721"/>
                </a:cubicBezTo>
                <a:cubicBezTo>
                  <a:pt x="2788" y="718"/>
                  <a:pt x="2789" y="715"/>
                  <a:pt x="2790" y="710"/>
                </a:cubicBezTo>
                <a:cubicBezTo>
                  <a:pt x="2791" y="705"/>
                  <a:pt x="2792" y="701"/>
                  <a:pt x="2793" y="697"/>
                </a:cubicBezTo>
                <a:cubicBezTo>
                  <a:pt x="2794" y="695"/>
                  <a:pt x="2795" y="693"/>
                  <a:pt x="2795" y="692"/>
                </a:cubicBezTo>
                <a:lnTo>
                  <a:pt x="2795" y="692"/>
                </a:lnTo>
                <a:cubicBezTo>
                  <a:pt x="2795" y="691"/>
                  <a:pt x="2796" y="687"/>
                  <a:pt x="2798" y="681"/>
                </a:cubicBezTo>
                <a:lnTo>
                  <a:pt x="2807" y="650"/>
                </a:lnTo>
                <a:cubicBezTo>
                  <a:pt x="2810" y="643"/>
                  <a:pt x="2812" y="636"/>
                  <a:pt x="2813" y="628"/>
                </a:cubicBezTo>
                <a:lnTo>
                  <a:pt x="2817" y="611"/>
                </a:lnTo>
                <a:cubicBezTo>
                  <a:pt x="2820" y="598"/>
                  <a:pt x="2823" y="583"/>
                  <a:pt x="2825" y="569"/>
                </a:cubicBezTo>
                <a:cubicBezTo>
                  <a:pt x="2828" y="556"/>
                  <a:pt x="2829" y="546"/>
                  <a:pt x="2829" y="539"/>
                </a:cubicBezTo>
                <a:cubicBezTo>
                  <a:pt x="2829" y="536"/>
                  <a:pt x="2829" y="535"/>
                  <a:pt x="2828" y="535"/>
                </a:cubicBezTo>
                <a:cubicBezTo>
                  <a:pt x="2827" y="535"/>
                  <a:pt x="2819" y="542"/>
                  <a:pt x="2805" y="557"/>
                </a:cubicBezTo>
                <a:cubicBezTo>
                  <a:pt x="2790" y="572"/>
                  <a:pt x="2780" y="583"/>
                  <a:pt x="2774" y="592"/>
                </a:cubicBezTo>
                <a:cubicBezTo>
                  <a:pt x="2770" y="595"/>
                  <a:pt x="2765" y="601"/>
                  <a:pt x="2757" y="608"/>
                </a:cubicBezTo>
                <a:cubicBezTo>
                  <a:pt x="2749" y="616"/>
                  <a:pt x="2745" y="620"/>
                  <a:pt x="2745" y="622"/>
                </a:cubicBezTo>
                <a:lnTo>
                  <a:pt x="2745" y="623"/>
                </a:lnTo>
                <a:cubicBezTo>
                  <a:pt x="2745" y="624"/>
                  <a:pt x="2745" y="624"/>
                  <a:pt x="2743" y="624"/>
                </a:cubicBezTo>
                <a:cubicBezTo>
                  <a:pt x="2741" y="624"/>
                  <a:pt x="2736" y="627"/>
                  <a:pt x="2730" y="634"/>
                </a:cubicBezTo>
                <a:cubicBezTo>
                  <a:pt x="2719" y="645"/>
                  <a:pt x="2708" y="655"/>
                  <a:pt x="2698" y="663"/>
                </a:cubicBezTo>
                <a:cubicBezTo>
                  <a:pt x="2687" y="671"/>
                  <a:pt x="2680" y="676"/>
                  <a:pt x="2678" y="676"/>
                </a:cubicBezTo>
                <a:lnTo>
                  <a:pt x="2676" y="675"/>
                </a:lnTo>
                <a:cubicBezTo>
                  <a:pt x="2675" y="675"/>
                  <a:pt x="2675" y="676"/>
                  <a:pt x="2675" y="676"/>
                </a:cubicBezTo>
                <a:cubicBezTo>
                  <a:pt x="2675" y="677"/>
                  <a:pt x="2673" y="679"/>
                  <a:pt x="2670" y="681"/>
                </a:cubicBezTo>
                <a:cubicBezTo>
                  <a:pt x="2667" y="684"/>
                  <a:pt x="2663" y="686"/>
                  <a:pt x="2659" y="688"/>
                </a:cubicBezTo>
                <a:cubicBezTo>
                  <a:pt x="2656" y="690"/>
                  <a:pt x="2653" y="691"/>
                  <a:pt x="2651" y="691"/>
                </a:cubicBezTo>
                <a:lnTo>
                  <a:pt x="2650" y="691"/>
                </a:lnTo>
                <a:cubicBezTo>
                  <a:pt x="2649" y="691"/>
                  <a:pt x="2649" y="692"/>
                  <a:pt x="2649" y="693"/>
                </a:cubicBezTo>
                <a:cubicBezTo>
                  <a:pt x="2649" y="693"/>
                  <a:pt x="2647" y="695"/>
                  <a:pt x="2644" y="696"/>
                </a:cubicBezTo>
                <a:cubicBezTo>
                  <a:pt x="2638" y="700"/>
                  <a:pt x="2632" y="702"/>
                  <a:pt x="2627" y="702"/>
                </a:cubicBezTo>
                <a:cubicBezTo>
                  <a:pt x="2619" y="701"/>
                  <a:pt x="2612" y="698"/>
                  <a:pt x="2606" y="691"/>
                </a:cubicBezTo>
                <a:cubicBezTo>
                  <a:pt x="2600" y="684"/>
                  <a:pt x="2597" y="677"/>
                  <a:pt x="2597" y="669"/>
                </a:cubicBezTo>
                <a:lnTo>
                  <a:pt x="2597" y="667"/>
                </a:lnTo>
                <a:cubicBezTo>
                  <a:pt x="2599" y="651"/>
                  <a:pt x="2606" y="631"/>
                  <a:pt x="2620" y="607"/>
                </a:cubicBezTo>
                <a:cubicBezTo>
                  <a:pt x="2634" y="583"/>
                  <a:pt x="2651" y="561"/>
                  <a:pt x="2670" y="540"/>
                </a:cubicBezTo>
                <a:cubicBezTo>
                  <a:pt x="2689" y="518"/>
                  <a:pt x="2706" y="503"/>
                  <a:pt x="2722" y="495"/>
                </a:cubicBezTo>
                <a:cubicBezTo>
                  <a:pt x="2740" y="486"/>
                  <a:pt x="2757" y="481"/>
                  <a:pt x="2772" y="481"/>
                </a:cubicBezTo>
                <a:cubicBezTo>
                  <a:pt x="2783" y="481"/>
                  <a:pt x="2792" y="483"/>
                  <a:pt x="2800" y="487"/>
                </a:cubicBezTo>
                <a:cubicBezTo>
                  <a:pt x="2807" y="491"/>
                  <a:pt x="2812" y="497"/>
                  <a:pt x="2815" y="504"/>
                </a:cubicBezTo>
                <a:cubicBezTo>
                  <a:pt x="2817" y="508"/>
                  <a:pt x="2818" y="510"/>
                  <a:pt x="2819" y="512"/>
                </a:cubicBezTo>
                <a:cubicBezTo>
                  <a:pt x="2820" y="513"/>
                  <a:pt x="2821" y="513"/>
                  <a:pt x="2823" y="513"/>
                </a:cubicBezTo>
                <a:lnTo>
                  <a:pt x="2831" y="512"/>
                </a:lnTo>
                <a:cubicBezTo>
                  <a:pt x="2835" y="512"/>
                  <a:pt x="2839" y="513"/>
                  <a:pt x="2843" y="515"/>
                </a:cubicBezTo>
                <a:cubicBezTo>
                  <a:pt x="2846" y="517"/>
                  <a:pt x="2849" y="520"/>
                  <a:pt x="2850" y="523"/>
                </a:cubicBezTo>
                <a:cubicBezTo>
                  <a:pt x="2851" y="526"/>
                  <a:pt x="2852" y="531"/>
                  <a:pt x="2852" y="539"/>
                </a:cubicBezTo>
                <a:cubicBezTo>
                  <a:pt x="2852" y="556"/>
                  <a:pt x="2849" y="583"/>
                  <a:pt x="2843" y="617"/>
                </a:cubicBezTo>
                <a:cubicBezTo>
                  <a:pt x="2837" y="652"/>
                  <a:pt x="2830" y="685"/>
                  <a:pt x="2821" y="715"/>
                </a:cubicBezTo>
                <a:cubicBezTo>
                  <a:pt x="2817" y="728"/>
                  <a:pt x="2815" y="735"/>
                  <a:pt x="2815" y="737"/>
                </a:cubicBezTo>
                <a:lnTo>
                  <a:pt x="2815" y="737"/>
                </a:lnTo>
                <a:cubicBezTo>
                  <a:pt x="2816" y="737"/>
                  <a:pt x="2819" y="729"/>
                  <a:pt x="2823" y="714"/>
                </a:cubicBezTo>
                <a:cubicBezTo>
                  <a:pt x="2827" y="698"/>
                  <a:pt x="2830" y="690"/>
                  <a:pt x="2831" y="690"/>
                </a:cubicBezTo>
                <a:lnTo>
                  <a:pt x="2831" y="691"/>
                </a:lnTo>
                <a:cubicBezTo>
                  <a:pt x="2831" y="695"/>
                  <a:pt x="2827" y="712"/>
                  <a:pt x="2817" y="742"/>
                </a:cubicBezTo>
                <a:cubicBezTo>
                  <a:pt x="2809" y="766"/>
                  <a:pt x="2805" y="778"/>
                  <a:pt x="2804" y="778"/>
                </a:cubicBezTo>
                <a:lnTo>
                  <a:pt x="2804" y="778"/>
                </a:lnTo>
                <a:cubicBezTo>
                  <a:pt x="2804" y="776"/>
                  <a:pt x="2805" y="769"/>
                  <a:pt x="2810" y="757"/>
                </a:cubicBezTo>
                <a:cubicBezTo>
                  <a:pt x="2813" y="749"/>
                  <a:pt x="2814" y="744"/>
                  <a:pt x="2814" y="742"/>
                </a:cubicBezTo>
                <a:lnTo>
                  <a:pt x="2814" y="742"/>
                </a:lnTo>
                <a:cubicBezTo>
                  <a:pt x="2813" y="742"/>
                  <a:pt x="2808" y="754"/>
                  <a:pt x="2800" y="778"/>
                </a:cubicBezTo>
                <a:cubicBezTo>
                  <a:pt x="2793" y="796"/>
                  <a:pt x="2790" y="807"/>
                  <a:pt x="2790" y="810"/>
                </a:cubicBezTo>
                <a:lnTo>
                  <a:pt x="2790" y="811"/>
                </a:lnTo>
                <a:lnTo>
                  <a:pt x="2790" y="810"/>
                </a:lnTo>
                <a:cubicBezTo>
                  <a:pt x="2792" y="809"/>
                  <a:pt x="2793" y="808"/>
                  <a:pt x="2793" y="808"/>
                </a:cubicBezTo>
                <a:lnTo>
                  <a:pt x="2793" y="809"/>
                </a:lnTo>
                <a:cubicBezTo>
                  <a:pt x="2793" y="810"/>
                  <a:pt x="2794" y="811"/>
                  <a:pt x="2795" y="811"/>
                </a:cubicBezTo>
                <a:lnTo>
                  <a:pt x="2800" y="810"/>
                </a:lnTo>
                <a:cubicBezTo>
                  <a:pt x="2801" y="810"/>
                  <a:pt x="2802" y="811"/>
                  <a:pt x="2802" y="812"/>
                </a:cubicBezTo>
                <a:cubicBezTo>
                  <a:pt x="2802" y="813"/>
                  <a:pt x="2801" y="814"/>
                  <a:pt x="2800" y="816"/>
                </a:cubicBezTo>
                <a:cubicBezTo>
                  <a:pt x="2799" y="817"/>
                  <a:pt x="2798" y="818"/>
                  <a:pt x="2796" y="819"/>
                </a:cubicBezTo>
                <a:cubicBezTo>
                  <a:pt x="2794" y="820"/>
                  <a:pt x="2792" y="821"/>
                  <a:pt x="2790" y="823"/>
                </a:cubicBezTo>
                <a:cubicBezTo>
                  <a:pt x="2788" y="825"/>
                  <a:pt x="2786" y="826"/>
                  <a:pt x="2784" y="828"/>
                </a:cubicBezTo>
                <a:lnTo>
                  <a:pt x="2781" y="832"/>
                </a:lnTo>
                <a:cubicBezTo>
                  <a:pt x="2782" y="832"/>
                  <a:pt x="2783" y="831"/>
                  <a:pt x="2784" y="830"/>
                </a:cubicBezTo>
                <a:cubicBezTo>
                  <a:pt x="2785" y="829"/>
                  <a:pt x="2787" y="828"/>
                  <a:pt x="2787" y="828"/>
                </a:cubicBezTo>
                <a:cubicBezTo>
                  <a:pt x="2787" y="828"/>
                  <a:pt x="2788" y="828"/>
                  <a:pt x="2788" y="829"/>
                </a:cubicBezTo>
                <a:lnTo>
                  <a:pt x="2787" y="833"/>
                </a:lnTo>
                <a:cubicBezTo>
                  <a:pt x="2787" y="836"/>
                  <a:pt x="2785" y="837"/>
                  <a:pt x="2783" y="837"/>
                </a:cubicBezTo>
                <a:lnTo>
                  <a:pt x="2782" y="837"/>
                </a:lnTo>
                <a:cubicBezTo>
                  <a:pt x="2780" y="837"/>
                  <a:pt x="2779" y="838"/>
                  <a:pt x="2778" y="839"/>
                </a:cubicBezTo>
                <a:cubicBezTo>
                  <a:pt x="2777" y="841"/>
                  <a:pt x="2777" y="842"/>
                  <a:pt x="2777" y="844"/>
                </a:cubicBezTo>
                <a:cubicBezTo>
                  <a:pt x="2777" y="845"/>
                  <a:pt x="2777" y="846"/>
                  <a:pt x="2778" y="848"/>
                </a:cubicBezTo>
                <a:cubicBezTo>
                  <a:pt x="2779" y="849"/>
                  <a:pt x="2779" y="850"/>
                  <a:pt x="2779" y="850"/>
                </a:cubicBezTo>
                <a:lnTo>
                  <a:pt x="2777" y="850"/>
                </a:lnTo>
                <a:cubicBezTo>
                  <a:pt x="2775" y="850"/>
                  <a:pt x="2772" y="854"/>
                  <a:pt x="2770" y="860"/>
                </a:cubicBezTo>
                <a:cubicBezTo>
                  <a:pt x="2757" y="894"/>
                  <a:pt x="2743" y="926"/>
                  <a:pt x="2729" y="957"/>
                </a:cubicBezTo>
                <a:cubicBezTo>
                  <a:pt x="2715" y="988"/>
                  <a:pt x="2702" y="1013"/>
                  <a:pt x="2691" y="1031"/>
                </a:cubicBezTo>
                <a:cubicBezTo>
                  <a:pt x="2685" y="1043"/>
                  <a:pt x="2681" y="1050"/>
                  <a:pt x="2681" y="1051"/>
                </a:cubicBezTo>
                <a:lnTo>
                  <a:pt x="2681" y="1051"/>
                </a:lnTo>
                <a:cubicBezTo>
                  <a:pt x="2682" y="1051"/>
                  <a:pt x="2684" y="1050"/>
                  <a:pt x="2686" y="1046"/>
                </a:cubicBezTo>
                <a:cubicBezTo>
                  <a:pt x="2688" y="1041"/>
                  <a:pt x="2690" y="1039"/>
                  <a:pt x="2691" y="1039"/>
                </a:cubicBezTo>
                <a:cubicBezTo>
                  <a:pt x="2691" y="1040"/>
                  <a:pt x="2690" y="1041"/>
                  <a:pt x="2689" y="1044"/>
                </a:cubicBezTo>
                <a:cubicBezTo>
                  <a:pt x="2687" y="1047"/>
                  <a:pt x="2685" y="1050"/>
                  <a:pt x="2683" y="1053"/>
                </a:cubicBezTo>
                <a:cubicBezTo>
                  <a:pt x="2681" y="1056"/>
                  <a:pt x="2680" y="1059"/>
                  <a:pt x="2678" y="1062"/>
                </a:cubicBezTo>
                <a:cubicBezTo>
                  <a:pt x="2676" y="1065"/>
                  <a:pt x="2675" y="1066"/>
                  <a:pt x="2674" y="1067"/>
                </a:cubicBezTo>
                <a:lnTo>
                  <a:pt x="2673" y="1068"/>
                </a:lnTo>
                <a:lnTo>
                  <a:pt x="2674" y="1065"/>
                </a:lnTo>
                <a:lnTo>
                  <a:pt x="2674" y="1064"/>
                </a:lnTo>
                <a:cubicBezTo>
                  <a:pt x="2674" y="1064"/>
                  <a:pt x="2673" y="1064"/>
                  <a:pt x="2673" y="1065"/>
                </a:cubicBezTo>
                <a:cubicBezTo>
                  <a:pt x="2672" y="1066"/>
                  <a:pt x="2671" y="1067"/>
                  <a:pt x="2671" y="1068"/>
                </a:cubicBezTo>
                <a:lnTo>
                  <a:pt x="2671" y="1070"/>
                </a:lnTo>
                <a:cubicBezTo>
                  <a:pt x="2671" y="1073"/>
                  <a:pt x="2667" y="1080"/>
                  <a:pt x="2659" y="1090"/>
                </a:cubicBezTo>
                <a:cubicBezTo>
                  <a:pt x="2650" y="1101"/>
                  <a:pt x="2640" y="1112"/>
                  <a:pt x="2629" y="1123"/>
                </a:cubicBezTo>
                <a:cubicBezTo>
                  <a:pt x="2618" y="1134"/>
                  <a:pt x="2609" y="1142"/>
                  <a:pt x="2600" y="1149"/>
                </a:cubicBezTo>
                <a:cubicBezTo>
                  <a:pt x="2590" y="1156"/>
                  <a:pt x="2580" y="1161"/>
                  <a:pt x="2572" y="1164"/>
                </a:cubicBezTo>
                <a:cubicBezTo>
                  <a:pt x="2563" y="1167"/>
                  <a:pt x="2554" y="1168"/>
                  <a:pt x="2544" y="1168"/>
                </a:cubicBezTo>
                <a:close/>
                <a:moveTo>
                  <a:pt x="2683" y="571"/>
                </a:moveTo>
                <a:cubicBezTo>
                  <a:pt x="2684" y="571"/>
                  <a:pt x="2685" y="570"/>
                  <a:pt x="2686" y="568"/>
                </a:cubicBezTo>
                <a:cubicBezTo>
                  <a:pt x="2686" y="567"/>
                  <a:pt x="2688" y="563"/>
                  <a:pt x="2692" y="557"/>
                </a:cubicBezTo>
                <a:cubicBezTo>
                  <a:pt x="2697" y="551"/>
                  <a:pt x="2702" y="545"/>
                  <a:pt x="2708" y="538"/>
                </a:cubicBezTo>
                <a:cubicBezTo>
                  <a:pt x="2713" y="531"/>
                  <a:pt x="2718" y="526"/>
                  <a:pt x="2723" y="521"/>
                </a:cubicBezTo>
                <a:cubicBezTo>
                  <a:pt x="2730" y="514"/>
                  <a:pt x="2734" y="510"/>
                  <a:pt x="2734" y="509"/>
                </a:cubicBezTo>
                <a:lnTo>
                  <a:pt x="2733" y="509"/>
                </a:lnTo>
                <a:cubicBezTo>
                  <a:pt x="2733" y="509"/>
                  <a:pt x="2731" y="511"/>
                  <a:pt x="2727" y="513"/>
                </a:cubicBezTo>
                <a:cubicBezTo>
                  <a:pt x="2721" y="519"/>
                  <a:pt x="2714" y="525"/>
                  <a:pt x="2707" y="533"/>
                </a:cubicBezTo>
                <a:cubicBezTo>
                  <a:pt x="2700" y="540"/>
                  <a:pt x="2694" y="548"/>
                  <a:pt x="2689" y="555"/>
                </a:cubicBezTo>
                <a:cubicBezTo>
                  <a:pt x="2684" y="562"/>
                  <a:pt x="2682" y="567"/>
                  <a:pt x="2682" y="569"/>
                </a:cubicBezTo>
                <a:cubicBezTo>
                  <a:pt x="2682" y="570"/>
                  <a:pt x="2682" y="571"/>
                  <a:pt x="2683" y="571"/>
                </a:cubicBezTo>
                <a:close/>
                <a:moveTo>
                  <a:pt x="2664" y="588"/>
                </a:moveTo>
                <a:cubicBezTo>
                  <a:pt x="2664" y="588"/>
                  <a:pt x="2664" y="587"/>
                  <a:pt x="2665" y="586"/>
                </a:cubicBezTo>
                <a:cubicBezTo>
                  <a:pt x="2666" y="585"/>
                  <a:pt x="2667" y="584"/>
                  <a:pt x="2668" y="583"/>
                </a:cubicBezTo>
                <a:cubicBezTo>
                  <a:pt x="2669" y="583"/>
                  <a:pt x="2670" y="583"/>
                  <a:pt x="2671" y="583"/>
                </a:cubicBezTo>
                <a:lnTo>
                  <a:pt x="2675" y="583"/>
                </a:lnTo>
                <a:cubicBezTo>
                  <a:pt x="2676" y="583"/>
                  <a:pt x="2676" y="583"/>
                  <a:pt x="2676" y="581"/>
                </a:cubicBezTo>
                <a:cubicBezTo>
                  <a:pt x="2676" y="581"/>
                  <a:pt x="2676" y="580"/>
                  <a:pt x="2676" y="579"/>
                </a:cubicBezTo>
                <a:cubicBezTo>
                  <a:pt x="2675" y="578"/>
                  <a:pt x="2675" y="577"/>
                  <a:pt x="2675" y="576"/>
                </a:cubicBezTo>
                <a:lnTo>
                  <a:pt x="2678" y="577"/>
                </a:lnTo>
                <a:cubicBezTo>
                  <a:pt x="2681" y="577"/>
                  <a:pt x="2682" y="576"/>
                  <a:pt x="2682" y="574"/>
                </a:cubicBezTo>
                <a:cubicBezTo>
                  <a:pt x="2682" y="573"/>
                  <a:pt x="2681" y="573"/>
                  <a:pt x="2681" y="572"/>
                </a:cubicBezTo>
                <a:cubicBezTo>
                  <a:pt x="2680" y="572"/>
                  <a:pt x="2680" y="571"/>
                  <a:pt x="2680" y="570"/>
                </a:cubicBezTo>
                <a:lnTo>
                  <a:pt x="2681" y="566"/>
                </a:lnTo>
                <a:cubicBezTo>
                  <a:pt x="2679" y="566"/>
                  <a:pt x="2677" y="568"/>
                  <a:pt x="2674" y="571"/>
                </a:cubicBezTo>
                <a:cubicBezTo>
                  <a:pt x="2667" y="580"/>
                  <a:pt x="2664" y="585"/>
                  <a:pt x="2664" y="587"/>
                </a:cubicBezTo>
                <a:lnTo>
                  <a:pt x="2664" y="588"/>
                </a:lnTo>
                <a:close/>
                <a:moveTo>
                  <a:pt x="2625" y="672"/>
                </a:moveTo>
                <a:cubicBezTo>
                  <a:pt x="2626" y="672"/>
                  <a:pt x="2631" y="669"/>
                  <a:pt x="2640" y="663"/>
                </a:cubicBezTo>
                <a:cubicBezTo>
                  <a:pt x="2664" y="649"/>
                  <a:pt x="2697" y="621"/>
                  <a:pt x="2741" y="579"/>
                </a:cubicBezTo>
                <a:cubicBezTo>
                  <a:pt x="2754" y="566"/>
                  <a:pt x="2766" y="555"/>
                  <a:pt x="2775" y="546"/>
                </a:cubicBezTo>
                <a:cubicBezTo>
                  <a:pt x="2785" y="537"/>
                  <a:pt x="2791" y="532"/>
                  <a:pt x="2792" y="531"/>
                </a:cubicBezTo>
                <a:cubicBezTo>
                  <a:pt x="2794" y="530"/>
                  <a:pt x="2795" y="528"/>
                  <a:pt x="2797" y="526"/>
                </a:cubicBezTo>
                <a:cubicBezTo>
                  <a:pt x="2798" y="523"/>
                  <a:pt x="2798" y="521"/>
                  <a:pt x="2798" y="518"/>
                </a:cubicBezTo>
                <a:cubicBezTo>
                  <a:pt x="2798" y="517"/>
                  <a:pt x="2798" y="516"/>
                  <a:pt x="2798" y="515"/>
                </a:cubicBezTo>
                <a:cubicBezTo>
                  <a:pt x="2797" y="514"/>
                  <a:pt x="2797" y="513"/>
                  <a:pt x="2797" y="512"/>
                </a:cubicBezTo>
                <a:cubicBezTo>
                  <a:pt x="2797" y="512"/>
                  <a:pt x="2797" y="512"/>
                  <a:pt x="2798" y="512"/>
                </a:cubicBezTo>
                <a:lnTo>
                  <a:pt x="2799" y="512"/>
                </a:lnTo>
                <a:cubicBezTo>
                  <a:pt x="2800" y="513"/>
                  <a:pt x="2801" y="514"/>
                  <a:pt x="2801" y="517"/>
                </a:cubicBezTo>
                <a:lnTo>
                  <a:pt x="2801" y="521"/>
                </a:lnTo>
                <a:cubicBezTo>
                  <a:pt x="2801" y="523"/>
                  <a:pt x="2801" y="524"/>
                  <a:pt x="2802" y="524"/>
                </a:cubicBezTo>
                <a:cubicBezTo>
                  <a:pt x="2802" y="524"/>
                  <a:pt x="2802" y="524"/>
                  <a:pt x="2803" y="523"/>
                </a:cubicBezTo>
                <a:cubicBezTo>
                  <a:pt x="2803" y="523"/>
                  <a:pt x="2804" y="522"/>
                  <a:pt x="2804" y="520"/>
                </a:cubicBezTo>
                <a:cubicBezTo>
                  <a:pt x="2805" y="519"/>
                  <a:pt x="2805" y="517"/>
                  <a:pt x="2805" y="516"/>
                </a:cubicBezTo>
                <a:cubicBezTo>
                  <a:pt x="2805" y="513"/>
                  <a:pt x="2804" y="511"/>
                  <a:pt x="2804" y="511"/>
                </a:cubicBezTo>
                <a:cubicBezTo>
                  <a:pt x="2802" y="511"/>
                  <a:pt x="2802" y="511"/>
                  <a:pt x="2802" y="510"/>
                </a:cubicBezTo>
                <a:lnTo>
                  <a:pt x="2803" y="507"/>
                </a:lnTo>
                <a:cubicBezTo>
                  <a:pt x="2803" y="506"/>
                  <a:pt x="2803" y="505"/>
                  <a:pt x="2802" y="504"/>
                </a:cubicBezTo>
                <a:cubicBezTo>
                  <a:pt x="2802" y="503"/>
                  <a:pt x="2801" y="502"/>
                  <a:pt x="2800" y="502"/>
                </a:cubicBezTo>
                <a:cubicBezTo>
                  <a:pt x="2800" y="502"/>
                  <a:pt x="2800" y="503"/>
                  <a:pt x="2800" y="504"/>
                </a:cubicBezTo>
                <a:lnTo>
                  <a:pt x="2800" y="507"/>
                </a:lnTo>
                <a:cubicBezTo>
                  <a:pt x="2800" y="508"/>
                  <a:pt x="2800" y="509"/>
                  <a:pt x="2800" y="509"/>
                </a:cubicBezTo>
                <a:cubicBezTo>
                  <a:pt x="2798" y="509"/>
                  <a:pt x="2797" y="507"/>
                  <a:pt x="2797" y="504"/>
                </a:cubicBezTo>
                <a:lnTo>
                  <a:pt x="2797" y="499"/>
                </a:lnTo>
                <a:lnTo>
                  <a:pt x="2796" y="500"/>
                </a:lnTo>
                <a:cubicBezTo>
                  <a:pt x="2795" y="500"/>
                  <a:pt x="2795" y="501"/>
                  <a:pt x="2794" y="501"/>
                </a:cubicBezTo>
                <a:cubicBezTo>
                  <a:pt x="2793" y="501"/>
                  <a:pt x="2792" y="500"/>
                  <a:pt x="2791" y="499"/>
                </a:cubicBezTo>
                <a:cubicBezTo>
                  <a:pt x="2789" y="497"/>
                  <a:pt x="2788" y="496"/>
                  <a:pt x="2786" y="495"/>
                </a:cubicBezTo>
                <a:cubicBezTo>
                  <a:pt x="2784" y="494"/>
                  <a:pt x="2782" y="494"/>
                  <a:pt x="2780" y="494"/>
                </a:cubicBezTo>
                <a:cubicBezTo>
                  <a:pt x="2779" y="494"/>
                  <a:pt x="2778" y="495"/>
                  <a:pt x="2778" y="495"/>
                </a:cubicBezTo>
                <a:cubicBezTo>
                  <a:pt x="2778" y="496"/>
                  <a:pt x="2777" y="497"/>
                  <a:pt x="2776" y="497"/>
                </a:cubicBezTo>
                <a:lnTo>
                  <a:pt x="2771" y="496"/>
                </a:lnTo>
                <a:cubicBezTo>
                  <a:pt x="2770" y="496"/>
                  <a:pt x="2769" y="496"/>
                  <a:pt x="2769" y="497"/>
                </a:cubicBezTo>
                <a:cubicBezTo>
                  <a:pt x="2769" y="498"/>
                  <a:pt x="2768" y="499"/>
                  <a:pt x="2766" y="500"/>
                </a:cubicBezTo>
                <a:cubicBezTo>
                  <a:pt x="2764" y="502"/>
                  <a:pt x="2762" y="503"/>
                  <a:pt x="2759" y="504"/>
                </a:cubicBezTo>
                <a:cubicBezTo>
                  <a:pt x="2757" y="505"/>
                  <a:pt x="2755" y="506"/>
                  <a:pt x="2754" y="506"/>
                </a:cubicBezTo>
                <a:cubicBezTo>
                  <a:pt x="2753" y="506"/>
                  <a:pt x="2751" y="507"/>
                  <a:pt x="2748" y="510"/>
                </a:cubicBezTo>
                <a:cubicBezTo>
                  <a:pt x="2744" y="513"/>
                  <a:pt x="2738" y="518"/>
                  <a:pt x="2729" y="525"/>
                </a:cubicBezTo>
                <a:cubicBezTo>
                  <a:pt x="2716" y="537"/>
                  <a:pt x="2701" y="554"/>
                  <a:pt x="2685" y="576"/>
                </a:cubicBezTo>
                <a:cubicBezTo>
                  <a:pt x="2679" y="584"/>
                  <a:pt x="2675" y="588"/>
                  <a:pt x="2673" y="588"/>
                </a:cubicBezTo>
                <a:cubicBezTo>
                  <a:pt x="2672" y="588"/>
                  <a:pt x="2672" y="588"/>
                  <a:pt x="2672" y="587"/>
                </a:cubicBezTo>
                <a:cubicBezTo>
                  <a:pt x="2671" y="587"/>
                  <a:pt x="2671" y="586"/>
                  <a:pt x="2670" y="586"/>
                </a:cubicBezTo>
                <a:cubicBezTo>
                  <a:pt x="2668" y="586"/>
                  <a:pt x="2666" y="588"/>
                  <a:pt x="2663" y="590"/>
                </a:cubicBezTo>
                <a:cubicBezTo>
                  <a:pt x="2660" y="593"/>
                  <a:pt x="2659" y="594"/>
                  <a:pt x="2659" y="595"/>
                </a:cubicBezTo>
                <a:lnTo>
                  <a:pt x="2659" y="595"/>
                </a:lnTo>
                <a:lnTo>
                  <a:pt x="2662" y="595"/>
                </a:lnTo>
                <a:cubicBezTo>
                  <a:pt x="2663" y="595"/>
                  <a:pt x="2664" y="595"/>
                  <a:pt x="2664" y="596"/>
                </a:cubicBezTo>
                <a:cubicBezTo>
                  <a:pt x="2663" y="598"/>
                  <a:pt x="2661" y="599"/>
                  <a:pt x="2658" y="599"/>
                </a:cubicBezTo>
                <a:lnTo>
                  <a:pt x="2656" y="599"/>
                </a:lnTo>
                <a:cubicBezTo>
                  <a:pt x="2656" y="599"/>
                  <a:pt x="2655" y="599"/>
                  <a:pt x="2655" y="600"/>
                </a:cubicBezTo>
                <a:lnTo>
                  <a:pt x="2656" y="603"/>
                </a:lnTo>
                <a:cubicBezTo>
                  <a:pt x="2656" y="605"/>
                  <a:pt x="2655" y="607"/>
                  <a:pt x="2654" y="608"/>
                </a:cubicBezTo>
                <a:cubicBezTo>
                  <a:pt x="2653" y="610"/>
                  <a:pt x="2653" y="611"/>
                  <a:pt x="2653" y="612"/>
                </a:cubicBezTo>
                <a:lnTo>
                  <a:pt x="2653" y="614"/>
                </a:lnTo>
                <a:cubicBezTo>
                  <a:pt x="2653" y="614"/>
                  <a:pt x="2653" y="614"/>
                  <a:pt x="2651" y="614"/>
                </a:cubicBezTo>
                <a:cubicBezTo>
                  <a:pt x="2650" y="614"/>
                  <a:pt x="2650" y="615"/>
                  <a:pt x="2650" y="616"/>
                </a:cubicBezTo>
                <a:lnTo>
                  <a:pt x="2650" y="618"/>
                </a:lnTo>
                <a:cubicBezTo>
                  <a:pt x="2650" y="620"/>
                  <a:pt x="2649" y="621"/>
                  <a:pt x="2647" y="623"/>
                </a:cubicBezTo>
                <a:cubicBezTo>
                  <a:pt x="2642" y="628"/>
                  <a:pt x="2636" y="639"/>
                  <a:pt x="2629" y="657"/>
                </a:cubicBezTo>
                <a:cubicBezTo>
                  <a:pt x="2626" y="664"/>
                  <a:pt x="2624" y="669"/>
                  <a:pt x="2624" y="671"/>
                </a:cubicBezTo>
                <a:cubicBezTo>
                  <a:pt x="2624" y="671"/>
                  <a:pt x="2624" y="672"/>
                  <a:pt x="2625" y="672"/>
                </a:cubicBezTo>
                <a:close/>
                <a:moveTo>
                  <a:pt x="2693" y="663"/>
                </a:moveTo>
                <a:cubicBezTo>
                  <a:pt x="2694" y="663"/>
                  <a:pt x="2696" y="661"/>
                  <a:pt x="2698" y="658"/>
                </a:cubicBezTo>
                <a:cubicBezTo>
                  <a:pt x="2701" y="656"/>
                  <a:pt x="2702" y="654"/>
                  <a:pt x="2702" y="653"/>
                </a:cubicBezTo>
                <a:cubicBezTo>
                  <a:pt x="2701" y="653"/>
                  <a:pt x="2699" y="655"/>
                  <a:pt x="2697" y="657"/>
                </a:cubicBezTo>
                <a:cubicBezTo>
                  <a:pt x="2694" y="660"/>
                  <a:pt x="2693" y="662"/>
                  <a:pt x="2693" y="663"/>
                </a:cubicBezTo>
                <a:close/>
                <a:moveTo>
                  <a:pt x="2700" y="651"/>
                </a:moveTo>
                <a:cubicBezTo>
                  <a:pt x="2702" y="651"/>
                  <a:pt x="2708" y="647"/>
                  <a:pt x="2716" y="640"/>
                </a:cubicBezTo>
                <a:cubicBezTo>
                  <a:pt x="2723" y="634"/>
                  <a:pt x="2727" y="630"/>
                  <a:pt x="2727" y="628"/>
                </a:cubicBezTo>
                <a:lnTo>
                  <a:pt x="2727" y="627"/>
                </a:lnTo>
                <a:cubicBezTo>
                  <a:pt x="2727" y="627"/>
                  <a:pt x="2727" y="626"/>
                  <a:pt x="2728" y="626"/>
                </a:cubicBezTo>
                <a:lnTo>
                  <a:pt x="2729" y="626"/>
                </a:lnTo>
                <a:cubicBezTo>
                  <a:pt x="2730" y="626"/>
                  <a:pt x="2732" y="625"/>
                  <a:pt x="2735" y="622"/>
                </a:cubicBezTo>
                <a:cubicBezTo>
                  <a:pt x="2737" y="620"/>
                  <a:pt x="2740" y="617"/>
                  <a:pt x="2742" y="614"/>
                </a:cubicBezTo>
                <a:cubicBezTo>
                  <a:pt x="2744" y="611"/>
                  <a:pt x="2745" y="609"/>
                  <a:pt x="2745" y="607"/>
                </a:cubicBezTo>
                <a:cubicBezTo>
                  <a:pt x="2745" y="607"/>
                  <a:pt x="2745" y="606"/>
                  <a:pt x="2745" y="606"/>
                </a:cubicBezTo>
                <a:cubicBezTo>
                  <a:pt x="2744" y="606"/>
                  <a:pt x="2742" y="608"/>
                  <a:pt x="2736" y="612"/>
                </a:cubicBezTo>
                <a:cubicBezTo>
                  <a:pt x="2726" y="622"/>
                  <a:pt x="2715" y="631"/>
                  <a:pt x="2705" y="641"/>
                </a:cubicBezTo>
                <a:cubicBezTo>
                  <a:pt x="2701" y="646"/>
                  <a:pt x="2698" y="649"/>
                  <a:pt x="2698" y="650"/>
                </a:cubicBezTo>
                <a:cubicBezTo>
                  <a:pt x="2698" y="650"/>
                  <a:pt x="2699" y="651"/>
                  <a:pt x="2700" y="651"/>
                </a:cubicBezTo>
                <a:close/>
                <a:moveTo>
                  <a:pt x="2750" y="608"/>
                </a:moveTo>
                <a:cubicBezTo>
                  <a:pt x="2751" y="608"/>
                  <a:pt x="2752" y="607"/>
                  <a:pt x="2752" y="606"/>
                </a:cubicBezTo>
                <a:cubicBezTo>
                  <a:pt x="2752" y="605"/>
                  <a:pt x="2755" y="601"/>
                  <a:pt x="2760" y="595"/>
                </a:cubicBezTo>
                <a:cubicBezTo>
                  <a:pt x="2763" y="593"/>
                  <a:pt x="2767" y="587"/>
                  <a:pt x="2773" y="580"/>
                </a:cubicBezTo>
                <a:cubicBezTo>
                  <a:pt x="2777" y="575"/>
                  <a:pt x="2790" y="561"/>
                  <a:pt x="2814" y="538"/>
                </a:cubicBezTo>
                <a:cubicBezTo>
                  <a:pt x="2822" y="529"/>
                  <a:pt x="2826" y="524"/>
                  <a:pt x="2826" y="523"/>
                </a:cubicBezTo>
                <a:cubicBezTo>
                  <a:pt x="2826" y="523"/>
                  <a:pt x="2823" y="525"/>
                  <a:pt x="2817" y="531"/>
                </a:cubicBezTo>
                <a:cubicBezTo>
                  <a:pt x="2812" y="536"/>
                  <a:pt x="2805" y="542"/>
                  <a:pt x="2798" y="549"/>
                </a:cubicBezTo>
                <a:cubicBezTo>
                  <a:pt x="2790" y="557"/>
                  <a:pt x="2783" y="564"/>
                  <a:pt x="2777" y="571"/>
                </a:cubicBezTo>
                <a:lnTo>
                  <a:pt x="2770" y="577"/>
                </a:lnTo>
                <a:cubicBezTo>
                  <a:pt x="2766" y="581"/>
                  <a:pt x="2762" y="585"/>
                  <a:pt x="2758" y="589"/>
                </a:cubicBezTo>
                <a:cubicBezTo>
                  <a:pt x="2755" y="593"/>
                  <a:pt x="2752" y="596"/>
                  <a:pt x="2750" y="599"/>
                </a:cubicBezTo>
                <a:cubicBezTo>
                  <a:pt x="2748" y="602"/>
                  <a:pt x="2747" y="604"/>
                  <a:pt x="2747" y="605"/>
                </a:cubicBezTo>
                <a:cubicBezTo>
                  <a:pt x="2747" y="605"/>
                  <a:pt x="2747" y="605"/>
                  <a:pt x="2747" y="606"/>
                </a:cubicBezTo>
                <a:cubicBezTo>
                  <a:pt x="2747" y="606"/>
                  <a:pt x="2747" y="607"/>
                  <a:pt x="2748" y="607"/>
                </a:cubicBezTo>
                <a:cubicBezTo>
                  <a:pt x="2748" y="607"/>
                  <a:pt x="2749" y="608"/>
                  <a:pt x="2750" y="608"/>
                </a:cubicBezTo>
                <a:close/>
                <a:moveTo>
                  <a:pt x="2832" y="581"/>
                </a:moveTo>
                <a:cubicBezTo>
                  <a:pt x="2832" y="581"/>
                  <a:pt x="2833" y="578"/>
                  <a:pt x="2834" y="574"/>
                </a:cubicBezTo>
                <a:cubicBezTo>
                  <a:pt x="2835" y="569"/>
                  <a:pt x="2835" y="563"/>
                  <a:pt x="2836" y="557"/>
                </a:cubicBezTo>
                <a:cubicBezTo>
                  <a:pt x="2837" y="548"/>
                  <a:pt x="2837" y="541"/>
                  <a:pt x="2837" y="537"/>
                </a:cubicBezTo>
                <a:lnTo>
                  <a:pt x="2837" y="534"/>
                </a:lnTo>
                <a:cubicBezTo>
                  <a:pt x="2836" y="531"/>
                  <a:pt x="2836" y="529"/>
                  <a:pt x="2835" y="529"/>
                </a:cubicBezTo>
                <a:cubicBezTo>
                  <a:pt x="2834" y="529"/>
                  <a:pt x="2833" y="535"/>
                  <a:pt x="2833" y="546"/>
                </a:cubicBezTo>
                <a:lnTo>
                  <a:pt x="2831" y="577"/>
                </a:lnTo>
                <a:cubicBezTo>
                  <a:pt x="2831" y="580"/>
                  <a:pt x="2831" y="581"/>
                  <a:pt x="2832" y="581"/>
                </a:cubicBezTo>
                <a:close/>
                <a:moveTo>
                  <a:pt x="2829" y="601"/>
                </a:moveTo>
                <a:lnTo>
                  <a:pt x="2830" y="600"/>
                </a:lnTo>
                <a:cubicBezTo>
                  <a:pt x="2830" y="599"/>
                  <a:pt x="2831" y="597"/>
                  <a:pt x="2831" y="595"/>
                </a:cubicBezTo>
                <a:cubicBezTo>
                  <a:pt x="2831" y="593"/>
                  <a:pt x="2830" y="591"/>
                  <a:pt x="2830" y="591"/>
                </a:cubicBezTo>
                <a:cubicBezTo>
                  <a:pt x="2830" y="591"/>
                  <a:pt x="2830" y="593"/>
                  <a:pt x="2829" y="596"/>
                </a:cubicBezTo>
                <a:lnTo>
                  <a:pt x="2829" y="600"/>
                </a:lnTo>
                <a:lnTo>
                  <a:pt x="2829" y="601"/>
                </a:lnTo>
                <a:close/>
                <a:moveTo>
                  <a:pt x="2671" y="865"/>
                </a:moveTo>
                <a:cubicBezTo>
                  <a:pt x="2672" y="865"/>
                  <a:pt x="2673" y="864"/>
                  <a:pt x="2674" y="863"/>
                </a:cubicBezTo>
                <a:cubicBezTo>
                  <a:pt x="2675" y="862"/>
                  <a:pt x="2676" y="861"/>
                  <a:pt x="2677" y="860"/>
                </a:cubicBezTo>
                <a:cubicBezTo>
                  <a:pt x="2678" y="858"/>
                  <a:pt x="2679" y="858"/>
                  <a:pt x="2679" y="857"/>
                </a:cubicBezTo>
                <a:cubicBezTo>
                  <a:pt x="2679" y="857"/>
                  <a:pt x="2678" y="858"/>
                  <a:pt x="2676" y="860"/>
                </a:cubicBezTo>
                <a:cubicBezTo>
                  <a:pt x="2674" y="861"/>
                  <a:pt x="2673" y="862"/>
                  <a:pt x="2672" y="862"/>
                </a:cubicBezTo>
                <a:cubicBezTo>
                  <a:pt x="2671" y="863"/>
                  <a:pt x="2670" y="863"/>
                  <a:pt x="2670" y="863"/>
                </a:cubicBezTo>
                <a:lnTo>
                  <a:pt x="2670" y="864"/>
                </a:lnTo>
                <a:cubicBezTo>
                  <a:pt x="2670" y="864"/>
                  <a:pt x="2670" y="865"/>
                  <a:pt x="2671" y="865"/>
                </a:cubicBezTo>
                <a:close/>
                <a:moveTo>
                  <a:pt x="2644" y="917"/>
                </a:moveTo>
                <a:cubicBezTo>
                  <a:pt x="2645" y="917"/>
                  <a:pt x="2646" y="916"/>
                  <a:pt x="2648" y="913"/>
                </a:cubicBezTo>
                <a:lnTo>
                  <a:pt x="2651" y="911"/>
                </a:lnTo>
                <a:lnTo>
                  <a:pt x="2651" y="910"/>
                </a:lnTo>
                <a:lnTo>
                  <a:pt x="2648" y="912"/>
                </a:lnTo>
                <a:lnTo>
                  <a:pt x="2643" y="916"/>
                </a:lnTo>
                <a:cubicBezTo>
                  <a:pt x="2643" y="917"/>
                  <a:pt x="2644" y="917"/>
                  <a:pt x="2644" y="917"/>
                </a:cubicBezTo>
                <a:close/>
                <a:moveTo>
                  <a:pt x="2586" y="975"/>
                </a:moveTo>
                <a:cubicBezTo>
                  <a:pt x="2586" y="975"/>
                  <a:pt x="2588" y="974"/>
                  <a:pt x="2591" y="971"/>
                </a:cubicBezTo>
                <a:cubicBezTo>
                  <a:pt x="2594" y="968"/>
                  <a:pt x="2597" y="967"/>
                  <a:pt x="2598" y="967"/>
                </a:cubicBezTo>
                <a:lnTo>
                  <a:pt x="2599" y="967"/>
                </a:lnTo>
                <a:cubicBezTo>
                  <a:pt x="2600" y="967"/>
                  <a:pt x="2601" y="966"/>
                  <a:pt x="2602" y="964"/>
                </a:cubicBezTo>
                <a:cubicBezTo>
                  <a:pt x="2604" y="962"/>
                  <a:pt x="2604" y="960"/>
                  <a:pt x="2604" y="958"/>
                </a:cubicBezTo>
                <a:lnTo>
                  <a:pt x="2604" y="958"/>
                </a:lnTo>
                <a:cubicBezTo>
                  <a:pt x="2604" y="957"/>
                  <a:pt x="2604" y="957"/>
                  <a:pt x="2605" y="956"/>
                </a:cubicBezTo>
                <a:cubicBezTo>
                  <a:pt x="2606" y="955"/>
                  <a:pt x="2607" y="955"/>
                  <a:pt x="2608" y="954"/>
                </a:cubicBezTo>
                <a:cubicBezTo>
                  <a:pt x="2609" y="953"/>
                  <a:pt x="2611" y="953"/>
                  <a:pt x="2612" y="953"/>
                </a:cubicBezTo>
                <a:cubicBezTo>
                  <a:pt x="2612" y="953"/>
                  <a:pt x="2612" y="953"/>
                  <a:pt x="2612" y="953"/>
                </a:cubicBezTo>
                <a:cubicBezTo>
                  <a:pt x="2612" y="953"/>
                  <a:pt x="2612" y="953"/>
                  <a:pt x="2613" y="953"/>
                </a:cubicBezTo>
                <a:cubicBezTo>
                  <a:pt x="2614" y="953"/>
                  <a:pt x="2616" y="952"/>
                  <a:pt x="2619" y="948"/>
                </a:cubicBezTo>
                <a:cubicBezTo>
                  <a:pt x="2624" y="943"/>
                  <a:pt x="2626" y="941"/>
                  <a:pt x="2626" y="939"/>
                </a:cubicBezTo>
                <a:cubicBezTo>
                  <a:pt x="2627" y="937"/>
                  <a:pt x="2627" y="936"/>
                  <a:pt x="2629" y="936"/>
                </a:cubicBezTo>
                <a:lnTo>
                  <a:pt x="2631" y="936"/>
                </a:lnTo>
                <a:cubicBezTo>
                  <a:pt x="2633" y="936"/>
                  <a:pt x="2635" y="935"/>
                  <a:pt x="2637" y="933"/>
                </a:cubicBezTo>
                <a:cubicBezTo>
                  <a:pt x="2640" y="930"/>
                  <a:pt x="2642" y="929"/>
                  <a:pt x="2643" y="929"/>
                </a:cubicBezTo>
                <a:lnTo>
                  <a:pt x="2643" y="929"/>
                </a:lnTo>
                <a:cubicBezTo>
                  <a:pt x="2643" y="930"/>
                  <a:pt x="2642" y="932"/>
                  <a:pt x="2640" y="935"/>
                </a:cubicBezTo>
                <a:cubicBezTo>
                  <a:pt x="2638" y="936"/>
                  <a:pt x="2637" y="938"/>
                  <a:pt x="2637" y="938"/>
                </a:cubicBezTo>
                <a:cubicBezTo>
                  <a:pt x="2638" y="938"/>
                  <a:pt x="2639" y="937"/>
                  <a:pt x="2641" y="935"/>
                </a:cubicBezTo>
                <a:cubicBezTo>
                  <a:pt x="2643" y="932"/>
                  <a:pt x="2645" y="931"/>
                  <a:pt x="2646" y="929"/>
                </a:cubicBezTo>
                <a:cubicBezTo>
                  <a:pt x="2648" y="928"/>
                  <a:pt x="2649" y="928"/>
                  <a:pt x="2650" y="928"/>
                </a:cubicBezTo>
                <a:cubicBezTo>
                  <a:pt x="2651" y="928"/>
                  <a:pt x="2653" y="926"/>
                  <a:pt x="2656" y="923"/>
                </a:cubicBezTo>
                <a:cubicBezTo>
                  <a:pt x="2658" y="919"/>
                  <a:pt x="2660" y="918"/>
                  <a:pt x="2661" y="918"/>
                </a:cubicBezTo>
                <a:lnTo>
                  <a:pt x="2661" y="918"/>
                </a:lnTo>
                <a:cubicBezTo>
                  <a:pt x="2661" y="918"/>
                  <a:pt x="2661" y="919"/>
                  <a:pt x="2661" y="919"/>
                </a:cubicBezTo>
                <a:cubicBezTo>
                  <a:pt x="2662" y="919"/>
                  <a:pt x="2663" y="918"/>
                  <a:pt x="2664" y="917"/>
                </a:cubicBezTo>
                <a:cubicBezTo>
                  <a:pt x="2666" y="916"/>
                  <a:pt x="2666" y="914"/>
                  <a:pt x="2666" y="914"/>
                </a:cubicBezTo>
                <a:cubicBezTo>
                  <a:pt x="2666" y="913"/>
                  <a:pt x="2666" y="913"/>
                  <a:pt x="2666" y="912"/>
                </a:cubicBezTo>
                <a:cubicBezTo>
                  <a:pt x="2665" y="911"/>
                  <a:pt x="2665" y="911"/>
                  <a:pt x="2664" y="911"/>
                </a:cubicBezTo>
                <a:cubicBezTo>
                  <a:pt x="2663" y="911"/>
                  <a:pt x="2661" y="912"/>
                  <a:pt x="2659" y="914"/>
                </a:cubicBezTo>
                <a:lnTo>
                  <a:pt x="2655" y="916"/>
                </a:lnTo>
                <a:lnTo>
                  <a:pt x="2656" y="915"/>
                </a:lnTo>
                <a:cubicBezTo>
                  <a:pt x="2658" y="912"/>
                  <a:pt x="2659" y="910"/>
                  <a:pt x="2659" y="909"/>
                </a:cubicBezTo>
                <a:cubicBezTo>
                  <a:pt x="2659" y="909"/>
                  <a:pt x="2659" y="909"/>
                  <a:pt x="2658" y="909"/>
                </a:cubicBezTo>
                <a:lnTo>
                  <a:pt x="2656" y="910"/>
                </a:lnTo>
                <a:cubicBezTo>
                  <a:pt x="2656" y="910"/>
                  <a:pt x="2655" y="910"/>
                  <a:pt x="2655" y="909"/>
                </a:cubicBezTo>
                <a:lnTo>
                  <a:pt x="2656" y="909"/>
                </a:lnTo>
                <a:cubicBezTo>
                  <a:pt x="2657" y="907"/>
                  <a:pt x="2658" y="907"/>
                  <a:pt x="2660" y="907"/>
                </a:cubicBezTo>
                <a:lnTo>
                  <a:pt x="2661" y="907"/>
                </a:lnTo>
                <a:cubicBezTo>
                  <a:pt x="2663" y="907"/>
                  <a:pt x="2667" y="905"/>
                  <a:pt x="2672" y="902"/>
                </a:cubicBezTo>
                <a:lnTo>
                  <a:pt x="2678" y="896"/>
                </a:lnTo>
                <a:cubicBezTo>
                  <a:pt x="2682" y="893"/>
                  <a:pt x="2692" y="886"/>
                  <a:pt x="2710" y="875"/>
                </a:cubicBezTo>
                <a:cubicBezTo>
                  <a:pt x="2722" y="866"/>
                  <a:pt x="2728" y="861"/>
                  <a:pt x="2728" y="861"/>
                </a:cubicBezTo>
                <a:cubicBezTo>
                  <a:pt x="2728" y="861"/>
                  <a:pt x="2726" y="862"/>
                  <a:pt x="2723" y="864"/>
                </a:cubicBezTo>
                <a:cubicBezTo>
                  <a:pt x="2719" y="866"/>
                  <a:pt x="2716" y="868"/>
                  <a:pt x="2711" y="870"/>
                </a:cubicBezTo>
                <a:cubicBezTo>
                  <a:pt x="2707" y="872"/>
                  <a:pt x="2704" y="874"/>
                  <a:pt x="2702" y="876"/>
                </a:cubicBezTo>
                <a:cubicBezTo>
                  <a:pt x="2699" y="877"/>
                  <a:pt x="2695" y="880"/>
                  <a:pt x="2689" y="884"/>
                </a:cubicBezTo>
                <a:lnTo>
                  <a:pt x="2676" y="893"/>
                </a:lnTo>
                <a:cubicBezTo>
                  <a:pt x="2670" y="897"/>
                  <a:pt x="2665" y="900"/>
                  <a:pt x="2661" y="904"/>
                </a:cubicBezTo>
                <a:cubicBezTo>
                  <a:pt x="2656" y="908"/>
                  <a:pt x="2653" y="910"/>
                  <a:pt x="2651" y="912"/>
                </a:cubicBezTo>
                <a:cubicBezTo>
                  <a:pt x="2649" y="914"/>
                  <a:pt x="2648" y="916"/>
                  <a:pt x="2646" y="916"/>
                </a:cubicBezTo>
                <a:cubicBezTo>
                  <a:pt x="2645" y="917"/>
                  <a:pt x="2644" y="918"/>
                  <a:pt x="2643" y="918"/>
                </a:cubicBezTo>
                <a:lnTo>
                  <a:pt x="2642" y="918"/>
                </a:lnTo>
                <a:cubicBezTo>
                  <a:pt x="2640" y="918"/>
                  <a:pt x="2637" y="920"/>
                  <a:pt x="2633" y="925"/>
                </a:cubicBezTo>
                <a:lnTo>
                  <a:pt x="2629" y="930"/>
                </a:lnTo>
                <a:lnTo>
                  <a:pt x="2628" y="929"/>
                </a:lnTo>
                <a:lnTo>
                  <a:pt x="2629" y="928"/>
                </a:lnTo>
                <a:cubicBezTo>
                  <a:pt x="2628" y="928"/>
                  <a:pt x="2620" y="935"/>
                  <a:pt x="2606" y="948"/>
                </a:cubicBezTo>
                <a:cubicBezTo>
                  <a:pt x="2589" y="963"/>
                  <a:pt x="2581" y="971"/>
                  <a:pt x="2581" y="971"/>
                </a:cubicBezTo>
                <a:cubicBezTo>
                  <a:pt x="2581" y="971"/>
                  <a:pt x="2584" y="969"/>
                  <a:pt x="2590" y="964"/>
                </a:cubicBezTo>
                <a:cubicBezTo>
                  <a:pt x="2596" y="960"/>
                  <a:pt x="2600" y="958"/>
                  <a:pt x="2601" y="958"/>
                </a:cubicBezTo>
                <a:lnTo>
                  <a:pt x="2602" y="958"/>
                </a:lnTo>
                <a:cubicBezTo>
                  <a:pt x="2602" y="959"/>
                  <a:pt x="2599" y="962"/>
                  <a:pt x="2595" y="965"/>
                </a:cubicBezTo>
                <a:cubicBezTo>
                  <a:pt x="2592" y="967"/>
                  <a:pt x="2590" y="969"/>
                  <a:pt x="2588" y="971"/>
                </a:cubicBezTo>
                <a:cubicBezTo>
                  <a:pt x="2586" y="973"/>
                  <a:pt x="2586" y="975"/>
                  <a:pt x="2586" y="975"/>
                </a:cubicBezTo>
                <a:close/>
                <a:moveTo>
                  <a:pt x="2570" y="992"/>
                </a:moveTo>
                <a:cubicBezTo>
                  <a:pt x="2571" y="992"/>
                  <a:pt x="2572" y="991"/>
                  <a:pt x="2574" y="989"/>
                </a:cubicBezTo>
                <a:cubicBezTo>
                  <a:pt x="2577" y="986"/>
                  <a:pt x="2578" y="985"/>
                  <a:pt x="2580" y="985"/>
                </a:cubicBezTo>
                <a:lnTo>
                  <a:pt x="2581" y="986"/>
                </a:lnTo>
                <a:lnTo>
                  <a:pt x="2581" y="986"/>
                </a:lnTo>
                <a:cubicBezTo>
                  <a:pt x="2581" y="985"/>
                  <a:pt x="2581" y="985"/>
                  <a:pt x="2580" y="984"/>
                </a:cubicBezTo>
                <a:cubicBezTo>
                  <a:pt x="2580" y="984"/>
                  <a:pt x="2579" y="983"/>
                  <a:pt x="2578" y="983"/>
                </a:cubicBezTo>
                <a:cubicBezTo>
                  <a:pt x="2577" y="983"/>
                  <a:pt x="2575" y="984"/>
                  <a:pt x="2573" y="986"/>
                </a:cubicBezTo>
                <a:cubicBezTo>
                  <a:pt x="2571" y="988"/>
                  <a:pt x="2570" y="990"/>
                  <a:pt x="2570" y="992"/>
                </a:cubicBezTo>
                <a:close/>
                <a:moveTo>
                  <a:pt x="2550" y="1007"/>
                </a:moveTo>
                <a:cubicBezTo>
                  <a:pt x="2551" y="1007"/>
                  <a:pt x="2554" y="1006"/>
                  <a:pt x="2557" y="1003"/>
                </a:cubicBezTo>
                <a:cubicBezTo>
                  <a:pt x="2562" y="999"/>
                  <a:pt x="2564" y="996"/>
                  <a:pt x="2564" y="995"/>
                </a:cubicBezTo>
                <a:cubicBezTo>
                  <a:pt x="2564" y="994"/>
                  <a:pt x="2565" y="992"/>
                  <a:pt x="2566" y="990"/>
                </a:cubicBezTo>
                <a:cubicBezTo>
                  <a:pt x="2567" y="988"/>
                  <a:pt x="2569" y="986"/>
                  <a:pt x="2571" y="984"/>
                </a:cubicBezTo>
                <a:cubicBezTo>
                  <a:pt x="2573" y="981"/>
                  <a:pt x="2574" y="980"/>
                  <a:pt x="2574" y="980"/>
                </a:cubicBezTo>
                <a:lnTo>
                  <a:pt x="2567" y="987"/>
                </a:lnTo>
                <a:cubicBezTo>
                  <a:pt x="2556" y="998"/>
                  <a:pt x="2550" y="1005"/>
                  <a:pt x="2550" y="1007"/>
                </a:cubicBezTo>
                <a:close/>
                <a:moveTo>
                  <a:pt x="2532" y="991"/>
                </a:moveTo>
                <a:cubicBezTo>
                  <a:pt x="2533" y="991"/>
                  <a:pt x="2542" y="982"/>
                  <a:pt x="2560" y="963"/>
                </a:cubicBezTo>
                <a:cubicBezTo>
                  <a:pt x="2567" y="956"/>
                  <a:pt x="2572" y="950"/>
                  <a:pt x="2575" y="946"/>
                </a:cubicBezTo>
                <a:cubicBezTo>
                  <a:pt x="2577" y="943"/>
                  <a:pt x="2579" y="941"/>
                  <a:pt x="2581" y="939"/>
                </a:cubicBezTo>
                <a:lnTo>
                  <a:pt x="2601" y="922"/>
                </a:lnTo>
                <a:cubicBezTo>
                  <a:pt x="2612" y="913"/>
                  <a:pt x="2618" y="908"/>
                  <a:pt x="2620" y="908"/>
                </a:cubicBezTo>
                <a:cubicBezTo>
                  <a:pt x="2622" y="908"/>
                  <a:pt x="2623" y="906"/>
                  <a:pt x="2624" y="903"/>
                </a:cubicBezTo>
                <a:cubicBezTo>
                  <a:pt x="2625" y="900"/>
                  <a:pt x="2627" y="898"/>
                  <a:pt x="2630" y="897"/>
                </a:cubicBezTo>
                <a:cubicBezTo>
                  <a:pt x="2633" y="896"/>
                  <a:pt x="2634" y="895"/>
                  <a:pt x="2634" y="894"/>
                </a:cubicBezTo>
                <a:cubicBezTo>
                  <a:pt x="2635" y="894"/>
                  <a:pt x="2635" y="892"/>
                  <a:pt x="2635" y="890"/>
                </a:cubicBezTo>
                <a:cubicBezTo>
                  <a:pt x="2636" y="889"/>
                  <a:pt x="2636" y="889"/>
                  <a:pt x="2636" y="887"/>
                </a:cubicBezTo>
                <a:cubicBezTo>
                  <a:pt x="2636" y="887"/>
                  <a:pt x="2636" y="886"/>
                  <a:pt x="2635" y="886"/>
                </a:cubicBezTo>
                <a:lnTo>
                  <a:pt x="2635" y="886"/>
                </a:lnTo>
                <a:cubicBezTo>
                  <a:pt x="2634" y="887"/>
                  <a:pt x="2634" y="888"/>
                  <a:pt x="2634" y="890"/>
                </a:cubicBezTo>
                <a:lnTo>
                  <a:pt x="2634" y="890"/>
                </a:lnTo>
                <a:cubicBezTo>
                  <a:pt x="2634" y="891"/>
                  <a:pt x="2634" y="892"/>
                  <a:pt x="2633" y="892"/>
                </a:cubicBezTo>
                <a:cubicBezTo>
                  <a:pt x="2631" y="894"/>
                  <a:pt x="2629" y="895"/>
                  <a:pt x="2626" y="895"/>
                </a:cubicBezTo>
                <a:lnTo>
                  <a:pt x="2624" y="894"/>
                </a:lnTo>
                <a:cubicBezTo>
                  <a:pt x="2624" y="894"/>
                  <a:pt x="2624" y="895"/>
                  <a:pt x="2624" y="897"/>
                </a:cubicBezTo>
                <a:cubicBezTo>
                  <a:pt x="2624" y="899"/>
                  <a:pt x="2623" y="899"/>
                  <a:pt x="2622" y="899"/>
                </a:cubicBezTo>
                <a:lnTo>
                  <a:pt x="2621" y="899"/>
                </a:lnTo>
                <a:cubicBezTo>
                  <a:pt x="2620" y="899"/>
                  <a:pt x="2619" y="900"/>
                  <a:pt x="2619" y="900"/>
                </a:cubicBezTo>
                <a:lnTo>
                  <a:pt x="2619" y="902"/>
                </a:lnTo>
                <a:cubicBezTo>
                  <a:pt x="2619" y="903"/>
                  <a:pt x="2618" y="904"/>
                  <a:pt x="2616" y="905"/>
                </a:cubicBezTo>
                <a:cubicBezTo>
                  <a:pt x="2614" y="906"/>
                  <a:pt x="2613" y="906"/>
                  <a:pt x="2612" y="906"/>
                </a:cubicBezTo>
                <a:cubicBezTo>
                  <a:pt x="2611" y="906"/>
                  <a:pt x="2609" y="907"/>
                  <a:pt x="2607" y="909"/>
                </a:cubicBezTo>
                <a:cubicBezTo>
                  <a:pt x="2607" y="912"/>
                  <a:pt x="2603" y="916"/>
                  <a:pt x="2597" y="921"/>
                </a:cubicBezTo>
                <a:cubicBezTo>
                  <a:pt x="2587" y="930"/>
                  <a:pt x="2578" y="940"/>
                  <a:pt x="2569" y="949"/>
                </a:cubicBezTo>
                <a:cubicBezTo>
                  <a:pt x="2557" y="963"/>
                  <a:pt x="2550" y="969"/>
                  <a:pt x="2549" y="970"/>
                </a:cubicBezTo>
                <a:cubicBezTo>
                  <a:pt x="2547" y="970"/>
                  <a:pt x="2547" y="971"/>
                  <a:pt x="2546" y="972"/>
                </a:cubicBezTo>
                <a:cubicBezTo>
                  <a:pt x="2546" y="973"/>
                  <a:pt x="2545" y="975"/>
                  <a:pt x="2544" y="976"/>
                </a:cubicBezTo>
                <a:cubicBezTo>
                  <a:pt x="2539" y="982"/>
                  <a:pt x="2536" y="984"/>
                  <a:pt x="2535" y="984"/>
                </a:cubicBezTo>
                <a:lnTo>
                  <a:pt x="2534" y="984"/>
                </a:lnTo>
                <a:lnTo>
                  <a:pt x="2534" y="985"/>
                </a:lnTo>
                <a:cubicBezTo>
                  <a:pt x="2534" y="987"/>
                  <a:pt x="2534" y="989"/>
                  <a:pt x="2533" y="990"/>
                </a:cubicBezTo>
                <a:lnTo>
                  <a:pt x="2532" y="991"/>
                </a:lnTo>
                <a:close/>
                <a:moveTo>
                  <a:pt x="2524" y="1002"/>
                </a:moveTo>
                <a:cubicBezTo>
                  <a:pt x="2524" y="1002"/>
                  <a:pt x="2525" y="1002"/>
                  <a:pt x="2526" y="1001"/>
                </a:cubicBezTo>
                <a:cubicBezTo>
                  <a:pt x="2527" y="1000"/>
                  <a:pt x="2527" y="999"/>
                  <a:pt x="2528" y="999"/>
                </a:cubicBezTo>
                <a:cubicBezTo>
                  <a:pt x="2529" y="997"/>
                  <a:pt x="2529" y="997"/>
                  <a:pt x="2529" y="996"/>
                </a:cubicBezTo>
                <a:cubicBezTo>
                  <a:pt x="2529" y="995"/>
                  <a:pt x="2529" y="994"/>
                  <a:pt x="2528" y="994"/>
                </a:cubicBezTo>
                <a:cubicBezTo>
                  <a:pt x="2527" y="993"/>
                  <a:pt x="2527" y="993"/>
                  <a:pt x="2527" y="993"/>
                </a:cubicBezTo>
                <a:lnTo>
                  <a:pt x="2527" y="995"/>
                </a:lnTo>
                <a:cubicBezTo>
                  <a:pt x="2527" y="996"/>
                  <a:pt x="2527" y="997"/>
                  <a:pt x="2526" y="999"/>
                </a:cubicBezTo>
                <a:cubicBezTo>
                  <a:pt x="2524" y="1000"/>
                  <a:pt x="2524" y="1001"/>
                  <a:pt x="2524" y="1002"/>
                </a:cubicBezTo>
                <a:close/>
                <a:moveTo>
                  <a:pt x="2490" y="1049"/>
                </a:moveTo>
                <a:cubicBezTo>
                  <a:pt x="2491" y="1049"/>
                  <a:pt x="2493" y="1046"/>
                  <a:pt x="2496" y="1040"/>
                </a:cubicBezTo>
                <a:cubicBezTo>
                  <a:pt x="2497" y="1038"/>
                  <a:pt x="2498" y="1036"/>
                  <a:pt x="2498" y="1035"/>
                </a:cubicBezTo>
                <a:cubicBezTo>
                  <a:pt x="2498" y="1035"/>
                  <a:pt x="2498" y="1035"/>
                  <a:pt x="2497" y="1035"/>
                </a:cubicBezTo>
                <a:cubicBezTo>
                  <a:pt x="2497" y="1035"/>
                  <a:pt x="2496" y="1036"/>
                  <a:pt x="2495" y="1038"/>
                </a:cubicBezTo>
                <a:cubicBezTo>
                  <a:pt x="2492" y="1043"/>
                  <a:pt x="2490" y="1047"/>
                  <a:pt x="2490" y="1049"/>
                </a:cubicBezTo>
                <a:close/>
                <a:moveTo>
                  <a:pt x="2502" y="1034"/>
                </a:moveTo>
                <a:lnTo>
                  <a:pt x="2511" y="1022"/>
                </a:lnTo>
                <a:cubicBezTo>
                  <a:pt x="2514" y="1017"/>
                  <a:pt x="2516" y="1014"/>
                  <a:pt x="2516" y="1014"/>
                </a:cubicBezTo>
                <a:cubicBezTo>
                  <a:pt x="2516" y="1014"/>
                  <a:pt x="2515" y="1014"/>
                  <a:pt x="2513" y="1016"/>
                </a:cubicBezTo>
                <a:cubicBezTo>
                  <a:pt x="2512" y="1017"/>
                  <a:pt x="2510" y="1019"/>
                  <a:pt x="2509" y="1020"/>
                </a:cubicBezTo>
                <a:cubicBezTo>
                  <a:pt x="2508" y="1021"/>
                  <a:pt x="2507" y="1021"/>
                  <a:pt x="2506" y="1021"/>
                </a:cubicBezTo>
                <a:lnTo>
                  <a:pt x="2505" y="1020"/>
                </a:lnTo>
                <a:lnTo>
                  <a:pt x="2505" y="1021"/>
                </a:lnTo>
                <a:lnTo>
                  <a:pt x="2505" y="1024"/>
                </a:lnTo>
                <a:cubicBezTo>
                  <a:pt x="2505" y="1024"/>
                  <a:pt x="2505" y="1025"/>
                  <a:pt x="2504" y="1025"/>
                </a:cubicBezTo>
                <a:cubicBezTo>
                  <a:pt x="2503" y="1025"/>
                  <a:pt x="2503" y="1025"/>
                  <a:pt x="2503" y="1026"/>
                </a:cubicBezTo>
                <a:lnTo>
                  <a:pt x="2503" y="1028"/>
                </a:lnTo>
                <a:cubicBezTo>
                  <a:pt x="2503" y="1029"/>
                  <a:pt x="2503" y="1029"/>
                  <a:pt x="2502" y="1029"/>
                </a:cubicBezTo>
                <a:cubicBezTo>
                  <a:pt x="2501" y="1029"/>
                  <a:pt x="2500" y="1030"/>
                  <a:pt x="2500" y="1031"/>
                </a:cubicBezTo>
                <a:lnTo>
                  <a:pt x="2500" y="1032"/>
                </a:lnTo>
                <a:cubicBezTo>
                  <a:pt x="2501" y="1033"/>
                  <a:pt x="2502" y="1034"/>
                  <a:pt x="2502" y="1034"/>
                </a:cubicBezTo>
                <a:close/>
                <a:moveTo>
                  <a:pt x="2497" y="1128"/>
                </a:moveTo>
                <a:cubicBezTo>
                  <a:pt x="2498" y="1128"/>
                  <a:pt x="2498" y="1127"/>
                  <a:pt x="2498" y="1127"/>
                </a:cubicBezTo>
                <a:lnTo>
                  <a:pt x="2497" y="1124"/>
                </a:lnTo>
                <a:cubicBezTo>
                  <a:pt x="2497" y="1122"/>
                  <a:pt x="2498" y="1121"/>
                  <a:pt x="2499" y="1119"/>
                </a:cubicBezTo>
                <a:cubicBezTo>
                  <a:pt x="2500" y="1118"/>
                  <a:pt x="2501" y="1117"/>
                  <a:pt x="2501" y="1117"/>
                </a:cubicBezTo>
                <a:cubicBezTo>
                  <a:pt x="2501" y="1117"/>
                  <a:pt x="2500" y="1117"/>
                  <a:pt x="2499" y="1117"/>
                </a:cubicBezTo>
                <a:cubicBezTo>
                  <a:pt x="2499" y="1117"/>
                  <a:pt x="2498" y="1117"/>
                  <a:pt x="2497" y="1118"/>
                </a:cubicBezTo>
                <a:cubicBezTo>
                  <a:pt x="2495" y="1118"/>
                  <a:pt x="2495" y="1120"/>
                  <a:pt x="2495" y="1122"/>
                </a:cubicBezTo>
                <a:cubicBezTo>
                  <a:pt x="2495" y="1126"/>
                  <a:pt x="2495" y="1128"/>
                  <a:pt x="2497" y="1128"/>
                </a:cubicBezTo>
                <a:close/>
                <a:moveTo>
                  <a:pt x="2497" y="1107"/>
                </a:moveTo>
                <a:cubicBezTo>
                  <a:pt x="2498" y="1107"/>
                  <a:pt x="2499" y="1107"/>
                  <a:pt x="2499" y="1106"/>
                </a:cubicBezTo>
                <a:cubicBezTo>
                  <a:pt x="2500" y="1106"/>
                  <a:pt x="2501" y="1105"/>
                  <a:pt x="2502" y="1103"/>
                </a:cubicBezTo>
                <a:cubicBezTo>
                  <a:pt x="2503" y="1102"/>
                  <a:pt x="2504" y="1100"/>
                  <a:pt x="2504" y="1098"/>
                </a:cubicBezTo>
                <a:lnTo>
                  <a:pt x="2503" y="1093"/>
                </a:lnTo>
                <a:cubicBezTo>
                  <a:pt x="2503" y="1092"/>
                  <a:pt x="2503" y="1092"/>
                  <a:pt x="2504" y="1092"/>
                </a:cubicBezTo>
                <a:lnTo>
                  <a:pt x="2507" y="1093"/>
                </a:lnTo>
                <a:cubicBezTo>
                  <a:pt x="2507" y="1093"/>
                  <a:pt x="2507" y="1092"/>
                  <a:pt x="2507" y="1091"/>
                </a:cubicBezTo>
                <a:lnTo>
                  <a:pt x="2507" y="1087"/>
                </a:lnTo>
                <a:cubicBezTo>
                  <a:pt x="2507" y="1086"/>
                  <a:pt x="2507" y="1086"/>
                  <a:pt x="2507" y="1085"/>
                </a:cubicBezTo>
                <a:lnTo>
                  <a:pt x="2509" y="1086"/>
                </a:lnTo>
                <a:cubicBezTo>
                  <a:pt x="2509" y="1086"/>
                  <a:pt x="2509" y="1085"/>
                  <a:pt x="2509" y="1083"/>
                </a:cubicBezTo>
                <a:lnTo>
                  <a:pt x="2509" y="1077"/>
                </a:lnTo>
                <a:cubicBezTo>
                  <a:pt x="2509" y="1077"/>
                  <a:pt x="2509" y="1076"/>
                  <a:pt x="2509" y="1076"/>
                </a:cubicBezTo>
                <a:lnTo>
                  <a:pt x="2510" y="1077"/>
                </a:lnTo>
                <a:lnTo>
                  <a:pt x="2511" y="1077"/>
                </a:lnTo>
                <a:cubicBezTo>
                  <a:pt x="2512" y="1077"/>
                  <a:pt x="2516" y="1073"/>
                  <a:pt x="2520" y="1063"/>
                </a:cubicBezTo>
                <a:cubicBezTo>
                  <a:pt x="2528" y="1050"/>
                  <a:pt x="2533" y="1042"/>
                  <a:pt x="2536" y="1038"/>
                </a:cubicBezTo>
                <a:cubicBezTo>
                  <a:pt x="2541" y="1032"/>
                  <a:pt x="2543" y="1029"/>
                  <a:pt x="2543" y="1028"/>
                </a:cubicBezTo>
                <a:cubicBezTo>
                  <a:pt x="2543" y="1027"/>
                  <a:pt x="2545" y="1024"/>
                  <a:pt x="2548" y="1020"/>
                </a:cubicBezTo>
                <a:cubicBezTo>
                  <a:pt x="2556" y="1011"/>
                  <a:pt x="2560" y="1006"/>
                  <a:pt x="2560" y="1005"/>
                </a:cubicBezTo>
                <a:lnTo>
                  <a:pt x="2560" y="1004"/>
                </a:lnTo>
                <a:cubicBezTo>
                  <a:pt x="2559" y="1004"/>
                  <a:pt x="2557" y="1006"/>
                  <a:pt x="2555" y="1008"/>
                </a:cubicBezTo>
                <a:cubicBezTo>
                  <a:pt x="2551" y="1012"/>
                  <a:pt x="2549" y="1014"/>
                  <a:pt x="2547" y="1014"/>
                </a:cubicBezTo>
                <a:cubicBezTo>
                  <a:pt x="2546" y="1014"/>
                  <a:pt x="2545" y="1015"/>
                  <a:pt x="2545" y="1016"/>
                </a:cubicBezTo>
                <a:cubicBezTo>
                  <a:pt x="2545" y="1017"/>
                  <a:pt x="2544" y="1019"/>
                  <a:pt x="2544" y="1020"/>
                </a:cubicBezTo>
                <a:cubicBezTo>
                  <a:pt x="2543" y="1022"/>
                  <a:pt x="2543" y="1022"/>
                  <a:pt x="2542" y="1022"/>
                </a:cubicBezTo>
                <a:lnTo>
                  <a:pt x="2543" y="1019"/>
                </a:lnTo>
                <a:lnTo>
                  <a:pt x="2542" y="1019"/>
                </a:lnTo>
                <a:lnTo>
                  <a:pt x="2539" y="1023"/>
                </a:lnTo>
                <a:cubicBezTo>
                  <a:pt x="2537" y="1026"/>
                  <a:pt x="2536" y="1027"/>
                  <a:pt x="2536" y="1029"/>
                </a:cubicBezTo>
                <a:cubicBezTo>
                  <a:pt x="2536" y="1029"/>
                  <a:pt x="2536" y="1029"/>
                  <a:pt x="2536" y="1029"/>
                </a:cubicBezTo>
                <a:cubicBezTo>
                  <a:pt x="2537" y="1029"/>
                  <a:pt x="2538" y="1029"/>
                  <a:pt x="2539" y="1027"/>
                </a:cubicBezTo>
                <a:cubicBezTo>
                  <a:pt x="2539" y="1026"/>
                  <a:pt x="2540" y="1025"/>
                  <a:pt x="2540" y="1025"/>
                </a:cubicBezTo>
                <a:cubicBezTo>
                  <a:pt x="2541" y="1025"/>
                  <a:pt x="2541" y="1026"/>
                  <a:pt x="2541" y="1026"/>
                </a:cubicBezTo>
                <a:cubicBezTo>
                  <a:pt x="2541" y="1027"/>
                  <a:pt x="2540" y="1028"/>
                  <a:pt x="2539" y="1029"/>
                </a:cubicBezTo>
                <a:cubicBezTo>
                  <a:pt x="2538" y="1030"/>
                  <a:pt x="2537" y="1031"/>
                  <a:pt x="2537" y="1032"/>
                </a:cubicBezTo>
                <a:cubicBezTo>
                  <a:pt x="2536" y="1033"/>
                  <a:pt x="2535" y="1033"/>
                  <a:pt x="2534" y="1033"/>
                </a:cubicBezTo>
                <a:lnTo>
                  <a:pt x="2533" y="1033"/>
                </a:lnTo>
                <a:cubicBezTo>
                  <a:pt x="2530" y="1033"/>
                  <a:pt x="2525" y="1042"/>
                  <a:pt x="2515" y="1061"/>
                </a:cubicBezTo>
                <a:cubicBezTo>
                  <a:pt x="2505" y="1080"/>
                  <a:pt x="2501" y="1093"/>
                  <a:pt x="2501" y="1098"/>
                </a:cubicBezTo>
                <a:lnTo>
                  <a:pt x="2501" y="1100"/>
                </a:lnTo>
                <a:cubicBezTo>
                  <a:pt x="2501" y="1102"/>
                  <a:pt x="2500" y="1103"/>
                  <a:pt x="2498" y="1104"/>
                </a:cubicBezTo>
                <a:cubicBezTo>
                  <a:pt x="2497" y="1105"/>
                  <a:pt x="2496" y="1106"/>
                  <a:pt x="2496" y="1107"/>
                </a:cubicBezTo>
                <a:cubicBezTo>
                  <a:pt x="2496" y="1107"/>
                  <a:pt x="2496" y="1107"/>
                  <a:pt x="2497" y="1107"/>
                </a:cubicBezTo>
                <a:close/>
                <a:moveTo>
                  <a:pt x="2533" y="1137"/>
                </a:moveTo>
                <a:lnTo>
                  <a:pt x="2534" y="1137"/>
                </a:lnTo>
                <a:lnTo>
                  <a:pt x="2532" y="1133"/>
                </a:lnTo>
                <a:cubicBezTo>
                  <a:pt x="2532" y="1133"/>
                  <a:pt x="2533" y="1133"/>
                  <a:pt x="2534" y="1133"/>
                </a:cubicBezTo>
                <a:lnTo>
                  <a:pt x="2540" y="1134"/>
                </a:lnTo>
                <a:cubicBezTo>
                  <a:pt x="2541" y="1134"/>
                  <a:pt x="2541" y="1134"/>
                  <a:pt x="2541" y="1133"/>
                </a:cubicBezTo>
                <a:lnTo>
                  <a:pt x="2540" y="1129"/>
                </a:lnTo>
                <a:cubicBezTo>
                  <a:pt x="2540" y="1129"/>
                  <a:pt x="2540" y="1129"/>
                  <a:pt x="2540" y="1129"/>
                </a:cubicBezTo>
                <a:lnTo>
                  <a:pt x="2543" y="1130"/>
                </a:lnTo>
                <a:cubicBezTo>
                  <a:pt x="2548" y="1130"/>
                  <a:pt x="2555" y="1126"/>
                  <a:pt x="2566" y="1119"/>
                </a:cubicBezTo>
                <a:cubicBezTo>
                  <a:pt x="2577" y="1111"/>
                  <a:pt x="2587" y="1102"/>
                  <a:pt x="2597" y="1092"/>
                </a:cubicBezTo>
                <a:cubicBezTo>
                  <a:pt x="2606" y="1083"/>
                  <a:pt x="2613" y="1074"/>
                  <a:pt x="2619" y="1066"/>
                </a:cubicBezTo>
                <a:cubicBezTo>
                  <a:pt x="2626" y="1058"/>
                  <a:pt x="2629" y="1053"/>
                  <a:pt x="2629" y="1051"/>
                </a:cubicBezTo>
                <a:lnTo>
                  <a:pt x="2629" y="1050"/>
                </a:lnTo>
                <a:cubicBezTo>
                  <a:pt x="2629" y="1048"/>
                  <a:pt x="2632" y="1044"/>
                  <a:pt x="2637" y="1039"/>
                </a:cubicBezTo>
                <a:lnTo>
                  <a:pt x="2643" y="1033"/>
                </a:lnTo>
                <a:lnTo>
                  <a:pt x="2641" y="1034"/>
                </a:lnTo>
                <a:lnTo>
                  <a:pt x="2641" y="1033"/>
                </a:lnTo>
                <a:cubicBezTo>
                  <a:pt x="2641" y="1033"/>
                  <a:pt x="2641" y="1032"/>
                  <a:pt x="2641" y="1030"/>
                </a:cubicBezTo>
                <a:cubicBezTo>
                  <a:pt x="2642" y="1029"/>
                  <a:pt x="2643" y="1028"/>
                  <a:pt x="2644" y="1028"/>
                </a:cubicBezTo>
                <a:cubicBezTo>
                  <a:pt x="2645" y="1028"/>
                  <a:pt x="2646" y="1028"/>
                  <a:pt x="2648" y="1027"/>
                </a:cubicBezTo>
                <a:cubicBezTo>
                  <a:pt x="2649" y="1027"/>
                  <a:pt x="2650" y="1026"/>
                  <a:pt x="2650" y="1025"/>
                </a:cubicBezTo>
                <a:lnTo>
                  <a:pt x="2649" y="1025"/>
                </a:lnTo>
                <a:lnTo>
                  <a:pt x="2646" y="1027"/>
                </a:lnTo>
                <a:cubicBezTo>
                  <a:pt x="2646" y="1027"/>
                  <a:pt x="2645" y="1027"/>
                  <a:pt x="2645" y="1026"/>
                </a:cubicBezTo>
                <a:cubicBezTo>
                  <a:pt x="2645" y="1026"/>
                  <a:pt x="2646" y="1025"/>
                  <a:pt x="2646" y="1024"/>
                </a:cubicBezTo>
                <a:cubicBezTo>
                  <a:pt x="2647" y="1023"/>
                  <a:pt x="2648" y="1022"/>
                  <a:pt x="2649" y="1022"/>
                </a:cubicBezTo>
                <a:lnTo>
                  <a:pt x="2650" y="1022"/>
                </a:lnTo>
                <a:cubicBezTo>
                  <a:pt x="2651" y="1022"/>
                  <a:pt x="2652" y="1022"/>
                  <a:pt x="2652" y="1021"/>
                </a:cubicBezTo>
                <a:lnTo>
                  <a:pt x="2651" y="1021"/>
                </a:lnTo>
                <a:cubicBezTo>
                  <a:pt x="2651" y="1018"/>
                  <a:pt x="2656" y="1008"/>
                  <a:pt x="2666" y="990"/>
                </a:cubicBezTo>
                <a:cubicBezTo>
                  <a:pt x="2673" y="977"/>
                  <a:pt x="2681" y="963"/>
                  <a:pt x="2689" y="948"/>
                </a:cubicBezTo>
                <a:cubicBezTo>
                  <a:pt x="2708" y="912"/>
                  <a:pt x="2718" y="890"/>
                  <a:pt x="2721" y="881"/>
                </a:cubicBezTo>
                <a:lnTo>
                  <a:pt x="2725" y="871"/>
                </a:lnTo>
                <a:cubicBezTo>
                  <a:pt x="2725" y="871"/>
                  <a:pt x="2725" y="870"/>
                  <a:pt x="2724" y="870"/>
                </a:cubicBezTo>
                <a:cubicBezTo>
                  <a:pt x="2722" y="870"/>
                  <a:pt x="2712" y="877"/>
                  <a:pt x="2694" y="889"/>
                </a:cubicBezTo>
                <a:cubicBezTo>
                  <a:pt x="2685" y="895"/>
                  <a:pt x="2679" y="899"/>
                  <a:pt x="2678" y="899"/>
                </a:cubicBezTo>
                <a:cubicBezTo>
                  <a:pt x="2676" y="899"/>
                  <a:pt x="2674" y="901"/>
                  <a:pt x="2671" y="904"/>
                </a:cubicBezTo>
                <a:cubicBezTo>
                  <a:pt x="2668" y="907"/>
                  <a:pt x="2667" y="909"/>
                  <a:pt x="2667" y="910"/>
                </a:cubicBezTo>
                <a:cubicBezTo>
                  <a:pt x="2667" y="910"/>
                  <a:pt x="2667" y="911"/>
                  <a:pt x="2668" y="911"/>
                </a:cubicBezTo>
                <a:cubicBezTo>
                  <a:pt x="2669" y="911"/>
                  <a:pt x="2670" y="909"/>
                  <a:pt x="2672" y="907"/>
                </a:cubicBezTo>
                <a:cubicBezTo>
                  <a:pt x="2673" y="906"/>
                  <a:pt x="2674" y="906"/>
                  <a:pt x="2674" y="906"/>
                </a:cubicBezTo>
                <a:cubicBezTo>
                  <a:pt x="2675" y="906"/>
                  <a:pt x="2675" y="906"/>
                  <a:pt x="2675" y="906"/>
                </a:cubicBezTo>
                <a:lnTo>
                  <a:pt x="2675" y="906"/>
                </a:lnTo>
                <a:cubicBezTo>
                  <a:pt x="2675" y="906"/>
                  <a:pt x="2678" y="905"/>
                  <a:pt x="2682" y="901"/>
                </a:cubicBezTo>
                <a:cubicBezTo>
                  <a:pt x="2686" y="898"/>
                  <a:pt x="2689" y="896"/>
                  <a:pt x="2691" y="896"/>
                </a:cubicBezTo>
                <a:lnTo>
                  <a:pt x="2692" y="896"/>
                </a:lnTo>
                <a:cubicBezTo>
                  <a:pt x="2693" y="896"/>
                  <a:pt x="2693" y="895"/>
                  <a:pt x="2693" y="894"/>
                </a:cubicBezTo>
                <a:cubicBezTo>
                  <a:pt x="2693" y="893"/>
                  <a:pt x="2693" y="892"/>
                  <a:pt x="2694" y="892"/>
                </a:cubicBezTo>
                <a:lnTo>
                  <a:pt x="2695" y="893"/>
                </a:lnTo>
                <a:cubicBezTo>
                  <a:pt x="2696" y="893"/>
                  <a:pt x="2698" y="892"/>
                  <a:pt x="2700" y="889"/>
                </a:cubicBezTo>
                <a:cubicBezTo>
                  <a:pt x="2701" y="887"/>
                  <a:pt x="2703" y="886"/>
                  <a:pt x="2704" y="886"/>
                </a:cubicBezTo>
                <a:lnTo>
                  <a:pt x="2706" y="887"/>
                </a:lnTo>
                <a:cubicBezTo>
                  <a:pt x="2706" y="887"/>
                  <a:pt x="2707" y="886"/>
                  <a:pt x="2707" y="885"/>
                </a:cubicBezTo>
                <a:cubicBezTo>
                  <a:pt x="2707" y="884"/>
                  <a:pt x="2708" y="884"/>
                  <a:pt x="2709" y="884"/>
                </a:cubicBezTo>
                <a:lnTo>
                  <a:pt x="2710" y="884"/>
                </a:lnTo>
                <a:cubicBezTo>
                  <a:pt x="2711" y="884"/>
                  <a:pt x="2711" y="884"/>
                  <a:pt x="2711" y="883"/>
                </a:cubicBezTo>
                <a:cubicBezTo>
                  <a:pt x="2711" y="882"/>
                  <a:pt x="2712" y="882"/>
                  <a:pt x="2713" y="882"/>
                </a:cubicBezTo>
                <a:cubicBezTo>
                  <a:pt x="2714" y="882"/>
                  <a:pt x="2715" y="881"/>
                  <a:pt x="2716" y="881"/>
                </a:cubicBezTo>
                <a:lnTo>
                  <a:pt x="2716" y="881"/>
                </a:lnTo>
                <a:cubicBezTo>
                  <a:pt x="2716" y="882"/>
                  <a:pt x="2710" y="887"/>
                  <a:pt x="2698" y="895"/>
                </a:cubicBezTo>
                <a:cubicBezTo>
                  <a:pt x="2686" y="903"/>
                  <a:pt x="2674" y="911"/>
                  <a:pt x="2661" y="921"/>
                </a:cubicBezTo>
                <a:cubicBezTo>
                  <a:pt x="2649" y="931"/>
                  <a:pt x="2640" y="938"/>
                  <a:pt x="2636" y="942"/>
                </a:cubicBezTo>
                <a:cubicBezTo>
                  <a:pt x="2634" y="944"/>
                  <a:pt x="2631" y="947"/>
                  <a:pt x="2628" y="949"/>
                </a:cubicBezTo>
                <a:cubicBezTo>
                  <a:pt x="2625" y="952"/>
                  <a:pt x="2622" y="954"/>
                  <a:pt x="2619" y="956"/>
                </a:cubicBezTo>
                <a:cubicBezTo>
                  <a:pt x="2617" y="958"/>
                  <a:pt x="2615" y="959"/>
                  <a:pt x="2615" y="959"/>
                </a:cubicBezTo>
                <a:lnTo>
                  <a:pt x="2616" y="956"/>
                </a:lnTo>
                <a:lnTo>
                  <a:pt x="2614" y="958"/>
                </a:lnTo>
                <a:cubicBezTo>
                  <a:pt x="2613" y="958"/>
                  <a:pt x="2613" y="960"/>
                  <a:pt x="2613" y="960"/>
                </a:cubicBezTo>
                <a:cubicBezTo>
                  <a:pt x="2613" y="962"/>
                  <a:pt x="2612" y="963"/>
                  <a:pt x="2610" y="965"/>
                </a:cubicBezTo>
                <a:cubicBezTo>
                  <a:pt x="2609" y="967"/>
                  <a:pt x="2607" y="969"/>
                  <a:pt x="2605" y="971"/>
                </a:cubicBezTo>
                <a:cubicBezTo>
                  <a:pt x="2604" y="972"/>
                  <a:pt x="2602" y="973"/>
                  <a:pt x="2602" y="973"/>
                </a:cubicBezTo>
                <a:lnTo>
                  <a:pt x="2600" y="973"/>
                </a:lnTo>
                <a:lnTo>
                  <a:pt x="2600" y="974"/>
                </a:lnTo>
                <a:cubicBezTo>
                  <a:pt x="2600" y="975"/>
                  <a:pt x="2600" y="976"/>
                  <a:pt x="2599" y="978"/>
                </a:cubicBezTo>
                <a:cubicBezTo>
                  <a:pt x="2598" y="979"/>
                  <a:pt x="2596" y="981"/>
                  <a:pt x="2594" y="982"/>
                </a:cubicBezTo>
                <a:cubicBezTo>
                  <a:pt x="2592" y="984"/>
                  <a:pt x="2592" y="984"/>
                  <a:pt x="2591" y="984"/>
                </a:cubicBezTo>
                <a:lnTo>
                  <a:pt x="2592" y="983"/>
                </a:lnTo>
                <a:cubicBezTo>
                  <a:pt x="2594" y="981"/>
                  <a:pt x="2595" y="980"/>
                  <a:pt x="2595" y="979"/>
                </a:cubicBezTo>
                <a:lnTo>
                  <a:pt x="2594" y="979"/>
                </a:lnTo>
                <a:cubicBezTo>
                  <a:pt x="2593" y="979"/>
                  <a:pt x="2592" y="981"/>
                  <a:pt x="2589" y="984"/>
                </a:cubicBezTo>
                <a:cubicBezTo>
                  <a:pt x="2587" y="986"/>
                  <a:pt x="2586" y="987"/>
                  <a:pt x="2586" y="987"/>
                </a:cubicBezTo>
                <a:lnTo>
                  <a:pt x="2586" y="988"/>
                </a:lnTo>
                <a:lnTo>
                  <a:pt x="2587" y="987"/>
                </a:lnTo>
                <a:cubicBezTo>
                  <a:pt x="2588" y="987"/>
                  <a:pt x="2589" y="986"/>
                  <a:pt x="2589" y="986"/>
                </a:cubicBezTo>
                <a:lnTo>
                  <a:pt x="2590" y="987"/>
                </a:lnTo>
                <a:cubicBezTo>
                  <a:pt x="2590" y="987"/>
                  <a:pt x="2589" y="988"/>
                  <a:pt x="2588" y="990"/>
                </a:cubicBezTo>
                <a:cubicBezTo>
                  <a:pt x="2587" y="991"/>
                  <a:pt x="2586" y="993"/>
                  <a:pt x="2584" y="995"/>
                </a:cubicBezTo>
                <a:cubicBezTo>
                  <a:pt x="2582" y="996"/>
                  <a:pt x="2581" y="997"/>
                  <a:pt x="2581" y="997"/>
                </a:cubicBezTo>
                <a:lnTo>
                  <a:pt x="2585" y="991"/>
                </a:lnTo>
                <a:lnTo>
                  <a:pt x="2584" y="990"/>
                </a:lnTo>
                <a:cubicBezTo>
                  <a:pt x="2584" y="990"/>
                  <a:pt x="2582" y="992"/>
                  <a:pt x="2579" y="995"/>
                </a:cubicBezTo>
                <a:cubicBezTo>
                  <a:pt x="2577" y="997"/>
                  <a:pt x="2576" y="999"/>
                  <a:pt x="2576" y="999"/>
                </a:cubicBezTo>
                <a:lnTo>
                  <a:pt x="2579" y="998"/>
                </a:lnTo>
                <a:cubicBezTo>
                  <a:pt x="2580" y="998"/>
                  <a:pt x="2580" y="999"/>
                  <a:pt x="2580" y="1000"/>
                </a:cubicBezTo>
                <a:cubicBezTo>
                  <a:pt x="2580" y="1000"/>
                  <a:pt x="2579" y="1001"/>
                  <a:pt x="2579" y="1002"/>
                </a:cubicBezTo>
                <a:cubicBezTo>
                  <a:pt x="2578" y="1003"/>
                  <a:pt x="2577" y="1004"/>
                  <a:pt x="2576" y="1004"/>
                </a:cubicBezTo>
                <a:cubicBezTo>
                  <a:pt x="2575" y="1005"/>
                  <a:pt x="2574" y="1005"/>
                  <a:pt x="2574" y="1005"/>
                </a:cubicBezTo>
                <a:lnTo>
                  <a:pt x="2572" y="1005"/>
                </a:lnTo>
                <a:cubicBezTo>
                  <a:pt x="2571" y="1005"/>
                  <a:pt x="2571" y="1005"/>
                  <a:pt x="2570" y="1006"/>
                </a:cubicBezTo>
                <a:cubicBezTo>
                  <a:pt x="2569" y="1007"/>
                  <a:pt x="2569" y="1008"/>
                  <a:pt x="2569" y="1008"/>
                </a:cubicBezTo>
                <a:lnTo>
                  <a:pt x="2569" y="1009"/>
                </a:lnTo>
                <a:lnTo>
                  <a:pt x="2572" y="1007"/>
                </a:lnTo>
                <a:cubicBezTo>
                  <a:pt x="2572" y="1007"/>
                  <a:pt x="2572" y="1007"/>
                  <a:pt x="2572" y="1007"/>
                </a:cubicBezTo>
                <a:lnTo>
                  <a:pt x="2572" y="1009"/>
                </a:lnTo>
                <a:cubicBezTo>
                  <a:pt x="2571" y="1011"/>
                  <a:pt x="2571" y="1012"/>
                  <a:pt x="2569" y="1012"/>
                </a:cubicBezTo>
                <a:cubicBezTo>
                  <a:pt x="2568" y="1012"/>
                  <a:pt x="2567" y="1012"/>
                  <a:pt x="2566" y="1013"/>
                </a:cubicBezTo>
                <a:cubicBezTo>
                  <a:pt x="2564" y="1014"/>
                  <a:pt x="2564" y="1014"/>
                  <a:pt x="2564" y="1015"/>
                </a:cubicBezTo>
                <a:lnTo>
                  <a:pt x="2567" y="1014"/>
                </a:lnTo>
                <a:cubicBezTo>
                  <a:pt x="2567" y="1014"/>
                  <a:pt x="2568" y="1014"/>
                  <a:pt x="2568" y="1015"/>
                </a:cubicBezTo>
                <a:cubicBezTo>
                  <a:pt x="2568" y="1017"/>
                  <a:pt x="2567" y="1018"/>
                  <a:pt x="2565" y="1019"/>
                </a:cubicBezTo>
                <a:cubicBezTo>
                  <a:pt x="2564" y="1021"/>
                  <a:pt x="2562" y="1021"/>
                  <a:pt x="2561" y="1021"/>
                </a:cubicBezTo>
                <a:cubicBezTo>
                  <a:pt x="2561" y="1021"/>
                  <a:pt x="2560" y="1021"/>
                  <a:pt x="2560" y="1021"/>
                </a:cubicBezTo>
                <a:lnTo>
                  <a:pt x="2559" y="1020"/>
                </a:lnTo>
                <a:lnTo>
                  <a:pt x="2560" y="1022"/>
                </a:lnTo>
                <a:cubicBezTo>
                  <a:pt x="2560" y="1025"/>
                  <a:pt x="2558" y="1029"/>
                  <a:pt x="2555" y="1033"/>
                </a:cubicBezTo>
                <a:cubicBezTo>
                  <a:pt x="2544" y="1049"/>
                  <a:pt x="2536" y="1064"/>
                  <a:pt x="2529" y="1080"/>
                </a:cubicBezTo>
                <a:cubicBezTo>
                  <a:pt x="2523" y="1095"/>
                  <a:pt x="2520" y="1107"/>
                  <a:pt x="2519" y="1118"/>
                </a:cubicBezTo>
                <a:cubicBezTo>
                  <a:pt x="2519" y="1125"/>
                  <a:pt x="2520" y="1129"/>
                  <a:pt x="2520" y="1131"/>
                </a:cubicBezTo>
                <a:cubicBezTo>
                  <a:pt x="2520" y="1133"/>
                  <a:pt x="2522" y="1134"/>
                  <a:pt x="2524" y="1134"/>
                </a:cubicBezTo>
                <a:lnTo>
                  <a:pt x="2529" y="1134"/>
                </a:lnTo>
                <a:cubicBezTo>
                  <a:pt x="2530" y="1134"/>
                  <a:pt x="2531" y="1134"/>
                  <a:pt x="2531" y="1136"/>
                </a:cubicBezTo>
                <a:cubicBezTo>
                  <a:pt x="2532" y="1137"/>
                  <a:pt x="2532" y="1137"/>
                  <a:pt x="2533" y="1137"/>
                </a:cubicBezTo>
                <a:close/>
                <a:moveTo>
                  <a:pt x="2550" y="1152"/>
                </a:moveTo>
                <a:cubicBezTo>
                  <a:pt x="2553" y="1152"/>
                  <a:pt x="2557" y="1152"/>
                  <a:pt x="2561" y="1151"/>
                </a:cubicBezTo>
                <a:cubicBezTo>
                  <a:pt x="2564" y="1150"/>
                  <a:pt x="2567" y="1149"/>
                  <a:pt x="2567" y="1149"/>
                </a:cubicBezTo>
                <a:cubicBezTo>
                  <a:pt x="2567" y="1148"/>
                  <a:pt x="2568" y="1147"/>
                  <a:pt x="2569" y="1147"/>
                </a:cubicBezTo>
                <a:cubicBezTo>
                  <a:pt x="2569" y="1147"/>
                  <a:pt x="2570" y="1148"/>
                  <a:pt x="2570" y="1148"/>
                </a:cubicBezTo>
                <a:cubicBezTo>
                  <a:pt x="2571" y="1148"/>
                  <a:pt x="2571" y="1149"/>
                  <a:pt x="2572" y="1149"/>
                </a:cubicBezTo>
                <a:lnTo>
                  <a:pt x="2572" y="1148"/>
                </a:lnTo>
                <a:cubicBezTo>
                  <a:pt x="2572" y="1148"/>
                  <a:pt x="2571" y="1147"/>
                  <a:pt x="2570" y="1146"/>
                </a:cubicBezTo>
                <a:cubicBezTo>
                  <a:pt x="2569" y="1144"/>
                  <a:pt x="2569" y="1143"/>
                  <a:pt x="2569" y="1142"/>
                </a:cubicBezTo>
                <a:lnTo>
                  <a:pt x="2572" y="1143"/>
                </a:lnTo>
                <a:cubicBezTo>
                  <a:pt x="2574" y="1143"/>
                  <a:pt x="2576" y="1143"/>
                  <a:pt x="2578" y="1142"/>
                </a:cubicBezTo>
                <a:cubicBezTo>
                  <a:pt x="2582" y="1139"/>
                  <a:pt x="2585" y="1137"/>
                  <a:pt x="2585" y="1134"/>
                </a:cubicBezTo>
                <a:cubicBezTo>
                  <a:pt x="2586" y="1132"/>
                  <a:pt x="2588" y="1130"/>
                  <a:pt x="2591" y="1129"/>
                </a:cubicBezTo>
                <a:cubicBezTo>
                  <a:pt x="2594" y="1127"/>
                  <a:pt x="2595" y="1126"/>
                  <a:pt x="2596" y="1126"/>
                </a:cubicBezTo>
                <a:lnTo>
                  <a:pt x="2591" y="1130"/>
                </a:lnTo>
                <a:cubicBezTo>
                  <a:pt x="2588" y="1132"/>
                  <a:pt x="2587" y="1134"/>
                  <a:pt x="2587" y="1134"/>
                </a:cubicBezTo>
                <a:lnTo>
                  <a:pt x="2587" y="1135"/>
                </a:lnTo>
                <a:cubicBezTo>
                  <a:pt x="2590" y="1135"/>
                  <a:pt x="2599" y="1128"/>
                  <a:pt x="2614" y="1113"/>
                </a:cubicBezTo>
                <a:cubicBezTo>
                  <a:pt x="2629" y="1099"/>
                  <a:pt x="2638" y="1090"/>
                  <a:pt x="2638" y="1087"/>
                </a:cubicBezTo>
                <a:cubicBezTo>
                  <a:pt x="2637" y="1087"/>
                  <a:pt x="2632" y="1092"/>
                  <a:pt x="2623" y="1100"/>
                </a:cubicBezTo>
                <a:cubicBezTo>
                  <a:pt x="2617" y="1107"/>
                  <a:pt x="2614" y="1110"/>
                  <a:pt x="2613" y="1110"/>
                </a:cubicBezTo>
                <a:lnTo>
                  <a:pt x="2614" y="1109"/>
                </a:lnTo>
                <a:cubicBezTo>
                  <a:pt x="2616" y="1105"/>
                  <a:pt x="2621" y="1100"/>
                  <a:pt x="2629" y="1093"/>
                </a:cubicBezTo>
                <a:cubicBezTo>
                  <a:pt x="2634" y="1087"/>
                  <a:pt x="2638" y="1081"/>
                  <a:pt x="2643" y="1075"/>
                </a:cubicBezTo>
                <a:cubicBezTo>
                  <a:pt x="2646" y="1071"/>
                  <a:pt x="2647" y="1070"/>
                  <a:pt x="2648" y="1070"/>
                </a:cubicBezTo>
                <a:cubicBezTo>
                  <a:pt x="2648" y="1070"/>
                  <a:pt x="2648" y="1070"/>
                  <a:pt x="2648" y="1070"/>
                </a:cubicBezTo>
                <a:lnTo>
                  <a:pt x="2648" y="1071"/>
                </a:lnTo>
                <a:cubicBezTo>
                  <a:pt x="2648" y="1072"/>
                  <a:pt x="2649" y="1072"/>
                  <a:pt x="2649" y="1072"/>
                </a:cubicBezTo>
                <a:lnTo>
                  <a:pt x="2650" y="1072"/>
                </a:lnTo>
                <a:cubicBezTo>
                  <a:pt x="2651" y="1071"/>
                  <a:pt x="2652" y="1070"/>
                  <a:pt x="2652" y="1069"/>
                </a:cubicBezTo>
                <a:cubicBezTo>
                  <a:pt x="2652" y="1068"/>
                  <a:pt x="2651" y="1067"/>
                  <a:pt x="2651" y="1066"/>
                </a:cubicBezTo>
                <a:cubicBezTo>
                  <a:pt x="2650" y="1064"/>
                  <a:pt x="2649" y="1063"/>
                  <a:pt x="2648" y="1063"/>
                </a:cubicBezTo>
                <a:cubicBezTo>
                  <a:pt x="2647" y="1063"/>
                  <a:pt x="2645" y="1066"/>
                  <a:pt x="2643" y="1071"/>
                </a:cubicBezTo>
                <a:cubicBezTo>
                  <a:pt x="2636" y="1082"/>
                  <a:pt x="2624" y="1095"/>
                  <a:pt x="2607" y="1108"/>
                </a:cubicBezTo>
                <a:cubicBezTo>
                  <a:pt x="2590" y="1122"/>
                  <a:pt x="2572" y="1133"/>
                  <a:pt x="2554" y="1142"/>
                </a:cubicBezTo>
                <a:cubicBezTo>
                  <a:pt x="2544" y="1146"/>
                  <a:pt x="2539" y="1149"/>
                  <a:pt x="2539" y="1151"/>
                </a:cubicBezTo>
                <a:cubicBezTo>
                  <a:pt x="2539" y="1152"/>
                  <a:pt x="2543" y="1152"/>
                  <a:pt x="2550" y="1152"/>
                </a:cubicBezTo>
                <a:close/>
                <a:moveTo>
                  <a:pt x="2654" y="1066"/>
                </a:moveTo>
                <a:cubicBezTo>
                  <a:pt x="2655" y="1066"/>
                  <a:pt x="2655" y="1066"/>
                  <a:pt x="2655" y="1065"/>
                </a:cubicBezTo>
                <a:lnTo>
                  <a:pt x="2654" y="1062"/>
                </a:lnTo>
                <a:cubicBezTo>
                  <a:pt x="2654" y="1060"/>
                  <a:pt x="2655" y="1060"/>
                  <a:pt x="2657" y="1059"/>
                </a:cubicBezTo>
                <a:cubicBezTo>
                  <a:pt x="2659" y="1059"/>
                  <a:pt x="2663" y="1054"/>
                  <a:pt x="2669" y="1044"/>
                </a:cubicBezTo>
                <a:cubicBezTo>
                  <a:pt x="2675" y="1034"/>
                  <a:pt x="2679" y="1029"/>
                  <a:pt x="2680" y="1029"/>
                </a:cubicBezTo>
                <a:lnTo>
                  <a:pt x="2681" y="1029"/>
                </a:lnTo>
                <a:lnTo>
                  <a:pt x="2681" y="1026"/>
                </a:lnTo>
                <a:cubicBezTo>
                  <a:pt x="2681" y="1023"/>
                  <a:pt x="2682" y="1021"/>
                  <a:pt x="2685" y="1019"/>
                </a:cubicBezTo>
                <a:cubicBezTo>
                  <a:pt x="2687" y="1016"/>
                  <a:pt x="2688" y="1014"/>
                  <a:pt x="2688" y="1012"/>
                </a:cubicBezTo>
                <a:lnTo>
                  <a:pt x="2688" y="1009"/>
                </a:lnTo>
                <a:lnTo>
                  <a:pt x="2688" y="1009"/>
                </a:lnTo>
                <a:lnTo>
                  <a:pt x="2692" y="1011"/>
                </a:lnTo>
                <a:lnTo>
                  <a:pt x="2691" y="1009"/>
                </a:lnTo>
                <a:cubicBezTo>
                  <a:pt x="2691" y="1008"/>
                  <a:pt x="2692" y="1007"/>
                  <a:pt x="2693" y="1006"/>
                </a:cubicBezTo>
                <a:cubicBezTo>
                  <a:pt x="2694" y="1004"/>
                  <a:pt x="2695" y="1004"/>
                  <a:pt x="2696" y="1004"/>
                </a:cubicBezTo>
                <a:cubicBezTo>
                  <a:pt x="2696" y="1004"/>
                  <a:pt x="2698" y="1005"/>
                  <a:pt x="2699" y="1006"/>
                </a:cubicBezTo>
                <a:cubicBezTo>
                  <a:pt x="2700" y="1008"/>
                  <a:pt x="2700" y="1009"/>
                  <a:pt x="2700" y="1009"/>
                </a:cubicBezTo>
                <a:lnTo>
                  <a:pt x="2700" y="1003"/>
                </a:lnTo>
                <a:cubicBezTo>
                  <a:pt x="2700" y="1003"/>
                  <a:pt x="2700" y="1002"/>
                  <a:pt x="2700" y="1002"/>
                </a:cubicBezTo>
                <a:lnTo>
                  <a:pt x="2702" y="1003"/>
                </a:lnTo>
                <a:cubicBezTo>
                  <a:pt x="2703" y="1003"/>
                  <a:pt x="2703" y="1003"/>
                  <a:pt x="2703" y="1002"/>
                </a:cubicBezTo>
                <a:lnTo>
                  <a:pt x="2702" y="998"/>
                </a:lnTo>
                <a:cubicBezTo>
                  <a:pt x="2702" y="998"/>
                  <a:pt x="2702" y="998"/>
                  <a:pt x="2702" y="998"/>
                </a:cubicBezTo>
                <a:lnTo>
                  <a:pt x="2705" y="999"/>
                </a:lnTo>
                <a:cubicBezTo>
                  <a:pt x="2705" y="999"/>
                  <a:pt x="2705" y="999"/>
                  <a:pt x="2705" y="998"/>
                </a:cubicBezTo>
                <a:cubicBezTo>
                  <a:pt x="2705" y="998"/>
                  <a:pt x="2705" y="997"/>
                  <a:pt x="2705" y="996"/>
                </a:cubicBezTo>
                <a:cubicBezTo>
                  <a:pt x="2705" y="995"/>
                  <a:pt x="2705" y="994"/>
                  <a:pt x="2704" y="994"/>
                </a:cubicBezTo>
                <a:cubicBezTo>
                  <a:pt x="2703" y="994"/>
                  <a:pt x="2702" y="995"/>
                  <a:pt x="2701" y="997"/>
                </a:cubicBezTo>
                <a:cubicBezTo>
                  <a:pt x="2699" y="999"/>
                  <a:pt x="2698" y="1000"/>
                  <a:pt x="2698" y="1000"/>
                </a:cubicBezTo>
                <a:lnTo>
                  <a:pt x="2699" y="995"/>
                </a:lnTo>
                <a:cubicBezTo>
                  <a:pt x="2700" y="992"/>
                  <a:pt x="2702" y="990"/>
                  <a:pt x="2704" y="990"/>
                </a:cubicBezTo>
                <a:cubicBezTo>
                  <a:pt x="2705" y="990"/>
                  <a:pt x="2707" y="989"/>
                  <a:pt x="2708" y="986"/>
                </a:cubicBezTo>
                <a:cubicBezTo>
                  <a:pt x="2709" y="984"/>
                  <a:pt x="2710" y="982"/>
                  <a:pt x="2711" y="982"/>
                </a:cubicBezTo>
                <a:lnTo>
                  <a:pt x="2712" y="983"/>
                </a:lnTo>
                <a:cubicBezTo>
                  <a:pt x="2713" y="983"/>
                  <a:pt x="2713" y="982"/>
                  <a:pt x="2713" y="981"/>
                </a:cubicBezTo>
                <a:lnTo>
                  <a:pt x="2712" y="978"/>
                </a:lnTo>
                <a:cubicBezTo>
                  <a:pt x="2712" y="978"/>
                  <a:pt x="2713" y="977"/>
                  <a:pt x="2713" y="977"/>
                </a:cubicBezTo>
                <a:lnTo>
                  <a:pt x="2715" y="978"/>
                </a:lnTo>
                <a:cubicBezTo>
                  <a:pt x="2716" y="978"/>
                  <a:pt x="2716" y="978"/>
                  <a:pt x="2716" y="977"/>
                </a:cubicBezTo>
                <a:lnTo>
                  <a:pt x="2715" y="973"/>
                </a:lnTo>
                <a:cubicBezTo>
                  <a:pt x="2715" y="973"/>
                  <a:pt x="2715" y="973"/>
                  <a:pt x="2715" y="973"/>
                </a:cubicBezTo>
                <a:lnTo>
                  <a:pt x="2718" y="974"/>
                </a:lnTo>
                <a:cubicBezTo>
                  <a:pt x="2718" y="974"/>
                  <a:pt x="2719" y="974"/>
                  <a:pt x="2719" y="974"/>
                </a:cubicBezTo>
                <a:lnTo>
                  <a:pt x="2718" y="973"/>
                </a:lnTo>
                <a:cubicBezTo>
                  <a:pt x="2718" y="972"/>
                  <a:pt x="2718" y="971"/>
                  <a:pt x="2718" y="970"/>
                </a:cubicBezTo>
                <a:cubicBezTo>
                  <a:pt x="2718" y="968"/>
                  <a:pt x="2718" y="966"/>
                  <a:pt x="2719" y="965"/>
                </a:cubicBezTo>
                <a:cubicBezTo>
                  <a:pt x="2720" y="963"/>
                  <a:pt x="2721" y="962"/>
                  <a:pt x="2722" y="962"/>
                </a:cubicBezTo>
                <a:lnTo>
                  <a:pt x="2724" y="963"/>
                </a:lnTo>
                <a:lnTo>
                  <a:pt x="2724" y="962"/>
                </a:lnTo>
                <a:lnTo>
                  <a:pt x="2723" y="957"/>
                </a:lnTo>
                <a:cubicBezTo>
                  <a:pt x="2723" y="955"/>
                  <a:pt x="2724" y="954"/>
                  <a:pt x="2725" y="953"/>
                </a:cubicBezTo>
                <a:cubicBezTo>
                  <a:pt x="2726" y="951"/>
                  <a:pt x="2726" y="951"/>
                  <a:pt x="2727" y="951"/>
                </a:cubicBezTo>
                <a:lnTo>
                  <a:pt x="2729" y="951"/>
                </a:lnTo>
                <a:cubicBezTo>
                  <a:pt x="2729" y="951"/>
                  <a:pt x="2729" y="951"/>
                  <a:pt x="2729" y="950"/>
                </a:cubicBezTo>
                <a:lnTo>
                  <a:pt x="2729" y="945"/>
                </a:lnTo>
                <a:cubicBezTo>
                  <a:pt x="2729" y="944"/>
                  <a:pt x="2729" y="943"/>
                  <a:pt x="2729" y="943"/>
                </a:cubicBezTo>
                <a:lnTo>
                  <a:pt x="2730" y="943"/>
                </a:lnTo>
                <a:cubicBezTo>
                  <a:pt x="2731" y="943"/>
                  <a:pt x="2731" y="943"/>
                  <a:pt x="2731" y="942"/>
                </a:cubicBezTo>
                <a:lnTo>
                  <a:pt x="2731" y="938"/>
                </a:lnTo>
                <a:cubicBezTo>
                  <a:pt x="2731" y="936"/>
                  <a:pt x="2731" y="936"/>
                  <a:pt x="2731" y="936"/>
                </a:cubicBezTo>
                <a:lnTo>
                  <a:pt x="2733" y="937"/>
                </a:lnTo>
                <a:cubicBezTo>
                  <a:pt x="2734" y="937"/>
                  <a:pt x="2734" y="936"/>
                  <a:pt x="2734" y="936"/>
                </a:cubicBezTo>
                <a:lnTo>
                  <a:pt x="2734" y="933"/>
                </a:lnTo>
                <a:cubicBezTo>
                  <a:pt x="2734" y="931"/>
                  <a:pt x="2735" y="931"/>
                  <a:pt x="2736" y="931"/>
                </a:cubicBezTo>
                <a:cubicBezTo>
                  <a:pt x="2737" y="931"/>
                  <a:pt x="2737" y="930"/>
                  <a:pt x="2737" y="930"/>
                </a:cubicBezTo>
                <a:lnTo>
                  <a:pt x="2737" y="928"/>
                </a:lnTo>
                <a:cubicBezTo>
                  <a:pt x="2737" y="927"/>
                  <a:pt x="2737" y="926"/>
                  <a:pt x="2738" y="926"/>
                </a:cubicBezTo>
                <a:cubicBezTo>
                  <a:pt x="2739" y="926"/>
                  <a:pt x="2739" y="926"/>
                  <a:pt x="2739" y="924"/>
                </a:cubicBezTo>
                <a:lnTo>
                  <a:pt x="2739" y="921"/>
                </a:lnTo>
                <a:cubicBezTo>
                  <a:pt x="2739" y="921"/>
                  <a:pt x="2740" y="920"/>
                  <a:pt x="2741" y="920"/>
                </a:cubicBezTo>
                <a:cubicBezTo>
                  <a:pt x="2742" y="920"/>
                  <a:pt x="2742" y="919"/>
                  <a:pt x="2742" y="918"/>
                </a:cubicBezTo>
                <a:lnTo>
                  <a:pt x="2742" y="914"/>
                </a:lnTo>
                <a:cubicBezTo>
                  <a:pt x="2742" y="913"/>
                  <a:pt x="2743" y="912"/>
                  <a:pt x="2744" y="912"/>
                </a:cubicBezTo>
                <a:cubicBezTo>
                  <a:pt x="2745" y="912"/>
                  <a:pt x="2745" y="911"/>
                  <a:pt x="2745" y="910"/>
                </a:cubicBezTo>
                <a:lnTo>
                  <a:pt x="2745" y="907"/>
                </a:lnTo>
                <a:cubicBezTo>
                  <a:pt x="2745" y="906"/>
                  <a:pt x="2745" y="905"/>
                  <a:pt x="2746" y="905"/>
                </a:cubicBezTo>
                <a:cubicBezTo>
                  <a:pt x="2747" y="905"/>
                  <a:pt x="2747" y="905"/>
                  <a:pt x="2747" y="903"/>
                </a:cubicBezTo>
                <a:lnTo>
                  <a:pt x="2747" y="902"/>
                </a:lnTo>
                <a:cubicBezTo>
                  <a:pt x="2747" y="900"/>
                  <a:pt x="2748" y="899"/>
                  <a:pt x="2749" y="899"/>
                </a:cubicBezTo>
                <a:cubicBezTo>
                  <a:pt x="2750" y="899"/>
                  <a:pt x="2750" y="898"/>
                  <a:pt x="2751" y="897"/>
                </a:cubicBezTo>
                <a:lnTo>
                  <a:pt x="2750" y="896"/>
                </a:lnTo>
                <a:cubicBezTo>
                  <a:pt x="2750" y="895"/>
                  <a:pt x="2751" y="894"/>
                  <a:pt x="2752" y="894"/>
                </a:cubicBezTo>
                <a:cubicBezTo>
                  <a:pt x="2753" y="894"/>
                  <a:pt x="2754" y="893"/>
                  <a:pt x="2754" y="892"/>
                </a:cubicBezTo>
                <a:lnTo>
                  <a:pt x="2754" y="889"/>
                </a:lnTo>
                <a:cubicBezTo>
                  <a:pt x="2754" y="888"/>
                  <a:pt x="2754" y="887"/>
                  <a:pt x="2755" y="887"/>
                </a:cubicBezTo>
                <a:cubicBezTo>
                  <a:pt x="2756" y="887"/>
                  <a:pt x="2756" y="887"/>
                  <a:pt x="2756" y="885"/>
                </a:cubicBezTo>
                <a:lnTo>
                  <a:pt x="2756" y="883"/>
                </a:lnTo>
                <a:cubicBezTo>
                  <a:pt x="2756" y="881"/>
                  <a:pt x="2757" y="880"/>
                  <a:pt x="2758" y="880"/>
                </a:cubicBezTo>
                <a:cubicBezTo>
                  <a:pt x="2759" y="879"/>
                  <a:pt x="2762" y="873"/>
                  <a:pt x="2766" y="860"/>
                </a:cubicBezTo>
                <a:cubicBezTo>
                  <a:pt x="2770" y="851"/>
                  <a:pt x="2771" y="846"/>
                  <a:pt x="2771" y="844"/>
                </a:cubicBezTo>
                <a:lnTo>
                  <a:pt x="2771" y="844"/>
                </a:lnTo>
                <a:cubicBezTo>
                  <a:pt x="2771" y="844"/>
                  <a:pt x="2770" y="844"/>
                  <a:pt x="2770" y="845"/>
                </a:cubicBezTo>
                <a:cubicBezTo>
                  <a:pt x="2769" y="846"/>
                  <a:pt x="2768" y="847"/>
                  <a:pt x="2767" y="848"/>
                </a:cubicBezTo>
                <a:cubicBezTo>
                  <a:pt x="2767" y="848"/>
                  <a:pt x="2766" y="849"/>
                  <a:pt x="2765" y="849"/>
                </a:cubicBezTo>
                <a:lnTo>
                  <a:pt x="2763" y="848"/>
                </a:lnTo>
                <a:cubicBezTo>
                  <a:pt x="2762" y="848"/>
                  <a:pt x="2761" y="849"/>
                  <a:pt x="2761" y="850"/>
                </a:cubicBezTo>
                <a:lnTo>
                  <a:pt x="2761" y="852"/>
                </a:lnTo>
                <a:cubicBezTo>
                  <a:pt x="2761" y="853"/>
                  <a:pt x="2760" y="853"/>
                  <a:pt x="2759" y="853"/>
                </a:cubicBezTo>
                <a:cubicBezTo>
                  <a:pt x="2758" y="853"/>
                  <a:pt x="2758" y="854"/>
                  <a:pt x="2757" y="855"/>
                </a:cubicBezTo>
                <a:cubicBezTo>
                  <a:pt x="2757" y="856"/>
                  <a:pt x="2758" y="857"/>
                  <a:pt x="2758" y="857"/>
                </a:cubicBezTo>
                <a:lnTo>
                  <a:pt x="2761" y="856"/>
                </a:lnTo>
                <a:lnTo>
                  <a:pt x="2759" y="858"/>
                </a:lnTo>
                <a:cubicBezTo>
                  <a:pt x="2756" y="860"/>
                  <a:pt x="2752" y="868"/>
                  <a:pt x="2747" y="881"/>
                </a:cubicBezTo>
                <a:cubicBezTo>
                  <a:pt x="2729" y="923"/>
                  <a:pt x="2718" y="948"/>
                  <a:pt x="2715" y="955"/>
                </a:cubicBezTo>
                <a:cubicBezTo>
                  <a:pt x="2711" y="962"/>
                  <a:pt x="2709" y="965"/>
                  <a:pt x="2709" y="966"/>
                </a:cubicBezTo>
                <a:cubicBezTo>
                  <a:pt x="2709" y="966"/>
                  <a:pt x="2708" y="968"/>
                  <a:pt x="2707" y="971"/>
                </a:cubicBezTo>
                <a:cubicBezTo>
                  <a:pt x="2705" y="973"/>
                  <a:pt x="2704" y="976"/>
                  <a:pt x="2702" y="980"/>
                </a:cubicBezTo>
                <a:cubicBezTo>
                  <a:pt x="2698" y="988"/>
                  <a:pt x="2696" y="993"/>
                  <a:pt x="2696" y="995"/>
                </a:cubicBezTo>
                <a:cubicBezTo>
                  <a:pt x="2696" y="997"/>
                  <a:pt x="2695" y="997"/>
                  <a:pt x="2694" y="997"/>
                </a:cubicBezTo>
                <a:cubicBezTo>
                  <a:pt x="2692" y="997"/>
                  <a:pt x="2688" y="1004"/>
                  <a:pt x="2682" y="1017"/>
                </a:cubicBezTo>
                <a:cubicBezTo>
                  <a:pt x="2676" y="1029"/>
                  <a:pt x="2671" y="1035"/>
                  <a:pt x="2669" y="1035"/>
                </a:cubicBezTo>
                <a:lnTo>
                  <a:pt x="2668" y="1035"/>
                </a:lnTo>
                <a:cubicBezTo>
                  <a:pt x="2667" y="1035"/>
                  <a:pt x="2666" y="1036"/>
                  <a:pt x="2666" y="1036"/>
                </a:cubicBezTo>
                <a:cubicBezTo>
                  <a:pt x="2666" y="1038"/>
                  <a:pt x="2666" y="1038"/>
                  <a:pt x="2668" y="1039"/>
                </a:cubicBezTo>
                <a:cubicBezTo>
                  <a:pt x="2669" y="1039"/>
                  <a:pt x="2669" y="1039"/>
                  <a:pt x="2669" y="1039"/>
                </a:cubicBezTo>
                <a:cubicBezTo>
                  <a:pt x="2669" y="1040"/>
                  <a:pt x="2669" y="1041"/>
                  <a:pt x="2667" y="1042"/>
                </a:cubicBezTo>
                <a:cubicBezTo>
                  <a:pt x="2665" y="1046"/>
                  <a:pt x="2663" y="1049"/>
                  <a:pt x="2662" y="1052"/>
                </a:cubicBezTo>
                <a:cubicBezTo>
                  <a:pt x="2660" y="1055"/>
                  <a:pt x="2659" y="1056"/>
                  <a:pt x="2658" y="1056"/>
                </a:cubicBezTo>
                <a:lnTo>
                  <a:pt x="2655" y="1056"/>
                </a:lnTo>
                <a:cubicBezTo>
                  <a:pt x="2653" y="1056"/>
                  <a:pt x="2652" y="1057"/>
                  <a:pt x="2652" y="1060"/>
                </a:cubicBezTo>
                <a:cubicBezTo>
                  <a:pt x="2652" y="1061"/>
                  <a:pt x="2652" y="1063"/>
                  <a:pt x="2653" y="1064"/>
                </a:cubicBezTo>
                <a:cubicBezTo>
                  <a:pt x="2653" y="1066"/>
                  <a:pt x="2654" y="1066"/>
                  <a:pt x="2654" y="1066"/>
                </a:cubicBezTo>
                <a:close/>
                <a:moveTo>
                  <a:pt x="2765" y="841"/>
                </a:moveTo>
                <a:lnTo>
                  <a:pt x="2770" y="839"/>
                </a:lnTo>
                <a:cubicBezTo>
                  <a:pt x="2774" y="837"/>
                  <a:pt x="2776" y="836"/>
                  <a:pt x="2776" y="835"/>
                </a:cubicBezTo>
                <a:lnTo>
                  <a:pt x="2776" y="834"/>
                </a:lnTo>
                <a:cubicBezTo>
                  <a:pt x="2776" y="834"/>
                  <a:pt x="2776" y="834"/>
                  <a:pt x="2776" y="834"/>
                </a:cubicBezTo>
                <a:cubicBezTo>
                  <a:pt x="2775" y="834"/>
                  <a:pt x="2773" y="835"/>
                  <a:pt x="2771" y="836"/>
                </a:cubicBezTo>
                <a:cubicBezTo>
                  <a:pt x="2767" y="838"/>
                  <a:pt x="2765" y="840"/>
                  <a:pt x="2765" y="841"/>
                </a:cubicBezTo>
                <a:close/>
                <a:moveTo>
                  <a:pt x="2780" y="811"/>
                </a:moveTo>
                <a:cubicBezTo>
                  <a:pt x="2781" y="811"/>
                  <a:pt x="2782" y="811"/>
                  <a:pt x="2783" y="810"/>
                </a:cubicBezTo>
                <a:cubicBezTo>
                  <a:pt x="2785" y="809"/>
                  <a:pt x="2787" y="804"/>
                  <a:pt x="2790" y="796"/>
                </a:cubicBezTo>
                <a:cubicBezTo>
                  <a:pt x="2804" y="755"/>
                  <a:pt x="2813" y="729"/>
                  <a:pt x="2815" y="718"/>
                </a:cubicBezTo>
                <a:cubicBezTo>
                  <a:pt x="2817" y="710"/>
                  <a:pt x="2818" y="705"/>
                  <a:pt x="2819" y="705"/>
                </a:cubicBezTo>
                <a:cubicBezTo>
                  <a:pt x="2820" y="705"/>
                  <a:pt x="2821" y="704"/>
                  <a:pt x="2821" y="703"/>
                </a:cubicBezTo>
                <a:lnTo>
                  <a:pt x="2821" y="701"/>
                </a:lnTo>
                <a:cubicBezTo>
                  <a:pt x="2821" y="699"/>
                  <a:pt x="2823" y="691"/>
                  <a:pt x="2826" y="677"/>
                </a:cubicBezTo>
                <a:cubicBezTo>
                  <a:pt x="2832" y="653"/>
                  <a:pt x="2838" y="628"/>
                  <a:pt x="2842" y="601"/>
                </a:cubicBezTo>
                <a:cubicBezTo>
                  <a:pt x="2846" y="575"/>
                  <a:pt x="2849" y="555"/>
                  <a:pt x="2849" y="542"/>
                </a:cubicBezTo>
                <a:cubicBezTo>
                  <a:pt x="2849" y="536"/>
                  <a:pt x="2848" y="534"/>
                  <a:pt x="2848" y="534"/>
                </a:cubicBezTo>
                <a:cubicBezTo>
                  <a:pt x="2848" y="534"/>
                  <a:pt x="2847" y="538"/>
                  <a:pt x="2846" y="547"/>
                </a:cubicBezTo>
                <a:cubicBezTo>
                  <a:pt x="2843" y="573"/>
                  <a:pt x="2840" y="592"/>
                  <a:pt x="2838" y="603"/>
                </a:cubicBezTo>
                <a:lnTo>
                  <a:pt x="2837" y="611"/>
                </a:lnTo>
                <a:cubicBezTo>
                  <a:pt x="2834" y="621"/>
                  <a:pt x="2832" y="628"/>
                  <a:pt x="2831" y="632"/>
                </a:cubicBezTo>
                <a:cubicBezTo>
                  <a:pt x="2827" y="654"/>
                  <a:pt x="2823" y="668"/>
                  <a:pt x="2820" y="671"/>
                </a:cubicBezTo>
                <a:lnTo>
                  <a:pt x="2817" y="680"/>
                </a:lnTo>
                <a:cubicBezTo>
                  <a:pt x="2814" y="691"/>
                  <a:pt x="2812" y="698"/>
                  <a:pt x="2812" y="701"/>
                </a:cubicBezTo>
                <a:cubicBezTo>
                  <a:pt x="2812" y="703"/>
                  <a:pt x="2812" y="703"/>
                  <a:pt x="2811" y="703"/>
                </a:cubicBezTo>
                <a:cubicBezTo>
                  <a:pt x="2810" y="704"/>
                  <a:pt x="2809" y="706"/>
                  <a:pt x="2809" y="710"/>
                </a:cubicBezTo>
                <a:cubicBezTo>
                  <a:pt x="2809" y="713"/>
                  <a:pt x="2808" y="716"/>
                  <a:pt x="2807" y="716"/>
                </a:cubicBezTo>
                <a:cubicBezTo>
                  <a:pt x="2805" y="717"/>
                  <a:pt x="2804" y="719"/>
                  <a:pt x="2804" y="722"/>
                </a:cubicBezTo>
                <a:lnTo>
                  <a:pt x="2804" y="723"/>
                </a:lnTo>
                <a:cubicBezTo>
                  <a:pt x="2804" y="727"/>
                  <a:pt x="2803" y="729"/>
                  <a:pt x="2802" y="729"/>
                </a:cubicBezTo>
                <a:cubicBezTo>
                  <a:pt x="2802" y="729"/>
                  <a:pt x="2801" y="731"/>
                  <a:pt x="2801" y="735"/>
                </a:cubicBezTo>
                <a:cubicBezTo>
                  <a:pt x="2800" y="739"/>
                  <a:pt x="2799" y="741"/>
                  <a:pt x="2798" y="742"/>
                </a:cubicBezTo>
                <a:cubicBezTo>
                  <a:pt x="2796" y="744"/>
                  <a:pt x="2795" y="745"/>
                  <a:pt x="2795" y="746"/>
                </a:cubicBezTo>
                <a:lnTo>
                  <a:pt x="2795" y="747"/>
                </a:lnTo>
                <a:cubicBezTo>
                  <a:pt x="2795" y="749"/>
                  <a:pt x="2795" y="751"/>
                  <a:pt x="2794" y="754"/>
                </a:cubicBezTo>
                <a:cubicBezTo>
                  <a:pt x="2793" y="758"/>
                  <a:pt x="2792" y="761"/>
                  <a:pt x="2791" y="764"/>
                </a:cubicBezTo>
                <a:cubicBezTo>
                  <a:pt x="2790" y="767"/>
                  <a:pt x="2788" y="769"/>
                  <a:pt x="2788" y="770"/>
                </a:cubicBezTo>
                <a:cubicBezTo>
                  <a:pt x="2787" y="772"/>
                  <a:pt x="2786" y="772"/>
                  <a:pt x="2786" y="772"/>
                </a:cubicBezTo>
                <a:lnTo>
                  <a:pt x="2786" y="773"/>
                </a:lnTo>
                <a:cubicBezTo>
                  <a:pt x="2786" y="776"/>
                  <a:pt x="2785" y="782"/>
                  <a:pt x="2781" y="791"/>
                </a:cubicBezTo>
                <a:cubicBezTo>
                  <a:pt x="2778" y="801"/>
                  <a:pt x="2776" y="807"/>
                  <a:pt x="2776" y="809"/>
                </a:cubicBezTo>
                <a:cubicBezTo>
                  <a:pt x="2776" y="811"/>
                  <a:pt x="2777" y="811"/>
                  <a:pt x="2780" y="811"/>
                </a:cubicBezTo>
                <a:close/>
                <a:moveTo>
                  <a:pt x="3135" y="633"/>
                </a:moveTo>
                <a:lnTo>
                  <a:pt x="3135" y="609"/>
                </a:lnTo>
                <a:cubicBezTo>
                  <a:pt x="3135" y="609"/>
                  <a:pt x="3136" y="613"/>
                  <a:pt x="3136" y="621"/>
                </a:cubicBezTo>
                <a:lnTo>
                  <a:pt x="3135" y="631"/>
                </a:lnTo>
                <a:cubicBezTo>
                  <a:pt x="3135" y="632"/>
                  <a:pt x="3135" y="633"/>
                  <a:pt x="3135" y="633"/>
                </a:cubicBezTo>
                <a:close/>
                <a:moveTo>
                  <a:pt x="3144" y="676"/>
                </a:moveTo>
                <a:cubicBezTo>
                  <a:pt x="3143" y="676"/>
                  <a:pt x="3142" y="675"/>
                  <a:pt x="3142" y="674"/>
                </a:cubicBezTo>
                <a:lnTo>
                  <a:pt x="3141" y="671"/>
                </a:lnTo>
                <a:cubicBezTo>
                  <a:pt x="3141" y="671"/>
                  <a:pt x="3141" y="670"/>
                  <a:pt x="3142" y="670"/>
                </a:cubicBezTo>
                <a:cubicBezTo>
                  <a:pt x="3142" y="670"/>
                  <a:pt x="3142" y="671"/>
                  <a:pt x="3143" y="671"/>
                </a:cubicBezTo>
                <a:cubicBezTo>
                  <a:pt x="3144" y="672"/>
                  <a:pt x="3144" y="674"/>
                  <a:pt x="3144" y="675"/>
                </a:cubicBezTo>
                <a:cubicBezTo>
                  <a:pt x="3144" y="676"/>
                  <a:pt x="3144" y="676"/>
                  <a:pt x="3144" y="676"/>
                </a:cubicBezTo>
                <a:close/>
                <a:moveTo>
                  <a:pt x="3137" y="654"/>
                </a:moveTo>
                <a:cubicBezTo>
                  <a:pt x="3137" y="654"/>
                  <a:pt x="3136" y="653"/>
                  <a:pt x="3136" y="651"/>
                </a:cubicBezTo>
                <a:cubicBezTo>
                  <a:pt x="3136" y="649"/>
                  <a:pt x="3137" y="648"/>
                  <a:pt x="3137" y="648"/>
                </a:cubicBezTo>
                <a:cubicBezTo>
                  <a:pt x="3138" y="648"/>
                  <a:pt x="3138" y="649"/>
                  <a:pt x="3138" y="651"/>
                </a:cubicBezTo>
                <a:lnTo>
                  <a:pt x="3138" y="654"/>
                </a:lnTo>
                <a:lnTo>
                  <a:pt x="3137" y="654"/>
                </a:lnTo>
                <a:close/>
                <a:moveTo>
                  <a:pt x="3252" y="485"/>
                </a:moveTo>
                <a:lnTo>
                  <a:pt x="3251" y="485"/>
                </a:lnTo>
                <a:cubicBezTo>
                  <a:pt x="3251" y="484"/>
                  <a:pt x="3253" y="483"/>
                  <a:pt x="3255" y="482"/>
                </a:cubicBezTo>
                <a:cubicBezTo>
                  <a:pt x="3257" y="480"/>
                  <a:pt x="3259" y="480"/>
                  <a:pt x="3259" y="480"/>
                </a:cubicBezTo>
                <a:lnTo>
                  <a:pt x="3260" y="480"/>
                </a:lnTo>
                <a:cubicBezTo>
                  <a:pt x="3260" y="481"/>
                  <a:pt x="3259" y="482"/>
                  <a:pt x="3256" y="483"/>
                </a:cubicBezTo>
                <a:cubicBezTo>
                  <a:pt x="3254" y="484"/>
                  <a:pt x="3253" y="485"/>
                  <a:pt x="3252" y="485"/>
                </a:cubicBezTo>
                <a:close/>
                <a:moveTo>
                  <a:pt x="3230" y="497"/>
                </a:moveTo>
                <a:lnTo>
                  <a:pt x="3230" y="497"/>
                </a:lnTo>
                <a:lnTo>
                  <a:pt x="3230" y="497"/>
                </a:lnTo>
                <a:cubicBezTo>
                  <a:pt x="3231" y="496"/>
                  <a:pt x="3233" y="495"/>
                  <a:pt x="3235" y="493"/>
                </a:cubicBezTo>
                <a:cubicBezTo>
                  <a:pt x="3238" y="492"/>
                  <a:pt x="3241" y="490"/>
                  <a:pt x="3244" y="489"/>
                </a:cubicBezTo>
                <a:cubicBezTo>
                  <a:pt x="3247" y="487"/>
                  <a:pt x="3248" y="487"/>
                  <a:pt x="3249" y="487"/>
                </a:cubicBezTo>
                <a:cubicBezTo>
                  <a:pt x="3249" y="487"/>
                  <a:pt x="3246" y="489"/>
                  <a:pt x="3241" y="492"/>
                </a:cubicBezTo>
                <a:cubicBezTo>
                  <a:pt x="3235" y="495"/>
                  <a:pt x="3232" y="497"/>
                  <a:pt x="3230" y="497"/>
                </a:cubicBezTo>
                <a:close/>
                <a:moveTo>
                  <a:pt x="3291" y="456"/>
                </a:moveTo>
                <a:cubicBezTo>
                  <a:pt x="3291" y="456"/>
                  <a:pt x="3292" y="454"/>
                  <a:pt x="3294" y="451"/>
                </a:cubicBezTo>
                <a:cubicBezTo>
                  <a:pt x="3297" y="448"/>
                  <a:pt x="3298" y="447"/>
                  <a:pt x="3299" y="447"/>
                </a:cubicBezTo>
                <a:cubicBezTo>
                  <a:pt x="3299" y="447"/>
                  <a:pt x="3298" y="449"/>
                  <a:pt x="3296" y="451"/>
                </a:cubicBezTo>
                <a:cubicBezTo>
                  <a:pt x="3293" y="455"/>
                  <a:pt x="3291" y="456"/>
                  <a:pt x="3291" y="456"/>
                </a:cubicBezTo>
                <a:close/>
                <a:moveTo>
                  <a:pt x="3306" y="442"/>
                </a:moveTo>
                <a:cubicBezTo>
                  <a:pt x="3306" y="441"/>
                  <a:pt x="3308" y="438"/>
                  <a:pt x="3312" y="433"/>
                </a:cubicBezTo>
                <a:cubicBezTo>
                  <a:pt x="3316" y="429"/>
                  <a:pt x="3319" y="426"/>
                  <a:pt x="3321" y="426"/>
                </a:cubicBezTo>
                <a:cubicBezTo>
                  <a:pt x="3321" y="426"/>
                  <a:pt x="3319" y="429"/>
                  <a:pt x="3315" y="434"/>
                </a:cubicBezTo>
                <a:lnTo>
                  <a:pt x="3306" y="442"/>
                </a:lnTo>
                <a:close/>
                <a:moveTo>
                  <a:pt x="3246" y="397"/>
                </a:moveTo>
                <a:lnTo>
                  <a:pt x="3246" y="393"/>
                </a:lnTo>
                <a:cubicBezTo>
                  <a:pt x="3248" y="391"/>
                  <a:pt x="3249" y="389"/>
                  <a:pt x="3249" y="389"/>
                </a:cubicBezTo>
                <a:cubicBezTo>
                  <a:pt x="3250" y="389"/>
                  <a:pt x="3250" y="390"/>
                  <a:pt x="3250" y="390"/>
                </a:cubicBezTo>
                <a:cubicBezTo>
                  <a:pt x="3250" y="391"/>
                  <a:pt x="3250" y="392"/>
                  <a:pt x="3249" y="393"/>
                </a:cubicBezTo>
                <a:cubicBezTo>
                  <a:pt x="3247" y="395"/>
                  <a:pt x="3246" y="397"/>
                  <a:pt x="3246" y="397"/>
                </a:cubicBezTo>
                <a:close/>
                <a:moveTo>
                  <a:pt x="3324" y="424"/>
                </a:moveTo>
                <a:lnTo>
                  <a:pt x="3323" y="423"/>
                </a:lnTo>
                <a:cubicBezTo>
                  <a:pt x="3323" y="423"/>
                  <a:pt x="3324" y="421"/>
                  <a:pt x="3327" y="419"/>
                </a:cubicBezTo>
                <a:cubicBezTo>
                  <a:pt x="3329" y="416"/>
                  <a:pt x="3331" y="415"/>
                  <a:pt x="3331" y="415"/>
                </a:cubicBezTo>
                <a:cubicBezTo>
                  <a:pt x="3331" y="415"/>
                  <a:pt x="3330" y="417"/>
                  <a:pt x="3328" y="419"/>
                </a:cubicBezTo>
                <a:cubicBezTo>
                  <a:pt x="3325" y="422"/>
                  <a:pt x="3324" y="424"/>
                  <a:pt x="3324" y="424"/>
                </a:cubicBezTo>
                <a:close/>
                <a:moveTo>
                  <a:pt x="3461" y="128"/>
                </a:moveTo>
                <a:cubicBezTo>
                  <a:pt x="3460" y="128"/>
                  <a:pt x="3459" y="127"/>
                  <a:pt x="3456" y="124"/>
                </a:cubicBezTo>
                <a:cubicBezTo>
                  <a:pt x="3452" y="120"/>
                  <a:pt x="3446" y="118"/>
                  <a:pt x="3438" y="118"/>
                </a:cubicBezTo>
                <a:cubicBezTo>
                  <a:pt x="3433" y="118"/>
                  <a:pt x="3428" y="119"/>
                  <a:pt x="3423" y="120"/>
                </a:cubicBezTo>
                <a:cubicBezTo>
                  <a:pt x="3417" y="122"/>
                  <a:pt x="3413" y="122"/>
                  <a:pt x="3411" y="122"/>
                </a:cubicBezTo>
                <a:lnTo>
                  <a:pt x="3410" y="122"/>
                </a:lnTo>
                <a:cubicBezTo>
                  <a:pt x="3410" y="122"/>
                  <a:pt x="3414" y="120"/>
                  <a:pt x="3420" y="118"/>
                </a:cubicBezTo>
                <a:cubicBezTo>
                  <a:pt x="3427" y="116"/>
                  <a:pt x="3433" y="115"/>
                  <a:pt x="3439" y="115"/>
                </a:cubicBezTo>
                <a:cubicBezTo>
                  <a:pt x="3450" y="115"/>
                  <a:pt x="3457" y="119"/>
                  <a:pt x="3460" y="125"/>
                </a:cubicBezTo>
                <a:lnTo>
                  <a:pt x="3462" y="127"/>
                </a:lnTo>
                <a:cubicBezTo>
                  <a:pt x="3462" y="128"/>
                  <a:pt x="3461" y="128"/>
                  <a:pt x="3461" y="128"/>
                </a:cubicBezTo>
                <a:close/>
                <a:moveTo>
                  <a:pt x="3416" y="360"/>
                </a:moveTo>
                <a:cubicBezTo>
                  <a:pt x="3415" y="360"/>
                  <a:pt x="3415" y="359"/>
                  <a:pt x="3415" y="359"/>
                </a:cubicBezTo>
                <a:lnTo>
                  <a:pt x="3415" y="357"/>
                </a:lnTo>
                <a:cubicBezTo>
                  <a:pt x="3417" y="356"/>
                  <a:pt x="3418" y="355"/>
                  <a:pt x="3419" y="355"/>
                </a:cubicBezTo>
                <a:cubicBezTo>
                  <a:pt x="3420" y="355"/>
                  <a:pt x="3420" y="355"/>
                  <a:pt x="3420" y="357"/>
                </a:cubicBezTo>
                <a:cubicBezTo>
                  <a:pt x="3420" y="357"/>
                  <a:pt x="3420" y="357"/>
                  <a:pt x="3419" y="358"/>
                </a:cubicBezTo>
                <a:cubicBezTo>
                  <a:pt x="3419" y="359"/>
                  <a:pt x="3418" y="360"/>
                  <a:pt x="3416" y="360"/>
                </a:cubicBezTo>
                <a:close/>
                <a:moveTo>
                  <a:pt x="3420" y="353"/>
                </a:moveTo>
                <a:cubicBezTo>
                  <a:pt x="3420" y="353"/>
                  <a:pt x="3419" y="353"/>
                  <a:pt x="3419" y="352"/>
                </a:cubicBezTo>
                <a:cubicBezTo>
                  <a:pt x="3419" y="352"/>
                  <a:pt x="3420" y="351"/>
                  <a:pt x="3420" y="350"/>
                </a:cubicBezTo>
                <a:cubicBezTo>
                  <a:pt x="3420" y="349"/>
                  <a:pt x="3422" y="348"/>
                  <a:pt x="3423" y="348"/>
                </a:cubicBezTo>
                <a:cubicBezTo>
                  <a:pt x="3424" y="348"/>
                  <a:pt x="3424" y="349"/>
                  <a:pt x="3424" y="350"/>
                </a:cubicBezTo>
                <a:lnTo>
                  <a:pt x="3424" y="350"/>
                </a:lnTo>
                <a:cubicBezTo>
                  <a:pt x="3423" y="352"/>
                  <a:pt x="3422" y="353"/>
                  <a:pt x="3420" y="353"/>
                </a:cubicBezTo>
                <a:close/>
                <a:moveTo>
                  <a:pt x="3279" y="772"/>
                </a:moveTo>
                <a:cubicBezTo>
                  <a:pt x="3265" y="772"/>
                  <a:pt x="3253" y="771"/>
                  <a:pt x="3243" y="767"/>
                </a:cubicBezTo>
                <a:cubicBezTo>
                  <a:pt x="3230" y="764"/>
                  <a:pt x="3223" y="762"/>
                  <a:pt x="3223" y="762"/>
                </a:cubicBezTo>
                <a:cubicBezTo>
                  <a:pt x="3223" y="762"/>
                  <a:pt x="3222" y="762"/>
                  <a:pt x="3222" y="762"/>
                </a:cubicBezTo>
                <a:cubicBezTo>
                  <a:pt x="3221" y="761"/>
                  <a:pt x="3221" y="761"/>
                  <a:pt x="3221" y="760"/>
                </a:cubicBezTo>
                <a:cubicBezTo>
                  <a:pt x="3221" y="759"/>
                  <a:pt x="3220" y="759"/>
                  <a:pt x="3218" y="759"/>
                </a:cubicBezTo>
                <a:cubicBezTo>
                  <a:pt x="3214" y="759"/>
                  <a:pt x="3209" y="756"/>
                  <a:pt x="3201" y="751"/>
                </a:cubicBezTo>
                <a:cubicBezTo>
                  <a:pt x="3193" y="746"/>
                  <a:pt x="3187" y="740"/>
                  <a:pt x="3181" y="734"/>
                </a:cubicBezTo>
                <a:cubicBezTo>
                  <a:pt x="3159" y="706"/>
                  <a:pt x="3149" y="677"/>
                  <a:pt x="3149" y="649"/>
                </a:cubicBezTo>
                <a:cubicBezTo>
                  <a:pt x="3149" y="637"/>
                  <a:pt x="3148" y="632"/>
                  <a:pt x="3147" y="631"/>
                </a:cubicBezTo>
                <a:lnTo>
                  <a:pt x="3147" y="631"/>
                </a:lnTo>
                <a:cubicBezTo>
                  <a:pt x="3147" y="631"/>
                  <a:pt x="3146" y="630"/>
                  <a:pt x="3146" y="627"/>
                </a:cubicBezTo>
                <a:cubicBezTo>
                  <a:pt x="3146" y="623"/>
                  <a:pt x="3147" y="615"/>
                  <a:pt x="3149" y="604"/>
                </a:cubicBezTo>
                <a:cubicBezTo>
                  <a:pt x="3150" y="593"/>
                  <a:pt x="3152" y="583"/>
                  <a:pt x="3154" y="573"/>
                </a:cubicBezTo>
                <a:cubicBezTo>
                  <a:pt x="3156" y="563"/>
                  <a:pt x="3158" y="556"/>
                  <a:pt x="3160" y="553"/>
                </a:cubicBezTo>
                <a:lnTo>
                  <a:pt x="3161" y="551"/>
                </a:lnTo>
                <a:cubicBezTo>
                  <a:pt x="3162" y="551"/>
                  <a:pt x="3162" y="551"/>
                  <a:pt x="3162" y="552"/>
                </a:cubicBezTo>
                <a:lnTo>
                  <a:pt x="3161" y="557"/>
                </a:lnTo>
                <a:cubicBezTo>
                  <a:pt x="3162" y="557"/>
                  <a:pt x="3162" y="555"/>
                  <a:pt x="3164" y="552"/>
                </a:cubicBezTo>
                <a:cubicBezTo>
                  <a:pt x="3170" y="532"/>
                  <a:pt x="3173" y="519"/>
                  <a:pt x="3173" y="513"/>
                </a:cubicBezTo>
                <a:cubicBezTo>
                  <a:pt x="3173" y="511"/>
                  <a:pt x="3173" y="509"/>
                  <a:pt x="3171" y="509"/>
                </a:cubicBezTo>
                <a:cubicBezTo>
                  <a:pt x="3171" y="509"/>
                  <a:pt x="3170" y="509"/>
                  <a:pt x="3169" y="510"/>
                </a:cubicBezTo>
                <a:cubicBezTo>
                  <a:pt x="3168" y="510"/>
                  <a:pt x="3167" y="508"/>
                  <a:pt x="3167" y="505"/>
                </a:cubicBezTo>
                <a:cubicBezTo>
                  <a:pt x="3167" y="504"/>
                  <a:pt x="3167" y="503"/>
                  <a:pt x="3168" y="503"/>
                </a:cubicBezTo>
                <a:cubicBezTo>
                  <a:pt x="3168" y="502"/>
                  <a:pt x="3169" y="502"/>
                  <a:pt x="3169" y="501"/>
                </a:cubicBezTo>
                <a:lnTo>
                  <a:pt x="3170" y="501"/>
                </a:lnTo>
                <a:cubicBezTo>
                  <a:pt x="3171" y="501"/>
                  <a:pt x="3171" y="500"/>
                  <a:pt x="3171" y="499"/>
                </a:cubicBezTo>
                <a:cubicBezTo>
                  <a:pt x="3171" y="498"/>
                  <a:pt x="3171" y="497"/>
                  <a:pt x="3171" y="497"/>
                </a:cubicBezTo>
                <a:cubicBezTo>
                  <a:pt x="3172" y="496"/>
                  <a:pt x="3172" y="495"/>
                  <a:pt x="3174" y="493"/>
                </a:cubicBezTo>
                <a:cubicBezTo>
                  <a:pt x="3174" y="493"/>
                  <a:pt x="3175" y="495"/>
                  <a:pt x="3175" y="498"/>
                </a:cubicBezTo>
                <a:cubicBezTo>
                  <a:pt x="3175" y="501"/>
                  <a:pt x="3176" y="503"/>
                  <a:pt x="3177" y="503"/>
                </a:cubicBezTo>
                <a:cubicBezTo>
                  <a:pt x="3178" y="503"/>
                  <a:pt x="3179" y="502"/>
                  <a:pt x="3181" y="500"/>
                </a:cubicBezTo>
                <a:lnTo>
                  <a:pt x="3181" y="498"/>
                </a:lnTo>
                <a:cubicBezTo>
                  <a:pt x="3181" y="496"/>
                  <a:pt x="3180" y="495"/>
                  <a:pt x="3178" y="493"/>
                </a:cubicBezTo>
                <a:cubicBezTo>
                  <a:pt x="3176" y="491"/>
                  <a:pt x="3175" y="490"/>
                  <a:pt x="3175" y="487"/>
                </a:cubicBezTo>
                <a:cubicBezTo>
                  <a:pt x="3175" y="487"/>
                  <a:pt x="3175" y="485"/>
                  <a:pt x="3176" y="485"/>
                </a:cubicBezTo>
                <a:cubicBezTo>
                  <a:pt x="3176" y="484"/>
                  <a:pt x="3177" y="483"/>
                  <a:pt x="3178" y="483"/>
                </a:cubicBezTo>
                <a:cubicBezTo>
                  <a:pt x="3179" y="483"/>
                  <a:pt x="3180" y="483"/>
                  <a:pt x="3181" y="482"/>
                </a:cubicBezTo>
                <a:cubicBezTo>
                  <a:pt x="3182" y="482"/>
                  <a:pt x="3182" y="482"/>
                  <a:pt x="3182" y="481"/>
                </a:cubicBezTo>
                <a:cubicBezTo>
                  <a:pt x="3182" y="480"/>
                  <a:pt x="3181" y="479"/>
                  <a:pt x="3180" y="479"/>
                </a:cubicBezTo>
                <a:cubicBezTo>
                  <a:pt x="3179" y="479"/>
                  <a:pt x="3178" y="478"/>
                  <a:pt x="3178" y="477"/>
                </a:cubicBezTo>
                <a:cubicBezTo>
                  <a:pt x="3178" y="475"/>
                  <a:pt x="3179" y="472"/>
                  <a:pt x="3181" y="468"/>
                </a:cubicBezTo>
                <a:lnTo>
                  <a:pt x="3183" y="463"/>
                </a:lnTo>
                <a:cubicBezTo>
                  <a:pt x="3182" y="463"/>
                  <a:pt x="3182" y="463"/>
                  <a:pt x="3182" y="462"/>
                </a:cubicBezTo>
                <a:cubicBezTo>
                  <a:pt x="3182" y="462"/>
                  <a:pt x="3183" y="461"/>
                  <a:pt x="3185" y="459"/>
                </a:cubicBezTo>
                <a:cubicBezTo>
                  <a:pt x="3186" y="457"/>
                  <a:pt x="3187" y="455"/>
                  <a:pt x="3187" y="452"/>
                </a:cubicBezTo>
                <a:lnTo>
                  <a:pt x="3187" y="450"/>
                </a:lnTo>
                <a:cubicBezTo>
                  <a:pt x="3187" y="448"/>
                  <a:pt x="3188" y="447"/>
                  <a:pt x="3190" y="446"/>
                </a:cubicBezTo>
                <a:cubicBezTo>
                  <a:pt x="3192" y="445"/>
                  <a:pt x="3192" y="445"/>
                  <a:pt x="3192" y="444"/>
                </a:cubicBezTo>
                <a:cubicBezTo>
                  <a:pt x="3192" y="444"/>
                  <a:pt x="3192" y="443"/>
                  <a:pt x="3191" y="442"/>
                </a:cubicBezTo>
                <a:cubicBezTo>
                  <a:pt x="3189" y="441"/>
                  <a:pt x="3189" y="441"/>
                  <a:pt x="3189" y="441"/>
                </a:cubicBezTo>
                <a:cubicBezTo>
                  <a:pt x="3189" y="440"/>
                  <a:pt x="3189" y="440"/>
                  <a:pt x="3190" y="440"/>
                </a:cubicBezTo>
                <a:cubicBezTo>
                  <a:pt x="3191" y="440"/>
                  <a:pt x="3192" y="439"/>
                  <a:pt x="3192" y="438"/>
                </a:cubicBezTo>
                <a:lnTo>
                  <a:pt x="3191" y="436"/>
                </a:lnTo>
                <a:cubicBezTo>
                  <a:pt x="3191" y="436"/>
                  <a:pt x="3191" y="436"/>
                  <a:pt x="3191" y="436"/>
                </a:cubicBezTo>
                <a:lnTo>
                  <a:pt x="3193" y="437"/>
                </a:lnTo>
                <a:cubicBezTo>
                  <a:pt x="3194" y="438"/>
                  <a:pt x="3195" y="439"/>
                  <a:pt x="3195" y="441"/>
                </a:cubicBezTo>
                <a:cubicBezTo>
                  <a:pt x="3195" y="445"/>
                  <a:pt x="3193" y="451"/>
                  <a:pt x="3189" y="459"/>
                </a:cubicBezTo>
                <a:cubicBezTo>
                  <a:pt x="3186" y="465"/>
                  <a:pt x="3184" y="470"/>
                  <a:pt x="3184" y="471"/>
                </a:cubicBezTo>
                <a:cubicBezTo>
                  <a:pt x="3184" y="472"/>
                  <a:pt x="3184" y="472"/>
                  <a:pt x="3184" y="472"/>
                </a:cubicBezTo>
                <a:cubicBezTo>
                  <a:pt x="3186" y="471"/>
                  <a:pt x="3188" y="469"/>
                  <a:pt x="3190" y="464"/>
                </a:cubicBezTo>
                <a:cubicBezTo>
                  <a:pt x="3192" y="460"/>
                  <a:pt x="3193" y="456"/>
                  <a:pt x="3194" y="451"/>
                </a:cubicBezTo>
                <a:cubicBezTo>
                  <a:pt x="3196" y="446"/>
                  <a:pt x="3196" y="442"/>
                  <a:pt x="3196" y="439"/>
                </a:cubicBezTo>
                <a:cubicBezTo>
                  <a:pt x="3196" y="438"/>
                  <a:pt x="3196" y="437"/>
                  <a:pt x="3196" y="436"/>
                </a:cubicBezTo>
                <a:cubicBezTo>
                  <a:pt x="3194" y="433"/>
                  <a:pt x="3193" y="432"/>
                  <a:pt x="3193" y="431"/>
                </a:cubicBezTo>
                <a:lnTo>
                  <a:pt x="3195" y="432"/>
                </a:lnTo>
                <a:cubicBezTo>
                  <a:pt x="3197" y="432"/>
                  <a:pt x="3198" y="430"/>
                  <a:pt x="3198" y="426"/>
                </a:cubicBezTo>
                <a:cubicBezTo>
                  <a:pt x="3198" y="425"/>
                  <a:pt x="3198" y="424"/>
                  <a:pt x="3198" y="424"/>
                </a:cubicBezTo>
                <a:cubicBezTo>
                  <a:pt x="3197" y="423"/>
                  <a:pt x="3197" y="423"/>
                  <a:pt x="3197" y="422"/>
                </a:cubicBezTo>
                <a:lnTo>
                  <a:pt x="3201" y="423"/>
                </a:lnTo>
                <a:cubicBezTo>
                  <a:pt x="3201" y="423"/>
                  <a:pt x="3201" y="423"/>
                  <a:pt x="3201" y="422"/>
                </a:cubicBezTo>
                <a:lnTo>
                  <a:pt x="3200" y="416"/>
                </a:lnTo>
                <a:cubicBezTo>
                  <a:pt x="3200" y="415"/>
                  <a:pt x="3200" y="415"/>
                  <a:pt x="3200" y="415"/>
                </a:cubicBezTo>
                <a:lnTo>
                  <a:pt x="3203" y="419"/>
                </a:lnTo>
                <a:cubicBezTo>
                  <a:pt x="3203" y="419"/>
                  <a:pt x="3203" y="419"/>
                  <a:pt x="3203" y="418"/>
                </a:cubicBezTo>
                <a:lnTo>
                  <a:pt x="3202" y="413"/>
                </a:lnTo>
                <a:cubicBezTo>
                  <a:pt x="3202" y="412"/>
                  <a:pt x="3203" y="411"/>
                  <a:pt x="3203" y="411"/>
                </a:cubicBezTo>
                <a:lnTo>
                  <a:pt x="3204" y="411"/>
                </a:lnTo>
                <a:cubicBezTo>
                  <a:pt x="3205" y="411"/>
                  <a:pt x="3206" y="410"/>
                  <a:pt x="3207" y="408"/>
                </a:cubicBezTo>
                <a:cubicBezTo>
                  <a:pt x="3209" y="406"/>
                  <a:pt x="3209" y="404"/>
                  <a:pt x="3209" y="402"/>
                </a:cubicBezTo>
                <a:cubicBezTo>
                  <a:pt x="3209" y="401"/>
                  <a:pt x="3209" y="400"/>
                  <a:pt x="3209" y="399"/>
                </a:cubicBezTo>
                <a:cubicBezTo>
                  <a:pt x="3209" y="398"/>
                  <a:pt x="3208" y="398"/>
                  <a:pt x="3208" y="397"/>
                </a:cubicBezTo>
                <a:lnTo>
                  <a:pt x="3210" y="397"/>
                </a:lnTo>
                <a:cubicBezTo>
                  <a:pt x="3212" y="397"/>
                  <a:pt x="3213" y="396"/>
                  <a:pt x="3214" y="394"/>
                </a:cubicBezTo>
                <a:cubicBezTo>
                  <a:pt x="3216" y="392"/>
                  <a:pt x="3216" y="390"/>
                  <a:pt x="3216" y="389"/>
                </a:cubicBezTo>
                <a:cubicBezTo>
                  <a:pt x="3216" y="388"/>
                  <a:pt x="3216" y="388"/>
                  <a:pt x="3216" y="388"/>
                </a:cubicBezTo>
                <a:cubicBezTo>
                  <a:pt x="3216" y="388"/>
                  <a:pt x="3215" y="389"/>
                  <a:pt x="3214" y="390"/>
                </a:cubicBezTo>
                <a:cubicBezTo>
                  <a:pt x="3212" y="392"/>
                  <a:pt x="3211" y="393"/>
                  <a:pt x="3211" y="393"/>
                </a:cubicBezTo>
                <a:lnTo>
                  <a:pt x="3213" y="387"/>
                </a:lnTo>
                <a:cubicBezTo>
                  <a:pt x="3216" y="381"/>
                  <a:pt x="3218" y="378"/>
                  <a:pt x="3219" y="378"/>
                </a:cubicBezTo>
                <a:lnTo>
                  <a:pt x="3217" y="384"/>
                </a:lnTo>
                <a:cubicBezTo>
                  <a:pt x="3217" y="384"/>
                  <a:pt x="3217" y="385"/>
                  <a:pt x="3218" y="385"/>
                </a:cubicBezTo>
                <a:cubicBezTo>
                  <a:pt x="3218" y="385"/>
                  <a:pt x="3219" y="383"/>
                  <a:pt x="3221" y="380"/>
                </a:cubicBezTo>
                <a:lnTo>
                  <a:pt x="3222" y="376"/>
                </a:lnTo>
                <a:cubicBezTo>
                  <a:pt x="3222" y="376"/>
                  <a:pt x="3221" y="377"/>
                  <a:pt x="3221" y="377"/>
                </a:cubicBezTo>
                <a:cubicBezTo>
                  <a:pt x="3221" y="377"/>
                  <a:pt x="3220" y="378"/>
                  <a:pt x="3219" y="378"/>
                </a:cubicBezTo>
                <a:lnTo>
                  <a:pt x="3219" y="377"/>
                </a:lnTo>
                <a:cubicBezTo>
                  <a:pt x="3219" y="376"/>
                  <a:pt x="3220" y="374"/>
                  <a:pt x="3221" y="370"/>
                </a:cubicBezTo>
                <a:cubicBezTo>
                  <a:pt x="3223" y="367"/>
                  <a:pt x="3224" y="366"/>
                  <a:pt x="3224" y="366"/>
                </a:cubicBezTo>
                <a:cubicBezTo>
                  <a:pt x="3225" y="366"/>
                  <a:pt x="3225" y="366"/>
                  <a:pt x="3226" y="367"/>
                </a:cubicBezTo>
                <a:cubicBezTo>
                  <a:pt x="3226" y="367"/>
                  <a:pt x="3226" y="368"/>
                  <a:pt x="3227" y="368"/>
                </a:cubicBezTo>
                <a:cubicBezTo>
                  <a:pt x="3227" y="368"/>
                  <a:pt x="3228" y="367"/>
                  <a:pt x="3228" y="366"/>
                </a:cubicBezTo>
                <a:cubicBezTo>
                  <a:pt x="3229" y="365"/>
                  <a:pt x="3229" y="364"/>
                  <a:pt x="3229" y="364"/>
                </a:cubicBezTo>
                <a:cubicBezTo>
                  <a:pt x="3229" y="363"/>
                  <a:pt x="3229" y="363"/>
                  <a:pt x="3228" y="363"/>
                </a:cubicBezTo>
                <a:lnTo>
                  <a:pt x="3227" y="364"/>
                </a:lnTo>
                <a:cubicBezTo>
                  <a:pt x="3226" y="364"/>
                  <a:pt x="3226" y="363"/>
                  <a:pt x="3226" y="363"/>
                </a:cubicBezTo>
                <a:cubicBezTo>
                  <a:pt x="3226" y="362"/>
                  <a:pt x="3226" y="361"/>
                  <a:pt x="3227" y="360"/>
                </a:cubicBezTo>
                <a:cubicBezTo>
                  <a:pt x="3228" y="359"/>
                  <a:pt x="3229" y="359"/>
                  <a:pt x="3230" y="359"/>
                </a:cubicBezTo>
                <a:cubicBezTo>
                  <a:pt x="3231" y="359"/>
                  <a:pt x="3231" y="358"/>
                  <a:pt x="3232" y="357"/>
                </a:cubicBezTo>
                <a:cubicBezTo>
                  <a:pt x="3234" y="355"/>
                  <a:pt x="3236" y="353"/>
                  <a:pt x="3236" y="351"/>
                </a:cubicBezTo>
                <a:cubicBezTo>
                  <a:pt x="3236" y="351"/>
                  <a:pt x="3235" y="351"/>
                  <a:pt x="3235" y="351"/>
                </a:cubicBezTo>
                <a:cubicBezTo>
                  <a:pt x="3235" y="351"/>
                  <a:pt x="3234" y="351"/>
                  <a:pt x="3234" y="351"/>
                </a:cubicBezTo>
                <a:cubicBezTo>
                  <a:pt x="3233" y="352"/>
                  <a:pt x="3233" y="352"/>
                  <a:pt x="3232" y="352"/>
                </a:cubicBezTo>
                <a:cubicBezTo>
                  <a:pt x="3232" y="352"/>
                  <a:pt x="3232" y="352"/>
                  <a:pt x="3232" y="351"/>
                </a:cubicBezTo>
                <a:cubicBezTo>
                  <a:pt x="3232" y="351"/>
                  <a:pt x="3233" y="349"/>
                  <a:pt x="3234" y="345"/>
                </a:cubicBezTo>
                <a:cubicBezTo>
                  <a:pt x="3239" y="336"/>
                  <a:pt x="3242" y="330"/>
                  <a:pt x="3245" y="325"/>
                </a:cubicBezTo>
                <a:cubicBezTo>
                  <a:pt x="3248" y="321"/>
                  <a:pt x="3250" y="319"/>
                  <a:pt x="3250" y="319"/>
                </a:cubicBezTo>
                <a:cubicBezTo>
                  <a:pt x="3251" y="319"/>
                  <a:pt x="3251" y="319"/>
                  <a:pt x="3251" y="320"/>
                </a:cubicBezTo>
                <a:cubicBezTo>
                  <a:pt x="3251" y="321"/>
                  <a:pt x="3251" y="323"/>
                  <a:pt x="3249" y="324"/>
                </a:cubicBezTo>
                <a:cubicBezTo>
                  <a:pt x="3248" y="326"/>
                  <a:pt x="3247" y="328"/>
                  <a:pt x="3246" y="330"/>
                </a:cubicBezTo>
                <a:cubicBezTo>
                  <a:pt x="3244" y="333"/>
                  <a:pt x="3243" y="335"/>
                  <a:pt x="3242" y="337"/>
                </a:cubicBezTo>
                <a:cubicBezTo>
                  <a:pt x="3241" y="339"/>
                  <a:pt x="3240" y="340"/>
                  <a:pt x="3240" y="341"/>
                </a:cubicBezTo>
                <a:lnTo>
                  <a:pt x="3242" y="340"/>
                </a:lnTo>
                <a:cubicBezTo>
                  <a:pt x="3245" y="336"/>
                  <a:pt x="3249" y="331"/>
                  <a:pt x="3252" y="324"/>
                </a:cubicBezTo>
                <a:cubicBezTo>
                  <a:pt x="3255" y="318"/>
                  <a:pt x="3256" y="313"/>
                  <a:pt x="3256" y="310"/>
                </a:cubicBezTo>
                <a:lnTo>
                  <a:pt x="3256" y="309"/>
                </a:lnTo>
                <a:cubicBezTo>
                  <a:pt x="3256" y="306"/>
                  <a:pt x="3257" y="305"/>
                  <a:pt x="3258" y="305"/>
                </a:cubicBezTo>
                <a:lnTo>
                  <a:pt x="3260" y="306"/>
                </a:lnTo>
                <a:cubicBezTo>
                  <a:pt x="3261" y="306"/>
                  <a:pt x="3263" y="305"/>
                  <a:pt x="3264" y="302"/>
                </a:cubicBezTo>
                <a:cubicBezTo>
                  <a:pt x="3266" y="300"/>
                  <a:pt x="3266" y="298"/>
                  <a:pt x="3266" y="298"/>
                </a:cubicBezTo>
                <a:cubicBezTo>
                  <a:pt x="3266" y="298"/>
                  <a:pt x="3265" y="299"/>
                  <a:pt x="3264" y="300"/>
                </a:cubicBezTo>
                <a:cubicBezTo>
                  <a:pt x="3262" y="302"/>
                  <a:pt x="3261" y="303"/>
                  <a:pt x="3260" y="303"/>
                </a:cubicBezTo>
                <a:cubicBezTo>
                  <a:pt x="3260" y="303"/>
                  <a:pt x="3260" y="303"/>
                  <a:pt x="3260" y="302"/>
                </a:cubicBezTo>
                <a:cubicBezTo>
                  <a:pt x="3259" y="302"/>
                  <a:pt x="3259" y="301"/>
                  <a:pt x="3259" y="301"/>
                </a:cubicBezTo>
                <a:cubicBezTo>
                  <a:pt x="3258" y="301"/>
                  <a:pt x="3256" y="303"/>
                  <a:pt x="3254" y="306"/>
                </a:cubicBezTo>
                <a:cubicBezTo>
                  <a:pt x="3252" y="309"/>
                  <a:pt x="3251" y="312"/>
                  <a:pt x="3251" y="313"/>
                </a:cubicBezTo>
                <a:cubicBezTo>
                  <a:pt x="3251" y="313"/>
                  <a:pt x="3251" y="313"/>
                  <a:pt x="3251" y="313"/>
                </a:cubicBezTo>
                <a:cubicBezTo>
                  <a:pt x="3252" y="313"/>
                  <a:pt x="3252" y="313"/>
                  <a:pt x="3253" y="312"/>
                </a:cubicBezTo>
                <a:cubicBezTo>
                  <a:pt x="3253" y="312"/>
                  <a:pt x="3253" y="312"/>
                  <a:pt x="3254" y="312"/>
                </a:cubicBezTo>
                <a:cubicBezTo>
                  <a:pt x="3254" y="312"/>
                  <a:pt x="3255" y="312"/>
                  <a:pt x="3255" y="313"/>
                </a:cubicBezTo>
                <a:cubicBezTo>
                  <a:pt x="3255" y="316"/>
                  <a:pt x="3253" y="317"/>
                  <a:pt x="3250" y="317"/>
                </a:cubicBezTo>
                <a:lnTo>
                  <a:pt x="3250" y="317"/>
                </a:lnTo>
                <a:cubicBezTo>
                  <a:pt x="3248" y="317"/>
                  <a:pt x="3244" y="322"/>
                  <a:pt x="3238" y="333"/>
                </a:cubicBezTo>
                <a:cubicBezTo>
                  <a:pt x="3233" y="344"/>
                  <a:pt x="3229" y="349"/>
                  <a:pt x="3227" y="349"/>
                </a:cubicBezTo>
                <a:lnTo>
                  <a:pt x="3226" y="349"/>
                </a:lnTo>
                <a:cubicBezTo>
                  <a:pt x="3226" y="349"/>
                  <a:pt x="3225" y="350"/>
                  <a:pt x="3225" y="351"/>
                </a:cubicBezTo>
                <a:cubicBezTo>
                  <a:pt x="3224" y="355"/>
                  <a:pt x="3223" y="358"/>
                  <a:pt x="3223" y="358"/>
                </a:cubicBezTo>
                <a:cubicBezTo>
                  <a:pt x="3223" y="359"/>
                  <a:pt x="3223" y="359"/>
                  <a:pt x="3223" y="360"/>
                </a:cubicBezTo>
                <a:cubicBezTo>
                  <a:pt x="3223" y="361"/>
                  <a:pt x="3223" y="361"/>
                  <a:pt x="3223" y="362"/>
                </a:cubicBezTo>
                <a:cubicBezTo>
                  <a:pt x="3222" y="362"/>
                  <a:pt x="3221" y="363"/>
                  <a:pt x="3220" y="366"/>
                </a:cubicBezTo>
                <a:cubicBezTo>
                  <a:pt x="3219" y="369"/>
                  <a:pt x="3217" y="372"/>
                  <a:pt x="3215" y="375"/>
                </a:cubicBezTo>
                <a:cubicBezTo>
                  <a:pt x="3211" y="383"/>
                  <a:pt x="3208" y="388"/>
                  <a:pt x="3207" y="391"/>
                </a:cubicBezTo>
                <a:cubicBezTo>
                  <a:pt x="3204" y="400"/>
                  <a:pt x="3200" y="409"/>
                  <a:pt x="3196" y="418"/>
                </a:cubicBezTo>
                <a:cubicBezTo>
                  <a:pt x="3193" y="424"/>
                  <a:pt x="3191" y="430"/>
                  <a:pt x="3188" y="436"/>
                </a:cubicBezTo>
                <a:cubicBezTo>
                  <a:pt x="3186" y="443"/>
                  <a:pt x="3183" y="448"/>
                  <a:pt x="3182" y="453"/>
                </a:cubicBezTo>
                <a:cubicBezTo>
                  <a:pt x="3180" y="457"/>
                  <a:pt x="3179" y="460"/>
                  <a:pt x="3178" y="463"/>
                </a:cubicBezTo>
                <a:cubicBezTo>
                  <a:pt x="3177" y="466"/>
                  <a:pt x="3176" y="468"/>
                  <a:pt x="3175" y="469"/>
                </a:cubicBezTo>
                <a:cubicBezTo>
                  <a:pt x="3174" y="470"/>
                  <a:pt x="3173" y="471"/>
                  <a:pt x="3173" y="473"/>
                </a:cubicBezTo>
                <a:cubicBezTo>
                  <a:pt x="3173" y="474"/>
                  <a:pt x="3173" y="475"/>
                  <a:pt x="3172" y="477"/>
                </a:cubicBezTo>
                <a:lnTo>
                  <a:pt x="3169" y="487"/>
                </a:lnTo>
                <a:cubicBezTo>
                  <a:pt x="3165" y="494"/>
                  <a:pt x="3163" y="499"/>
                  <a:pt x="3163" y="502"/>
                </a:cubicBezTo>
                <a:cubicBezTo>
                  <a:pt x="3162" y="505"/>
                  <a:pt x="3161" y="507"/>
                  <a:pt x="3160" y="507"/>
                </a:cubicBezTo>
                <a:lnTo>
                  <a:pt x="3159" y="506"/>
                </a:lnTo>
                <a:lnTo>
                  <a:pt x="3159" y="506"/>
                </a:lnTo>
                <a:cubicBezTo>
                  <a:pt x="3159" y="504"/>
                  <a:pt x="3161" y="497"/>
                  <a:pt x="3164" y="486"/>
                </a:cubicBezTo>
                <a:cubicBezTo>
                  <a:pt x="3167" y="475"/>
                  <a:pt x="3171" y="463"/>
                  <a:pt x="3177" y="448"/>
                </a:cubicBezTo>
                <a:cubicBezTo>
                  <a:pt x="3182" y="434"/>
                  <a:pt x="3189" y="416"/>
                  <a:pt x="3200" y="394"/>
                </a:cubicBezTo>
                <a:cubicBezTo>
                  <a:pt x="3210" y="372"/>
                  <a:pt x="3220" y="352"/>
                  <a:pt x="3230" y="334"/>
                </a:cubicBezTo>
                <a:cubicBezTo>
                  <a:pt x="3240" y="316"/>
                  <a:pt x="3246" y="307"/>
                  <a:pt x="3248" y="307"/>
                </a:cubicBezTo>
                <a:cubicBezTo>
                  <a:pt x="3248" y="307"/>
                  <a:pt x="3248" y="307"/>
                  <a:pt x="3248" y="306"/>
                </a:cubicBezTo>
                <a:lnTo>
                  <a:pt x="3248" y="304"/>
                </a:lnTo>
                <a:cubicBezTo>
                  <a:pt x="3248" y="304"/>
                  <a:pt x="3249" y="302"/>
                  <a:pt x="3251" y="301"/>
                </a:cubicBezTo>
                <a:cubicBezTo>
                  <a:pt x="3252" y="301"/>
                  <a:pt x="3253" y="300"/>
                  <a:pt x="3253" y="299"/>
                </a:cubicBezTo>
                <a:cubicBezTo>
                  <a:pt x="3253" y="298"/>
                  <a:pt x="3253" y="298"/>
                  <a:pt x="3252" y="297"/>
                </a:cubicBezTo>
                <a:cubicBezTo>
                  <a:pt x="3252" y="297"/>
                  <a:pt x="3252" y="296"/>
                  <a:pt x="3252" y="296"/>
                </a:cubicBezTo>
                <a:lnTo>
                  <a:pt x="3253" y="296"/>
                </a:lnTo>
                <a:cubicBezTo>
                  <a:pt x="3255" y="296"/>
                  <a:pt x="3256" y="294"/>
                  <a:pt x="3258" y="290"/>
                </a:cubicBezTo>
                <a:cubicBezTo>
                  <a:pt x="3259" y="286"/>
                  <a:pt x="3261" y="284"/>
                  <a:pt x="3262" y="284"/>
                </a:cubicBezTo>
                <a:cubicBezTo>
                  <a:pt x="3263" y="284"/>
                  <a:pt x="3264" y="284"/>
                  <a:pt x="3264" y="283"/>
                </a:cubicBezTo>
                <a:lnTo>
                  <a:pt x="3263" y="282"/>
                </a:lnTo>
                <a:cubicBezTo>
                  <a:pt x="3263" y="281"/>
                  <a:pt x="3264" y="279"/>
                  <a:pt x="3265" y="279"/>
                </a:cubicBezTo>
                <a:cubicBezTo>
                  <a:pt x="3266" y="279"/>
                  <a:pt x="3267" y="278"/>
                  <a:pt x="3267" y="278"/>
                </a:cubicBezTo>
                <a:cubicBezTo>
                  <a:pt x="3268" y="277"/>
                  <a:pt x="3268" y="276"/>
                  <a:pt x="3268" y="274"/>
                </a:cubicBezTo>
                <a:cubicBezTo>
                  <a:pt x="3268" y="273"/>
                  <a:pt x="3269" y="271"/>
                  <a:pt x="3271" y="269"/>
                </a:cubicBezTo>
                <a:cubicBezTo>
                  <a:pt x="3273" y="268"/>
                  <a:pt x="3274" y="267"/>
                  <a:pt x="3274" y="267"/>
                </a:cubicBezTo>
                <a:lnTo>
                  <a:pt x="3272" y="267"/>
                </a:lnTo>
                <a:cubicBezTo>
                  <a:pt x="3272" y="266"/>
                  <a:pt x="3273" y="264"/>
                  <a:pt x="3275" y="262"/>
                </a:cubicBezTo>
                <a:cubicBezTo>
                  <a:pt x="3277" y="259"/>
                  <a:pt x="3278" y="257"/>
                  <a:pt x="3279" y="256"/>
                </a:cubicBezTo>
                <a:lnTo>
                  <a:pt x="3282" y="254"/>
                </a:lnTo>
                <a:cubicBezTo>
                  <a:pt x="3282" y="254"/>
                  <a:pt x="3281" y="255"/>
                  <a:pt x="3281" y="257"/>
                </a:cubicBezTo>
                <a:cubicBezTo>
                  <a:pt x="3281" y="259"/>
                  <a:pt x="3281" y="260"/>
                  <a:pt x="3283" y="260"/>
                </a:cubicBezTo>
                <a:cubicBezTo>
                  <a:pt x="3283" y="260"/>
                  <a:pt x="3283" y="259"/>
                  <a:pt x="3283" y="256"/>
                </a:cubicBezTo>
                <a:cubicBezTo>
                  <a:pt x="3283" y="254"/>
                  <a:pt x="3285" y="250"/>
                  <a:pt x="3289" y="244"/>
                </a:cubicBezTo>
                <a:cubicBezTo>
                  <a:pt x="3292" y="238"/>
                  <a:pt x="3296" y="232"/>
                  <a:pt x="3300" y="228"/>
                </a:cubicBezTo>
                <a:cubicBezTo>
                  <a:pt x="3304" y="223"/>
                  <a:pt x="3307" y="220"/>
                  <a:pt x="3308" y="220"/>
                </a:cubicBezTo>
                <a:cubicBezTo>
                  <a:pt x="3309" y="220"/>
                  <a:pt x="3309" y="220"/>
                  <a:pt x="3309" y="220"/>
                </a:cubicBezTo>
                <a:cubicBezTo>
                  <a:pt x="3309" y="221"/>
                  <a:pt x="3308" y="223"/>
                  <a:pt x="3306" y="224"/>
                </a:cubicBezTo>
                <a:cubicBezTo>
                  <a:pt x="3300" y="231"/>
                  <a:pt x="3297" y="235"/>
                  <a:pt x="3297" y="237"/>
                </a:cubicBezTo>
                <a:lnTo>
                  <a:pt x="3297" y="237"/>
                </a:lnTo>
                <a:lnTo>
                  <a:pt x="3298" y="237"/>
                </a:lnTo>
                <a:cubicBezTo>
                  <a:pt x="3298" y="237"/>
                  <a:pt x="3300" y="236"/>
                  <a:pt x="3303" y="232"/>
                </a:cubicBezTo>
                <a:cubicBezTo>
                  <a:pt x="3305" y="230"/>
                  <a:pt x="3308" y="226"/>
                  <a:pt x="3310" y="223"/>
                </a:cubicBezTo>
                <a:cubicBezTo>
                  <a:pt x="3311" y="219"/>
                  <a:pt x="3313" y="217"/>
                  <a:pt x="3313" y="215"/>
                </a:cubicBezTo>
                <a:cubicBezTo>
                  <a:pt x="3313" y="212"/>
                  <a:pt x="3315" y="211"/>
                  <a:pt x="3316" y="211"/>
                </a:cubicBezTo>
                <a:cubicBezTo>
                  <a:pt x="3317" y="211"/>
                  <a:pt x="3318" y="210"/>
                  <a:pt x="3318" y="209"/>
                </a:cubicBezTo>
                <a:lnTo>
                  <a:pt x="3317" y="207"/>
                </a:lnTo>
                <a:lnTo>
                  <a:pt x="3319" y="206"/>
                </a:lnTo>
                <a:cubicBezTo>
                  <a:pt x="3320" y="206"/>
                  <a:pt x="3324" y="203"/>
                  <a:pt x="3331" y="195"/>
                </a:cubicBezTo>
                <a:cubicBezTo>
                  <a:pt x="3338" y="188"/>
                  <a:pt x="3342" y="184"/>
                  <a:pt x="3344" y="184"/>
                </a:cubicBezTo>
                <a:cubicBezTo>
                  <a:pt x="3344" y="184"/>
                  <a:pt x="3344" y="184"/>
                  <a:pt x="3344" y="184"/>
                </a:cubicBezTo>
                <a:lnTo>
                  <a:pt x="3343" y="188"/>
                </a:lnTo>
                <a:cubicBezTo>
                  <a:pt x="3343" y="189"/>
                  <a:pt x="3343" y="189"/>
                  <a:pt x="3344" y="189"/>
                </a:cubicBezTo>
                <a:cubicBezTo>
                  <a:pt x="3345" y="189"/>
                  <a:pt x="3350" y="186"/>
                  <a:pt x="3357" y="178"/>
                </a:cubicBezTo>
                <a:cubicBezTo>
                  <a:pt x="3371" y="164"/>
                  <a:pt x="3386" y="152"/>
                  <a:pt x="3403" y="143"/>
                </a:cubicBezTo>
                <a:cubicBezTo>
                  <a:pt x="3419" y="135"/>
                  <a:pt x="3433" y="131"/>
                  <a:pt x="3444" y="131"/>
                </a:cubicBezTo>
                <a:cubicBezTo>
                  <a:pt x="3449" y="131"/>
                  <a:pt x="3454" y="132"/>
                  <a:pt x="3457" y="134"/>
                </a:cubicBezTo>
                <a:cubicBezTo>
                  <a:pt x="3458" y="135"/>
                  <a:pt x="3459" y="136"/>
                  <a:pt x="3460" y="136"/>
                </a:cubicBezTo>
                <a:cubicBezTo>
                  <a:pt x="3460" y="136"/>
                  <a:pt x="3462" y="136"/>
                  <a:pt x="3464" y="136"/>
                </a:cubicBezTo>
                <a:cubicBezTo>
                  <a:pt x="3465" y="137"/>
                  <a:pt x="3468" y="137"/>
                  <a:pt x="3471" y="139"/>
                </a:cubicBezTo>
                <a:cubicBezTo>
                  <a:pt x="3478" y="143"/>
                  <a:pt x="3483" y="147"/>
                  <a:pt x="3486" y="151"/>
                </a:cubicBezTo>
                <a:cubicBezTo>
                  <a:pt x="3488" y="153"/>
                  <a:pt x="3489" y="156"/>
                  <a:pt x="3490" y="160"/>
                </a:cubicBezTo>
                <a:cubicBezTo>
                  <a:pt x="3493" y="169"/>
                  <a:pt x="3494" y="179"/>
                  <a:pt x="3494" y="191"/>
                </a:cubicBezTo>
                <a:cubicBezTo>
                  <a:pt x="3494" y="236"/>
                  <a:pt x="3476" y="289"/>
                  <a:pt x="3440" y="350"/>
                </a:cubicBezTo>
                <a:cubicBezTo>
                  <a:pt x="3403" y="411"/>
                  <a:pt x="3360" y="459"/>
                  <a:pt x="3312" y="495"/>
                </a:cubicBezTo>
                <a:cubicBezTo>
                  <a:pt x="3299" y="502"/>
                  <a:pt x="3291" y="506"/>
                  <a:pt x="3288" y="506"/>
                </a:cubicBezTo>
                <a:cubicBezTo>
                  <a:pt x="3288" y="506"/>
                  <a:pt x="3287" y="506"/>
                  <a:pt x="3287" y="505"/>
                </a:cubicBezTo>
                <a:cubicBezTo>
                  <a:pt x="3287" y="505"/>
                  <a:pt x="3288" y="504"/>
                  <a:pt x="3288" y="502"/>
                </a:cubicBezTo>
                <a:cubicBezTo>
                  <a:pt x="3290" y="500"/>
                  <a:pt x="3292" y="500"/>
                  <a:pt x="3293" y="500"/>
                </a:cubicBezTo>
                <a:cubicBezTo>
                  <a:pt x="3294" y="500"/>
                  <a:pt x="3294" y="500"/>
                  <a:pt x="3294" y="501"/>
                </a:cubicBezTo>
                <a:cubicBezTo>
                  <a:pt x="3294" y="501"/>
                  <a:pt x="3294" y="502"/>
                  <a:pt x="3293" y="502"/>
                </a:cubicBezTo>
                <a:cubicBezTo>
                  <a:pt x="3293" y="503"/>
                  <a:pt x="3293" y="504"/>
                  <a:pt x="3293" y="504"/>
                </a:cubicBezTo>
                <a:lnTo>
                  <a:pt x="3295" y="503"/>
                </a:lnTo>
                <a:cubicBezTo>
                  <a:pt x="3295" y="503"/>
                  <a:pt x="3296" y="502"/>
                  <a:pt x="3296" y="501"/>
                </a:cubicBezTo>
                <a:cubicBezTo>
                  <a:pt x="3296" y="496"/>
                  <a:pt x="3297" y="493"/>
                  <a:pt x="3298" y="493"/>
                </a:cubicBezTo>
                <a:cubicBezTo>
                  <a:pt x="3298" y="493"/>
                  <a:pt x="3299" y="494"/>
                  <a:pt x="3301" y="495"/>
                </a:cubicBezTo>
                <a:lnTo>
                  <a:pt x="3303" y="497"/>
                </a:lnTo>
                <a:cubicBezTo>
                  <a:pt x="3303" y="497"/>
                  <a:pt x="3303" y="496"/>
                  <a:pt x="3303" y="495"/>
                </a:cubicBezTo>
                <a:cubicBezTo>
                  <a:pt x="3302" y="495"/>
                  <a:pt x="3302" y="494"/>
                  <a:pt x="3302" y="493"/>
                </a:cubicBezTo>
                <a:cubicBezTo>
                  <a:pt x="3302" y="492"/>
                  <a:pt x="3303" y="490"/>
                  <a:pt x="3304" y="489"/>
                </a:cubicBezTo>
                <a:cubicBezTo>
                  <a:pt x="3305" y="487"/>
                  <a:pt x="3306" y="487"/>
                  <a:pt x="3308" y="487"/>
                </a:cubicBezTo>
                <a:cubicBezTo>
                  <a:pt x="3309" y="487"/>
                  <a:pt x="3309" y="488"/>
                  <a:pt x="3309" y="489"/>
                </a:cubicBezTo>
                <a:cubicBezTo>
                  <a:pt x="3309" y="490"/>
                  <a:pt x="3309" y="490"/>
                  <a:pt x="3309" y="491"/>
                </a:cubicBezTo>
                <a:cubicBezTo>
                  <a:pt x="3309" y="492"/>
                  <a:pt x="3308" y="492"/>
                  <a:pt x="3308" y="492"/>
                </a:cubicBezTo>
                <a:lnTo>
                  <a:pt x="3310" y="491"/>
                </a:lnTo>
                <a:cubicBezTo>
                  <a:pt x="3311" y="490"/>
                  <a:pt x="3311" y="489"/>
                  <a:pt x="3311" y="488"/>
                </a:cubicBezTo>
                <a:cubicBezTo>
                  <a:pt x="3311" y="486"/>
                  <a:pt x="3312" y="484"/>
                  <a:pt x="3314" y="481"/>
                </a:cubicBezTo>
                <a:cubicBezTo>
                  <a:pt x="3316" y="479"/>
                  <a:pt x="3318" y="478"/>
                  <a:pt x="3320" y="478"/>
                </a:cubicBezTo>
                <a:lnTo>
                  <a:pt x="3323" y="478"/>
                </a:lnTo>
                <a:lnTo>
                  <a:pt x="3325" y="477"/>
                </a:lnTo>
                <a:lnTo>
                  <a:pt x="3325" y="476"/>
                </a:lnTo>
                <a:cubicBezTo>
                  <a:pt x="3325" y="474"/>
                  <a:pt x="3327" y="471"/>
                  <a:pt x="3331" y="467"/>
                </a:cubicBezTo>
                <a:lnTo>
                  <a:pt x="3335" y="464"/>
                </a:lnTo>
                <a:cubicBezTo>
                  <a:pt x="3335" y="465"/>
                  <a:pt x="3335" y="465"/>
                  <a:pt x="3335" y="465"/>
                </a:cubicBezTo>
                <a:cubicBezTo>
                  <a:pt x="3336" y="465"/>
                  <a:pt x="3337" y="463"/>
                  <a:pt x="3340" y="459"/>
                </a:cubicBezTo>
                <a:cubicBezTo>
                  <a:pt x="3342" y="455"/>
                  <a:pt x="3344" y="453"/>
                  <a:pt x="3346" y="453"/>
                </a:cubicBezTo>
                <a:cubicBezTo>
                  <a:pt x="3346" y="453"/>
                  <a:pt x="3347" y="454"/>
                  <a:pt x="3347" y="454"/>
                </a:cubicBezTo>
                <a:cubicBezTo>
                  <a:pt x="3347" y="455"/>
                  <a:pt x="3346" y="456"/>
                  <a:pt x="3346" y="456"/>
                </a:cubicBezTo>
                <a:cubicBezTo>
                  <a:pt x="3345" y="457"/>
                  <a:pt x="3345" y="458"/>
                  <a:pt x="3345" y="458"/>
                </a:cubicBezTo>
                <a:cubicBezTo>
                  <a:pt x="3345" y="458"/>
                  <a:pt x="3347" y="458"/>
                  <a:pt x="3348" y="456"/>
                </a:cubicBezTo>
                <a:cubicBezTo>
                  <a:pt x="3349" y="455"/>
                  <a:pt x="3350" y="454"/>
                  <a:pt x="3350" y="453"/>
                </a:cubicBezTo>
                <a:cubicBezTo>
                  <a:pt x="3350" y="452"/>
                  <a:pt x="3350" y="451"/>
                  <a:pt x="3349" y="451"/>
                </a:cubicBezTo>
                <a:cubicBezTo>
                  <a:pt x="3349" y="450"/>
                  <a:pt x="3348" y="449"/>
                  <a:pt x="3348" y="448"/>
                </a:cubicBezTo>
                <a:cubicBezTo>
                  <a:pt x="3348" y="447"/>
                  <a:pt x="3352" y="444"/>
                  <a:pt x="3358" y="439"/>
                </a:cubicBezTo>
                <a:cubicBezTo>
                  <a:pt x="3365" y="433"/>
                  <a:pt x="3369" y="430"/>
                  <a:pt x="3369" y="429"/>
                </a:cubicBezTo>
                <a:cubicBezTo>
                  <a:pt x="3369" y="427"/>
                  <a:pt x="3370" y="427"/>
                  <a:pt x="3371" y="427"/>
                </a:cubicBezTo>
                <a:cubicBezTo>
                  <a:pt x="3372" y="427"/>
                  <a:pt x="3376" y="423"/>
                  <a:pt x="3382" y="416"/>
                </a:cubicBezTo>
                <a:cubicBezTo>
                  <a:pt x="3387" y="411"/>
                  <a:pt x="3389" y="407"/>
                  <a:pt x="3389" y="406"/>
                </a:cubicBezTo>
                <a:lnTo>
                  <a:pt x="3388" y="406"/>
                </a:lnTo>
                <a:cubicBezTo>
                  <a:pt x="3388" y="406"/>
                  <a:pt x="3391" y="402"/>
                  <a:pt x="3397" y="395"/>
                </a:cubicBezTo>
                <a:cubicBezTo>
                  <a:pt x="3406" y="386"/>
                  <a:pt x="3410" y="380"/>
                  <a:pt x="3410" y="379"/>
                </a:cubicBezTo>
                <a:cubicBezTo>
                  <a:pt x="3410" y="377"/>
                  <a:pt x="3412" y="375"/>
                  <a:pt x="3415" y="371"/>
                </a:cubicBezTo>
                <a:cubicBezTo>
                  <a:pt x="3419" y="367"/>
                  <a:pt x="3421" y="365"/>
                  <a:pt x="3421" y="363"/>
                </a:cubicBezTo>
                <a:cubicBezTo>
                  <a:pt x="3421" y="362"/>
                  <a:pt x="3422" y="360"/>
                  <a:pt x="3425" y="356"/>
                </a:cubicBezTo>
                <a:cubicBezTo>
                  <a:pt x="3428" y="353"/>
                  <a:pt x="3429" y="350"/>
                  <a:pt x="3429" y="349"/>
                </a:cubicBezTo>
                <a:cubicBezTo>
                  <a:pt x="3429" y="347"/>
                  <a:pt x="3429" y="346"/>
                  <a:pt x="3430" y="346"/>
                </a:cubicBezTo>
                <a:cubicBezTo>
                  <a:pt x="3430" y="345"/>
                  <a:pt x="3430" y="345"/>
                  <a:pt x="3431" y="344"/>
                </a:cubicBezTo>
                <a:lnTo>
                  <a:pt x="3432" y="344"/>
                </a:lnTo>
                <a:cubicBezTo>
                  <a:pt x="3433" y="344"/>
                  <a:pt x="3434" y="343"/>
                  <a:pt x="3437" y="339"/>
                </a:cubicBezTo>
                <a:cubicBezTo>
                  <a:pt x="3439" y="336"/>
                  <a:pt x="3440" y="334"/>
                  <a:pt x="3440" y="333"/>
                </a:cubicBezTo>
                <a:cubicBezTo>
                  <a:pt x="3440" y="333"/>
                  <a:pt x="3439" y="332"/>
                  <a:pt x="3439" y="332"/>
                </a:cubicBezTo>
                <a:cubicBezTo>
                  <a:pt x="3439" y="332"/>
                  <a:pt x="3439" y="332"/>
                  <a:pt x="3439" y="332"/>
                </a:cubicBezTo>
                <a:cubicBezTo>
                  <a:pt x="3439" y="331"/>
                  <a:pt x="3439" y="331"/>
                  <a:pt x="3441" y="329"/>
                </a:cubicBezTo>
                <a:cubicBezTo>
                  <a:pt x="3443" y="328"/>
                  <a:pt x="3444" y="326"/>
                  <a:pt x="3445" y="323"/>
                </a:cubicBezTo>
                <a:cubicBezTo>
                  <a:pt x="3445" y="322"/>
                  <a:pt x="3446" y="321"/>
                  <a:pt x="3447" y="320"/>
                </a:cubicBezTo>
                <a:cubicBezTo>
                  <a:pt x="3447" y="318"/>
                  <a:pt x="3448" y="317"/>
                  <a:pt x="3450" y="316"/>
                </a:cubicBezTo>
                <a:cubicBezTo>
                  <a:pt x="3451" y="313"/>
                  <a:pt x="3452" y="311"/>
                  <a:pt x="3452" y="308"/>
                </a:cubicBezTo>
                <a:lnTo>
                  <a:pt x="3452" y="306"/>
                </a:lnTo>
                <a:cubicBezTo>
                  <a:pt x="3452" y="305"/>
                  <a:pt x="3452" y="304"/>
                  <a:pt x="3454" y="303"/>
                </a:cubicBezTo>
                <a:cubicBezTo>
                  <a:pt x="3456" y="302"/>
                  <a:pt x="3457" y="301"/>
                  <a:pt x="3457" y="300"/>
                </a:cubicBezTo>
                <a:lnTo>
                  <a:pt x="3456" y="298"/>
                </a:lnTo>
                <a:cubicBezTo>
                  <a:pt x="3456" y="296"/>
                  <a:pt x="3457" y="295"/>
                  <a:pt x="3457" y="294"/>
                </a:cubicBezTo>
                <a:cubicBezTo>
                  <a:pt x="3458" y="293"/>
                  <a:pt x="3459" y="292"/>
                  <a:pt x="3459" y="292"/>
                </a:cubicBezTo>
                <a:lnTo>
                  <a:pt x="3460" y="292"/>
                </a:lnTo>
                <a:cubicBezTo>
                  <a:pt x="3461" y="292"/>
                  <a:pt x="3461" y="292"/>
                  <a:pt x="3461" y="291"/>
                </a:cubicBezTo>
                <a:lnTo>
                  <a:pt x="3460" y="287"/>
                </a:lnTo>
                <a:cubicBezTo>
                  <a:pt x="3460" y="287"/>
                  <a:pt x="3460" y="287"/>
                  <a:pt x="3460" y="287"/>
                </a:cubicBezTo>
                <a:lnTo>
                  <a:pt x="3464" y="288"/>
                </a:lnTo>
                <a:cubicBezTo>
                  <a:pt x="3464" y="288"/>
                  <a:pt x="3464" y="288"/>
                  <a:pt x="3464" y="288"/>
                </a:cubicBezTo>
                <a:lnTo>
                  <a:pt x="3464" y="287"/>
                </a:lnTo>
                <a:cubicBezTo>
                  <a:pt x="3464" y="282"/>
                  <a:pt x="3465" y="275"/>
                  <a:pt x="3469" y="267"/>
                </a:cubicBezTo>
                <a:cubicBezTo>
                  <a:pt x="3481" y="232"/>
                  <a:pt x="3487" y="205"/>
                  <a:pt x="3487" y="186"/>
                </a:cubicBezTo>
                <a:cubicBezTo>
                  <a:pt x="3487" y="179"/>
                  <a:pt x="3486" y="174"/>
                  <a:pt x="3484" y="169"/>
                </a:cubicBezTo>
                <a:cubicBezTo>
                  <a:pt x="3482" y="165"/>
                  <a:pt x="3481" y="163"/>
                  <a:pt x="3481" y="163"/>
                </a:cubicBezTo>
                <a:cubicBezTo>
                  <a:pt x="3481" y="163"/>
                  <a:pt x="3480" y="163"/>
                  <a:pt x="3480" y="164"/>
                </a:cubicBezTo>
                <a:cubicBezTo>
                  <a:pt x="3480" y="164"/>
                  <a:pt x="3481" y="166"/>
                  <a:pt x="3482" y="169"/>
                </a:cubicBezTo>
                <a:cubicBezTo>
                  <a:pt x="3482" y="173"/>
                  <a:pt x="3483" y="177"/>
                  <a:pt x="3483" y="183"/>
                </a:cubicBezTo>
                <a:cubicBezTo>
                  <a:pt x="3483" y="192"/>
                  <a:pt x="3482" y="203"/>
                  <a:pt x="3479" y="213"/>
                </a:cubicBezTo>
                <a:lnTo>
                  <a:pt x="3477" y="224"/>
                </a:lnTo>
                <a:cubicBezTo>
                  <a:pt x="3477" y="226"/>
                  <a:pt x="3476" y="230"/>
                  <a:pt x="3474" y="235"/>
                </a:cubicBezTo>
                <a:cubicBezTo>
                  <a:pt x="3472" y="242"/>
                  <a:pt x="3470" y="246"/>
                  <a:pt x="3469" y="246"/>
                </a:cubicBezTo>
                <a:cubicBezTo>
                  <a:pt x="3468" y="246"/>
                  <a:pt x="3468" y="248"/>
                  <a:pt x="3468" y="252"/>
                </a:cubicBezTo>
                <a:cubicBezTo>
                  <a:pt x="3468" y="256"/>
                  <a:pt x="3467" y="259"/>
                  <a:pt x="3464" y="264"/>
                </a:cubicBezTo>
                <a:cubicBezTo>
                  <a:pt x="3462" y="268"/>
                  <a:pt x="3461" y="271"/>
                  <a:pt x="3461" y="274"/>
                </a:cubicBezTo>
                <a:cubicBezTo>
                  <a:pt x="3461" y="274"/>
                  <a:pt x="3461" y="275"/>
                  <a:pt x="3462" y="275"/>
                </a:cubicBezTo>
                <a:lnTo>
                  <a:pt x="3462" y="276"/>
                </a:lnTo>
                <a:cubicBezTo>
                  <a:pt x="3461" y="276"/>
                  <a:pt x="3460" y="275"/>
                  <a:pt x="3459" y="273"/>
                </a:cubicBezTo>
                <a:cubicBezTo>
                  <a:pt x="3457" y="272"/>
                  <a:pt x="3456" y="271"/>
                  <a:pt x="3456" y="271"/>
                </a:cubicBezTo>
                <a:lnTo>
                  <a:pt x="3456" y="271"/>
                </a:lnTo>
                <a:cubicBezTo>
                  <a:pt x="3456" y="272"/>
                  <a:pt x="3456" y="274"/>
                  <a:pt x="3458" y="278"/>
                </a:cubicBezTo>
                <a:cubicBezTo>
                  <a:pt x="3458" y="280"/>
                  <a:pt x="3459" y="281"/>
                  <a:pt x="3459" y="283"/>
                </a:cubicBezTo>
                <a:cubicBezTo>
                  <a:pt x="3459" y="285"/>
                  <a:pt x="3457" y="287"/>
                  <a:pt x="3454" y="290"/>
                </a:cubicBezTo>
                <a:cubicBezTo>
                  <a:pt x="3451" y="293"/>
                  <a:pt x="3450" y="294"/>
                  <a:pt x="3450" y="294"/>
                </a:cubicBezTo>
                <a:cubicBezTo>
                  <a:pt x="3450" y="295"/>
                  <a:pt x="3450" y="295"/>
                  <a:pt x="3450" y="295"/>
                </a:cubicBezTo>
                <a:lnTo>
                  <a:pt x="3452" y="294"/>
                </a:lnTo>
                <a:cubicBezTo>
                  <a:pt x="3453" y="294"/>
                  <a:pt x="3453" y="294"/>
                  <a:pt x="3453" y="296"/>
                </a:cubicBezTo>
                <a:cubicBezTo>
                  <a:pt x="3452" y="298"/>
                  <a:pt x="3451" y="299"/>
                  <a:pt x="3450" y="299"/>
                </a:cubicBezTo>
                <a:cubicBezTo>
                  <a:pt x="3449" y="299"/>
                  <a:pt x="3447" y="299"/>
                  <a:pt x="3446" y="301"/>
                </a:cubicBezTo>
                <a:cubicBezTo>
                  <a:pt x="3446" y="303"/>
                  <a:pt x="3446" y="304"/>
                  <a:pt x="3446" y="304"/>
                </a:cubicBezTo>
                <a:lnTo>
                  <a:pt x="3448" y="303"/>
                </a:lnTo>
                <a:cubicBezTo>
                  <a:pt x="3449" y="303"/>
                  <a:pt x="3449" y="303"/>
                  <a:pt x="3449" y="304"/>
                </a:cubicBezTo>
                <a:cubicBezTo>
                  <a:pt x="3449" y="305"/>
                  <a:pt x="3448" y="308"/>
                  <a:pt x="3445" y="314"/>
                </a:cubicBezTo>
                <a:cubicBezTo>
                  <a:pt x="3442" y="320"/>
                  <a:pt x="3440" y="323"/>
                  <a:pt x="3438" y="323"/>
                </a:cubicBezTo>
                <a:cubicBezTo>
                  <a:pt x="3437" y="323"/>
                  <a:pt x="3437" y="323"/>
                  <a:pt x="3437" y="322"/>
                </a:cubicBezTo>
                <a:lnTo>
                  <a:pt x="3438" y="318"/>
                </a:lnTo>
                <a:cubicBezTo>
                  <a:pt x="3437" y="318"/>
                  <a:pt x="3436" y="320"/>
                  <a:pt x="3433" y="323"/>
                </a:cubicBezTo>
                <a:cubicBezTo>
                  <a:pt x="3431" y="325"/>
                  <a:pt x="3430" y="326"/>
                  <a:pt x="3430" y="327"/>
                </a:cubicBezTo>
                <a:lnTo>
                  <a:pt x="3437" y="326"/>
                </a:lnTo>
                <a:cubicBezTo>
                  <a:pt x="3437" y="326"/>
                  <a:pt x="3437" y="326"/>
                  <a:pt x="3437" y="326"/>
                </a:cubicBezTo>
                <a:cubicBezTo>
                  <a:pt x="3437" y="327"/>
                  <a:pt x="3436" y="330"/>
                  <a:pt x="3433" y="335"/>
                </a:cubicBezTo>
                <a:cubicBezTo>
                  <a:pt x="3431" y="338"/>
                  <a:pt x="3429" y="341"/>
                  <a:pt x="3427" y="343"/>
                </a:cubicBezTo>
                <a:cubicBezTo>
                  <a:pt x="3425" y="346"/>
                  <a:pt x="3424" y="347"/>
                  <a:pt x="3423" y="347"/>
                </a:cubicBezTo>
                <a:cubicBezTo>
                  <a:pt x="3423" y="347"/>
                  <a:pt x="3423" y="347"/>
                  <a:pt x="3423" y="346"/>
                </a:cubicBezTo>
                <a:lnTo>
                  <a:pt x="3424" y="343"/>
                </a:lnTo>
                <a:cubicBezTo>
                  <a:pt x="3424" y="343"/>
                  <a:pt x="3422" y="344"/>
                  <a:pt x="3420" y="346"/>
                </a:cubicBezTo>
                <a:cubicBezTo>
                  <a:pt x="3417" y="348"/>
                  <a:pt x="3415" y="351"/>
                  <a:pt x="3415" y="353"/>
                </a:cubicBezTo>
                <a:cubicBezTo>
                  <a:pt x="3415" y="354"/>
                  <a:pt x="3408" y="364"/>
                  <a:pt x="3393" y="384"/>
                </a:cubicBezTo>
                <a:cubicBezTo>
                  <a:pt x="3388" y="390"/>
                  <a:pt x="3386" y="394"/>
                  <a:pt x="3386" y="395"/>
                </a:cubicBezTo>
                <a:cubicBezTo>
                  <a:pt x="3386" y="396"/>
                  <a:pt x="3383" y="399"/>
                  <a:pt x="3379" y="404"/>
                </a:cubicBezTo>
                <a:cubicBezTo>
                  <a:pt x="3376" y="406"/>
                  <a:pt x="3374" y="408"/>
                  <a:pt x="3374" y="409"/>
                </a:cubicBezTo>
                <a:lnTo>
                  <a:pt x="3376" y="409"/>
                </a:lnTo>
                <a:cubicBezTo>
                  <a:pt x="3375" y="410"/>
                  <a:pt x="3373" y="413"/>
                  <a:pt x="3367" y="418"/>
                </a:cubicBezTo>
                <a:cubicBezTo>
                  <a:pt x="3360" y="424"/>
                  <a:pt x="3357" y="429"/>
                  <a:pt x="3357" y="430"/>
                </a:cubicBezTo>
                <a:lnTo>
                  <a:pt x="3357" y="431"/>
                </a:lnTo>
                <a:cubicBezTo>
                  <a:pt x="3357" y="431"/>
                  <a:pt x="3356" y="433"/>
                  <a:pt x="3353" y="436"/>
                </a:cubicBezTo>
                <a:cubicBezTo>
                  <a:pt x="3350" y="441"/>
                  <a:pt x="3344" y="446"/>
                  <a:pt x="3336" y="453"/>
                </a:cubicBezTo>
                <a:lnTo>
                  <a:pt x="3331" y="457"/>
                </a:lnTo>
                <a:lnTo>
                  <a:pt x="3330" y="457"/>
                </a:lnTo>
                <a:lnTo>
                  <a:pt x="3330" y="458"/>
                </a:lnTo>
                <a:cubicBezTo>
                  <a:pt x="3330" y="460"/>
                  <a:pt x="3326" y="466"/>
                  <a:pt x="3317" y="475"/>
                </a:cubicBezTo>
                <a:cubicBezTo>
                  <a:pt x="3308" y="483"/>
                  <a:pt x="3297" y="492"/>
                  <a:pt x="3284" y="501"/>
                </a:cubicBezTo>
                <a:cubicBezTo>
                  <a:pt x="3270" y="511"/>
                  <a:pt x="3263" y="517"/>
                  <a:pt x="3263" y="518"/>
                </a:cubicBezTo>
                <a:cubicBezTo>
                  <a:pt x="3263" y="519"/>
                  <a:pt x="3263" y="519"/>
                  <a:pt x="3262" y="519"/>
                </a:cubicBezTo>
                <a:lnTo>
                  <a:pt x="3258" y="518"/>
                </a:lnTo>
                <a:lnTo>
                  <a:pt x="3256" y="519"/>
                </a:lnTo>
                <a:lnTo>
                  <a:pt x="3257" y="520"/>
                </a:lnTo>
                <a:cubicBezTo>
                  <a:pt x="3257" y="522"/>
                  <a:pt x="3250" y="523"/>
                  <a:pt x="3237" y="523"/>
                </a:cubicBezTo>
                <a:lnTo>
                  <a:pt x="3231" y="523"/>
                </a:lnTo>
                <a:cubicBezTo>
                  <a:pt x="3223" y="523"/>
                  <a:pt x="3217" y="522"/>
                  <a:pt x="3213" y="520"/>
                </a:cubicBezTo>
                <a:cubicBezTo>
                  <a:pt x="3210" y="518"/>
                  <a:pt x="3207" y="514"/>
                  <a:pt x="3205" y="509"/>
                </a:cubicBezTo>
                <a:cubicBezTo>
                  <a:pt x="3204" y="506"/>
                  <a:pt x="3204" y="504"/>
                  <a:pt x="3203" y="504"/>
                </a:cubicBezTo>
                <a:cubicBezTo>
                  <a:pt x="3202" y="504"/>
                  <a:pt x="3202" y="505"/>
                  <a:pt x="3201" y="507"/>
                </a:cubicBezTo>
                <a:cubicBezTo>
                  <a:pt x="3200" y="509"/>
                  <a:pt x="3200" y="511"/>
                  <a:pt x="3200" y="511"/>
                </a:cubicBezTo>
                <a:lnTo>
                  <a:pt x="3199" y="509"/>
                </a:lnTo>
                <a:cubicBezTo>
                  <a:pt x="3199" y="507"/>
                  <a:pt x="3200" y="505"/>
                  <a:pt x="3201" y="503"/>
                </a:cubicBezTo>
                <a:cubicBezTo>
                  <a:pt x="3202" y="502"/>
                  <a:pt x="3202" y="500"/>
                  <a:pt x="3202" y="498"/>
                </a:cubicBezTo>
                <a:cubicBezTo>
                  <a:pt x="3202" y="497"/>
                  <a:pt x="3202" y="496"/>
                  <a:pt x="3201" y="496"/>
                </a:cubicBezTo>
                <a:lnTo>
                  <a:pt x="3200" y="497"/>
                </a:lnTo>
                <a:cubicBezTo>
                  <a:pt x="3199" y="497"/>
                  <a:pt x="3199" y="496"/>
                  <a:pt x="3199" y="495"/>
                </a:cubicBezTo>
                <a:cubicBezTo>
                  <a:pt x="3199" y="494"/>
                  <a:pt x="3199" y="493"/>
                  <a:pt x="3199" y="493"/>
                </a:cubicBezTo>
                <a:lnTo>
                  <a:pt x="3199" y="493"/>
                </a:lnTo>
                <a:cubicBezTo>
                  <a:pt x="3198" y="493"/>
                  <a:pt x="3198" y="494"/>
                  <a:pt x="3197" y="496"/>
                </a:cubicBezTo>
                <a:cubicBezTo>
                  <a:pt x="3196" y="497"/>
                  <a:pt x="3196" y="499"/>
                  <a:pt x="3196" y="501"/>
                </a:cubicBezTo>
                <a:cubicBezTo>
                  <a:pt x="3196" y="502"/>
                  <a:pt x="3196" y="504"/>
                  <a:pt x="3196" y="505"/>
                </a:cubicBezTo>
                <a:cubicBezTo>
                  <a:pt x="3197" y="505"/>
                  <a:pt x="3197" y="506"/>
                  <a:pt x="3197" y="507"/>
                </a:cubicBezTo>
                <a:cubicBezTo>
                  <a:pt x="3197" y="508"/>
                  <a:pt x="3196" y="508"/>
                  <a:pt x="3196" y="508"/>
                </a:cubicBezTo>
                <a:lnTo>
                  <a:pt x="3195" y="508"/>
                </a:lnTo>
                <a:cubicBezTo>
                  <a:pt x="3194" y="508"/>
                  <a:pt x="3193" y="508"/>
                  <a:pt x="3192" y="510"/>
                </a:cubicBezTo>
                <a:cubicBezTo>
                  <a:pt x="3191" y="511"/>
                  <a:pt x="3191" y="513"/>
                  <a:pt x="3191" y="515"/>
                </a:cubicBezTo>
                <a:cubicBezTo>
                  <a:pt x="3191" y="516"/>
                  <a:pt x="3191" y="517"/>
                  <a:pt x="3192" y="518"/>
                </a:cubicBezTo>
                <a:lnTo>
                  <a:pt x="3192" y="519"/>
                </a:lnTo>
                <a:cubicBezTo>
                  <a:pt x="3192" y="519"/>
                  <a:pt x="3192" y="520"/>
                  <a:pt x="3192" y="520"/>
                </a:cubicBezTo>
                <a:lnTo>
                  <a:pt x="3189" y="519"/>
                </a:lnTo>
                <a:cubicBezTo>
                  <a:pt x="3189" y="519"/>
                  <a:pt x="3189" y="519"/>
                  <a:pt x="3189" y="519"/>
                </a:cubicBezTo>
                <a:lnTo>
                  <a:pt x="3190" y="525"/>
                </a:lnTo>
                <a:cubicBezTo>
                  <a:pt x="3190" y="526"/>
                  <a:pt x="3190" y="526"/>
                  <a:pt x="3189" y="526"/>
                </a:cubicBezTo>
                <a:lnTo>
                  <a:pt x="3187" y="525"/>
                </a:lnTo>
                <a:cubicBezTo>
                  <a:pt x="3186" y="525"/>
                  <a:pt x="3186" y="526"/>
                  <a:pt x="3186" y="526"/>
                </a:cubicBezTo>
                <a:lnTo>
                  <a:pt x="3187" y="530"/>
                </a:lnTo>
                <a:cubicBezTo>
                  <a:pt x="3187" y="531"/>
                  <a:pt x="3187" y="532"/>
                  <a:pt x="3186" y="532"/>
                </a:cubicBezTo>
                <a:cubicBezTo>
                  <a:pt x="3186" y="532"/>
                  <a:pt x="3185" y="532"/>
                  <a:pt x="3185" y="534"/>
                </a:cubicBezTo>
                <a:lnTo>
                  <a:pt x="3186" y="539"/>
                </a:lnTo>
                <a:cubicBezTo>
                  <a:pt x="3186" y="540"/>
                  <a:pt x="3186" y="541"/>
                  <a:pt x="3186" y="541"/>
                </a:cubicBezTo>
                <a:cubicBezTo>
                  <a:pt x="3185" y="541"/>
                  <a:pt x="3184" y="540"/>
                  <a:pt x="3184" y="539"/>
                </a:cubicBezTo>
                <a:cubicBezTo>
                  <a:pt x="3183" y="539"/>
                  <a:pt x="3182" y="539"/>
                  <a:pt x="3182" y="539"/>
                </a:cubicBezTo>
                <a:lnTo>
                  <a:pt x="3182" y="539"/>
                </a:lnTo>
                <a:cubicBezTo>
                  <a:pt x="3182" y="539"/>
                  <a:pt x="3182" y="540"/>
                  <a:pt x="3184" y="541"/>
                </a:cubicBezTo>
                <a:cubicBezTo>
                  <a:pt x="3185" y="543"/>
                  <a:pt x="3185" y="544"/>
                  <a:pt x="3185" y="544"/>
                </a:cubicBezTo>
                <a:cubicBezTo>
                  <a:pt x="3185" y="546"/>
                  <a:pt x="3185" y="546"/>
                  <a:pt x="3183" y="546"/>
                </a:cubicBezTo>
                <a:lnTo>
                  <a:pt x="3181" y="546"/>
                </a:lnTo>
                <a:cubicBezTo>
                  <a:pt x="3181" y="546"/>
                  <a:pt x="3181" y="546"/>
                  <a:pt x="3181" y="546"/>
                </a:cubicBezTo>
                <a:cubicBezTo>
                  <a:pt x="3181" y="547"/>
                  <a:pt x="3181" y="548"/>
                  <a:pt x="3182" y="549"/>
                </a:cubicBezTo>
                <a:cubicBezTo>
                  <a:pt x="3182" y="551"/>
                  <a:pt x="3182" y="553"/>
                  <a:pt x="3182" y="554"/>
                </a:cubicBezTo>
                <a:cubicBezTo>
                  <a:pt x="3182" y="556"/>
                  <a:pt x="3182" y="558"/>
                  <a:pt x="3181" y="560"/>
                </a:cubicBezTo>
                <a:cubicBezTo>
                  <a:pt x="3181" y="562"/>
                  <a:pt x="3179" y="563"/>
                  <a:pt x="3178" y="563"/>
                </a:cubicBezTo>
                <a:lnTo>
                  <a:pt x="3176" y="562"/>
                </a:lnTo>
                <a:cubicBezTo>
                  <a:pt x="3176" y="562"/>
                  <a:pt x="3176" y="563"/>
                  <a:pt x="3177" y="565"/>
                </a:cubicBezTo>
                <a:cubicBezTo>
                  <a:pt x="3178" y="566"/>
                  <a:pt x="3179" y="567"/>
                  <a:pt x="3179" y="569"/>
                </a:cubicBezTo>
                <a:cubicBezTo>
                  <a:pt x="3179" y="570"/>
                  <a:pt x="3178" y="571"/>
                  <a:pt x="3177" y="571"/>
                </a:cubicBezTo>
                <a:cubicBezTo>
                  <a:pt x="3177" y="572"/>
                  <a:pt x="3176" y="573"/>
                  <a:pt x="3176" y="573"/>
                </a:cubicBezTo>
                <a:cubicBezTo>
                  <a:pt x="3175" y="573"/>
                  <a:pt x="3175" y="572"/>
                  <a:pt x="3175" y="571"/>
                </a:cubicBezTo>
                <a:cubicBezTo>
                  <a:pt x="3175" y="569"/>
                  <a:pt x="3175" y="569"/>
                  <a:pt x="3175" y="569"/>
                </a:cubicBezTo>
                <a:lnTo>
                  <a:pt x="3174" y="569"/>
                </a:lnTo>
                <a:lnTo>
                  <a:pt x="3174" y="570"/>
                </a:lnTo>
                <a:cubicBezTo>
                  <a:pt x="3174" y="571"/>
                  <a:pt x="3174" y="572"/>
                  <a:pt x="3175" y="573"/>
                </a:cubicBezTo>
                <a:cubicBezTo>
                  <a:pt x="3176" y="574"/>
                  <a:pt x="3176" y="576"/>
                  <a:pt x="3176" y="577"/>
                </a:cubicBezTo>
                <a:cubicBezTo>
                  <a:pt x="3176" y="580"/>
                  <a:pt x="3176" y="583"/>
                  <a:pt x="3174" y="587"/>
                </a:cubicBezTo>
                <a:cubicBezTo>
                  <a:pt x="3169" y="604"/>
                  <a:pt x="3167" y="625"/>
                  <a:pt x="3167" y="651"/>
                </a:cubicBezTo>
                <a:cubicBezTo>
                  <a:pt x="3167" y="667"/>
                  <a:pt x="3169" y="682"/>
                  <a:pt x="3173" y="695"/>
                </a:cubicBezTo>
                <a:cubicBezTo>
                  <a:pt x="3177" y="708"/>
                  <a:pt x="3180" y="715"/>
                  <a:pt x="3183" y="715"/>
                </a:cubicBezTo>
                <a:cubicBezTo>
                  <a:pt x="3187" y="715"/>
                  <a:pt x="3190" y="717"/>
                  <a:pt x="3193" y="719"/>
                </a:cubicBezTo>
                <a:cubicBezTo>
                  <a:pt x="3199" y="726"/>
                  <a:pt x="3201" y="730"/>
                  <a:pt x="3201" y="732"/>
                </a:cubicBezTo>
                <a:cubicBezTo>
                  <a:pt x="3201" y="732"/>
                  <a:pt x="3201" y="733"/>
                  <a:pt x="3201" y="734"/>
                </a:cubicBezTo>
                <a:cubicBezTo>
                  <a:pt x="3200" y="734"/>
                  <a:pt x="3197" y="731"/>
                  <a:pt x="3194" y="725"/>
                </a:cubicBezTo>
                <a:cubicBezTo>
                  <a:pt x="3191" y="721"/>
                  <a:pt x="3189" y="719"/>
                  <a:pt x="3189" y="719"/>
                </a:cubicBezTo>
                <a:cubicBezTo>
                  <a:pt x="3188" y="719"/>
                  <a:pt x="3188" y="719"/>
                  <a:pt x="3188" y="720"/>
                </a:cubicBezTo>
                <a:cubicBezTo>
                  <a:pt x="3188" y="721"/>
                  <a:pt x="3188" y="721"/>
                  <a:pt x="3187" y="721"/>
                </a:cubicBezTo>
                <a:lnTo>
                  <a:pt x="3185" y="720"/>
                </a:lnTo>
                <a:cubicBezTo>
                  <a:pt x="3185" y="721"/>
                  <a:pt x="3187" y="723"/>
                  <a:pt x="3191" y="727"/>
                </a:cubicBezTo>
                <a:cubicBezTo>
                  <a:pt x="3198" y="732"/>
                  <a:pt x="3202" y="735"/>
                  <a:pt x="3204" y="735"/>
                </a:cubicBezTo>
                <a:cubicBezTo>
                  <a:pt x="3206" y="735"/>
                  <a:pt x="3206" y="735"/>
                  <a:pt x="3206" y="737"/>
                </a:cubicBezTo>
                <a:lnTo>
                  <a:pt x="3206" y="737"/>
                </a:lnTo>
                <a:cubicBezTo>
                  <a:pt x="3206" y="739"/>
                  <a:pt x="3207" y="739"/>
                  <a:pt x="3209" y="739"/>
                </a:cubicBezTo>
                <a:lnTo>
                  <a:pt x="3211" y="739"/>
                </a:lnTo>
                <a:cubicBezTo>
                  <a:pt x="3212" y="739"/>
                  <a:pt x="3213" y="739"/>
                  <a:pt x="3214" y="741"/>
                </a:cubicBezTo>
                <a:cubicBezTo>
                  <a:pt x="3215" y="742"/>
                  <a:pt x="3216" y="743"/>
                  <a:pt x="3217" y="743"/>
                </a:cubicBezTo>
                <a:cubicBezTo>
                  <a:pt x="3217" y="743"/>
                  <a:pt x="3218" y="742"/>
                  <a:pt x="3218" y="742"/>
                </a:cubicBezTo>
                <a:cubicBezTo>
                  <a:pt x="3218" y="741"/>
                  <a:pt x="3218" y="740"/>
                  <a:pt x="3217" y="740"/>
                </a:cubicBezTo>
                <a:cubicBezTo>
                  <a:pt x="3217" y="740"/>
                  <a:pt x="3217" y="739"/>
                  <a:pt x="3217" y="739"/>
                </a:cubicBezTo>
                <a:cubicBezTo>
                  <a:pt x="3217" y="739"/>
                  <a:pt x="3218" y="739"/>
                  <a:pt x="3219" y="739"/>
                </a:cubicBezTo>
                <a:cubicBezTo>
                  <a:pt x="3220" y="740"/>
                  <a:pt x="3220" y="741"/>
                  <a:pt x="3220" y="742"/>
                </a:cubicBezTo>
                <a:lnTo>
                  <a:pt x="3220" y="743"/>
                </a:lnTo>
                <a:cubicBezTo>
                  <a:pt x="3220" y="744"/>
                  <a:pt x="3220" y="745"/>
                  <a:pt x="3222" y="745"/>
                </a:cubicBezTo>
                <a:cubicBezTo>
                  <a:pt x="3223" y="746"/>
                  <a:pt x="3224" y="747"/>
                  <a:pt x="3226" y="747"/>
                </a:cubicBezTo>
                <a:cubicBezTo>
                  <a:pt x="3226" y="747"/>
                  <a:pt x="3227" y="746"/>
                  <a:pt x="3228" y="746"/>
                </a:cubicBezTo>
                <a:cubicBezTo>
                  <a:pt x="3228" y="746"/>
                  <a:pt x="3228" y="746"/>
                  <a:pt x="3228" y="746"/>
                </a:cubicBezTo>
                <a:cubicBezTo>
                  <a:pt x="3230" y="746"/>
                  <a:pt x="3233" y="747"/>
                  <a:pt x="3237" y="748"/>
                </a:cubicBezTo>
                <a:cubicBezTo>
                  <a:pt x="3242" y="751"/>
                  <a:pt x="3250" y="752"/>
                  <a:pt x="3259" y="752"/>
                </a:cubicBezTo>
                <a:cubicBezTo>
                  <a:pt x="3285" y="752"/>
                  <a:pt x="3319" y="745"/>
                  <a:pt x="3362" y="730"/>
                </a:cubicBezTo>
                <a:cubicBezTo>
                  <a:pt x="3382" y="724"/>
                  <a:pt x="3399" y="718"/>
                  <a:pt x="3413" y="711"/>
                </a:cubicBezTo>
                <a:cubicBezTo>
                  <a:pt x="3419" y="709"/>
                  <a:pt x="3424" y="707"/>
                  <a:pt x="3427" y="705"/>
                </a:cubicBezTo>
                <a:cubicBezTo>
                  <a:pt x="3430" y="704"/>
                  <a:pt x="3437" y="701"/>
                  <a:pt x="3446" y="696"/>
                </a:cubicBezTo>
                <a:cubicBezTo>
                  <a:pt x="3471" y="683"/>
                  <a:pt x="3486" y="675"/>
                  <a:pt x="3492" y="671"/>
                </a:cubicBezTo>
                <a:cubicBezTo>
                  <a:pt x="3498" y="667"/>
                  <a:pt x="3502" y="665"/>
                  <a:pt x="3506" y="665"/>
                </a:cubicBezTo>
                <a:cubicBezTo>
                  <a:pt x="3506" y="665"/>
                  <a:pt x="3507" y="666"/>
                  <a:pt x="3507" y="666"/>
                </a:cubicBezTo>
                <a:cubicBezTo>
                  <a:pt x="3507" y="667"/>
                  <a:pt x="3504" y="670"/>
                  <a:pt x="3498" y="672"/>
                </a:cubicBezTo>
                <a:cubicBezTo>
                  <a:pt x="3494" y="675"/>
                  <a:pt x="3492" y="677"/>
                  <a:pt x="3492" y="679"/>
                </a:cubicBezTo>
                <a:lnTo>
                  <a:pt x="3492" y="680"/>
                </a:lnTo>
                <a:cubicBezTo>
                  <a:pt x="3492" y="680"/>
                  <a:pt x="3492" y="681"/>
                  <a:pt x="3492" y="681"/>
                </a:cubicBezTo>
                <a:lnTo>
                  <a:pt x="3491" y="680"/>
                </a:lnTo>
                <a:cubicBezTo>
                  <a:pt x="3486" y="680"/>
                  <a:pt x="3481" y="682"/>
                  <a:pt x="3474" y="686"/>
                </a:cubicBezTo>
                <a:cubicBezTo>
                  <a:pt x="3451" y="698"/>
                  <a:pt x="3426" y="710"/>
                  <a:pt x="3399" y="720"/>
                </a:cubicBezTo>
                <a:cubicBezTo>
                  <a:pt x="3371" y="731"/>
                  <a:pt x="3346" y="740"/>
                  <a:pt x="3324" y="745"/>
                </a:cubicBezTo>
                <a:cubicBezTo>
                  <a:pt x="3309" y="749"/>
                  <a:pt x="3301" y="752"/>
                  <a:pt x="3301" y="752"/>
                </a:cubicBezTo>
                <a:cubicBezTo>
                  <a:pt x="3301" y="753"/>
                  <a:pt x="3302" y="754"/>
                  <a:pt x="3303" y="754"/>
                </a:cubicBezTo>
                <a:cubicBezTo>
                  <a:pt x="3307" y="754"/>
                  <a:pt x="3316" y="752"/>
                  <a:pt x="3329" y="748"/>
                </a:cubicBezTo>
                <a:cubicBezTo>
                  <a:pt x="3341" y="745"/>
                  <a:pt x="3348" y="744"/>
                  <a:pt x="3352" y="744"/>
                </a:cubicBezTo>
                <a:cubicBezTo>
                  <a:pt x="3353" y="744"/>
                  <a:pt x="3353" y="744"/>
                  <a:pt x="3354" y="744"/>
                </a:cubicBezTo>
                <a:cubicBezTo>
                  <a:pt x="3355" y="745"/>
                  <a:pt x="3355" y="745"/>
                  <a:pt x="3355" y="745"/>
                </a:cubicBezTo>
                <a:lnTo>
                  <a:pt x="3355" y="744"/>
                </a:lnTo>
                <a:cubicBezTo>
                  <a:pt x="3355" y="742"/>
                  <a:pt x="3363" y="738"/>
                  <a:pt x="3378" y="732"/>
                </a:cubicBezTo>
                <a:cubicBezTo>
                  <a:pt x="3392" y="728"/>
                  <a:pt x="3401" y="724"/>
                  <a:pt x="3406" y="723"/>
                </a:cubicBezTo>
                <a:cubicBezTo>
                  <a:pt x="3409" y="723"/>
                  <a:pt x="3410" y="723"/>
                  <a:pt x="3410" y="722"/>
                </a:cubicBezTo>
                <a:cubicBezTo>
                  <a:pt x="3410" y="721"/>
                  <a:pt x="3412" y="720"/>
                  <a:pt x="3415" y="720"/>
                </a:cubicBezTo>
                <a:cubicBezTo>
                  <a:pt x="3418" y="720"/>
                  <a:pt x="3420" y="719"/>
                  <a:pt x="3420" y="718"/>
                </a:cubicBezTo>
                <a:cubicBezTo>
                  <a:pt x="3420" y="717"/>
                  <a:pt x="3421" y="716"/>
                  <a:pt x="3422" y="716"/>
                </a:cubicBezTo>
                <a:lnTo>
                  <a:pt x="3424" y="716"/>
                </a:lnTo>
                <a:cubicBezTo>
                  <a:pt x="3425" y="716"/>
                  <a:pt x="3427" y="715"/>
                  <a:pt x="3429" y="714"/>
                </a:cubicBezTo>
                <a:cubicBezTo>
                  <a:pt x="3430" y="712"/>
                  <a:pt x="3432" y="711"/>
                  <a:pt x="3433" y="711"/>
                </a:cubicBezTo>
                <a:lnTo>
                  <a:pt x="3434" y="712"/>
                </a:lnTo>
                <a:cubicBezTo>
                  <a:pt x="3435" y="712"/>
                  <a:pt x="3436" y="711"/>
                  <a:pt x="3436" y="710"/>
                </a:cubicBezTo>
                <a:cubicBezTo>
                  <a:pt x="3436" y="709"/>
                  <a:pt x="3437" y="709"/>
                  <a:pt x="3439" y="709"/>
                </a:cubicBezTo>
                <a:lnTo>
                  <a:pt x="3441" y="709"/>
                </a:lnTo>
                <a:cubicBezTo>
                  <a:pt x="3442" y="709"/>
                  <a:pt x="3442" y="709"/>
                  <a:pt x="3442" y="708"/>
                </a:cubicBezTo>
                <a:cubicBezTo>
                  <a:pt x="3442" y="707"/>
                  <a:pt x="3443" y="707"/>
                  <a:pt x="3444" y="707"/>
                </a:cubicBezTo>
                <a:cubicBezTo>
                  <a:pt x="3444" y="707"/>
                  <a:pt x="3445" y="707"/>
                  <a:pt x="3446" y="707"/>
                </a:cubicBezTo>
                <a:cubicBezTo>
                  <a:pt x="3446" y="708"/>
                  <a:pt x="3447" y="708"/>
                  <a:pt x="3447" y="708"/>
                </a:cubicBezTo>
                <a:cubicBezTo>
                  <a:pt x="3449" y="708"/>
                  <a:pt x="3450" y="707"/>
                  <a:pt x="3450" y="705"/>
                </a:cubicBezTo>
                <a:cubicBezTo>
                  <a:pt x="3451" y="704"/>
                  <a:pt x="3452" y="703"/>
                  <a:pt x="3453" y="703"/>
                </a:cubicBezTo>
                <a:lnTo>
                  <a:pt x="3455" y="703"/>
                </a:lnTo>
                <a:cubicBezTo>
                  <a:pt x="3457" y="703"/>
                  <a:pt x="3459" y="702"/>
                  <a:pt x="3460" y="700"/>
                </a:cubicBezTo>
                <a:cubicBezTo>
                  <a:pt x="3461" y="700"/>
                  <a:pt x="3462" y="699"/>
                  <a:pt x="3462" y="699"/>
                </a:cubicBezTo>
                <a:cubicBezTo>
                  <a:pt x="3463" y="699"/>
                  <a:pt x="3464" y="698"/>
                  <a:pt x="3465" y="698"/>
                </a:cubicBezTo>
                <a:lnTo>
                  <a:pt x="3465" y="699"/>
                </a:lnTo>
                <a:cubicBezTo>
                  <a:pt x="3466" y="699"/>
                  <a:pt x="3466" y="698"/>
                  <a:pt x="3466" y="696"/>
                </a:cubicBezTo>
                <a:cubicBezTo>
                  <a:pt x="3466" y="693"/>
                  <a:pt x="3467" y="693"/>
                  <a:pt x="3467" y="693"/>
                </a:cubicBezTo>
                <a:cubicBezTo>
                  <a:pt x="3467" y="693"/>
                  <a:pt x="3468" y="693"/>
                  <a:pt x="3469" y="695"/>
                </a:cubicBezTo>
                <a:cubicBezTo>
                  <a:pt x="3469" y="696"/>
                  <a:pt x="3470" y="697"/>
                  <a:pt x="3470" y="697"/>
                </a:cubicBezTo>
                <a:cubicBezTo>
                  <a:pt x="3471" y="697"/>
                  <a:pt x="3471" y="696"/>
                  <a:pt x="3471" y="695"/>
                </a:cubicBezTo>
                <a:cubicBezTo>
                  <a:pt x="3471" y="694"/>
                  <a:pt x="3472" y="693"/>
                  <a:pt x="3473" y="693"/>
                </a:cubicBezTo>
                <a:lnTo>
                  <a:pt x="3474" y="694"/>
                </a:lnTo>
                <a:cubicBezTo>
                  <a:pt x="3474" y="694"/>
                  <a:pt x="3475" y="693"/>
                  <a:pt x="3475" y="691"/>
                </a:cubicBezTo>
                <a:cubicBezTo>
                  <a:pt x="3475" y="689"/>
                  <a:pt x="3475" y="688"/>
                  <a:pt x="3476" y="688"/>
                </a:cubicBezTo>
                <a:cubicBezTo>
                  <a:pt x="3476" y="688"/>
                  <a:pt x="3476" y="689"/>
                  <a:pt x="3477" y="690"/>
                </a:cubicBezTo>
                <a:cubicBezTo>
                  <a:pt x="3477" y="691"/>
                  <a:pt x="3478" y="691"/>
                  <a:pt x="3479" y="691"/>
                </a:cubicBezTo>
                <a:cubicBezTo>
                  <a:pt x="3479" y="691"/>
                  <a:pt x="3481" y="690"/>
                  <a:pt x="3482" y="689"/>
                </a:cubicBezTo>
                <a:cubicBezTo>
                  <a:pt x="3484" y="687"/>
                  <a:pt x="3485" y="686"/>
                  <a:pt x="3486" y="686"/>
                </a:cubicBezTo>
                <a:lnTo>
                  <a:pt x="3487" y="687"/>
                </a:lnTo>
                <a:cubicBezTo>
                  <a:pt x="3488" y="687"/>
                  <a:pt x="3488" y="686"/>
                  <a:pt x="3488" y="685"/>
                </a:cubicBezTo>
                <a:cubicBezTo>
                  <a:pt x="3488" y="684"/>
                  <a:pt x="3488" y="683"/>
                  <a:pt x="3489" y="683"/>
                </a:cubicBezTo>
                <a:lnTo>
                  <a:pt x="3490" y="684"/>
                </a:lnTo>
                <a:cubicBezTo>
                  <a:pt x="3492" y="684"/>
                  <a:pt x="3496" y="682"/>
                  <a:pt x="3504" y="677"/>
                </a:cubicBezTo>
                <a:cubicBezTo>
                  <a:pt x="3512" y="673"/>
                  <a:pt x="3516" y="670"/>
                  <a:pt x="3516" y="669"/>
                </a:cubicBezTo>
                <a:lnTo>
                  <a:pt x="3515" y="669"/>
                </a:lnTo>
                <a:cubicBezTo>
                  <a:pt x="3515" y="669"/>
                  <a:pt x="3515" y="669"/>
                  <a:pt x="3515" y="669"/>
                </a:cubicBezTo>
                <a:cubicBezTo>
                  <a:pt x="3515" y="669"/>
                  <a:pt x="3516" y="667"/>
                  <a:pt x="3518" y="666"/>
                </a:cubicBezTo>
                <a:cubicBezTo>
                  <a:pt x="3520" y="664"/>
                  <a:pt x="3522" y="664"/>
                  <a:pt x="3525" y="664"/>
                </a:cubicBezTo>
                <a:cubicBezTo>
                  <a:pt x="3526" y="664"/>
                  <a:pt x="3528" y="663"/>
                  <a:pt x="3530" y="660"/>
                </a:cubicBezTo>
                <a:cubicBezTo>
                  <a:pt x="3532" y="657"/>
                  <a:pt x="3533" y="656"/>
                  <a:pt x="3533" y="656"/>
                </a:cubicBezTo>
                <a:cubicBezTo>
                  <a:pt x="3534" y="656"/>
                  <a:pt x="3534" y="656"/>
                  <a:pt x="3534" y="657"/>
                </a:cubicBezTo>
                <a:cubicBezTo>
                  <a:pt x="3534" y="657"/>
                  <a:pt x="3534" y="657"/>
                  <a:pt x="3534" y="657"/>
                </a:cubicBezTo>
                <a:cubicBezTo>
                  <a:pt x="3535" y="657"/>
                  <a:pt x="3536" y="656"/>
                  <a:pt x="3537" y="654"/>
                </a:cubicBezTo>
                <a:lnTo>
                  <a:pt x="3540" y="652"/>
                </a:lnTo>
                <a:lnTo>
                  <a:pt x="3539" y="654"/>
                </a:lnTo>
                <a:cubicBezTo>
                  <a:pt x="3539" y="654"/>
                  <a:pt x="3539" y="654"/>
                  <a:pt x="3539" y="654"/>
                </a:cubicBezTo>
                <a:cubicBezTo>
                  <a:pt x="3539" y="654"/>
                  <a:pt x="3541" y="653"/>
                  <a:pt x="3543" y="650"/>
                </a:cubicBezTo>
                <a:cubicBezTo>
                  <a:pt x="3545" y="649"/>
                  <a:pt x="3546" y="647"/>
                  <a:pt x="3548" y="646"/>
                </a:cubicBezTo>
                <a:cubicBezTo>
                  <a:pt x="3550" y="645"/>
                  <a:pt x="3552" y="645"/>
                  <a:pt x="3553" y="645"/>
                </a:cubicBezTo>
                <a:cubicBezTo>
                  <a:pt x="3553" y="645"/>
                  <a:pt x="3554" y="643"/>
                  <a:pt x="3557" y="640"/>
                </a:cubicBezTo>
                <a:cubicBezTo>
                  <a:pt x="3559" y="637"/>
                  <a:pt x="3562" y="635"/>
                  <a:pt x="3564" y="634"/>
                </a:cubicBezTo>
                <a:cubicBezTo>
                  <a:pt x="3569" y="631"/>
                  <a:pt x="3573" y="628"/>
                  <a:pt x="3576" y="625"/>
                </a:cubicBezTo>
                <a:cubicBezTo>
                  <a:pt x="3582" y="620"/>
                  <a:pt x="3585" y="617"/>
                  <a:pt x="3585" y="617"/>
                </a:cubicBezTo>
                <a:cubicBezTo>
                  <a:pt x="3585" y="616"/>
                  <a:pt x="3586" y="616"/>
                  <a:pt x="3586" y="616"/>
                </a:cubicBezTo>
                <a:cubicBezTo>
                  <a:pt x="3589" y="616"/>
                  <a:pt x="3590" y="615"/>
                  <a:pt x="3590" y="613"/>
                </a:cubicBezTo>
                <a:cubicBezTo>
                  <a:pt x="3590" y="611"/>
                  <a:pt x="3591" y="610"/>
                  <a:pt x="3593" y="610"/>
                </a:cubicBezTo>
                <a:cubicBezTo>
                  <a:pt x="3595" y="610"/>
                  <a:pt x="3599" y="607"/>
                  <a:pt x="3605" y="601"/>
                </a:cubicBezTo>
                <a:lnTo>
                  <a:pt x="3627" y="580"/>
                </a:lnTo>
                <a:cubicBezTo>
                  <a:pt x="3645" y="562"/>
                  <a:pt x="3660" y="547"/>
                  <a:pt x="3671" y="535"/>
                </a:cubicBezTo>
                <a:lnTo>
                  <a:pt x="3683" y="521"/>
                </a:lnTo>
                <a:cubicBezTo>
                  <a:pt x="3683" y="521"/>
                  <a:pt x="3683" y="521"/>
                  <a:pt x="3683" y="523"/>
                </a:cubicBezTo>
                <a:cubicBezTo>
                  <a:pt x="3683" y="525"/>
                  <a:pt x="3683" y="527"/>
                  <a:pt x="3682" y="528"/>
                </a:cubicBezTo>
                <a:cubicBezTo>
                  <a:pt x="3680" y="529"/>
                  <a:pt x="3680" y="531"/>
                  <a:pt x="3680" y="533"/>
                </a:cubicBezTo>
                <a:lnTo>
                  <a:pt x="3680" y="535"/>
                </a:lnTo>
                <a:cubicBezTo>
                  <a:pt x="3680" y="535"/>
                  <a:pt x="3680" y="535"/>
                  <a:pt x="3680" y="535"/>
                </a:cubicBezTo>
                <a:lnTo>
                  <a:pt x="3680" y="535"/>
                </a:lnTo>
                <a:cubicBezTo>
                  <a:pt x="3678" y="535"/>
                  <a:pt x="3677" y="536"/>
                  <a:pt x="3676" y="538"/>
                </a:cubicBezTo>
                <a:cubicBezTo>
                  <a:pt x="3675" y="540"/>
                  <a:pt x="3674" y="543"/>
                  <a:pt x="3674" y="546"/>
                </a:cubicBezTo>
                <a:cubicBezTo>
                  <a:pt x="3673" y="551"/>
                  <a:pt x="3668" y="558"/>
                  <a:pt x="3660" y="568"/>
                </a:cubicBezTo>
                <a:cubicBezTo>
                  <a:pt x="3652" y="579"/>
                  <a:pt x="3642" y="590"/>
                  <a:pt x="3630" y="601"/>
                </a:cubicBezTo>
                <a:cubicBezTo>
                  <a:pt x="3618" y="613"/>
                  <a:pt x="3607" y="623"/>
                  <a:pt x="3596" y="632"/>
                </a:cubicBezTo>
                <a:cubicBezTo>
                  <a:pt x="3593" y="634"/>
                  <a:pt x="3589" y="637"/>
                  <a:pt x="3584" y="641"/>
                </a:cubicBezTo>
                <a:cubicBezTo>
                  <a:pt x="3544" y="674"/>
                  <a:pt x="3493" y="705"/>
                  <a:pt x="3430" y="732"/>
                </a:cubicBezTo>
                <a:cubicBezTo>
                  <a:pt x="3370" y="759"/>
                  <a:pt x="3320" y="772"/>
                  <a:pt x="3279" y="772"/>
                </a:cubicBezTo>
                <a:close/>
                <a:moveTo>
                  <a:pt x="3287" y="769"/>
                </a:moveTo>
                <a:cubicBezTo>
                  <a:pt x="3289" y="769"/>
                  <a:pt x="3289" y="769"/>
                  <a:pt x="3289" y="769"/>
                </a:cubicBezTo>
                <a:lnTo>
                  <a:pt x="3289" y="768"/>
                </a:lnTo>
                <a:lnTo>
                  <a:pt x="3286" y="768"/>
                </a:lnTo>
                <a:cubicBezTo>
                  <a:pt x="3283" y="768"/>
                  <a:pt x="3281" y="768"/>
                  <a:pt x="3281" y="769"/>
                </a:cubicBezTo>
                <a:lnTo>
                  <a:pt x="3287" y="769"/>
                </a:lnTo>
                <a:close/>
                <a:moveTo>
                  <a:pt x="3269" y="757"/>
                </a:moveTo>
                <a:cubicBezTo>
                  <a:pt x="3286" y="757"/>
                  <a:pt x="3295" y="757"/>
                  <a:pt x="3297" y="756"/>
                </a:cubicBezTo>
                <a:cubicBezTo>
                  <a:pt x="3298" y="755"/>
                  <a:pt x="3299" y="754"/>
                  <a:pt x="3299" y="754"/>
                </a:cubicBezTo>
                <a:cubicBezTo>
                  <a:pt x="3299" y="753"/>
                  <a:pt x="3299" y="752"/>
                  <a:pt x="3297" y="752"/>
                </a:cubicBezTo>
                <a:lnTo>
                  <a:pt x="3291" y="753"/>
                </a:lnTo>
                <a:cubicBezTo>
                  <a:pt x="3283" y="754"/>
                  <a:pt x="3278" y="754"/>
                  <a:pt x="3274" y="754"/>
                </a:cubicBezTo>
                <a:cubicBezTo>
                  <a:pt x="3268" y="754"/>
                  <a:pt x="3264" y="755"/>
                  <a:pt x="3263" y="756"/>
                </a:cubicBezTo>
                <a:lnTo>
                  <a:pt x="3262" y="756"/>
                </a:lnTo>
                <a:cubicBezTo>
                  <a:pt x="3262" y="757"/>
                  <a:pt x="3264" y="757"/>
                  <a:pt x="3269" y="757"/>
                </a:cubicBezTo>
                <a:close/>
                <a:moveTo>
                  <a:pt x="3256" y="759"/>
                </a:moveTo>
                <a:cubicBezTo>
                  <a:pt x="3257" y="759"/>
                  <a:pt x="3258" y="759"/>
                  <a:pt x="3258" y="758"/>
                </a:cubicBezTo>
                <a:lnTo>
                  <a:pt x="3258" y="758"/>
                </a:lnTo>
                <a:cubicBezTo>
                  <a:pt x="3257" y="757"/>
                  <a:pt x="3254" y="756"/>
                  <a:pt x="3249" y="755"/>
                </a:cubicBezTo>
                <a:lnTo>
                  <a:pt x="3244" y="755"/>
                </a:lnTo>
                <a:cubicBezTo>
                  <a:pt x="3244" y="755"/>
                  <a:pt x="3244" y="755"/>
                  <a:pt x="3244" y="755"/>
                </a:cubicBezTo>
                <a:cubicBezTo>
                  <a:pt x="3244" y="756"/>
                  <a:pt x="3244" y="756"/>
                  <a:pt x="3245" y="757"/>
                </a:cubicBezTo>
                <a:cubicBezTo>
                  <a:pt x="3246" y="757"/>
                  <a:pt x="3248" y="758"/>
                  <a:pt x="3250" y="758"/>
                </a:cubicBezTo>
                <a:cubicBezTo>
                  <a:pt x="3253" y="759"/>
                  <a:pt x="3254" y="759"/>
                  <a:pt x="3256" y="759"/>
                </a:cubicBezTo>
                <a:close/>
                <a:moveTo>
                  <a:pt x="3349" y="448"/>
                </a:moveTo>
                <a:lnTo>
                  <a:pt x="3352" y="448"/>
                </a:lnTo>
                <a:cubicBezTo>
                  <a:pt x="3354" y="447"/>
                  <a:pt x="3355" y="446"/>
                  <a:pt x="3355" y="445"/>
                </a:cubicBezTo>
                <a:lnTo>
                  <a:pt x="3354" y="445"/>
                </a:lnTo>
                <a:cubicBezTo>
                  <a:pt x="3353" y="445"/>
                  <a:pt x="3352" y="446"/>
                  <a:pt x="3351" y="446"/>
                </a:cubicBezTo>
                <a:cubicBezTo>
                  <a:pt x="3350" y="447"/>
                  <a:pt x="3349" y="448"/>
                  <a:pt x="3349" y="448"/>
                </a:cubicBezTo>
                <a:close/>
                <a:moveTo>
                  <a:pt x="3283" y="483"/>
                </a:moveTo>
                <a:cubicBezTo>
                  <a:pt x="3285" y="483"/>
                  <a:pt x="3287" y="482"/>
                  <a:pt x="3289" y="479"/>
                </a:cubicBezTo>
                <a:cubicBezTo>
                  <a:pt x="3291" y="476"/>
                  <a:pt x="3293" y="475"/>
                  <a:pt x="3293" y="475"/>
                </a:cubicBezTo>
                <a:lnTo>
                  <a:pt x="3292" y="474"/>
                </a:lnTo>
                <a:cubicBezTo>
                  <a:pt x="3292" y="474"/>
                  <a:pt x="3291" y="475"/>
                  <a:pt x="3290" y="475"/>
                </a:cubicBezTo>
                <a:cubicBezTo>
                  <a:pt x="3289" y="476"/>
                  <a:pt x="3287" y="478"/>
                  <a:pt x="3286" y="479"/>
                </a:cubicBezTo>
                <a:cubicBezTo>
                  <a:pt x="3284" y="481"/>
                  <a:pt x="3283" y="482"/>
                  <a:pt x="3283" y="483"/>
                </a:cubicBezTo>
                <a:cubicBezTo>
                  <a:pt x="3283" y="483"/>
                  <a:pt x="3283" y="483"/>
                  <a:pt x="3283" y="483"/>
                </a:cubicBezTo>
                <a:close/>
                <a:moveTo>
                  <a:pt x="3315" y="456"/>
                </a:moveTo>
                <a:cubicBezTo>
                  <a:pt x="3315" y="456"/>
                  <a:pt x="3317" y="455"/>
                  <a:pt x="3320" y="451"/>
                </a:cubicBezTo>
                <a:cubicBezTo>
                  <a:pt x="3322" y="449"/>
                  <a:pt x="3323" y="447"/>
                  <a:pt x="3323" y="447"/>
                </a:cubicBezTo>
                <a:cubicBezTo>
                  <a:pt x="3322" y="447"/>
                  <a:pt x="3321" y="448"/>
                  <a:pt x="3318" y="451"/>
                </a:cubicBezTo>
                <a:cubicBezTo>
                  <a:pt x="3316" y="454"/>
                  <a:pt x="3315" y="456"/>
                  <a:pt x="3315" y="456"/>
                </a:cubicBezTo>
                <a:close/>
                <a:moveTo>
                  <a:pt x="3425" y="339"/>
                </a:moveTo>
                <a:cubicBezTo>
                  <a:pt x="3426" y="339"/>
                  <a:pt x="3427" y="338"/>
                  <a:pt x="3429" y="334"/>
                </a:cubicBezTo>
                <a:cubicBezTo>
                  <a:pt x="3430" y="332"/>
                  <a:pt x="3431" y="331"/>
                  <a:pt x="3431" y="330"/>
                </a:cubicBezTo>
                <a:lnTo>
                  <a:pt x="3431" y="330"/>
                </a:lnTo>
                <a:lnTo>
                  <a:pt x="3429" y="332"/>
                </a:lnTo>
                <a:cubicBezTo>
                  <a:pt x="3426" y="335"/>
                  <a:pt x="3425" y="337"/>
                  <a:pt x="3425" y="339"/>
                </a:cubicBezTo>
                <a:cubicBezTo>
                  <a:pt x="3425" y="339"/>
                  <a:pt x="3425" y="339"/>
                  <a:pt x="3425" y="339"/>
                </a:cubicBezTo>
                <a:close/>
                <a:moveTo>
                  <a:pt x="3438" y="316"/>
                </a:moveTo>
                <a:cubicBezTo>
                  <a:pt x="3439" y="316"/>
                  <a:pt x="3440" y="316"/>
                  <a:pt x="3441" y="314"/>
                </a:cubicBezTo>
                <a:lnTo>
                  <a:pt x="3441" y="313"/>
                </a:lnTo>
                <a:cubicBezTo>
                  <a:pt x="3441" y="313"/>
                  <a:pt x="3441" y="313"/>
                  <a:pt x="3441" y="313"/>
                </a:cubicBezTo>
                <a:lnTo>
                  <a:pt x="3440" y="313"/>
                </a:lnTo>
                <a:cubicBezTo>
                  <a:pt x="3437" y="314"/>
                  <a:pt x="3436" y="315"/>
                  <a:pt x="3436" y="316"/>
                </a:cubicBezTo>
                <a:cubicBezTo>
                  <a:pt x="3436" y="316"/>
                  <a:pt x="3437" y="316"/>
                  <a:pt x="3438" y="316"/>
                </a:cubicBezTo>
                <a:close/>
                <a:moveTo>
                  <a:pt x="3332" y="204"/>
                </a:moveTo>
                <a:cubicBezTo>
                  <a:pt x="3333" y="204"/>
                  <a:pt x="3335" y="202"/>
                  <a:pt x="3337" y="199"/>
                </a:cubicBezTo>
                <a:cubicBezTo>
                  <a:pt x="3339" y="197"/>
                  <a:pt x="3340" y="195"/>
                  <a:pt x="3340" y="195"/>
                </a:cubicBezTo>
                <a:cubicBezTo>
                  <a:pt x="3340" y="195"/>
                  <a:pt x="3338" y="195"/>
                  <a:pt x="3336" y="197"/>
                </a:cubicBezTo>
                <a:cubicBezTo>
                  <a:pt x="3333" y="198"/>
                  <a:pt x="3332" y="200"/>
                  <a:pt x="3332" y="202"/>
                </a:cubicBezTo>
                <a:cubicBezTo>
                  <a:pt x="3332" y="203"/>
                  <a:pt x="3332" y="204"/>
                  <a:pt x="3332" y="204"/>
                </a:cubicBezTo>
                <a:close/>
                <a:moveTo>
                  <a:pt x="3293" y="249"/>
                </a:moveTo>
                <a:cubicBezTo>
                  <a:pt x="3294" y="249"/>
                  <a:pt x="3294" y="248"/>
                  <a:pt x="3294" y="246"/>
                </a:cubicBezTo>
                <a:cubicBezTo>
                  <a:pt x="3294" y="245"/>
                  <a:pt x="3294" y="244"/>
                  <a:pt x="3293" y="244"/>
                </a:cubicBezTo>
                <a:lnTo>
                  <a:pt x="3292" y="244"/>
                </a:lnTo>
                <a:cubicBezTo>
                  <a:pt x="3291" y="245"/>
                  <a:pt x="3291" y="245"/>
                  <a:pt x="3291" y="246"/>
                </a:cubicBezTo>
                <a:cubicBezTo>
                  <a:pt x="3291" y="247"/>
                  <a:pt x="3291" y="247"/>
                  <a:pt x="3292" y="248"/>
                </a:cubicBezTo>
                <a:cubicBezTo>
                  <a:pt x="3293" y="249"/>
                  <a:pt x="3293" y="249"/>
                  <a:pt x="3293" y="249"/>
                </a:cubicBezTo>
                <a:close/>
                <a:moveTo>
                  <a:pt x="3228" y="509"/>
                </a:moveTo>
                <a:cubicBezTo>
                  <a:pt x="3231" y="509"/>
                  <a:pt x="3236" y="507"/>
                  <a:pt x="3242" y="504"/>
                </a:cubicBezTo>
                <a:cubicBezTo>
                  <a:pt x="3245" y="502"/>
                  <a:pt x="3248" y="501"/>
                  <a:pt x="3251" y="499"/>
                </a:cubicBezTo>
                <a:cubicBezTo>
                  <a:pt x="3253" y="498"/>
                  <a:pt x="3255" y="496"/>
                  <a:pt x="3256" y="495"/>
                </a:cubicBezTo>
                <a:cubicBezTo>
                  <a:pt x="3258" y="494"/>
                  <a:pt x="3259" y="493"/>
                  <a:pt x="3259" y="493"/>
                </a:cubicBezTo>
                <a:cubicBezTo>
                  <a:pt x="3260" y="493"/>
                  <a:pt x="3261" y="494"/>
                  <a:pt x="3261" y="495"/>
                </a:cubicBezTo>
                <a:cubicBezTo>
                  <a:pt x="3261" y="496"/>
                  <a:pt x="3259" y="498"/>
                  <a:pt x="3254" y="500"/>
                </a:cubicBezTo>
                <a:cubicBezTo>
                  <a:pt x="3250" y="502"/>
                  <a:pt x="3248" y="504"/>
                  <a:pt x="3248" y="506"/>
                </a:cubicBezTo>
                <a:lnTo>
                  <a:pt x="3248" y="506"/>
                </a:lnTo>
                <a:cubicBezTo>
                  <a:pt x="3250" y="506"/>
                  <a:pt x="3254" y="504"/>
                  <a:pt x="3259" y="501"/>
                </a:cubicBezTo>
                <a:cubicBezTo>
                  <a:pt x="3272" y="493"/>
                  <a:pt x="3279" y="488"/>
                  <a:pt x="3279" y="486"/>
                </a:cubicBezTo>
                <a:cubicBezTo>
                  <a:pt x="3279" y="486"/>
                  <a:pt x="3278" y="486"/>
                  <a:pt x="3278" y="486"/>
                </a:cubicBezTo>
                <a:cubicBezTo>
                  <a:pt x="3277" y="486"/>
                  <a:pt x="3275" y="487"/>
                  <a:pt x="3274" y="488"/>
                </a:cubicBezTo>
                <a:cubicBezTo>
                  <a:pt x="3272" y="490"/>
                  <a:pt x="3271" y="492"/>
                  <a:pt x="3269" y="492"/>
                </a:cubicBezTo>
                <a:cubicBezTo>
                  <a:pt x="3267" y="493"/>
                  <a:pt x="3265" y="494"/>
                  <a:pt x="3264" y="494"/>
                </a:cubicBezTo>
                <a:cubicBezTo>
                  <a:pt x="3263" y="494"/>
                  <a:pt x="3262" y="494"/>
                  <a:pt x="3262" y="493"/>
                </a:cubicBezTo>
                <a:cubicBezTo>
                  <a:pt x="3262" y="492"/>
                  <a:pt x="3268" y="487"/>
                  <a:pt x="3278" y="478"/>
                </a:cubicBezTo>
                <a:cubicBezTo>
                  <a:pt x="3289" y="470"/>
                  <a:pt x="3295" y="465"/>
                  <a:pt x="3297" y="465"/>
                </a:cubicBezTo>
                <a:cubicBezTo>
                  <a:pt x="3298" y="465"/>
                  <a:pt x="3306" y="458"/>
                  <a:pt x="3321" y="442"/>
                </a:cubicBezTo>
                <a:cubicBezTo>
                  <a:pt x="3328" y="433"/>
                  <a:pt x="3335" y="426"/>
                  <a:pt x="3341" y="419"/>
                </a:cubicBezTo>
                <a:cubicBezTo>
                  <a:pt x="3346" y="412"/>
                  <a:pt x="3350" y="408"/>
                  <a:pt x="3350" y="407"/>
                </a:cubicBezTo>
                <a:cubicBezTo>
                  <a:pt x="3352" y="404"/>
                  <a:pt x="3353" y="402"/>
                  <a:pt x="3354" y="400"/>
                </a:cubicBezTo>
                <a:cubicBezTo>
                  <a:pt x="3355" y="398"/>
                  <a:pt x="3356" y="397"/>
                  <a:pt x="3357" y="397"/>
                </a:cubicBezTo>
                <a:lnTo>
                  <a:pt x="3359" y="399"/>
                </a:lnTo>
                <a:cubicBezTo>
                  <a:pt x="3359" y="399"/>
                  <a:pt x="3360" y="398"/>
                  <a:pt x="3360" y="398"/>
                </a:cubicBezTo>
                <a:lnTo>
                  <a:pt x="3358" y="396"/>
                </a:lnTo>
                <a:cubicBezTo>
                  <a:pt x="3358" y="394"/>
                  <a:pt x="3360" y="392"/>
                  <a:pt x="3364" y="389"/>
                </a:cubicBezTo>
                <a:cubicBezTo>
                  <a:pt x="3367" y="385"/>
                  <a:pt x="3369" y="383"/>
                  <a:pt x="3369" y="381"/>
                </a:cubicBezTo>
                <a:cubicBezTo>
                  <a:pt x="3369" y="380"/>
                  <a:pt x="3370" y="377"/>
                  <a:pt x="3373" y="374"/>
                </a:cubicBezTo>
                <a:cubicBezTo>
                  <a:pt x="3376" y="372"/>
                  <a:pt x="3378" y="369"/>
                  <a:pt x="3381" y="364"/>
                </a:cubicBezTo>
                <a:cubicBezTo>
                  <a:pt x="3383" y="360"/>
                  <a:pt x="3384" y="359"/>
                  <a:pt x="3385" y="359"/>
                </a:cubicBezTo>
                <a:lnTo>
                  <a:pt x="3388" y="360"/>
                </a:lnTo>
                <a:lnTo>
                  <a:pt x="3388" y="357"/>
                </a:lnTo>
                <a:cubicBezTo>
                  <a:pt x="3388" y="355"/>
                  <a:pt x="3390" y="352"/>
                  <a:pt x="3393" y="347"/>
                </a:cubicBezTo>
                <a:cubicBezTo>
                  <a:pt x="3397" y="340"/>
                  <a:pt x="3400" y="335"/>
                  <a:pt x="3401" y="332"/>
                </a:cubicBezTo>
                <a:cubicBezTo>
                  <a:pt x="3403" y="327"/>
                  <a:pt x="3405" y="325"/>
                  <a:pt x="3405" y="325"/>
                </a:cubicBezTo>
                <a:cubicBezTo>
                  <a:pt x="3406" y="325"/>
                  <a:pt x="3407" y="325"/>
                  <a:pt x="3407" y="324"/>
                </a:cubicBezTo>
                <a:lnTo>
                  <a:pt x="3407" y="323"/>
                </a:lnTo>
                <a:cubicBezTo>
                  <a:pt x="3407" y="321"/>
                  <a:pt x="3408" y="318"/>
                  <a:pt x="3411" y="316"/>
                </a:cubicBezTo>
                <a:cubicBezTo>
                  <a:pt x="3414" y="313"/>
                  <a:pt x="3415" y="311"/>
                  <a:pt x="3415" y="308"/>
                </a:cubicBezTo>
                <a:lnTo>
                  <a:pt x="3415" y="306"/>
                </a:lnTo>
                <a:cubicBezTo>
                  <a:pt x="3415" y="306"/>
                  <a:pt x="3415" y="305"/>
                  <a:pt x="3417" y="305"/>
                </a:cubicBezTo>
                <a:cubicBezTo>
                  <a:pt x="3418" y="304"/>
                  <a:pt x="3419" y="303"/>
                  <a:pt x="3420" y="301"/>
                </a:cubicBezTo>
                <a:cubicBezTo>
                  <a:pt x="3421" y="299"/>
                  <a:pt x="3422" y="296"/>
                  <a:pt x="3424" y="294"/>
                </a:cubicBezTo>
                <a:cubicBezTo>
                  <a:pt x="3426" y="291"/>
                  <a:pt x="3427" y="288"/>
                  <a:pt x="3428" y="285"/>
                </a:cubicBezTo>
                <a:cubicBezTo>
                  <a:pt x="3428" y="282"/>
                  <a:pt x="3430" y="279"/>
                  <a:pt x="3432" y="277"/>
                </a:cubicBezTo>
                <a:cubicBezTo>
                  <a:pt x="3434" y="275"/>
                  <a:pt x="3435" y="272"/>
                  <a:pt x="3435" y="270"/>
                </a:cubicBezTo>
                <a:lnTo>
                  <a:pt x="3435" y="267"/>
                </a:lnTo>
                <a:cubicBezTo>
                  <a:pt x="3435" y="267"/>
                  <a:pt x="3435" y="267"/>
                  <a:pt x="3435" y="267"/>
                </a:cubicBezTo>
                <a:lnTo>
                  <a:pt x="3437" y="267"/>
                </a:lnTo>
                <a:cubicBezTo>
                  <a:pt x="3437" y="267"/>
                  <a:pt x="3438" y="267"/>
                  <a:pt x="3438" y="265"/>
                </a:cubicBezTo>
                <a:cubicBezTo>
                  <a:pt x="3439" y="264"/>
                  <a:pt x="3439" y="263"/>
                  <a:pt x="3439" y="262"/>
                </a:cubicBezTo>
                <a:cubicBezTo>
                  <a:pt x="3439" y="261"/>
                  <a:pt x="3439" y="260"/>
                  <a:pt x="3439" y="259"/>
                </a:cubicBezTo>
                <a:cubicBezTo>
                  <a:pt x="3439" y="259"/>
                  <a:pt x="3439" y="258"/>
                  <a:pt x="3440" y="257"/>
                </a:cubicBezTo>
                <a:cubicBezTo>
                  <a:pt x="3441" y="255"/>
                  <a:pt x="3442" y="254"/>
                  <a:pt x="3442" y="253"/>
                </a:cubicBezTo>
                <a:cubicBezTo>
                  <a:pt x="3443" y="252"/>
                  <a:pt x="3444" y="251"/>
                  <a:pt x="3444" y="249"/>
                </a:cubicBezTo>
                <a:cubicBezTo>
                  <a:pt x="3444" y="249"/>
                  <a:pt x="3444" y="248"/>
                  <a:pt x="3444" y="247"/>
                </a:cubicBezTo>
                <a:cubicBezTo>
                  <a:pt x="3443" y="247"/>
                  <a:pt x="3443" y="246"/>
                  <a:pt x="3443" y="246"/>
                </a:cubicBezTo>
                <a:cubicBezTo>
                  <a:pt x="3443" y="245"/>
                  <a:pt x="3443" y="245"/>
                  <a:pt x="3443" y="245"/>
                </a:cubicBezTo>
                <a:lnTo>
                  <a:pt x="3446" y="246"/>
                </a:lnTo>
                <a:cubicBezTo>
                  <a:pt x="3446" y="246"/>
                  <a:pt x="3447" y="245"/>
                  <a:pt x="3447" y="243"/>
                </a:cubicBezTo>
                <a:cubicBezTo>
                  <a:pt x="3447" y="242"/>
                  <a:pt x="3447" y="240"/>
                  <a:pt x="3448" y="239"/>
                </a:cubicBezTo>
                <a:cubicBezTo>
                  <a:pt x="3448" y="237"/>
                  <a:pt x="3449" y="236"/>
                  <a:pt x="3450" y="234"/>
                </a:cubicBezTo>
                <a:cubicBezTo>
                  <a:pt x="3453" y="223"/>
                  <a:pt x="3456" y="212"/>
                  <a:pt x="3459" y="200"/>
                </a:cubicBezTo>
                <a:cubicBezTo>
                  <a:pt x="3461" y="188"/>
                  <a:pt x="3462" y="177"/>
                  <a:pt x="3462" y="168"/>
                </a:cubicBezTo>
                <a:cubicBezTo>
                  <a:pt x="3462" y="164"/>
                  <a:pt x="3462" y="160"/>
                  <a:pt x="3461" y="157"/>
                </a:cubicBezTo>
                <a:cubicBezTo>
                  <a:pt x="3460" y="154"/>
                  <a:pt x="3460" y="152"/>
                  <a:pt x="3459" y="151"/>
                </a:cubicBezTo>
                <a:cubicBezTo>
                  <a:pt x="3459" y="149"/>
                  <a:pt x="3458" y="149"/>
                  <a:pt x="3456" y="149"/>
                </a:cubicBezTo>
                <a:cubicBezTo>
                  <a:pt x="3452" y="149"/>
                  <a:pt x="3447" y="151"/>
                  <a:pt x="3440" y="154"/>
                </a:cubicBezTo>
                <a:cubicBezTo>
                  <a:pt x="3427" y="160"/>
                  <a:pt x="3420" y="164"/>
                  <a:pt x="3420" y="167"/>
                </a:cubicBezTo>
                <a:cubicBezTo>
                  <a:pt x="3420" y="168"/>
                  <a:pt x="3420" y="169"/>
                  <a:pt x="3419" y="169"/>
                </a:cubicBezTo>
                <a:lnTo>
                  <a:pt x="3417" y="167"/>
                </a:lnTo>
                <a:cubicBezTo>
                  <a:pt x="3416" y="167"/>
                  <a:pt x="3414" y="168"/>
                  <a:pt x="3413" y="169"/>
                </a:cubicBezTo>
                <a:cubicBezTo>
                  <a:pt x="3412" y="171"/>
                  <a:pt x="3411" y="172"/>
                  <a:pt x="3411" y="173"/>
                </a:cubicBezTo>
                <a:lnTo>
                  <a:pt x="3411" y="175"/>
                </a:lnTo>
                <a:cubicBezTo>
                  <a:pt x="3411" y="175"/>
                  <a:pt x="3411" y="176"/>
                  <a:pt x="3411" y="176"/>
                </a:cubicBezTo>
                <a:lnTo>
                  <a:pt x="3409" y="175"/>
                </a:lnTo>
                <a:cubicBezTo>
                  <a:pt x="3407" y="175"/>
                  <a:pt x="3400" y="180"/>
                  <a:pt x="3388" y="190"/>
                </a:cubicBezTo>
                <a:cubicBezTo>
                  <a:pt x="3377" y="201"/>
                  <a:pt x="3370" y="207"/>
                  <a:pt x="3368" y="210"/>
                </a:cubicBezTo>
                <a:cubicBezTo>
                  <a:pt x="3366" y="214"/>
                  <a:pt x="3363" y="218"/>
                  <a:pt x="3358" y="223"/>
                </a:cubicBezTo>
                <a:cubicBezTo>
                  <a:pt x="3347" y="236"/>
                  <a:pt x="3340" y="243"/>
                  <a:pt x="3338" y="243"/>
                </a:cubicBezTo>
                <a:cubicBezTo>
                  <a:pt x="3337" y="243"/>
                  <a:pt x="3337" y="242"/>
                  <a:pt x="3337" y="242"/>
                </a:cubicBezTo>
                <a:cubicBezTo>
                  <a:pt x="3337" y="241"/>
                  <a:pt x="3339" y="239"/>
                  <a:pt x="3342" y="236"/>
                </a:cubicBezTo>
                <a:cubicBezTo>
                  <a:pt x="3345" y="234"/>
                  <a:pt x="3347" y="232"/>
                  <a:pt x="3347" y="230"/>
                </a:cubicBezTo>
                <a:cubicBezTo>
                  <a:pt x="3347" y="228"/>
                  <a:pt x="3348" y="226"/>
                  <a:pt x="3352" y="223"/>
                </a:cubicBezTo>
                <a:cubicBezTo>
                  <a:pt x="3353" y="221"/>
                  <a:pt x="3355" y="219"/>
                  <a:pt x="3357" y="216"/>
                </a:cubicBezTo>
                <a:cubicBezTo>
                  <a:pt x="3359" y="214"/>
                  <a:pt x="3360" y="212"/>
                  <a:pt x="3360" y="211"/>
                </a:cubicBezTo>
                <a:cubicBezTo>
                  <a:pt x="3360" y="211"/>
                  <a:pt x="3359" y="210"/>
                  <a:pt x="3359" y="210"/>
                </a:cubicBezTo>
                <a:cubicBezTo>
                  <a:pt x="3359" y="210"/>
                  <a:pt x="3357" y="213"/>
                  <a:pt x="3353" y="218"/>
                </a:cubicBezTo>
                <a:cubicBezTo>
                  <a:pt x="3348" y="223"/>
                  <a:pt x="3344" y="228"/>
                  <a:pt x="3339" y="235"/>
                </a:cubicBezTo>
                <a:cubicBezTo>
                  <a:pt x="3334" y="241"/>
                  <a:pt x="3329" y="247"/>
                  <a:pt x="3325" y="252"/>
                </a:cubicBezTo>
                <a:cubicBezTo>
                  <a:pt x="3321" y="257"/>
                  <a:pt x="3319" y="260"/>
                  <a:pt x="3319" y="261"/>
                </a:cubicBezTo>
                <a:cubicBezTo>
                  <a:pt x="3319" y="261"/>
                  <a:pt x="3319" y="262"/>
                  <a:pt x="3319" y="262"/>
                </a:cubicBezTo>
                <a:cubicBezTo>
                  <a:pt x="3319" y="262"/>
                  <a:pt x="3319" y="262"/>
                  <a:pt x="3319" y="262"/>
                </a:cubicBezTo>
                <a:cubicBezTo>
                  <a:pt x="3320" y="262"/>
                  <a:pt x="3321" y="262"/>
                  <a:pt x="3323" y="261"/>
                </a:cubicBezTo>
                <a:cubicBezTo>
                  <a:pt x="3325" y="259"/>
                  <a:pt x="3327" y="259"/>
                  <a:pt x="3327" y="259"/>
                </a:cubicBezTo>
                <a:lnTo>
                  <a:pt x="3327" y="259"/>
                </a:lnTo>
                <a:cubicBezTo>
                  <a:pt x="3327" y="260"/>
                  <a:pt x="3326" y="261"/>
                  <a:pt x="3325" y="262"/>
                </a:cubicBezTo>
                <a:cubicBezTo>
                  <a:pt x="3323" y="264"/>
                  <a:pt x="3322" y="265"/>
                  <a:pt x="3320" y="265"/>
                </a:cubicBezTo>
                <a:lnTo>
                  <a:pt x="3318" y="264"/>
                </a:lnTo>
                <a:cubicBezTo>
                  <a:pt x="3316" y="264"/>
                  <a:pt x="3315" y="265"/>
                  <a:pt x="3314" y="267"/>
                </a:cubicBezTo>
                <a:cubicBezTo>
                  <a:pt x="3313" y="268"/>
                  <a:pt x="3313" y="269"/>
                  <a:pt x="3313" y="271"/>
                </a:cubicBezTo>
                <a:cubicBezTo>
                  <a:pt x="3313" y="271"/>
                  <a:pt x="3313" y="272"/>
                  <a:pt x="3313" y="273"/>
                </a:cubicBezTo>
                <a:lnTo>
                  <a:pt x="3314" y="274"/>
                </a:lnTo>
                <a:cubicBezTo>
                  <a:pt x="3314" y="274"/>
                  <a:pt x="3313" y="274"/>
                  <a:pt x="3313" y="274"/>
                </a:cubicBezTo>
                <a:lnTo>
                  <a:pt x="3312" y="274"/>
                </a:lnTo>
                <a:cubicBezTo>
                  <a:pt x="3311" y="274"/>
                  <a:pt x="3307" y="278"/>
                  <a:pt x="3301" y="287"/>
                </a:cubicBezTo>
                <a:cubicBezTo>
                  <a:pt x="3295" y="295"/>
                  <a:pt x="3291" y="300"/>
                  <a:pt x="3291" y="302"/>
                </a:cubicBezTo>
                <a:lnTo>
                  <a:pt x="3291" y="302"/>
                </a:lnTo>
                <a:cubicBezTo>
                  <a:pt x="3291" y="303"/>
                  <a:pt x="3290" y="305"/>
                  <a:pt x="3288" y="308"/>
                </a:cubicBezTo>
                <a:cubicBezTo>
                  <a:pt x="3285" y="310"/>
                  <a:pt x="3284" y="313"/>
                  <a:pt x="3284" y="315"/>
                </a:cubicBezTo>
                <a:cubicBezTo>
                  <a:pt x="3284" y="317"/>
                  <a:pt x="3283" y="318"/>
                  <a:pt x="3281" y="319"/>
                </a:cubicBezTo>
                <a:cubicBezTo>
                  <a:pt x="3279" y="320"/>
                  <a:pt x="3278" y="321"/>
                  <a:pt x="3278" y="322"/>
                </a:cubicBezTo>
                <a:lnTo>
                  <a:pt x="3279" y="324"/>
                </a:lnTo>
                <a:cubicBezTo>
                  <a:pt x="3279" y="325"/>
                  <a:pt x="3278" y="327"/>
                  <a:pt x="3275" y="329"/>
                </a:cubicBezTo>
                <a:cubicBezTo>
                  <a:pt x="3272" y="333"/>
                  <a:pt x="3271" y="335"/>
                  <a:pt x="3271" y="336"/>
                </a:cubicBezTo>
                <a:cubicBezTo>
                  <a:pt x="3271" y="337"/>
                  <a:pt x="3266" y="346"/>
                  <a:pt x="3258" y="362"/>
                </a:cubicBezTo>
                <a:cubicBezTo>
                  <a:pt x="3249" y="378"/>
                  <a:pt x="3244" y="386"/>
                  <a:pt x="3243" y="387"/>
                </a:cubicBezTo>
                <a:cubicBezTo>
                  <a:pt x="3242" y="387"/>
                  <a:pt x="3241" y="388"/>
                  <a:pt x="3241" y="388"/>
                </a:cubicBezTo>
                <a:lnTo>
                  <a:pt x="3242" y="390"/>
                </a:lnTo>
                <a:cubicBezTo>
                  <a:pt x="3242" y="391"/>
                  <a:pt x="3241" y="392"/>
                  <a:pt x="3241" y="392"/>
                </a:cubicBezTo>
                <a:cubicBezTo>
                  <a:pt x="3240" y="392"/>
                  <a:pt x="3239" y="392"/>
                  <a:pt x="3239" y="393"/>
                </a:cubicBezTo>
                <a:lnTo>
                  <a:pt x="3240" y="395"/>
                </a:lnTo>
                <a:cubicBezTo>
                  <a:pt x="3240" y="396"/>
                  <a:pt x="3239" y="397"/>
                  <a:pt x="3238" y="397"/>
                </a:cubicBezTo>
                <a:cubicBezTo>
                  <a:pt x="3238" y="397"/>
                  <a:pt x="3237" y="397"/>
                  <a:pt x="3237" y="397"/>
                </a:cubicBezTo>
                <a:lnTo>
                  <a:pt x="3238" y="399"/>
                </a:lnTo>
                <a:cubicBezTo>
                  <a:pt x="3238" y="400"/>
                  <a:pt x="3237" y="401"/>
                  <a:pt x="3236" y="401"/>
                </a:cubicBezTo>
                <a:cubicBezTo>
                  <a:pt x="3235" y="401"/>
                  <a:pt x="3234" y="401"/>
                  <a:pt x="3234" y="402"/>
                </a:cubicBezTo>
                <a:lnTo>
                  <a:pt x="3235" y="403"/>
                </a:lnTo>
                <a:cubicBezTo>
                  <a:pt x="3235" y="405"/>
                  <a:pt x="3234" y="409"/>
                  <a:pt x="3231" y="414"/>
                </a:cubicBezTo>
                <a:cubicBezTo>
                  <a:pt x="3228" y="420"/>
                  <a:pt x="3226" y="424"/>
                  <a:pt x="3226" y="427"/>
                </a:cubicBezTo>
                <a:cubicBezTo>
                  <a:pt x="3226" y="429"/>
                  <a:pt x="3227" y="430"/>
                  <a:pt x="3229" y="430"/>
                </a:cubicBezTo>
                <a:cubicBezTo>
                  <a:pt x="3230" y="430"/>
                  <a:pt x="3230" y="429"/>
                  <a:pt x="3230" y="427"/>
                </a:cubicBezTo>
                <a:lnTo>
                  <a:pt x="3230" y="422"/>
                </a:lnTo>
                <a:lnTo>
                  <a:pt x="3231" y="422"/>
                </a:lnTo>
                <a:cubicBezTo>
                  <a:pt x="3232" y="422"/>
                  <a:pt x="3233" y="422"/>
                  <a:pt x="3234" y="420"/>
                </a:cubicBezTo>
                <a:cubicBezTo>
                  <a:pt x="3235" y="419"/>
                  <a:pt x="3236" y="418"/>
                  <a:pt x="3236" y="416"/>
                </a:cubicBezTo>
                <a:cubicBezTo>
                  <a:pt x="3237" y="414"/>
                  <a:pt x="3238" y="413"/>
                  <a:pt x="3238" y="411"/>
                </a:cubicBezTo>
                <a:lnTo>
                  <a:pt x="3236" y="409"/>
                </a:lnTo>
                <a:lnTo>
                  <a:pt x="3237" y="408"/>
                </a:lnTo>
                <a:lnTo>
                  <a:pt x="3239" y="409"/>
                </a:lnTo>
                <a:cubicBezTo>
                  <a:pt x="3240" y="409"/>
                  <a:pt x="3240" y="408"/>
                  <a:pt x="3241" y="406"/>
                </a:cubicBezTo>
                <a:cubicBezTo>
                  <a:pt x="3241" y="405"/>
                  <a:pt x="3241" y="404"/>
                  <a:pt x="3241" y="404"/>
                </a:cubicBezTo>
                <a:cubicBezTo>
                  <a:pt x="3241" y="404"/>
                  <a:pt x="3242" y="404"/>
                  <a:pt x="3242" y="405"/>
                </a:cubicBezTo>
                <a:cubicBezTo>
                  <a:pt x="3242" y="407"/>
                  <a:pt x="3240" y="412"/>
                  <a:pt x="3238" y="418"/>
                </a:cubicBezTo>
                <a:cubicBezTo>
                  <a:pt x="3234" y="425"/>
                  <a:pt x="3233" y="430"/>
                  <a:pt x="3233" y="434"/>
                </a:cubicBezTo>
                <a:lnTo>
                  <a:pt x="3234" y="439"/>
                </a:lnTo>
                <a:cubicBezTo>
                  <a:pt x="3234" y="439"/>
                  <a:pt x="3233" y="439"/>
                  <a:pt x="3233" y="439"/>
                </a:cubicBezTo>
                <a:lnTo>
                  <a:pt x="3230" y="438"/>
                </a:lnTo>
                <a:cubicBezTo>
                  <a:pt x="3230" y="438"/>
                  <a:pt x="3230" y="438"/>
                  <a:pt x="3230" y="439"/>
                </a:cubicBezTo>
                <a:lnTo>
                  <a:pt x="3231" y="443"/>
                </a:lnTo>
                <a:cubicBezTo>
                  <a:pt x="3231" y="444"/>
                  <a:pt x="3230" y="445"/>
                  <a:pt x="3229" y="446"/>
                </a:cubicBezTo>
                <a:cubicBezTo>
                  <a:pt x="3227" y="447"/>
                  <a:pt x="3226" y="448"/>
                  <a:pt x="3226" y="448"/>
                </a:cubicBezTo>
                <a:lnTo>
                  <a:pt x="3226" y="451"/>
                </a:lnTo>
                <a:cubicBezTo>
                  <a:pt x="3226" y="451"/>
                  <a:pt x="3226" y="451"/>
                  <a:pt x="3225" y="451"/>
                </a:cubicBezTo>
                <a:cubicBezTo>
                  <a:pt x="3224" y="451"/>
                  <a:pt x="3224" y="452"/>
                  <a:pt x="3224" y="453"/>
                </a:cubicBezTo>
                <a:lnTo>
                  <a:pt x="3224" y="453"/>
                </a:lnTo>
                <a:cubicBezTo>
                  <a:pt x="3224" y="455"/>
                  <a:pt x="3224" y="456"/>
                  <a:pt x="3223" y="456"/>
                </a:cubicBezTo>
                <a:cubicBezTo>
                  <a:pt x="3223" y="456"/>
                  <a:pt x="3223" y="457"/>
                  <a:pt x="3223" y="458"/>
                </a:cubicBezTo>
                <a:cubicBezTo>
                  <a:pt x="3223" y="460"/>
                  <a:pt x="3222" y="462"/>
                  <a:pt x="3222" y="464"/>
                </a:cubicBezTo>
                <a:cubicBezTo>
                  <a:pt x="3221" y="469"/>
                  <a:pt x="3220" y="473"/>
                  <a:pt x="3218" y="477"/>
                </a:cubicBezTo>
                <a:cubicBezTo>
                  <a:pt x="3216" y="480"/>
                  <a:pt x="3216" y="484"/>
                  <a:pt x="3216" y="487"/>
                </a:cubicBezTo>
                <a:cubicBezTo>
                  <a:pt x="3216" y="494"/>
                  <a:pt x="3217" y="497"/>
                  <a:pt x="3219" y="497"/>
                </a:cubicBezTo>
                <a:cubicBezTo>
                  <a:pt x="3219" y="497"/>
                  <a:pt x="3220" y="497"/>
                  <a:pt x="3221" y="496"/>
                </a:cubicBezTo>
                <a:cubicBezTo>
                  <a:pt x="3221" y="495"/>
                  <a:pt x="3221" y="495"/>
                  <a:pt x="3222" y="495"/>
                </a:cubicBezTo>
                <a:cubicBezTo>
                  <a:pt x="3223" y="495"/>
                  <a:pt x="3224" y="495"/>
                  <a:pt x="3225" y="496"/>
                </a:cubicBezTo>
                <a:cubicBezTo>
                  <a:pt x="3226" y="497"/>
                  <a:pt x="3226" y="498"/>
                  <a:pt x="3226" y="499"/>
                </a:cubicBezTo>
                <a:cubicBezTo>
                  <a:pt x="3226" y="500"/>
                  <a:pt x="3225" y="500"/>
                  <a:pt x="3223" y="500"/>
                </a:cubicBezTo>
                <a:lnTo>
                  <a:pt x="3217" y="500"/>
                </a:lnTo>
                <a:cubicBezTo>
                  <a:pt x="3217" y="500"/>
                  <a:pt x="3217" y="501"/>
                  <a:pt x="3219" y="503"/>
                </a:cubicBezTo>
                <a:cubicBezTo>
                  <a:pt x="3220" y="504"/>
                  <a:pt x="3221" y="505"/>
                  <a:pt x="3223" y="505"/>
                </a:cubicBezTo>
                <a:lnTo>
                  <a:pt x="3224" y="505"/>
                </a:lnTo>
                <a:cubicBezTo>
                  <a:pt x="3225" y="505"/>
                  <a:pt x="3226" y="506"/>
                  <a:pt x="3226" y="507"/>
                </a:cubicBezTo>
                <a:cubicBezTo>
                  <a:pt x="3226" y="508"/>
                  <a:pt x="3226" y="509"/>
                  <a:pt x="3228" y="509"/>
                </a:cubicBezTo>
                <a:close/>
                <a:moveTo>
                  <a:pt x="3203" y="490"/>
                </a:moveTo>
                <a:cubicBezTo>
                  <a:pt x="3204" y="490"/>
                  <a:pt x="3204" y="490"/>
                  <a:pt x="3204" y="488"/>
                </a:cubicBezTo>
                <a:lnTo>
                  <a:pt x="3204" y="486"/>
                </a:lnTo>
                <a:cubicBezTo>
                  <a:pt x="3204" y="484"/>
                  <a:pt x="3204" y="482"/>
                  <a:pt x="3204" y="482"/>
                </a:cubicBezTo>
                <a:lnTo>
                  <a:pt x="3203" y="481"/>
                </a:lnTo>
                <a:cubicBezTo>
                  <a:pt x="3203" y="481"/>
                  <a:pt x="3202" y="482"/>
                  <a:pt x="3202" y="483"/>
                </a:cubicBezTo>
                <a:cubicBezTo>
                  <a:pt x="3201" y="485"/>
                  <a:pt x="3200" y="486"/>
                  <a:pt x="3200" y="487"/>
                </a:cubicBezTo>
                <a:cubicBezTo>
                  <a:pt x="3200" y="489"/>
                  <a:pt x="3201" y="490"/>
                  <a:pt x="3203" y="490"/>
                </a:cubicBezTo>
                <a:close/>
                <a:moveTo>
                  <a:pt x="3206" y="419"/>
                </a:moveTo>
                <a:cubicBezTo>
                  <a:pt x="3207" y="419"/>
                  <a:pt x="3208" y="418"/>
                  <a:pt x="3209" y="416"/>
                </a:cubicBezTo>
                <a:lnTo>
                  <a:pt x="3209" y="414"/>
                </a:lnTo>
                <a:cubicBezTo>
                  <a:pt x="3209" y="414"/>
                  <a:pt x="3209" y="413"/>
                  <a:pt x="3209" y="413"/>
                </a:cubicBezTo>
                <a:lnTo>
                  <a:pt x="3208" y="414"/>
                </a:lnTo>
                <a:cubicBezTo>
                  <a:pt x="3206" y="414"/>
                  <a:pt x="3206" y="416"/>
                  <a:pt x="3206" y="417"/>
                </a:cubicBezTo>
                <a:cubicBezTo>
                  <a:pt x="3206" y="419"/>
                  <a:pt x="3206" y="419"/>
                  <a:pt x="3206" y="419"/>
                </a:cubicBezTo>
                <a:close/>
                <a:moveTo>
                  <a:pt x="3199" y="435"/>
                </a:moveTo>
                <a:cubicBezTo>
                  <a:pt x="3200" y="435"/>
                  <a:pt x="3201" y="433"/>
                  <a:pt x="3202" y="431"/>
                </a:cubicBezTo>
                <a:cubicBezTo>
                  <a:pt x="3204" y="427"/>
                  <a:pt x="3205" y="424"/>
                  <a:pt x="3205" y="423"/>
                </a:cubicBezTo>
                <a:lnTo>
                  <a:pt x="3205" y="422"/>
                </a:lnTo>
                <a:cubicBezTo>
                  <a:pt x="3205" y="422"/>
                  <a:pt x="3204" y="424"/>
                  <a:pt x="3202" y="426"/>
                </a:cubicBezTo>
                <a:cubicBezTo>
                  <a:pt x="3200" y="430"/>
                  <a:pt x="3199" y="433"/>
                  <a:pt x="3199" y="434"/>
                </a:cubicBezTo>
                <a:lnTo>
                  <a:pt x="3199" y="435"/>
                </a:lnTo>
                <a:close/>
                <a:moveTo>
                  <a:pt x="3175" y="511"/>
                </a:moveTo>
                <a:cubicBezTo>
                  <a:pt x="3177" y="511"/>
                  <a:pt x="3177" y="510"/>
                  <a:pt x="3177" y="509"/>
                </a:cubicBezTo>
                <a:cubicBezTo>
                  <a:pt x="3177" y="508"/>
                  <a:pt x="3177" y="507"/>
                  <a:pt x="3177" y="507"/>
                </a:cubicBezTo>
                <a:cubicBezTo>
                  <a:pt x="3175" y="504"/>
                  <a:pt x="3174" y="503"/>
                  <a:pt x="3172" y="503"/>
                </a:cubicBezTo>
                <a:cubicBezTo>
                  <a:pt x="3171" y="503"/>
                  <a:pt x="3170" y="504"/>
                  <a:pt x="3170" y="506"/>
                </a:cubicBezTo>
                <a:cubicBezTo>
                  <a:pt x="3170" y="507"/>
                  <a:pt x="3171" y="508"/>
                  <a:pt x="3172" y="510"/>
                </a:cubicBezTo>
                <a:cubicBezTo>
                  <a:pt x="3173" y="511"/>
                  <a:pt x="3174" y="511"/>
                  <a:pt x="3175" y="511"/>
                </a:cubicBezTo>
                <a:close/>
                <a:moveTo>
                  <a:pt x="3155" y="591"/>
                </a:moveTo>
                <a:cubicBezTo>
                  <a:pt x="3155" y="591"/>
                  <a:pt x="3155" y="590"/>
                  <a:pt x="3155" y="589"/>
                </a:cubicBezTo>
                <a:lnTo>
                  <a:pt x="3155" y="586"/>
                </a:lnTo>
                <a:cubicBezTo>
                  <a:pt x="3155" y="586"/>
                  <a:pt x="3154" y="585"/>
                  <a:pt x="3154" y="585"/>
                </a:cubicBezTo>
                <a:cubicBezTo>
                  <a:pt x="3154" y="585"/>
                  <a:pt x="3154" y="586"/>
                  <a:pt x="3154" y="588"/>
                </a:cubicBezTo>
                <a:cubicBezTo>
                  <a:pt x="3154" y="590"/>
                  <a:pt x="3154" y="591"/>
                  <a:pt x="3155" y="591"/>
                </a:cubicBezTo>
                <a:close/>
                <a:moveTo>
                  <a:pt x="3153" y="602"/>
                </a:moveTo>
                <a:cubicBezTo>
                  <a:pt x="3153" y="601"/>
                  <a:pt x="3154" y="601"/>
                  <a:pt x="3154" y="600"/>
                </a:cubicBezTo>
                <a:lnTo>
                  <a:pt x="3152" y="597"/>
                </a:lnTo>
                <a:cubicBezTo>
                  <a:pt x="3152" y="597"/>
                  <a:pt x="3152" y="598"/>
                  <a:pt x="3152" y="601"/>
                </a:cubicBezTo>
                <a:cubicBezTo>
                  <a:pt x="3152" y="602"/>
                  <a:pt x="3152" y="602"/>
                  <a:pt x="3152" y="602"/>
                </a:cubicBezTo>
                <a:lnTo>
                  <a:pt x="3153" y="602"/>
                </a:lnTo>
                <a:close/>
                <a:moveTo>
                  <a:pt x="3150" y="621"/>
                </a:moveTo>
                <a:cubicBezTo>
                  <a:pt x="3150" y="621"/>
                  <a:pt x="3151" y="620"/>
                  <a:pt x="3151" y="619"/>
                </a:cubicBezTo>
                <a:lnTo>
                  <a:pt x="3151" y="616"/>
                </a:lnTo>
                <a:cubicBezTo>
                  <a:pt x="3150" y="616"/>
                  <a:pt x="3150" y="615"/>
                  <a:pt x="3150" y="615"/>
                </a:cubicBezTo>
                <a:cubicBezTo>
                  <a:pt x="3149" y="615"/>
                  <a:pt x="3149" y="616"/>
                  <a:pt x="3149" y="617"/>
                </a:cubicBezTo>
                <a:cubicBezTo>
                  <a:pt x="3149" y="619"/>
                  <a:pt x="3150" y="621"/>
                  <a:pt x="3150" y="621"/>
                </a:cubicBezTo>
                <a:close/>
                <a:moveTo>
                  <a:pt x="3649" y="540"/>
                </a:moveTo>
                <a:close/>
                <a:moveTo>
                  <a:pt x="3176" y="501"/>
                </a:moveTo>
                <a:cubicBezTo>
                  <a:pt x="3176" y="501"/>
                  <a:pt x="3175" y="501"/>
                  <a:pt x="3175" y="500"/>
                </a:cubicBezTo>
                <a:cubicBezTo>
                  <a:pt x="3175" y="498"/>
                  <a:pt x="3176" y="497"/>
                  <a:pt x="3177" y="496"/>
                </a:cubicBezTo>
                <a:lnTo>
                  <a:pt x="3179" y="495"/>
                </a:lnTo>
                <a:cubicBezTo>
                  <a:pt x="3179" y="495"/>
                  <a:pt x="3179" y="496"/>
                  <a:pt x="3179" y="497"/>
                </a:cubicBezTo>
                <a:cubicBezTo>
                  <a:pt x="3179" y="499"/>
                  <a:pt x="3179" y="500"/>
                  <a:pt x="3177" y="501"/>
                </a:cubicBezTo>
                <a:lnTo>
                  <a:pt x="3176" y="501"/>
                </a:lnTo>
                <a:close/>
                <a:moveTo>
                  <a:pt x="3204" y="408"/>
                </a:moveTo>
                <a:lnTo>
                  <a:pt x="3204" y="408"/>
                </a:lnTo>
                <a:cubicBezTo>
                  <a:pt x="3204" y="407"/>
                  <a:pt x="3204" y="406"/>
                  <a:pt x="3205" y="404"/>
                </a:cubicBezTo>
                <a:cubicBezTo>
                  <a:pt x="3205" y="403"/>
                  <a:pt x="3206" y="402"/>
                  <a:pt x="3207" y="402"/>
                </a:cubicBezTo>
                <a:lnTo>
                  <a:pt x="3207" y="402"/>
                </a:lnTo>
                <a:lnTo>
                  <a:pt x="3208" y="403"/>
                </a:lnTo>
                <a:cubicBezTo>
                  <a:pt x="3208" y="404"/>
                  <a:pt x="3207" y="405"/>
                  <a:pt x="3206" y="406"/>
                </a:cubicBezTo>
                <a:lnTo>
                  <a:pt x="3204" y="408"/>
                </a:lnTo>
                <a:close/>
                <a:moveTo>
                  <a:pt x="3515" y="662"/>
                </a:moveTo>
                <a:cubicBezTo>
                  <a:pt x="3514" y="662"/>
                  <a:pt x="3514" y="662"/>
                  <a:pt x="3514" y="660"/>
                </a:cubicBezTo>
                <a:cubicBezTo>
                  <a:pt x="3514" y="659"/>
                  <a:pt x="3515" y="658"/>
                  <a:pt x="3517" y="658"/>
                </a:cubicBezTo>
                <a:cubicBezTo>
                  <a:pt x="3517" y="658"/>
                  <a:pt x="3517" y="658"/>
                  <a:pt x="3517" y="659"/>
                </a:cubicBezTo>
                <a:cubicBezTo>
                  <a:pt x="3517" y="659"/>
                  <a:pt x="3517" y="660"/>
                  <a:pt x="3517" y="661"/>
                </a:cubicBezTo>
                <a:cubicBezTo>
                  <a:pt x="3516" y="662"/>
                  <a:pt x="3516" y="662"/>
                  <a:pt x="3515" y="662"/>
                </a:cubicBezTo>
                <a:close/>
                <a:moveTo>
                  <a:pt x="3162" y="548"/>
                </a:moveTo>
                <a:cubicBezTo>
                  <a:pt x="3161" y="548"/>
                  <a:pt x="3161" y="547"/>
                  <a:pt x="3160" y="546"/>
                </a:cubicBezTo>
                <a:cubicBezTo>
                  <a:pt x="3159" y="545"/>
                  <a:pt x="3158" y="544"/>
                  <a:pt x="3158" y="544"/>
                </a:cubicBezTo>
                <a:lnTo>
                  <a:pt x="3160" y="544"/>
                </a:lnTo>
                <a:cubicBezTo>
                  <a:pt x="3162" y="544"/>
                  <a:pt x="3162" y="544"/>
                  <a:pt x="3163" y="543"/>
                </a:cubicBezTo>
                <a:cubicBezTo>
                  <a:pt x="3163" y="542"/>
                  <a:pt x="3163" y="541"/>
                  <a:pt x="3164" y="541"/>
                </a:cubicBezTo>
                <a:cubicBezTo>
                  <a:pt x="3164" y="541"/>
                  <a:pt x="3164" y="542"/>
                  <a:pt x="3164" y="544"/>
                </a:cubicBezTo>
                <a:lnTo>
                  <a:pt x="3164" y="544"/>
                </a:lnTo>
                <a:cubicBezTo>
                  <a:pt x="3164" y="546"/>
                  <a:pt x="3164" y="548"/>
                  <a:pt x="3162" y="548"/>
                </a:cubicBezTo>
                <a:close/>
                <a:moveTo>
                  <a:pt x="3160" y="535"/>
                </a:moveTo>
                <a:lnTo>
                  <a:pt x="3159" y="535"/>
                </a:lnTo>
                <a:cubicBezTo>
                  <a:pt x="3159" y="535"/>
                  <a:pt x="3159" y="534"/>
                  <a:pt x="3159" y="534"/>
                </a:cubicBezTo>
                <a:cubicBezTo>
                  <a:pt x="3159" y="532"/>
                  <a:pt x="3159" y="531"/>
                  <a:pt x="3160" y="530"/>
                </a:cubicBezTo>
                <a:cubicBezTo>
                  <a:pt x="3161" y="529"/>
                  <a:pt x="3162" y="527"/>
                  <a:pt x="3162" y="526"/>
                </a:cubicBezTo>
                <a:lnTo>
                  <a:pt x="3161" y="522"/>
                </a:lnTo>
                <a:cubicBezTo>
                  <a:pt x="3161" y="522"/>
                  <a:pt x="3161" y="521"/>
                  <a:pt x="3161" y="521"/>
                </a:cubicBezTo>
                <a:cubicBezTo>
                  <a:pt x="3162" y="521"/>
                  <a:pt x="3162" y="522"/>
                  <a:pt x="3162" y="522"/>
                </a:cubicBezTo>
                <a:cubicBezTo>
                  <a:pt x="3163" y="522"/>
                  <a:pt x="3164" y="523"/>
                  <a:pt x="3164" y="524"/>
                </a:cubicBezTo>
                <a:cubicBezTo>
                  <a:pt x="3164" y="524"/>
                  <a:pt x="3165" y="525"/>
                  <a:pt x="3165" y="527"/>
                </a:cubicBezTo>
                <a:cubicBezTo>
                  <a:pt x="3165" y="528"/>
                  <a:pt x="3165" y="529"/>
                  <a:pt x="3166" y="529"/>
                </a:cubicBezTo>
                <a:lnTo>
                  <a:pt x="3167" y="530"/>
                </a:lnTo>
                <a:lnTo>
                  <a:pt x="3165" y="530"/>
                </a:lnTo>
                <a:cubicBezTo>
                  <a:pt x="3163" y="530"/>
                  <a:pt x="3162" y="531"/>
                  <a:pt x="3162" y="533"/>
                </a:cubicBezTo>
                <a:cubicBezTo>
                  <a:pt x="3162" y="534"/>
                  <a:pt x="3161" y="535"/>
                  <a:pt x="3160" y="535"/>
                </a:cubicBezTo>
                <a:close/>
                <a:moveTo>
                  <a:pt x="3330" y="255"/>
                </a:moveTo>
                <a:cubicBezTo>
                  <a:pt x="3329" y="255"/>
                  <a:pt x="3328" y="254"/>
                  <a:pt x="3328" y="253"/>
                </a:cubicBezTo>
                <a:cubicBezTo>
                  <a:pt x="3328" y="253"/>
                  <a:pt x="3329" y="252"/>
                  <a:pt x="3330" y="251"/>
                </a:cubicBezTo>
                <a:cubicBezTo>
                  <a:pt x="3330" y="250"/>
                  <a:pt x="3331" y="249"/>
                  <a:pt x="3332" y="248"/>
                </a:cubicBezTo>
                <a:cubicBezTo>
                  <a:pt x="3333" y="248"/>
                  <a:pt x="3333" y="247"/>
                  <a:pt x="3334" y="247"/>
                </a:cubicBezTo>
                <a:cubicBezTo>
                  <a:pt x="3335" y="248"/>
                  <a:pt x="3336" y="248"/>
                  <a:pt x="3336" y="249"/>
                </a:cubicBezTo>
                <a:cubicBezTo>
                  <a:pt x="3336" y="250"/>
                  <a:pt x="3335" y="251"/>
                  <a:pt x="3333" y="253"/>
                </a:cubicBezTo>
                <a:cubicBezTo>
                  <a:pt x="3332" y="254"/>
                  <a:pt x="3331" y="255"/>
                  <a:pt x="3330" y="255"/>
                </a:cubicBezTo>
                <a:close/>
                <a:moveTo>
                  <a:pt x="3649" y="541"/>
                </a:moveTo>
                <a:cubicBezTo>
                  <a:pt x="3649" y="541"/>
                  <a:pt x="3649" y="541"/>
                  <a:pt x="3649" y="540"/>
                </a:cubicBezTo>
                <a:cubicBezTo>
                  <a:pt x="3649" y="540"/>
                  <a:pt x="3649" y="539"/>
                  <a:pt x="3650" y="538"/>
                </a:cubicBezTo>
                <a:cubicBezTo>
                  <a:pt x="3651" y="537"/>
                  <a:pt x="3652" y="536"/>
                  <a:pt x="3654" y="535"/>
                </a:cubicBezTo>
                <a:lnTo>
                  <a:pt x="3655" y="534"/>
                </a:lnTo>
                <a:lnTo>
                  <a:pt x="3655" y="534"/>
                </a:lnTo>
                <a:lnTo>
                  <a:pt x="3654" y="537"/>
                </a:lnTo>
                <a:cubicBezTo>
                  <a:pt x="3651" y="540"/>
                  <a:pt x="3650" y="541"/>
                  <a:pt x="3649" y="541"/>
                </a:cubicBezTo>
                <a:close/>
                <a:moveTo>
                  <a:pt x="3342" y="400"/>
                </a:moveTo>
                <a:close/>
                <a:moveTo>
                  <a:pt x="3343" y="401"/>
                </a:moveTo>
                <a:cubicBezTo>
                  <a:pt x="3343" y="401"/>
                  <a:pt x="3342" y="401"/>
                  <a:pt x="3342" y="400"/>
                </a:cubicBezTo>
                <a:cubicBezTo>
                  <a:pt x="3342" y="400"/>
                  <a:pt x="3343" y="399"/>
                  <a:pt x="3344" y="398"/>
                </a:cubicBezTo>
                <a:cubicBezTo>
                  <a:pt x="3345" y="397"/>
                  <a:pt x="3346" y="396"/>
                  <a:pt x="3347" y="395"/>
                </a:cubicBezTo>
                <a:cubicBezTo>
                  <a:pt x="3348" y="394"/>
                  <a:pt x="3349" y="394"/>
                  <a:pt x="3349" y="394"/>
                </a:cubicBezTo>
                <a:lnTo>
                  <a:pt x="3349" y="394"/>
                </a:lnTo>
                <a:lnTo>
                  <a:pt x="3347" y="397"/>
                </a:lnTo>
                <a:cubicBezTo>
                  <a:pt x="3345" y="399"/>
                  <a:pt x="3344" y="401"/>
                  <a:pt x="3343" y="401"/>
                </a:cubicBezTo>
                <a:close/>
                <a:moveTo>
                  <a:pt x="3634" y="552"/>
                </a:moveTo>
                <a:cubicBezTo>
                  <a:pt x="3634" y="551"/>
                  <a:pt x="3635" y="551"/>
                  <a:pt x="3635" y="550"/>
                </a:cubicBezTo>
                <a:cubicBezTo>
                  <a:pt x="3637" y="549"/>
                  <a:pt x="3638" y="548"/>
                  <a:pt x="3638" y="548"/>
                </a:cubicBezTo>
                <a:lnTo>
                  <a:pt x="3639" y="548"/>
                </a:lnTo>
                <a:lnTo>
                  <a:pt x="3639" y="549"/>
                </a:lnTo>
                <a:cubicBezTo>
                  <a:pt x="3639" y="549"/>
                  <a:pt x="3638" y="550"/>
                  <a:pt x="3637" y="551"/>
                </a:cubicBezTo>
                <a:cubicBezTo>
                  <a:pt x="3635" y="551"/>
                  <a:pt x="3634" y="552"/>
                  <a:pt x="3634" y="552"/>
                </a:cubicBezTo>
                <a:close/>
                <a:moveTo>
                  <a:pt x="3574" y="605"/>
                </a:moveTo>
                <a:cubicBezTo>
                  <a:pt x="3573" y="605"/>
                  <a:pt x="3573" y="604"/>
                  <a:pt x="3573" y="603"/>
                </a:cubicBezTo>
                <a:cubicBezTo>
                  <a:pt x="3573" y="601"/>
                  <a:pt x="3573" y="601"/>
                  <a:pt x="3575" y="601"/>
                </a:cubicBezTo>
                <a:cubicBezTo>
                  <a:pt x="3576" y="601"/>
                  <a:pt x="3576" y="601"/>
                  <a:pt x="3576" y="602"/>
                </a:cubicBezTo>
                <a:cubicBezTo>
                  <a:pt x="3576" y="602"/>
                  <a:pt x="3576" y="603"/>
                  <a:pt x="3576" y="604"/>
                </a:cubicBezTo>
                <a:cubicBezTo>
                  <a:pt x="3575" y="605"/>
                  <a:pt x="3574" y="605"/>
                  <a:pt x="3574" y="605"/>
                </a:cubicBezTo>
                <a:close/>
                <a:moveTo>
                  <a:pt x="3522" y="658"/>
                </a:moveTo>
                <a:cubicBezTo>
                  <a:pt x="3522" y="658"/>
                  <a:pt x="3521" y="657"/>
                  <a:pt x="3521" y="656"/>
                </a:cubicBezTo>
                <a:cubicBezTo>
                  <a:pt x="3520" y="656"/>
                  <a:pt x="3519" y="656"/>
                  <a:pt x="3519" y="655"/>
                </a:cubicBezTo>
                <a:cubicBezTo>
                  <a:pt x="3519" y="654"/>
                  <a:pt x="3520" y="654"/>
                  <a:pt x="3522" y="654"/>
                </a:cubicBezTo>
                <a:cubicBezTo>
                  <a:pt x="3523" y="654"/>
                  <a:pt x="3524" y="654"/>
                  <a:pt x="3524" y="655"/>
                </a:cubicBezTo>
                <a:lnTo>
                  <a:pt x="3524" y="656"/>
                </a:lnTo>
                <a:cubicBezTo>
                  <a:pt x="3524" y="656"/>
                  <a:pt x="3523" y="656"/>
                  <a:pt x="3523" y="657"/>
                </a:cubicBezTo>
                <a:cubicBezTo>
                  <a:pt x="3523" y="657"/>
                  <a:pt x="3522" y="658"/>
                  <a:pt x="3522" y="658"/>
                </a:cubicBezTo>
                <a:close/>
                <a:moveTo>
                  <a:pt x="3549" y="623"/>
                </a:moveTo>
                <a:cubicBezTo>
                  <a:pt x="3549" y="622"/>
                  <a:pt x="3550" y="621"/>
                  <a:pt x="3553" y="619"/>
                </a:cubicBezTo>
                <a:cubicBezTo>
                  <a:pt x="3555" y="616"/>
                  <a:pt x="3557" y="614"/>
                  <a:pt x="3558" y="614"/>
                </a:cubicBezTo>
                <a:lnTo>
                  <a:pt x="3559" y="615"/>
                </a:lnTo>
                <a:cubicBezTo>
                  <a:pt x="3559" y="616"/>
                  <a:pt x="3557" y="618"/>
                  <a:pt x="3554" y="620"/>
                </a:cubicBezTo>
                <a:cubicBezTo>
                  <a:pt x="3551" y="622"/>
                  <a:pt x="3549" y="623"/>
                  <a:pt x="3549" y="623"/>
                </a:cubicBezTo>
                <a:close/>
                <a:moveTo>
                  <a:pt x="3581" y="598"/>
                </a:moveTo>
                <a:cubicBezTo>
                  <a:pt x="3581" y="598"/>
                  <a:pt x="3580" y="598"/>
                  <a:pt x="3580" y="598"/>
                </a:cubicBezTo>
                <a:cubicBezTo>
                  <a:pt x="3580" y="597"/>
                  <a:pt x="3582" y="595"/>
                  <a:pt x="3586" y="592"/>
                </a:cubicBezTo>
                <a:cubicBezTo>
                  <a:pt x="3590" y="588"/>
                  <a:pt x="3593" y="586"/>
                  <a:pt x="3595" y="586"/>
                </a:cubicBezTo>
                <a:lnTo>
                  <a:pt x="3595" y="586"/>
                </a:lnTo>
                <a:cubicBezTo>
                  <a:pt x="3596" y="586"/>
                  <a:pt x="3597" y="586"/>
                  <a:pt x="3597" y="585"/>
                </a:cubicBezTo>
                <a:lnTo>
                  <a:pt x="3598" y="583"/>
                </a:lnTo>
                <a:lnTo>
                  <a:pt x="3598" y="585"/>
                </a:lnTo>
                <a:cubicBezTo>
                  <a:pt x="3597" y="587"/>
                  <a:pt x="3596" y="588"/>
                  <a:pt x="3595" y="588"/>
                </a:cubicBezTo>
                <a:lnTo>
                  <a:pt x="3595" y="588"/>
                </a:lnTo>
                <a:cubicBezTo>
                  <a:pt x="3593" y="588"/>
                  <a:pt x="3591" y="589"/>
                  <a:pt x="3588" y="593"/>
                </a:cubicBezTo>
                <a:cubicBezTo>
                  <a:pt x="3585" y="596"/>
                  <a:pt x="3582" y="598"/>
                  <a:pt x="3581" y="598"/>
                </a:cubicBezTo>
                <a:close/>
                <a:moveTo>
                  <a:pt x="3182" y="568"/>
                </a:moveTo>
                <a:cubicBezTo>
                  <a:pt x="3182" y="568"/>
                  <a:pt x="3182" y="568"/>
                  <a:pt x="3182" y="566"/>
                </a:cubicBezTo>
                <a:cubicBezTo>
                  <a:pt x="3182" y="565"/>
                  <a:pt x="3182" y="563"/>
                  <a:pt x="3184" y="563"/>
                </a:cubicBezTo>
                <a:lnTo>
                  <a:pt x="3185" y="562"/>
                </a:lnTo>
                <a:cubicBezTo>
                  <a:pt x="3185" y="562"/>
                  <a:pt x="3185" y="563"/>
                  <a:pt x="3185" y="563"/>
                </a:cubicBezTo>
                <a:lnTo>
                  <a:pt x="3185" y="565"/>
                </a:lnTo>
                <a:cubicBezTo>
                  <a:pt x="3184" y="567"/>
                  <a:pt x="3183" y="568"/>
                  <a:pt x="3182" y="568"/>
                </a:cubicBezTo>
                <a:close/>
                <a:moveTo>
                  <a:pt x="3181" y="577"/>
                </a:moveTo>
                <a:cubicBezTo>
                  <a:pt x="3180" y="577"/>
                  <a:pt x="3179" y="577"/>
                  <a:pt x="3179" y="575"/>
                </a:cubicBezTo>
                <a:cubicBezTo>
                  <a:pt x="3179" y="575"/>
                  <a:pt x="3180" y="574"/>
                  <a:pt x="3181" y="573"/>
                </a:cubicBezTo>
                <a:cubicBezTo>
                  <a:pt x="3181" y="572"/>
                  <a:pt x="3182" y="571"/>
                  <a:pt x="3182" y="571"/>
                </a:cubicBezTo>
                <a:cubicBezTo>
                  <a:pt x="3183" y="571"/>
                  <a:pt x="3183" y="572"/>
                  <a:pt x="3183" y="572"/>
                </a:cubicBezTo>
                <a:lnTo>
                  <a:pt x="3183" y="574"/>
                </a:lnTo>
                <a:cubicBezTo>
                  <a:pt x="3182" y="576"/>
                  <a:pt x="3181" y="577"/>
                  <a:pt x="3181" y="577"/>
                </a:cubicBezTo>
                <a:close/>
                <a:moveTo>
                  <a:pt x="3281" y="511"/>
                </a:moveTo>
                <a:cubicBezTo>
                  <a:pt x="3280" y="511"/>
                  <a:pt x="3279" y="510"/>
                  <a:pt x="3279" y="509"/>
                </a:cubicBezTo>
                <a:cubicBezTo>
                  <a:pt x="3279" y="507"/>
                  <a:pt x="3280" y="507"/>
                  <a:pt x="3282" y="507"/>
                </a:cubicBezTo>
                <a:cubicBezTo>
                  <a:pt x="3283" y="507"/>
                  <a:pt x="3283" y="507"/>
                  <a:pt x="3283" y="508"/>
                </a:cubicBezTo>
                <a:lnTo>
                  <a:pt x="3283" y="509"/>
                </a:lnTo>
                <a:cubicBezTo>
                  <a:pt x="3282" y="510"/>
                  <a:pt x="3281" y="511"/>
                  <a:pt x="3281" y="511"/>
                </a:cubicBezTo>
                <a:close/>
                <a:moveTo>
                  <a:pt x="3178" y="690"/>
                </a:moveTo>
                <a:cubicBezTo>
                  <a:pt x="3178" y="689"/>
                  <a:pt x="3177" y="688"/>
                  <a:pt x="3177" y="686"/>
                </a:cubicBezTo>
                <a:cubicBezTo>
                  <a:pt x="3177" y="685"/>
                  <a:pt x="3178" y="684"/>
                  <a:pt x="3178" y="684"/>
                </a:cubicBezTo>
                <a:cubicBezTo>
                  <a:pt x="3179" y="684"/>
                  <a:pt x="3179" y="685"/>
                  <a:pt x="3179" y="687"/>
                </a:cubicBezTo>
                <a:cubicBezTo>
                  <a:pt x="3179" y="688"/>
                  <a:pt x="3179" y="689"/>
                  <a:pt x="3179" y="689"/>
                </a:cubicBezTo>
                <a:lnTo>
                  <a:pt x="3178" y="690"/>
                </a:lnTo>
                <a:close/>
                <a:moveTo>
                  <a:pt x="3176" y="598"/>
                </a:moveTo>
                <a:cubicBezTo>
                  <a:pt x="3176" y="598"/>
                  <a:pt x="3175" y="597"/>
                  <a:pt x="3175" y="595"/>
                </a:cubicBezTo>
                <a:cubicBezTo>
                  <a:pt x="3175" y="593"/>
                  <a:pt x="3176" y="592"/>
                  <a:pt x="3177" y="592"/>
                </a:cubicBezTo>
                <a:cubicBezTo>
                  <a:pt x="3178" y="592"/>
                  <a:pt x="3179" y="592"/>
                  <a:pt x="3179" y="593"/>
                </a:cubicBezTo>
                <a:lnTo>
                  <a:pt x="3178" y="595"/>
                </a:lnTo>
                <a:cubicBezTo>
                  <a:pt x="3177" y="597"/>
                  <a:pt x="3177" y="598"/>
                  <a:pt x="3176" y="598"/>
                </a:cubicBezTo>
                <a:close/>
                <a:moveTo>
                  <a:pt x="3179" y="589"/>
                </a:moveTo>
                <a:cubicBezTo>
                  <a:pt x="3178" y="589"/>
                  <a:pt x="3177" y="588"/>
                  <a:pt x="3177" y="585"/>
                </a:cubicBezTo>
                <a:cubicBezTo>
                  <a:pt x="3177" y="584"/>
                  <a:pt x="3178" y="582"/>
                  <a:pt x="3179" y="581"/>
                </a:cubicBezTo>
                <a:lnTo>
                  <a:pt x="3180" y="581"/>
                </a:lnTo>
                <a:cubicBezTo>
                  <a:pt x="3180" y="581"/>
                  <a:pt x="3181" y="581"/>
                  <a:pt x="3181" y="583"/>
                </a:cubicBezTo>
                <a:lnTo>
                  <a:pt x="3181" y="584"/>
                </a:lnTo>
                <a:cubicBezTo>
                  <a:pt x="3179" y="588"/>
                  <a:pt x="3179" y="589"/>
                  <a:pt x="3179" y="589"/>
                </a:cubicBezTo>
                <a:close/>
                <a:moveTo>
                  <a:pt x="3172" y="649"/>
                </a:moveTo>
                <a:cubicBezTo>
                  <a:pt x="3170" y="648"/>
                  <a:pt x="3169" y="648"/>
                  <a:pt x="3169" y="648"/>
                </a:cubicBezTo>
                <a:lnTo>
                  <a:pt x="3173" y="647"/>
                </a:lnTo>
                <a:cubicBezTo>
                  <a:pt x="3174" y="647"/>
                  <a:pt x="3174" y="647"/>
                  <a:pt x="3174" y="647"/>
                </a:cubicBezTo>
                <a:cubicBezTo>
                  <a:pt x="3175" y="647"/>
                  <a:pt x="3175" y="647"/>
                  <a:pt x="3175" y="648"/>
                </a:cubicBezTo>
                <a:cubicBezTo>
                  <a:pt x="3175" y="648"/>
                  <a:pt x="3174" y="649"/>
                  <a:pt x="3172" y="649"/>
                </a:cubicBezTo>
                <a:close/>
                <a:moveTo>
                  <a:pt x="3173" y="630"/>
                </a:moveTo>
                <a:lnTo>
                  <a:pt x="3173" y="630"/>
                </a:lnTo>
                <a:cubicBezTo>
                  <a:pt x="3172" y="629"/>
                  <a:pt x="3172" y="627"/>
                  <a:pt x="3172" y="625"/>
                </a:cubicBezTo>
                <a:cubicBezTo>
                  <a:pt x="3172" y="623"/>
                  <a:pt x="3172" y="621"/>
                  <a:pt x="3172" y="619"/>
                </a:cubicBezTo>
                <a:cubicBezTo>
                  <a:pt x="3172" y="616"/>
                  <a:pt x="3172" y="614"/>
                  <a:pt x="3172" y="614"/>
                </a:cubicBezTo>
                <a:cubicBezTo>
                  <a:pt x="3174" y="614"/>
                  <a:pt x="3174" y="617"/>
                  <a:pt x="3174" y="622"/>
                </a:cubicBezTo>
                <a:cubicBezTo>
                  <a:pt x="3174" y="627"/>
                  <a:pt x="3174" y="630"/>
                  <a:pt x="3173" y="630"/>
                </a:cubicBezTo>
                <a:close/>
                <a:moveTo>
                  <a:pt x="3174" y="612"/>
                </a:moveTo>
                <a:cubicBezTo>
                  <a:pt x="3174" y="612"/>
                  <a:pt x="3173" y="611"/>
                  <a:pt x="3173" y="609"/>
                </a:cubicBezTo>
                <a:cubicBezTo>
                  <a:pt x="3173" y="608"/>
                  <a:pt x="3173" y="607"/>
                  <a:pt x="3174" y="607"/>
                </a:cubicBezTo>
                <a:cubicBezTo>
                  <a:pt x="3174" y="606"/>
                  <a:pt x="3174" y="606"/>
                  <a:pt x="3175" y="605"/>
                </a:cubicBezTo>
                <a:cubicBezTo>
                  <a:pt x="3176" y="605"/>
                  <a:pt x="3176" y="606"/>
                  <a:pt x="3176" y="607"/>
                </a:cubicBezTo>
                <a:cubicBezTo>
                  <a:pt x="3176" y="607"/>
                  <a:pt x="3176" y="608"/>
                  <a:pt x="3176" y="609"/>
                </a:cubicBezTo>
                <a:cubicBezTo>
                  <a:pt x="3176" y="610"/>
                  <a:pt x="3175" y="610"/>
                  <a:pt x="3175" y="611"/>
                </a:cubicBezTo>
                <a:cubicBezTo>
                  <a:pt x="3174" y="612"/>
                  <a:pt x="3174" y="612"/>
                  <a:pt x="3174" y="612"/>
                </a:cubicBezTo>
                <a:close/>
                <a:moveTo>
                  <a:pt x="3989" y="589"/>
                </a:moveTo>
                <a:cubicBezTo>
                  <a:pt x="3989" y="589"/>
                  <a:pt x="3988" y="589"/>
                  <a:pt x="3988" y="588"/>
                </a:cubicBezTo>
                <a:cubicBezTo>
                  <a:pt x="3988" y="587"/>
                  <a:pt x="3987" y="586"/>
                  <a:pt x="3987" y="585"/>
                </a:cubicBezTo>
                <a:cubicBezTo>
                  <a:pt x="3986" y="585"/>
                  <a:pt x="3986" y="584"/>
                  <a:pt x="3986" y="583"/>
                </a:cubicBezTo>
                <a:lnTo>
                  <a:pt x="3987" y="583"/>
                </a:lnTo>
                <a:lnTo>
                  <a:pt x="3988" y="585"/>
                </a:lnTo>
                <a:cubicBezTo>
                  <a:pt x="3989" y="586"/>
                  <a:pt x="3990" y="587"/>
                  <a:pt x="3990" y="588"/>
                </a:cubicBezTo>
                <a:lnTo>
                  <a:pt x="3989" y="589"/>
                </a:lnTo>
                <a:close/>
                <a:moveTo>
                  <a:pt x="3676" y="595"/>
                </a:moveTo>
                <a:cubicBezTo>
                  <a:pt x="3675" y="595"/>
                  <a:pt x="3674" y="595"/>
                  <a:pt x="3674" y="594"/>
                </a:cubicBezTo>
                <a:cubicBezTo>
                  <a:pt x="3673" y="593"/>
                  <a:pt x="3672" y="592"/>
                  <a:pt x="3672" y="591"/>
                </a:cubicBezTo>
                <a:cubicBezTo>
                  <a:pt x="3672" y="589"/>
                  <a:pt x="3673" y="587"/>
                  <a:pt x="3675" y="584"/>
                </a:cubicBezTo>
                <a:cubicBezTo>
                  <a:pt x="3676" y="582"/>
                  <a:pt x="3677" y="580"/>
                  <a:pt x="3677" y="580"/>
                </a:cubicBezTo>
                <a:lnTo>
                  <a:pt x="3678" y="586"/>
                </a:lnTo>
                <a:lnTo>
                  <a:pt x="3678" y="588"/>
                </a:lnTo>
                <a:cubicBezTo>
                  <a:pt x="3678" y="593"/>
                  <a:pt x="3678" y="595"/>
                  <a:pt x="3676" y="595"/>
                </a:cubicBezTo>
                <a:close/>
                <a:moveTo>
                  <a:pt x="3692" y="565"/>
                </a:moveTo>
                <a:cubicBezTo>
                  <a:pt x="3691" y="565"/>
                  <a:pt x="3691" y="564"/>
                  <a:pt x="3690" y="563"/>
                </a:cubicBezTo>
                <a:cubicBezTo>
                  <a:pt x="3690" y="563"/>
                  <a:pt x="3689" y="563"/>
                  <a:pt x="3689" y="562"/>
                </a:cubicBezTo>
                <a:lnTo>
                  <a:pt x="3688" y="561"/>
                </a:lnTo>
                <a:cubicBezTo>
                  <a:pt x="3688" y="560"/>
                  <a:pt x="3689" y="560"/>
                  <a:pt x="3690" y="560"/>
                </a:cubicBezTo>
                <a:cubicBezTo>
                  <a:pt x="3692" y="560"/>
                  <a:pt x="3692" y="561"/>
                  <a:pt x="3692" y="562"/>
                </a:cubicBezTo>
                <a:cubicBezTo>
                  <a:pt x="3692" y="564"/>
                  <a:pt x="3692" y="565"/>
                  <a:pt x="3692" y="565"/>
                </a:cubicBezTo>
                <a:close/>
                <a:moveTo>
                  <a:pt x="3697" y="747"/>
                </a:moveTo>
                <a:cubicBezTo>
                  <a:pt x="3693" y="747"/>
                  <a:pt x="3688" y="747"/>
                  <a:pt x="3684" y="746"/>
                </a:cubicBezTo>
                <a:cubicBezTo>
                  <a:pt x="3672" y="743"/>
                  <a:pt x="3664" y="738"/>
                  <a:pt x="3660" y="732"/>
                </a:cubicBezTo>
                <a:cubicBezTo>
                  <a:pt x="3658" y="729"/>
                  <a:pt x="3656" y="728"/>
                  <a:pt x="3654" y="728"/>
                </a:cubicBezTo>
                <a:cubicBezTo>
                  <a:pt x="3652" y="728"/>
                  <a:pt x="3650" y="726"/>
                  <a:pt x="3647" y="722"/>
                </a:cubicBezTo>
                <a:cubicBezTo>
                  <a:pt x="3644" y="718"/>
                  <a:pt x="3641" y="714"/>
                  <a:pt x="3638" y="710"/>
                </a:cubicBezTo>
                <a:cubicBezTo>
                  <a:pt x="3636" y="705"/>
                  <a:pt x="3635" y="702"/>
                  <a:pt x="3635" y="699"/>
                </a:cubicBezTo>
                <a:lnTo>
                  <a:pt x="3635" y="696"/>
                </a:lnTo>
                <a:cubicBezTo>
                  <a:pt x="3635" y="696"/>
                  <a:pt x="3635" y="695"/>
                  <a:pt x="3634" y="695"/>
                </a:cubicBezTo>
                <a:cubicBezTo>
                  <a:pt x="3633" y="695"/>
                  <a:pt x="3632" y="689"/>
                  <a:pt x="3632" y="678"/>
                </a:cubicBezTo>
                <a:cubicBezTo>
                  <a:pt x="3632" y="667"/>
                  <a:pt x="3633" y="654"/>
                  <a:pt x="3634" y="638"/>
                </a:cubicBezTo>
                <a:cubicBezTo>
                  <a:pt x="3635" y="623"/>
                  <a:pt x="3637" y="612"/>
                  <a:pt x="3639" y="604"/>
                </a:cubicBezTo>
                <a:cubicBezTo>
                  <a:pt x="3641" y="599"/>
                  <a:pt x="3641" y="595"/>
                  <a:pt x="3641" y="592"/>
                </a:cubicBezTo>
                <a:lnTo>
                  <a:pt x="3641" y="589"/>
                </a:lnTo>
                <a:cubicBezTo>
                  <a:pt x="3641" y="588"/>
                  <a:pt x="3642" y="586"/>
                  <a:pt x="3643" y="585"/>
                </a:cubicBezTo>
                <a:cubicBezTo>
                  <a:pt x="3644" y="583"/>
                  <a:pt x="3645" y="581"/>
                  <a:pt x="3645" y="579"/>
                </a:cubicBezTo>
                <a:lnTo>
                  <a:pt x="3645" y="577"/>
                </a:lnTo>
                <a:cubicBezTo>
                  <a:pt x="3645" y="577"/>
                  <a:pt x="3645" y="576"/>
                  <a:pt x="3645" y="576"/>
                </a:cubicBezTo>
                <a:lnTo>
                  <a:pt x="3647" y="577"/>
                </a:lnTo>
                <a:cubicBezTo>
                  <a:pt x="3648" y="577"/>
                  <a:pt x="3648" y="577"/>
                  <a:pt x="3648" y="576"/>
                </a:cubicBezTo>
                <a:lnTo>
                  <a:pt x="3648" y="574"/>
                </a:lnTo>
                <a:cubicBezTo>
                  <a:pt x="3648" y="572"/>
                  <a:pt x="3650" y="566"/>
                  <a:pt x="3654" y="557"/>
                </a:cubicBezTo>
                <a:cubicBezTo>
                  <a:pt x="3658" y="549"/>
                  <a:pt x="3663" y="541"/>
                  <a:pt x="3669" y="533"/>
                </a:cubicBezTo>
                <a:cubicBezTo>
                  <a:pt x="3678" y="521"/>
                  <a:pt x="3685" y="515"/>
                  <a:pt x="3691" y="515"/>
                </a:cubicBezTo>
                <a:cubicBezTo>
                  <a:pt x="3692" y="515"/>
                  <a:pt x="3694" y="516"/>
                  <a:pt x="3695" y="516"/>
                </a:cubicBezTo>
                <a:cubicBezTo>
                  <a:pt x="3698" y="517"/>
                  <a:pt x="3702" y="518"/>
                  <a:pt x="3706" y="519"/>
                </a:cubicBezTo>
                <a:cubicBezTo>
                  <a:pt x="3710" y="520"/>
                  <a:pt x="3712" y="522"/>
                  <a:pt x="3712" y="523"/>
                </a:cubicBezTo>
                <a:lnTo>
                  <a:pt x="3710" y="529"/>
                </a:lnTo>
                <a:cubicBezTo>
                  <a:pt x="3710" y="531"/>
                  <a:pt x="3711" y="533"/>
                  <a:pt x="3713" y="533"/>
                </a:cubicBezTo>
                <a:cubicBezTo>
                  <a:pt x="3715" y="534"/>
                  <a:pt x="3716" y="535"/>
                  <a:pt x="3716" y="537"/>
                </a:cubicBezTo>
                <a:lnTo>
                  <a:pt x="3716" y="541"/>
                </a:lnTo>
                <a:cubicBezTo>
                  <a:pt x="3715" y="541"/>
                  <a:pt x="3715" y="540"/>
                  <a:pt x="3715" y="538"/>
                </a:cubicBezTo>
                <a:cubicBezTo>
                  <a:pt x="3714" y="536"/>
                  <a:pt x="3713" y="535"/>
                  <a:pt x="3712" y="535"/>
                </a:cubicBezTo>
                <a:cubicBezTo>
                  <a:pt x="3711" y="535"/>
                  <a:pt x="3710" y="537"/>
                  <a:pt x="3709" y="541"/>
                </a:cubicBezTo>
                <a:cubicBezTo>
                  <a:pt x="3708" y="546"/>
                  <a:pt x="3707" y="548"/>
                  <a:pt x="3706" y="548"/>
                </a:cubicBezTo>
                <a:lnTo>
                  <a:pt x="3704" y="547"/>
                </a:lnTo>
                <a:cubicBezTo>
                  <a:pt x="3704" y="547"/>
                  <a:pt x="3703" y="547"/>
                  <a:pt x="3703" y="548"/>
                </a:cubicBezTo>
                <a:cubicBezTo>
                  <a:pt x="3702" y="548"/>
                  <a:pt x="3702" y="549"/>
                  <a:pt x="3702" y="550"/>
                </a:cubicBezTo>
                <a:cubicBezTo>
                  <a:pt x="3702" y="550"/>
                  <a:pt x="3702" y="551"/>
                  <a:pt x="3702" y="551"/>
                </a:cubicBezTo>
                <a:lnTo>
                  <a:pt x="3704" y="550"/>
                </a:lnTo>
                <a:cubicBezTo>
                  <a:pt x="3705" y="550"/>
                  <a:pt x="3705" y="550"/>
                  <a:pt x="3705" y="551"/>
                </a:cubicBezTo>
                <a:cubicBezTo>
                  <a:pt x="3705" y="553"/>
                  <a:pt x="3704" y="555"/>
                  <a:pt x="3703" y="558"/>
                </a:cubicBezTo>
                <a:lnTo>
                  <a:pt x="3702" y="560"/>
                </a:lnTo>
                <a:lnTo>
                  <a:pt x="3703" y="554"/>
                </a:lnTo>
                <a:lnTo>
                  <a:pt x="3702" y="553"/>
                </a:lnTo>
                <a:cubicBezTo>
                  <a:pt x="3702" y="553"/>
                  <a:pt x="3701" y="554"/>
                  <a:pt x="3700" y="556"/>
                </a:cubicBezTo>
                <a:cubicBezTo>
                  <a:pt x="3698" y="558"/>
                  <a:pt x="3696" y="560"/>
                  <a:pt x="3695" y="560"/>
                </a:cubicBezTo>
                <a:cubicBezTo>
                  <a:pt x="3692" y="560"/>
                  <a:pt x="3690" y="556"/>
                  <a:pt x="3690" y="550"/>
                </a:cubicBezTo>
                <a:lnTo>
                  <a:pt x="3690" y="544"/>
                </a:lnTo>
                <a:cubicBezTo>
                  <a:pt x="3690" y="542"/>
                  <a:pt x="3689" y="541"/>
                  <a:pt x="3688" y="541"/>
                </a:cubicBezTo>
                <a:cubicBezTo>
                  <a:pt x="3688" y="541"/>
                  <a:pt x="3688" y="541"/>
                  <a:pt x="3687" y="541"/>
                </a:cubicBezTo>
                <a:cubicBezTo>
                  <a:pt x="3687" y="542"/>
                  <a:pt x="3687" y="543"/>
                  <a:pt x="3687" y="544"/>
                </a:cubicBezTo>
                <a:lnTo>
                  <a:pt x="3687" y="548"/>
                </a:lnTo>
                <a:cubicBezTo>
                  <a:pt x="3687" y="549"/>
                  <a:pt x="3686" y="551"/>
                  <a:pt x="3685" y="553"/>
                </a:cubicBezTo>
                <a:cubicBezTo>
                  <a:pt x="3685" y="556"/>
                  <a:pt x="3684" y="557"/>
                  <a:pt x="3683" y="559"/>
                </a:cubicBezTo>
                <a:cubicBezTo>
                  <a:pt x="3682" y="560"/>
                  <a:pt x="3681" y="561"/>
                  <a:pt x="3680" y="561"/>
                </a:cubicBezTo>
                <a:cubicBezTo>
                  <a:pt x="3680" y="561"/>
                  <a:pt x="3679" y="561"/>
                  <a:pt x="3679" y="561"/>
                </a:cubicBezTo>
                <a:lnTo>
                  <a:pt x="3678" y="560"/>
                </a:lnTo>
                <a:lnTo>
                  <a:pt x="3678" y="562"/>
                </a:lnTo>
                <a:cubicBezTo>
                  <a:pt x="3678" y="564"/>
                  <a:pt x="3676" y="571"/>
                  <a:pt x="3671" y="583"/>
                </a:cubicBezTo>
                <a:cubicBezTo>
                  <a:pt x="3664" y="598"/>
                  <a:pt x="3661" y="607"/>
                  <a:pt x="3661" y="611"/>
                </a:cubicBezTo>
                <a:lnTo>
                  <a:pt x="3661" y="612"/>
                </a:lnTo>
                <a:cubicBezTo>
                  <a:pt x="3661" y="612"/>
                  <a:pt x="3661" y="611"/>
                  <a:pt x="3662" y="610"/>
                </a:cubicBezTo>
                <a:cubicBezTo>
                  <a:pt x="3662" y="610"/>
                  <a:pt x="3662" y="609"/>
                  <a:pt x="3663" y="609"/>
                </a:cubicBezTo>
                <a:lnTo>
                  <a:pt x="3665" y="610"/>
                </a:lnTo>
                <a:lnTo>
                  <a:pt x="3666" y="609"/>
                </a:lnTo>
                <a:cubicBezTo>
                  <a:pt x="3666" y="608"/>
                  <a:pt x="3665" y="608"/>
                  <a:pt x="3665" y="607"/>
                </a:cubicBezTo>
                <a:cubicBezTo>
                  <a:pt x="3665" y="606"/>
                  <a:pt x="3665" y="605"/>
                  <a:pt x="3665" y="604"/>
                </a:cubicBezTo>
                <a:cubicBezTo>
                  <a:pt x="3665" y="602"/>
                  <a:pt x="3665" y="600"/>
                  <a:pt x="3666" y="598"/>
                </a:cubicBezTo>
                <a:cubicBezTo>
                  <a:pt x="3667" y="597"/>
                  <a:pt x="3668" y="596"/>
                  <a:pt x="3670" y="596"/>
                </a:cubicBezTo>
                <a:cubicBezTo>
                  <a:pt x="3670" y="596"/>
                  <a:pt x="3671" y="596"/>
                  <a:pt x="3672" y="597"/>
                </a:cubicBezTo>
                <a:cubicBezTo>
                  <a:pt x="3673" y="597"/>
                  <a:pt x="3673" y="598"/>
                  <a:pt x="3674" y="599"/>
                </a:cubicBezTo>
                <a:cubicBezTo>
                  <a:pt x="3675" y="600"/>
                  <a:pt x="3675" y="601"/>
                  <a:pt x="3675" y="602"/>
                </a:cubicBezTo>
                <a:cubicBezTo>
                  <a:pt x="3675" y="603"/>
                  <a:pt x="3675" y="603"/>
                  <a:pt x="3675" y="603"/>
                </a:cubicBezTo>
                <a:cubicBezTo>
                  <a:pt x="3674" y="603"/>
                  <a:pt x="3673" y="602"/>
                  <a:pt x="3672" y="600"/>
                </a:cubicBezTo>
                <a:lnTo>
                  <a:pt x="3669" y="597"/>
                </a:lnTo>
                <a:lnTo>
                  <a:pt x="3669" y="597"/>
                </a:lnTo>
                <a:cubicBezTo>
                  <a:pt x="3669" y="598"/>
                  <a:pt x="3670" y="599"/>
                  <a:pt x="3670" y="602"/>
                </a:cubicBezTo>
                <a:cubicBezTo>
                  <a:pt x="3671" y="604"/>
                  <a:pt x="3672" y="605"/>
                  <a:pt x="3672" y="606"/>
                </a:cubicBezTo>
                <a:cubicBezTo>
                  <a:pt x="3672" y="607"/>
                  <a:pt x="3672" y="607"/>
                  <a:pt x="3671" y="607"/>
                </a:cubicBezTo>
                <a:lnTo>
                  <a:pt x="3669" y="606"/>
                </a:lnTo>
                <a:cubicBezTo>
                  <a:pt x="3669" y="606"/>
                  <a:pt x="3669" y="607"/>
                  <a:pt x="3669" y="607"/>
                </a:cubicBezTo>
                <a:lnTo>
                  <a:pt x="3670" y="614"/>
                </a:lnTo>
                <a:cubicBezTo>
                  <a:pt x="3670" y="614"/>
                  <a:pt x="3670" y="614"/>
                  <a:pt x="3670" y="614"/>
                </a:cubicBezTo>
                <a:lnTo>
                  <a:pt x="3667" y="613"/>
                </a:lnTo>
                <a:cubicBezTo>
                  <a:pt x="3667" y="613"/>
                  <a:pt x="3667" y="614"/>
                  <a:pt x="3667" y="614"/>
                </a:cubicBezTo>
                <a:cubicBezTo>
                  <a:pt x="3667" y="615"/>
                  <a:pt x="3667" y="616"/>
                  <a:pt x="3667" y="617"/>
                </a:cubicBezTo>
                <a:cubicBezTo>
                  <a:pt x="3667" y="618"/>
                  <a:pt x="3667" y="619"/>
                  <a:pt x="3667" y="620"/>
                </a:cubicBezTo>
                <a:cubicBezTo>
                  <a:pt x="3667" y="622"/>
                  <a:pt x="3667" y="623"/>
                  <a:pt x="3666" y="623"/>
                </a:cubicBezTo>
                <a:cubicBezTo>
                  <a:pt x="3665" y="624"/>
                  <a:pt x="3665" y="625"/>
                  <a:pt x="3665" y="625"/>
                </a:cubicBezTo>
                <a:lnTo>
                  <a:pt x="3666" y="628"/>
                </a:lnTo>
                <a:cubicBezTo>
                  <a:pt x="3666" y="628"/>
                  <a:pt x="3666" y="628"/>
                  <a:pt x="3666" y="628"/>
                </a:cubicBezTo>
                <a:lnTo>
                  <a:pt x="3663" y="627"/>
                </a:lnTo>
                <a:cubicBezTo>
                  <a:pt x="3662" y="627"/>
                  <a:pt x="3662" y="628"/>
                  <a:pt x="3662" y="629"/>
                </a:cubicBezTo>
                <a:lnTo>
                  <a:pt x="3662" y="634"/>
                </a:lnTo>
                <a:cubicBezTo>
                  <a:pt x="3662" y="636"/>
                  <a:pt x="3662" y="638"/>
                  <a:pt x="3661" y="639"/>
                </a:cubicBezTo>
                <a:cubicBezTo>
                  <a:pt x="3660" y="642"/>
                  <a:pt x="3659" y="648"/>
                  <a:pt x="3658" y="657"/>
                </a:cubicBezTo>
                <a:cubicBezTo>
                  <a:pt x="3657" y="666"/>
                  <a:pt x="3657" y="674"/>
                  <a:pt x="3657" y="683"/>
                </a:cubicBezTo>
                <a:cubicBezTo>
                  <a:pt x="3657" y="690"/>
                  <a:pt x="3657" y="696"/>
                  <a:pt x="3658" y="701"/>
                </a:cubicBezTo>
                <a:cubicBezTo>
                  <a:pt x="3660" y="711"/>
                  <a:pt x="3667" y="716"/>
                  <a:pt x="3679" y="716"/>
                </a:cubicBezTo>
                <a:cubicBezTo>
                  <a:pt x="3708" y="716"/>
                  <a:pt x="3768" y="689"/>
                  <a:pt x="3859" y="637"/>
                </a:cubicBezTo>
                <a:lnTo>
                  <a:pt x="3959" y="578"/>
                </a:lnTo>
                <a:cubicBezTo>
                  <a:pt x="3984" y="563"/>
                  <a:pt x="3998" y="555"/>
                  <a:pt x="4001" y="555"/>
                </a:cubicBezTo>
                <a:lnTo>
                  <a:pt x="4002" y="555"/>
                </a:lnTo>
                <a:cubicBezTo>
                  <a:pt x="4003" y="555"/>
                  <a:pt x="4003" y="555"/>
                  <a:pt x="4003" y="554"/>
                </a:cubicBezTo>
                <a:cubicBezTo>
                  <a:pt x="4003" y="553"/>
                  <a:pt x="4003" y="552"/>
                  <a:pt x="4004" y="551"/>
                </a:cubicBezTo>
                <a:cubicBezTo>
                  <a:pt x="4005" y="551"/>
                  <a:pt x="4005" y="551"/>
                  <a:pt x="4006" y="551"/>
                </a:cubicBezTo>
                <a:cubicBezTo>
                  <a:pt x="4008" y="551"/>
                  <a:pt x="4009" y="550"/>
                  <a:pt x="4009" y="549"/>
                </a:cubicBezTo>
                <a:cubicBezTo>
                  <a:pt x="4009" y="548"/>
                  <a:pt x="4010" y="547"/>
                  <a:pt x="4010" y="547"/>
                </a:cubicBezTo>
                <a:lnTo>
                  <a:pt x="4013" y="548"/>
                </a:lnTo>
                <a:cubicBezTo>
                  <a:pt x="4013" y="548"/>
                  <a:pt x="4014" y="547"/>
                  <a:pt x="4014" y="546"/>
                </a:cubicBezTo>
                <a:cubicBezTo>
                  <a:pt x="4014" y="545"/>
                  <a:pt x="4015" y="545"/>
                  <a:pt x="4017" y="545"/>
                </a:cubicBezTo>
                <a:lnTo>
                  <a:pt x="4018" y="545"/>
                </a:lnTo>
                <a:cubicBezTo>
                  <a:pt x="4020" y="545"/>
                  <a:pt x="4023" y="543"/>
                  <a:pt x="4026" y="540"/>
                </a:cubicBezTo>
                <a:lnTo>
                  <a:pt x="4027" y="539"/>
                </a:lnTo>
                <a:cubicBezTo>
                  <a:pt x="4029" y="539"/>
                  <a:pt x="4030" y="540"/>
                  <a:pt x="4032" y="542"/>
                </a:cubicBezTo>
                <a:cubicBezTo>
                  <a:pt x="4034" y="544"/>
                  <a:pt x="4036" y="546"/>
                  <a:pt x="4038" y="548"/>
                </a:cubicBezTo>
                <a:cubicBezTo>
                  <a:pt x="4039" y="550"/>
                  <a:pt x="4040" y="551"/>
                  <a:pt x="4040" y="552"/>
                </a:cubicBezTo>
                <a:cubicBezTo>
                  <a:pt x="4040" y="555"/>
                  <a:pt x="4034" y="560"/>
                  <a:pt x="4022" y="568"/>
                </a:cubicBezTo>
                <a:cubicBezTo>
                  <a:pt x="4019" y="570"/>
                  <a:pt x="4017" y="571"/>
                  <a:pt x="4016" y="571"/>
                </a:cubicBezTo>
                <a:cubicBezTo>
                  <a:pt x="4015" y="571"/>
                  <a:pt x="4015" y="571"/>
                  <a:pt x="4015" y="570"/>
                </a:cubicBezTo>
                <a:cubicBezTo>
                  <a:pt x="4015" y="569"/>
                  <a:pt x="4015" y="568"/>
                  <a:pt x="4016" y="568"/>
                </a:cubicBezTo>
                <a:lnTo>
                  <a:pt x="4017" y="568"/>
                </a:lnTo>
                <a:cubicBezTo>
                  <a:pt x="4018" y="568"/>
                  <a:pt x="4018" y="568"/>
                  <a:pt x="4018" y="567"/>
                </a:cubicBezTo>
                <a:cubicBezTo>
                  <a:pt x="4018" y="566"/>
                  <a:pt x="4019" y="566"/>
                  <a:pt x="4020" y="565"/>
                </a:cubicBezTo>
                <a:cubicBezTo>
                  <a:pt x="4022" y="564"/>
                  <a:pt x="4024" y="563"/>
                  <a:pt x="4025" y="562"/>
                </a:cubicBezTo>
                <a:cubicBezTo>
                  <a:pt x="4027" y="561"/>
                  <a:pt x="4029" y="561"/>
                  <a:pt x="4031" y="559"/>
                </a:cubicBezTo>
                <a:cubicBezTo>
                  <a:pt x="4032" y="558"/>
                  <a:pt x="4033" y="557"/>
                  <a:pt x="4033" y="556"/>
                </a:cubicBezTo>
                <a:cubicBezTo>
                  <a:pt x="4033" y="554"/>
                  <a:pt x="4033" y="553"/>
                  <a:pt x="4032" y="553"/>
                </a:cubicBezTo>
                <a:cubicBezTo>
                  <a:pt x="4031" y="553"/>
                  <a:pt x="4029" y="554"/>
                  <a:pt x="4027" y="557"/>
                </a:cubicBezTo>
                <a:cubicBezTo>
                  <a:pt x="4024" y="560"/>
                  <a:pt x="4022" y="561"/>
                  <a:pt x="4021" y="561"/>
                </a:cubicBezTo>
                <a:lnTo>
                  <a:pt x="4020" y="561"/>
                </a:lnTo>
                <a:cubicBezTo>
                  <a:pt x="4019" y="561"/>
                  <a:pt x="4017" y="562"/>
                  <a:pt x="4015" y="564"/>
                </a:cubicBezTo>
                <a:cubicBezTo>
                  <a:pt x="4013" y="566"/>
                  <a:pt x="4011" y="568"/>
                  <a:pt x="4008" y="569"/>
                </a:cubicBezTo>
                <a:cubicBezTo>
                  <a:pt x="4005" y="571"/>
                  <a:pt x="4002" y="571"/>
                  <a:pt x="4001" y="571"/>
                </a:cubicBezTo>
                <a:lnTo>
                  <a:pt x="3999" y="571"/>
                </a:lnTo>
                <a:cubicBezTo>
                  <a:pt x="3998" y="571"/>
                  <a:pt x="3998" y="571"/>
                  <a:pt x="3997" y="573"/>
                </a:cubicBezTo>
                <a:cubicBezTo>
                  <a:pt x="3996" y="574"/>
                  <a:pt x="3995" y="576"/>
                  <a:pt x="3995" y="578"/>
                </a:cubicBezTo>
                <a:cubicBezTo>
                  <a:pt x="3994" y="580"/>
                  <a:pt x="3993" y="581"/>
                  <a:pt x="3993" y="583"/>
                </a:cubicBezTo>
                <a:lnTo>
                  <a:pt x="3993" y="586"/>
                </a:lnTo>
                <a:lnTo>
                  <a:pt x="3993" y="585"/>
                </a:lnTo>
                <a:cubicBezTo>
                  <a:pt x="3992" y="582"/>
                  <a:pt x="3990" y="580"/>
                  <a:pt x="3988" y="580"/>
                </a:cubicBezTo>
                <a:cubicBezTo>
                  <a:pt x="3987" y="580"/>
                  <a:pt x="3985" y="581"/>
                  <a:pt x="3984" y="583"/>
                </a:cubicBezTo>
                <a:cubicBezTo>
                  <a:pt x="3983" y="585"/>
                  <a:pt x="3983" y="586"/>
                  <a:pt x="3983" y="588"/>
                </a:cubicBezTo>
                <a:lnTo>
                  <a:pt x="3983" y="588"/>
                </a:lnTo>
                <a:cubicBezTo>
                  <a:pt x="3983" y="589"/>
                  <a:pt x="3982" y="589"/>
                  <a:pt x="3982" y="589"/>
                </a:cubicBezTo>
                <a:lnTo>
                  <a:pt x="3979" y="588"/>
                </a:lnTo>
                <a:cubicBezTo>
                  <a:pt x="3977" y="588"/>
                  <a:pt x="3977" y="590"/>
                  <a:pt x="3977" y="593"/>
                </a:cubicBezTo>
                <a:cubicBezTo>
                  <a:pt x="3977" y="596"/>
                  <a:pt x="3976" y="598"/>
                  <a:pt x="3974" y="598"/>
                </a:cubicBezTo>
                <a:cubicBezTo>
                  <a:pt x="3972" y="599"/>
                  <a:pt x="3972" y="600"/>
                  <a:pt x="3972" y="601"/>
                </a:cubicBezTo>
                <a:lnTo>
                  <a:pt x="3973" y="603"/>
                </a:lnTo>
                <a:lnTo>
                  <a:pt x="3972" y="604"/>
                </a:lnTo>
                <a:lnTo>
                  <a:pt x="3972" y="603"/>
                </a:lnTo>
                <a:cubicBezTo>
                  <a:pt x="3971" y="603"/>
                  <a:pt x="3971" y="603"/>
                  <a:pt x="3970" y="603"/>
                </a:cubicBezTo>
                <a:cubicBezTo>
                  <a:pt x="3969" y="603"/>
                  <a:pt x="3968" y="603"/>
                  <a:pt x="3967" y="604"/>
                </a:cubicBezTo>
                <a:cubicBezTo>
                  <a:pt x="3966" y="605"/>
                  <a:pt x="3965" y="605"/>
                  <a:pt x="3964" y="605"/>
                </a:cubicBezTo>
                <a:cubicBezTo>
                  <a:pt x="3964" y="605"/>
                  <a:pt x="3964" y="605"/>
                  <a:pt x="3964" y="604"/>
                </a:cubicBezTo>
                <a:cubicBezTo>
                  <a:pt x="3964" y="603"/>
                  <a:pt x="3965" y="601"/>
                  <a:pt x="3966" y="601"/>
                </a:cubicBezTo>
                <a:cubicBezTo>
                  <a:pt x="3967" y="600"/>
                  <a:pt x="3968" y="600"/>
                  <a:pt x="3968" y="599"/>
                </a:cubicBezTo>
                <a:cubicBezTo>
                  <a:pt x="3968" y="598"/>
                  <a:pt x="3967" y="596"/>
                  <a:pt x="3967" y="595"/>
                </a:cubicBezTo>
                <a:cubicBezTo>
                  <a:pt x="3967" y="593"/>
                  <a:pt x="3966" y="593"/>
                  <a:pt x="3965" y="593"/>
                </a:cubicBezTo>
                <a:cubicBezTo>
                  <a:pt x="3965" y="593"/>
                  <a:pt x="3964" y="593"/>
                  <a:pt x="3963" y="595"/>
                </a:cubicBezTo>
                <a:cubicBezTo>
                  <a:pt x="3960" y="598"/>
                  <a:pt x="3951" y="603"/>
                  <a:pt x="3935" y="612"/>
                </a:cubicBezTo>
                <a:cubicBezTo>
                  <a:pt x="3919" y="620"/>
                  <a:pt x="3911" y="625"/>
                  <a:pt x="3911" y="627"/>
                </a:cubicBezTo>
                <a:cubicBezTo>
                  <a:pt x="3911" y="628"/>
                  <a:pt x="3910" y="628"/>
                  <a:pt x="3908" y="628"/>
                </a:cubicBezTo>
                <a:cubicBezTo>
                  <a:pt x="3906" y="628"/>
                  <a:pt x="3905" y="629"/>
                  <a:pt x="3905" y="630"/>
                </a:cubicBezTo>
                <a:lnTo>
                  <a:pt x="3905" y="635"/>
                </a:lnTo>
                <a:cubicBezTo>
                  <a:pt x="3905" y="635"/>
                  <a:pt x="3904" y="634"/>
                  <a:pt x="3903" y="634"/>
                </a:cubicBezTo>
                <a:cubicBezTo>
                  <a:pt x="3903" y="633"/>
                  <a:pt x="3901" y="632"/>
                  <a:pt x="3901" y="632"/>
                </a:cubicBezTo>
                <a:cubicBezTo>
                  <a:pt x="3899" y="632"/>
                  <a:pt x="3897" y="633"/>
                  <a:pt x="3894" y="634"/>
                </a:cubicBezTo>
                <a:cubicBezTo>
                  <a:pt x="3892" y="635"/>
                  <a:pt x="3890" y="636"/>
                  <a:pt x="3888" y="638"/>
                </a:cubicBezTo>
                <a:cubicBezTo>
                  <a:pt x="3886" y="639"/>
                  <a:pt x="3885" y="641"/>
                  <a:pt x="3885" y="642"/>
                </a:cubicBezTo>
                <a:lnTo>
                  <a:pt x="3885" y="643"/>
                </a:lnTo>
                <a:lnTo>
                  <a:pt x="3885" y="646"/>
                </a:lnTo>
                <a:cubicBezTo>
                  <a:pt x="3883" y="648"/>
                  <a:pt x="3881" y="650"/>
                  <a:pt x="3879" y="650"/>
                </a:cubicBezTo>
                <a:cubicBezTo>
                  <a:pt x="3878" y="650"/>
                  <a:pt x="3878" y="649"/>
                  <a:pt x="3878" y="649"/>
                </a:cubicBezTo>
                <a:cubicBezTo>
                  <a:pt x="3878" y="648"/>
                  <a:pt x="3878" y="647"/>
                  <a:pt x="3879" y="646"/>
                </a:cubicBezTo>
                <a:cubicBezTo>
                  <a:pt x="3881" y="644"/>
                  <a:pt x="3881" y="643"/>
                  <a:pt x="3881" y="643"/>
                </a:cubicBezTo>
                <a:lnTo>
                  <a:pt x="3881" y="643"/>
                </a:lnTo>
                <a:cubicBezTo>
                  <a:pt x="3880" y="643"/>
                  <a:pt x="3876" y="644"/>
                  <a:pt x="3871" y="648"/>
                </a:cubicBezTo>
                <a:cubicBezTo>
                  <a:pt x="3866" y="652"/>
                  <a:pt x="3863" y="654"/>
                  <a:pt x="3863" y="655"/>
                </a:cubicBezTo>
                <a:cubicBezTo>
                  <a:pt x="3863" y="657"/>
                  <a:pt x="3863" y="658"/>
                  <a:pt x="3862" y="659"/>
                </a:cubicBezTo>
                <a:cubicBezTo>
                  <a:pt x="3861" y="660"/>
                  <a:pt x="3859" y="661"/>
                  <a:pt x="3858" y="661"/>
                </a:cubicBezTo>
                <a:cubicBezTo>
                  <a:pt x="3858" y="661"/>
                  <a:pt x="3858" y="660"/>
                  <a:pt x="3859" y="659"/>
                </a:cubicBezTo>
                <a:cubicBezTo>
                  <a:pt x="3861" y="658"/>
                  <a:pt x="3861" y="657"/>
                  <a:pt x="3861" y="656"/>
                </a:cubicBezTo>
                <a:cubicBezTo>
                  <a:pt x="3861" y="655"/>
                  <a:pt x="3861" y="655"/>
                  <a:pt x="3861" y="655"/>
                </a:cubicBezTo>
                <a:cubicBezTo>
                  <a:pt x="3859" y="655"/>
                  <a:pt x="3857" y="655"/>
                  <a:pt x="3855" y="657"/>
                </a:cubicBezTo>
                <a:cubicBezTo>
                  <a:pt x="3853" y="658"/>
                  <a:pt x="3852" y="659"/>
                  <a:pt x="3852" y="660"/>
                </a:cubicBezTo>
                <a:cubicBezTo>
                  <a:pt x="3852" y="661"/>
                  <a:pt x="3853" y="661"/>
                  <a:pt x="3853" y="661"/>
                </a:cubicBezTo>
                <a:cubicBezTo>
                  <a:pt x="3854" y="661"/>
                  <a:pt x="3854" y="661"/>
                  <a:pt x="3854" y="662"/>
                </a:cubicBezTo>
                <a:lnTo>
                  <a:pt x="3854" y="665"/>
                </a:lnTo>
                <a:cubicBezTo>
                  <a:pt x="3854" y="666"/>
                  <a:pt x="3854" y="668"/>
                  <a:pt x="3856" y="669"/>
                </a:cubicBezTo>
                <a:cubicBezTo>
                  <a:pt x="3857" y="671"/>
                  <a:pt x="3858" y="672"/>
                  <a:pt x="3858" y="673"/>
                </a:cubicBezTo>
                <a:cubicBezTo>
                  <a:pt x="3858" y="674"/>
                  <a:pt x="3857" y="674"/>
                  <a:pt x="3855" y="674"/>
                </a:cubicBezTo>
                <a:cubicBezTo>
                  <a:pt x="3853" y="674"/>
                  <a:pt x="3847" y="677"/>
                  <a:pt x="3839" y="681"/>
                </a:cubicBezTo>
                <a:cubicBezTo>
                  <a:pt x="3831" y="686"/>
                  <a:pt x="3827" y="689"/>
                  <a:pt x="3827" y="690"/>
                </a:cubicBezTo>
                <a:cubicBezTo>
                  <a:pt x="3827" y="691"/>
                  <a:pt x="3826" y="692"/>
                  <a:pt x="3824" y="692"/>
                </a:cubicBezTo>
                <a:lnTo>
                  <a:pt x="3820" y="692"/>
                </a:lnTo>
                <a:cubicBezTo>
                  <a:pt x="3817" y="692"/>
                  <a:pt x="3816" y="692"/>
                  <a:pt x="3816" y="693"/>
                </a:cubicBezTo>
                <a:cubicBezTo>
                  <a:pt x="3816" y="694"/>
                  <a:pt x="3816" y="694"/>
                  <a:pt x="3815" y="694"/>
                </a:cubicBezTo>
                <a:lnTo>
                  <a:pt x="3812" y="693"/>
                </a:lnTo>
                <a:cubicBezTo>
                  <a:pt x="3812" y="693"/>
                  <a:pt x="3812" y="693"/>
                  <a:pt x="3812" y="694"/>
                </a:cubicBezTo>
                <a:cubicBezTo>
                  <a:pt x="3812" y="695"/>
                  <a:pt x="3812" y="696"/>
                  <a:pt x="3813" y="697"/>
                </a:cubicBezTo>
                <a:cubicBezTo>
                  <a:pt x="3813" y="699"/>
                  <a:pt x="3814" y="699"/>
                  <a:pt x="3814" y="700"/>
                </a:cubicBezTo>
                <a:cubicBezTo>
                  <a:pt x="3813" y="700"/>
                  <a:pt x="3812" y="698"/>
                  <a:pt x="3811" y="696"/>
                </a:cubicBezTo>
                <a:cubicBezTo>
                  <a:pt x="3809" y="694"/>
                  <a:pt x="3807" y="693"/>
                  <a:pt x="3807" y="693"/>
                </a:cubicBezTo>
                <a:cubicBezTo>
                  <a:pt x="3807" y="693"/>
                  <a:pt x="3806" y="693"/>
                  <a:pt x="3806" y="694"/>
                </a:cubicBezTo>
                <a:cubicBezTo>
                  <a:pt x="3806" y="694"/>
                  <a:pt x="3807" y="696"/>
                  <a:pt x="3807" y="697"/>
                </a:cubicBezTo>
                <a:cubicBezTo>
                  <a:pt x="3808" y="698"/>
                  <a:pt x="3808" y="700"/>
                  <a:pt x="3808" y="701"/>
                </a:cubicBezTo>
                <a:cubicBezTo>
                  <a:pt x="3808" y="703"/>
                  <a:pt x="3807" y="704"/>
                  <a:pt x="3805" y="704"/>
                </a:cubicBezTo>
                <a:cubicBezTo>
                  <a:pt x="3804" y="704"/>
                  <a:pt x="3804" y="704"/>
                  <a:pt x="3804" y="703"/>
                </a:cubicBezTo>
                <a:lnTo>
                  <a:pt x="3804" y="700"/>
                </a:lnTo>
                <a:cubicBezTo>
                  <a:pt x="3804" y="699"/>
                  <a:pt x="3804" y="698"/>
                  <a:pt x="3802" y="698"/>
                </a:cubicBezTo>
                <a:cubicBezTo>
                  <a:pt x="3800" y="698"/>
                  <a:pt x="3799" y="700"/>
                  <a:pt x="3799" y="703"/>
                </a:cubicBezTo>
                <a:cubicBezTo>
                  <a:pt x="3799" y="706"/>
                  <a:pt x="3797" y="709"/>
                  <a:pt x="3793" y="711"/>
                </a:cubicBezTo>
                <a:cubicBezTo>
                  <a:pt x="3790" y="714"/>
                  <a:pt x="3787" y="715"/>
                  <a:pt x="3784" y="715"/>
                </a:cubicBezTo>
                <a:cubicBezTo>
                  <a:pt x="3783" y="715"/>
                  <a:pt x="3782" y="714"/>
                  <a:pt x="3781" y="713"/>
                </a:cubicBezTo>
                <a:cubicBezTo>
                  <a:pt x="3780" y="713"/>
                  <a:pt x="3779" y="712"/>
                  <a:pt x="3779" y="712"/>
                </a:cubicBezTo>
                <a:cubicBezTo>
                  <a:pt x="3779" y="713"/>
                  <a:pt x="3779" y="714"/>
                  <a:pt x="3779" y="716"/>
                </a:cubicBezTo>
                <a:lnTo>
                  <a:pt x="3779" y="716"/>
                </a:lnTo>
                <a:cubicBezTo>
                  <a:pt x="3779" y="719"/>
                  <a:pt x="3772" y="723"/>
                  <a:pt x="3759" y="729"/>
                </a:cubicBezTo>
                <a:cubicBezTo>
                  <a:pt x="3734" y="741"/>
                  <a:pt x="3714" y="747"/>
                  <a:pt x="3697" y="747"/>
                </a:cubicBezTo>
                <a:close/>
                <a:moveTo>
                  <a:pt x="3656" y="627"/>
                </a:moveTo>
                <a:cubicBezTo>
                  <a:pt x="3656" y="627"/>
                  <a:pt x="3657" y="627"/>
                  <a:pt x="3657" y="626"/>
                </a:cubicBezTo>
                <a:cubicBezTo>
                  <a:pt x="3658" y="625"/>
                  <a:pt x="3658" y="624"/>
                  <a:pt x="3659" y="622"/>
                </a:cubicBezTo>
                <a:cubicBezTo>
                  <a:pt x="3660" y="621"/>
                  <a:pt x="3660" y="620"/>
                  <a:pt x="3660" y="618"/>
                </a:cubicBezTo>
                <a:cubicBezTo>
                  <a:pt x="3660" y="618"/>
                  <a:pt x="3660" y="618"/>
                  <a:pt x="3659" y="618"/>
                </a:cubicBezTo>
                <a:cubicBezTo>
                  <a:pt x="3659" y="618"/>
                  <a:pt x="3658" y="618"/>
                  <a:pt x="3658" y="619"/>
                </a:cubicBezTo>
                <a:cubicBezTo>
                  <a:pt x="3657" y="620"/>
                  <a:pt x="3656" y="622"/>
                  <a:pt x="3656" y="623"/>
                </a:cubicBezTo>
                <a:cubicBezTo>
                  <a:pt x="3656" y="624"/>
                  <a:pt x="3655" y="625"/>
                  <a:pt x="3655" y="626"/>
                </a:cubicBezTo>
                <a:cubicBezTo>
                  <a:pt x="3655" y="627"/>
                  <a:pt x="3656" y="627"/>
                  <a:pt x="3656" y="627"/>
                </a:cubicBezTo>
                <a:close/>
                <a:moveTo>
                  <a:pt x="3680" y="734"/>
                </a:moveTo>
                <a:cubicBezTo>
                  <a:pt x="3682" y="734"/>
                  <a:pt x="3683" y="734"/>
                  <a:pt x="3683" y="733"/>
                </a:cubicBezTo>
                <a:lnTo>
                  <a:pt x="3683" y="732"/>
                </a:lnTo>
                <a:lnTo>
                  <a:pt x="3681" y="732"/>
                </a:lnTo>
                <a:cubicBezTo>
                  <a:pt x="3679" y="732"/>
                  <a:pt x="3678" y="732"/>
                  <a:pt x="3678" y="734"/>
                </a:cubicBezTo>
                <a:cubicBezTo>
                  <a:pt x="3678" y="734"/>
                  <a:pt x="3679" y="734"/>
                  <a:pt x="3680" y="734"/>
                </a:cubicBezTo>
                <a:close/>
                <a:moveTo>
                  <a:pt x="3785" y="712"/>
                </a:moveTo>
                <a:cubicBezTo>
                  <a:pt x="3787" y="712"/>
                  <a:pt x="3789" y="711"/>
                  <a:pt x="3789" y="710"/>
                </a:cubicBezTo>
                <a:cubicBezTo>
                  <a:pt x="3789" y="710"/>
                  <a:pt x="3789" y="709"/>
                  <a:pt x="3788" y="708"/>
                </a:cubicBezTo>
                <a:cubicBezTo>
                  <a:pt x="3787" y="707"/>
                  <a:pt x="3786" y="707"/>
                  <a:pt x="3786" y="707"/>
                </a:cubicBezTo>
                <a:cubicBezTo>
                  <a:pt x="3786" y="707"/>
                  <a:pt x="3785" y="708"/>
                  <a:pt x="3784" y="709"/>
                </a:cubicBezTo>
                <a:cubicBezTo>
                  <a:pt x="3782" y="710"/>
                  <a:pt x="3782" y="711"/>
                  <a:pt x="3781" y="711"/>
                </a:cubicBezTo>
                <a:lnTo>
                  <a:pt x="3785" y="712"/>
                </a:lnTo>
                <a:close/>
                <a:moveTo>
                  <a:pt x="3701" y="735"/>
                </a:moveTo>
                <a:cubicBezTo>
                  <a:pt x="3702" y="735"/>
                  <a:pt x="3708" y="733"/>
                  <a:pt x="3718" y="730"/>
                </a:cubicBezTo>
                <a:cubicBezTo>
                  <a:pt x="3721" y="730"/>
                  <a:pt x="3729" y="727"/>
                  <a:pt x="3742" y="722"/>
                </a:cubicBezTo>
                <a:cubicBezTo>
                  <a:pt x="3754" y="717"/>
                  <a:pt x="3761" y="714"/>
                  <a:pt x="3762" y="713"/>
                </a:cubicBezTo>
                <a:cubicBezTo>
                  <a:pt x="3762" y="713"/>
                  <a:pt x="3764" y="712"/>
                  <a:pt x="3768" y="712"/>
                </a:cubicBezTo>
                <a:cubicBezTo>
                  <a:pt x="3772" y="711"/>
                  <a:pt x="3776" y="709"/>
                  <a:pt x="3781" y="706"/>
                </a:cubicBezTo>
                <a:cubicBezTo>
                  <a:pt x="3785" y="704"/>
                  <a:pt x="3788" y="702"/>
                  <a:pt x="3789" y="702"/>
                </a:cubicBezTo>
                <a:cubicBezTo>
                  <a:pt x="3789" y="702"/>
                  <a:pt x="3790" y="703"/>
                  <a:pt x="3790" y="703"/>
                </a:cubicBezTo>
                <a:lnTo>
                  <a:pt x="3789" y="706"/>
                </a:lnTo>
                <a:cubicBezTo>
                  <a:pt x="3789" y="707"/>
                  <a:pt x="3789" y="708"/>
                  <a:pt x="3791" y="708"/>
                </a:cubicBezTo>
                <a:cubicBezTo>
                  <a:pt x="3792" y="708"/>
                  <a:pt x="3793" y="707"/>
                  <a:pt x="3795" y="706"/>
                </a:cubicBezTo>
                <a:cubicBezTo>
                  <a:pt x="3796" y="705"/>
                  <a:pt x="3797" y="705"/>
                  <a:pt x="3797" y="704"/>
                </a:cubicBezTo>
                <a:cubicBezTo>
                  <a:pt x="3797" y="704"/>
                  <a:pt x="3796" y="703"/>
                  <a:pt x="3795" y="702"/>
                </a:cubicBezTo>
                <a:cubicBezTo>
                  <a:pt x="3793" y="701"/>
                  <a:pt x="3792" y="701"/>
                  <a:pt x="3792" y="700"/>
                </a:cubicBezTo>
                <a:lnTo>
                  <a:pt x="3792" y="699"/>
                </a:lnTo>
                <a:cubicBezTo>
                  <a:pt x="3796" y="697"/>
                  <a:pt x="3801" y="694"/>
                  <a:pt x="3806" y="692"/>
                </a:cubicBezTo>
                <a:lnTo>
                  <a:pt x="3811" y="691"/>
                </a:lnTo>
                <a:cubicBezTo>
                  <a:pt x="3813" y="691"/>
                  <a:pt x="3814" y="690"/>
                  <a:pt x="3814" y="688"/>
                </a:cubicBezTo>
                <a:cubicBezTo>
                  <a:pt x="3814" y="687"/>
                  <a:pt x="3814" y="686"/>
                  <a:pt x="3812" y="686"/>
                </a:cubicBezTo>
                <a:cubicBezTo>
                  <a:pt x="3811" y="686"/>
                  <a:pt x="3808" y="688"/>
                  <a:pt x="3804" y="690"/>
                </a:cubicBezTo>
                <a:lnTo>
                  <a:pt x="3802" y="691"/>
                </a:lnTo>
                <a:cubicBezTo>
                  <a:pt x="3801" y="691"/>
                  <a:pt x="3801" y="690"/>
                  <a:pt x="3801" y="690"/>
                </a:cubicBezTo>
                <a:lnTo>
                  <a:pt x="3802" y="688"/>
                </a:lnTo>
                <a:cubicBezTo>
                  <a:pt x="3802" y="687"/>
                  <a:pt x="3802" y="687"/>
                  <a:pt x="3802" y="687"/>
                </a:cubicBezTo>
                <a:cubicBezTo>
                  <a:pt x="3801" y="687"/>
                  <a:pt x="3801" y="687"/>
                  <a:pt x="3800" y="688"/>
                </a:cubicBezTo>
                <a:cubicBezTo>
                  <a:pt x="3799" y="688"/>
                  <a:pt x="3798" y="688"/>
                  <a:pt x="3798" y="689"/>
                </a:cubicBezTo>
                <a:cubicBezTo>
                  <a:pt x="3797" y="690"/>
                  <a:pt x="3797" y="690"/>
                  <a:pt x="3797" y="691"/>
                </a:cubicBezTo>
                <a:lnTo>
                  <a:pt x="3797" y="691"/>
                </a:lnTo>
                <a:cubicBezTo>
                  <a:pt x="3797" y="693"/>
                  <a:pt x="3796" y="694"/>
                  <a:pt x="3792" y="694"/>
                </a:cubicBezTo>
                <a:cubicBezTo>
                  <a:pt x="3787" y="695"/>
                  <a:pt x="3777" y="699"/>
                  <a:pt x="3761" y="707"/>
                </a:cubicBezTo>
                <a:cubicBezTo>
                  <a:pt x="3749" y="713"/>
                  <a:pt x="3741" y="718"/>
                  <a:pt x="3735" y="720"/>
                </a:cubicBezTo>
                <a:cubicBezTo>
                  <a:pt x="3730" y="722"/>
                  <a:pt x="3726" y="723"/>
                  <a:pt x="3722" y="724"/>
                </a:cubicBezTo>
                <a:cubicBezTo>
                  <a:pt x="3719" y="725"/>
                  <a:pt x="3717" y="725"/>
                  <a:pt x="3717" y="727"/>
                </a:cubicBezTo>
                <a:cubicBezTo>
                  <a:pt x="3716" y="728"/>
                  <a:pt x="3715" y="728"/>
                  <a:pt x="3714" y="728"/>
                </a:cubicBezTo>
                <a:cubicBezTo>
                  <a:pt x="3713" y="728"/>
                  <a:pt x="3712" y="728"/>
                  <a:pt x="3711" y="728"/>
                </a:cubicBezTo>
                <a:cubicBezTo>
                  <a:pt x="3710" y="728"/>
                  <a:pt x="3709" y="728"/>
                  <a:pt x="3709" y="728"/>
                </a:cubicBezTo>
                <a:cubicBezTo>
                  <a:pt x="3708" y="728"/>
                  <a:pt x="3708" y="728"/>
                  <a:pt x="3708" y="728"/>
                </a:cubicBezTo>
                <a:lnTo>
                  <a:pt x="3709" y="730"/>
                </a:lnTo>
                <a:cubicBezTo>
                  <a:pt x="3709" y="731"/>
                  <a:pt x="3708" y="732"/>
                  <a:pt x="3707" y="732"/>
                </a:cubicBezTo>
                <a:lnTo>
                  <a:pt x="3698" y="730"/>
                </a:lnTo>
                <a:lnTo>
                  <a:pt x="3698" y="730"/>
                </a:lnTo>
                <a:lnTo>
                  <a:pt x="3699" y="731"/>
                </a:lnTo>
                <a:cubicBezTo>
                  <a:pt x="3700" y="732"/>
                  <a:pt x="3700" y="732"/>
                  <a:pt x="3700" y="733"/>
                </a:cubicBezTo>
                <a:lnTo>
                  <a:pt x="3700" y="735"/>
                </a:lnTo>
                <a:lnTo>
                  <a:pt x="3701" y="735"/>
                </a:lnTo>
                <a:close/>
                <a:moveTo>
                  <a:pt x="3807" y="686"/>
                </a:moveTo>
                <a:cubicBezTo>
                  <a:pt x="3809" y="686"/>
                  <a:pt x="3810" y="685"/>
                  <a:pt x="3811" y="683"/>
                </a:cubicBezTo>
                <a:lnTo>
                  <a:pt x="3811" y="683"/>
                </a:lnTo>
                <a:cubicBezTo>
                  <a:pt x="3811" y="683"/>
                  <a:pt x="3811" y="683"/>
                  <a:pt x="3811" y="683"/>
                </a:cubicBezTo>
                <a:lnTo>
                  <a:pt x="3809" y="683"/>
                </a:lnTo>
                <a:cubicBezTo>
                  <a:pt x="3806" y="684"/>
                  <a:pt x="3805" y="685"/>
                  <a:pt x="3805" y="686"/>
                </a:cubicBezTo>
                <a:cubicBezTo>
                  <a:pt x="3805" y="686"/>
                  <a:pt x="3806" y="686"/>
                  <a:pt x="3807" y="686"/>
                </a:cubicBezTo>
                <a:close/>
                <a:moveTo>
                  <a:pt x="3687" y="727"/>
                </a:moveTo>
                <a:cubicBezTo>
                  <a:pt x="3691" y="727"/>
                  <a:pt x="3696" y="726"/>
                  <a:pt x="3701" y="725"/>
                </a:cubicBezTo>
                <a:cubicBezTo>
                  <a:pt x="3704" y="724"/>
                  <a:pt x="3706" y="724"/>
                  <a:pt x="3709" y="723"/>
                </a:cubicBezTo>
                <a:cubicBezTo>
                  <a:pt x="3711" y="722"/>
                  <a:pt x="3713" y="722"/>
                  <a:pt x="3714" y="722"/>
                </a:cubicBezTo>
                <a:cubicBezTo>
                  <a:pt x="3714" y="721"/>
                  <a:pt x="3715" y="721"/>
                  <a:pt x="3716" y="721"/>
                </a:cubicBezTo>
                <a:cubicBezTo>
                  <a:pt x="3717" y="720"/>
                  <a:pt x="3717" y="720"/>
                  <a:pt x="3718" y="719"/>
                </a:cubicBezTo>
                <a:cubicBezTo>
                  <a:pt x="3719" y="718"/>
                  <a:pt x="3720" y="718"/>
                  <a:pt x="3722" y="718"/>
                </a:cubicBezTo>
                <a:cubicBezTo>
                  <a:pt x="3724" y="718"/>
                  <a:pt x="3730" y="716"/>
                  <a:pt x="3739" y="712"/>
                </a:cubicBezTo>
                <a:cubicBezTo>
                  <a:pt x="3748" y="708"/>
                  <a:pt x="3757" y="705"/>
                  <a:pt x="3766" y="700"/>
                </a:cubicBezTo>
                <a:cubicBezTo>
                  <a:pt x="3772" y="697"/>
                  <a:pt x="3777" y="695"/>
                  <a:pt x="3781" y="694"/>
                </a:cubicBezTo>
                <a:cubicBezTo>
                  <a:pt x="3783" y="694"/>
                  <a:pt x="3784" y="693"/>
                  <a:pt x="3785" y="691"/>
                </a:cubicBezTo>
                <a:cubicBezTo>
                  <a:pt x="3786" y="690"/>
                  <a:pt x="3787" y="690"/>
                  <a:pt x="3787" y="690"/>
                </a:cubicBezTo>
                <a:lnTo>
                  <a:pt x="3789" y="690"/>
                </a:lnTo>
                <a:cubicBezTo>
                  <a:pt x="3789" y="690"/>
                  <a:pt x="3790" y="689"/>
                  <a:pt x="3790" y="688"/>
                </a:cubicBezTo>
                <a:cubicBezTo>
                  <a:pt x="3790" y="687"/>
                  <a:pt x="3791" y="687"/>
                  <a:pt x="3792" y="687"/>
                </a:cubicBezTo>
                <a:cubicBezTo>
                  <a:pt x="3794" y="687"/>
                  <a:pt x="3796" y="686"/>
                  <a:pt x="3797" y="686"/>
                </a:cubicBezTo>
                <a:cubicBezTo>
                  <a:pt x="3799" y="683"/>
                  <a:pt x="3802" y="682"/>
                  <a:pt x="3804" y="681"/>
                </a:cubicBezTo>
                <a:cubicBezTo>
                  <a:pt x="3806" y="681"/>
                  <a:pt x="3807" y="680"/>
                  <a:pt x="3808" y="679"/>
                </a:cubicBezTo>
                <a:cubicBezTo>
                  <a:pt x="3809" y="678"/>
                  <a:pt x="3810" y="678"/>
                  <a:pt x="3811" y="678"/>
                </a:cubicBezTo>
                <a:cubicBezTo>
                  <a:pt x="3816" y="677"/>
                  <a:pt x="3818" y="677"/>
                  <a:pt x="3818" y="676"/>
                </a:cubicBezTo>
                <a:lnTo>
                  <a:pt x="3817" y="674"/>
                </a:lnTo>
                <a:cubicBezTo>
                  <a:pt x="3817" y="674"/>
                  <a:pt x="3819" y="674"/>
                  <a:pt x="3821" y="674"/>
                </a:cubicBezTo>
                <a:cubicBezTo>
                  <a:pt x="3823" y="674"/>
                  <a:pt x="3824" y="674"/>
                  <a:pt x="3824" y="674"/>
                </a:cubicBezTo>
                <a:cubicBezTo>
                  <a:pt x="3824" y="674"/>
                  <a:pt x="3823" y="675"/>
                  <a:pt x="3821" y="676"/>
                </a:cubicBezTo>
                <a:cubicBezTo>
                  <a:pt x="3820" y="677"/>
                  <a:pt x="3819" y="678"/>
                  <a:pt x="3819" y="679"/>
                </a:cubicBezTo>
                <a:cubicBezTo>
                  <a:pt x="3819" y="679"/>
                  <a:pt x="3820" y="680"/>
                  <a:pt x="3821" y="680"/>
                </a:cubicBezTo>
                <a:lnTo>
                  <a:pt x="3822" y="681"/>
                </a:lnTo>
                <a:cubicBezTo>
                  <a:pt x="3822" y="681"/>
                  <a:pt x="3821" y="681"/>
                  <a:pt x="3821" y="681"/>
                </a:cubicBezTo>
                <a:lnTo>
                  <a:pt x="3815" y="680"/>
                </a:lnTo>
                <a:cubicBezTo>
                  <a:pt x="3815" y="680"/>
                  <a:pt x="3816" y="681"/>
                  <a:pt x="3816" y="681"/>
                </a:cubicBezTo>
                <a:cubicBezTo>
                  <a:pt x="3817" y="681"/>
                  <a:pt x="3817" y="682"/>
                  <a:pt x="3817" y="683"/>
                </a:cubicBezTo>
                <a:lnTo>
                  <a:pt x="3817" y="685"/>
                </a:lnTo>
                <a:cubicBezTo>
                  <a:pt x="3817" y="686"/>
                  <a:pt x="3817" y="687"/>
                  <a:pt x="3819" y="687"/>
                </a:cubicBezTo>
                <a:cubicBezTo>
                  <a:pt x="3820" y="687"/>
                  <a:pt x="3821" y="685"/>
                  <a:pt x="3824" y="681"/>
                </a:cubicBezTo>
                <a:cubicBezTo>
                  <a:pt x="3824" y="679"/>
                  <a:pt x="3826" y="678"/>
                  <a:pt x="3827" y="676"/>
                </a:cubicBezTo>
                <a:cubicBezTo>
                  <a:pt x="3828" y="675"/>
                  <a:pt x="3829" y="674"/>
                  <a:pt x="3830" y="674"/>
                </a:cubicBezTo>
                <a:cubicBezTo>
                  <a:pt x="3831" y="674"/>
                  <a:pt x="3831" y="675"/>
                  <a:pt x="3831" y="675"/>
                </a:cubicBezTo>
                <a:cubicBezTo>
                  <a:pt x="3831" y="675"/>
                  <a:pt x="3831" y="676"/>
                  <a:pt x="3830" y="676"/>
                </a:cubicBezTo>
                <a:cubicBezTo>
                  <a:pt x="3828" y="677"/>
                  <a:pt x="3828" y="678"/>
                  <a:pt x="3828" y="679"/>
                </a:cubicBezTo>
                <a:cubicBezTo>
                  <a:pt x="3828" y="680"/>
                  <a:pt x="3829" y="681"/>
                  <a:pt x="3830" y="681"/>
                </a:cubicBezTo>
                <a:cubicBezTo>
                  <a:pt x="3831" y="681"/>
                  <a:pt x="3832" y="680"/>
                  <a:pt x="3832" y="679"/>
                </a:cubicBezTo>
                <a:cubicBezTo>
                  <a:pt x="3832" y="679"/>
                  <a:pt x="3832" y="678"/>
                  <a:pt x="3832" y="676"/>
                </a:cubicBezTo>
                <a:lnTo>
                  <a:pt x="3832" y="673"/>
                </a:lnTo>
                <a:cubicBezTo>
                  <a:pt x="3832" y="672"/>
                  <a:pt x="3832" y="671"/>
                  <a:pt x="3831" y="669"/>
                </a:cubicBezTo>
                <a:cubicBezTo>
                  <a:pt x="3830" y="668"/>
                  <a:pt x="3830" y="666"/>
                  <a:pt x="3830" y="666"/>
                </a:cubicBezTo>
                <a:cubicBezTo>
                  <a:pt x="3830" y="666"/>
                  <a:pt x="3830" y="665"/>
                  <a:pt x="3830" y="665"/>
                </a:cubicBezTo>
                <a:lnTo>
                  <a:pt x="3834" y="666"/>
                </a:lnTo>
                <a:cubicBezTo>
                  <a:pt x="3836" y="666"/>
                  <a:pt x="3837" y="665"/>
                  <a:pt x="3837" y="664"/>
                </a:cubicBezTo>
                <a:lnTo>
                  <a:pt x="3837" y="663"/>
                </a:lnTo>
                <a:cubicBezTo>
                  <a:pt x="3837" y="662"/>
                  <a:pt x="3840" y="661"/>
                  <a:pt x="3846" y="661"/>
                </a:cubicBezTo>
                <a:cubicBezTo>
                  <a:pt x="3846" y="662"/>
                  <a:pt x="3844" y="664"/>
                  <a:pt x="3841" y="666"/>
                </a:cubicBezTo>
                <a:cubicBezTo>
                  <a:pt x="3837" y="668"/>
                  <a:pt x="3835" y="669"/>
                  <a:pt x="3835" y="670"/>
                </a:cubicBezTo>
                <a:lnTo>
                  <a:pt x="3835" y="670"/>
                </a:lnTo>
                <a:cubicBezTo>
                  <a:pt x="3837" y="670"/>
                  <a:pt x="3838" y="671"/>
                  <a:pt x="3838" y="672"/>
                </a:cubicBezTo>
                <a:lnTo>
                  <a:pt x="3838" y="673"/>
                </a:lnTo>
                <a:cubicBezTo>
                  <a:pt x="3838" y="674"/>
                  <a:pt x="3838" y="675"/>
                  <a:pt x="3840" y="676"/>
                </a:cubicBezTo>
                <a:lnTo>
                  <a:pt x="3842" y="676"/>
                </a:lnTo>
                <a:lnTo>
                  <a:pt x="3842" y="676"/>
                </a:lnTo>
                <a:lnTo>
                  <a:pt x="3840" y="675"/>
                </a:lnTo>
                <a:cubicBezTo>
                  <a:pt x="3839" y="674"/>
                  <a:pt x="3838" y="673"/>
                  <a:pt x="3838" y="673"/>
                </a:cubicBezTo>
                <a:cubicBezTo>
                  <a:pt x="3838" y="673"/>
                  <a:pt x="3838" y="672"/>
                  <a:pt x="3839" y="672"/>
                </a:cubicBezTo>
                <a:cubicBezTo>
                  <a:pt x="3840" y="672"/>
                  <a:pt x="3841" y="672"/>
                  <a:pt x="3841" y="671"/>
                </a:cubicBezTo>
                <a:cubicBezTo>
                  <a:pt x="3841" y="671"/>
                  <a:pt x="3842" y="670"/>
                  <a:pt x="3842" y="670"/>
                </a:cubicBezTo>
                <a:cubicBezTo>
                  <a:pt x="3842" y="668"/>
                  <a:pt x="3842" y="667"/>
                  <a:pt x="3844" y="666"/>
                </a:cubicBezTo>
                <a:cubicBezTo>
                  <a:pt x="3845" y="666"/>
                  <a:pt x="3846" y="666"/>
                  <a:pt x="3846" y="667"/>
                </a:cubicBezTo>
                <a:lnTo>
                  <a:pt x="3846" y="668"/>
                </a:lnTo>
                <a:cubicBezTo>
                  <a:pt x="3846" y="668"/>
                  <a:pt x="3846" y="668"/>
                  <a:pt x="3846" y="669"/>
                </a:cubicBezTo>
                <a:cubicBezTo>
                  <a:pt x="3847" y="669"/>
                  <a:pt x="3847" y="669"/>
                  <a:pt x="3848" y="669"/>
                </a:cubicBezTo>
                <a:cubicBezTo>
                  <a:pt x="3849" y="669"/>
                  <a:pt x="3849" y="665"/>
                  <a:pt x="3849" y="660"/>
                </a:cubicBezTo>
                <a:cubicBezTo>
                  <a:pt x="3849" y="656"/>
                  <a:pt x="3849" y="654"/>
                  <a:pt x="3848" y="653"/>
                </a:cubicBezTo>
                <a:cubicBezTo>
                  <a:pt x="3846" y="653"/>
                  <a:pt x="3833" y="659"/>
                  <a:pt x="3810" y="671"/>
                </a:cubicBezTo>
                <a:cubicBezTo>
                  <a:pt x="3765" y="694"/>
                  <a:pt x="3737" y="707"/>
                  <a:pt x="3725" y="710"/>
                </a:cubicBezTo>
                <a:lnTo>
                  <a:pt x="3709" y="714"/>
                </a:lnTo>
                <a:cubicBezTo>
                  <a:pt x="3701" y="717"/>
                  <a:pt x="3692" y="718"/>
                  <a:pt x="3680" y="718"/>
                </a:cubicBezTo>
                <a:cubicBezTo>
                  <a:pt x="3671" y="718"/>
                  <a:pt x="3666" y="718"/>
                  <a:pt x="3666" y="720"/>
                </a:cubicBezTo>
                <a:cubicBezTo>
                  <a:pt x="3666" y="721"/>
                  <a:pt x="3668" y="722"/>
                  <a:pt x="3673" y="724"/>
                </a:cubicBezTo>
                <a:cubicBezTo>
                  <a:pt x="3678" y="726"/>
                  <a:pt x="3682" y="727"/>
                  <a:pt x="3687" y="727"/>
                </a:cubicBezTo>
                <a:close/>
                <a:moveTo>
                  <a:pt x="3855" y="652"/>
                </a:moveTo>
                <a:cubicBezTo>
                  <a:pt x="3857" y="652"/>
                  <a:pt x="3858" y="651"/>
                  <a:pt x="3858" y="650"/>
                </a:cubicBezTo>
                <a:cubicBezTo>
                  <a:pt x="3858" y="649"/>
                  <a:pt x="3857" y="648"/>
                  <a:pt x="3857" y="648"/>
                </a:cubicBezTo>
                <a:lnTo>
                  <a:pt x="3855" y="647"/>
                </a:lnTo>
                <a:cubicBezTo>
                  <a:pt x="3854" y="647"/>
                  <a:pt x="3854" y="647"/>
                  <a:pt x="3853" y="648"/>
                </a:cubicBezTo>
                <a:cubicBezTo>
                  <a:pt x="3852" y="649"/>
                  <a:pt x="3851" y="649"/>
                  <a:pt x="3851" y="650"/>
                </a:cubicBezTo>
                <a:cubicBezTo>
                  <a:pt x="3851" y="650"/>
                  <a:pt x="3852" y="651"/>
                  <a:pt x="3853" y="652"/>
                </a:cubicBezTo>
                <a:lnTo>
                  <a:pt x="3855" y="652"/>
                </a:lnTo>
                <a:close/>
                <a:moveTo>
                  <a:pt x="3861" y="650"/>
                </a:moveTo>
                <a:cubicBezTo>
                  <a:pt x="3862" y="650"/>
                  <a:pt x="3863" y="650"/>
                  <a:pt x="3864" y="649"/>
                </a:cubicBezTo>
                <a:cubicBezTo>
                  <a:pt x="3866" y="648"/>
                  <a:pt x="3867" y="647"/>
                  <a:pt x="3867" y="645"/>
                </a:cubicBezTo>
                <a:lnTo>
                  <a:pt x="3867" y="644"/>
                </a:lnTo>
                <a:cubicBezTo>
                  <a:pt x="3866" y="643"/>
                  <a:pt x="3866" y="643"/>
                  <a:pt x="3864" y="643"/>
                </a:cubicBezTo>
                <a:cubicBezTo>
                  <a:pt x="3864" y="643"/>
                  <a:pt x="3863" y="643"/>
                  <a:pt x="3862" y="644"/>
                </a:cubicBezTo>
                <a:cubicBezTo>
                  <a:pt x="3861" y="645"/>
                  <a:pt x="3861" y="647"/>
                  <a:pt x="3861" y="649"/>
                </a:cubicBezTo>
                <a:cubicBezTo>
                  <a:pt x="3861" y="649"/>
                  <a:pt x="3861" y="650"/>
                  <a:pt x="3861" y="650"/>
                </a:cubicBezTo>
                <a:close/>
                <a:moveTo>
                  <a:pt x="3972" y="597"/>
                </a:moveTo>
                <a:cubicBezTo>
                  <a:pt x="3973" y="597"/>
                  <a:pt x="3974" y="595"/>
                  <a:pt x="3974" y="593"/>
                </a:cubicBezTo>
                <a:cubicBezTo>
                  <a:pt x="3974" y="592"/>
                  <a:pt x="3973" y="591"/>
                  <a:pt x="3973" y="591"/>
                </a:cubicBezTo>
                <a:lnTo>
                  <a:pt x="3972" y="592"/>
                </a:lnTo>
                <a:cubicBezTo>
                  <a:pt x="3971" y="592"/>
                  <a:pt x="3971" y="593"/>
                  <a:pt x="3971" y="595"/>
                </a:cubicBezTo>
                <a:cubicBezTo>
                  <a:pt x="3971" y="595"/>
                  <a:pt x="3971" y="595"/>
                  <a:pt x="3971" y="595"/>
                </a:cubicBezTo>
                <a:cubicBezTo>
                  <a:pt x="3971" y="596"/>
                  <a:pt x="3972" y="596"/>
                  <a:pt x="3972" y="597"/>
                </a:cubicBezTo>
                <a:close/>
                <a:moveTo>
                  <a:pt x="3681" y="576"/>
                </a:moveTo>
                <a:cubicBezTo>
                  <a:pt x="3681" y="576"/>
                  <a:pt x="3680" y="576"/>
                  <a:pt x="3680" y="575"/>
                </a:cubicBezTo>
                <a:cubicBezTo>
                  <a:pt x="3680" y="575"/>
                  <a:pt x="3681" y="574"/>
                  <a:pt x="3682" y="573"/>
                </a:cubicBezTo>
                <a:cubicBezTo>
                  <a:pt x="3683" y="572"/>
                  <a:pt x="3684" y="571"/>
                  <a:pt x="3685" y="570"/>
                </a:cubicBezTo>
                <a:cubicBezTo>
                  <a:pt x="3686" y="570"/>
                  <a:pt x="3687" y="569"/>
                  <a:pt x="3687" y="569"/>
                </a:cubicBezTo>
                <a:cubicBezTo>
                  <a:pt x="3687" y="569"/>
                  <a:pt x="3688" y="570"/>
                  <a:pt x="3688" y="570"/>
                </a:cubicBezTo>
                <a:cubicBezTo>
                  <a:pt x="3688" y="570"/>
                  <a:pt x="3687" y="571"/>
                  <a:pt x="3685" y="573"/>
                </a:cubicBezTo>
                <a:cubicBezTo>
                  <a:pt x="3684" y="575"/>
                  <a:pt x="3682" y="576"/>
                  <a:pt x="3681" y="576"/>
                </a:cubicBezTo>
                <a:close/>
                <a:moveTo>
                  <a:pt x="4004" y="578"/>
                </a:moveTo>
                <a:cubicBezTo>
                  <a:pt x="4004" y="578"/>
                  <a:pt x="4004" y="578"/>
                  <a:pt x="4004" y="578"/>
                </a:cubicBezTo>
                <a:cubicBezTo>
                  <a:pt x="4004" y="577"/>
                  <a:pt x="4005" y="576"/>
                  <a:pt x="4007" y="575"/>
                </a:cubicBezTo>
                <a:cubicBezTo>
                  <a:pt x="4008" y="573"/>
                  <a:pt x="4010" y="572"/>
                  <a:pt x="4010" y="572"/>
                </a:cubicBezTo>
                <a:cubicBezTo>
                  <a:pt x="4011" y="572"/>
                  <a:pt x="4011" y="573"/>
                  <a:pt x="4011" y="573"/>
                </a:cubicBezTo>
                <a:lnTo>
                  <a:pt x="4012" y="573"/>
                </a:lnTo>
                <a:cubicBezTo>
                  <a:pt x="4012" y="574"/>
                  <a:pt x="4011" y="575"/>
                  <a:pt x="4010" y="576"/>
                </a:cubicBezTo>
                <a:cubicBezTo>
                  <a:pt x="4010" y="576"/>
                  <a:pt x="4008" y="577"/>
                  <a:pt x="4007" y="578"/>
                </a:cubicBezTo>
                <a:cubicBezTo>
                  <a:pt x="4006" y="578"/>
                  <a:pt x="4005" y="578"/>
                  <a:pt x="4004" y="578"/>
                </a:cubicBezTo>
                <a:close/>
                <a:moveTo>
                  <a:pt x="3661" y="679"/>
                </a:moveTo>
                <a:cubicBezTo>
                  <a:pt x="3661" y="679"/>
                  <a:pt x="3660" y="678"/>
                  <a:pt x="3660" y="676"/>
                </a:cubicBezTo>
                <a:cubicBezTo>
                  <a:pt x="3660" y="674"/>
                  <a:pt x="3661" y="674"/>
                  <a:pt x="3661" y="674"/>
                </a:cubicBezTo>
                <a:cubicBezTo>
                  <a:pt x="3662" y="674"/>
                  <a:pt x="3662" y="674"/>
                  <a:pt x="3663" y="674"/>
                </a:cubicBezTo>
                <a:cubicBezTo>
                  <a:pt x="3663" y="674"/>
                  <a:pt x="3663" y="675"/>
                  <a:pt x="3663" y="676"/>
                </a:cubicBezTo>
                <a:cubicBezTo>
                  <a:pt x="3663" y="676"/>
                  <a:pt x="3663" y="677"/>
                  <a:pt x="3663" y="678"/>
                </a:cubicBezTo>
                <a:cubicBezTo>
                  <a:pt x="3662" y="679"/>
                  <a:pt x="3662" y="679"/>
                  <a:pt x="3661" y="679"/>
                </a:cubicBezTo>
                <a:close/>
                <a:moveTo>
                  <a:pt x="3869" y="656"/>
                </a:moveTo>
                <a:cubicBezTo>
                  <a:pt x="3868" y="656"/>
                  <a:pt x="3868" y="656"/>
                  <a:pt x="3868" y="654"/>
                </a:cubicBezTo>
                <a:cubicBezTo>
                  <a:pt x="3868" y="654"/>
                  <a:pt x="3869" y="653"/>
                  <a:pt x="3869" y="652"/>
                </a:cubicBezTo>
                <a:cubicBezTo>
                  <a:pt x="3870" y="652"/>
                  <a:pt x="3871" y="652"/>
                  <a:pt x="3872" y="651"/>
                </a:cubicBezTo>
                <a:cubicBezTo>
                  <a:pt x="3873" y="650"/>
                  <a:pt x="3874" y="650"/>
                  <a:pt x="3874" y="650"/>
                </a:cubicBezTo>
                <a:lnTo>
                  <a:pt x="3874" y="650"/>
                </a:lnTo>
                <a:lnTo>
                  <a:pt x="3873" y="653"/>
                </a:lnTo>
                <a:cubicBezTo>
                  <a:pt x="3871" y="655"/>
                  <a:pt x="3870" y="656"/>
                  <a:pt x="3869" y="656"/>
                </a:cubicBezTo>
                <a:close/>
                <a:moveTo>
                  <a:pt x="3919" y="633"/>
                </a:moveTo>
                <a:lnTo>
                  <a:pt x="3916" y="633"/>
                </a:lnTo>
                <a:cubicBezTo>
                  <a:pt x="3916" y="633"/>
                  <a:pt x="3917" y="632"/>
                  <a:pt x="3918" y="632"/>
                </a:cubicBezTo>
                <a:cubicBezTo>
                  <a:pt x="3921" y="631"/>
                  <a:pt x="3923" y="630"/>
                  <a:pt x="3925" y="627"/>
                </a:cubicBezTo>
                <a:cubicBezTo>
                  <a:pt x="3927" y="626"/>
                  <a:pt x="3929" y="625"/>
                  <a:pt x="3931" y="625"/>
                </a:cubicBezTo>
                <a:cubicBezTo>
                  <a:pt x="3932" y="625"/>
                  <a:pt x="3933" y="625"/>
                  <a:pt x="3933" y="626"/>
                </a:cubicBezTo>
                <a:lnTo>
                  <a:pt x="3930" y="626"/>
                </a:lnTo>
                <a:cubicBezTo>
                  <a:pt x="3928" y="626"/>
                  <a:pt x="3926" y="627"/>
                  <a:pt x="3925" y="630"/>
                </a:cubicBezTo>
                <a:cubicBezTo>
                  <a:pt x="3923" y="632"/>
                  <a:pt x="3921" y="633"/>
                  <a:pt x="3919" y="633"/>
                </a:cubicBezTo>
                <a:close/>
                <a:moveTo>
                  <a:pt x="3902" y="644"/>
                </a:moveTo>
                <a:cubicBezTo>
                  <a:pt x="3901" y="644"/>
                  <a:pt x="3901" y="643"/>
                  <a:pt x="3901" y="643"/>
                </a:cubicBezTo>
                <a:cubicBezTo>
                  <a:pt x="3901" y="642"/>
                  <a:pt x="3903" y="640"/>
                  <a:pt x="3908" y="638"/>
                </a:cubicBezTo>
                <a:cubicBezTo>
                  <a:pt x="3910" y="637"/>
                  <a:pt x="3912" y="637"/>
                  <a:pt x="3913" y="637"/>
                </a:cubicBezTo>
                <a:lnTo>
                  <a:pt x="3913" y="637"/>
                </a:lnTo>
                <a:cubicBezTo>
                  <a:pt x="3913" y="637"/>
                  <a:pt x="3913" y="638"/>
                  <a:pt x="3911" y="639"/>
                </a:cubicBezTo>
                <a:cubicBezTo>
                  <a:pt x="3910" y="640"/>
                  <a:pt x="3909" y="641"/>
                  <a:pt x="3907" y="642"/>
                </a:cubicBezTo>
                <a:cubicBezTo>
                  <a:pt x="3905" y="643"/>
                  <a:pt x="3903" y="644"/>
                  <a:pt x="3902" y="644"/>
                </a:cubicBezTo>
                <a:close/>
                <a:moveTo>
                  <a:pt x="3862" y="669"/>
                </a:moveTo>
                <a:cubicBezTo>
                  <a:pt x="3861" y="669"/>
                  <a:pt x="3860" y="669"/>
                  <a:pt x="3858" y="669"/>
                </a:cubicBezTo>
                <a:cubicBezTo>
                  <a:pt x="3857" y="669"/>
                  <a:pt x="3856" y="668"/>
                  <a:pt x="3856" y="667"/>
                </a:cubicBezTo>
                <a:cubicBezTo>
                  <a:pt x="3856" y="666"/>
                  <a:pt x="3858" y="665"/>
                  <a:pt x="3861" y="665"/>
                </a:cubicBezTo>
                <a:cubicBezTo>
                  <a:pt x="3863" y="665"/>
                  <a:pt x="3865" y="665"/>
                  <a:pt x="3865" y="664"/>
                </a:cubicBezTo>
                <a:lnTo>
                  <a:pt x="3864" y="662"/>
                </a:lnTo>
                <a:cubicBezTo>
                  <a:pt x="3864" y="661"/>
                  <a:pt x="3864" y="661"/>
                  <a:pt x="3865" y="661"/>
                </a:cubicBezTo>
                <a:lnTo>
                  <a:pt x="3865" y="661"/>
                </a:lnTo>
                <a:cubicBezTo>
                  <a:pt x="3867" y="661"/>
                  <a:pt x="3869" y="660"/>
                  <a:pt x="3873" y="659"/>
                </a:cubicBezTo>
                <a:cubicBezTo>
                  <a:pt x="3876" y="657"/>
                  <a:pt x="3880" y="655"/>
                  <a:pt x="3884" y="653"/>
                </a:cubicBezTo>
                <a:cubicBezTo>
                  <a:pt x="3887" y="651"/>
                  <a:pt x="3890" y="649"/>
                  <a:pt x="3892" y="647"/>
                </a:cubicBezTo>
                <a:cubicBezTo>
                  <a:pt x="3894" y="646"/>
                  <a:pt x="3896" y="645"/>
                  <a:pt x="3897" y="645"/>
                </a:cubicBezTo>
                <a:cubicBezTo>
                  <a:pt x="3898" y="645"/>
                  <a:pt x="3899" y="646"/>
                  <a:pt x="3899" y="647"/>
                </a:cubicBezTo>
                <a:cubicBezTo>
                  <a:pt x="3899" y="649"/>
                  <a:pt x="3898" y="649"/>
                  <a:pt x="3896" y="649"/>
                </a:cubicBezTo>
                <a:cubicBezTo>
                  <a:pt x="3894" y="649"/>
                  <a:pt x="3893" y="650"/>
                  <a:pt x="3893" y="651"/>
                </a:cubicBezTo>
                <a:lnTo>
                  <a:pt x="3894" y="653"/>
                </a:lnTo>
                <a:cubicBezTo>
                  <a:pt x="3894" y="654"/>
                  <a:pt x="3894" y="654"/>
                  <a:pt x="3893" y="654"/>
                </a:cubicBezTo>
                <a:lnTo>
                  <a:pt x="3892" y="653"/>
                </a:lnTo>
                <a:cubicBezTo>
                  <a:pt x="3890" y="653"/>
                  <a:pt x="3888" y="654"/>
                  <a:pt x="3887" y="656"/>
                </a:cubicBezTo>
                <a:cubicBezTo>
                  <a:pt x="3885" y="658"/>
                  <a:pt x="3884" y="659"/>
                  <a:pt x="3882" y="659"/>
                </a:cubicBezTo>
                <a:cubicBezTo>
                  <a:pt x="3881" y="659"/>
                  <a:pt x="3879" y="660"/>
                  <a:pt x="3876" y="661"/>
                </a:cubicBezTo>
                <a:cubicBezTo>
                  <a:pt x="3869" y="665"/>
                  <a:pt x="3866" y="667"/>
                  <a:pt x="3866" y="668"/>
                </a:cubicBezTo>
                <a:cubicBezTo>
                  <a:pt x="3866" y="669"/>
                  <a:pt x="3865" y="669"/>
                  <a:pt x="3862" y="669"/>
                </a:cubicBezTo>
                <a:close/>
                <a:moveTo>
                  <a:pt x="3856" y="667"/>
                </a:moveTo>
                <a:close/>
                <a:moveTo>
                  <a:pt x="3938" y="623"/>
                </a:moveTo>
                <a:cubicBezTo>
                  <a:pt x="3938" y="623"/>
                  <a:pt x="3938" y="623"/>
                  <a:pt x="3938" y="623"/>
                </a:cubicBezTo>
                <a:cubicBezTo>
                  <a:pt x="3938" y="622"/>
                  <a:pt x="3939" y="620"/>
                  <a:pt x="3940" y="618"/>
                </a:cubicBezTo>
                <a:cubicBezTo>
                  <a:pt x="3944" y="614"/>
                  <a:pt x="3946" y="611"/>
                  <a:pt x="3948" y="611"/>
                </a:cubicBezTo>
                <a:cubicBezTo>
                  <a:pt x="3949" y="611"/>
                  <a:pt x="3952" y="610"/>
                  <a:pt x="3955" y="608"/>
                </a:cubicBezTo>
                <a:cubicBezTo>
                  <a:pt x="3958" y="606"/>
                  <a:pt x="3960" y="605"/>
                  <a:pt x="3961" y="605"/>
                </a:cubicBezTo>
                <a:cubicBezTo>
                  <a:pt x="3961" y="605"/>
                  <a:pt x="3962" y="605"/>
                  <a:pt x="3962" y="606"/>
                </a:cubicBezTo>
                <a:cubicBezTo>
                  <a:pt x="3962" y="608"/>
                  <a:pt x="3961" y="610"/>
                  <a:pt x="3961" y="610"/>
                </a:cubicBezTo>
                <a:lnTo>
                  <a:pt x="3959" y="609"/>
                </a:lnTo>
                <a:cubicBezTo>
                  <a:pt x="3958" y="609"/>
                  <a:pt x="3955" y="610"/>
                  <a:pt x="3952" y="613"/>
                </a:cubicBezTo>
                <a:cubicBezTo>
                  <a:pt x="3949" y="616"/>
                  <a:pt x="3946" y="617"/>
                  <a:pt x="3945" y="617"/>
                </a:cubicBezTo>
                <a:cubicBezTo>
                  <a:pt x="3943" y="617"/>
                  <a:pt x="3941" y="619"/>
                  <a:pt x="3940" y="621"/>
                </a:cubicBezTo>
                <a:cubicBezTo>
                  <a:pt x="3939" y="623"/>
                  <a:pt x="3939" y="623"/>
                  <a:pt x="3938" y="623"/>
                </a:cubicBezTo>
                <a:close/>
                <a:moveTo>
                  <a:pt x="3773" y="362"/>
                </a:moveTo>
                <a:close/>
                <a:moveTo>
                  <a:pt x="3758" y="383"/>
                </a:moveTo>
                <a:cubicBezTo>
                  <a:pt x="3758" y="383"/>
                  <a:pt x="3757" y="383"/>
                  <a:pt x="3757" y="382"/>
                </a:cubicBezTo>
                <a:lnTo>
                  <a:pt x="3764" y="377"/>
                </a:lnTo>
                <a:cubicBezTo>
                  <a:pt x="3764" y="377"/>
                  <a:pt x="3763" y="378"/>
                  <a:pt x="3762" y="379"/>
                </a:cubicBezTo>
                <a:cubicBezTo>
                  <a:pt x="3760" y="382"/>
                  <a:pt x="3759" y="383"/>
                  <a:pt x="3758" y="383"/>
                </a:cubicBezTo>
                <a:close/>
                <a:moveTo>
                  <a:pt x="3747" y="394"/>
                </a:moveTo>
                <a:close/>
                <a:moveTo>
                  <a:pt x="3773" y="362"/>
                </a:moveTo>
                <a:cubicBezTo>
                  <a:pt x="3773" y="362"/>
                  <a:pt x="3773" y="362"/>
                  <a:pt x="3773" y="362"/>
                </a:cubicBezTo>
                <a:cubicBezTo>
                  <a:pt x="3773" y="361"/>
                  <a:pt x="3774" y="360"/>
                  <a:pt x="3776" y="358"/>
                </a:cubicBezTo>
                <a:lnTo>
                  <a:pt x="3779" y="356"/>
                </a:lnTo>
                <a:lnTo>
                  <a:pt x="3777" y="359"/>
                </a:lnTo>
                <a:cubicBezTo>
                  <a:pt x="3775" y="361"/>
                  <a:pt x="3774" y="362"/>
                  <a:pt x="3773" y="362"/>
                </a:cubicBezTo>
                <a:close/>
                <a:moveTo>
                  <a:pt x="3757" y="382"/>
                </a:moveTo>
                <a:close/>
                <a:moveTo>
                  <a:pt x="3722" y="458"/>
                </a:moveTo>
                <a:cubicBezTo>
                  <a:pt x="3720" y="458"/>
                  <a:pt x="3719" y="457"/>
                  <a:pt x="3719" y="455"/>
                </a:cubicBezTo>
                <a:lnTo>
                  <a:pt x="3719" y="455"/>
                </a:lnTo>
                <a:cubicBezTo>
                  <a:pt x="3719" y="453"/>
                  <a:pt x="3720" y="451"/>
                  <a:pt x="3721" y="451"/>
                </a:cubicBezTo>
                <a:cubicBezTo>
                  <a:pt x="3721" y="451"/>
                  <a:pt x="3721" y="452"/>
                  <a:pt x="3722" y="452"/>
                </a:cubicBezTo>
                <a:cubicBezTo>
                  <a:pt x="3723" y="453"/>
                  <a:pt x="3723" y="453"/>
                  <a:pt x="3724" y="453"/>
                </a:cubicBezTo>
                <a:cubicBezTo>
                  <a:pt x="3725" y="453"/>
                  <a:pt x="3726" y="453"/>
                  <a:pt x="3727" y="451"/>
                </a:cubicBezTo>
                <a:cubicBezTo>
                  <a:pt x="3728" y="451"/>
                  <a:pt x="3729" y="450"/>
                  <a:pt x="3729" y="450"/>
                </a:cubicBezTo>
                <a:lnTo>
                  <a:pt x="3728" y="453"/>
                </a:lnTo>
                <a:cubicBezTo>
                  <a:pt x="3727" y="456"/>
                  <a:pt x="3725" y="458"/>
                  <a:pt x="3722" y="458"/>
                </a:cubicBezTo>
                <a:close/>
                <a:moveTo>
                  <a:pt x="3747" y="394"/>
                </a:moveTo>
                <a:cubicBezTo>
                  <a:pt x="3747" y="394"/>
                  <a:pt x="3747" y="394"/>
                  <a:pt x="3747" y="394"/>
                </a:cubicBezTo>
                <a:cubicBezTo>
                  <a:pt x="3747" y="394"/>
                  <a:pt x="3747" y="393"/>
                  <a:pt x="3748" y="392"/>
                </a:cubicBezTo>
                <a:cubicBezTo>
                  <a:pt x="3749" y="391"/>
                  <a:pt x="3751" y="390"/>
                  <a:pt x="3753" y="389"/>
                </a:cubicBezTo>
                <a:cubicBezTo>
                  <a:pt x="3755" y="387"/>
                  <a:pt x="3756" y="387"/>
                  <a:pt x="3757" y="387"/>
                </a:cubicBezTo>
                <a:lnTo>
                  <a:pt x="3757" y="387"/>
                </a:lnTo>
                <a:cubicBezTo>
                  <a:pt x="3757" y="388"/>
                  <a:pt x="3756" y="389"/>
                  <a:pt x="3754" y="390"/>
                </a:cubicBezTo>
                <a:cubicBezTo>
                  <a:pt x="3750" y="393"/>
                  <a:pt x="3748" y="394"/>
                  <a:pt x="3747" y="394"/>
                </a:cubicBezTo>
                <a:close/>
                <a:moveTo>
                  <a:pt x="3707" y="482"/>
                </a:moveTo>
                <a:cubicBezTo>
                  <a:pt x="3707" y="482"/>
                  <a:pt x="3705" y="481"/>
                  <a:pt x="3703" y="479"/>
                </a:cubicBezTo>
                <a:cubicBezTo>
                  <a:pt x="3703" y="478"/>
                  <a:pt x="3702" y="474"/>
                  <a:pt x="3700" y="468"/>
                </a:cubicBezTo>
                <a:cubicBezTo>
                  <a:pt x="3699" y="463"/>
                  <a:pt x="3698" y="459"/>
                  <a:pt x="3696" y="457"/>
                </a:cubicBezTo>
                <a:lnTo>
                  <a:pt x="3695" y="455"/>
                </a:lnTo>
                <a:lnTo>
                  <a:pt x="3698" y="457"/>
                </a:lnTo>
                <a:cubicBezTo>
                  <a:pt x="3698" y="457"/>
                  <a:pt x="3698" y="456"/>
                  <a:pt x="3698" y="456"/>
                </a:cubicBezTo>
                <a:lnTo>
                  <a:pt x="3698" y="453"/>
                </a:lnTo>
                <a:cubicBezTo>
                  <a:pt x="3698" y="453"/>
                  <a:pt x="3698" y="452"/>
                  <a:pt x="3699" y="452"/>
                </a:cubicBezTo>
                <a:cubicBezTo>
                  <a:pt x="3700" y="452"/>
                  <a:pt x="3701" y="451"/>
                  <a:pt x="3701" y="449"/>
                </a:cubicBezTo>
                <a:cubicBezTo>
                  <a:pt x="3701" y="447"/>
                  <a:pt x="3703" y="442"/>
                  <a:pt x="3706" y="434"/>
                </a:cubicBezTo>
                <a:cubicBezTo>
                  <a:pt x="3709" y="428"/>
                  <a:pt x="3710" y="424"/>
                  <a:pt x="3710" y="423"/>
                </a:cubicBezTo>
                <a:cubicBezTo>
                  <a:pt x="3710" y="422"/>
                  <a:pt x="3710" y="422"/>
                  <a:pt x="3710" y="422"/>
                </a:cubicBezTo>
                <a:cubicBezTo>
                  <a:pt x="3709" y="422"/>
                  <a:pt x="3708" y="424"/>
                  <a:pt x="3706" y="427"/>
                </a:cubicBezTo>
                <a:cubicBezTo>
                  <a:pt x="3704" y="431"/>
                  <a:pt x="3703" y="434"/>
                  <a:pt x="3701" y="438"/>
                </a:cubicBezTo>
                <a:cubicBezTo>
                  <a:pt x="3700" y="442"/>
                  <a:pt x="3699" y="444"/>
                  <a:pt x="3699" y="445"/>
                </a:cubicBezTo>
                <a:cubicBezTo>
                  <a:pt x="3699" y="446"/>
                  <a:pt x="3698" y="448"/>
                  <a:pt x="3697" y="450"/>
                </a:cubicBezTo>
                <a:cubicBezTo>
                  <a:pt x="3696" y="452"/>
                  <a:pt x="3694" y="453"/>
                  <a:pt x="3693" y="455"/>
                </a:cubicBezTo>
                <a:cubicBezTo>
                  <a:pt x="3691" y="456"/>
                  <a:pt x="3690" y="457"/>
                  <a:pt x="3689" y="457"/>
                </a:cubicBezTo>
                <a:cubicBezTo>
                  <a:pt x="3688" y="457"/>
                  <a:pt x="3688" y="456"/>
                  <a:pt x="3688" y="453"/>
                </a:cubicBezTo>
                <a:cubicBezTo>
                  <a:pt x="3688" y="441"/>
                  <a:pt x="3696" y="421"/>
                  <a:pt x="3714" y="394"/>
                </a:cubicBezTo>
                <a:cubicBezTo>
                  <a:pt x="3731" y="366"/>
                  <a:pt x="3742" y="349"/>
                  <a:pt x="3749" y="342"/>
                </a:cubicBezTo>
                <a:cubicBezTo>
                  <a:pt x="3749" y="341"/>
                  <a:pt x="3752" y="338"/>
                  <a:pt x="3756" y="333"/>
                </a:cubicBezTo>
                <a:cubicBezTo>
                  <a:pt x="3763" y="322"/>
                  <a:pt x="3768" y="317"/>
                  <a:pt x="3771" y="317"/>
                </a:cubicBezTo>
                <a:cubicBezTo>
                  <a:pt x="3774" y="317"/>
                  <a:pt x="3776" y="319"/>
                  <a:pt x="3776" y="322"/>
                </a:cubicBezTo>
                <a:cubicBezTo>
                  <a:pt x="3776" y="324"/>
                  <a:pt x="3775" y="326"/>
                  <a:pt x="3774" y="329"/>
                </a:cubicBezTo>
                <a:cubicBezTo>
                  <a:pt x="3772" y="332"/>
                  <a:pt x="3772" y="333"/>
                  <a:pt x="3772" y="334"/>
                </a:cubicBezTo>
                <a:cubicBezTo>
                  <a:pt x="3772" y="335"/>
                  <a:pt x="3772" y="335"/>
                  <a:pt x="3774" y="335"/>
                </a:cubicBezTo>
                <a:cubicBezTo>
                  <a:pt x="3775" y="335"/>
                  <a:pt x="3776" y="337"/>
                  <a:pt x="3776" y="341"/>
                </a:cubicBezTo>
                <a:cubicBezTo>
                  <a:pt x="3776" y="348"/>
                  <a:pt x="3775" y="352"/>
                  <a:pt x="3772" y="355"/>
                </a:cubicBezTo>
                <a:cubicBezTo>
                  <a:pt x="3766" y="360"/>
                  <a:pt x="3758" y="372"/>
                  <a:pt x="3749" y="390"/>
                </a:cubicBezTo>
                <a:cubicBezTo>
                  <a:pt x="3744" y="397"/>
                  <a:pt x="3742" y="401"/>
                  <a:pt x="3742" y="403"/>
                </a:cubicBezTo>
                <a:lnTo>
                  <a:pt x="3742" y="404"/>
                </a:lnTo>
                <a:cubicBezTo>
                  <a:pt x="3742" y="405"/>
                  <a:pt x="3742" y="406"/>
                  <a:pt x="3742" y="406"/>
                </a:cubicBezTo>
                <a:lnTo>
                  <a:pt x="3740" y="405"/>
                </a:lnTo>
                <a:cubicBezTo>
                  <a:pt x="3739" y="405"/>
                  <a:pt x="3737" y="406"/>
                  <a:pt x="3735" y="408"/>
                </a:cubicBezTo>
                <a:lnTo>
                  <a:pt x="3734" y="411"/>
                </a:lnTo>
                <a:cubicBezTo>
                  <a:pt x="3735" y="411"/>
                  <a:pt x="3735" y="411"/>
                  <a:pt x="3737" y="410"/>
                </a:cubicBezTo>
                <a:lnTo>
                  <a:pt x="3740" y="409"/>
                </a:lnTo>
                <a:cubicBezTo>
                  <a:pt x="3740" y="410"/>
                  <a:pt x="3739" y="411"/>
                  <a:pt x="3738" y="411"/>
                </a:cubicBezTo>
                <a:cubicBezTo>
                  <a:pt x="3736" y="413"/>
                  <a:pt x="3735" y="415"/>
                  <a:pt x="3734" y="419"/>
                </a:cubicBezTo>
                <a:cubicBezTo>
                  <a:pt x="3733" y="422"/>
                  <a:pt x="3731" y="426"/>
                  <a:pt x="3728" y="429"/>
                </a:cubicBezTo>
                <a:cubicBezTo>
                  <a:pt x="3717" y="447"/>
                  <a:pt x="3712" y="456"/>
                  <a:pt x="3712" y="458"/>
                </a:cubicBezTo>
                <a:cubicBezTo>
                  <a:pt x="3712" y="458"/>
                  <a:pt x="3712" y="459"/>
                  <a:pt x="3712" y="459"/>
                </a:cubicBezTo>
                <a:lnTo>
                  <a:pt x="3714" y="458"/>
                </a:lnTo>
                <a:cubicBezTo>
                  <a:pt x="3715" y="458"/>
                  <a:pt x="3716" y="459"/>
                  <a:pt x="3718" y="460"/>
                </a:cubicBezTo>
                <a:cubicBezTo>
                  <a:pt x="3719" y="461"/>
                  <a:pt x="3719" y="462"/>
                  <a:pt x="3719" y="463"/>
                </a:cubicBezTo>
                <a:cubicBezTo>
                  <a:pt x="3719" y="464"/>
                  <a:pt x="3719" y="464"/>
                  <a:pt x="3719" y="465"/>
                </a:cubicBezTo>
                <a:cubicBezTo>
                  <a:pt x="3718" y="465"/>
                  <a:pt x="3718" y="465"/>
                  <a:pt x="3717" y="465"/>
                </a:cubicBezTo>
                <a:cubicBezTo>
                  <a:pt x="3717" y="465"/>
                  <a:pt x="3716" y="465"/>
                  <a:pt x="3716" y="464"/>
                </a:cubicBezTo>
                <a:cubicBezTo>
                  <a:pt x="3716" y="463"/>
                  <a:pt x="3715" y="462"/>
                  <a:pt x="3713" y="462"/>
                </a:cubicBezTo>
                <a:cubicBezTo>
                  <a:pt x="3712" y="462"/>
                  <a:pt x="3711" y="463"/>
                  <a:pt x="3711" y="463"/>
                </a:cubicBezTo>
                <a:cubicBezTo>
                  <a:pt x="3711" y="463"/>
                  <a:pt x="3711" y="464"/>
                  <a:pt x="3712" y="464"/>
                </a:cubicBezTo>
                <a:cubicBezTo>
                  <a:pt x="3712" y="465"/>
                  <a:pt x="3712" y="466"/>
                  <a:pt x="3712" y="467"/>
                </a:cubicBezTo>
                <a:cubicBezTo>
                  <a:pt x="3712" y="469"/>
                  <a:pt x="3712" y="471"/>
                  <a:pt x="3712" y="473"/>
                </a:cubicBezTo>
                <a:cubicBezTo>
                  <a:pt x="3711" y="476"/>
                  <a:pt x="3710" y="478"/>
                  <a:pt x="3709" y="479"/>
                </a:cubicBezTo>
                <a:cubicBezTo>
                  <a:pt x="3708" y="481"/>
                  <a:pt x="3708" y="482"/>
                  <a:pt x="3707" y="482"/>
                </a:cubicBezTo>
                <a:close/>
                <a:moveTo>
                  <a:pt x="3755" y="353"/>
                </a:moveTo>
                <a:cubicBezTo>
                  <a:pt x="3756" y="353"/>
                  <a:pt x="3758" y="352"/>
                  <a:pt x="3760" y="349"/>
                </a:cubicBezTo>
                <a:cubicBezTo>
                  <a:pt x="3763" y="346"/>
                  <a:pt x="3764" y="345"/>
                  <a:pt x="3764" y="344"/>
                </a:cubicBezTo>
                <a:cubicBezTo>
                  <a:pt x="3763" y="344"/>
                  <a:pt x="3761" y="346"/>
                  <a:pt x="3759" y="349"/>
                </a:cubicBezTo>
                <a:cubicBezTo>
                  <a:pt x="3757" y="352"/>
                  <a:pt x="3755" y="353"/>
                  <a:pt x="3755" y="353"/>
                </a:cubicBezTo>
                <a:close/>
                <a:moveTo>
                  <a:pt x="3747" y="365"/>
                </a:moveTo>
                <a:cubicBezTo>
                  <a:pt x="3748" y="365"/>
                  <a:pt x="3749" y="364"/>
                  <a:pt x="3752" y="361"/>
                </a:cubicBezTo>
                <a:cubicBezTo>
                  <a:pt x="3754" y="358"/>
                  <a:pt x="3755" y="356"/>
                  <a:pt x="3755" y="356"/>
                </a:cubicBezTo>
                <a:cubicBezTo>
                  <a:pt x="3754" y="356"/>
                  <a:pt x="3753" y="357"/>
                  <a:pt x="3750" y="360"/>
                </a:cubicBezTo>
                <a:cubicBezTo>
                  <a:pt x="3748" y="363"/>
                  <a:pt x="3747" y="365"/>
                  <a:pt x="3747" y="365"/>
                </a:cubicBezTo>
                <a:close/>
                <a:moveTo>
                  <a:pt x="3719" y="408"/>
                </a:moveTo>
                <a:cubicBezTo>
                  <a:pt x="3720" y="408"/>
                  <a:pt x="3725" y="401"/>
                  <a:pt x="3735" y="386"/>
                </a:cubicBezTo>
                <a:cubicBezTo>
                  <a:pt x="3742" y="375"/>
                  <a:pt x="3745" y="368"/>
                  <a:pt x="3745" y="368"/>
                </a:cubicBezTo>
                <a:cubicBezTo>
                  <a:pt x="3745" y="368"/>
                  <a:pt x="3742" y="372"/>
                  <a:pt x="3737" y="379"/>
                </a:cubicBezTo>
                <a:cubicBezTo>
                  <a:pt x="3732" y="387"/>
                  <a:pt x="3728" y="392"/>
                  <a:pt x="3726" y="392"/>
                </a:cubicBezTo>
                <a:cubicBezTo>
                  <a:pt x="3726" y="392"/>
                  <a:pt x="3726" y="393"/>
                  <a:pt x="3725" y="394"/>
                </a:cubicBezTo>
                <a:cubicBezTo>
                  <a:pt x="3725" y="394"/>
                  <a:pt x="3725" y="395"/>
                  <a:pt x="3725" y="396"/>
                </a:cubicBezTo>
                <a:cubicBezTo>
                  <a:pt x="3725" y="397"/>
                  <a:pt x="3725" y="398"/>
                  <a:pt x="3724" y="398"/>
                </a:cubicBezTo>
                <a:cubicBezTo>
                  <a:pt x="3723" y="399"/>
                  <a:pt x="3722" y="399"/>
                  <a:pt x="3721" y="399"/>
                </a:cubicBezTo>
                <a:cubicBezTo>
                  <a:pt x="3720" y="399"/>
                  <a:pt x="3719" y="401"/>
                  <a:pt x="3719" y="404"/>
                </a:cubicBezTo>
                <a:lnTo>
                  <a:pt x="3719" y="408"/>
                </a:lnTo>
                <a:close/>
                <a:moveTo>
                  <a:pt x="3712" y="420"/>
                </a:moveTo>
                <a:cubicBezTo>
                  <a:pt x="3713" y="420"/>
                  <a:pt x="3715" y="419"/>
                  <a:pt x="3716" y="416"/>
                </a:cubicBezTo>
                <a:cubicBezTo>
                  <a:pt x="3717" y="414"/>
                  <a:pt x="3717" y="413"/>
                  <a:pt x="3717" y="412"/>
                </a:cubicBezTo>
                <a:cubicBezTo>
                  <a:pt x="3717" y="411"/>
                  <a:pt x="3717" y="411"/>
                  <a:pt x="3717" y="411"/>
                </a:cubicBezTo>
                <a:cubicBezTo>
                  <a:pt x="3715" y="411"/>
                  <a:pt x="3714" y="413"/>
                  <a:pt x="3712" y="416"/>
                </a:cubicBezTo>
                <a:cubicBezTo>
                  <a:pt x="3712" y="417"/>
                  <a:pt x="3711" y="419"/>
                  <a:pt x="3711" y="419"/>
                </a:cubicBezTo>
                <a:cubicBezTo>
                  <a:pt x="3711" y="420"/>
                  <a:pt x="3711" y="420"/>
                  <a:pt x="3712" y="420"/>
                </a:cubicBezTo>
                <a:close/>
                <a:moveTo>
                  <a:pt x="3724" y="449"/>
                </a:moveTo>
                <a:cubicBezTo>
                  <a:pt x="3724" y="449"/>
                  <a:pt x="3723" y="449"/>
                  <a:pt x="3723" y="448"/>
                </a:cubicBezTo>
                <a:lnTo>
                  <a:pt x="3724" y="447"/>
                </a:lnTo>
                <a:cubicBezTo>
                  <a:pt x="3724" y="446"/>
                  <a:pt x="3725" y="445"/>
                  <a:pt x="3726" y="445"/>
                </a:cubicBezTo>
                <a:lnTo>
                  <a:pt x="3727" y="445"/>
                </a:lnTo>
                <a:cubicBezTo>
                  <a:pt x="3728" y="445"/>
                  <a:pt x="3728" y="445"/>
                  <a:pt x="3728" y="444"/>
                </a:cubicBezTo>
                <a:lnTo>
                  <a:pt x="3728" y="441"/>
                </a:lnTo>
                <a:cubicBezTo>
                  <a:pt x="3728" y="439"/>
                  <a:pt x="3728" y="438"/>
                  <a:pt x="3730" y="436"/>
                </a:cubicBezTo>
                <a:cubicBezTo>
                  <a:pt x="3731" y="434"/>
                  <a:pt x="3732" y="433"/>
                  <a:pt x="3733" y="433"/>
                </a:cubicBezTo>
                <a:lnTo>
                  <a:pt x="3735" y="433"/>
                </a:lnTo>
                <a:cubicBezTo>
                  <a:pt x="3735" y="433"/>
                  <a:pt x="3735" y="433"/>
                  <a:pt x="3735" y="433"/>
                </a:cubicBezTo>
                <a:lnTo>
                  <a:pt x="3735" y="430"/>
                </a:lnTo>
                <a:cubicBezTo>
                  <a:pt x="3735" y="429"/>
                  <a:pt x="3735" y="427"/>
                  <a:pt x="3736" y="425"/>
                </a:cubicBezTo>
                <a:cubicBezTo>
                  <a:pt x="3737" y="424"/>
                  <a:pt x="3737" y="422"/>
                  <a:pt x="3739" y="421"/>
                </a:cubicBezTo>
                <a:cubicBezTo>
                  <a:pt x="3740" y="419"/>
                  <a:pt x="3741" y="419"/>
                  <a:pt x="3742" y="419"/>
                </a:cubicBezTo>
                <a:lnTo>
                  <a:pt x="3744" y="419"/>
                </a:lnTo>
                <a:cubicBezTo>
                  <a:pt x="3744" y="419"/>
                  <a:pt x="3745" y="419"/>
                  <a:pt x="3746" y="418"/>
                </a:cubicBezTo>
                <a:cubicBezTo>
                  <a:pt x="3746" y="417"/>
                  <a:pt x="3747" y="416"/>
                  <a:pt x="3747" y="416"/>
                </a:cubicBezTo>
                <a:lnTo>
                  <a:pt x="3743" y="417"/>
                </a:lnTo>
                <a:cubicBezTo>
                  <a:pt x="3743" y="417"/>
                  <a:pt x="3743" y="417"/>
                  <a:pt x="3743" y="417"/>
                </a:cubicBezTo>
                <a:cubicBezTo>
                  <a:pt x="3743" y="415"/>
                  <a:pt x="3745" y="410"/>
                  <a:pt x="3750" y="403"/>
                </a:cubicBezTo>
                <a:cubicBezTo>
                  <a:pt x="3754" y="397"/>
                  <a:pt x="3757" y="393"/>
                  <a:pt x="3759" y="393"/>
                </a:cubicBezTo>
                <a:cubicBezTo>
                  <a:pt x="3759" y="394"/>
                  <a:pt x="3760" y="394"/>
                  <a:pt x="3760" y="394"/>
                </a:cubicBezTo>
                <a:cubicBezTo>
                  <a:pt x="3761" y="394"/>
                  <a:pt x="3762" y="393"/>
                  <a:pt x="3764" y="392"/>
                </a:cubicBezTo>
                <a:cubicBezTo>
                  <a:pt x="3765" y="392"/>
                  <a:pt x="3765" y="391"/>
                  <a:pt x="3766" y="391"/>
                </a:cubicBezTo>
                <a:cubicBezTo>
                  <a:pt x="3766" y="391"/>
                  <a:pt x="3766" y="391"/>
                  <a:pt x="3766" y="391"/>
                </a:cubicBezTo>
                <a:cubicBezTo>
                  <a:pt x="3766" y="393"/>
                  <a:pt x="3764" y="395"/>
                  <a:pt x="3761" y="399"/>
                </a:cubicBezTo>
                <a:cubicBezTo>
                  <a:pt x="3760" y="400"/>
                  <a:pt x="3759" y="400"/>
                  <a:pt x="3759" y="400"/>
                </a:cubicBezTo>
                <a:lnTo>
                  <a:pt x="3758" y="400"/>
                </a:lnTo>
                <a:lnTo>
                  <a:pt x="3759" y="398"/>
                </a:lnTo>
                <a:cubicBezTo>
                  <a:pt x="3759" y="398"/>
                  <a:pt x="3759" y="397"/>
                  <a:pt x="3759" y="397"/>
                </a:cubicBezTo>
                <a:lnTo>
                  <a:pt x="3757" y="399"/>
                </a:lnTo>
                <a:cubicBezTo>
                  <a:pt x="3757" y="399"/>
                  <a:pt x="3757" y="400"/>
                  <a:pt x="3757" y="401"/>
                </a:cubicBezTo>
                <a:lnTo>
                  <a:pt x="3757" y="404"/>
                </a:lnTo>
                <a:cubicBezTo>
                  <a:pt x="3757" y="405"/>
                  <a:pt x="3757" y="406"/>
                  <a:pt x="3755" y="407"/>
                </a:cubicBezTo>
                <a:cubicBezTo>
                  <a:pt x="3754" y="409"/>
                  <a:pt x="3753" y="409"/>
                  <a:pt x="3751" y="409"/>
                </a:cubicBezTo>
                <a:lnTo>
                  <a:pt x="3749" y="409"/>
                </a:lnTo>
                <a:lnTo>
                  <a:pt x="3750" y="411"/>
                </a:lnTo>
                <a:cubicBezTo>
                  <a:pt x="3750" y="413"/>
                  <a:pt x="3749" y="414"/>
                  <a:pt x="3748" y="417"/>
                </a:cubicBezTo>
                <a:cubicBezTo>
                  <a:pt x="3747" y="419"/>
                  <a:pt x="3746" y="422"/>
                  <a:pt x="3744" y="425"/>
                </a:cubicBezTo>
                <a:cubicBezTo>
                  <a:pt x="3742" y="429"/>
                  <a:pt x="3740" y="432"/>
                  <a:pt x="3738" y="435"/>
                </a:cubicBezTo>
                <a:cubicBezTo>
                  <a:pt x="3736" y="438"/>
                  <a:pt x="3735" y="441"/>
                  <a:pt x="3734" y="442"/>
                </a:cubicBezTo>
                <a:cubicBezTo>
                  <a:pt x="3733" y="444"/>
                  <a:pt x="3732" y="446"/>
                  <a:pt x="3730" y="447"/>
                </a:cubicBezTo>
                <a:cubicBezTo>
                  <a:pt x="3727" y="448"/>
                  <a:pt x="3726" y="449"/>
                  <a:pt x="3724" y="449"/>
                </a:cubicBezTo>
                <a:close/>
                <a:moveTo>
                  <a:pt x="3760" y="391"/>
                </a:moveTo>
                <a:cubicBezTo>
                  <a:pt x="3760" y="391"/>
                  <a:pt x="3760" y="391"/>
                  <a:pt x="3760" y="391"/>
                </a:cubicBezTo>
                <a:cubicBezTo>
                  <a:pt x="3760" y="389"/>
                  <a:pt x="3764" y="384"/>
                  <a:pt x="3771" y="373"/>
                </a:cubicBezTo>
                <a:cubicBezTo>
                  <a:pt x="3778" y="365"/>
                  <a:pt x="3781" y="359"/>
                  <a:pt x="3781" y="356"/>
                </a:cubicBezTo>
                <a:cubicBezTo>
                  <a:pt x="3781" y="355"/>
                  <a:pt x="3781" y="355"/>
                  <a:pt x="3781" y="354"/>
                </a:cubicBezTo>
                <a:cubicBezTo>
                  <a:pt x="3780" y="353"/>
                  <a:pt x="3780" y="353"/>
                  <a:pt x="3780" y="351"/>
                </a:cubicBezTo>
                <a:cubicBezTo>
                  <a:pt x="3780" y="350"/>
                  <a:pt x="3781" y="349"/>
                  <a:pt x="3782" y="347"/>
                </a:cubicBezTo>
                <a:cubicBezTo>
                  <a:pt x="3784" y="345"/>
                  <a:pt x="3785" y="344"/>
                  <a:pt x="3785" y="344"/>
                </a:cubicBezTo>
                <a:lnTo>
                  <a:pt x="3785" y="345"/>
                </a:lnTo>
                <a:lnTo>
                  <a:pt x="3782" y="353"/>
                </a:lnTo>
                <a:cubicBezTo>
                  <a:pt x="3783" y="353"/>
                  <a:pt x="3784" y="352"/>
                  <a:pt x="3787" y="348"/>
                </a:cubicBezTo>
                <a:cubicBezTo>
                  <a:pt x="3789" y="346"/>
                  <a:pt x="3790" y="345"/>
                  <a:pt x="3791" y="345"/>
                </a:cubicBezTo>
                <a:cubicBezTo>
                  <a:pt x="3792" y="345"/>
                  <a:pt x="3792" y="345"/>
                  <a:pt x="3792" y="346"/>
                </a:cubicBezTo>
                <a:cubicBezTo>
                  <a:pt x="3792" y="348"/>
                  <a:pt x="3791" y="350"/>
                  <a:pt x="3789" y="353"/>
                </a:cubicBezTo>
                <a:lnTo>
                  <a:pt x="3788" y="355"/>
                </a:lnTo>
                <a:lnTo>
                  <a:pt x="3791" y="354"/>
                </a:lnTo>
                <a:cubicBezTo>
                  <a:pt x="3791" y="354"/>
                  <a:pt x="3792" y="354"/>
                  <a:pt x="3792" y="355"/>
                </a:cubicBezTo>
                <a:cubicBezTo>
                  <a:pt x="3792" y="356"/>
                  <a:pt x="3788" y="362"/>
                  <a:pt x="3781" y="372"/>
                </a:cubicBezTo>
                <a:cubicBezTo>
                  <a:pt x="3772" y="384"/>
                  <a:pt x="3767" y="389"/>
                  <a:pt x="3766" y="389"/>
                </a:cubicBezTo>
                <a:cubicBezTo>
                  <a:pt x="3765" y="389"/>
                  <a:pt x="3764" y="390"/>
                  <a:pt x="3763" y="390"/>
                </a:cubicBezTo>
                <a:cubicBezTo>
                  <a:pt x="3762" y="391"/>
                  <a:pt x="3761" y="391"/>
                  <a:pt x="3760" y="391"/>
                </a:cubicBezTo>
                <a:close/>
                <a:moveTo>
                  <a:pt x="3775" y="374"/>
                </a:moveTo>
                <a:cubicBezTo>
                  <a:pt x="3776" y="374"/>
                  <a:pt x="3777" y="373"/>
                  <a:pt x="3779" y="370"/>
                </a:cubicBezTo>
                <a:lnTo>
                  <a:pt x="3781" y="368"/>
                </a:lnTo>
                <a:lnTo>
                  <a:pt x="3781" y="367"/>
                </a:lnTo>
                <a:cubicBezTo>
                  <a:pt x="3781" y="367"/>
                  <a:pt x="3781" y="368"/>
                  <a:pt x="3779" y="369"/>
                </a:cubicBezTo>
                <a:cubicBezTo>
                  <a:pt x="3778" y="370"/>
                  <a:pt x="3777" y="370"/>
                  <a:pt x="3776" y="371"/>
                </a:cubicBezTo>
                <a:cubicBezTo>
                  <a:pt x="3775" y="372"/>
                  <a:pt x="3775" y="373"/>
                  <a:pt x="3775" y="373"/>
                </a:cubicBezTo>
                <a:cubicBezTo>
                  <a:pt x="3775" y="374"/>
                  <a:pt x="3775" y="374"/>
                  <a:pt x="3775" y="374"/>
                </a:cubicBezTo>
                <a:close/>
                <a:moveTo>
                  <a:pt x="3782" y="365"/>
                </a:moveTo>
                <a:cubicBezTo>
                  <a:pt x="3783" y="365"/>
                  <a:pt x="3783" y="365"/>
                  <a:pt x="3784" y="364"/>
                </a:cubicBezTo>
                <a:cubicBezTo>
                  <a:pt x="3785" y="363"/>
                  <a:pt x="3786" y="362"/>
                  <a:pt x="3786" y="361"/>
                </a:cubicBezTo>
                <a:lnTo>
                  <a:pt x="3788" y="359"/>
                </a:lnTo>
                <a:lnTo>
                  <a:pt x="3788" y="358"/>
                </a:lnTo>
                <a:lnTo>
                  <a:pt x="3785" y="360"/>
                </a:lnTo>
                <a:cubicBezTo>
                  <a:pt x="3783" y="362"/>
                  <a:pt x="3781" y="364"/>
                  <a:pt x="3781" y="365"/>
                </a:cubicBezTo>
                <a:cubicBezTo>
                  <a:pt x="3781" y="365"/>
                  <a:pt x="3782" y="365"/>
                  <a:pt x="3782" y="365"/>
                </a:cubicBezTo>
                <a:close/>
                <a:moveTo>
                  <a:pt x="3715" y="475"/>
                </a:moveTo>
                <a:cubicBezTo>
                  <a:pt x="3714" y="475"/>
                  <a:pt x="3714" y="474"/>
                  <a:pt x="3714" y="472"/>
                </a:cubicBezTo>
                <a:cubicBezTo>
                  <a:pt x="3714" y="469"/>
                  <a:pt x="3715" y="468"/>
                  <a:pt x="3716" y="468"/>
                </a:cubicBezTo>
                <a:cubicBezTo>
                  <a:pt x="3717" y="468"/>
                  <a:pt x="3717" y="469"/>
                  <a:pt x="3717" y="470"/>
                </a:cubicBezTo>
                <a:cubicBezTo>
                  <a:pt x="3717" y="470"/>
                  <a:pt x="3717" y="471"/>
                  <a:pt x="3717" y="472"/>
                </a:cubicBezTo>
                <a:cubicBezTo>
                  <a:pt x="3717" y="473"/>
                  <a:pt x="3716" y="474"/>
                  <a:pt x="3716" y="474"/>
                </a:cubicBezTo>
                <a:cubicBezTo>
                  <a:pt x="3716" y="475"/>
                  <a:pt x="3715" y="475"/>
                  <a:pt x="3715" y="475"/>
                </a:cubicBezTo>
                <a:close/>
                <a:moveTo>
                  <a:pt x="3987" y="753"/>
                </a:moveTo>
                <a:cubicBezTo>
                  <a:pt x="3985" y="753"/>
                  <a:pt x="3984" y="753"/>
                  <a:pt x="3984" y="753"/>
                </a:cubicBezTo>
                <a:cubicBezTo>
                  <a:pt x="3984" y="752"/>
                  <a:pt x="3985" y="752"/>
                  <a:pt x="3985" y="751"/>
                </a:cubicBezTo>
                <a:cubicBezTo>
                  <a:pt x="3987" y="750"/>
                  <a:pt x="3988" y="750"/>
                  <a:pt x="3988" y="749"/>
                </a:cubicBezTo>
                <a:cubicBezTo>
                  <a:pt x="3988" y="749"/>
                  <a:pt x="3987" y="748"/>
                  <a:pt x="3986" y="748"/>
                </a:cubicBezTo>
                <a:cubicBezTo>
                  <a:pt x="3985" y="747"/>
                  <a:pt x="3984" y="747"/>
                  <a:pt x="3984" y="747"/>
                </a:cubicBezTo>
                <a:lnTo>
                  <a:pt x="3987" y="746"/>
                </a:lnTo>
                <a:cubicBezTo>
                  <a:pt x="3988" y="746"/>
                  <a:pt x="3988" y="746"/>
                  <a:pt x="3988" y="746"/>
                </a:cubicBezTo>
                <a:cubicBezTo>
                  <a:pt x="3988" y="745"/>
                  <a:pt x="3987" y="745"/>
                  <a:pt x="3986" y="744"/>
                </a:cubicBezTo>
                <a:cubicBezTo>
                  <a:pt x="3985" y="743"/>
                  <a:pt x="3984" y="742"/>
                  <a:pt x="3984" y="742"/>
                </a:cubicBezTo>
                <a:lnTo>
                  <a:pt x="3987" y="742"/>
                </a:lnTo>
                <a:cubicBezTo>
                  <a:pt x="3989" y="742"/>
                  <a:pt x="3990" y="743"/>
                  <a:pt x="3990" y="746"/>
                </a:cubicBezTo>
                <a:cubicBezTo>
                  <a:pt x="3990" y="751"/>
                  <a:pt x="3989" y="753"/>
                  <a:pt x="3987" y="753"/>
                </a:cubicBezTo>
                <a:close/>
                <a:moveTo>
                  <a:pt x="4011" y="810"/>
                </a:moveTo>
                <a:cubicBezTo>
                  <a:pt x="4007" y="810"/>
                  <a:pt x="4003" y="810"/>
                  <a:pt x="3998" y="808"/>
                </a:cubicBezTo>
                <a:cubicBezTo>
                  <a:pt x="3994" y="807"/>
                  <a:pt x="3990" y="803"/>
                  <a:pt x="3985" y="796"/>
                </a:cubicBezTo>
                <a:cubicBezTo>
                  <a:pt x="3980" y="789"/>
                  <a:pt x="3977" y="784"/>
                  <a:pt x="3975" y="778"/>
                </a:cubicBezTo>
                <a:cubicBezTo>
                  <a:pt x="3974" y="773"/>
                  <a:pt x="3973" y="765"/>
                  <a:pt x="3973" y="756"/>
                </a:cubicBezTo>
                <a:cubicBezTo>
                  <a:pt x="3973" y="735"/>
                  <a:pt x="3975" y="710"/>
                  <a:pt x="3979" y="679"/>
                </a:cubicBezTo>
                <a:cubicBezTo>
                  <a:pt x="3984" y="647"/>
                  <a:pt x="3989" y="619"/>
                  <a:pt x="3996" y="593"/>
                </a:cubicBezTo>
                <a:lnTo>
                  <a:pt x="3997" y="592"/>
                </a:lnTo>
                <a:cubicBezTo>
                  <a:pt x="3997" y="589"/>
                  <a:pt x="3997" y="586"/>
                  <a:pt x="3997" y="583"/>
                </a:cubicBezTo>
                <a:cubicBezTo>
                  <a:pt x="3997" y="580"/>
                  <a:pt x="3998" y="579"/>
                  <a:pt x="3999" y="579"/>
                </a:cubicBezTo>
                <a:cubicBezTo>
                  <a:pt x="4000" y="579"/>
                  <a:pt x="4000" y="578"/>
                  <a:pt x="4000" y="577"/>
                </a:cubicBezTo>
                <a:lnTo>
                  <a:pt x="4000" y="573"/>
                </a:lnTo>
                <a:cubicBezTo>
                  <a:pt x="4000" y="571"/>
                  <a:pt x="4000" y="570"/>
                  <a:pt x="4001" y="570"/>
                </a:cubicBezTo>
                <a:cubicBezTo>
                  <a:pt x="4002" y="570"/>
                  <a:pt x="4002" y="569"/>
                  <a:pt x="4002" y="568"/>
                </a:cubicBezTo>
                <a:lnTo>
                  <a:pt x="4002" y="566"/>
                </a:lnTo>
                <a:cubicBezTo>
                  <a:pt x="4002" y="564"/>
                  <a:pt x="4003" y="563"/>
                  <a:pt x="4005" y="563"/>
                </a:cubicBezTo>
                <a:cubicBezTo>
                  <a:pt x="4006" y="563"/>
                  <a:pt x="4007" y="562"/>
                  <a:pt x="4007" y="562"/>
                </a:cubicBezTo>
                <a:lnTo>
                  <a:pt x="4006" y="561"/>
                </a:lnTo>
                <a:cubicBezTo>
                  <a:pt x="4005" y="561"/>
                  <a:pt x="4005" y="560"/>
                  <a:pt x="4004" y="559"/>
                </a:cubicBezTo>
                <a:cubicBezTo>
                  <a:pt x="4003" y="558"/>
                  <a:pt x="4003" y="558"/>
                  <a:pt x="4003" y="557"/>
                </a:cubicBezTo>
                <a:cubicBezTo>
                  <a:pt x="4003" y="555"/>
                  <a:pt x="4004" y="554"/>
                  <a:pt x="4006" y="554"/>
                </a:cubicBezTo>
                <a:cubicBezTo>
                  <a:pt x="4008" y="555"/>
                  <a:pt x="4008" y="556"/>
                  <a:pt x="4008" y="558"/>
                </a:cubicBezTo>
                <a:cubicBezTo>
                  <a:pt x="4008" y="562"/>
                  <a:pt x="4006" y="573"/>
                  <a:pt x="4001" y="590"/>
                </a:cubicBezTo>
                <a:cubicBezTo>
                  <a:pt x="3994" y="618"/>
                  <a:pt x="3988" y="646"/>
                  <a:pt x="3984" y="674"/>
                </a:cubicBezTo>
                <a:cubicBezTo>
                  <a:pt x="3980" y="703"/>
                  <a:pt x="3978" y="726"/>
                  <a:pt x="3978" y="744"/>
                </a:cubicBezTo>
                <a:cubicBezTo>
                  <a:pt x="3978" y="750"/>
                  <a:pt x="3978" y="755"/>
                  <a:pt x="3979" y="760"/>
                </a:cubicBezTo>
                <a:cubicBezTo>
                  <a:pt x="3981" y="772"/>
                  <a:pt x="3982" y="778"/>
                  <a:pt x="3983" y="778"/>
                </a:cubicBezTo>
                <a:cubicBezTo>
                  <a:pt x="3984" y="778"/>
                  <a:pt x="3984" y="777"/>
                  <a:pt x="3984" y="774"/>
                </a:cubicBezTo>
                <a:cubicBezTo>
                  <a:pt x="3984" y="772"/>
                  <a:pt x="3985" y="770"/>
                  <a:pt x="3985" y="767"/>
                </a:cubicBezTo>
                <a:lnTo>
                  <a:pt x="3986" y="765"/>
                </a:lnTo>
                <a:lnTo>
                  <a:pt x="3987" y="768"/>
                </a:lnTo>
                <a:cubicBezTo>
                  <a:pt x="3988" y="770"/>
                  <a:pt x="3988" y="773"/>
                  <a:pt x="3989" y="776"/>
                </a:cubicBezTo>
                <a:cubicBezTo>
                  <a:pt x="3990" y="779"/>
                  <a:pt x="3990" y="782"/>
                  <a:pt x="3992" y="785"/>
                </a:cubicBezTo>
                <a:cubicBezTo>
                  <a:pt x="3993" y="787"/>
                  <a:pt x="3993" y="789"/>
                  <a:pt x="3994" y="789"/>
                </a:cubicBezTo>
                <a:cubicBezTo>
                  <a:pt x="3995" y="789"/>
                  <a:pt x="3996" y="789"/>
                  <a:pt x="3996" y="788"/>
                </a:cubicBezTo>
                <a:lnTo>
                  <a:pt x="3995" y="784"/>
                </a:lnTo>
                <a:cubicBezTo>
                  <a:pt x="3994" y="780"/>
                  <a:pt x="3993" y="768"/>
                  <a:pt x="3993" y="749"/>
                </a:cubicBezTo>
                <a:cubicBezTo>
                  <a:pt x="3993" y="730"/>
                  <a:pt x="3993" y="721"/>
                  <a:pt x="3992" y="721"/>
                </a:cubicBezTo>
                <a:cubicBezTo>
                  <a:pt x="3990" y="721"/>
                  <a:pt x="3990" y="726"/>
                  <a:pt x="3990" y="735"/>
                </a:cubicBezTo>
                <a:cubicBezTo>
                  <a:pt x="3990" y="736"/>
                  <a:pt x="3990" y="737"/>
                  <a:pt x="3989" y="737"/>
                </a:cubicBezTo>
                <a:cubicBezTo>
                  <a:pt x="3988" y="738"/>
                  <a:pt x="3988" y="739"/>
                  <a:pt x="3987" y="739"/>
                </a:cubicBezTo>
                <a:cubicBezTo>
                  <a:pt x="3985" y="739"/>
                  <a:pt x="3985" y="738"/>
                  <a:pt x="3985" y="736"/>
                </a:cubicBezTo>
                <a:cubicBezTo>
                  <a:pt x="3985" y="733"/>
                  <a:pt x="3987" y="719"/>
                  <a:pt x="3990" y="693"/>
                </a:cubicBezTo>
                <a:cubicBezTo>
                  <a:pt x="3993" y="665"/>
                  <a:pt x="3996" y="650"/>
                  <a:pt x="3997" y="648"/>
                </a:cubicBezTo>
                <a:cubicBezTo>
                  <a:pt x="3997" y="647"/>
                  <a:pt x="3998" y="644"/>
                  <a:pt x="3998" y="641"/>
                </a:cubicBezTo>
                <a:cubicBezTo>
                  <a:pt x="3998" y="631"/>
                  <a:pt x="4001" y="616"/>
                  <a:pt x="4006" y="597"/>
                </a:cubicBezTo>
                <a:cubicBezTo>
                  <a:pt x="4011" y="577"/>
                  <a:pt x="4016" y="559"/>
                  <a:pt x="4022" y="542"/>
                </a:cubicBezTo>
                <a:cubicBezTo>
                  <a:pt x="4027" y="528"/>
                  <a:pt x="4030" y="519"/>
                  <a:pt x="4030" y="514"/>
                </a:cubicBezTo>
                <a:cubicBezTo>
                  <a:pt x="4030" y="510"/>
                  <a:pt x="4030" y="508"/>
                  <a:pt x="4032" y="508"/>
                </a:cubicBezTo>
                <a:cubicBezTo>
                  <a:pt x="4033" y="508"/>
                  <a:pt x="4034" y="508"/>
                  <a:pt x="4034" y="509"/>
                </a:cubicBezTo>
                <a:cubicBezTo>
                  <a:pt x="4034" y="511"/>
                  <a:pt x="4034" y="512"/>
                  <a:pt x="4034" y="512"/>
                </a:cubicBezTo>
                <a:cubicBezTo>
                  <a:pt x="4035" y="512"/>
                  <a:pt x="4035" y="511"/>
                  <a:pt x="4036" y="510"/>
                </a:cubicBezTo>
                <a:cubicBezTo>
                  <a:pt x="4037" y="509"/>
                  <a:pt x="4039" y="509"/>
                  <a:pt x="4043" y="509"/>
                </a:cubicBezTo>
                <a:cubicBezTo>
                  <a:pt x="4045" y="509"/>
                  <a:pt x="4046" y="509"/>
                  <a:pt x="4046" y="509"/>
                </a:cubicBezTo>
                <a:cubicBezTo>
                  <a:pt x="4046" y="508"/>
                  <a:pt x="4045" y="507"/>
                  <a:pt x="4044" y="506"/>
                </a:cubicBezTo>
                <a:cubicBezTo>
                  <a:pt x="4044" y="505"/>
                  <a:pt x="4043" y="504"/>
                  <a:pt x="4043" y="503"/>
                </a:cubicBezTo>
                <a:cubicBezTo>
                  <a:pt x="4043" y="502"/>
                  <a:pt x="4044" y="502"/>
                  <a:pt x="4044" y="502"/>
                </a:cubicBezTo>
                <a:cubicBezTo>
                  <a:pt x="4048" y="502"/>
                  <a:pt x="4052" y="505"/>
                  <a:pt x="4057" y="509"/>
                </a:cubicBezTo>
                <a:cubicBezTo>
                  <a:pt x="4058" y="510"/>
                  <a:pt x="4059" y="511"/>
                  <a:pt x="4059" y="512"/>
                </a:cubicBezTo>
                <a:cubicBezTo>
                  <a:pt x="4061" y="513"/>
                  <a:pt x="4063" y="514"/>
                  <a:pt x="4064" y="515"/>
                </a:cubicBezTo>
                <a:cubicBezTo>
                  <a:pt x="4064" y="515"/>
                  <a:pt x="4064" y="516"/>
                  <a:pt x="4064" y="517"/>
                </a:cubicBezTo>
                <a:cubicBezTo>
                  <a:pt x="4064" y="521"/>
                  <a:pt x="4059" y="538"/>
                  <a:pt x="4048" y="570"/>
                </a:cubicBezTo>
                <a:cubicBezTo>
                  <a:pt x="4045" y="577"/>
                  <a:pt x="4044" y="581"/>
                  <a:pt x="4043" y="584"/>
                </a:cubicBezTo>
                <a:cubicBezTo>
                  <a:pt x="4042" y="588"/>
                  <a:pt x="4041" y="593"/>
                  <a:pt x="4040" y="600"/>
                </a:cubicBezTo>
                <a:cubicBezTo>
                  <a:pt x="4040" y="603"/>
                  <a:pt x="4040" y="604"/>
                  <a:pt x="4039" y="606"/>
                </a:cubicBezTo>
                <a:cubicBezTo>
                  <a:pt x="4039" y="607"/>
                  <a:pt x="4039" y="609"/>
                  <a:pt x="4038" y="610"/>
                </a:cubicBezTo>
                <a:cubicBezTo>
                  <a:pt x="4038" y="612"/>
                  <a:pt x="4037" y="614"/>
                  <a:pt x="4037" y="617"/>
                </a:cubicBezTo>
                <a:cubicBezTo>
                  <a:pt x="4037" y="619"/>
                  <a:pt x="4036" y="622"/>
                  <a:pt x="4035" y="627"/>
                </a:cubicBezTo>
                <a:lnTo>
                  <a:pt x="4034" y="632"/>
                </a:lnTo>
                <a:cubicBezTo>
                  <a:pt x="4033" y="636"/>
                  <a:pt x="4032" y="642"/>
                  <a:pt x="4030" y="650"/>
                </a:cubicBezTo>
                <a:cubicBezTo>
                  <a:pt x="4030" y="652"/>
                  <a:pt x="4029" y="654"/>
                  <a:pt x="4029" y="656"/>
                </a:cubicBezTo>
                <a:cubicBezTo>
                  <a:pt x="4029" y="657"/>
                  <a:pt x="4029" y="659"/>
                  <a:pt x="4028" y="660"/>
                </a:cubicBezTo>
                <a:cubicBezTo>
                  <a:pt x="4028" y="662"/>
                  <a:pt x="4028" y="663"/>
                  <a:pt x="4028" y="665"/>
                </a:cubicBezTo>
                <a:cubicBezTo>
                  <a:pt x="4027" y="667"/>
                  <a:pt x="4027" y="669"/>
                  <a:pt x="4027" y="671"/>
                </a:cubicBezTo>
                <a:cubicBezTo>
                  <a:pt x="4026" y="673"/>
                  <a:pt x="4025" y="675"/>
                  <a:pt x="4025" y="677"/>
                </a:cubicBezTo>
                <a:cubicBezTo>
                  <a:pt x="4025" y="680"/>
                  <a:pt x="4024" y="682"/>
                  <a:pt x="4024" y="684"/>
                </a:cubicBezTo>
                <a:cubicBezTo>
                  <a:pt x="4024" y="687"/>
                  <a:pt x="4023" y="691"/>
                  <a:pt x="4022" y="695"/>
                </a:cubicBezTo>
                <a:cubicBezTo>
                  <a:pt x="4019" y="721"/>
                  <a:pt x="4017" y="744"/>
                  <a:pt x="4017" y="763"/>
                </a:cubicBezTo>
                <a:cubicBezTo>
                  <a:pt x="4017" y="770"/>
                  <a:pt x="4017" y="773"/>
                  <a:pt x="4019" y="773"/>
                </a:cubicBezTo>
                <a:cubicBezTo>
                  <a:pt x="4021" y="773"/>
                  <a:pt x="4025" y="768"/>
                  <a:pt x="4033" y="758"/>
                </a:cubicBezTo>
                <a:cubicBezTo>
                  <a:pt x="4043" y="744"/>
                  <a:pt x="4055" y="726"/>
                  <a:pt x="4068" y="705"/>
                </a:cubicBezTo>
                <a:cubicBezTo>
                  <a:pt x="4079" y="688"/>
                  <a:pt x="4084" y="681"/>
                  <a:pt x="4085" y="681"/>
                </a:cubicBezTo>
                <a:lnTo>
                  <a:pt x="4081" y="688"/>
                </a:lnTo>
                <a:cubicBezTo>
                  <a:pt x="4075" y="698"/>
                  <a:pt x="4067" y="711"/>
                  <a:pt x="4057" y="727"/>
                </a:cubicBezTo>
                <a:cubicBezTo>
                  <a:pt x="4046" y="743"/>
                  <a:pt x="4037" y="756"/>
                  <a:pt x="4030" y="765"/>
                </a:cubicBezTo>
                <a:cubicBezTo>
                  <a:pt x="4021" y="777"/>
                  <a:pt x="4016" y="784"/>
                  <a:pt x="4016" y="785"/>
                </a:cubicBezTo>
                <a:cubicBezTo>
                  <a:pt x="4016" y="786"/>
                  <a:pt x="4016" y="787"/>
                  <a:pt x="4015" y="787"/>
                </a:cubicBezTo>
                <a:lnTo>
                  <a:pt x="4014" y="786"/>
                </a:lnTo>
                <a:cubicBezTo>
                  <a:pt x="4013" y="786"/>
                  <a:pt x="4012" y="788"/>
                  <a:pt x="4012" y="791"/>
                </a:cubicBezTo>
                <a:cubicBezTo>
                  <a:pt x="4012" y="794"/>
                  <a:pt x="4012" y="795"/>
                  <a:pt x="4014" y="795"/>
                </a:cubicBezTo>
                <a:cubicBezTo>
                  <a:pt x="4014" y="795"/>
                  <a:pt x="4015" y="795"/>
                  <a:pt x="4017" y="795"/>
                </a:cubicBezTo>
                <a:cubicBezTo>
                  <a:pt x="4019" y="794"/>
                  <a:pt x="4019" y="794"/>
                  <a:pt x="4019" y="793"/>
                </a:cubicBezTo>
                <a:cubicBezTo>
                  <a:pt x="4019" y="793"/>
                  <a:pt x="4019" y="792"/>
                  <a:pt x="4018" y="792"/>
                </a:cubicBezTo>
                <a:cubicBezTo>
                  <a:pt x="4017" y="791"/>
                  <a:pt x="4016" y="790"/>
                  <a:pt x="4016" y="790"/>
                </a:cubicBezTo>
                <a:cubicBezTo>
                  <a:pt x="4016" y="789"/>
                  <a:pt x="4017" y="788"/>
                  <a:pt x="4018" y="787"/>
                </a:cubicBezTo>
                <a:cubicBezTo>
                  <a:pt x="4019" y="786"/>
                  <a:pt x="4020" y="785"/>
                  <a:pt x="4020" y="785"/>
                </a:cubicBezTo>
                <a:cubicBezTo>
                  <a:pt x="4020" y="785"/>
                  <a:pt x="4020" y="786"/>
                  <a:pt x="4020" y="787"/>
                </a:cubicBezTo>
                <a:cubicBezTo>
                  <a:pt x="4020" y="789"/>
                  <a:pt x="4021" y="789"/>
                  <a:pt x="4021" y="789"/>
                </a:cubicBezTo>
                <a:cubicBezTo>
                  <a:pt x="4022" y="789"/>
                  <a:pt x="4023" y="789"/>
                  <a:pt x="4024" y="788"/>
                </a:cubicBezTo>
                <a:cubicBezTo>
                  <a:pt x="4025" y="787"/>
                  <a:pt x="4025" y="787"/>
                  <a:pt x="4026" y="787"/>
                </a:cubicBezTo>
                <a:cubicBezTo>
                  <a:pt x="4027" y="787"/>
                  <a:pt x="4028" y="787"/>
                  <a:pt x="4028" y="787"/>
                </a:cubicBezTo>
                <a:lnTo>
                  <a:pt x="4029" y="787"/>
                </a:lnTo>
                <a:lnTo>
                  <a:pt x="4028" y="785"/>
                </a:lnTo>
                <a:cubicBezTo>
                  <a:pt x="4028" y="783"/>
                  <a:pt x="4029" y="782"/>
                  <a:pt x="4032" y="780"/>
                </a:cubicBezTo>
                <a:cubicBezTo>
                  <a:pt x="4034" y="779"/>
                  <a:pt x="4035" y="779"/>
                  <a:pt x="4037" y="778"/>
                </a:cubicBezTo>
                <a:cubicBezTo>
                  <a:pt x="4038" y="777"/>
                  <a:pt x="4038" y="776"/>
                  <a:pt x="4038" y="776"/>
                </a:cubicBezTo>
                <a:cubicBezTo>
                  <a:pt x="4038" y="775"/>
                  <a:pt x="4038" y="774"/>
                  <a:pt x="4037" y="774"/>
                </a:cubicBezTo>
                <a:lnTo>
                  <a:pt x="4035" y="776"/>
                </a:lnTo>
                <a:lnTo>
                  <a:pt x="4035" y="775"/>
                </a:lnTo>
                <a:lnTo>
                  <a:pt x="4037" y="772"/>
                </a:lnTo>
                <a:cubicBezTo>
                  <a:pt x="4039" y="771"/>
                  <a:pt x="4040" y="769"/>
                  <a:pt x="4042" y="767"/>
                </a:cubicBezTo>
                <a:cubicBezTo>
                  <a:pt x="4045" y="765"/>
                  <a:pt x="4047" y="764"/>
                  <a:pt x="4049" y="763"/>
                </a:cubicBezTo>
                <a:cubicBezTo>
                  <a:pt x="4050" y="762"/>
                  <a:pt x="4051" y="761"/>
                  <a:pt x="4051" y="761"/>
                </a:cubicBezTo>
                <a:lnTo>
                  <a:pt x="4045" y="762"/>
                </a:lnTo>
                <a:lnTo>
                  <a:pt x="4045" y="761"/>
                </a:lnTo>
                <a:cubicBezTo>
                  <a:pt x="4045" y="761"/>
                  <a:pt x="4046" y="760"/>
                  <a:pt x="4048" y="758"/>
                </a:cubicBezTo>
                <a:cubicBezTo>
                  <a:pt x="4050" y="756"/>
                  <a:pt x="4052" y="754"/>
                  <a:pt x="4053" y="753"/>
                </a:cubicBezTo>
                <a:cubicBezTo>
                  <a:pt x="4054" y="752"/>
                  <a:pt x="4054" y="750"/>
                  <a:pt x="4054" y="750"/>
                </a:cubicBezTo>
                <a:cubicBezTo>
                  <a:pt x="4054" y="749"/>
                  <a:pt x="4055" y="748"/>
                  <a:pt x="4055" y="748"/>
                </a:cubicBezTo>
                <a:cubicBezTo>
                  <a:pt x="4056" y="747"/>
                  <a:pt x="4057" y="747"/>
                  <a:pt x="4058" y="747"/>
                </a:cubicBezTo>
                <a:cubicBezTo>
                  <a:pt x="4059" y="747"/>
                  <a:pt x="4059" y="747"/>
                  <a:pt x="4060" y="746"/>
                </a:cubicBezTo>
                <a:cubicBezTo>
                  <a:pt x="4061" y="745"/>
                  <a:pt x="4061" y="745"/>
                  <a:pt x="4062" y="744"/>
                </a:cubicBezTo>
                <a:lnTo>
                  <a:pt x="4062" y="743"/>
                </a:lnTo>
                <a:cubicBezTo>
                  <a:pt x="4062" y="742"/>
                  <a:pt x="4061" y="742"/>
                  <a:pt x="4061" y="742"/>
                </a:cubicBezTo>
                <a:lnTo>
                  <a:pt x="4060" y="743"/>
                </a:lnTo>
                <a:cubicBezTo>
                  <a:pt x="4059" y="743"/>
                  <a:pt x="4059" y="743"/>
                  <a:pt x="4058" y="743"/>
                </a:cubicBezTo>
                <a:cubicBezTo>
                  <a:pt x="4058" y="743"/>
                  <a:pt x="4058" y="743"/>
                  <a:pt x="4058" y="743"/>
                </a:cubicBezTo>
                <a:cubicBezTo>
                  <a:pt x="4058" y="742"/>
                  <a:pt x="4058" y="742"/>
                  <a:pt x="4059" y="741"/>
                </a:cubicBezTo>
                <a:cubicBezTo>
                  <a:pt x="4060" y="740"/>
                  <a:pt x="4062" y="740"/>
                  <a:pt x="4064" y="739"/>
                </a:cubicBezTo>
                <a:cubicBezTo>
                  <a:pt x="4066" y="738"/>
                  <a:pt x="4067" y="737"/>
                  <a:pt x="4067" y="736"/>
                </a:cubicBezTo>
                <a:cubicBezTo>
                  <a:pt x="4067" y="736"/>
                  <a:pt x="4067" y="736"/>
                  <a:pt x="4066" y="735"/>
                </a:cubicBezTo>
                <a:cubicBezTo>
                  <a:pt x="4065" y="735"/>
                  <a:pt x="4065" y="735"/>
                  <a:pt x="4065" y="734"/>
                </a:cubicBezTo>
                <a:cubicBezTo>
                  <a:pt x="4065" y="732"/>
                  <a:pt x="4066" y="731"/>
                  <a:pt x="4067" y="729"/>
                </a:cubicBezTo>
                <a:cubicBezTo>
                  <a:pt x="4069" y="727"/>
                  <a:pt x="4070" y="725"/>
                  <a:pt x="4070" y="724"/>
                </a:cubicBezTo>
                <a:cubicBezTo>
                  <a:pt x="4070" y="724"/>
                  <a:pt x="4070" y="723"/>
                  <a:pt x="4069" y="723"/>
                </a:cubicBezTo>
                <a:cubicBezTo>
                  <a:pt x="4069" y="723"/>
                  <a:pt x="4069" y="723"/>
                  <a:pt x="4069" y="723"/>
                </a:cubicBezTo>
                <a:cubicBezTo>
                  <a:pt x="4069" y="723"/>
                  <a:pt x="4070" y="722"/>
                  <a:pt x="4071" y="720"/>
                </a:cubicBezTo>
                <a:cubicBezTo>
                  <a:pt x="4072" y="718"/>
                  <a:pt x="4074" y="718"/>
                  <a:pt x="4075" y="718"/>
                </a:cubicBezTo>
                <a:cubicBezTo>
                  <a:pt x="4075" y="718"/>
                  <a:pt x="4075" y="718"/>
                  <a:pt x="4076" y="718"/>
                </a:cubicBezTo>
                <a:cubicBezTo>
                  <a:pt x="4076" y="718"/>
                  <a:pt x="4076" y="719"/>
                  <a:pt x="4076" y="719"/>
                </a:cubicBezTo>
                <a:cubicBezTo>
                  <a:pt x="4076" y="720"/>
                  <a:pt x="4075" y="720"/>
                  <a:pt x="4074" y="721"/>
                </a:cubicBezTo>
                <a:lnTo>
                  <a:pt x="4071" y="723"/>
                </a:lnTo>
                <a:cubicBezTo>
                  <a:pt x="4071" y="723"/>
                  <a:pt x="4072" y="723"/>
                  <a:pt x="4073" y="723"/>
                </a:cubicBezTo>
                <a:cubicBezTo>
                  <a:pt x="4075" y="723"/>
                  <a:pt x="4078" y="721"/>
                  <a:pt x="4079" y="719"/>
                </a:cubicBezTo>
                <a:cubicBezTo>
                  <a:pt x="4080" y="716"/>
                  <a:pt x="4081" y="714"/>
                  <a:pt x="4081" y="713"/>
                </a:cubicBezTo>
                <a:cubicBezTo>
                  <a:pt x="4081" y="713"/>
                  <a:pt x="4081" y="712"/>
                  <a:pt x="4080" y="712"/>
                </a:cubicBezTo>
                <a:lnTo>
                  <a:pt x="4078" y="713"/>
                </a:lnTo>
                <a:cubicBezTo>
                  <a:pt x="4076" y="713"/>
                  <a:pt x="4075" y="713"/>
                  <a:pt x="4075" y="712"/>
                </a:cubicBezTo>
                <a:cubicBezTo>
                  <a:pt x="4075" y="711"/>
                  <a:pt x="4075" y="710"/>
                  <a:pt x="4077" y="710"/>
                </a:cubicBezTo>
                <a:cubicBezTo>
                  <a:pt x="4078" y="710"/>
                  <a:pt x="4079" y="709"/>
                  <a:pt x="4080" y="709"/>
                </a:cubicBezTo>
                <a:cubicBezTo>
                  <a:pt x="4081" y="709"/>
                  <a:pt x="4082" y="709"/>
                  <a:pt x="4083" y="708"/>
                </a:cubicBezTo>
                <a:cubicBezTo>
                  <a:pt x="4086" y="707"/>
                  <a:pt x="4089" y="703"/>
                  <a:pt x="4094" y="696"/>
                </a:cubicBezTo>
                <a:cubicBezTo>
                  <a:pt x="4098" y="688"/>
                  <a:pt x="4106" y="675"/>
                  <a:pt x="4117" y="655"/>
                </a:cubicBezTo>
                <a:cubicBezTo>
                  <a:pt x="4128" y="636"/>
                  <a:pt x="4133" y="626"/>
                  <a:pt x="4133" y="625"/>
                </a:cubicBezTo>
                <a:cubicBezTo>
                  <a:pt x="4133" y="623"/>
                  <a:pt x="4133" y="622"/>
                  <a:pt x="4133" y="622"/>
                </a:cubicBezTo>
                <a:lnTo>
                  <a:pt x="4132" y="622"/>
                </a:lnTo>
                <a:cubicBezTo>
                  <a:pt x="4131" y="622"/>
                  <a:pt x="4129" y="624"/>
                  <a:pt x="4128" y="628"/>
                </a:cubicBezTo>
                <a:cubicBezTo>
                  <a:pt x="4127" y="632"/>
                  <a:pt x="4127" y="634"/>
                  <a:pt x="4126" y="634"/>
                </a:cubicBezTo>
                <a:cubicBezTo>
                  <a:pt x="4125" y="634"/>
                  <a:pt x="4124" y="634"/>
                  <a:pt x="4124" y="635"/>
                </a:cubicBezTo>
                <a:cubicBezTo>
                  <a:pt x="4123" y="636"/>
                  <a:pt x="4123" y="636"/>
                  <a:pt x="4123" y="637"/>
                </a:cubicBezTo>
                <a:cubicBezTo>
                  <a:pt x="4123" y="639"/>
                  <a:pt x="4122" y="641"/>
                  <a:pt x="4119" y="644"/>
                </a:cubicBezTo>
                <a:cubicBezTo>
                  <a:pt x="4119" y="644"/>
                  <a:pt x="4117" y="647"/>
                  <a:pt x="4115" y="652"/>
                </a:cubicBezTo>
                <a:cubicBezTo>
                  <a:pt x="4114" y="655"/>
                  <a:pt x="4113" y="657"/>
                  <a:pt x="4111" y="657"/>
                </a:cubicBezTo>
                <a:cubicBezTo>
                  <a:pt x="4110" y="657"/>
                  <a:pt x="4109" y="658"/>
                  <a:pt x="4109" y="660"/>
                </a:cubicBezTo>
                <a:cubicBezTo>
                  <a:pt x="4109" y="663"/>
                  <a:pt x="4109" y="664"/>
                  <a:pt x="4108" y="664"/>
                </a:cubicBezTo>
                <a:cubicBezTo>
                  <a:pt x="4107" y="664"/>
                  <a:pt x="4106" y="664"/>
                  <a:pt x="4106" y="665"/>
                </a:cubicBezTo>
                <a:lnTo>
                  <a:pt x="4107" y="666"/>
                </a:lnTo>
                <a:cubicBezTo>
                  <a:pt x="4107" y="667"/>
                  <a:pt x="4106" y="668"/>
                  <a:pt x="4105" y="668"/>
                </a:cubicBezTo>
                <a:cubicBezTo>
                  <a:pt x="4104" y="668"/>
                  <a:pt x="4103" y="669"/>
                  <a:pt x="4103" y="672"/>
                </a:cubicBezTo>
                <a:cubicBezTo>
                  <a:pt x="4103" y="673"/>
                  <a:pt x="4103" y="673"/>
                  <a:pt x="4103" y="674"/>
                </a:cubicBezTo>
                <a:cubicBezTo>
                  <a:pt x="4102" y="675"/>
                  <a:pt x="4102" y="675"/>
                  <a:pt x="4101" y="675"/>
                </a:cubicBezTo>
                <a:cubicBezTo>
                  <a:pt x="4101" y="675"/>
                  <a:pt x="4100" y="675"/>
                  <a:pt x="4100" y="676"/>
                </a:cubicBezTo>
                <a:cubicBezTo>
                  <a:pt x="4099" y="677"/>
                  <a:pt x="4099" y="677"/>
                  <a:pt x="4099" y="678"/>
                </a:cubicBezTo>
                <a:cubicBezTo>
                  <a:pt x="4099" y="679"/>
                  <a:pt x="4099" y="680"/>
                  <a:pt x="4098" y="681"/>
                </a:cubicBezTo>
                <a:cubicBezTo>
                  <a:pt x="4097" y="682"/>
                  <a:pt x="4095" y="685"/>
                  <a:pt x="4091" y="690"/>
                </a:cubicBezTo>
                <a:cubicBezTo>
                  <a:pt x="4090" y="692"/>
                  <a:pt x="4089" y="694"/>
                  <a:pt x="4088" y="695"/>
                </a:cubicBezTo>
                <a:cubicBezTo>
                  <a:pt x="4087" y="697"/>
                  <a:pt x="4087" y="697"/>
                  <a:pt x="4087" y="698"/>
                </a:cubicBezTo>
                <a:cubicBezTo>
                  <a:pt x="4086" y="698"/>
                  <a:pt x="4086" y="699"/>
                  <a:pt x="4084" y="700"/>
                </a:cubicBezTo>
                <a:lnTo>
                  <a:pt x="4084" y="699"/>
                </a:lnTo>
                <a:cubicBezTo>
                  <a:pt x="4084" y="697"/>
                  <a:pt x="4086" y="693"/>
                  <a:pt x="4089" y="688"/>
                </a:cubicBezTo>
                <a:lnTo>
                  <a:pt x="4092" y="683"/>
                </a:lnTo>
                <a:cubicBezTo>
                  <a:pt x="4095" y="679"/>
                  <a:pt x="4096" y="676"/>
                  <a:pt x="4097" y="675"/>
                </a:cubicBezTo>
                <a:cubicBezTo>
                  <a:pt x="4098" y="674"/>
                  <a:pt x="4100" y="670"/>
                  <a:pt x="4103" y="665"/>
                </a:cubicBezTo>
                <a:cubicBezTo>
                  <a:pt x="4105" y="663"/>
                  <a:pt x="4107" y="659"/>
                  <a:pt x="4109" y="654"/>
                </a:cubicBezTo>
                <a:cubicBezTo>
                  <a:pt x="4110" y="651"/>
                  <a:pt x="4111" y="650"/>
                  <a:pt x="4112" y="650"/>
                </a:cubicBezTo>
                <a:cubicBezTo>
                  <a:pt x="4113" y="650"/>
                  <a:pt x="4113" y="649"/>
                  <a:pt x="4113" y="648"/>
                </a:cubicBezTo>
                <a:lnTo>
                  <a:pt x="4113" y="647"/>
                </a:lnTo>
                <a:cubicBezTo>
                  <a:pt x="4113" y="646"/>
                  <a:pt x="4114" y="645"/>
                  <a:pt x="4115" y="644"/>
                </a:cubicBezTo>
                <a:cubicBezTo>
                  <a:pt x="4117" y="644"/>
                  <a:pt x="4118" y="643"/>
                  <a:pt x="4118" y="642"/>
                </a:cubicBezTo>
                <a:lnTo>
                  <a:pt x="4117" y="640"/>
                </a:lnTo>
                <a:cubicBezTo>
                  <a:pt x="4117" y="639"/>
                  <a:pt x="4117" y="639"/>
                  <a:pt x="4118" y="639"/>
                </a:cubicBezTo>
                <a:cubicBezTo>
                  <a:pt x="4119" y="639"/>
                  <a:pt x="4120" y="638"/>
                  <a:pt x="4120" y="638"/>
                </a:cubicBezTo>
                <a:lnTo>
                  <a:pt x="4119" y="636"/>
                </a:lnTo>
                <a:cubicBezTo>
                  <a:pt x="4119" y="635"/>
                  <a:pt x="4120" y="634"/>
                  <a:pt x="4122" y="633"/>
                </a:cubicBezTo>
                <a:cubicBezTo>
                  <a:pt x="4124" y="632"/>
                  <a:pt x="4125" y="629"/>
                  <a:pt x="4126" y="626"/>
                </a:cubicBezTo>
                <a:cubicBezTo>
                  <a:pt x="4126" y="624"/>
                  <a:pt x="4127" y="622"/>
                  <a:pt x="4129" y="620"/>
                </a:cubicBezTo>
                <a:cubicBezTo>
                  <a:pt x="4131" y="618"/>
                  <a:pt x="4132" y="616"/>
                  <a:pt x="4132" y="614"/>
                </a:cubicBezTo>
                <a:cubicBezTo>
                  <a:pt x="4133" y="612"/>
                  <a:pt x="4134" y="610"/>
                  <a:pt x="4135" y="608"/>
                </a:cubicBezTo>
                <a:cubicBezTo>
                  <a:pt x="4137" y="607"/>
                  <a:pt x="4137" y="605"/>
                  <a:pt x="4137" y="605"/>
                </a:cubicBezTo>
                <a:cubicBezTo>
                  <a:pt x="4137" y="604"/>
                  <a:pt x="4137" y="604"/>
                  <a:pt x="4137" y="604"/>
                </a:cubicBezTo>
                <a:cubicBezTo>
                  <a:pt x="4137" y="604"/>
                  <a:pt x="4136" y="604"/>
                  <a:pt x="4136" y="604"/>
                </a:cubicBezTo>
                <a:cubicBezTo>
                  <a:pt x="4136" y="603"/>
                  <a:pt x="4137" y="602"/>
                  <a:pt x="4140" y="599"/>
                </a:cubicBezTo>
                <a:cubicBezTo>
                  <a:pt x="4143" y="596"/>
                  <a:pt x="4144" y="595"/>
                  <a:pt x="4144" y="593"/>
                </a:cubicBezTo>
                <a:lnTo>
                  <a:pt x="4144" y="593"/>
                </a:lnTo>
                <a:cubicBezTo>
                  <a:pt x="4144" y="592"/>
                  <a:pt x="4145" y="590"/>
                  <a:pt x="4147" y="588"/>
                </a:cubicBezTo>
                <a:cubicBezTo>
                  <a:pt x="4149" y="585"/>
                  <a:pt x="4150" y="584"/>
                  <a:pt x="4151" y="584"/>
                </a:cubicBezTo>
                <a:cubicBezTo>
                  <a:pt x="4151" y="584"/>
                  <a:pt x="4151" y="584"/>
                  <a:pt x="4151" y="584"/>
                </a:cubicBezTo>
                <a:cubicBezTo>
                  <a:pt x="4151" y="585"/>
                  <a:pt x="4151" y="587"/>
                  <a:pt x="4150" y="589"/>
                </a:cubicBezTo>
                <a:cubicBezTo>
                  <a:pt x="4147" y="595"/>
                  <a:pt x="4144" y="600"/>
                  <a:pt x="4143" y="602"/>
                </a:cubicBezTo>
                <a:cubicBezTo>
                  <a:pt x="4141" y="603"/>
                  <a:pt x="4139" y="606"/>
                  <a:pt x="4137" y="611"/>
                </a:cubicBezTo>
                <a:lnTo>
                  <a:pt x="4134" y="621"/>
                </a:lnTo>
                <a:cubicBezTo>
                  <a:pt x="4135" y="621"/>
                  <a:pt x="4138" y="617"/>
                  <a:pt x="4143" y="608"/>
                </a:cubicBezTo>
                <a:cubicBezTo>
                  <a:pt x="4148" y="600"/>
                  <a:pt x="4151" y="595"/>
                  <a:pt x="4151" y="595"/>
                </a:cubicBezTo>
                <a:cubicBezTo>
                  <a:pt x="4151" y="595"/>
                  <a:pt x="4152" y="595"/>
                  <a:pt x="4152" y="595"/>
                </a:cubicBezTo>
                <a:cubicBezTo>
                  <a:pt x="4152" y="597"/>
                  <a:pt x="4151" y="600"/>
                  <a:pt x="4148" y="605"/>
                </a:cubicBezTo>
                <a:cubicBezTo>
                  <a:pt x="4136" y="631"/>
                  <a:pt x="4118" y="663"/>
                  <a:pt x="4094" y="700"/>
                </a:cubicBezTo>
                <a:cubicBezTo>
                  <a:pt x="4068" y="742"/>
                  <a:pt x="4048" y="771"/>
                  <a:pt x="4033" y="786"/>
                </a:cubicBezTo>
                <a:cubicBezTo>
                  <a:pt x="4028" y="791"/>
                  <a:pt x="4026" y="794"/>
                  <a:pt x="4026" y="795"/>
                </a:cubicBezTo>
                <a:cubicBezTo>
                  <a:pt x="4026" y="796"/>
                  <a:pt x="4027" y="797"/>
                  <a:pt x="4030" y="797"/>
                </a:cubicBezTo>
                <a:lnTo>
                  <a:pt x="4032" y="797"/>
                </a:lnTo>
                <a:cubicBezTo>
                  <a:pt x="4035" y="797"/>
                  <a:pt x="4037" y="797"/>
                  <a:pt x="4037" y="796"/>
                </a:cubicBezTo>
                <a:lnTo>
                  <a:pt x="4037" y="795"/>
                </a:lnTo>
                <a:cubicBezTo>
                  <a:pt x="4037" y="794"/>
                  <a:pt x="4037" y="794"/>
                  <a:pt x="4038" y="794"/>
                </a:cubicBezTo>
                <a:cubicBezTo>
                  <a:pt x="4040" y="794"/>
                  <a:pt x="4043" y="791"/>
                  <a:pt x="4048" y="786"/>
                </a:cubicBezTo>
                <a:lnTo>
                  <a:pt x="4050" y="781"/>
                </a:lnTo>
                <a:lnTo>
                  <a:pt x="4050" y="780"/>
                </a:lnTo>
                <a:cubicBezTo>
                  <a:pt x="4050" y="779"/>
                  <a:pt x="4050" y="778"/>
                  <a:pt x="4051" y="777"/>
                </a:cubicBezTo>
                <a:cubicBezTo>
                  <a:pt x="4052" y="775"/>
                  <a:pt x="4054" y="774"/>
                  <a:pt x="4054" y="774"/>
                </a:cubicBezTo>
                <a:lnTo>
                  <a:pt x="4056" y="775"/>
                </a:lnTo>
                <a:cubicBezTo>
                  <a:pt x="4057" y="775"/>
                  <a:pt x="4060" y="771"/>
                  <a:pt x="4067" y="762"/>
                </a:cubicBezTo>
                <a:cubicBezTo>
                  <a:pt x="4069" y="760"/>
                  <a:pt x="4070" y="758"/>
                  <a:pt x="4071" y="757"/>
                </a:cubicBezTo>
                <a:cubicBezTo>
                  <a:pt x="4074" y="755"/>
                  <a:pt x="4075" y="752"/>
                  <a:pt x="4075" y="751"/>
                </a:cubicBezTo>
                <a:cubicBezTo>
                  <a:pt x="4075" y="750"/>
                  <a:pt x="4076" y="748"/>
                  <a:pt x="4078" y="747"/>
                </a:cubicBezTo>
                <a:cubicBezTo>
                  <a:pt x="4080" y="745"/>
                  <a:pt x="4081" y="743"/>
                  <a:pt x="4081" y="739"/>
                </a:cubicBezTo>
                <a:cubicBezTo>
                  <a:pt x="4081" y="736"/>
                  <a:pt x="4081" y="734"/>
                  <a:pt x="4083" y="734"/>
                </a:cubicBezTo>
                <a:cubicBezTo>
                  <a:pt x="4084" y="734"/>
                  <a:pt x="4086" y="732"/>
                  <a:pt x="4088" y="730"/>
                </a:cubicBezTo>
                <a:cubicBezTo>
                  <a:pt x="4094" y="723"/>
                  <a:pt x="4097" y="718"/>
                  <a:pt x="4097" y="716"/>
                </a:cubicBezTo>
                <a:lnTo>
                  <a:pt x="4093" y="720"/>
                </a:lnTo>
                <a:cubicBezTo>
                  <a:pt x="4092" y="721"/>
                  <a:pt x="4092" y="722"/>
                  <a:pt x="4091" y="722"/>
                </a:cubicBezTo>
                <a:cubicBezTo>
                  <a:pt x="4091" y="722"/>
                  <a:pt x="4090" y="722"/>
                  <a:pt x="4090" y="721"/>
                </a:cubicBezTo>
                <a:cubicBezTo>
                  <a:pt x="4090" y="721"/>
                  <a:pt x="4091" y="720"/>
                  <a:pt x="4092" y="718"/>
                </a:cubicBezTo>
                <a:cubicBezTo>
                  <a:pt x="4092" y="717"/>
                  <a:pt x="4094" y="715"/>
                  <a:pt x="4095" y="713"/>
                </a:cubicBezTo>
                <a:cubicBezTo>
                  <a:pt x="4096" y="712"/>
                  <a:pt x="4097" y="710"/>
                  <a:pt x="4097" y="710"/>
                </a:cubicBezTo>
                <a:cubicBezTo>
                  <a:pt x="4097" y="710"/>
                  <a:pt x="4097" y="709"/>
                  <a:pt x="4097" y="709"/>
                </a:cubicBezTo>
                <a:cubicBezTo>
                  <a:pt x="4096" y="709"/>
                  <a:pt x="4096" y="709"/>
                  <a:pt x="4096" y="709"/>
                </a:cubicBezTo>
                <a:cubicBezTo>
                  <a:pt x="4096" y="708"/>
                  <a:pt x="4097" y="707"/>
                  <a:pt x="4099" y="705"/>
                </a:cubicBezTo>
                <a:cubicBezTo>
                  <a:pt x="4102" y="702"/>
                  <a:pt x="4103" y="699"/>
                  <a:pt x="4103" y="698"/>
                </a:cubicBezTo>
                <a:cubicBezTo>
                  <a:pt x="4103" y="696"/>
                  <a:pt x="4104" y="695"/>
                  <a:pt x="4107" y="693"/>
                </a:cubicBezTo>
                <a:cubicBezTo>
                  <a:pt x="4109" y="691"/>
                  <a:pt x="4110" y="689"/>
                  <a:pt x="4110" y="686"/>
                </a:cubicBezTo>
                <a:cubicBezTo>
                  <a:pt x="4111" y="684"/>
                  <a:pt x="4112" y="682"/>
                  <a:pt x="4114" y="680"/>
                </a:cubicBezTo>
                <a:cubicBezTo>
                  <a:pt x="4117" y="679"/>
                  <a:pt x="4118" y="674"/>
                  <a:pt x="4118" y="667"/>
                </a:cubicBezTo>
                <a:cubicBezTo>
                  <a:pt x="4118" y="667"/>
                  <a:pt x="4118" y="666"/>
                  <a:pt x="4119" y="666"/>
                </a:cubicBezTo>
                <a:lnTo>
                  <a:pt x="4121" y="667"/>
                </a:lnTo>
                <a:cubicBezTo>
                  <a:pt x="4121" y="667"/>
                  <a:pt x="4121" y="667"/>
                  <a:pt x="4121" y="666"/>
                </a:cubicBezTo>
                <a:lnTo>
                  <a:pt x="4121" y="664"/>
                </a:lnTo>
                <a:cubicBezTo>
                  <a:pt x="4121" y="661"/>
                  <a:pt x="4122" y="660"/>
                  <a:pt x="4123" y="659"/>
                </a:cubicBezTo>
                <a:cubicBezTo>
                  <a:pt x="4124" y="659"/>
                  <a:pt x="4125" y="657"/>
                  <a:pt x="4127" y="653"/>
                </a:cubicBezTo>
                <a:cubicBezTo>
                  <a:pt x="4128" y="648"/>
                  <a:pt x="4131" y="644"/>
                  <a:pt x="4134" y="639"/>
                </a:cubicBezTo>
                <a:cubicBezTo>
                  <a:pt x="4137" y="634"/>
                  <a:pt x="4139" y="630"/>
                  <a:pt x="4141" y="627"/>
                </a:cubicBezTo>
                <a:cubicBezTo>
                  <a:pt x="4142" y="624"/>
                  <a:pt x="4143" y="622"/>
                  <a:pt x="4144" y="622"/>
                </a:cubicBezTo>
                <a:cubicBezTo>
                  <a:pt x="4145" y="622"/>
                  <a:pt x="4146" y="622"/>
                  <a:pt x="4146" y="621"/>
                </a:cubicBezTo>
                <a:lnTo>
                  <a:pt x="4145" y="619"/>
                </a:lnTo>
                <a:cubicBezTo>
                  <a:pt x="4145" y="618"/>
                  <a:pt x="4146" y="617"/>
                  <a:pt x="4147" y="615"/>
                </a:cubicBezTo>
                <a:cubicBezTo>
                  <a:pt x="4148" y="614"/>
                  <a:pt x="4149" y="612"/>
                  <a:pt x="4150" y="609"/>
                </a:cubicBezTo>
                <a:cubicBezTo>
                  <a:pt x="4152" y="606"/>
                  <a:pt x="4153" y="604"/>
                  <a:pt x="4154" y="603"/>
                </a:cubicBezTo>
                <a:cubicBezTo>
                  <a:pt x="4155" y="602"/>
                  <a:pt x="4156" y="601"/>
                  <a:pt x="4156" y="599"/>
                </a:cubicBezTo>
                <a:lnTo>
                  <a:pt x="4156" y="597"/>
                </a:lnTo>
                <a:cubicBezTo>
                  <a:pt x="4156" y="595"/>
                  <a:pt x="4157" y="594"/>
                  <a:pt x="4158" y="593"/>
                </a:cubicBezTo>
                <a:cubicBezTo>
                  <a:pt x="4160" y="592"/>
                  <a:pt x="4161" y="591"/>
                  <a:pt x="4161" y="590"/>
                </a:cubicBezTo>
                <a:cubicBezTo>
                  <a:pt x="4161" y="590"/>
                  <a:pt x="4161" y="589"/>
                  <a:pt x="4160" y="589"/>
                </a:cubicBezTo>
                <a:cubicBezTo>
                  <a:pt x="4160" y="587"/>
                  <a:pt x="4161" y="585"/>
                  <a:pt x="4163" y="584"/>
                </a:cubicBezTo>
                <a:cubicBezTo>
                  <a:pt x="4164" y="583"/>
                  <a:pt x="4165" y="582"/>
                  <a:pt x="4165" y="581"/>
                </a:cubicBezTo>
                <a:lnTo>
                  <a:pt x="4165" y="581"/>
                </a:lnTo>
                <a:cubicBezTo>
                  <a:pt x="4164" y="580"/>
                  <a:pt x="4164" y="579"/>
                  <a:pt x="4162" y="579"/>
                </a:cubicBezTo>
                <a:lnTo>
                  <a:pt x="4160" y="580"/>
                </a:lnTo>
                <a:cubicBezTo>
                  <a:pt x="4159" y="580"/>
                  <a:pt x="4158" y="580"/>
                  <a:pt x="4158" y="579"/>
                </a:cubicBezTo>
                <a:lnTo>
                  <a:pt x="4159" y="578"/>
                </a:lnTo>
                <a:cubicBezTo>
                  <a:pt x="4159" y="577"/>
                  <a:pt x="4159" y="576"/>
                  <a:pt x="4158" y="576"/>
                </a:cubicBezTo>
                <a:cubicBezTo>
                  <a:pt x="4157" y="575"/>
                  <a:pt x="4157" y="575"/>
                  <a:pt x="4156" y="575"/>
                </a:cubicBezTo>
                <a:cubicBezTo>
                  <a:pt x="4156" y="575"/>
                  <a:pt x="4156" y="576"/>
                  <a:pt x="4156" y="577"/>
                </a:cubicBezTo>
                <a:cubicBezTo>
                  <a:pt x="4156" y="578"/>
                  <a:pt x="4155" y="579"/>
                  <a:pt x="4154" y="580"/>
                </a:cubicBezTo>
                <a:cubicBezTo>
                  <a:pt x="4154" y="580"/>
                  <a:pt x="4153" y="581"/>
                  <a:pt x="4152" y="581"/>
                </a:cubicBezTo>
                <a:cubicBezTo>
                  <a:pt x="4151" y="581"/>
                  <a:pt x="4150" y="581"/>
                  <a:pt x="4150" y="580"/>
                </a:cubicBezTo>
                <a:cubicBezTo>
                  <a:pt x="4150" y="580"/>
                  <a:pt x="4151" y="579"/>
                  <a:pt x="4152" y="577"/>
                </a:cubicBezTo>
                <a:cubicBezTo>
                  <a:pt x="4154" y="576"/>
                  <a:pt x="4154" y="574"/>
                  <a:pt x="4154" y="573"/>
                </a:cubicBezTo>
                <a:lnTo>
                  <a:pt x="4154" y="570"/>
                </a:lnTo>
                <a:cubicBezTo>
                  <a:pt x="4154" y="570"/>
                  <a:pt x="4154" y="570"/>
                  <a:pt x="4154" y="570"/>
                </a:cubicBezTo>
                <a:cubicBezTo>
                  <a:pt x="4156" y="570"/>
                  <a:pt x="4158" y="571"/>
                  <a:pt x="4160" y="573"/>
                </a:cubicBezTo>
                <a:cubicBezTo>
                  <a:pt x="4162" y="575"/>
                  <a:pt x="4163" y="576"/>
                  <a:pt x="4164" y="576"/>
                </a:cubicBezTo>
                <a:cubicBezTo>
                  <a:pt x="4165" y="576"/>
                  <a:pt x="4166" y="576"/>
                  <a:pt x="4168" y="574"/>
                </a:cubicBezTo>
                <a:cubicBezTo>
                  <a:pt x="4169" y="572"/>
                  <a:pt x="4170" y="571"/>
                  <a:pt x="4170" y="571"/>
                </a:cubicBezTo>
                <a:cubicBezTo>
                  <a:pt x="4170" y="571"/>
                  <a:pt x="4170" y="570"/>
                  <a:pt x="4170" y="570"/>
                </a:cubicBezTo>
                <a:cubicBezTo>
                  <a:pt x="4169" y="570"/>
                  <a:pt x="4169" y="570"/>
                  <a:pt x="4169" y="570"/>
                </a:cubicBezTo>
                <a:cubicBezTo>
                  <a:pt x="4168" y="570"/>
                  <a:pt x="4167" y="571"/>
                  <a:pt x="4165" y="572"/>
                </a:cubicBezTo>
                <a:cubicBezTo>
                  <a:pt x="4164" y="573"/>
                  <a:pt x="4163" y="574"/>
                  <a:pt x="4162" y="574"/>
                </a:cubicBezTo>
                <a:cubicBezTo>
                  <a:pt x="4162" y="574"/>
                  <a:pt x="4162" y="574"/>
                  <a:pt x="4162" y="573"/>
                </a:cubicBezTo>
                <a:cubicBezTo>
                  <a:pt x="4162" y="573"/>
                  <a:pt x="4162" y="572"/>
                  <a:pt x="4162" y="571"/>
                </a:cubicBezTo>
                <a:cubicBezTo>
                  <a:pt x="4163" y="571"/>
                  <a:pt x="4163" y="570"/>
                  <a:pt x="4163" y="569"/>
                </a:cubicBezTo>
                <a:cubicBezTo>
                  <a:pt x="4163" y="568"/>
                  <a:pt x="4163" y="567"/>
                  <a:pt x="4162" y="566"/>
                </a:cubicBezTo>
                <a:cubicBezTo>
                  <a:pt x="4161" y="566"/>
                  <a:pt x="4161" y="565"/>
                  <a:pt x="4161" y="564"/>
                </a:cubicBezTo>
                <a:cubicBezTo>
                  <a:pt x="4161" y="563"/>
                  <a:pt x="4161" y="563"/>
                  <a:pt x="4162" y="561"/>
                </a:cubicBezTo>
                <a:cubicBezTo>
                  <a:pt x="4163" y="560"/>
                  <a:pt x="4164" y="559"/>
                  <a:pt x="4166" y="559"/>
                </a:cubicBezTo>
                <a:lnTo>
                  <a:pt x="4167" y="560"/>
                </a:lnTo>
                <a:cubicBezTo>
                  <a:pt x="4167" y="560"/>
                  <a:pt x="4168" y="559"/>
                  <a:pt x="4168" y="559"/>
                </a:cubicBezTo>
                <a:cubicBezTo>
                  <a:pt x="4168" y="558"/>
                  <a:pt x="4167" y="558"/>
                  <a:pt x="4167" y="557"/>
                </a:cubicBezTo>
                <a:cubicBezTo>
                  <a:pt x="4167" y="556"/>
                  <a:pt x="4166" y="555"/>
                  <a:pt x="4166" y="554"/>
                </a:cubicBezTo>
                <a:cubicBezTo>
                  <a:pt x="4166" y="552"/>
                  <a:pt x="4167" y="550"/>
                  <a:pt x="4169" y="550"/>
                </a:cubicBezTo>
                <a:cubicBezTo>
                  <a:pt x="4170" y="550"/>
                  <a:pt x="4171" y="551"/>
                  <a:pt x="4172" y="551"/>
                </a:cubicBezTo>
                <a:cubicBezTo>
                  <a:pt x="4173" y="553"/>
                  <a:pt x="4174" y="553"/>
                  <a:pt x="4175" y="553"/>
                </a:cubicBezTo>
                <a:cubicBezTo>
                  <a:pt x="4176" y="553"/>
                  <a:pt x="4176" y="553"/>
                  <a:pt x="4176" y="553"/>
                </a:cubicBezTo>
                <a:lnTo>
                  <a:pt x="4176" y="552"/>
                </a:lnTo>
                <a:cubicBezTo>
                  <a:pt x="4176" y="551"/>
                  <a:pt x="4176" y="551"/>
                  <a:pt x="4175" y="551"/>
                </a:cubicBezTo>
                <a:cubicBezTo>
                  <a:pt x="4174" y="551"/>
                  <a:pt x="4174" y="551"/>
                  <a:pt x="4174" y="550"/>
                </a:cubicBezTo>
                <a:lnTo>
                  <a:pt x="4175" y="548"/>
                </a:lnTo>
                <a:cubicBezTo>
                  <a:pt x="4175" y="547"/>
                  <a:pt x="4174" y="547"/>
                  <a:pt x="4174" y="547"/>
                </a:cubicBezTo>
                <a:lnTo>
                  <a:pt x="4172" y="548"/>
                </a:lnTo>
                <a:cubicBezTo>
                  <a:pt x="4171" y="548"/>
                  <a:pt x="4170" y="547"/>
                  <a:pt x="4170" y="546"/>
                </a:cubicBezTo>
                <a:cubicBezTo>
                  <a:pt x="4170" y="544"/>
                  <a:pt x="4171" y="543"/>
                  <a:pt x="4172" y="542"/>
                </a:cubicBezTo>
                <a:cubicBezTo>
                  <a:pt x="4173" y="541"/>
                  <a:pt x="4173" y="541"/>
                  <a:pt x="4174" y="541"/>
                </a:cubicBezTo>
                <a:cubicBezTo>
                  <a:pt x="4175" y="541"/>
                  <a:pt x="4176" y="541"/>
                  <a:pt x="4176" y="542"/>
                </a:cubicBezTo>
                <a:cubicBezTo>
                  <a:pt x="4177" y="544"/>
                  <a:pt x="4178" y="544"/>
                  <a:pt x="4180" y="544"/>
                </a:cubicBezTo>
                <a:cubicBezTo>
                  <a:pt x="4180" y="544"/>
                  <a:pt x="4180" y="544"/>
                  <a:pt x="4180" y="544"/>
                </a:cubicBezTo>
                <a:cubicBezTo>
                  <a:pt x="4180" y="543"/>
                  <a:pt x="4180" y="542"/>
                  <a:pt x="4178" y="541"/>
                </a:cubicBezTo>
                <a:cubicBezTo>
                  <a:pt x="4177" y="539"/>
                  <a:pt x="4176" y="537"/>
                  <a:pt x="4176" y="534"/>
                </a:cubicBezTo>
                <a:cubicBezTo>
                  <a:pt x="4176" y="532"/>
                  <a:pt x="4176" y="530"/>
                  <a:pt x="4177" y="528"/>
                </a:cubicBezTo>
                <a:cubicBezTo>
                  <a:pt x="4178" y="526"/>
                  <a:pt x="4179" y="525"/>
                  <a:pt x="4180" y="525"/>
                </a:cubicBezTo>
                <a:lnTo>
                  <a:pt x="4181" y="525"/>
                </a:lnTo>
                <a:cubicBezTo>
                  <a:pt x="4183" y="525"/>
                  <a:pt x="4184" y="524"/>
                  <a:pt x="4186" y="522"/>
                </a:cubicBezTo>
                <a:lnTo>
                  <a:pt x="4188" y="519"/>
                </a:lnTo>
                <a:cubicBezTo>
                  <a:pt x="4188" y="519"/>
                  <a:pt x="4187" y="520"/>
                  <a:pt x="4186" y="521"/>
                </a:cubicBezTo>
                <a:cubicBezTo>
                  <a:pt x="4184" y="522"/>
                  <a:pt x="4183" y="523"/>
                  <a:pt x="4182" y="523"/>
                </a:cubicBezTo>
                <a:cubicBezTo>
                  <a:pt x="4182" y="523"/>
                  <a:pt x="4181" y="522"/>
                  <a:pt x="4181" y="521"/>
                </a:cubicBezTo>
                <a:cubicBezTo>
                  <a:pt x="4181" y="518"/>
                  <a:pt x="4183" y="516"/>
                  <a:pt x="4185" y="513"/>
                </a:cubicBezTo>
                <a:cubicBezTo>
                  <a:pt x="4185" y="512"/>
                  <a:pt x="4186" y="512"/>
                  <a:pt x="4186" y="512"/>
                </a:cubicBezTo>
                <a:cubicBezTo>
                  <a:pt x="4187" y="512"/>
                  <a:pt x="4187" y="513"/>
                  <a:pt x="4187" y="514"/>
                </a:cubicBezTo>
                <a:lnTo>
                  <a:pt x="4186" y="517"/>
                </a:lnTo>
                <a:cubicBezTo>
                  <a:pt x="4186" y="517"/>
                  <a:pt x="4187" y="517"/>
                  <a:pt x="4188" y="516"/>
                </a:cubicBezTo>
                <a:cubicBezTo>
                  <a:pt x="4189" y="515"/>
                  <a:pt x="4189" y="514"/>
                  <a:pt x="4189" y="514"/>
                </a:cubicBezTo>
                <a:cubicBezTo>
                  <a:pt x="4189" y="513"/>
                  <a:pt x="4189" y="512"/>
                  <a:pt x="4189" y="512"/>
                </a:cubicBezTo>
                <a:cubicBezTo>
                  <a:pt x="4188" y="512"/>
                  <a:pt x="4188" y="511"/>
                  <a:pt x="4188" y="509"/>
                </a:cubicBezTo>
                <a:cubicBezTo>
                  <a:pt x="4188" y="507"/>
                  <a:pt x="4188" y="505"/>
                  <a:pt x="4189" y="502"/>
                </a:cubicBezTo>
                <a:cubicBezTo>
                  <a:pt x="4190" y="499"/>
                  <a:pt x="4191" y="497"/>
                  <a:pt x="4192" y="495"/>
                </a:cubicBezTo>
                <a:cubicBezTo>
                  <a:pt x="4193" y="493"/>
                  <a:pt x="4194" y="492"/>
                  <a:pt x="4195" y="492"/>
                </a:cubicBezTo>
                <a:cubicBezTo>
                  <a:pt x="4196" y="492"/>
                  <a:pt x="4196" y="491"/>
                  <a:pt x="4196" y="491"/>
                </a:cubicBezTo>
                <a:lnTo>
                  <a:pt x="4196" y="488"/>
                </a:lnTo>
                <a:cubicBezTo>
                  <a:pt x="4196" y="485"/>
                  <a:pt x="4198" y="479"/>
                  <a:pt x="4202" y="470"/>
                </a:cubicBezTo>
                <a:cubicBezTo>
                  <a:pt x="4208" y="455"/>
                  <a:pt x="4211" y="446"/>
                  <a:pt x="4213" y="441"/>
                </a:cubicBezTo>
                <a:cubicBezTo>
                  <a:pt x="4214" y="438"/>
                  <a:pt x="4215" y="435"/>
                  <a:pt x="4216" y="433"/>
                </a:cubicBezTo>
                <a:cubicBezTo>
                  <a:pt x="4218" y="431"/>
                  <a:pt x="4218" y="430"/>
                  <a:pt x="4219" y="430"/>
                </a:cubicBezTo>
                <a:cubicBezTo>
                  <a:pt x="4219" y="430"/>
                  <a:pt x="4220" y="429"/>
                  <a:pt x="4220" y="429"/>
                </a:cubicBezTo>
                <a:lnTo>
                  <a:pt x="4220" y="427"/>
                </a:lnTo>
                <a:cubicBezTo>
                  <a:pt x="4220" y="421"/>
                  <a:pt x="4223" y="409"/>
                  <a:pt x="4231" y="391"/>
                </a:cubicBezTo>
                <a:cubicBezTo>
                  <a:pt x="4238" y="372"/>
                  <a:pt x="4243" y="363"/>
                  <a:pt x="4244" y="363"/>
                </a:cubicBezTo>
                <a:cubicBezTo>
                  <a:pt x="4246" y="363"/>
                  <a:pt x="4246" y="362"/>
                  <a:pt x="4246" y="360"/>
                </a:cubicBezTo>
                <a:cubicBezTo>
                  <a:pt x="4246" y="358"/>
                  <a:pt x="4248" y="357"/>
                  <a:pt x="4250" y="357"/>
                </a:cubicBezTo>
                <a:cubicBezTo>
                  <a:pt x="4252" y="357"/>
                  <a:pt x="4253" y="356"/>
                  <a:pt x="4253" y="354"/>
                </a:cubicBezTo>
                <a:cubicBezTo>
                  <a:pt x="4253" y="353"/>
                  <a:pt x="4253" y="353"/>
                  <a:pt x="4252" y="353"/>
                </a:cubicBezTo>
                <a:lnTo>
                  <a:pt x="4249" y="353"/>
                </a:lnTo>
                <a:cubicBezTo>
                  <a:pt x="4249" y="353"/>
                  <a:pt x="4250" y="353"/>
                  <a:pt x="4251" y="351"/>
                </a:cubicBezTo>
                <a:cubicBezTo>
                  <a:pt x="4253" y="350"/>
                  <a:pt x="4254" y="349"/>
                  <a:pt x="4256" y="348"/>
                </a:cubicBezTo>
                <a:cubicBezTo>
                  <a:pt x="4257" y="348"/>
                  <a:pt x="4258" y="348"/>
                  <a:pt x="4258" y="348"/>
                </a:cubicBezTo>
                <a:cubicBezTo>
                  <a:pt x="4259" y="348"/>
                  <a:pt x="4259" y="347"/>
                  <a:pt x="4259" y="346"/>
                </a:cubicBezTo>
                <a:cubicBezTo>
                  <a:pt x="4259" y="346"/>
                  <a:pt x="4259" y="345"/>
                  <a:pt x="4258" y="344"/>
                </a:cubicBezTo>
                <a:cubicBezTo>
                  <a:pt x="4258" y="344"/>
                  <a:pt x="4258" y="343"/>
                  <a:pt x="4258" y="343"/>
                </a:cubicBezTo>
                <a:cubicBezTo>
                  <a:pt x="4258" y="343"/>
                  <a:pt x="4259" y="343"/>
                  <a:pt x="4260" y="344"/>
                </a:cubicBezTo>
                <a:cubicBezTo>
                  <a:pt x="4261" y="345"/>
                  <a:pt x="4261" y="345"/>
                  <a:pt x="4261" y="346"/>
                </a:cubicBezTo>
                <a:cubicBezTo>
                  <a:pt x="4261" y="347"/>
                  <a:pt x="4261" y="347"/>
                  <a:pt x="4260" y="348"/>
                </a:cubicBezTo>
                <a:lnTo>
                  <a:pt x="4260" y="348"/>
                </a:lnTo>
                <a:cubicBezTo>
                  <a:pt x="4260" y="349"/>
                  <a:pt x="4261" y="350"/>
                  <a:pt x="4262" y="350"/>
                </a:cubicBezTo>
                <a:cubicBezTo>
                  <a:pt x="4263" y="350"/>
                  <a:pt x="4263" y="354"/>
                  <a:pt x="4263" y="362"/>
                </a:cubicBezTo>
                <a:cubicBezTo>
                  <a:pt x="4263" y="376"/>
                  <a:pt x="4262" y="386"/>
                  <a:pt x="4261" y="392"/>
                </a:cubicBezTo>
                <a:cubicBezTo>
                  <a:pt x="4258" y="403"/>
                  <a:pt x="4250" y="426"/>
                  <a:pt x="4237" y="462"/>
                </a:cubicBezTo>
                <a:cubicBezTo>
                  <a:pt x="4223" y="497"/>
                  <a:pt x="4215" y="517"/>
                  <a:pt x="4213" y="520"/>
                </a:cubicBezTo>
                <a:cubicBezTo>
                  <a:pt x="4211" y="522"/>
                  <a:pt x="4211" y="523"/>
                  <a:pt x="4211" y="524"/>
                </a:cubicBezTo>
                <a:cubicBezTo>
                  <a:pt x="4211" y="524"/>
                  <a:pt x="4211" y="524"/>
                  <a:pt x="4211" y="524"/>
                </a:cubicBezTo>
                <a:cubicBezTo>
                  <a:pt x="4211" y="525"/>
                  <a:pt x="4211" y="525"/>
                  <a:pt x="4211" y="525"/>
                </a:cubicBezTo>
                <a:cubicBezTo>
                  <a:pt x="4211" y="526"/>
                  <a:pt x="4211" y="528"/>
                  <a:pt x="4211" y="529"/>
                </a:cubicBezTo>
                <a:cubicBezTo>
                  <a:pt x="4208" y="534"/>
                  <a:pt x="4207" y="536"/>
                  <a:pt x="4206" y="536"/>
                </a:cubicBezTo>
                <a:lnTo>
                  <a:pt x="4205" y="536"/>
                </a:lnTo>
                <a:cubicBezTo>
                  <a:pt x="4203" y="536"/>
                  <a:pt x="4202" y="538"/>
                  <a:pt x="4202" y="542"/>
                </a:cubicBezTo>
                <a:lnTo>
                  <a:pt x="4203" y="546"/>
                </a:lnTo>
                <a:cubicBezTo>
                  <a:pt x="4203" y="546"/>
                  <a:pt x="4203" y="546"/>
                  <a:pt x="4202" y="546"/>
                </a:cubicBezTo>
                <a:lnTo>
                  <a:pt x="4201" y="546"/>
                </a:lnTo>
                <a:cubicBezTo>
                  <a:pt x="4200" y="546"/>
                  <a:pt x="4199" y="546"/>
                  <a:pt x="4198" y="548"/>
                </a:cubicBezTo>
                <a:cubicBezTo>
                  <a:pt x="4198" y="549"/>
                  <a:pt x="4197" y="550"/>
                  <a:pt x="4197" y="552"/>
                </a:cubicBezTo>
                <a:lnTo>
                  <a:pt x="4198" y="555"/>
                </a:lnTo>
                <a:cubicBezTo>
                  <a:pt x="4198" y="555"/>
                  <a:pt x="4198" y="556"/>
                  <a:pt x="4197" y="556"/>
                </a:cubicBezTo>
                <a:cubicBezTo>
                  <a:pt x="4196" y="556"/>
                  <a:pt x="4195" y="556"/>
                  <a:pt x="4195" y="557"/>
                </a:cubicBezTo>
                <a:lnTo>
                  <a:pt x="4196" y="558"/>
                </a:lnTo>
                <a:cubicBezTo>
                  <a:pt x="4196" y="560"/>
                  <a:pt x="4195" y="561"/>
                  <a:pt x="4194" y="561"/>
                </a:cubicBezTo>
                <a:cubicBezTo>
                  <a:pt x="4193" y="561"/>
                  <a:pt x="4193" y="561"/>
                  <a:pt x="4193" y="562"/>
                </a:cubicBezTo>
                <a:lnTo>
                  <a:pt x="4194" y="564"/>
                </a:lnTo>
                <a:cubicBezTo>
                  <a:pt x="4194" y="565"/>
                  <a:pt x="4193" y="565"/>
                  <a:pt x="4192" y="565"/>
                </a:cubicBezTo>
                <a:cubicBezTo>
                  <a:pt x="4191" y="565"/>
                  <a:pt x="4191" y="566"/>
                  <a:pt x="4191" y="567"/>
                </a:cubicBezTo>
                <a:lnTo>
                  <a:pt x="4191" y="569"/>
                </a:lnTo>
                <a:cubicBezTo>
                  <a:pt x="4191" y="570"/>
                  <a:pt x="4191" y="570"/>
                  <a:pt x="4190" y="570"/>
                </a:cubicBezTo>
                <a:cubicBezTo>
                  <a:pt x="4189" y="570"/>
                  <a:pt x="4189" y="570"/>
                  <a:pt x="4189" y="571"/>
                </a:cubicBezTo>
                <a:lnTo>
                  <a:pt x="4189" y="572"/>
                </a:lnTo>
                <a:cubicBezTo>
                  <a:pt x="4189" y="573"/>
                  <a:pt x="4189" y="574"/>
                  <a:pt x="4188" y="574"/>
                </a:cubicBezTo>
                <a:cubicBezTo>
                  <a:pt x="4187" y="574"/>
                  <a:pt x="4187" y="575"/>
                  <a:pt x="4187" y="576"/>
                </a:cubicBezTo>
                <a:lnTo>
                  <a:pt x="4187" y="578"/>
                </a:lnTo>
                <a:cubicBezTo>
                  <a:pt x="4187" y="579"/>
                  <a:pt x="4187" y="579"/>
                  <a:pt x="4186" y="579"/>
                </a:cubicBezTo>
                <a:cubicBezTo>
                  <a:pt x="4185" y="579"/>
                  <a:pt x="4184" y="580"/>
                  <a:pt x="4183" y="581"/>
                </a:cubicBezTo>
                <a:cubicBezTo>
                  <a:pt x="4182" y="582"/>
                  <a:pt x="4181" y="584"/>
                  <a:pt x="4180" y="587"/>
                </a:cubicBezTo>
                <a:cubicBezTo>
                  <a:pt x="4179" y="589"/>
                  <a:pt x="4178" y="591"/>
                  <a:pt x="4178" y="592"/>
                </a:cubicBezTo>
                <a:lnTo>
                  <a:pt x="4181" y="590"/>
                </a:lnTo>
                <a:cubicBezTo>
                  <a:pt x="4181" y="590"/>
                  <a:pt x="4181" y="591"/>
                  <a:pt x="4181" y="591"/>
                </a:cubicBezTo>
                <a:cubicBezTo>
                  <a:pt x="4181" y="592"/>
                  <a:pt x="4180" y="594"/>
                  <a:pt x="4176" y="598"/>
                </a:cubicBezTo>
                <a:lnTo>
                  <a:pt x="4174" y="601"/>
                </a:lnTo>
                <a:lnTo>
                  <a:pt x="4176" y="600"/>
                </a:lnTo>
                <a:cubicBezTo>
                  <a:pt x="4176" y="600"/>
                  <a:pt x="4176" y="600"/>
                  <a:pt x="4176" y="600"/>
                </a:cubicBezTo>
                <a:cubicBezTo>
                  <a:pt x="4176" y="600"/>
                  <a:pt x="4176" y="602"/>
                  <a:pt x="4175" y="603"/>
                </a:cubicBezTo>
                <a:cubicBezTo>
                  <a:pt x="4174" y="605"/>
                  <a:pt x="4173" y="606"/>
                  <a:pt x="4172" y="607"/>
                </a:cubicBezTo>
                <a:cubicBezTo>
                  <a:pt x="4171" y="608"/>
                  <a:pt x="4171" y="609"/>
                  <a:pt x="4170" y="609"/>
                </a:cubicBezTo>
                <a:cubicBezTo>
                  <a:pt x="4169" y="609"/>
                  <a:pt x="4169" y="609"/>
                  <a:pt x="4169" y="610"/>
                </a:cubicBezTo>
                <a:lnTo>
                  <a:pt x="4169" y="611"/>
                </a:lnTo>
                <a:cubicBezTo>
                  <a:pt x="4169" y="613"/>
                  <a:pt x="4168" y="615"/>
                  <a:pt x="4166" y="617"/>
                </a:cubicBezTo>
                <a:cubicBezTo>
                  <a:pt x="4164" y="620"/>
                  <a:pt x="4163" y="622"/>
                  <a:pt x="4163" y="622"/>
                </a:cubicBezTo>
                <a:lnTo>
                  <a:pt x="4164" y="625"/>
                </a:lnTo>
                <a:cubicBezTo>
                  <a:pt x="4164" y="625"/>
                  <a:pt x="4163" y="627"/>
                  <a:pt x="4161" y="628"/>
                </a:cubicBezTo>
                <a:cubicBezTo>
                  <a:pt x="4160" y="630"/>
                  <a:pt x="4159" y="631"/>
                  <a:pt x="4158" y="632"/>
                </a:cubicBezTo>
                <a:cubicBezTo>
                  <a:pt x="4158" y="632"/>
                  <a:pt x="4158" y="634"/>
                  <a:pt x="4158" y="635"/>
                </a:cubicBezTo>
                <a:cubicBezTo>
                  <a:pt x="4158" y="637"/>
                  <a:pt x="4157" y="637"/>
                  <a:pt x="4156" y="637"/>
                </a:cubicBezTo>
                <a:lnTo>
                  <a:pt x="4154" y="637"/>
                </a:lnTo>
                <a:cubicBezTo>
                  <a:pt x="4154" y="637"/>
                  <a:pt x="4153" y="638"/>
                  <a:pt x="4153" y="639"/>
                </a:cubicBezTo>
                <a:cubicBezTo>
                  <a:pt x="4152" y="640"/>
                  <a:pt x="4152" y="641"/>
                  <a:pt x="4152" y="642"/>
                </a:cubicBezTo>
                <a:cubicBezTo>
                  <a:pt x="4152" y="642"/>
                  <a:pt x="4152" y="642"/>
                  <a:pt x="4152" y="642"/>
                </a:cubicBezTo>
                <a:lnTo>
                  <a:pt x="4154" y="642"/>
                </a:lnTo>
                <a:cubicBezTo>
                  <a:pt x="4154" y="642"/>
                  <a:pt x="4154" y="642"/>
                  <a:pt x="4154" y="642"/>
                </a:cubicBezTo>
                <a:cubicBezTo>
                  <a:pt x="4154" y="644"/>
                  <a:pt x="4153" y="645"/>
                  <a:pt x="4151" y="648"/>
                </a:cubicBezTo>
                <a:lnTo>
                  <a:pt x="4149" y="649"/>
                </a:lnTo>
                <a:cubicBezTo>
                  <a:pt x="4146" y="649"/>
                  <a:pt x="4145" y="650"/>
                  <a:pt x="4145" y="653"/>
                </a:cubicBezTo>
                <a:cubicBezTo>
                  <a:pt x="4145" y="654"/>
                  <a:pt x="4146" y="654"/>
                  <a:pt x="4146" y="654"/>
                </a:cubicBezTo>
                <a:lnTo>
                  <a:pt x="4147" y="653"/>
                </a:lnTo>
                <a:cubicBezTo>
                  <a:pt x="4147" y="653"/>
                  <a:pt x="4148" y="653"/>
                  <a:pt x="4148" y="653"/>
                </a:cubicBezTo>
                <a:cubicBezTo>
                  <a:pt x="4149" y="653"/>
                  <a:pt x="4149" y="653"/>
                  <a:pt x="4149" y="653"/>
                </a:cubicBezTo>
                <a:cubicBezTo>
                  <a:pt x="4149" y="655"/>
                  <a:pt x="4148" y="657"/>
                  <a:pt x="4145" y="659"/>
                </a:cubicBezTo>
                <a:lnTo>
                  <a:pt x="4142" y="660"/>
                </a:lnTo>
                <a:cubicBezTo>
                  <a:pt x="4142" y="660"/>
                  <a:pt x="4141" y="660"/>
                  <a:pt x="4141" y="660"/>
                </a:cubicBezTo>
                <a:cubicBezTo>
                  <a:pt x="4141" y="660"/>
                  <a:pt x="4140" y="660"/>
                  <a:pt x="4138" y="662"/>
                </a:cubicBezTo>
                <a:cubicBezTo>
                  <a:pt x="4137" y="663"/>
                  <a:pt x="4136" y="664"/>
                  <a:pt x="4136" y="665"/>
                </a:cubicBezTo>
                <a:cubicBezTo>
                  <a:pt x="4136" y="666"/>
                  <a:pt x="4137" y="666"/>
                  <a:pt x="4139" y="666"/>
                </a:cubicBezTo>
                <a:lnTo>
                  <a:pt x="4142" y="666"/>
                </a:lnTo>
                <a:cubicBezTo>
                  <a:pt x="4142" y="667"/>
                  <a:pt x="4140" y="667"/>
                  <a:pt x="4137" y="669"/>
                </a:cubicBezTo>
                <a:cubicBezTo>
                  <a:pt x="4135" y="670"/>
                  <a:pt x="4133" y="672"/>
                  <a:pt x="4132" y="675"/>
                </a:cubicBezTo>
                <a:cubicBezTo>
                  <a:pt x="4131" y="679"/>
                  <a:pt x="4129" y="681"/>
                  <a:pt x="4126" y="683"/>
                </a:cubicBezTo>
                <a:cubicBezTo>
                  <a:pt x="4124" y="684"/>
                  <a:pt x="4123" y="685"/>
                  <a:pt x="4123" y="686"/>
                </a:cubicBezTo>
                <a:lnTo>
                  <a:pt x="4123" y="687"/>
                </a:lnTo>
                <a:cubicBezTo>
                  <a:pt x="4123" y="689"/>
                  <a:pt x="4121" y="693"/>
                  <a:pt x="4118" y="699"/>
                </a:cubicBezTo>
                <a:cubicBezTo>
                  <a:pt x="4114" y="708"/>
                  <a:pt x="4111" y="713"/>
                  <a:pt x="4111" y="714"/>
                </a:cubicBezTo>
                <a:cubicBezTo>
                  <a:pt x="4111" y="715"/>
                  <a:pt x="4111" y="716"/>
                  <a:pt x="4111" y="716"/>
                </a:cubicBezTo>
                <a:lnTo>
                  <a:pt x="4109" y="715"/>
                </a:lnTo>
                <a:cubicBezTo>
                  <a:pt x="4108" y="715"/>
                  <a:pt x="4107" y="717"/>
                  <a:pt x="4105" y="720"/>
                </a:cubicBezTo>
                <a:cubicBezTo>
                  <a:pt x="4103" y="723"/>
                  <a:pt x="4102" y="725"/>
                  <a:pt x="4102" y="725"/>
                </a:cubicBezTo>
                <a:cubicBezTo>
                  <a:pt x="4102" y="726"/>
                  <a:pt x="4099" y="730"/>
                  <a:pt x="4093" y="737"/>
                </a:cubicBezTo>
                <a:cubicBezTo>
                  <a:pt x="4074" y="764"/>
                  <a:pt x="4064" y="777"/>
                  <a:pt x="4062" y="777"/>
                </a:cubicBezTo>
                <a:cubicBezTo>
                  <a:pt x="4061" y="777"/>
                  <a:pt x="4061" y="777"/>
                  <a:pt x="4061" y="778"/>
                </a:cubicBezTo>
                <a:lnTo>
                  <a:pt x="4062" y="781"/>
                </a:lnTo>
                <a:cubicBezTo>
                  <a:pt x="4062" y="782"/>
                  <a:pt x="4061" y="783"/>
                  <a:pt x="4060" y="783"/>
                </a:cubicBezTo>
                <a:cubicBezTo>
                  <a:pt x="4059" y="783"/>
                  <a:pt x="4055" y="786"/>
                  <a:pt x="4049" y="792"/>
                </a:cubicBezTo>
                <a:cubicBezTo>
                  <a:pt x="4036" y="804"/>
                  <a:pt x="4024" y="810"/>
                  <a:pt x="4011" y="810"/>
                </a:cubicBezTo>
                <a:close/>
                <a:moveTo>
                  <a:pt x="4069" y="732"/>
                </a:moveTo>
                <a:cubicBezTo>
                  <a:pt x="4070" y="732"/>
                  <a:pt x="4070" y="731"/>
                  <a:pt x="4071" y="731"/>
                </a:cubicBezTo>
                <a:cubicBezTo>
                  <a:pt x="4072" y="730"/>
                  <a:pt x="4073" y="729"/>
                  <a:pt x="4073" y="728"/>
                </a:cubicBezTo>
                <a:cubicBezTo>
                  <a:pt x="4073" y="727"/>
                  <a:pt x="4072" y="727"/>
                  <a:pt x="4072" y="727"/>
                </a:cubicBezTo>
                <a:lnTo>
                  <a:pt x="4071" y="727"/>
                </a:lnTo>
                <a:cubicBezTo>
                  <a:pt x="4069" y="728"/>
                  <a:pt x="4068" y="729"/>
                  <a:pt x="4068" y="730"/>
                </a:cubicBezTo>
                <a:cubicBezTo>
                  <a:pt x="4068" y="731"/>
                  <a:pt x="4069" y="732"/>
                  <a:pt x="4069" y="732"/>
                </a:cubicBezTo>
                <a:close/>
                <a:moveTo>
                  <a:pt x="4046" y="521"/>
                </a:moveTo>
                <a:cubicBezTo>
                  <a:pt x="4048" y="521"/>
                  <a:pt x="4049" y="520"/>
                  <a:pt x="4050" y="518"/>
                </a:cubicBezTo>
                <a:lnTo>
                  <a:pt x="4050" y="517"/>
                </a:lnTo>
                <a:cubicBezTo>
                  <a:pt x="4050" y="515"/>
                  <a:pt x="4049" y="514"/>
                  <a:pt x="4049" y="514"/>
                </a:cubicBezTo>
                <a:cubicBezTo>
                  <a:pt x="4048" y="513"/>
                  <a:pt x="4047" y="513"/>
                  <a:pt x="4047" y="513"/>
                </a:cubicBezTo>
                <a:lnTo>
                  <a:pt x="4047" y="514"/>
                </a:lnTo>
                <a:cubicBezTo>
                  <a:pt x="4047" y="514"/>
                  <a:pt x="4048" y="514"/>
                  <a:pt x="4048" y="515"/>
                </a:cubicBezTo>
                <a:cubicBezTo>
                  <a:pt x="4048" y="516"/>
                  <a:pt x="4047" y="517"/>
                  <a:pt x="4046" y="518"/>
                </a:cubicBezTo>
                <a:lnTo>
                  <a:pt x="4045" y="520"/>
                </a:lnTo>
                <a:cubicBezTo>
                  <a:pt x="4045" y="521"/>
                  <a:pt x="4045" y="521"/>
                  <a:pt x="4046" y="521"/>
                </a:cubicBezTo>
                <a:close/>
                <a:moveTo>
                  <a:pt x="4040" y="546"/>
                </a:moveTo>
                <a:lnTo>
                  <a:pt x="4039" y="544"/>
                </a:lnTo>
                <a:cubicBezTo>
                  <a:pt x="4039" y="543"/>
                  <a:pt x="4040" y="542"/>
                  <a:pt x="4041" y="541"/>
                </a:cubicBezTo>
                <a:cubicBezTo>
                  <a:pt x="4043" y="541"/>
                  <a:pt x="4044" y="539"/>
                  <a:pt x="4044" y="536"/>
                </a:cubicBezTo>
                <a:lnTo>
                  <a:pt x="4044" y="535"/>
                </a:lnTo>
                <a:cubicBezTo>
                  <a:pt x="4043" y="531"/>
                  <a:pt x="4043" y="528"/>
                  <a:pt x="4042" y="528"/>
                </a:cubicBezTo>
                <a:cubicBezTo>
                  <a:pt x="4042" y="528"/>
                  <a:pt x="4041" y="529"/>
                  <a:pt x="4041" y="530"/>
                </a:cubicBezTo>
                <a:cubicBezTo>
                  <a:pt x="4040" y="531"/>
                  <a:pt x="4040" y="532"/>
                  <a:pt x="4040" y="534"/>
                </a:cubicBezTo>
                <a:cubicBezTo>
                  <a:pt x="4040" y="535"/>
                  <a:pt x="4040" y="536"/>
                  <a:pt x="4041" y="537"/>
                </a:cubicBezTo>
                <a:cubicBezTo>
                  <a:pt x="4042" y="538"/>
                  <a:pt x="4042" y="539"/>
                  <a:pt x="4042" y="539"/>
                </a:cubicBezTo>
                <a:lnTo>
                  <a:pt x="4042" y="540"/>
                </a:lnTo>
                <a:lnTo>
                  <a:pt x="4038" y="539"/>
                </a:lnTo>
                <a:cubicBezTo>
                  <a:pt x="4037" y="539"/>
                  <a:pt x="4036" y="540"/>
                  <a:pt x="4036" y="541"/>
                </a:cubicBezTo>
                <a:cubicBezTo>
                  <a:pt x="4036" y="542"/>
                  <a:pt x="4036" y="544"/>
                  <a:pt x="4037" y="545"/>
                </a:cubicBezTo>
                <a:cubicBezTo>
                  <a:pt x="4038" y="546"/>
                  <a:pt x="4039" y="546"/>
                  <a:pt x="4040" y="546"/>
                </a:cubicBezTo>
                <a:close/>
                <a:moveTo>
                  <a:pt x="4025" y="558"/>
                </a:moveTo>
                <a:cubicBezTo>
                  <a:pt x="4026" y="558"/>
                  <a:pt x="4027" y="557"/>
                  <a:pt x="4027" y="556"/>
                </a:cubicBezTo>
                <a:cubicBezTo>
                  <a:pt x="4027" y="554"/>
                  <a:pt x="4027" y="554"/>
                  <a:pt x="4026" y="554"/>
                </a:cubicBezTo>
                <a:cubicBezTo>
                  <a:pt x="4025" y="554"/>
                  <a:pt x="4025" y="554"/>
                  <a:pt x="4024" y="556"/>
                </a:cubicBezTo>
                <a:lnTo>
                  <a:pt x="4024" y="557"/>
                </a:lnTo>
                <a:cubicBezTo>
                  <a:pt x="4024" y="558"/>
                  <a:pt x="4024" y="558"/>
                  <a:pt x="4025" y="558"/>
                </a:cubicBezTo>
                <a:close/>
                <a:moveTo>
                  <a:pt x="4019" y="579"/>
                </a:moveTo>
                <a:cubicBezTo>
                  <a:pt x="4020" y="579"/>
                  <a:pt x="4020" y="578"/>
                  <a:pt x="4021" y="574"/>
                </a:cubicBezTo>
                <a:lnTo>
                  <a:pt x="4021" y="572"/>
                </a:lnTo>
                <a:cubicBezTo>
                  <a:pt x="4021" y="571"/>
                  <a:pt x="4021" y="571"/>
                  <a:pt x="4021" y="571"/>
                </a:cubicBezTo>
                <a:lnTo>
                  <a:pt x="4020" y="571"/>
                </a:lnTo>
                <a:cubicBezTo>
                  <a:pt x="4019" y="572"/>
                  <a:pt x="4019" y="574"/>
                  <a:pt x="4019" y="575"/>
                </a:cubicBezTo>
                <a:cubicBezTo>
                  <a:pt x="4019" y="578"/>
                  <a:pt x="4019" y="579"/>
                  <a:pt x="4019" y="579"/>
                </a:cubicBezTo>
                <a:close/>
                <a:moveTo>
                  <a:pt x="4015" y="595"/>
                </a:moveTo>
                <a:cubicBezTo>
                  <a:pt x="4015" y="595"/>
                  <a:pt x="4016" y="594"/>
                  <a:pt x="4016" y="593"/>
                </a:cubicBezTo>
                <a:lnTo>
                  <a:pt x="4016" y="590"/>
                </a:lnTo>
                <a:cubicBezTo>
                  <a:pt x="4015" y="589"/>
                  <a:pt x="4015" y="589"/>
                  <a:pt x="4015" y="589"/>
                </a:cubicBezTo>
                <a:cubicBezTo>
                  <a:pt x="4014" y="589"/>
                  <a:pt x="4014" y="590"/>
                  <a:pt x="4014" y="591"/>
                </a:cubicBezTo>
                <a:cubicBezTo>
                  <a:pt x="4014" y="593"/>
                  <a:pt x="4015" y="594"/>
                  <a:pt x="4015" y="595"/>
                </a:cubicBezTo>
                <a:close/>
                <a:moveTo>
                  <a:pt x="4007" y="622"/>
                </a:moveTo>
                <a:cubicBezTo>
                  <a:pt x="4009" y="622"/>
                  <a:pt x="4010" y="621"/>
                  <a:pt x="4010" y="617"/>
                </a:cubicBezTo>
                <a:cubicBezTo>
                  <a:pt x="4010" y="615"/>
                  <a:pt x="4010" y="614"/>
                  <a:pt x="4009" y="614"/>
                </a:cubicBezTo>
                <a:cubicBezTo>
                  <a:pt x="4009" y="614"/>
                  <a:pt x="4008" y="614"/>
                  <a:pt x="4007" y="615"/>
                </a:cubicBezTo>
                <a:cubicBezTo>
                  <a:pt x="4006" y="618"/>
                  <a:pt x="4006" y="620"/>
                  <a:pt x="4006" y="620"/>
                </a:cubicBezTo>
                <a:cubicBezTo>
                  <a:pt x="4006" y="622"/>
                  <a:pt x="4006" y="622"/>
                  <a:pt x="4007" y="622"/>
                </a:cubicBezTo>
                <a:close/>
                <a:moveTo>
                  <a:pt x="4006" y="632"/>
                </a:moveTo>
                <a:cubicBezTo>
                  <a:pt x="4007" y="632"/>
                  <a:pt x="4007" y="631"/>
                  <a:pt x="4007" y="630"/>
                </a:cubicBezTo>
                <a:cubicBezTo>
                  <a:pt x="4007" y="628"/>
                  <a:pt x="4007" y="627"/>
                  <a:pt x="4006" y="627"/>
                </a:cubicBezTo>
                <a:cubicBezTo>
                  <a:pt x="4004" y="627"/>
                  <a:pt x="4003" y="628"/>
                  <a:pt x="4003" y="630"/>
                </a:cubicBezTo>
                <a:cubicBezTo>
                  <a:pt x="4003" y="631"/>
                  <a:pt x="4004" y="632"/>
                  <a:pt x="4006" y="632"/>
                </a:cubicBezTo>
                <a:close/>
                <a:moveTo>
                  <a:pt x="4003" y="644"/>
                </a:moveTo>
                <a:cubicBezTo>
                  <a:pt x="4005" y="643"/>
                  <a:pt x="4006" y="642"/>
                  <a:pt x="4006" y="639"/>
                </a:cubicBezTo>
                <a:cubicBezTo>
                  <a:pt x="4006" y="637"/>
                  <a:pt x="4005" y="636"/>
                  <a:pt x="4004" y="636"/>
                </a:cubicBezTo>
                <a:cubicBezTo>
                  <a:pt x="4003" y="636"/>
                  <a:pt x="4002" y="637"/>
                  <a:pt x="4002" y="641"/>
                </a:cubicBezTo>
                <a:lnTo>
                  <a:pt x="4002" y="642"/>
                </a:lnTo>
                <a:cubicBezTo>
                  <a:pt x="4002" y="644"/>
                  <a:pt x="4002" y="644"/>
                  <a:pt x="4003" y="644"/>
                </a:cubicBezTo>
                <a:close/>
                <a:moveTo>
                  <a:pt x="4001" y="655"/>
                </a:moveTo>
                <a:cubicBezTo>
                  <a:pt x="4003" y="655"/>
                  <a:pt x="4003" y="654"/>
                  <a:pt x="4003" y="652"/>
                </a:cubicBezTo>
                <a:cubicBezTo>
                  <a:pt x="4003" y="651"/>
                  <a:pt x="4003" y="650"/>
                  <a:pt x="4001" y="650"/>
                </a:cubicBezTo>
                <a:cubicBezTo>
                  <a:pt x="4000" y="650"/>
                  <a:pt x="3999" y="651"/>
                  <a:pt x="3999" y="652"/>
                </a:cubicBezTo>
                <a:cubicBezTo>
                  <a:pt x="3999" y="654"/>
                  <a:pt x="4000" y="655"/>
                  <a:pt x="4001" y="655"/>
                </a:cubicBezTo>
                <a:close/>
                <a:moveTo>
                  <a:pt x="3999" y="668"/>
                </a:moveTo>
                <a:cubicBezTo>
                  <a:pt x="4000" y="668"/>
                  <a:pt x="4001" y="667"/>
                  <a:pt x="4001" y="666"/>
                </a:cubicBezTo>
                <a:cubicBezTo>
                  <a:pt x="4001" y="664"/>
                  <a:pt x="4000" y="664"/>
                  <a:pt x="3999" y="664"/>
                </a:cubicBezTo>
                <a:cubicBezTo>
                  <a:pt x="3998" y="664"/>
                  <a:pt x="3997" y="664"/>
                  <a:pt x="3997" y="666"/>
                </a:cubicBezTo>
                <a:cubicBezTo>
                  <a:pt x="3997" y="667"/>
                  <a:pt x="3998" y="668"/>
                  <a:pt x="3999" y="668"/>
                </a:cubicBezTo>
                <a:close/>
                <a:moveTo>
                  <a:pt x="3995" y="685"/>
                </a:moveTo>
                <a:cubicBezTo>
                  <a:pt x="3996" y="685"/>
                  <a:pt x="3997" y="684"/>
                  <a:pt x="3998" y="683"/>
                </a:cubicBezTo>
                <a:cubicBezTo>
                  <a:pt x="3998" y="681"/>
                  <a:pt x="3999" y="680"/>
                  <a:pt x="3999" y="678"/>
                </a:cubicBezTo>
                <a:cubicBezTo>
                  <a:pt x="3999" y="676"/>
                  <a:pt x="3998" y="676"/>
                  <a:pt x="3998" y="676"/>
                </a:cubicBezTo>
                <a:lnTo>
                  <a:pt x="3997" y="676"/>
                </a:lnTo>
                <a:cubicBezTo>
                  <a:pt x="3995" y="677"/>
                  <a:pt x="3995" y="679"/>
                  <a:pt x="3995" y="683"/>
                </a:cubicBezTo>
                <a:cubicBezTo>
                  <a:pt x="3995" y="684"/>
                  <a:pt x="3995" y="685"/>
                  <a:pt x="3995" y="685"/>
                </a:cubicBezTo>
                <a:close/>
                <a:moveTo>
                  <a:pt x="3993" y="719"/>
                </a:moveTo>
                <a:cubicBezTo>
                  <a:pt x="3994" y="719"/>
                  <a:pt x="3995" y="716"/>
                  <a:pt x="3995" y="710"/>
                </a:cubicBezTo>
                <a:cubicBezTo>
                  <a:pt x="3995" y="705"/>
                  <a:pt x="3994" y="703"/>
                  <a:pt x="3993" y="703"/>
                </a:cubicBezTo>
                <a:cubicBezTo>
                  <a:pt x="3993" y="703"/>
                  <a:pt x="3993" y="706"/>
                  <a:pt x="3992" y="711"/>
                </a:cubicBezTo>
                <a:lnTo>
                  <a:pt x="3992" y="714"/>
                </a:lnTo>
                <a:cubicBezTo>
                  <a:pt x="3992" y="716"/>
                  <a:pt x="3992" y="717"/>
                  <a:pt x="3992" y="717"/>
                </a:cubicBezTo>
                <a:cubicBezTo>
                  <a:pt x="3992" y="717"/>
                  <a:pt x="3992" y="718"/>
                  <a:pt x="3993" y="719"/>
                </a:cubicBezTo>
                <a:close/>
                <a:moveTo>
                  <a:pt x="3995" y="700"/>
                </a:moveTo>
                <a:cubicBezTo>
                  <a:pt x="3997" y="700"/>
                  <a:pt x="3997" y="698"/>
                  <a:pt x="3997" y="694"/>
                </a:cubicBezTo>
                <a:cubicBezTo>
                  <a:pt x="3997" y="691"/>
                  <a:pt x="3997" y="689"/>
                  <a:pt x="3995" y="689"/>
                </a:cubicBezTo>
                <a:lnTo>
                  <a:pt x="3995" y="690"/>
                </a:lnTo>
                <a:cubicBezTo>
                  <a:pt x="3994" y="691"/>
                  <a:pt x="3994" y="691"/>
                  <a:pt x="3994" y="693"/>
                </a:cubicBezTo>
                <a:cubicBezTo>
                  <a:pt x="3993" y="694"/>
                  <a:pt x="3993" y="695"/>
                  <a:pt x="3993" y="696"/>
                </a:cubicBezTo>
                <a:cubicBezTo>
                  <a:pt x="3993" y="697"/>
                  <a:pt x="3993" y="698"/>
                  <a:pt x="3993" y="698"/>
                </a:cubicBezTo>
                <a:cubicBezTo>
                  <a:pt x="3993" y="699"/>
                  <a:pt x="3994" y="700"/>
                  <a:pt x="3995" y="700"/>
                </a:cubicBezTo>
                <a:close/>
                <a:moveTo>
                  <a:pt x="3999" y="803"/>
                </a:moveTo>
                <a:cubicBezTo>
                  <a:pt x="4001" y="803"/>
                  <a:pt x="4002" y="803"/>
                  <a:pt x="4002" y="803"/>
                </a:cubicBezTo>
                <a:lnTo>
                  <a:pt x="4002" y="802"/>
                </a:lnTo>
                <a:cubicBezTo>
                  <a:pt x="4000" y="801"/>
                  <a:pt x="4000" y="801"/>
                  <a:pt x="4000" y="800"/>
                </a:cubicBezTo>
                <a:cubicBezTo>
                  <a:pt x="4000" y="800"/>
                  <a:pt x="4000" y="799"/>
                  <a:pt x="4002" y="797"/>
                </a:cubicBezTo>
                <a:cubicBezTo>
                  <a:pt x="4003" y="796"/>
                  <a:pt x="4003" y="795"/>
                  <a:pt x="4003" y="795"/>
                </a:cubicBezTo>
                <a:cubicBezTo>
                  <a:pt x="4002" y="795"/>
                  <a:pt x="4001" y="795"/>
                  <a:pt x="4000" y="796"/>
                </a:cubicBezTo>
                <a:cubicBezTo>
                  <a:pt x="3998" y="798"/>
                  <a:pt x="3997" y="799"/>
                  <a:pt x="3996" y="800"/>
                </a:cubicBezTo>
                <a:cubicBezTo>
                  <a:pt x="3995" y="801"/>
                  <a:pt x="3995" y="801"/>
                  <a:pt x="3995" y="802"/>
                </a:cubicBezTo>
                <a:cubicBezTo>
                  <a:pt x="3995" y="803"/>
                  <a:pt x="3996" y="803"/>
                  <a:pt x="3999" y="803"/>
                </a:cubicBezTo>
                <a:close/>
                <a:moveTo>
                  <a:pt x="3998" y="776"/>
                </a:moveTo>
                <a:cubicBezTo>
                  <a:pt x="3999" y="776"/>
                  <a:pt x="4000" y="774"/>
                  <a:pt x="4000" y="771"/>
                </a:cubicBezTo>
                <a:lnTo>
                  <a:pt x="4000" y="769"/>
                </a:lnTo>
                <a:cubicBezTo>
                  <a:pt x="4000" y="764"/>
                  <a:pt x="4000" y="762"/>
                  <a:pt x="4001" y="762"/>
                </a:cubicBezTo>
                <a:cubicBezTo>
                  <a:pt x="4002" y="762"/>
                  <a:pt x="4003" y="762"/>
                  <a:pt x="4003" y="762"/>
                </a:cubicBezTo>
                <a:cubicBezTo>
                  <a:pt x="4003" y="762"/>
                  <a:pt x="4002" y="761"/>
                  <a:pt x="4001" y="760"/>
                </a:cubicBezTo>
                <a:cubicBezTo>
                  <a:pt x="4000" y="759"/>
                  <a:pt x="3999" y="759"/>
                  <a:pt x="3999" y="758"/>
                </a:cubicBezTo>
                <a:cubicBezTo>
                  <a:pt x="3999" y="758"/>
                  <a:pt x="4000" y="758"/>
                  <a:pt x="4003" y="757"/>
                </a:cubicBezTo>
                <a:cubicBezTo>
                  <a:pt x="4005" y="757"/>
                  <a:pt x="4006" y="757"/>
                  <a:pt x="4006" y="757"/>
                </a:cubicBezTo>
                <a:lnTo>
                  <a:pt x="4002" y="755"/>
                </a:lnTo>
                <a:cubicBezTo>
                  <a:pt x="4001" y="754"/>
                  <a:pt x="4000" y="754"/>
                  <a:pt x="4000" y="754"/>
                </a:cubicBezTo>
                <a:cubicBezTo>
                  <a:pt x="4000" y="754"/>
                  <a:pt x="4001" y="753"/>
                  <a:pt x="4002" y="753"/>
                </a:cubicBezTo>
                <a:cubicBezTo>
                  <a:pt x="4004" y="753"/>
                  <a:pt x="4005" y="750"/>
                  <a:pt x="4005" y="742"/>
                </a:cubicBezTo>
                <a:cubicBezTo>
                  <a:pt x="4005" y="734"/>
                  <a:pt x="4006" y="726"/>
                  <a:pt x="4008" y="717"/>
                </a:cubicBezTo>
                <a:lnTo>
                  <a:pt x="4013" y="684"/>
                </a:lnTo>
                <a:cubicBezTo>
                  <a:pt x="4013" y="680"/>
                  <a:pt x="4013" y="679"/>
                  <a:pt x="4014" y="679"/>
                </a:cubicBezTo>
                <a:cubicBezTo>
                  <a:pt x="4014" y="679"/>
                  <a:pt x="4015" y="678"/>
                  <a:pt x="4015" y="676"/>
                </a:cubicBezTo>
                <a:cubicBezTo>
                  <a:pt x="4015" y="675"/>
                  <a:pt x="4015" y="674"/>
                  <a:pt x="4015" y="672"/>
                </a:cubicBezTo>
                <a:lnTo>
                  <a:pt x="4016" y="665"/>
                </a:lnTo>
                <a:cubicBezTo>
                  <a:pt x="4016" y="665"/>
                  <a:pt x="4017" y="662"/>
                  <a:pt x="4018" y="656"/>
                </a:cubicBezTo>
                <a:cubicBezTo>
                  <a:pt x="4018" y="650"/>
                  <a:pt x="4019" y="646"/>
                  <a:pt x="4020" y="644"/>
                </a:cubicBezTo>
                <a:cubicBezTo>
                  <a:pt x="4021" y="640"/>
                  <a:pt x="4021" y="637"/>
                  <a:pt x="4021" y="634"/>
                </a:cubicBezTo>
                <a:lnTo>
                  <a:pt x="4021" y="633"/>
                </a:lnTo>
                <a:cubicBezTo>
                  <a:pt x="4021" y="631"/>
                  <a:pt x="4022" y="630"/>
                  <a:pt x="4023" y="630"/>
                </a:cubicBezTo>
                <a:cubicBezTo>
                  <a:pt x="4024" y="630"/>
                  <a:pt x="4024" y="629"/>
                  <a:pt x="4024" y="628"/>
                </a:cubicBezTo>
                <a:cubicBezTo>
                  <a:pt x="4024" y="628"/>
                  <a:pt x="4024" y="627"/>
                  <a:pt x="4024" y="627"/>
                </a:cubicBezTo>
                <a:cubicBezTo>
                  <a:pt x="4024" y="626"/>
                  <a:pt x="4023" y="625"/>
                  <a:pt x="4022" y="625"/>
                </a:cubicBezTo>
                <a:lnTo>
                  <a:pt x="4020" y="626"/>
                </a:lnTo>
                <a:cubicBezTo>
                  <a:pt x="4020" y="626"/>
                  <a:pt x="4019" y="626"/>
                  <a:pt x="4019" y="625"/>
                </a:cubicBezTo>
                <a:cubicBezTo>
                  <a:pt x="4019" y="624"/>
                  <a:pt x="4020" y="622"/>
                  <a:pt x="4021" y="621"/>
                </a:cubicBezTo>
                <a:cubicBezTo>
                  <a:pt x="4023" y="620"/>
                  <a:pt x="4024" y="620"/>
                  <a:pt x="4025" y="620"/>
                </a:cubicBezTo>
                <a:cubicBezTo>
                  <a:pt x="4026" y="620"/>
                  <a:pt x="4027" y="620"/>
                  <a:pt x="4027" y="619"/>
                </a:cubicBezTo>
                <a:cubicBezTo>
                  <a:pt x="4027" y="619"/>
                  <a:pt x="4026" y="619"/>
                  <a:pt x="4025" y="618"/>
                </a:cubicBezTo>
                <a:cubicBezTo>
                  <a:pt x="4024" y="617"/>
                  <a:pt x="4024" y="615"/>
                  <a:pt x="4024" y="611"/>
                </a:cubicBezTo>
                <a:cubicBezTo>
                  <a:pt x="4024" y="605"/>
                  <a:pt x="4025" y="603"/>
                  <a:pt x="4026" y="603"/>
                </a:cubicBezTo>
                <a:lnTo>
                  <a:pt x="4028" y="603"/>
                </a:lnTo>
                <a:lnTo>
                  <a:pt x="4029" y="603"/>
                </a:lnTo>
                <a:cubicBezTo>
                  <a:pt x="4029" y="602"/>
                  <a:pt x="4028" y="601"/>
                  <a:pt x="4027" y="599"/>
                </a:cubicBezTo>
                <a:cubicBezTo>
                  <a:pt x="4027" y="598"/>
                  <a:pt x="4026" y="597"/>
                  <a:pt x="4026" y="596"/>
                </a:cubicBezTo>
                <a:cubicBezTo>
                  <a:pt x="4026" y="595"/>
                  <a:pt x="4027" y="595"/>
                  <a:pt x="4028" y="595"/>
                </a:cubicBezTo>
                <a:cubicBezTo>
                  <a:pt x="4029" y="595"/>
                  <a:pt x="4029" y="594"/>
                  <a:pt x="4029" y="593"/>
                </a:cubicBezTo>
                <a:lnTo>
                  <a:pt x="4029" y="588"/>
                </a:lnTo>
                <a:cubicBezTo>
                  <a:pt x="4029" y="586"/>
                  <a:pt x="4029" y="585"/>
                  <a:pt x="4030" y="585"/>
                </a:cubicBezTo>
                <a:cubicBezTo>
                  <a:pt x="4031" y="585"/>
                  <a:pt x="4031" y="585"/>
                  <a:pt x="4031" y="583"/>
                </a:cubicBezTo>
                <a:cubicBezTo>
                  <a:pt x="4031" y="582"/>
                  <a:pt x="4031" y="580"/>
                  <a:pt x="4030" y="579"/>
                </a:cubicBezTo>
                <a:cubicBezTo>
                  <a:pt x="4030" y="577"/>
                  <a:pt x="4030" y="576"/>
                  <a:pt x="4030" y="575"/>
                </a:cubicBezTo>
                <a:lnTo>
                  <a:pt x="4030" y="575"/>
                </a:lnTo>
                <a:cubicBezTo>
                  <a:pt x="4031" y="575"/>
                  <a:pt x="4032" y="576"/>
                  <a:pt x="4033" y="577"/>
                </a:cubicBezTo>
                <a:lnTo>
                  <a:pt x="4036" y="579"/>
                </a:lnTo>
                <a:cubicBezTo>
                  <a:pt x="4036" y="579"/>
                  <a:pt x="4035" y="578"/>
                  <a:pt x="4034" y="576"/>
                </a:cubicBezTo>
                <a:cubicBezTo>
                  <a:pt x="4034" y="575"/>
                  <a:pt x="4033" y="573"/>
                  <a:pt x="4033" y="571"/>
                </a:cubicBezTo>
                <a:cubicBezTo>
                  <a:pt x="4033" y="569"/>
                  <a:pt x="4034" y="566"/>
                  <a:pt x="4035" y="561"/>
                </a:cubicBezTo>
                <a:cubicBezTo>
                  <a:pt x="4036" y="557"/>
                  <a:pt x="4036" y="554"/>
                  <a:pt x="4036" y="552"/>
                </a:cubicBezTo>
                <a:cubicBezTo>
                  <a:pt x="4036" y="551"/>
                  <a:pt x="4036" y="550"/>
                  <a:pt x="4035" y="550"/>
                </a:cubicBezTo>
                <a:cubicBezTo>
                  <a:pt x="4035" y="550"/>
                  <a:pt x="4034" y="550"/>
                  <a:pt x="4034" y="551"/>
                </a:cubicBezTo>
                <a:cubicBezTo>
                  <a:pt x="4033" y="553"/>
                  <a:pt x="4032" y="554"/>
                  <a:pt x="4032" y="556"/>
                </a:cubicBezTo>
                <a:cubicBezTo>
                  <a:pt x="4032" y="557"/>
                  <a:pt x="4032" y="559"/>
                  <a:pt x="4031" y="560"/>
                </a:cubicBezTo>
                <a:cubicBezTo>
                  <a:pt x="4031" y="561"/>
                  <a:pt x="4030" y="562"/>
                  <a:pt x="4030" y="563"/>
                </a:cubicBezTo>
                <a:cubicBezTo>
                  <a:pt x="4026" y="566"/>
                  <a:pt x="4021" y="581"/>
                  <a:pt x="4016" y="607"/>
                </a:cubicBezTo>
                <a:cubicBezTo>
                  <a:pt x="4011" y="634"/>
                  <a:pt x="4007" y="663"/>
                  <a:pt x="4002" y="694"/>
                </a:cubicBezTo>
                <a:cubicBezTo>
                  <a:pt x="3998" y="725"/>
                  <a:pt x="3996" y="748"/>
                  <a:pt x="3996" y="763"/>
                </a:cubicBezTo>
                <a:cubicBezTo>
                  <a:pt x="3996" y="772"/>
                  <a:pt x="3997" y="776"/>
                  <a:pt x="3998" y="776"/>
                </a:cubicBezTo>
                <a:close/>
                <a:moveTo>
                  <a:pt x="4011" y="783"/>
                </a:moveTo>
                <a:cubicBezTo>
                  <a:pt x="4012" y="783"/>
                  <a:pt x="4012" y="780"/>
                  <a:pt x="4012" y="774"/>
                </a:cubicBezTo>
                <a:lnTo>
                  <a:pt x="4012" y="770"/>
                </a:lnTo>
                <a:cubicBezTo>
                  <a:pt x="4012" y="767"/>
                  <a:pt x="4012" y="764"/>
                  <a:pt x="4013" y="763"/>
                </a:cubicBezTo>
                <a:cubicBezTo>
                  <a:pt x="4013" y="762"/>
                  <a:pt x="4013" y="762"/>
                  <a:pt x="4013" y="761"/>
                </a:cubicBezTo>
                <a:cubicBezTo>
                  <a:pt x="4013" y="760"/>
                  <a:pt x="4013" y="760"/>
                  <a:pt x="4012" y="760"/>
                </a:cubicBezTo>
                <a:cubicBezTo>
                  <a:pt x="4011" y="760"/>
                  <a:pt x="4010" y="758"/>
                  <a:pt x="4009" y="755"/>
                </a:cubicBezTo>
                <a:lnTo>
                  <a:pt x="4008" y="753"/>
                </a:lnTo>
                <a:cubicBezTo>
                  <a:pt x="4008" y="753"/>
                  <a:pt x="4008" y="756"/>
                  <a:pt x="4008" y="762"/>
                </a:cubicBezTo>
                <a:cubicBezTo>
                  <a:pt x="4008" y="769"/>
                  <a:pt x="4008" y="775"/>
                  <a:pt x="4010" y="780"/>
                </a:cubicBezTo>
                <a:lnTo>
                  <a:pt x="4011" y="783"/>
                </a:lnTo>
                <a:close/>
                <a:moveTo>
                  <a:pt x="4023" y="805"/>
                </a:moveTo>
                <a:lnTo>
                  <a:pt x="4032" y="804"/>
                </a:lnTo>
                <a:lnTo>
                  <a:pt x="4032" y="803"/>
                </a:lnTo>
                <a:cubicBezTo>
                  <a:pt x="4032" y="803"/>
                  <a:pt x="4031" y="802"/>
                  <a:pt x="4029" y="800"/>
                </a:cubicBezTo>
                <a:cubicBezTo>
                  <a:pt x="4027" y="799"/>
                  <a:pt x="4025" y="798"/>
                  <a:pt x="4024" y="798"/>
                </a:cubicBezTo>
                <a:cubicBezTo>
                  <a:pt x="4023" y="798"/>
                  <a:pt x="4022" y="799"/>
                  <a:pt x="4020" y="799"/>
                </a:cubicBezTo>
                <a:cubicBezTo>
                  <a:pt x="4018" y="801"/>
                  <a:pt x="4017" y="802"/>
                  <a:pt x="4017" y="803"/>
                </a:cubicBezTo>
                <a:cubicBezTo>
                  <a:pt x="4017" y="804"/>
                  <a:pt x="4019" y="805"/>
                  <a:pt x="4023" y="805"/>
                </a:cubicBezTo>
                <a:close/>
                <a:moveTo>
                  <a:pt x="4170" y="565"/>
                </a:moveTo>
                <a:cubicBezTo>
                  <a:pt x="4172" y="565"/>
                  <a:pt x="4173" y="564"/>
                  <a:pt x="4173" y="563"/>
                </a:cubicBezTo>
                <a:cubicBezTo>
                  <a:pt x="4173" y="561"/>
                  <a:pt x="4173" y="561"/>
                  <a:pt x="4172" y="561"/>
                </a:cubicBezTo>
                <a:cubicBezTo>
                  <a:pt x="4171" y="561"/>
                  <a:pt x="4171" y="561"/>
                  <a:pt x="4170" y="562"/>
                </a:cubicBezTo>
                <a:cubicBezTo>
                  <a:pt x="4170" y="563"/>
                  <a:pt x="4169" y="563"/>
                  <a:pt x="4169" y="564"/>
                </a:cubicBezTo>
                <a:cubicBezTo>
                  <a:pt x="4169" y="565"/>
                  <a:pt x="4170" y="565"/>
                  <a:pt x="4170" y="565"/>
                </a:cubicBezTo>
                <a:close/>
                <a:moveTo>
                  <a:pt x="4200" y="491"/>
                </a:moveTo>
                <a:lnTo>
                  <a:pt x="4201" y="490"/>
                </a:lnTo>
                <a:cubicBezTo>
                  <a:pt x="4201" y="489"/>
                  <a:pt x="4200" y="488"/>
                  <a:pt x="4199" y="487"/>
                </a:cubicBezTo>
                <a:cubicBezTo>
                  <a:pt x="4198" y="485"/>
                  <a:pt x="4198" y="485"/>
                  <a:pt x="4197" y="485"/>
                </a:cubicBezTo>
                <a:lnTo>
                  <a:pt x="4197" y="485"/>
                </a:lnTo>
                <a:cubicBezTo>
                  <a:pt x="4197" y="486"/>
                  <a:pt x="4198" y="487"/>
                  <a:pt x="4198" y="488"/>
                </a:cubicBezTo>
                <a:cubicBezTo>
                  <a:pt x="4199" y="490"/>
                  <a:pt x="4199" y="491"/>
                  <a:pt x="4200" y="491"/>
                </a:cubicBezTo>
                <a:close/>
                <a:moveTo>
                  <a:pt x="4206" y="533"/>
                </a:moveTo>
                <a:cubicBezTo>
                  <a:pt x="4206" y="533"/>
                  <a:pt x="4207" y="532"/>
                  <a:pt x="4208" y="529"/>
                </a:cubicBezTo>
                <a:lnTo>
                  <a:pt x="4209" y="527"/>
                </a:lnTo>
                <a:cubicBezTo>
                  <a:pt x="4209" y="527"/>
                  <a:pt x="4208" y="527"/>
                  <a:pt x="4208" y="527"/>
                </a:cubicBezTo>
                <a:lnTo>
                  <a:pt x="4208" y="527"/>
                </a:lnTo>
                <a:cubicBezTo>
                  <a:pt x="4207" y="528"/>
                  <a:pt x="4206" y="528"/>
                  <a:pt x="4206" y="529"/>
                </a:cubicBezTo>
                <a:cubicBezTo>
                  <a:pt x="4206" y="529"/>
                  <a:pt x="4205" y="530"/>
                  <a:pt x="4205" y="531"/>
                </a:cubicBezTo>
                <a:cubicBezTo>
                  <a:pt x="4205" y="532"/>
                  <a:pt x="4206" y="533"/>
                  <a:pt x="4206" y="533"/>
                </a:cubicBezTo>
                <a:close/>
                <a:moveTo>
                  <a:pt x="4208" y="501"/>
                </a:moveTo>
                <a:lnTo>
                  <a:pt x="4211" y="497"/>
                </a:lnTo>
                <a:cubicBezTo>
                  <a:pt x="4213" y="495"/>
                  <a:pt x="4214" y="492"/>
                  <a:pt x="4214" y="491"/>
                </a:cubicBezTo>
                <a:cubicBezTo>
                  <a:pt x="4214" y="490"/>
                  <a:pt x="4214" y="490"/>
                  <a:pt x="4213" y="490"/>
                </a:cubicBezTo>
                <a:cubicBezTo>
                  <a:pt x="4213" y="490"/>
                  <a:pt x="4212" y="492"/>
                  <a:pt x="4210" y="497"/>
                </a:cubicBezTo>
                <a:lnTo>
                  <a:pt x="4208" y="500"/>
                </a:lnTo>
                <a:lnTo>
                  <a:pt x="4208" y="501"/>
                </a:lnTo>
                <a:close/>
                <a:moveTo>
                  <a:pt x="4213" y="516"/>
                </a:moveTo>
                <a:cubicBezTo>
                  <a:pt x="4214" y="516"/>
                  <a:pt x="4214" y="515"/>
                  <a:pt x="4215" y="512"/>
                </a:cubicBezTo>
                <a:cubicBezTo>
                  <a:pt x="4215" y="510"/>
                  <a:pt x="4215" y="508"/>
                  <a:pt x="4217" y="506"/>
                </a:cubicBezTo>
                <a:cubicBezTo>
                  <a:pt x="4218" y="504"/>
                  <a:pt x="4221" y="497"/>
                  <a:pt x="4225" y="486"/>
                </a:cubicBezTo>
                <a:cubicBezTo>
                  <a:pt x="4235" y="459"/>
                  <a:pt x="4243" y="435"/>
                  <a:pt x="4250" y="414"/>
                </a:cubicBezTo>
                <a:cubicBezTo>
                  <a:pt x="4253" y="402"/>
                  <a:pt x="4256" y="392"/>
                  <a:pt x="4258" y="382"/>
                </a:cubicBezTo>
                <a:cubicBezTo>
                  <a:pt x="4261" y="372"/>
                  <a:pt x="4262" y="365"/>
                  <a:pt x="4262" y="362"/>
                </a:cubicBezTo>
                <a:cubicBezTo>
                  <a:pt x="4262" y="360"/>
                  <a:pt x="4261" y="360"/>
                  <a:pt x="4261" y="360"/>
                </a:cubicBezTo>
                <a:cubicBezTo>
                  <a:pt x="4261" y="360"/>
                  <a:pt x="4260" y="360"/>
                  <a:pt x="4259" y="362"/>
                </a:cubicBezTo>
                <a:cubicBezTo>
                  <a:pt x="4258" y="363"/>
                  <a:pt x="4258" y="365"/>
                  <a:pt x="4258" y="367"/>
                </a:cubicBezTo>
                <a:lnTo>
                  <a:pt x="4258" y="371"/>
                </a:lnTo>
                <a:cubicBezTo>
                  <a:pt x="4258" y="372"/>
                  <a:pt x="4258" y="373"/>
                  <a:pt x="4257" y="374"/>
                </a:cubicBezTo>
                <a:cubicBezTo>
                  <a:pt x="4256" y="375"/>
                  <a:pt x="4256" y="375"/>
                  <a:pt x="4256" y="376"/>
                </a:cubicBezTo>
                <a:lnTo>
                  <a:pt x="4256" y="378"/>
                </a:lnTo>
                <a:cubicBezTo>
                  <a:pt x="4256" y="379"/>
                  <a:pt x="4256" y="379"/>
                  <a:pt x="4255" y="379"/>
                </a:cubicBezTo>
                <a:cubicBezTo>
                  <a:pt x="4254" y="379"/>
                  <a:pt x="4254" y="380"/>
                  <a:pt x="4254" y="382"/>
                </a:cubicBezTo>
                <a:lnTo>
                  <a:pt x="4254" y="387"/>
                </a:lnTo>
                <a:cubicBezTo>
                  <a:pt x="4254" y="388"/>
                  <a:pt x="4254" y="389"/>
                  <a:pt x="4253" y="390"/>
                </a:cubicBezTo>
                <a:cubicBezTo>
                  <a:pt x="4252" y="391"/>
                  <a:pt x="4251" y="393"/>
                  <a:pt x="4250" y="397"/>
                </a:cubicBezTo>
                <a:cubicBezTo>
                  <a:pt x="4249" y="401"/>
                  <a:pt x="4247" y="407"/>
                  <a:pt x="4244" y="416"/>
                </a:cubicBezTo>
                <a:cubicBezTo>
                  <a:pt x="4236" y="438"/>
                  <a:pt x="4230" y="452"/>
                  <a:pt x="4228" y="456"/>
                </a:cubicBezTo>
                <a:cubicBezTo>
                  <a:pt x="4226" y="457"/>
                  <a:pt x="4226" y="458"/>
                  <a:pt x="4226" y="459"/>
                </a:cubicBezTo>
                <a:cubicBezTo>
                  <a:pt x="4226" y="460"/>
                  <a:pt x="4226" y="460"/>
                  <a:pt x="4228" y="461"/>
                </a:cubicBezTo>
                <a:cubicBezTo>
                  <a:pt x="4229" y="462"/>
                  <a:pt x="4229" y="463"/>
                  <a:pt x="4229" y="464"/>
                </a:cubicBezTo>
                <a:cubicBezTo>
                  <a:pt x="4229" y="465"/>
                  <a:pt x="4229" y="465"/>
                  <a:pt x="4227" y="466"/>
                </a:cubicBezTo>
                <a:cubicBezTo>
                  <a:pt x="4227" y="466"/>
                  <a:pt x="4226" y="465"/>
                  <a:pt x="4226" y="465"/>
                </a:cubicBezTo>
                <a:cubicBezTo>
                  <a:pt x="4225" y="465"/>
                  <a:pt x="4225" y="465"/>
                  <a:pt x="4224" y="465"/>
                </a:cubicBezTo>
                <a:cubicBezTo>
                  <a:pt x="4223" y="465"/>
                  <a:pt x="4223" y="465"/>
                  <a:pt x="4223" y="466"/>
                </a:cubicBezTo>
                <a:cubicBezTo>
                  <a:pt x="4222" y="472"/>
                  <a:pt x="4220" y="477"/>
                  <a:pt x="4217" y="480"/>
                </a:cubicBezTo>
                <a:cubicBezTo>
                  <a:pt x="4215" y="482"/>
                  <a:pt x="4215" y="484"/>
                  <a:pt x="4215" y="485"/>
                </a:cubicBezTo>
                <a:cubicBezTo>
                  <a:pt x="4215" y="486"/>
                  <a:pt x="4215" y="487"/>
                  <a:pt x="4215" y="487"/>
                </a:cubicBezTo>
                <a:cubicBezTo>
                  <a:pt x="4216" y="487"/>
                  <a:pt x="4216" y="486"/>
                  <a:pt x="4216" y="485"/>
                </a:cubicBezTo>
                <a:cubicBezTo>
                  <a:pt x="4216" y="484"/>
                  <a:pt x="4216" y="483"/>
                  <a:pt x="4217" y="483"/>
                </a:cubicBezTo>
                <a:lnTo>
                  <a:pt x="4220" y="484"/>
                </a:lnTo>
                <a:lnTo>
                  <a:pt x="4220" y="482"/>
                </a:lnTo>
                <a:cubicBezTo>
                  <a:pt x="4220" y="481"/>
                  <a:pt x="4220" y="480"/>
                  <a:pt x="4222" y="478"/>
                </a:cubicBezTo>
                <a:cubicBezTo>
                  <a:pt x="4223" y="477"/>
                  <a:pt x="4224" y="476"/>
                  <a:pt x="4225" y="476"/>
                </a:cubicBezTo>
                <a:lnTo>
                  <a:pt x="4225" y="477"/>
                </a:lnTo>
                <a:cubicBezTo>
                  <a:pt x="4225" y="478"/>
                  <a:pt x="4224" y="480"/>
                  <a:pt x="4222" y="485"/>
                </a:cubicBezTo>
                <a:cubicBezTo>
                  <a:pt x="4221" y="489"/>
                  <a:pt x="4220" y="491"/>
                  <a:pt x="4219" y="491"/>
                </a:cubicBezTo>
                <a:cubicBezTo>
                  <a:pt x="4218" y="491"/>
                  <a:pt x="4217" y="493"/>
                  <a:pt x="4217" y="498"/>
                </a:cubicBezTo>
                <a:cubicBezTo>
                  <a:pt x="4216" y="502"/>
                  <a:pt x="4215" y="505"/>
                  <a:pt x="4214" y="507"/>
                </a:cubicBezTo>
                <a:cubicBezTo>
                  <a:pt x="4213" y="508"/>
                  <a:pt x="4212" y="511"/>
                  <a:pt x="4212" y="513"/>
                </a:cubicBezTo>
                <a:cubicBezTo>
                  <a:pt x="4212" y="515"/>
                  <a:pt x="4212" y="516"/>
                  <a:pt x="4213" y="516"/>
                </a:cubicBezTo>
                <a:close/>
                <a:moveTo>
                  <a:pt x="3987" y="757"/>
                </a:moveTo>
                <a:cubicBezTo>
                  <a:pt x="3985" y="757"/>
                  <a:pt x="3985" y="757"/>
                  <a:pt x="3985" y="757"/>
                </a:cubicBezTo>
                <a:lnTo>
                  <a:pt x="3985" y="756"/>
                </a:lnTo>
                <a:lnTo>
                  <a:pt x="3988" y="755"/>
                </a:lnTo>
                <a:cubicBezTo>
                  <a:pt x="3989" y="755"/>
                  <a:pt x="3990" y="756"/>
                  <a:pt x="3990" y="756"/>
                </a:cubicBezTo>
                <a:cubicBezTo>
                  <a:pt x="3990" y="757"/>
                  <a:pt x="3989" y="757"/>
                  <a:pt x="3987" y="757"/>
                </a:cubicBezTo>
                <a:close/>
                <a:moveTo>
                  <a:pt x="4082" y="707"/>
                </a:moveTo>
                <a:cubicBezTo>
                  <a:pt x="4080" y="707"/>
                  <a:pt x="4079" y="706"/>
                  <a:pt x="4079" y="705"/>
                </a:cubicBezTo>
                <a:cubicBezTo>
                  <a:pt x="4079" y="703"/>
                  <a:pt x="4080" y="703"/>
                  <a:pt x="4082" y="703"/>
                </a:cubicBezTo>
                <a:cubicBezTo>
                  <a:pt x="4083" y="703"/>
                  <a:pt x="4084" y="703"/>
                  <a:pt x="4084" y="705"/>
                </a:cubicBezTo>
                <a:cubicBezTo>
                  <a:pt x="4084" y="706"/>
                  <a:pt x="4083" y="707"/>
                  <a:pt x="4082" y="707"/>
                </a:cubicBezTo>
                <a:close/>
                <a:moveTo>
                  <a:pt x="4087" y="677"/>
                </a:moveTo>
                <a:lnTo>
                  <a:pt x="4087" y="676"/>
                </a:lnTo>
                <a:cubicBezTo>
                  <a:pt x="4087" y="675"/>
                  <a:pt x="4089" y="672"/>
                  <a:pt x="4092" y="667"/>
                </a:cubicBezTo>
                <a:lnTo>
                  <a:pt x="4094" y="666"/>
                </a:lnTo>
                <a:lnTo>
                  <a:pt x="4094" y="666"/>
                </a:lnTo>
                <a:cubicBezTo>
                  <a:pt x="4094" y="668"/>
                  <a:pt x="4093" y="670"/>
                  <a:pt x="4090" y="674"/>
                </a:cubicBezTo>
                <a:cubicBezTo>
                  <a:pt x="4089" y="676"/>
                  <a:pt x="4088" y="677"/>
                  <a:pt x="4087" y="677"/>
                </a:cubicBezTo>
                <a:close/>
                <a:moveTo>
                  <a:pt x="4171" y="515"/>
                </a:moveTo>
                <a:lnTo>
                  <a:pt x="4172" y="511"/>
                </a:lnTo>
                <a:cubicBezTo>
                  <a:pt x="4173" y="509"/>
                  <a:pt x="4174" y="508"/>
                  <a:pt x="4176" y="508"/>
                </a:cubicBezTo>
                <a:cubicBezTo>
                  <a:pt x="4176" y="508"/>
                  <a:pt x="4176" y="508"/>
                  <a:pt x="4176" y="509"/>
                </a:cubicBezTo>
                <a:cubicBezTo>
                  <a:pt x="4176" y="509"/>
                  <a:pt x="4176" y="510"/>
                  <a:pt x="4175" y="511"/>
                </a:cubicBezTo>
                <a:cubicBezTo>
                  <a:pt x="4173" y="514"/>
                  <a:pt x="4172" y="515"/>
                  <a:pt x="4171" y="515"/>
                </a:cubicBezTo>
                <a:close/>
                <a:moveTo>
                  <a:pt x="4183" y="494"/>
                </a:moveTo>
                <a:cubicBezTo>
                  <a:pt x="4182" y="494"/>
                  <a:pt x="4181" y="493"/>
                  <a:pt x="4181" y="490"/>
                </a:cubicBezTo>
                <a:cubicBezTo>
                  <a:pt x="4181" y="489"/>
                  <a:pt x="4182" y="488"/>
                  <a:pt x="4183" y="488"/>
                </a:cubicBezTo>
                <a:cubicBezTo>
                  <a:pt x="4184" y="488"/>
                  <a:pt x="4185" y="489"/>
                  <a:pt x="4185" y="491"/>
                </a:cubicBezTo>
                <a:lnTo>
                  <a:pt x="4185" y="492"/>
                </a:lnTo>
                <a:cubicBezTo>
                  <a:pt x="4184" y="493"/>
                  <a:pt x="4183" y="494"/>
                  <a:pt x="4183" y="494"/>
                </a:cubicBezTo>
                <a:close/>
                <a:moveTo>
                  <a:pt x="4168" y="531"/>
                </a:moveTo>
                <a:cubicBezTo>
                  <a:pt x="4167" y="531"/>
                  <a:pt x="4167" y="531"/>
                  <a:pt x="4166" y="530"/>
                </a:cubicBezTo>
                <a:cubicBezTo>
                  <a:pt x="4166" y="529"/>
                  <a:pt x="4166" y="529"/>
                  <a:pt x="4165" y="528"/>
                </a:cubicBezTo>
                <a:cubicBezTo>
                  <a:pt x="4165" y="528"/>
                  <a:pt x="4165" y="528"/>
                  <a:pt x="4165" y="527"/>
                </a:cubicBezTo>
                <a:cubicBezTo>
                  <a:pt x="4165" y="527"/>
                  <a:pt x="4165" y="526"/>
                  <a:pt x="4166" y="526"/>
                </a:cubicBezTo>
                <a:cubicBezTo>
                  <a:pt x="4168" y="526"/>
                  <a:pt x="4168" y="527"/>
                  <a:pt x="4168" y="528"/>
                </a:cubicBezTo>
                <a:cubicBezTo>
                  <a:pt x="4168" y="530"/>
                  <a:pt x="4168" y="531"/>
                  <a:pt x="4168" y="531"/>
                </a:cubicBezTo>
                <a:close/>
                <a:moveTo>
                  <a:pt x="4191" y="470"/>
                </a:moveTo>
                <a:cubicBezTo>
                  <a:pt x="4190" y="470"/>
                  <a:pt x="4190" y="470"/>
                  <a:pt x="4190" y="469"/>
                </a:cubicBezTo>
                <a:cubicBezTo>
                  <a:pt x="4190" y="468"/>
                  <a:pt x="4191" y="467"/>
                  <a:pt x="4192" y="466"/>
                </a:cubicBezTo>
                <a:cubicBezTo>
                  <a:pt x="4193" y="465"/>
                  <a:pt x="4194" y="464"/>
                  <a:pt x="4195" y="464"/>
                </a:cubicBezTo>
                <a:cubicBezTo>
                  <a:pt x="4195" y="464"/>
                  <a:pt x="4196" y="465"/>
                  <a:pt x="4196" y="465"/>
                </a:cubicBezTo>
                <a:cubicBezTo>
                  <a:pt x="4196" y="465"/>
                  <a:pt x="4196" y="466"/>
                  <a:pt x="4195" y="467"/>
                </a:cubicBezTo>
                <a:cubicBezTo>
                  <a:pt x="4195" y="468"/>
                  <a:pt x="4194" y="468"/>
                  <a:pt x="4193" y="469"/>
                </a:cubicBezTo>
                <a:cubicBezTo>
                  <a:pt x="4193" y="470"/>
                  <a:pt x="4192" y="470"/>
                  <a:pt x="4191" y="470"/>
                </a:cubicBezTo>
                <a:close/>
                <a:moveTo>
                  <a:pt x="4195" y="462"/>
                </a:moveTo>
                <a:cubicBezTo>
                  <a:pt x="4194" y="462"/>
                  <a:pt x="4194" y="461"/>
                  <a:pt x="4194" y="460"/>
                </a:cubicBezTo>
                <a:cubicBezTo>
                  <a:pt x="4194" y="458"/>
                  <a:pt x="4195" y="457"/>
                  <a:pt x="4197" y="457"/>
                </a:cubicBezTo>
                <a:cubicBezTo>
                  <a:pt x="4198" y="457"/>
                  <a:pt x="4198" y="457"/>
                  <a:pt x="4198" y="458"/>
                </a:cubicBezTo>
                <a:lnTo>
                  <a:pt x="4198" y="460"/>
                </a:lnTo>
                <a:cubicBezTo>
                  <a:pt x="4197" y="461"/>
                  <a:pt x="4196" y="462"/>
                  <a:pt x="4195" y="462"/>
                </a:cubicBezTo>
                <a:close/>
                <a:moveTo>
                  <a:pt x="4010" y="554"/>
                </a:moveTo>
                <a:cubicBezTo>
                  <a:pt x="4009" y="554"/>
                  <a:pt x="4008" y="553"/>
                  <a:pt x="4007" y="552"/>
                </a:cubicBezTo>
                <a:lnTo>
                  <a:pt x="4007" y="551"/>
                </a:lnTo>
                <a:cubicBezTo>
                  <a:pt x="4007" y="549"/>
                  <a:pt x="4008" y="544"/>
                  <a:pt x="4011" y="535"/>
                </a:cubicBezTo>
                <a:cubicBezTo>
                  <a:pt x="4014" y="527"/>
                  <a:pt x="4015" y="523"/>
                  <a:pt x="4015" y="521"/>
                </a:cubicBezTo>
                <a:cubicBezTo>
                  <a:pt x="4015" y="521"/>
                  <a:pt x="4016" y="519"/>
                  <a:pt x="4017" y="515"/>
                </a:cubicBezTo>
                <a:cubicBezTo>
                  <a:pt x="4025" y="497"/>
                  <a:pt x="4031" y="487"/>
                  <a:pt x="4033" y="487"/>
                </a:cubicBezTo>
                <a:cubicBezTo>
                  <a:pt x="4036" y="487"/>
                  <a:pt x="4037" y="491"/>
                  <a:pt x="4038" y="497"/>
                </a:cubicBezTo>
                <a:cubicBezTo>
                  <a:pt x="4038" y="501"/>
                  <a:pt x="4037" y="504"/>
                  <a:pt x="4036" y="508"/>
                </a:cubicBezTo>
                <a:lnTo>
                  <a:pt x="4032" y="506"/>
                </a:lnTo>
                <a:cubicBezTo>
                  <a:pt x="4031" y="506"/>
                  <a:pt x="4027" y="512"/>
                  <a:pt x="4021" y="526"/>
                </a:cubicBezTo>
                <a:cubicBezTo>
                  <a:pt x="4014" y="539"/>
                  <a:pt x="4011" y="547"/>
                  <a:pt x="4011" y="551"/>
                </a:cubicBezTo>
                <a:lnTo>
                  <a:pt x="4011" y="553"/>
                </a:lnTo>
                <a:cubicBezTo>
                  <a:pt x="4011" y="553"/>
                  <a:pt x="4011" y="554"/>
                  <a:pt x="4010" y="554"/>
                </a:cubicBezTo>
                <a:close/>
                <a:moveTo>
                  <a:pt x="4644" y="607"/>
                </a:moveTo>
                <a:cubicBezTo>
                  <a:pt x="4644" y="607"/>
                  <a:pt x="4644" y="606"/>
                  <a:pt x="4644" y="606"/>
                </a:cubicBezTo>
                <a:cubicBezTo>
                  <a:pt x="4644" y="605"/>
                  <a:pt x="4644" y="605"/>
                  <a:pt x="4645" y="604"/>
                </a:cubicBezTo>
                <a:cubicBezTo>
                  <a:pt x="4645" y="603"/>
                  <a:pt x="4646" y="603"/>
                  <a:pt x="4647" y="601"/>
                </a:cubicBezTo>
                <a:cubicBezTo>
                  <a:pt x="4649" y="600"/>
                  <a:pt x="4649" y="600"/>
                  <a:pt x="4650" y="600"/>
                </a:cubicBezTo>
                <a:lnTo>
                  <a:pt x="4650" y="600"/>
                </a:lnTo>
                <a:lnTo>
                  <a:pt x="4648" y="603"/>
                </a:lnTo>
                <a:cubicBezTo>
                  <a:pt x="4646" y="605"/>
                  <a:pt x="4645" y="607"/>
                  <a:pt x="4644" y="607"/>
                </a:cubicBezTo>
                <a:close/>
                <a:moveTo>
                  <a:pt x="4420" y="735"/>
                </a:moveTo>
                <a:cubicBezTo>
                  <a:pt x="4420" y="735"/>
                  <a:pt x="4419" y="734"/>
                  <a:pt x="4417" y="732"/>
                </a:cubicBezTo>
                <a:cubicBezTo>
                  <a:pt x="4417" y="731"/>
                  <a:pt x="4416" y="730"/>
                  <a:pt x="4416" y="730"/>
                </a:cubicBezTo>
                <a:cubicBezTo>
                  <a:pt x="4416" y="729"/>
                  <a:pt x="4417" y="728"/>
                  <a:pt x="4418" y="728"/>
                </a:cubicBezTo>
                <a:lnTo>
                  <a:pt x="4420" y="727"/>
                </a:lnTo>
                <a:cubicBezTo>
                  <a:pt x="4421" y="727"/>
                  <a:pt x="4421" y="728"/>
                  <a:pt x="4421" y="730"/>
                </a:cubicBezTo>
                <a:cubicBezTo>
                  <a:pt x="4421" y="734"/>
                  <a:pt x="4421" y="735"/>
                  <a:pt x="4420" y="735"/>
                </a:cubicBezTo>
                <a:close/>
                <a:moveTo>
                  <a:pt x="4464" y="509"/>
                </a:moveTo>
                <a:cubicBezTo>
                  <a:pt x="4464" y="509"/>
                  <a:pt x="4463" y="508"/>
                  <a:pt x="4463" y="506"/>
                </a:cubicBezTo>
                <a:cubicBezTo>
                  <a:pt x="4463" y="504"/>
                  <a:pt x="4464" y="502"/>
                  <a:pt x="4464" y="502"/>
                </a:cubicBezTo>
                <a:cubicBezTo>
                  <a:pt x="4464" y="502"/>
                  <a:pt x="4465" y="504"/>
                  <a:pt x="4465" y="506"/>
                </a:cubicBezTo>
                <a:lnTo>
                  <a:pt x="4464" y="509"/>
                </a:lnTo>
                <a:cubicBezTo>
                  <a:pt x="4464" y="509"/>
                  <a:pt x="4464" y="509"/>
                  <a:pt x="4464" y="509"/>
                </a:cubicBezTo>
                <a:close/>
                <a:moveTo>
                  <a:pt x="4611" y="630"/>
                </a:moveTo>
                <a:cubicBezTo>
                  <a:pt x="4611" y="630"/>
                  <a:pt x="4610" y="629"/>
                  <a:pt x="4610" y="627"/>
                </a:cubicBezTo>
                <a:cubicBezTo>
                  <a:pt x="4610" y="626"/>
                  <a:pt x="4611" y="625"/>
                  <a:pt x="4613" y="625"/>
                </a:cubicBezTo>
                <a:cubicBezTo>
                  <a:pt x="4614" y="625"/>
                  <a:pt x="4614" y="625"/>
                  <a:pt x="4614" y="626"/>
                </a:cubicBezTo>
                <a:lnTo>
                  <a:pt x="4614" y="627"/>
                </a:lnTo>
                <a:cubicBezTo>
                  <a:pt x="4613" y="629"/>
                  <a:pt x="4612" y="630"/>
                  <a:pt x="4611" y="630"/>
                </a:cubicBezTo>
                <a:close/>
                <a:moveTo>
                  <a:pt x="4451" y="547"/>
                </a:moveTo>
                <a:lnTo>
                  <a:pt x="4451" y="546"/>
                </a:lnTo>
                <a:cubicBezTo>
                  <a:pt x="4451" y="546"/>
                  <a:pt x="4451" y="545"/>
                  <a:pt x="4452" y="543"/>
                </a:cubicBezTo>
                <a:cubicBezTo>
                  <a:pt x="4453" y="541"/>
                  <a:pt x="4453" y="540"/>
                  <a:pt x="4454" y="539"/>
                </a:cubicBezTo>
                <a:cubicBezTo>
                  <a:pt x="4454" y="538"/>
                  <a:pt x="4455" y="538"/>
                  <a:pt x="4455" y="538"/>
                </a:cubicBezTo>
                <a:cubicBezTo>
                  <a:pt x="4456" y="538"/>
                  <a:pt x="4456" y="538"/>
                  <a:pt x="4456" y="539"/>
                </a:cubicBezTo>
                <a:cubicBezTo>
                  <a:pt x="4456" y="539"/>
                  <a:pt x="4455" y="541"/>
                  <a:pt x="4454" y="543"/>
                </a:cubicBezTo>
                <a:cubicBezTo>
                  <a:pt x="4453" y="546"/>
                  <a:pt x="4452" y="547"/>
                  <a:pt x="4451" y="547"/>
                </a:cubicBezTo>
                <a:close/>
                <a:moveTo>
                  <a:pt x="4425" y="733"/>
                </a:moveTo>
                <a:cubicBezTo>
                  <a:pt x="4424" y="733"/>
                  <a:pt x="4424" y="732"/>
                  <a:pt x="4424" y="730"/>
                </a:cubicBezTo>
                <a:cubicBezTo>
                  <a:pt x="4424" y="727"/>
                  <a:pt x="4424" y="726"/>
                  <a:pt x="4426" y="726"/>
                </a:cubicBezTo>
                <a:cubicBezTo>
                  <a:pt x="4427" y="726"/>
                  <a:pt x="4427" y="727"/>
                  <a:pt x="4427" y="728"/>
                </a:cubicBezTo>
                <a:cubicBezTo>
                  <a:pt x="4427" y="728"/>
                  <a:pt x="4427" y="729"/>
                  <a:pt x="4427" y="730"/>
                </a:cubicBezTo>
                <a:cubicBezTo>
                  <a:pt x="4426" y="730"/>
                  <a:pt x="4426" y="731"/>
                  <a:pt x="4426" y="732"/>
                </a:cubicBezTo>
                <a:cubicBezTo>
                  <a:pt x="4425" y="733"/>
                  <a:pt x="4425" y="733"/>
                  <a:pt x="4425" y="733"/>
                </a:cubicBezTo>
                <a:close/>
                <a:moveTo>
                  <a:pt x="4459" y="528"/>
                </a:moveTo>
                <a:lnTo>
                  <a:pt x="4459" y="527"/>
                </a:lnTo>
                <a:lnTo>
                  <a:pt x="4460" y="523"/>
                </a:lnTo>
                <a:cubicBezTo>
                  <a:pt x="4461" y="518"/>
                  <a:pt x="4462" y="515"/>
                  <a:pt x="4463" y="515"/>
                </a:cubicBezTo>
                <a:cubicBezTo>
                  <a:pt x="4463" y="515"/>
                  <a:pt x="4463" y="517"/>
                  <a:pt x="4463" y="519"/>
                </a:cubicBezTo>
                <a:cubicBezTo>
                  <a:pt x="4463" y="520"/>
                  <a:pt x="4463" y="522"/>
                  <a:pt x="4462" y="523"/>
                </a:cubicBezTo>
                <a:cubicBezTo>
                  <a:pt x="4462" y="524"/>
                  <a:pt x="4461" y="526"/>
                  <a:pt x="4461" y="526"/>
                </a:cubicBezTo>
                <a:lnTo>
                  <a:pt x="4459" y="528"/>
                </a:lnTo>
                <a:close/>
                <a:moveTo>
                  <a:pt x="4711" y="558"/>
                </a:moveTo>
                <a:cubicBezTo>
                  <a:pt x="4711" y="558"/>
                  <a:pt x="4711" y="558"/>
                  <a:pt x="4711" y="558"/>
                </a:cubicBezTo>
                <a:cubicBezTo>
                  <a:pt x="4711" y="557"/>
                  <a:pt x="4714" y="554"/>
                  <a:pt x="4721" y="550"/>
                </a:cubicBezTo>
                <a:cubicBezTo>
                  <a:pt x="4728" y="545"/>
                  <a:pt x="4732" y="543"/>
                  <a:pt x="4734" y="543"/>
                </a:cubicBezTo>
                <a:cubicBezTo>
                  <a:pt x="4734" y="544"/>
                  <a:pt x="4731" y="546"/>
                  <a:pt x="4726" y="549"/>
                </a:cubicBezTo>
                <a:cubicBezTo>
                  <a:pt x="4717" y="555"/>
                  <a:pt x="4712" y="558"/>
                  <a:pt x="4711" y="558"/>
                </a:cubicBezTo>
                <a:close/>
                <a:moveTo>
                  <a:pt x="4430" y="735"/>
                </a:moveTo>
                <a:lnTo>
                  <a:pt x="4429" y="735"/>
                </a:lnTo>
                <a:cubicBezTo>
                  <a:pt x="4429" y="734"/>
                  <a:pt x="4432" y="733"/>
                  <a:pt x="4438" y="730"/>
                </a:cubicBezTo>
                <a:lnTo>
                  <a:pt x="4453" y="723"/>
                </a:lnTo>
                <a:cubicBezTo>
                  <a:pt x="4456" y="722"/>
                  <a:pt x="4466" y="718"/>
                  <a:pt x="4482" y="711"/>
                </a:cubicBezTo>
                <a:cubicBezTo>
                  <a:pt x="4511" y="697"/>
                  <a:pt x="4526" y="690"/>
                  <a:pt x="4526" y="688"/>
                </a:cubicBezTo>
                <a:cubicBezTo>
                  <a:pt x="4526" y="688"/>
                  <a:pt x="4525" y="688"/>
                  <a:pt x="4525" y="688"/>
                </a:cubicBezTo>
                <a:cubicBezTo>
                  <a:pt x="4523" y="688"/>
                  <a:pt x="4514" y="692"/>
                  <a:pt x="4498" y="700"/>
                </a:cubicBezTo>
                <a:cubicBezTo>
                  <a:pt x="4486" y="707"/>
                  <a:pt x="4475" y="711"/>
                  <a:pt x="4468" y="713"/>
                </a:cubicBezTo>
                <a:cubicBezTo>
                  <a:pt x="4463" y="715"/>
                  <a:pt x="4458" y="716"/>
                  <a:pt x="4455" y="718"/>
                </a:cubicBezTo>
                <a:cubicBezTo>
                  <a:pt x="4452" y="720"/>
                  <a:pt x="4450" y="721"/>
                  <a:pt x="4450" y="722"/>
                </a:cubicBezTo>
                <a:cubicBezTo>
                  <a:pt x="4450" y="723"/>
                  <a:pt x="4450" y="723"/>
                  <a:pt x="4449" y="723"/>
                </a:cubicBezTo>
                <a:lnTo>
                  <a:pt x="4449" y="723"/>
                </a:lnTo>
                <a:cubicBezTo>
                  <a:pt x="4446" y="723"/>
                  <a:pt x="4443" y="724"/>
                  <a:pt x="4439" y="725"/>
                </a:cubicBezTo>
                <a:cubicBezTo>
                  <a:pt x="4435" y="727"/>
                  <a:pt x="4433" y="728"/>
                  <a:pt x="4431" y="728"/>
                </a:cubicBezTo>
                <a:cubicBezTo>
                  <a:pt x="4431" y="728"/>
                  <a:pt x="4430" y="728"/>
                  <a:pt x="4430" y="726"/>
                </a:cubicBezTo>
                <a:cubicBezTo>
                  <a:pt x="4430" y="725"/>
                  <a:pt x="4433" y="723"/>
                  <a:pt x="4438" y="721"/>
                </a:cubicBezTo>
                <a:cubicBezTo>
                  <a:pt x="4454" y="715"/>
                  <a:pt x="4484" y="701"/>
                  <a:pt x="4527" y="679"/>
                </a:cubicBezTo>
                <a:cubicBezTo>
                  <a:pt x="4544" y="670"/>
                  <a:pt x="4556" y="663"/>
                  <a:pt x="4563" y="659"/>
                </a:cubicBezTo>
                <a:cubicBezTo>
                  <a:pt x="4567" y="657"/>
                  <a:pt x="4570" y="655"/>
                  <a:pt x="4573" y="654"/>
                </a:cubicBezTo>
                <a:cubicBezTo>
                  <a:pt x="4575" y="652"/>
                  <a:pt x="4577" y="651"/>
                  <a:pt x="4578" y="650"/>
                </a:cubicBezTo>
                <a:cubicBezTo>
                  <a:pt x="4580" y="649"/>
                  <a:pt x="4580" y="649"/>
                  <a:pt x="4580" y="648"/>
                </a:cubicBezTo>
                <a:cubicBezTo>
                  <a:pt x="4580" y="647"/>
                  <a:pt x="4581" y="647"/>
                  <a:pt x="4582" y="647"/>
                </a:cubicBezTo>
                <a:lnTo>
                  <a:pt x="4583" y="647"/>
                </a:lnTo>
                <a:cubicBezTo>
                  <a:pt x="4585" y="647"/>
                  <a:pt x="4587" y="646"/>
                  <a:pt x="4588" y="644"/>
                </a:cubicBezTo>
                <a:cubicBezTo>
                  <a:pt x="4589" y="643"/>
                  <a:pt x="4591" y="642"/>
                  <a:pt x="4592" y="641"/>
                </a:cubicBezTo>
                <a:lnTo>
                  <a:pt x="4597" y="639"/>
                </a:lnTo>
                <a:cubicBezTo>
                  <a:pt x="4598" y="639"/>
                  <a:pt x="4598" y="639"/>
                  <a:pt x="4598" y="639"/>
                </a:cubicBezTo>
                <a:cubicBezTo>
                  <a:pt x="4598" y="641"/>
                  <a:pt x="4588" y="649"/>
                  <a:pt x="4567" y="661"/>
                </a:cubicBezTo>
                <a:cubicBezTo>
                  <a:pt x="4560" y="665"/>
                  <a:pt x="4555" y="669"/>
                  <a:pt x="4551" y="672"/>
                </a:cubicBezTo>
                <a:cubicBezTo>
                  <a:pt x="4547" y="675"/>
                  <a:pt x="4545" y="677"/>
                  <a:pt x="4545" y="677"/>
                </a:cubicBezTo>
                <a:lnTo>
                  <a:pt x="4546" y="677"/>
                </a:lnTo>
                <a:cubicBezTo>
                  <a:pt x="4546" y="677"/>
                  <a:pt x="4549" y="676"/>
                  <a:pt x="4553" y="673"/>
                </a:cubicBezTo>
                <a:cubicBezTo>
                  <a:pt x="4588" y="652"/>
                  <a:pt x="4605" y="640"/>
                  <a:pt x="4605" y="637"/>
                </a:cubicBezTo>
                <a:lnTo>
                  <a:pt x="4605" y="637"/>
                </a:lnTo>
                <a:cubicBezTo>
                  <a:pt x="4605" y="636"/>
                  <a:pt x="4605" y="635"/>
                  <a:pt x="4606" y="635"/>
                </a:cubicBezTo>
                <a:lnTo>
                  <a:pt x="4608" y="635"/>
                </a:lnTo>
                <a:cubicBezTo>
                  <a:pt x="4609" y="635"/>
                  <a:pt x="4613" y="633"/>
                  <a:pt x="4619" y="630"/>
                </a:cubicBezTo>
                <a:cubicBezTo>
                  <a:pt x="4636" y="618"/>
                  <a:pt x="4649" y="609"/>
                  <a:pt x="4658" y="601"/>
                </a:cubicBezTo>
                <a:cubicBezTo>
                  <a:pt x="4663" y="596"/>
                  <a:pt x="4665" y="593"/>
                  <a:pt x="4665" y="592"/>
                </a:cubicBezTo>
                <a:lnTo>
                  <a:pt x="4665" y="590"/>
                </a:lnTo>
                <a:cubicBezTo>
                  <a:pt x="4665" y="589"/>
                  <a:pt x="4665" y="589"/>
                  <a:pt x="4665" y="589"/>
                </a:cubicBezTo>
                <a:cubicBezTo>
                  <a:pt x="4666" y="589"/>
                  <a:pt x="4666" y="590"/>
                  <a:pt x="4667" y="590"/>
                </a:cubicBezTo>
                <a:cubicBezTo>
                  <a:pt x="4668" y="591"/>
                  <a:pt x="4668" y="592"/>
                  <a:pt x="4669" y="592"/>
                </a:cubicBezTo>
                <a:cubicBezTo>
                  <a:pt x="4670" y="592"/>
                  <a:pt x="4672" y="591"/>
                  <a:pt x="4675" y="588"/>
                </a:cubicBezTo>
                <a:cubicBezTo>
                  <a:pt x="4680" y="585"/>
                  <a:pt x="4682" y="583"/>
                  <a:pt x="4682" y="582"/>
                </a:cubicBezTo>
                <a:cubicBezTo>
                  <a:pt x="4682" y="582"/>
                  <a:pt x="4682" y="581"/>
                  <a:pt x="4682" y="581"/>
                </a:cubicBezTo>
                <a:cubicBezTo>
                  <a:pt x="4681" y="581"/>
                  <a:pt x="4680" y="582"/>
                  <a:pt x="4679" y="582"/>
                </a:cubicBezTo>
                <a:cubicBezTo>
                  <a:pt x="4679" y="583"/>
                  <a:pt x="4678" y="583"/>
                  <a:pt x="4677" y="583"/>
                </a:cubicBezTo>
                <a:cubicBezTo>
                  <a:pt x="4677" y="583"/>
                  <a:pt x="4677" y="583"/>
                  <a:pt x="4677" y="583"/>
                </a:cubicBezTo>
                <a:cubicBezTo>
                  <a:pt x="4677" y="581"/>
                  <a:pt x="4678" y="580"/>
                  <a:pt x="4682" y="580"/>
                </a:cubicBezTo>
                <a:cubicBezTo>
                  <a:pt x="4685" y="580"/>
                  <a:pt x="4691" y="577"/>
                  <a:pt x="4699" y="571"/>
                </a:cubicBezTo>
                <a:cubicBezTo>
                  <a:pt x="4702" y="569"/>
                  <a:pt x="4703" y="568"/>
                  <a:pt x="4703" y="567"/>
                </a:cubicBezTo>
                <a:lnTo>
                  <a:pt x="4703" y="566"/>
                </a:lnTo>
                <a:lnTo>
                  <a:pt x="4702" y="566"/>
                </a:lnTo>
                <a:cubicBezTo>
                  <a:pt x="4702" y="566"/>
                  <a:pt x="4700" y="566"/>
                  <a:pt x="4699" y="568"/>
                </a:cubicBezTo>
                <a:cubicBezTo>
                  <a:pt x="4697" y="569"/>
                  <a:pt x="4696" y="570"/>
                  <a:pt x="4696" y="570"/>
                </a:cubicBezTo>
                <a:cubicBezTo>
                  <a:pt x="4696" y="570"/>
                  <a:pt x="4695" y="570"/>
                  <a:pt x="4695" y="569"/>
                </a:cubicBezTo>
                <a:cubicBezTo>
                  <a:pt x="4695" y="569"/>
                  <a:pt x="4696" y="568"/>
                  <a:pt x="4697" y="567"/>
                </a:cubicBezTo>
                <a:cubicBezTo>
                  <a:pt x="4699" y="566"/>
                  <a:pt x="4701" y="564"/>
                  <a:pt x="4702" y="563"/>
                </a:cubicBezTo>
                <a:lnTo>
                  <a:pt x="4708" y="560"/>
                </a:lnTo>
                <a:cubicBezTo>
                  <a:pt x="4708" y="560"/>
                  <a:pt x="4707" y="561"/>
                  <a:pt x="4706" y="562"/>
                </a:cubicBezTo>
                <a:lnTo>
                  <a:pt x="4704" y="566"/>
                </a:lnTo>
                <a:cubicBezTo>
                  <a:pt x="4705" y="566"/>
                  <a:pt x="4706" y="565"/>
                  <a:pt x="4707" y="564"/>
                </a:cubicBezTo>
                <a:cubicBezTo>
                  <a:pt x="4709" y="563"/>
                  <a:pt x="4711" y="563"/>
                  <a:pt x="4714" y="563"/>
                </a:cubicBezTo>
                <a:cubicBezTo>
                  <a:pt x="4716" y="563"/>
                  <a:pt x="4716" y="563"/>
                  <a:pt x="4716" y="562"/>
                </a:cubicBezTo>
                <a:lnTo>
                  <a:pt x="4716" y="561"/>
                </a:lnTo>
                <a:cubicBezTo>
                  <a:pt x="4716" y="560"/>
                  <a:pt x="4717" y="559"/>
                  <a:pt x="4718" y="558"/>
                </a:cubicBezTo>
                <a:cubicBezTo>
                  <a:pt x="4721" y="556"/>
                  <a:pt x="4724" y="555"/>
                  <a:pt x="4727" y="555"/>
                </a:cubicBezTo>
                <a:cubicBezTo>
                  <a:pt x="4727" y="555"/>
                  <a:pt x="4728" y="555"/>
                  <a:pt x="4728" y="555"/>
                </a:cubicBezTo>
                <a:cubicBezTo>
                  <a:pt x="4729" y="555"/>
                  <a:pt x="4729" y="556"/>
                  <a:pt x="4729" y="556"/>
                </a:cubicBezTo>
                <a:cubicBezTo>
                  <a:pt x="4729" y="556"/>
                  <a:pt x="4730" y="555"/>
                  <a:pt x="4730" y="554"/>
                </a:cubicBezTo>
                <a:lnTo>
                  <a:pt x="4730" y="553"/>
                </a:lnTo>
                <a:cubicBezTo>
                  <a:pt x="4730" y="551"/>
                  <a:pt x="4731" y="551"/>
                  <a:pt x="4733" y="551"/>
                </a:cubicBezTo>
                <a:cubicBezTo>
                  <a:pt x="4736" y="551"/>
                  <a:pt x="4737" y="550"/>
                  <a:pt x="4737" y="548"/>
                </a:cubicBezTo>
                <a:lnTo>
                  <a:pt x="4737" y="548"/>
                </a:lnTo>
                <a:cubicBezTo>
                  <a:pt x="4737" y="546"/>
                  <a:pt x="4737" y="546"/>
                  <a:pt x="4738" y="546"/>
                </a:cubicBezTo>
                <a:lnTo>
                  <a:pt x="4742" y="546"/>
                </a:lnTo>
                <a:cubicBezTo>
                  <a:pt x="4744" y="546"/>
                  <a:pt x="4745" y="546"/>
                  <a:pt x="4746" y="545"/>
                </a:cubicBezTo>
                <a:cubicBezTo>
                  <a:pt x="4747" y="544"/>
                  <a:pt x="4748" y="544"/>
                  <a:pt x="4749" y="544"/>
                </a:cubicBezTo>
                <a:cubicBezTo>
                  <a:pt x="4749" y="544"/>
                  <a:pt x="4750" y="544"/>
                  <a:pt x="4750" y="544"/>
                </a:cubicBezTo>
                <a:cubicBezTo>
                  <a:pt x="4749" y="546"/>
                  <a:pt x="4746" y="549"/>
                  <a:pt x="4742" y="552"/>
                </a:cubicBezTo>
                <a:lnTo>
                  <a:pt x="4716" y="571"/>
                </a:lnTo>
                <a:cubicBezTo>
                  <a:pt x="4706" y="579"/>
                  <a:pt x="4698" y="584"/>
                  <a:pt x="4695" y="586"/>
                </a:cubicBezTo>
                <a:lnTo>
                  <a:pt x="4694" y="587"/>
                </a:lnTo>
                <a:cubicBezTo>
                  <a:pt x="4691" y="589"/>
                  <a:pt x="4689" y="590"/>
                  <a:pt x="4688" y="592"/>
                </a:cubicBezTo>
                <a:cubicBezTo>
                  <a:pt x="4686" y="595"/>
                  <a:pt x="4677" y="601"/>
                  <a:pt x="4661" y="612"/>
                </a:cubicBezTo>
                <a:cubicBezTo>
                  <a:pt x="4630" y="637"/>
                  <a:pt x="4611" y="649"/>
                  <a:pt x="4603" y="649"/>
                </a:cubicBezTo>
                <a:lnTo>
                  <a:pt x="4600" y="649"/>
                </a:lnTo>
                <a:lnTo>
                  <a:pt x="4602" y="650"/>
                </a:lnTo>
                <a:cubicBezTo>
                  <a:pt x="4603" y="650"/>
                  <a:pt x="4603" y="651"/>
                  <a:pt x="4603" y="652"/>
                </a:cubicBezTo>
                <a:cubicBezTo>
                  <a:pt x="4603" y="653"/>
                  <a:pt x="4602" y="654"/>
                  <a:pt x="4600" y="655"/>
                </a:cubicBezTo>
                <a:cubicBezTo>
                  <a:pt x="4598" y="656"/>
                  <a:pt x="4597" y="656"/>
                  <a:pt x="4597" y="656"/>
                </a:cubicBezTo>
                <a:cubicBezTo>
                  <a:pt x="4596" y="656"/>
                  <a:pt x="4596" y="656"/>
                  <a:pt x="4596" y="656"/>
                </a:cubicBezTo>
                <a:lnTo>
                  <a:pt x="4597" y="652"/>
                </a:lnTo>
                <a:cubicBezTo>
                  <a:pt x="4597" y="651"/>
                  <a:pt x="4597" y="651"/>
                  <a:pt x="4595" y="651"/>
                </a:cubicBezTo>
                <a:cubicBezTo>
                  <a:pt x="4593" y="652"/>
                  <a:pt x="4593" y="653"/>
                  <a:pt x="4593" y="655"/>
                </a:cubicBezTo>
                <a:lnTo>
                  <a:pt x="4593" y="656"/>
                </a:lnTo>
                <a:cubicBezTo>
                  <a:pt x="4593" y="658"/>
                  <a:pt x="4592" y="660"/>
                  <a:pt x="4589" y="661"/>
                </a:cubicBezTo>
                <a:cubicBezTo>
                  <a:pt x="4587" y="663"/>
                  <a:pt x="4585" y="663"/>
                  <a:pt x="4585" y="663"/>
                </a:cubicBezTo>
                <a:lnTo>
                  <a:pt x="4591" y="658"/>
                </a:lnTo>
                <a:lnTo>
                  <a:pt x="4591" y="657"/>
                </a:lnTo>
                <a:cubicBezTo>
                  <a:pt x="4590" y="657"/>
                  <a:pt x="4590" y="658"/>
                  <a:pt x="4588" y="658"/>
                </a:cubicBezTo>
                <a:cubicBezTo>
                  <a:pt x="4587" y="659"/>
                  <a:pt x="4586" y="659"/>
                  <a:pt x="4585" y="659"/>
                </a:cubicBezTo>
                <a:cubicBezTo>
                  <a:pt x="4584" y="659"/>
                  <a:pt x="4583" y="659"/>
                  <a:pt x="4582" y="659"/>
                </a:cubicBezTo>
                <a:cubicBezTo>
                  <a:pt x="4582" y="659"/>
                  <a:pt x="4581" y="660"/>
                  <a:pt x="4581" y="661"/>
                </a:cubicBezTo>
                <a:lnTo>
                  <a:pt x="4582" y="663"/>
                </a:lnTo>
                <a:cubicBezTo>
                  <a:pt x="4582" y="665"/>
                  <a:pt x="4580" y="667"/>
                  <a:pt x="4578" y="669"/>
                </a:cubicBezTo>
                <a:lnTo>
                  <a:pt x="4573" y="670"/>
                </a:lnTo>
                <a:cubicBezTo>
                  <a:pt x="4573" y="670"/>
                  <a:pt x="4575" y="669"/>
                  <a:pt x="4577" y="667"/>
                </a:cubicBezTo>
                <a:cubicBezTo>
                  <a:pt x="4579" y="666"/>
                  <a:pt x="4580" y="665"/>
                  <a:pt x="4580" y="664"/>
                </a:cubicBezTo>
                <a:lnTo>
                  <a:pt x="4577" y="665"/>
                </a:lnTo>
                <a:cubicBezTo>
                  <a:pt x="4575" y="666"/>
                  <a:pt x="4573" y="666"/>
                  <a:pt x="4573" y="666"/>
                </a:cubicBezTo>
                <a:cubicBezTo>
                  <a:pt x="4572" y="666"/>
                  <a:pt x="4572" y="668"/>
                  <a:pt x="4572" y="670"/>
                </a:cubicBezTo>
                <a:cubicBezTo>
                  <a:pt x="4572" y="671"/>
                  <a:pt x="4571" y="672"/>
                  <a:pt x="4570" y="673"/>
                </a:cubicBezTo>
                <a:cubicBezTo>
                  <a:pt x="4567" y="676"/>
                  <a:pt x="4565" y="677"/>
                  <a:pt x="4563" y="677"/>
                </a:cubicBezTo>
                <a:cubicBezTo>
                  <a:pt x="4562" y="677"/>
                  <a:pt x="4562" y="677"/>
                  <a:pt x="4562" y="677"/>
                </a:cubicBezTo>
                <a:cubicBezTo>
                  <a:pt x="4561" y="677"/>
                  <a:pt x="4561" y="677"/>
                  <a:pt x="4561" y="676"/>
                </a:cubicBezTo>
                <a:lnTo>
                  <a:pt x="4565" y="674"/>
                </a:lnTo>
                <a:cubicBezTo>
                  <a:pt x="4568" y="673"/>
                  <a:pt x="4569" y="671"/>
                  <a:pt x="4569" y="671"/>
                </a:cubicBezTo>
                <a:cubicBezTo>
                  <a:pt x="4569" y="671"/>
                  <a:pt x="4569" y="670"/>
                  <a:pt x="4569" y="670"/>
                </a:cubicBezTo>
                <a:cubicBezTo>
                  <a:pt x="4567" y="670"/>
                  <a:pt x="4563" y="672"/>
                  <a:pt x="4557" y="676"/>
                </a:cubicBezTo>
                <a:cubicBezTo>
                  <a:pt x="4550" y="679"/>
                  <a:pt x="4547" y="682"/>
                  <a:pt x="4547" y="683"/>
                </a:cubicBezTo>
                <a:lnTo>
                  <a:pt x="4547" y="685"/>
                </a:lnTo>
                <a:cubicBezTo>
                  <a:pt x="4547" y="686"/>
                  <a:pt x="4546" y="686"/>
                  <a:pt x="4545" y="686"/>
                </a:cubicBezTo>
                <a:lnTo>
                  <a:pt x="4545" y="686"/>
                </a:lnTo>
                <a:cubicBezTo>
                  <a:pt x="4541" y="686"/>
                  <a:pt x="4532" y="690"/>
                  <a:pt x="4516" y="698"/>
                </a:cubicBezTo>
                <a:cubicBezTo>
                  <a:pt x="4507" y="703"/>
                  <a:pt x="4496" y="708"/>
                  <a:pt x="4483" y="714"/>
                </a:cubicBezTo>
                <a:cubicBezTo>
                  <a:pt x="4452" y="728"/>
                  <a:pt x="4434" y="735"/>
                  <a:pt x="4430" y="735"/>
                </a:cubicBezTo>
                <a:close/>
                <a:moveTo>
                  <a:pt x="4528" y="686"/>
                </a:moveTo>
                <a:cubicBezTo>
                  <a:pt x="4529" y="686"/>
                  <a:pt x="4530" y="686"/>
                  <a:pt x="4531" y="686"/>
                </a:cubicBezTo>
                <a:cubicBezTo>
                  <a:pt x="4533" y="685"/>
                  <a:pt x="4534" y="684"/>
                  <a:pt x="4534" y="683"/>
                </a:cubicBezTo>
                <a:cubicBezTo>
                  <a:pt x="4533" y="683"/>
                  <a:pt x="4533" y="683"/>
                  <a:pt x="4533" y="683"/>
                </a:cubicBezTo>
                <a:cubicBezTo>
                  <a:pt x="4532" y="683"/>
                  <a:pt x="4531" y="683"/>
                  <a:pt x="4530" y="685"/>
                </a:cubicBezTo>
                <a:lnTo>
                  <a:pt x="4528" y="686"/>
                </a:lnTo>
                <a:close/>
                <a:moveTo>
                  <a:pt x="4278" y="755"/>
                </a:moveTo>
                <a:lnTo>
                  <a:pt x="4278" y="755"/>
                </a:lnTo>
                <a:cubicBezTo>
                  <a:pt x="4277" y="755"/>
                  <a:pt x="4276" y="754"/>
                  <a:pt x="4275" y="752"/>
                </a:cubicBezTo>
                <a:lnTo>
                  <a:pt x="4274" y="749"/>
                </a:lnTo>
                <a:lnTo>
                  <a:pt x="4275" y="749"/>
                </a:lnTo>
                <a:lnTo>
                  <a:pt x="4276" y="751"/>
                </a:lnTo>
                <a:cubicBezTo>
                  <a:pt x="4278" y="752"/>
                  <a:pt x="4278" y="753"/>
                  <a:pt x="4278" y="754"/>
                </a:cubicBezTo>
                <a:lnTo>
                  <a:pt x="4278" y="755"/>
                </a:lnTo>
                <a:close/>
                <a:moveTo>
                  <a:pt x="4273" y="735"/>
                </a:moveTo>
                <a:cubicBezTo>
                  <a:pt x="4273" y="735"/>
                  <a:pt x="4272" y="734"/>
                  <a:pt x="4270" y="731"/>
                </a:cubicBezTo>
                <a:lnTo>
                  <a:pt x="4268" y="728"/>
                </a:lnTo>
                <a:lnTo>
                  <a:pt x="4274" y="734"/>
                </a:lnTo>
                <a:cubicBezTo>
                  <a:pt x="4274" y="735"/>
                  <a:pt x="4273" y="735"/>
                  <a:pt x="4273" y="735"/>
                </a:cubicBezTo>
                <a:close/>
                <a:moveTo>
                  <a:pt x="4426" y="458"/>
                </a:moveTo>
                <a:cubicBezTo>
                  <a:pt x="4425" y="458"/>
                  <a:pt x="4424" y="456"/>
                  <a:pt x="4423" y="454"/>
                </a:cubicBezTo>
                <a:lnTo>
                  <a:pt x="4422" y="451"/>
                </a:lnTo>
                <a:cubicBezTo>
                  <a:pt x="4422" y="450"/>
                  <a:pt x="4422" y="449"/>
                  <a:pt x="4423" y="449"/>
                </a:cubicBezTo>
                <a:cubicBezTo>
                  <a:pt x="4423" y="449"/>
                  <a:pt x="4424" y="450"/>
                  <a:pt x="4425" y="451"/>
                </a:cubicBezTo>
                <a:cubicBezTo>
                  <a:pt x="4426" y="453"/>
                  <a:pt x="4427" y="454"/>
                  <a:pt x="4428" y="454"/>
                </a:cubicBezTo>
                <a:lnTo>
                  <a:pt x="4430" y="453"/>
                </a:lnTo>
                <a:lnTo>
                  <a:pt x="4429" y="455"/>
                </a:lnTo>
                <a:cubicBezTo>
                  <a:pt x="4429" y="457"/>
                  <a:pt x="4427" y="458"/>
                  <a:pt x="4426" y="458"/>
                </a:cubicBezTo>
                <a:close/>
                <a:moveTo>
                  <a:pt x="4312" y="499"/>
                </a:moveTo>
                <a:cubicBezTo>
                  <a:pt x="4312" y="498"/>
                  <a:pt x="4312" y="498"/>
                  <a:pt x="4312" y="498"/>
                </a:cubicBezTo>
                <a:cubicBezTo>
                  <a:pt x="4312" y="497"/>
                  <a:pt x="4312" y="497"/>
                  <a:pt x="4313" y="495"/>
                </a:cubicBezTo>
                <a:cubicBezTo>
                  <a:pt x="4313" y="494"/>
                  <a:pt x="4314" y="492"/>
                  <a:pt x="4315" y="491"/>
                </a:cubicBezTo>
                <a:cubicBezTo>
                  <a:pt x="4316" y="490"/>
                  <a:pt x="4317" y="489"/>
                  <a:pt x="4318" y="488"/>
                </a:cubicBezTo>
                <a:cubicBezTo>
                  <a:pt x="4319" y="488"/>
                  <a:pt x="4319" y="487"/>
                  <a:pt x="4320" y="487"/>
                </a:cubicBezTo>
                <a:cubicBezTo>
                  <a:pt x="4320" y="487"/>
                  <a:pt x="4320" y="487"/>
                  <a:pt x="4320" y="488"/>
                </a:cubicBezTo>
                <a:cubicBezTo>
                  <a:pt x="4320" y="489"/>
                  <a:pt x="4319" y="491"/>
                  <a:pt x="4315" y="495"/>
                </a:cubicBezTo>
                <a:cubicBezTo>
                  <a:pt x="4313" y="497"/>
                  <a:pt x="4312" y="499"/>
                  <a:pt x="4312" y="499"/>
                </a:cubicBezTo>
                <a:close/>
                <a:moveTo>
                  <a:pt x="4262" y="691"/>
                </a:moveTo>
                <a:lnTo>
                  <a:pt x="4262" y="691"/>
                </a:lnTo>
                <a:cubicBezTo>
                  <a:pt x="4262" y="691"/>
                  <a:pt x="4261" y="691"/>
                  <a:pt x="4261" y="690"/>
                </a:cubicBezTo>
                <a:lnTo>
                  <a:pt x="4261" y="688"/>
                </a:lnTo>
                <a:cubicBezTo>
                  <a:pt x="4261" y="686"/>
                  <a:pt x="4262" y="686"/>
                  <a:pt x="4262" y="686"/>
                </a:cubicBezTo>
                <a:lnTo>
                  <a:pt x="4262" y="686"/>
                </a:lnTo>
                <a:cubicBezTo>
                  <a:pt x="4263" y="687"/>
                  <a:pt x="4263" y="688"/>
                  <a:pt x="4263" y="688"/>
                </a:cubicBezTo>
                <a:cubicBezTo>
                  <a:pt x="4263" y="690"/>
                  <a:pt x="4263" y="691"/>
                  <a:pt x="4262" y="691"/>
                </a:cubicBezTo>
                <a:close/>
                <a:moveTo>
                  <a:pt x="4644" y="606"/>
                </a:moveTo>
                <a:close/>
                <a:moveTo>
                  <a:pt x="4357" y="786"/>
                </a:moveTo>
                <a:lnTo>
                  <a:pt x="4340" y="785"/>
                </a:lnTo>
                <a:cubicBezTo>
                  <a:pt x="4331" y="784"/>
                  <a:pt x="4322" y="783"/>
                  <a:pt x="4315" y="779"/>
                </a:cubicBezTo>
                <a:cubicBezTo>
                  <a:pt x="4307" y="776"/>
                  <a:pt x="4301" y="772"/>
                  <a:pt x="4298" y="768"/>
                </a:cubicBezTo>
                <a:cubicBezTo>
                  <a:pt x="4296" y="766"/>
                  <a:pt x="4295" y="765"/>
                  <a:pt x="4293" y="765"/>
                </a:cubicBezTo>
                <a:cubicBezTo>
                  <a:pt x="4292" y="765"/>
                  <a:pt x="4290" y="764"/>
                  <a:pt x="4288" y="763"/>
                </a:cubicBezTo>
                <a:cubicBezTo>
                  <a:pt x="4283" y="760"/>
                  <a:pt x="4281" y="758"/>
                  <a:pt x="4281" y="756"/>
                </a:cubicBezTo>
                <a:cubicBezTo>
                  <a:pt x="4281" y="756"/>
                  <a:pt x="4281" y="756"/>
                  <a:pt x="4282" y="756"/>
                </a:cubicBezTo>
                <a:cubicBezTo>
                  <a:pt x="4282" y="756"/>
                  <a:pt x="4283" y="756"/>
                  <a:pt x="4284" y="757"/>
                </a:cubicBezTo>
                <a:cubicBezTo>
                  <a:pt x="4285" y="757"/>
                  <a:pt x="4286" y="758"/>
                  <a:pt x="4287" y="759"/>
                </a:cubicBezTo>
                <a:lnTo>
                  <a:pt x="4288" y="760"/>
                </a:lnTo>
                <a:cubicBezTo>
                  <a:pt x="4288" y="760"/>
                  <a:pt x="4288" y="759"/>
                  <a:pt x="4288" y="759"/>
                </a:cubicBezTo>
                <a:lnTo>
                  <a:pt x="4287" y="756"/>
                </a:lnTo>
                <a:cubicBezTo>
                  <a:pt x="4282" y="748"/>
                  <a:pt x="4278" y="742"/>
                  <a:pt x="4277" y="737"/>
                </a:cubicBezTo>
                <a:cubicBezTo>
                  <a:pt x="4274" y="732"/>
                  <a:pt x="4273" y="726"/>
                  <a:pt x="4272" y="719"/>
                </a:cubicBezTo>
                <a:cubicBezTo>
                  <a:pt x="4271" y="707"/>
                  <a:pt x="4270" y="691"/>
                  <a:pt x="4270" y="670"/>
                </a:cubicBezTo>
                <a:cubicBezTo>
                  <a:pt x="4270" y="662"/>
                  <a:pt x="4271" y="658"/>
                  <a:pt x="4272" y="658"/>
                </a:cubicBezTo>
                <a:lnTo>
                  <a:pt x="4275" y="659"/>
                </a:lnTo>
                <a:cubicBezTo>
                  <a:pt x="4275" y="659"/>
                  <a:pt x="4276" y="659"/>
                  <a:pt x="4276" y="658"/>
                </a:cubicBezTo>
                <a:lnTo>
                  <a:pt x="4276" y="658"/>
                </a:lnTo>
                <a:cubicBezTo>
                  <a:pt x="4275" y="658"/>
                  <a:pt x="4275" y="657"/>
                  <a:pt x="4275" y="657"/>
                </a:cubicBezTo>
                <a:cubicBezTo>
                  <a:pt x="4275" y="656"/>
                  <a:pt x="4276" y="655"/>
                  <a:pt x="4277" y="653"/>
                </a:cubicBezTo>
                <a:cubicBezTo>
                  <a:pt x="4278" y="652"/>
                  <a:pt x="4278" y="651"/>
                  <a:pt x="4278" y="650"/>
                </a:cubicBezTo>
                <a:cubicBezTo>
                  <a:pt x="4278" y="649"/>
                  <a:pt x="4278" y="649"/>
                  <a:pt x="4277" y="649"/>
                </a:cubicBezTo>
                <a:cubicBezTo>
                  <a:pt x="4276" y="649"/>
                  <a:pt x="4275" y="650"/>
                  <a:pt x="4273" y="651"/>
                </a:cubicBezTo>
                <a:cubicBezTo>
                  <a:pt x="4272" y="653"/>
                  <a:pt x="4271" y="654"/>
                  <a:pt x="4270" y="654"/>
                </a:cubicBezTo>
                <a:cubicBezTo>
                  <a:pt x="4270" y="654"/>
                  <a:pt x="4270" y="653"/>
                  <a:pt x="4270" y="651"/>
                </a:cubicBezTo>
                <a:cubicBezTo>
                  <a:pt x="4270" y="648"/>
                  <a:pt x="4270" y="644"/>
                  <a:pt x="4271" y="637"/>
                </a:cubicBezTo>
                <a:lnTo>
                  <a:pt x="4271" y="627"/>
                </a:lnTo>
                <a:cubicBezTo>
                  <a:pt x="4271" y="623"/>
                  <a:pt x="4271" y="621"/>
                  <a:pt x="4270" y="621"/>
                </a:cubicBezTo>
                <a:cubicBezTo>
                  <a:pt x="4270" y="622"/>
                  <a:pt x="4269" y="624"/>
                  <a:pt x="4268" y="628"/>
                </a:cubicBezTo>
                <a:cubicBezTo>
                  <a:pt x="4268" y="631"/>
                  <a:pt x="4267" y="635"/>
                  <a:pt x="4266" y="639"/>
                </a:cubicBezTo>
                <a:cubicBezTo>
                  <a:pt x="4265" y="644"/>
                  <a:pt x="4265" y="647"/>
                  <a:pt x="4265" y="651"/>
                </a:cubicBezTo>
                <a:cubicBezTo>
                  <a:pt x="4265" y="654"/>
                  <a:pt x="4265" y="656"/>
                  <a:pt x="4264" y="656"/>
                </a:cubicBezTo>
                <a:cubicBezTo>
                  <a:pt x="4264" y="656"/>
                  <a:pt x="4263" y="656"/>
                  <a:pt x="4263" y="655"/>
                </a:cubicBezTo>
                <a:cubicBezTo>
                  <a:pt x="4263" y="654"/>
                  <a:pt x="4263" y="654"/>
                  <a:pt x="4262" y="654"/>
                </a:cubicBezTo>
                <a:cubicBezTo>
                  <a:pt x="4261" y="654"/>
                  <a:pt x="4260" y="662"/>
                  <a:pt x="4260" y="677"/>
                </a:cubicBezTo>
                <a:lnTo>
                  <a:pt x="4260" y="687"/>
                </a:lnTo>
                <a:cubicBezTo>
                  <a:pt x="4260" y="702"/>
                  <a:pt x="4261" y="711"/>
                  <a:pt x="4264" y="715"/>
                </a:cubicBezTo>
                <a:cubicBezTo>
                  <a:pt x="4265" y="718"/>
                  <a:pt x="4266" y="720"/>
                  <a:pt x="4266" y="721"/>
                </a:cubicBezTo>
                <a:lnTo>
                  <a:pt x="4266" y="723"/>
                </a:lnTo>
                <a:cubicBezTo>
                  <a:pt x="4266" y="723"/>
                  <a:pt x="4266" y="723"/>
                  <a:pt x="4268" y="723"/>
                </a:cubicBezTo>
                <a:cubicBezTo>
                  <a:pt x="4269" y="723"/>
                  <a:pt x="4270" y="724"/>
                  <a:pt x="4271" y="724"/>
                </a:cubicBezTo>
                <a:cubicBezTo>
                  <a:pt x="4272" y="725"/>
                  <a:pt x="4272" y="725"/>
                  <a:pt x="4272" y="726"/>
                </a:cubicBezTo>
                <a:cubicBezTo>
                  <a:pt x="4272" y="727"/>
                  <a:pt x="4272" y="728"/>
                  <a:pt x="4271" y="728"/>
                </a:cubicBezTo>
                <a:cubicBezTo>
                  <a:pt x="4271" y="728"/>
                  <a:pt x="4270" y="727"/>
                  <a:pt x="4270" y="727"/>
                </a:cubicBezTo>
                <a:cubicBezTo>
                  <a:pt x="4269" y="727"/>
                  <a:pt x="4269" y="727"/>
                  <a:pt x="4268" y="727"/>
                </a:cubicBezTo>
                <a:cubicBezTo>
                  <a:pt x="4267" y="727"/>
                  <a:pt x="4266" y="728"/>
                  <a:pt x="4266" y="730"/>
                </a:cubicBezTo>
                <a:cubicBezTo>
                  <a:pt x="4266" y="732"/>
                  <a:pt x="4267" y="734"/>
                  <a:pt x="4268" y="738"/>
                </a:cubicBezTo>
                <a:cubicBezTo>
                  <a:pt x="4270" y="741"/>
                  <a:pt x="4271" y="744"/>
                  <a:pt x="4271" y="746"/>
                </a:cubicBezTo>
                <a:lnTo>
                  <a:pt x="4271" y="746"/>
                </a:lnTo>
                <a:cubicBezTo>
                  <a:pt x="4270" y="746"/>
                  <a:pt x="4268" y="742"/>
                  <a:pt x="4264" y="734"/>
                </a:cubicBezTo>
                <a:cubicBezTo>
                  <a:pt x="4261" y="725"/>
                  <a:pt x="4259" y="720"/>
                  <a:pt x="4259" y="719"/>
                </a:cubicBezTo>
                <a:cubicBezTo>
                  <a:pt x="4259" y="717"/>
                  <a:pt x="4258" y="714"/>
                  <a:pt x="4256" y="710"/>
                </a:cubicBezTo>
                <a:lnTo>
                  <a:pt x="4256" y="707"/>
                </a:lnTo>
                <a:cubicBezTo>
                  <a:pt x="4254" y="704"/>
                  <a:pt x="4253" y="702"/>
                  <a:pt x="4253" y="700"/>
                </a:cubicBezTo>
                <a:lnTo>
                  <a:pt x="4253" y="697"/>
                </a:lnTo>
                <a:cubicBezTo>
                  <a:pt x="4253" y="696"/>
                  <a:pt x="4253" y="693"/>
                  <a:pt x="4252" y="690"/>
                </a:cubicBezTo>
                <a:cubicBezTo>
                  <a:pt x="4250" y="683"/>
                  <a:pt x="4249" y="674"/>
                  <a:pt x="4249" y="665"/>
                </a:cubicBezTo>
                <a:cubicBezTo>
                  <a:pt x="4249" y="659"/>
                  <a:pt x="4250" y="651"/>
                  <a:pt x="4251" y="642"/>
                </a:cubicBezTo>
                <a:cubicBezTo>
                  <a:pt x="4253" y="628"/>
                  <a:pt x="4255" y="619"/>
                  <a:pt x="4256" y="616"/>
                </a:cubicBezTo>
                <a:lnTo>
                  <a:pt x="4259" y="596"/>
                </a:lnTo>
                <a:cubicBezTo>
                  <a:pt x="4259" y="594"/>
                  <a:pt x="4260" y="593"/>
                  <a:pt x="4261" y="593"/>
                </a:cubicBezTo>
                <a:cubicBezTo>
                  <a:pt x="4262" y="593"/>
                  <a:pt x="4262" y="593"/>
                  <a:pt x="4262" y="591"/>
                </a:cubicBezTo>
                <a:lnTo>
                  <a:pt x="4262" y="586"/>
                </a:lnTo>
                <a:cubicBezTo>
                  <a:pt x="4262" y="585"/>
                  <a:pt x="4262" y="584"/>
                  <a:pt x="4263" y="584"/>
                </a:cubicBezTo>
                <a:cubicBezTo>
                  <a:pt x="4264" y="584"/>
                  <a:pt x="4264" y="583"/>
                  <a:pt x="4264" y="583"/>
                </a:cubicBezTo>
                <a:lnTo>
                  <a:pt x="4264" y="579"/>
                </a:lnTo>
                <a:cubicBezTo>
                  <a:pt x="4264" y="578"/>
                  <a:pt x="4264" y="577"/>
                  <a:pt x="4265" y="577"/>
                </a:cubicBezTo>
                <a:cubicBezTo>
                  <a:pt x="4267" y="577"/>
                  <a:pt x="4267" y="576"/>
                  <a:pt x="4267" y="575"/>
                </a:cubicBezTo>
                <a:lnTo>
                  <a:pt x="4267" y="575"/>
                </a:lnTo>
                <a:cubicBezTo>
                  <a:pt x="4267" y="573"/>
                  <a:pt x="4268" y="571"/>
                  <a:pt x="4270" y="567"/>
                </a:cubicBezTo>
                <a:cubicBezTo>
                  <a:pt x="4272" y="564"/>
                  <a:pt x="4273" y="562"/>
                  <a:pt x="4273" y="560"/>
                </a:cubicBezTo>
                <a:lnTo>
                  <a:pt x="4272" y="557"/>
                </a:lnTo>
                <a:cubicBezTo>
                  <a:pt x="4272" y="556"/>
                  <a:pt x="4273" y="556"/>
                  <a:pt x="4273" y="556"/>
                </a:cubicBezTo>
                <a:cubicBezTo>
                  <a:pt x="4274" y="556"/>
                  <a:pt x="4275" y="556"/>
                  <a:pt x="4275" y="554"/>
                </a:cubicBezTo>
                <a:lnTo>
                  <a:pt x="4274" y="552"/>
                </a:lnTo>
                <a:cubicBezTo>
                  <a:pt x="4274" y="550"/>
                  <a:pt x="4275" y="550"/>
                  <a:pt x="4277" y="550"/>
                </a:cubicBezTo>
                <a:cubicBezTo>
                  <a:pt x="4279" y="550"/>
                  <a:pt x="4280" y="549"/>
                  <a:pt x="4280" y="548"/>
                </a:cubicBezTo>
                <a:lnTo>
                  <a:pt x="4279" y="546"/>
                </a:lnTo>
                <a:cubicBezTo>
                  <a:pt x="4279" y="544"/>
                  <a:pt x="4280" y="542"/>
                  <a:pt x="4281" y="540"/>
                </a:cubicBezTo>
                <a:cubicBezTo>
                  <a:pt x="4283" y="538"/>
                  <a:pt x="4283" y="537"/>
                  <a:pt x="4284" y="537"/>
                </a:cubicBezTo>
                <a:lnTo>
                  <a:pt x="4283" y="539"/>
                </a:lnTo>
                <a:cubicBezTo>
                  <a:pt x="4283" y="540"/>
                  <a:pt x="4283" y="540"/>
                  <a:pt x="4283" y="540"/>
                </a:cubicBezTo>
                <a:cubicBezTo>
                  <a:pt x="4283" y="540"/>
                  <a:pt x="4284" y="540"/>
                  <a:pt x="4285" y="539"/>
                </a:cubicBezTo>
                <a:cubicBezTo>
                  <a:pt x="4286" y="538"/>
                  <a:pt x="4286" y="537"/>
                  <a:pt x="4286" y="536"/>
                </a:cubicBezTo>
                <a:lnTo>
                  <a:pt x="4286" y="533"/>
                </a:lnTo>
                <a:cubicBezTo>
                  <a:pt x="4286" y="532"/>
                  <a:pt x="4286" y="531"/>
                  <a:pt x="4287" y="531"/>
                </a:cubicBezTo>
                <a:cubicBezTo>
                  <a:pt x="4287" y="530"/>
                  <a:pt x="4287" y="529"/>
                  <a:pt x="4288" y="529"/>
                </a:cubicBezTo>
                <a:cubicBezTo>
                  <a:pt x="4288" y="529"/>
                  <a:pt x="4288" y="529"/>
                  <a:pt x="4288" y="530"/>
                </a:cubicBezTo>
                <a:lnTo>
                  <a:pt x="4287" y="534"/>
                </a:lnTo>
                <a:lnTo>
                  <a:pt x="4287" y="534"/>
                </a:lnTo>
                <a:cubicBezTo>
                  <a:pt x="4288" y="534"/>
                  <a:pt x="4290" y="532"/>
                  <a:pt x="4292" y="527"/>
                </a:cubicBezTo>
                <a:cubicBezTo>
                  <a:pt x="4294" y="524"/>
                  <a:pt x="4295" y="522"/>
                  <a:pt x="4295" y="522"/>
                </a:cubicBezTo>
                <a:lnTo>
                  <a:pt x="4292" y="525"/>
                </a:lnTo>
                <a:cubicBezTo>
                  <a:pt x="4292" y="524"/>
                  <a:pt x="4293" y="521"/>
                  <a:pt x="4295" y="517"/>
                </a:cubicBezTo>
                <a:cubicBezTo>
                  <a:pt x="4300" y="511"/>
                  <a:pt x="4303" y="508"/>
                  <a:pt x="4304" y="508"/>
                </a:cubicBezTo>
                <a:lnTo>
                  <a:pt x="4305" y="508"/>
                </a:lnTo>
                <a:cubicBezTo>
                  <a:pt x="4305" y="508"/>
                  <a:pt x="4306" y="507"/>
                  <a:pt x="4306" y="507"/>
                </a:cubicBezTo>
                <a:lnTo>
                  <a:pt x="4306" y="506"/>
                </a:lnTo>
                <a:cubicBezTo>
                  <a:pt x="4306" y="505"/>
                  <a:pt x="4306" y="504"/>
                  <a:pt x="4307" y="504"/>
                </a:cubicBezTo>
                <a:cubicBezTo>
                  <a:pt x="4308" y="504"/>
                  <a:pt x="4313" y="500"/>
                  <a:pt x="4321" y="492"/>
                </a:cubicBezTo>
                <a:cubicBezTo>
                  <a:pt x="4343" y="471"/>
                  <a:pt x="4365" y="458"/>
                  <a:pt x="4389" y="453"/>
                </a:cubicBezTo>
                <a:cubicBezTo>
                  <a:pt x="4397" y="451"/>
                  <a:pt x="4401" y="450"/>
                  <a:pt x="4401" y="448"/>
                </a:cubicBezTo>
                <a:lnTo>
                  <a:pt x="4400" y="447"/>
                </a:lnTo>
                <a:lnTo>
                  <a:pt x="4401" y="447"/>
                </a:lnTo>
                <a:cubicBezTo>
                  <a:pt x="4401" y="447"/>
                  <a:pt x="4402" y="448"/>
                  <a:pt x="4403" y="449"/>
                </a:cubicBezTo>
                <a:cubicBezTo>
                  <a:pt x="4404" y="450"/>
                  <a:pt x="4406" y="451"/>
                  <a:pt x="4406" y="451"/>
                </a:cubicBezTo>
                <a:cubicBezTo>
                  <a:pt x="4407" y="451"/>
                  <a:pt x="4408" y="450"/>
                  <a:pt x="4408" y="450"/>
                </a:cubicBezTo>
                <a:cubicBezTo>
                  <a:pt x="4410" y="448"/>
                  <a:pt x="4412" y="447"/>
                  <a:pt x="4414" y="447"/>
                </a:cubicBezTo>
                <a:cubicBezTo>
                  <a:pt x="4416" y="447"/>
                  <a:pt x="4417" y="448"/>
                  <a:pt x="4418" y="450"/>
                </a:cubicBezTo>
                <a:lnTo>
                  <a:pt x="4418" y="451"/>
                </a:lnTo>
                <a:cubicBezTo>
                  <a:pt x="4418" y="452"/>
                  <a:pt x="4418" y="453"/>
                  <a:pt x="4417" y="453"/>
                </a:cubicBezTo>
                <a:lnTo>
                  <a:pt x="4412" y="452"/>
                </a:lnTo>
                <a:cubicBezTo>
                  <a:pt x="4409" y="452"/>
                  <a:pt x="4407" y="453"/>
                  <a:pt x="4407" y="454"/>
                </a:cubicBezTo>
                <a:cubicBezTo>
                  <a:pt x="4407" y="455"/>
                  <a:pt x="4408" y="455"/>
                  <a:pt x="4410" y="455"/>
                </a:cubicBezTo>
                <a:cubicBezTo>
                  <a:pt x="4411" y="456"/>
                  <a:pt x="4413" y="456"/>
                  <a:pt x="4415" y="457"/>
                </a:cubicBezTo>
                <a:cubicBezTo>
                  <a:pt x="4418" y="458"/>
                  <a:pt x="4420" y="459"/>
                  <a:pt x="4423" y="460"/>
                </a:cubicBezTo>
                <a:cubicBezTo>
                  <a:pt x="4426" y="462"/>
                  <a:pt x="4427" y="462"/>
                  <a:pt x="4429" y="462"/>
                </a:cubicBezTo>
                <a:cubicBezTo>
                  <a:pt x="4430" y="462"/>
                  <a:pt x="4430" y="462"/>
                  <a:pt x="4430" y="462"/>
                </a:cubicBezTo>
                <a:lnTo>
                  <a:pt x="4430" y="461"/>
                </a:lnTo>
                <a:cubicBezTo>
                  <a:pt x="4430" y="460"/>
                  <a:pt x="4431" y="459"/>
                  <a:pt x="4432" y="459"/>
                </a:cubicBezTo>
                <a:cubicBezTo>
                  <a:pt x="4434" y="459"/>
                  <a:pt x="4435" y="460"/>
                  <a:pt x="4435" y="462"/>
                </a:cubicBezTo>
                <a:lnTo>
                  <a:pt x="4435" y="463"/>
                </a:lnTo>
                <a:cubicBezTo>
                  <a:pt x="4435" y="465"/>
                  <a:pt x="4436" y="467"/>
                  <a:pt x="4439" y="468"/>
                </a:cubicBezTo>
                <a:cubicBezTo>
                  <a:pt x="4441" y="469"/>
                  <a:pt x="4444" y="471"/>
                  <a:pt x="4447" y="474"/>
                </a:cubicBezTo>
                <a:cubicBezTo>
                  <a:pt x="4456" y="481"/>
                  <a:pt x="4460" y="486"/>
                  <a:pt x="4460" y="489"/>
                </a:cubicBezTo>
                <a:lnTo>
                  <a:pt x="4459" y="491"/>
                </a:lnTo>
                <a:cubicBezTo>
                  <a:pt x="4459" y="492"/>
                  <a:pt x="4460" y="492"/>
                  <a:pt x="4461" y="492"/>
                </a:cubicBezTo>
                <a:cubicBezTo>
                  <a:pt x="4461" y="493"/>
                  <a:pt x="4461" y="494"/>
                  <a:pt x="4461" y="497"/>
                </a:cubicBezTo>
                <a:cubicBezTo>
                  <a:pt x="4461" y="500"/>
                  <a:pt x="4461" y="506"/>
                  <a:pt x="4459" y="514"/>
                </a:cubicBezTo>
                <a:cubicBezTo>
                  <a:pt x="4457" y="522"/>
                  <a:pt x="4454" y="529"/>
                  <a:pt x="4452" y="535"/>
                </a:cubicBezTo>
                <a:cubicBezTo>
                  <a:pt x="4449" y="542"/>
                  <a:pt x="4448" y="546"/>
                  <a:pt x="4448" y="549"/>
                </a:cubicBezTo>
                <a:cubicBezTo>
                  <a:pt x="4448" y="549"/>
                  <a:pt x="4448" y="550"/>
                  <a:pt x="4448" y="550"/>
                </a:cubicBezTo>
                <a:cubicBezTo>
                  <a:pt x="4449" y="550"/>
                  <a:pt x="4449" y="550"/>
                  <a:pt x="4449" y="551"/>
                </a:cubicBezTo>
                <a:cubicBezTo>
                  <a:pt x="4449" y="552"/>
                  <a:pt x="4448" y="554"/>
                  <a:pt x="4445" y="557"/>
                </a:cubicBezTo>
                <a:cubicBezTo>
                  <a:pt x="4442" y="560"/>
                  <a:pt x="4440" y="562"/>
                  <a:pt x="4440" y="563"/>
                </a:cubicBezTo>
                <a:cubicBezTo>
                  <a:pt x="4440" y="564"/>
                  <a:pt x="4439" y="567"/>
                  <a:pt x="4435" y="572"/>
                </a:cubicBezTo>
                <a:cubicBezTo>
                  <a:pt x="4431" y="577"/>
                  <a:pt x="4427" y="582"/>
                  <a:pt x="4422" y="588"/>
                </a:cubicBezTo>
                <a:cubicBezTo>
                  <a:pt x="4417" y="594"/>
                  <a:pt x="4413" y="599"/>
                  <a:pt x="4409" y="603"/>
                </a:cubicBezTo>
                <a:cubicBezTo>
                  <a:pt x="4371" y="643"/>
                  <a:pt x="4340" y="663"/>
                  <a:pt x="4317" y="663"/>
                </a:cubicBezTo>
                <a:cubicBezTo>
                  <a:pt x="4309" y="663"/>
                  <a:pt x="4303" y="661"/>
                  <a:pt x="4298" y="656"/>
                </a:cubicBezTo>
                <a:cubicBezTo>
                  <a:pt x="4296" y="654"/>
                  <a:pt x="4294" y="653"/>
                  <a:pt x="4293" y="653"/>
                </a:cubicBezTo>
                <a:cubicBezTo>
                  <a:pt x="4291" y="653"/>
                  <a:pt x="4290" y="657"/>
                  <a:pt x="4290" y="666"/>
                </a:cubicBezTo>
                <a:cubicBezTo>
                  <a:pt x="4289" y="674"/>
                  <a:pt x="4288" y="682"/>
                  <a:pt x="4288" y="691"/>
                </a:cubicBezTo>
                <a:cubicBezTo>
                  <a:pt x="4288" y="704"/>
                  <a:pt x="4289" y="715"/>
                  <a:pt x="4291" y="726"/>
                </a:cubicBezTo>
                <a:cubicBezTo>
                  <a:pt x="4293" y="737"/>
                  <a:pt x="4295" y="742"/>
                  <a:pt x="4297" y="742"/>
                </a:cubicBezTo>
                <a:cubicBezTo>
                  <a:pt x="4299" y="742"/>
                  <a:pt x="4300" y="744"/>
                  <a:pt x="4300" y="746"/>
                </a:cubicBezTo>
                <a:cubicBezTo>
                  <a:pt x="4300" y="753"/>
                  <a:pt x="4306" y="759"/>
                  <a:pt x="4317" y="765"/>
                </a:cubicBezTo>
                <a:cubicBezTo>
                  <a:pt x="4328" y="771"/>
                  <a:pt x="4339" y="774"/>
                  <a:pt x="4351" y="774"/>
                </a:cubicBezTo>
                <a:cubicBezTo>
                  <a:pt x="4357" y="774"/>
                  <a:pt x="4365" y="772"/>
                  <a:pt x="4377" y="770"/>
                </a:cubicBezTo>
                <a:cubicBezTo>
                  <a:pt x="4384" y="769"/>
                  <a:pt x="4392" y="767"/>
                  <a:pt x="4403" y="764"/>
                </a:cubicBezTo>
                <a:cubicBezTo>
                  <a:pt x="4408" y="763"/>
                  <a:pt x="4412" y="762"/>
                  <a:pt x="4416" y="761"/>
                </a:cubicBezTo>
                <a:cubicBezTo>
                  <a:pt x="4419" y="760"/>
                  <a:pt x="4422" y="760"/>
                  <a:pt x="4423" y="759"/>
                </a:cubicBezTo>
                <a:cubicBezTo>
                  <a:pt x="4424" y="759"/>
                  <a:pt x="4426" y="759"/>
                  <a:pt x="4427" y="758"/>
                </a:cubicBezTo>
                <a:cubicBezTo>
                  <a:pt x="4428" y="757"/>
                  <a:pt x="4429" y="756"/>
                  <a:pt x="4430" y="756"/>
                </a:cubicBezTo>
                <a:lnTo>
                  <a:pt x="4434" y="757"/>
                </a:lnTo>
                <a:cubicBezTo>
                  <a:pt x="4434" y="757"/>
                  <a:pt x="4435" y="757"/>
                  <a:pt x="4435" y="756"/>
                </a:cubicBezTo>
                <a:cubicBezTo>
                  <a:pt x="4435" y="755"/>
                  <a:pt x="4435" y="754"/>
                  <a:pt x="4436" y="754"/>
                </a:cubicBezTo>
                <a:lnTo>
                  <a:pt x="4437" y="755"/>
                </a:lnTo>
                <a:cubicBezTo>
                  <a:pt x="4438" y="755"/>
                  <a:pt x="4439" y="754"/>
                  <a:pt x="4441" y="753"/>
                </a:cubicBezTo>
                <a:cubicBezTo>
                  <a:pt x="4441" y="752"/>
                  <a:pt x="4443" y="751"/>
                  <a:pt x="4445" y="751"/>
                </a:cubicBezTo>
                <a:cubicBezTo>
                  <a:pt x="4449" y="751"/>
                  <a:pt x="4464" y="745"/>
                  <a:pt x="4491" y="733"/>
                </a:cubicBezTo>
                <a:cubicBezTo>
                  <a:pt x="4517" y="720"/>
                  <a:pt x="4532" y="713"/>
                  <a:pt x="4537" y="710"/>
                </a:cubicBezTo>
                <a:cubicBezTo>
                  <a:pt x="4540" y="708"/>
                  <a:pt x="4543" y="708"/>
                  <a:pt x="4544" y="708"/>
                </a:cubicBezTo>
                <a:cubicBezTo>
                  <a:pt x="4546" y="708"/>
                  <a:pt x="4551" y="704"/>
                  <a:pt x="4562" y="697"/>
                </a:cubicBezTo>
                <a:cubicBezTo>
                  <a:pt x="4572" y="691"/>
                  <a:pt x="4578" y="688"/>
                  <a:pt x="4580" y="688"/>
                </a:cubicBezTo>
                <a:cubicBezTo>
                  <a:pt x="4581" y="688"/>
                  <a:pt x="4581" y="689"/>
                  <a:pt x="4581" y="689"/>
                </a:cubicBezTo>
                <a:cubicBezTo>
                  <a:pt x="4581" y="691"/>
                  <a:pt x="4569" y="700"/>
                  <a:pt x="4545" y="713"/>
                </a:cubicBezTo>
                <a:cubicBezTo>
                  <a:pt x="4533" y="720"/>
                  <a:pt x="4527" y="724"/>
                  <a:pt x="4527" y="725"/>
                </a:cubicBezTo>
                <a:lnTo>
                  <a:pt x="4527" y="725"/>
                </a:lnTo>
                <a:cubicBezTo>
                  <a:pt x="4528" y="725"/>
                  <a:pt x="4538" y="720"/>
                  <a:pt x="4555" y="711"/>
                </a:cubicBezTo>
                <a:cubicBezTo>
                  <a:pt x="4573" y="701"/>
                  <a:pt x="4583" y="696"/>
                  <a:pt x="4585" y="696"/>
                </a:cubicBezTo>
                <a:cubicBezTo>
                  <a:pt x="4587" y="696"/>
                  <a:pt x="4588" y="696"/>
                  <a:pt x="4588" y="695"/>
                </a:cubicBezTo>
                <a:lnTo>
                  <a:pt x="4587" y="692"/>
                </a:lnTo>
                <a:cubicBezTo>
                  <a:pt x="4587" y="692"/>
                  <a:pt x="4588" y="692"/>
                  <a:pt x="4588" y="692"/>
                </a:cubicBezTo>
                <a:cubicBezTo>
                  <a:pt x="4588" y="692"/>
                  <a:pt x="4589" y="693"/>
                  <a:pt x="4589" y="693"/>
                </a:cubicBezTo>
                <a:cubicBezTo>
                  <a:pt x="4591" y="693"/>
                  <a:pt x="4592" y="692"/>
                  <a:pt x="4594" y="691"/>
                </a:cubicBezTo>
                <a:lnTo>
                  <a:pt x="4598" y="689"/>
                </a:lnTo>
                <a:cubicBezTo>
                  <a:pt x="4598" y="691"/>
                  <a:pt x="4589" y="697"/>
                  <a:pt x="4569" y="709"/>
                </a:cubicBezTo>
                <a:cubicBezTo>
                  <a:pt x="4487" y="760"/>
                  <a:pt x="4416" y="786"/>
                  <a:pt x="4357" y="786"/>
                </a:cubicBezTo>
                <a:close/>
                <a:moveTo>
                  <a:pt x="4255" y="666"/>
                </a:moveTo>
                <a:cubicBezTo>
                  <a:pt x="4255" y="666"/>
                  <a:pt x="4256" y="665"/>
                  <a:pt x="4257" y="662"/>
                </a:cubicBezTo>
                <a:cubicBezTo>
                  <a:pt x="4258" y="660"/>
                  <a:pt x="4258" y="659"/>
                  <a:pt x="4258" y="657"/>
                </a:cubicBezTo>
                <a:cubicBezTo>
                  <a:pt x="4258" y="656"/>
                  <a:pt x="4258" y="655"/>
                  <a:pt x="4257" y="654"/>
                </a:cubicBezTo>
                <a:lnTo>
                  <a:pt x="4256" y="653"/>
                </a:lnTo>
                <a:cubicBezTo>
                  <a:pt x="4255" y="653"/>
                  <a:pt x="4255" y="655"/>
                  <a:pt x="4255" y="660"/>
                </a:cubicBezTo>
                <a:cubicBezTo>
                  <a:pt x="4255" y="664"/>
                  <a:pt x="4255" y="666"/>
                  <a:pt x="4255" y="666"/>
                </a:cubicBezTo>
                <a:close/>
                <a:moveTo>
                  <a:pt x="4258" y="643"/>
                </a:moveTo>
                <a:cubicBezTo>
                  <a:pt x="4259" y="643"/>
                  <a:pt x="4259" y="641"/>
                  <a:pt x="4260" y="637"/>
                </a:cubicBezTo>
                <a:lnTo>
                  <a:pt x="4260" y="637"/>
                </a:lnTo>
                <a:cubicBezTo>
                  <a:pt x="4260" y="636"/>
                  <a:pt x="4260" y="635"/>
                  <a:pt x="4259" y="634"/>
                </a:cubicBezTo>
                <a:cubicBezTo>
                  <a:pt x="4259" y="633"/>
                  <a:pt x="4259" y="633"/>
                  <a:pt x="4258" y="633"/>
                </a:cubicBezTo>
                <a:cubicBezTo>
                  <a:pt x="4257" y="633"/>
                  <a:pt x="4257" y="635"/>
                  <a:pt x="4256" y="638"/>
                </a:cubicBezTo>
                <a:cubicBezTo>
                  <a:pt x="4256" y="641"/>
                  <a:pt x="4257" y="643"/>
                  <a:pt x="4258" y="643"/>
                </a:cubicBezTo>
                <a:close/>
                <a:moveTo>
                  <a:pt x="4315" y="655"/>
                </a:moveTo>
                <a:lnTo>
                  <a:pt x="4325" y="652"/>
                </a:lnTo>
                <a:cubicBezTo>
                  <a:pt x="4330" y="651"/>
                  <a:pt x="4333" y="649"/>
                  <a:pt x="4333" y="648"/>
                </a:cubicBezTo>
                <a:lnTo>
                  <a:pt x="4333" y="646"/>
                </a:lnTo>
                <a:lnTo>
                  <a:pt x="4335" y="647"/>
                </a:lnTo>
                <a:cubicBezTo>
                  <a:pt x="4337" y="647"/>
                  <a:pt x="4339" y="647"/>
                  <a:pt x="4342" y="646"/>
                </a:cubicBezTo>
                <a:cubicBezTo>
                  <a:pt x="4344" y="645"/>
                  <a:pt x="4346" y="644"/>
                  <a:pt x="4348" y="642"/>
                </a:cubicBezTo>
                <a:cubicBezTo>
                  <a:pt x="4350" y="641"/>
                  <a:pt x="4351" y="640"/>
                  <a:pt x="4351" y="639"/>
                </a:cubicBezTo>
                <a:lnTo>
                  <a:pt x="4351" y="638"/>
                </a:lnTo>
                <a:cubicBezTo>
                  <a:pt x="4351" y="638"/>
                  <a:pt x="4351" y="637"/>
                  <a:pt x="4351" y="637"/>
                </a:cubicBezTo>
                <a:lnTo>
                  <a:pt x="4353" y="638"/>
                </a:lnTo>
                <a:cubicBezTo>
                  <a:pt x="4355" y="638"/>
                  <a:pt x="4357" y="637"/>
                  <a:pt x="4360" y="634"/>
                </a:cubicBezTo>
                <a:cubicBezTo>
                  <a:pt x="4362" y="632"/>
                  <a:pt x="4364" y="630"/>
                  <a:pt x="4365" y="630"/>
                </a:cubicBezTo>
                <a:cubicBezTo>
                  <a:pt x="4366" y="630"/>
                  <a:pt x="4368" y="629"/>
                  <a:pt x="4372" y="625"/>
                </a:cubicBezTo>
                <a:cubicBezTo>
                  <a:pt x="4377" y="620"/>
                  <a:pt x="4380" y="618"/>
                  <a:pt x="4382" y="618"/>
                </a:cubicBezTo>
                <a:cubicBezTo>
                  <a:pt x="4385" y="618"/>
                  <a:pt x="4386" y="618"/>
                  <a:pt x="4386" y="617"/>
                </a:cubicBezTo>
                <a:lnTo>
                  <a:pt x="4386" y="616"/>
                </a:lnTo>
                <a:cubicBezTo>
                  <a:pt x="4386" y="615"/>
                  <a:pt x="4386" y="614"/>
                  <a:pt x="4387" y="613"/>
                </a:cubicBezTo>
                <a:cubicBezTo>
                  <a:pt x="4389" y="612"/>
                  <a:pt x="4390" y="611"/>
                  <a:pt x="4391" y="610"/>
                </a:cubicBezTo>
                <a:cubicBezTo>
                  <a:pt x="4393" y="609"/>
                  <a:pt x="4394" y="609"/>
                  <a:pt x="4395" y="609"/>
                </a:cubicBezTo>
                <a:lnTo>
                  <a:pt x="4396" y="609"/>
                </a:lnTo>
                <a:cubicBezTo>
                  <a:pt x="4397" y="609"/>
                  <a:pt x="4399" y="607"/>
                  <a:pt x="4401" y="604"/>
                </a:cubicBezTo>
                <a:cubicBezTo>
                  <a:pt x="4403" y="602"/>
                  <a:pt x="4404" y="600"/>
                  <a:pt x="4404" y="600"/>
                </a:cubicBezTo>
                <a:lnTo>
                  <a:pt x="4396" y="607"/>
                </a:lnTo>
                <a:cubicBezTo>
                  <a:pt x="4396" y="606"/>
                  <a:pt x="4397" y="605"/>
                  <a:pt x="4399" y="602"/>
                </a:cubicBezTo>
                <a:cubicBezTo>
                  <a:pt x="4401" y="599"/>
                  <a:pt x="4403" y="598"/>
                  <a:pt x="4404" y="598"/>
                </a:cubicBezTo>
                <a:cubicBezTo>
                  <a:pt x="4406" y="598"/>
                  <a:pt x="4407" y="597"/>
                  <a:pt x="4408" y="596"/>
                </a:cubicBezTo>
                <a:cubicBezTo>
                  <a:pt x="4410" y="596"/>
                  <a:pt x="4410" y="595"/>
                  <a:pt x="4410" y="593"/>
                </a:cubicBezTo>
                <a:lnTo>
                  <a:pt x="4410" y="593"/>
                </a:lnTo>
                <a:lnTo>
                  <a:pt x="4408" y="595"/>
                </a:lnTo>
                <a:lnTo>
                  <a:pt x="4408" y="594"/>
                </a:lnTo>
                <a:cubicBezTo>
                  <a:pt x="4408" y="594"/>
                  <a:pt x="4409" y="593"/>
                  <a:pt x="4410" y="590"/>
                </a:cubicBezTo>
                <a:cubicBezTo>
                  <a:pt x="4412" y="588"/>
                  <a:pt x="4414" y="587"/>
                  <a:pt x="4415" y="586"/>
                </a:cubicBezTo>
                <a:cubicBezTo>
                  <a:pt x="4417" y="585"/>
                  <a:pt x="4417" y="584"/>
                  <a:pt x="4418" y="584"/>
                </a:cubicBezTo>
                <a:lnTo>
                  <a:pt x="4418" y="584"/>
                </a:lnTo>
                <a:cubicBezTo>
                  <a:pt x="4420" y="584"/>
                  <a:pt x="4420" y="584"/>
                  <a:pt x="4420" y="583"/>
                </a:cubicBezTo>
                <a:cubicBezTo>
                  <a:pt x="4420" y="581"/>
                  <a:pt x="4424" y="576"/>
                  <a:pt x="4430" y="567"/>
                </a:cubicBezTo>
                <a:cubicBezTo>
                  <a:pt x="4448" y="543"/>
                  <a:pt x="4457" y="522"/>
                  <a:pt x="4457" y="505"/>
                </a:cubicBezTo>
                <a:cubicBezTo>
                  <a:pt x="4457" y="501"/>
                  <a:pt x="4457" y="497"/>
                  <a:pt x="4456" y="494"/>
                </a:cubicBezTo>
                <a:cubicBezTo>
                  <a:pt x="4454" y="488"/>
                  <a:pt x="4453" y="485"/>
                  <a:pt x="4452" y="485"/>
                </a:cubicBezTo>
                <a:cubicBezTo>
                  <a:pt x="4451" y="485"/>
                  <a:pt x="4451" y="487"/>
                  <a:pt x="4451" y="492"/>
                </a:cubicBezTo>
                <a:lnTo>
                  <a:pt x="4451" y="497"/>
                </a:lnTo>
                <a:cubicBezTo>
                  <a:pt x="4451" y="509"/>
                  <a:pt x="4447" y="523"/>
                  <a:pt x="4439" y="537"/>
                </a:cubicBezTo>
                <a:cubicBezTo>
                  <a:pt x="4436" y="542"/>
                  <a:pt x="4432" y="547"/>
                  <a:pt x="4428" y="553"/>
                </a:cubicBezTo>
                <a:cubicBezTo>
                  <a:pt x="4424" y="558"/>
                  <a:pt x="4419" y="563"/>
                  <a:pt x="4415" y="568"/>
                </a:cubicBezTo>
                <a:cubicBezTo>
                  <a:pt x="4411" y="573"/>
                  <a:pt x="4408" y="575"/>
                  <a:pt x="4407" y="575"/>
                </a:cubicBezTo>
                <a:cubicBezTo>
                  <a:pt x="4406" y="575"/>
                  <a:pt x="4404" y="576"/>
                  <a:pt x="4402" y="578"/>
                </a:cubicBezTo>
                <a:cubicBezTo>
                  <a:pt x="4401" y="580"/>
                  <a:pt x="4400" y="581"/>
                  <a:pt x="4400" y="581"/>
                </a:cubicBezTo>
                <a:lnTo>
                  <a:pt x="4404" y="579"/>
                </a:lnTo>
                <a:lnTo>
                  <a:pt x="4404" y="579"/>
                </a:lnTo>
                <a:cubicBezTo>
                  <a:pt x="4404" y="580"/>
                  <a:pt x="4404" y="581"/>
                  <a:pt x="4402" y="582"/>
                </a:cubicBezTo>
                <a:cubicBezTo>
                  <a:pt x="4401" y="584"/>
                  <a:pt x="4400" y="585"/>
                  <a:pt x="4399" y="585"/>
                </a:cubicBezTo>
                <a:cubicBezTo>
                  <a:pt x="4399" y="585"/>
                  <a:pt x="4398" y="585"/>
                  <a:pt x="4398" y="584"/>
                </a:cubicBezTo>
                <a:cubicBezTo>
                  <a:pt x="4398" y="584"/>
                  <a:pt x="4398" y="584"/>
                  <a:pt x="4398" y="584"/>
                </a:cubicBezTo>
                <a:cubicBezTo>
                  <a:pt x="4396" y="584"/>
                  <a:pt x="4394" y="585"/>
                  <a:pt x="4391" y="588"/>
                </a:cubicBezTo>
                <a:cubicBezTo>
                  <a:pt x="4387" y="593"/>
                  <a:pt x="4384" y="595"/>
                  <a:pt x="4381" y="595"/>
                </a:cubicBezTo>
                <a:cubicBezTo>
                  <a:pt x="4378" y="595"/>
                  <a:pt x="4376" y="596"/>
                  <a:pt x="4376" y="599"/>
                </a:cubicBezTo>
                <a:cubicBezTo>
                  <a:pt x="4376" y="600"/>
                  <a:pt x="4376" y="600"/>
                  <a:pt x="4375" y="601"/>
                </a:cubicBezTo>
                <a:cubicBezTo>
                  <a:pt x="4374" y="602"/>
                  <a:pt x="4374" y="602"/>
                  <a:pt x="4373" y="602"/>
                </a:cubicBezTo>
                <a:cubicBezTo>
                  <a:pt x="4371" y="602"/>
                  <a:pt x="4368" y="604"/>
                  <a:pt x="4366" y="606"/>
                </a:cubicBezTo>
                <a:cubicBezTo>
                  <a:pt x="4363" y="609"/>
                  <a:pt x="4360" y="611"/>
                  <a:pt x="4357" y="611"/>
                </a:cubicBezTo>
                <a:lnTo>
                  <a:pt x="4354" y="610"/>
                </a:lnTo>
                <a:cubicBezTo>
                  <a:pt x="4351" y="610"/>
                  <a:pt x="4349" y="611"/>
                  <a:pt x="4348" y="613"/>
                </a:cubicBezTo>
                <a:cubicBezTo>
                  <a:pt x="4346" y="615"/>
                  <a:pt x="4345" y="615"/>
                  <a:pt x="4345" y="616"/>
                </a:cubicBezTo>
                <a:lnTo>
                  <a:pt x="4348" y="615"/>
                </a:lnTo>
                <a:cubicBezTo>
                  <a:pt x="4351" y="613"/>
                  <a:pt x="4353" y="612"/>
                  <a:pt x="4355" y="612"/>
                </a:cubicBezTo>
                <a:cubicBezTo>
                  <a:pt x="4356" y="612"/>
                  <a:pt x="4357" y="612"/>
                  <a:pt x="4357" y="613"/>
                </a:cubicBezTo>
                <a:cubicBezTo>
                  <a:pt x="4357" y="615"/>
                  <a:pt x="4350" y="620"/>
                  <a:pt x="4337" y="626"/>
                </a:cubicBezTo>
                <a:cubicBezTo>
                  <a:pt x="4323" y="632"/>
                  <a:pt x="4313" y="635"/>
                  <a:pt x="4306" y="635"/>
                </a:cubicBezTo>
                <a:cubicBezTo>
                  <a:pt x="4303" y="635"/>
                  <a:pt x="4300" y="634"/>
                  <a:pt x="4298" y="633"/>
                </a:cubicBezTo>
                <a:lnTo>
                  <a:pt x="4297" y="633"/>
                </a:lnTo>
                <a:cubicBezTo>
                  <a:pt x="4297" y="633"/>
                  <a:pt x="4297" y="633"/>
                  <a:pt x="4297" y="634"/>
                </a:cubicBezTo>
                <a:cubicBezTo>
                  <a:pt x="4297" y="635"/>
                  <a:pt x="4297" y="637"/>
                  <a:pt x="4299" y="640"/>
                </a:cubicBezTo>
                <a:cubicBezTo>
                  <a:pt x="4300" y="643"/>
                  <a:pt x="4301" y="645"/>
                  <a:pt x="4302" y="647"/>
                </a:cubicBezTo>
                <a:cubicBezTo>
                  <a:pt x="4304" y="649"/>
                  <a:pt x="4306" y="650"/>
                  <a:pt x="4308" y="652"/>
                </a:cubicBezTo>
                <a:cubicBezTo>
                  <a:pt x="4311" y="653"/>
                  <a:pt x="4313" y="654"/>
                  <a:pt x="4315" y="655"/>
                </a:cubicBezTo>
                <a:close/>
                <a:moveTo>
                  <a:pt x="4313" y="632"/>
                </a:moveTo>
                <a:cubicBezTo>
                  <a:pt x="4315" y="632"/>
                  <a:pt x="4316" y="631"/>
                  <a:pt x="4316" y="631"/>
                </a:cubicBezTo>
                <a:cubicBezTo>
                  <a:pt x="4316" y="630"/>
                  <a:pt x="4315" y="630"/>
                  <a:pt x="4313" y="630"/>
                </a:cubicBezTo>
                <a:lnTo>
                  <a:pt x="4310" y="630"/>
                </a:lnTo>
                <a:cubicBezTo>
                  <a:pt x="4310" y="630"/>
                  <a:pt x="4310" y="631"/>
                  <a:pt x="4310" y="631"/>
                </a:cubicBezTo>
                <a:cubicBezTo>
                  <a:pt x="4310" y="631"/>
                  <a:pt x="4311" y="632"/>
                  <a:pt x="4313" y="632"/>
                </a:cubicBezTo>
                <a:close/>
                <a:moveTo>
                  <a:pt x="4322" y="630"/>
                </a:moveTo>
                <a:lnTo>
                  <a:pt x="4329" y="626"/>
                </a:lnTo>
                <a:lnTo>
                  <a:pt x="4332" y="625"/>
                </a:lnTo>
                <a:cubicBezTo>
                  <a:pt x="4335" y="623"/>
                  <a:pt x="4338" y="622"/>
                  <a:pt x="4340" y="622"/>
                </a:cubicBezTo>
                <a:lnTo>
                  <a:pt x="4340" y="622"/>
                </a:lnTo>
                <a:cubicBezTo>
                  <a:pt x="4340" y="622"/>
                  <a:pt x="4341" y="622"/>
                  <a:pt x="4341" y="622"/>
                </a:cubicBezTo>
                <a:cubicBezTo>
                  <a:pt x="4341" y="621"/>
                  <a:pt x="4340" y="620"/>
                  <a:pt x="4339" y="620"/>
                </a:cubicBezTo>
                <a:cubicBezTo>
                  <a:pt x="4337" y="620"/>
                  <a:pt x="4335" y="621"/>
                  <a:pt x="4332" y="622"/>
                </a:cubicBezTo>
                <a:cubicBezTo>
                  <a:pt x="4330" y="623"/>
                  <a:pt x="4327" y="624"/>
                  <a:pt x="4325" y="625"/>
                </a:cubicBezTo>
                <a:cubicBezTo>
                  <a:pt x="4323" y="627"/>
                  <a:pt x="4322" y="628"/>
                  <a:pt x="4322" y="629"/>
                </a:cubicBezTo>
                <a:cubicBezTo>
                  <a:pt x="4322" y="629"/>
                  <a:pt x="4322" y="630"/>
                  <a:pt x="4322" y="630"/>
                </a:cubicBezTo>
                <a:close/>
                <a:moveTo>
                  <a:pt x="4366" y="600"/>
                </a:moveTo>
                <a:cubicBezTo>
                  <a:pt x="4366" y="600"/>
                  <a:pt x="4368" y="598"/>
                  <a:pt x="4370" y="595"/>
                </a:cubicBezTo>
                <a:cubicBezTo>
                  <a:pt x="4373" y="593"/>
                  <a:pt x="4374" y="591"/>
                  <a:pt x="4374" y="591"/>
                </a:cubicBezTo>
                <a:cubicBezTo>
                  <a:pt x="4373" y="591"/>
                  <a:pt x="4372" y="592"/>
                  <a:pt x="4370" y="593"/>
                </a:cubicBezTo>
                <a:cubicBezTo>
                  <a:pt x="4367" y="595"/>
                  <a:pt x="4365" y="597"/>
                  <a:pt x="4365" y="598"/>
                </a:cubicBezTo>
                <a:cubicBezTo>
                  <a:pt x="4365" y="599"/>
                  <a:pt x="4365" y="600"/>
                  <a:pt x="4366" y="600"/>
                </a:cubicBezTo>
                <a:close/>
                <a:moveTo>
                  <a:pt x="4302" y="622"/>
                </a:moveTo>
                <a:cubicBezTo>
                  <a:pt x="4305" y="622"/>
                  <a:pt x="4310" y="621"/>
                  <a:pt x="4317" y="617"/>
                </a:cubicBezTo>
                <a:cubicBezTo>
                  <a:pt x="4328" y="611"/>
                  <a:pt x="4340" y="603"/>
                  <a:pt x="4355" y="590"/>
                </a:cubicBezTo>
                <a:cubicBezTo>
                  <a:pt x="4357" y="588"/>
                  <a:pt x="4359" y="586"/>
                  <a:pt x="4361" y="585"/>
                </a:cubicBezTo>
                <a:lnTo>
                  <a:pt x="4366" y="583"/>
                </a:lnTo>
                <a:lnTo>
                  <a:pt x="4367" y="584"/>
                </a:lnTo>
                <a:lnTo>
                  <a:pt x="4366" y="581"/>
                </a:lnTo>
                <a:cubicBezTo>
                  <a:pt x="4366" y="580"/>
                  <a:pt x="4367" y="579"/>
                  <a:pt x="4368" y="578"/>
                </a:cubicBezTo>
                <a:cubicBezTo>
                  <a:pt x="4369" y="576"/>
                  <a:pt x="4371" y="575"/>
                  <a:pt x="4373" y="574"/>
                </a:cubicBezTo>
                <a:cubicBezTo>
                  <a:pt x="4375" y="573"/>
                  <a:pt x="4376" y="572"/>
                  <a:pt x="4378" y="572"/>
                </a:cubicBezTo>
                <a:cubicBezTo>
                  <a:pt x="4379" y="572"/>
                  <a:pt x="4380" y="573"/>
                  <a:pt x="4380" y="573"/>
                </a:cubicBezTo>
                <a:lnTo>
                  <a:pt x="4376" y="579"/>
                </a:lnTo>
                <a:cubicBezTo>
                  <a:pt x="4377" y="579"/>
                  <a:pt x="4377" y="578"/>
                  <a:pt x="4379" y="577"/>
                </a:cubicBezTo>
                <a:cubicBezTo>
                  <a:pt x="4381" y="575"/>
                  <a:pt x="4382" y="574"/>
                  <a:pt x="4382" y="573"/>
                </a:cubicBezTo>
                <a:cubicBezTo>
                  <a:pt x="4382" y="573"/>
                  <a:pt x="4383" y="572"/>
                  <a:pt x="4383" y="570"/>
                </a:cubicBezTo>
                <a:lnTo>
                  <a:pt x="4383" y="569"/>
                </a:lnTo>
                <a:cubicBezTo>
                  <a:pt x="4383" y="568"/>
                  <a:pt x="4384" y="567"/>
                  <a:pt x="4386" y="565"/>
                </a:cubicBezTo>
                <a:cubicBezTo>
                  <a:pt x="4387" y="564"/>
                  <a:pt x="4388" y="563"/>
                  <a:pt x="4389" y="563"/>
                </a:cubicBezTo>
                <a:cubicBezTo>
                  <a:pt x="4389" y="563"/>
                  <a:pt x="4389" y="563"/>
                  <a:pt x="4389" y="564"/>
                </a:cubicBezTo>
                <a:lnTo>
                  <a:pt x="4388" y="567"/>
                </a:lnTo>
                <a:cubicBezTo>
                  <a:pt x="4388" y="567"/>
                  <a:pt x="4389" y="566"/>
                  <a:pt x="4389" y="565"/>
                </a:cubicBezTo>
                <a:cubicBezTo>
                  <a:pt x="4390" y="563"/>
                  <a:pt x="4391" y="562"/>
                  <a:pt x="4393" y="560"/>
                </a:cubicBezTo>
                <a:cubicBezTo>
                  <a:pt x="4394" y="558"/>
                  <a:pt x="4396" y="556"/>
                  <a:pt x="4397" y="555"/>
                </a:cubicBezTo>
                <a:cubicBezTo>
                  <a:pt x="4399" y="554"/>
                  <a:pt x="4399" y="553"/>
                  <a:pt x="4400" y="552"/>
                </a:cubicBezTo>
                <a:cubicBezTo>
                  <a:pt x="4401" y="551"/>
                  <a:pt x="4401" y="550"/>
                  <a:pt x="4401" y="550"/>
                </a:cubicBezTo>
                <a:cubicBezTo>
                  <a:pt x="4401" y="550"/>
                  <a:pt x="4401" y="550"/>
                  <a:pt x="4401" y="550"/>
                </a:cubicBezTo>
                <a:cubicBezTo>
                  <a:pt x="4401" y="550"/>
                  <a:pt x="4400" y="549"/>
                  <a:pt x="4400" y="549"/>
                </a:cubicBezTo>
                <a:cubicBezTo>
                  <a:pt x="4400" y="548"/>
                  <a:pt x="4402" y="546"/>
                  <a:pt x="4405" y="544"/>
                </a:cubicBezTo>
                <a:cubicBezTo>
                  <a:pt x="4408" y="541"/>
                  <a:pt x="4409" y="539"/>
                  <a:pt x="4409" y="539"/>
                </a:cubicBezTo>
                <a:lnTo>
                  <a:pt x="4409" y="539"/>
                </a:lnTo>
                <a:lnTo>
                  <a:pt x="4408" y="539"/>
                </a:lnTo>
                <a:cubicBezTo>
                  <a:pt x="4408" y="539"/>
                  <a:pt x="4409" y="536"/>
                  <a:pt x="4412" y="532"/>
                </a:cubicBezTo>
                <a:cubicBezTo>
                  <a:pt x="4415" y="528"/>
                  <a:pt x="4416" y="526"/>
                  <a:pt x="4416" y="524"/>
                </a:cubicBezTo>
                <a:lnTo>
                  <a:pt x="4416" y="524"/>
                </a:lnTo>
                <a:cubicBezTo>
                  <a:pt x="4416" y="523"/>
                  <a:pt x="4417" y="521"/>
                  <a:pt x="4419" y="519"/>
                </a:cubicBezTo>
                <a:cubicBezTo>
                  <a:pt x="4420" y="516"/>
                  <a:pt x="4421" y="514"/>
                  <a:pt x="4421" y="513"/>
                </a:cubicBezTo>
                <a:cubicBezTo>
                  <a:pt x="4421" y="513"/>
                  <a:pt x="4421" y="513"/>
                  <a:pt x="4420" y="513"/>
                </a:cubicBezTo>
                <a:cubicBezTo>
                  <a:pt x="4420" y="513"/>
                  <a:pt x="4420" y="512"/>
                  <a:pt x="4420" y="512"/>
                </a:cubicBezTo>
                <a:cubicBezTo>
                  <a:pt x="4420" y="512"/>
                  <a:pt x="4420" y="511"/>
                  <a:pt x="4421" y="509"/>
                </a:cubicBezTo>
                <a:cubicBezTo>
                  <a:pt x="4422" y="508"/>
                  <a:pt x="4423" y="505"/>
                  <a:pt x="4424" y="498"/>
                </a:cubicBezTo>
                <a:lnTo>
                  <a:pt x="4425" y="490"/>
                </a:lnTo>
                <a:lnTo>
                  <a:pt x="4425" y="483"/>
                </a:lnTo>
                <a:cubicBezTo>
                  <a:pt x="4425" y="477"/>
                  <a:pt x="4423" y="474"/>
                  <a:pt x="4420" y="474"/>
                </a:cubicBezTo>
                <a:cubicBezTo>
                  <a:pt x="4418" y="474"/>
                  <a:pt x="4416" y="475"/>
                  <a:pt x="4412" y="476"/>
                </a:cubicBezTo>
                <a:cubicBezTo>
                  <a:pt x="4406" y="478"/>
                  <a:pt x="4398" y="482"/>
                  <a:pt x="4389" y="488"/>
                </a:cubicBezTo>
                <a:cubicBezTo>
                  <a:pt x="4379" y="494"/>
                  <a:pt x="4370" y="501"/>
                  <a:pt x="4362" y="507"/>
                </a:cubicBezTo>
                <a:cubicBezTo>
                  <a:pt x="4354" y="514"/>
                  <a:pt x="4350" y="518"/>
                  <a:pt x="4350" y="521"/>
                </a:cubicBezTo>
                <a:lnTo>
                  <a:pt x="4351" y="522"/>
                </a:lnTo>
                <a:cubicBezTo>
                  <a:pt x="4351" y="524"/>
                  <a:pt x="4348" y="527"/>
                  <a:pt x="4344" y="533"/>
                </a:cubicBezTo>
                <a:cubicBezTo>
                  <a:pt x="4333" y="547"/>
                  <a:pt x="4327" y="555"/>
                  <a:pt x="4327" y="559"/>
                </a:cubicBezTo>
                <a:cubicBezTo>
                  <a:pt x="4327" y="560"/>
                  <a:pt x="4328" y="561"/>
                  <a:pt x="4329" y="561"/>
                </a:cubicBezTo>
                <a:cubicBezTo>
                  <a:pt x="4330" y="562"/>
                  <a:pt x="4330" y="562"/>
                  <a:pt x="4330" y="563"/>
                </a:cubicBezTo>
                <a:lnTo>
                  <a:pt x="4327" y="563"/>
                </a:lnTo>
                <a:cubicBezTo>
                  <a:pt x="4324" y="563"/>
                  <a:pt x="4317" y="573"/>
                  <a:pt x="4308" y="594"/>
                </a:cubicBezTo>
                <a:cubicBezTo>
                  <a:pt x="4303" y="605"/>
                  <a:pt x="4300" y="614"/>
                  <a:pt x="4300" y="619"/>
                </a:cubicBezTo>
                <a:cubicBezTo>
                  <a:pt x="4300" y="621"/>
                  <a:pt x="4301" y="622"/>
                  <a:pt x="4302" y="622"/>
                </a:cubicBezTo>
                <a:close/>
                <a:moveTo>
                  <a:pt x="4319" y="553"/>
                </a:moveTo>
                <a:cubicBezTo>
                  <a:pt x="4322" y="553"/>
                  <a:pt x="4324" y="551"/>
                  <a:pt x="4324" y="549"/>
                </a:cubicBezTo>
                <a:cubicBezTo>
                  <a:pt x="4324" y="548"/>
                  <a:pt x="4324" y="548"/>
                  <a:pt x="4325" y="548"/>
                </a:cubicBezTo>
                <a:lnTo>
                  <a:pt x="4326" y="548"/>
                </a:lnTo>
                <a:cubicBezTo>
                  <a:pt x="4327" y="548"/>
                  <a:pt x="4330" y="546"/>
                  <a:pt x="4332" y="541"/>
                </a:cubicBezTo>
                <a:cubicBezTo>
                  <a:pt x="4339" y="529"/>
                  <a:pt x="4350" y="515"/>
                  <a:pt x="4365" y="501"/>
                </a:cubicBezTo>
                <a:cubicBezTo>
                  <a:pt x="4380" y="487"/>
                  <a:pt x="4393" y="478"/>
                  <a:pt x="4406" y="472"/>
                </a:cubicBezTo>
                <a:cubicBezTo>
                  <a:pt x="4411" y="469"/>
                  <a:pt x="4414" y="468"/>
                  <a:pt x="4414" y="468"/>
                </a:cubicBezTo>
                <a:cubicBezTo>
                  <a:pt x="4414" y="468"/>
                  <a:pt x="4413" y="467"/>
                  <a:pt x="4413" y="467"/>
                </a:cubicBezTo>
                <a:lnTo>
                  <a:pt x="4409" y="468"/>
                </a:lnTo>
                <a:cubicBezTo>
                  <a:pt x="4403" y="468"/>
                  <a:pt x="4399" y="469"/>
                  <a:pt x="4396" y="470"/>
                </a:cubicBezTo>
                <a:cubicBezTo>
                  <a:pt x="4393" y="471"/>
                  <a:pt x="4390" y="473"/>
                  <a:pt x="4385" y="476"/>
                </a:cubicBezTo>
                <a:cubicBezTo>
                  <a:pt x="4371" y="483"/>
                  <a:pt x="4357" y="495"/>
                  <a:pt x="4342" y="511"/>
                </a:cubicBezTo>
                <a:cubicBezTo>
                  <a:pt x="4334" y="519"/>
                  <a:pt x="4328" y="525"/>
                  <a:pt x="4324" y="527"/>
                </a:cubicBezTo>
                <a:cubicBezTo>
                  <a:pt x="4322" y="528"/>
                  <a:pt x="4320" y="529"/>
                  <a:pt x="4320" y="530"/>
                </a:cubicBezTo>
                <a:lnTo>
                  <a:pt x="4321" y="531"/>
                </a:lnTo>
                <a:cubicBezTo>
                  <a:pt x="4321" y="533"/>
                  <a:pt x="4319" y="534"/>
                  <a:pt x="4317" y="536"/>
                </a:cubicBezTo>
                <a:cubicBezTo>
                  <a:pt x="4314" y="537"/>
                  <a:pt x="4313" y="539"/>
                  <a:pt x="4313" y="541"/>
                </a:cubicBezTo>
                <a:cubicBezTo>
                  <a:pt x="4313" y="543"/>
                  <a:pt x="4312" y="545"/>
                  <a:pt x="4309" y="546"/>
                </a:cubicBezTo>
                <a:cubicBezTo>
                  <a:pt x="4308" y="546"/>
                  <a:pt x="4307" y="547"/>
                  <a:pt x="4307" y="548"/>
                </a:cubicBezTo>
                <a:cubicBezTo>
                  <a:pt x="4307" y="548"/>
                  <a:pt x="4309" y="549"/>
                  <a:pt x="4312" y="551"/>
                </a:cubicBezTo>
                <a:cubicBezTo>
                  <a:pt x="4315" y="552"/>
                  <a:pt x="4317" y="553"/>
                  <a:pt x="4319" y="553"/>
                </a:cubicBezTo>
                <a:close/>
                <a:moveTo>
                  <a:pt x="4283" y="584"/>
                </a:moveTo>
                <a:cubicBezTo>
                  <a:pt x="4284" y="584"/>
                  <a:pt x="4285" y="583"/>
                  <a:pt x="4285" y="582"/>
                </a:cubicBezTo>
                <a:lnTo>
                  <a:pt x="4285" y="579"/>
                </a:lnTo>
                <a:cubicBezTo>
                  <a:pt x="4283" y="576"/>
                  <a:pt x="4282" y="575"/>
                  <a:pt x="4282" y="575"/>
                </a:cubicBezTo>
                <a:lnTo>
                  <a:pt x="4281" y="575"/>
                </a:lnTo>
                <a:lnTo>
                  <a:pt x="4282" y="580"/>
                </a:lnTo>
                <a:cubicBezTo>
                  <a:pt x="4282" y="581"/>
                  <a:pt x="4282" y="581"/>
                  <a:pt x="4282" y="581"/>
                </a:cubicBezTo>
                <a:lnTo>
                  <a:pt x="4279" y="580"/>
                </a:lnTo>
                <a:lnTo>
                  <a:pt x="4278" y="580"/>
                </a:lnTo>
                <a:lnTo>
                  <a:pt x="4279" y="581"/>
                </a:lnTo>
                <a:cubicBezTo>
                  <a:pt x="4280" y="583"/>
                  <a:pt x="4282" y="584"/>
                  <a:pt x="4283" y="584"/>
                </a:cubicBezTo>
                <a:close/>
                <a:moveTo>
                  <a:pt x="4277" y="603"/>
                </a:moveTo>
                <a:lnTo>
                  <a:pt x="4278" y="600"/>
                </a:lnTo>
                <a:cubicBezTo>
                  <a:pt x="4279" y="598"/>
                  <a:pt x="4280" y="596"/>
                  <a:pt x="4280" y="594"/>
                </a:cubicBezTo>
                <a:cubicBezTo>
                  <a:pt x="4281" y="592"/>
                  <a:pt x="4282" y="590"/>
                  <a:pt x="4283" y="590"/>
                </a:cubicBezTo>
                <a:cubicBezTo>
                  <a:pt x="4283" y="589"/>
                  <a:pt x="4284" y="588"/>
                  <a:pt x="4284" y="588"/>
                </a:cubicBezTo>
                <a:cubicBezTo>
                  <a:pt x="4284" y="587"/>
                  <a:pt x="4283" y="586"/>
                  <a:pt x="4281" y="586"/>
                </a:cubicBezTo>
                <a:cubicBezTo>
                  <a:pt x="4278" y="587"/>
                  <a:pt x="4277" y="590"/>
                  <a:pt x="4277" y="596"/>
                </a:cubicBezTo>
                <a:cubicBezTo>
                  <a:pt x="4277" y="601"/>
                  <a:pt x="4277" y="603"/>
                  <a:pt x="4277" y="603"/>
                </a:cubicBezTo>
                <a:close/>
                <a:moveTo>
                  <a:pt x="4277" y="646"/>
                </a:moveTo>
                <a:cubicBezTo>
                  <a:pt x="4278" y="646"/>
                  <a:pt x="4279" y="644"/>
                  <a:pt x="4280" y="641"/>
                </a:cubicBezTo>
                <a:lnTo>
                  <a:pt x="4280" y="640"/>
                </a:lnTo>
                <a:cubicBezTo>
                  <a:pt x="4280" y="640"/>
                  <a:pt x="4280" y="639"/>
                  <a:pt x="4280" y="639"/>
                </a:cubicBezTo>
                <a:lnTo>
                  <a:pt x="4277" y="641"/>
                </a:lnTo>
                <a:lnTo>
                  <a:pt x="4277" y="639"/>
                </a:lnTo>
                <a:cubicBezTo>
                  <a:pt x="4279" y="636"/>
                  <a:pt x="4280" y="634"/>
                  <a:pt x="4280" y="632"/>
                </a:cubicBezTo>
                <a:cubicBezTo>
                  <a:pt x="4280" y="629"/>
                  <a:pt x="4279" y="627"/>
                  <a:pt x="4277" y="626"/>
                </a:cubicBezTo>
                <a:lnTo>
                  <a:pt x="4277" y="626"/>
                </a:lnTo>
                <a:cubicBezTo>
                  <a:pt x="4275" y="626"/>
                  <a:pt x="4275" y="630"/>
                  <a:pt x="4274" y="636"/>
                </a:cubicBezTo>
                <a:lnTo>
                  <a:pt x="4274" y="637"/>
                </a:lnTo>
                <a:cubicBezTo>
                  <a:pt x="4274" y="642"/>
                  <a:pt x="4275" y="645"/>
                  <a:pt x="4277" y="646"/>
                </a:cubicBezTo>
                <a:close/>
                <a:moveTo>
                  <a:pt x="4282" y="618"/>
                </a:moveTo>
                <a:cubicBezTo>
                  <a:pt x="4283" y="618"/>
                  <a:pt x="4283" y="617"/>
                  <a:pt x="4284" y="617"/>
                </a:cubicBezTo>
                <a:cubicBezTo>
                  <a:pt x="4284" y="616"/>
                  <a:pt x="4284" y="615"/>
                  <a:pt x="4284" y="615"/>
                </a:cubicBezTo>
                <a:cubicBezTo>
                  <a:pt x="4284" y="615"/>
                  <a:pt x="4284" y="614"/>
                  <a:pt x="4284" y="614"/>
                </a:cubicBezTo>
                <a:lnTo>
                  <a:pt x="4283" y="614"/>
                </a:lnTo>
                <a:cubicBezTo>
                  <a:pt x="4282" y="614"/>
                  <a:pt x="4282" y="613"/>
                  <a:pt x="4282" y="612"/>
                </a:cubicBezTo>
                <a:cubicBezTo>
                  <a:pt x="4282" y="611"/>
                  <a:pt x="4282" y="611"/>
                  <a:pt x="4282" y="611"/>
                </a:cubicBezTo>
                <a:lnTo>
                  <a:pt x="4283" y="611"/>
                </a:lnTo>
                <a:cubicBezTo>
                  <a:pt x="4284" y="611"/>
                  <a:pt x="4285" y="609"/>
                  <a:pt x="4286" y="606"/>
                </a:cubicBezTo>
                <a:cubicBezTo>
                  <a:pt x="4287" y="601"/>
                  <a:pt x="4288" y="598"/>
                  <a:pt x="4290" y="595"/>
                </a:cubicBezTo>
                <a:cubicBezTo>
                  <a:pt x="4292" y="592"/>
                  <a:pt x="4294" y="590"/>
                  <a:pt x="4295" y="590"/>
                </a:cubicBezTo>
                <a:cubicBezTo>
                  <a:pt x="4297" y="590"/>
                  <a:pt x="4297" y="590"/>
                  <a:pt x="4297" y="588"/>
                </a:cubicBezTo>
                <a:lnTo>
                  <a:pt x="4297" y="587"/>
                </a:lnTo>
                <a:cubicBezTo>
                  <a:pt x="4297" y="587"/>
                  <a:pt x="4297" y="586"/>
                  <a:pt x="4298" y="585"/>
                </a:cubicBezTo>
                <a:cubicBezTo>
                  <a:pt x="4298" y="585"/>
                  <a:pt x="4298" y="585"/>
                  <a:pt x="4299" y="584"/>
                </a:cubicBezTo>
                <a:cubicBezTo>
                  <a:pt x="4300" y="584"/>
                  <a:pt x="4302" y="582"/>
                  <a:pt x="4304" y="578"/>
                </a:cubicBezTo>
                <a:cubicBezTo>
                  <a:pt x="4307" y="574"/>
                  <a:pt x="4309" y="570"/>
                  <a:pt x="4311" y="566"/>
                </a:cubicBezTo>
                <a:cubicBezTo>
                  <a:pt x="4313" y="562"/>
                  <a:pt x="4314" y="559"/>
                  <a:pt x="4314" y="558"/>
                </a:cubicBezTo>
                <a:cubicBezTo>
                  <a:pt x="4314" y="557"/>
                  <a:pt x="4313" y="556"/>
                  <a:pt x="4311" y="556"/>
                </a:cubicBezTo>
                <a:cubicBezTo>
                  <a:pt x="4305" y="556"/>
                  <a:pt x="4301" y="559"/>
                  <a:pt x="4297" y="565"/>
                </a:cubicBezTo>
                <a:cubicBezTo>
                  <a:pt x="4295" y="569"/>
                  <a:pt x="4293" y="571"/>
                  <a:pt x="4292" y="571"/>
                </a:cubicBezTo>
                <a:cubicBezTo>
                  <a:pt x="4291" y="571"/>
                  <a:pt x="4291" y="571"/>
                  <a:pt x="4291" y="571"/>
                </a:cubicBezTo>
                <a:cubicBezTo>
                  <a:pt x="4290" y="571"/>
                  <a:pt x="4290" y="570"/>
                  <a:pt x="4290" y="569"/>
                </a:cubicBezTo>
                <a:lnTo>
                  <a:pt x="4290" y="567"/>
                </a:lnTo>
                <a:cubicBezTo>
                  <a:pt x="4290" y="566"/>
                  <a:pt x="4290" y="565"/>
                  <a:pt x="4289" y="565"/>
                </a:cubicBezTo>
                <a:cubicBezTo>
                  <a:pt x="4288" y="565"/>
                  <a:pt x="4288" y="565"/>
                  <a:pt x="4288" y="564"/>
                </a:cubicBezTo>
                <a:lnTo>
                  <a:pt x="4288" y="562"/>
                </a:lnTo>
                <a:cubicBezTo>
                  <a:pt x="4288" y="561"/>
                  <a:pt x="4288" y="561"/>
                  <a:pt x="4288" y="561"/>
                </a:cubicBezTo>
                <a:lnTo>
                  <a:pt x="4287" y="562"/>
                </a:lnTo>
                <a:cubicBezTo>
                  <a:pt x="4286" y="562"/>
                  <a:pt x="4286" y="563"/>
                  <a:pt x="4286" y="564"/>
                </a:cubicBezTo>
                <a:cubicBezTo>
                  <a:pt x="4286" y="565"/>
                  <a:pt x="4287" y="567"/>
                  <a:pt x="4288" y="569"/>
                </a:cubicBezTo>
                <a:cubicBezTo>
                  <a:pt x="4290" y="571"/>
                  <a:pt x="4290" y="574"/>
                  <a:pt x="4290" y="576"/>
                </a:cubicBezTo>
                <a:cubicBezTo>
                  <a:pt x="4290" y="579"/>
                  <a:pt x="4289" y="583"/>
                  <a:pt x="4286" y="588"/>
                </a:cubicBezTo>
                <a:cubicBezTo>
                  <a:pt x="4285" y="591"/>
                  <a:pt x="4284" y="593"/>
                  <a:pt x="4284" y="595"/>
                </a:cubicBezTo>
                <a:cubicBezTo>
                  <a:pt x="4284" y="595"/>
                  <a:pt x="4284" y="595"/>
                  <a:pt x="4284" y="595"/>
                </a:cubicBezTo>
                <a:lnTo>
                  <a:pt x="4285" y="595"/>
                </a:lnTo>
                <a:cubicBezTo>
                  <a:pt x="4285" y="596"/>
                  <a:pt x="4284" y="597"/>
                  <a:pt x="4283" y="598"/>
                </a:cubicBezTo>
                <a:cubicBezTo>
                  <a:pt x="4282" y="598"/>
                  <a:pt x="4281" y="600"/>
                  <a:pt x="4280" y="603"/>
                </a:cubicBezTo>
                <a:cubicBezTo>
                  <a:pt x="4279" y="607"/>
                  <a:pt x="4278" y="610"/>
                  <a:pt x="4278" y="612"/>
                </a:cubicBezTo>
                <a:cubicBezTo>
                  <a:pt x="4278" y="614"/>
                  <a:pt x="4279" y="615"/>
                  <a:pt x="4280" y="616"/>
                </a:cubicBezTo>
                <a:cubicBezTo>
                  <a:pt x="4280" y="617"/>
                  <a:pt x="4281" y="618"/>
                  <a:pt x="4282" y="618"/>
                </a:cubicBezTo>
                <a:close/>
                <a:moveTo>
                  <a:pt x="4589" y="674"/>
                </a:moveTo>
                <a:cubicBezTo>
                  <a:pt x="4589" y="674"/>
                  <a:pt x="4598" y="667"/>
                  <a:pt x="4617" y="654"/>
                </a:cubicBezTo>
                <a:cubicBezTo>
                  <a:pt x="4640" y="637"/>
                  <a:pt x="4657" y="625"/>
                  <a:pt x="4669" y="615"/>
                </a:cubicBezTo>
                <a:lnTo>
                  <a:pt x="4715" y="579"/>
                </a:lnTo>
                <a:cubicBezTo>
                  <a:pt x="4730" y="568"/>
                  <a:pt x="4737" y="562"/>
                  <a:pt x="4737" y="561"/>
                </a:cubicBezTo>
                <a:cubicBezTo>
                  <a:pt x="4737" y="560"/>
                  <a:pt x="4737" y="559"/>
                  <a:pt x="4738" y="559"/>
                </a:cubicBezTo>
                <a:lnTo>
                  <a:pt x="4739" y="559"/>
                </a:lnTo>
                <a:cubicBezTo>
                  <a:pt x="4740" y="559"/>
                  <a:pt x="4742" y="558"/>
                  <a:pt x="4744" y="557"/>
                </a:cubicBezTo>
                <a:cubicBezTo>
                  <a:pt x="4745" y="556"/>
                  <a:pt x="4746" y="555"/>
                  <a:pt x="4746" y="553"/>
                </a:cubicBezTo>
                <a:lnTo>
                  <a:pt x="4746" y="552"/>
                </a:lnTo>
                <a:lnTo>
                  <a:pt x="4747" y="552"/>
                </a:lnTo>
                <a:cubicBezTo>
                  <a:pt x="4749" y="552"/>
                  <a:pt x="4753" y="550"/>
                  <a:pt x="4759" y="546"/>
                </a:cubicBezTo>
                <a:lnTo>
                  <a:pt x="4768" y="540"/>
                </a:lnTo>
                <a:lnTo>
                  <a:pt x="4767" y="541"/>
                </a:lnTo>
                <a:cubicBezTo>
                  <a:pt x="4766" y="542"/>
                  <a:pt x="4766" y="543"/>
                  <a:pt x="4766" y="544"/>
                </a:cubicBezTo>
                <a:lnTo>
                  <a:pt x="4767" y="547"/>
                </a:lnTo>
                <a:lnTo>
                  <a:pt x="4765" y="546"/>
                </a:lnTo>
                <a:cubicBezTo>
                  <a:pt x="4763" y="546"/>
                  <a:pt x="4761" y="548"/>
                  <a:pt x="4759" y="552"/>
                </a:cubicBezTo>
                <a:cubicBezTo>
                  <a:pt x="4756" y="556"/>
                  <a:pt x="4754" y="558"/>
                  <a:pt x="4753" y="558"/>
                </a:cubicBezTo>
                <a:lnTo>
                  <a:pt x="4750" y="558"/>
                </a:lnTo>
                <a:cubicBezTo>
                  <a:pt x="4747" y="558"/>
                  <a:pt x="4746" y="559"/>
                  <a:pt x="4746" y="560"/>
                </a:cubicBezTo>
                <a:lnTo>
                  <a:pt x="4746" y="561"/>
                </a:lnTo>
                <a:cubicBezTo>
                  <a:pt x="4746" y="563"/>
                  <a:pt x="4746" y="565"/>
                  <a:pt x="4744" y="566"/>
                </a:cubicBezTo>
                <a:cubicBezTo>
                  <a:pt x="4742" y="567"/>
                  <a:pt x="4741" y="568"/>
                  <a:pt x="4741" y="568"/>
                </a:cubicBezTo>
                <a:lnTo>
                  <a:pt x="4741" y="567"/>
                </a:lnTo>
                <a:lnTo>
                  <a:pt x="4742" y="565"/>
                </a:lnTo>
                <a:cubicBezTo>
                  <a:pt x="4742" y="565"/>
                  <a:pt x="4740" y="567"/>
                  <a:pt x="4736" y="572"/>
                </a:cubicBezTo>
                <a:cubicBezTo>
                  <a:pt x="4730" y="578"/>
                  <a:pt x="4726" y="582"/>
                  <a:pt x="4724" y="582"/>
                </a:cubicBezTo>
                <a:cubicBezTo>
                  <a:pt x="4724" y="582"/>
                  <a:pt x="4724" y="582"/>
                  <a:pt x="4724" y="581"/>
                </a:cubicBezTo>
                <a:cubicBezTo>
                  <a:pt x="4724" y="581"/>
                  <a:pt x="4724" y="580"/>
                  <a:pt x="4726" y="578"/>
                </a:cubicBezTo>
                <a:cubicBezTo>
                  <a:pt x="4727" y="576"/>
                  <a:pt x="4728" y="575"/>
                  <a:pt x="4728" y="574"/>
                </a:cubicBezTo>
                <a:lnTo>
                  <a:pt x="4726" y="576"/>
                </a:lnTo>
                <a:cubicBezTo>
                  <a:pt x="4724" y="578"/>
                  <a:pt x="4722" y="580"/>
                  <a:pt x="4722" y="581"/>
                </a:cubicBezTo>
                <a:cubicBezTo>
                  <a:pt x="4722" y="583"/>
                  <a:pt x="4721" y="584"/>
                  <a:pt x="4719" y="586"/>
                </a:cubicBezTo>
                <a:cubicBezTo>
                  <a:pt x="4715" y="591"/>
                  <a:pt x="4709" y="595"/>
                  <a:pt x="4701" y="600"/>
                </a:cubicBezTo>
                <a:lnTo>
                  <a:pt x="4694" y="603"/>
                </a:lnTo>
                <a:cubicBezTo>
                  <a:pt x="4692" y="603"/>
                  <a:pt x="4691" y="604"/>
                  <a:pt x="4689" y="606"/>
                </a:cubicBezTo>
                <a:lnTo>
                  <a:pt x="4687" y="609"/>
                </a:lnTo>
                <a:cubicBezTo>
                  <a:pt x="4687" y="609"/>
                  <a:pt x="4688" y="609"/>
                  <a:pt x="4689" y="608"/>
                </a:cubicBezTo>
                <a:cubicBezTo>
                  <a:pt x="4690" y="607"/>
                  <a:pt x="4691" y="606"/>
                  <a:pt x="4691" y="606"/>
                </a:cubicBezTo>
                <a:cubicBezTo>
                  <a:pt x="4691" y="607"/>
                  <a:pt x="4690" y="608"/>
                  <a:pt x="4688" y="610"/>
                </a:cubicBezTo>
                <a:cubicBezTo>
                  <a:pt x="4685" y="613"/>
                  <a:pt x="4682" y="615"/>
                  <a:pt x="4680" y="615"/>
                </a:cubicBezTo>
                <a:lnTo>
                  <a:pt x="4679" y="614"/>
                </a:lnTo>
                <a:lnTo>
                  <a:pt x="4679" y="614"/>
                </a:lnTo>
                <a:cubicBezTo>
                  <a:pt x="4679" y="615"/>
                  <a:pt x="4679" y="615"/>
                  <a:pt x="4680" y="617"/>
                </a:cubicBezTo>
                <a:cubicBezTo>
                  <a:pt x="4681" y="618"/>
                  <a:pt x="4681" y="619"/>
                  <a:pt x="4681" y="619"/>
                </a:cubicBezTo>
                <a:cubicBezTo>
                  <a:pt x="4681" y="619"/>
                  <a:pt x="4681" y="619"/>
                  <a:pt x="4681" y="619"/>
                </a:cubicBezTo>
                <a:lnTo>
                  <a:pt x="4677" y="619"/>
                </a:lnTo>
                <a:cubicBezTo>
                  <a:pt x="4674" y="619"/>
                  <a:pt x="4672" y="620"/>
                  <a:pt x="4672" y="620"/>
                </a:cubicBezTo>
                <a:cubicBezTo>
                  <a:pt x="4672" y="622"/>
                  <a:pt x="4671" y="624"/>
                  <a:pt x="4668" y="626"/>
                </a:cubicBezTo>
                <a:cubicBezTo>
                  <a:pt x="4665" y="628"/>
                  <a:pt x="4663" y="630"/>
                  <a:pt x="4663" y="630"/>
                </a:cubicBezTo>
                <a:cubicBezTo>
                  <a:pt x="4663" y="629"/>
                  <a:pt x="4664" y="628"/>
                  <a:pt x="4665" y="626"/>
                </a:cubicBezTo>
                <a:cubicBezTo>
                  <a:pt x="4666" y="625"/>
                  <a:pt x="4666" y="625"/>
                  <a:pt x="4666" y="625"/>
                </a:cubicBezTo>
                <a:cubicBezTo>
                  <a:pt x="4666" y="625"/>
                  <a:pt x="4664" y="626"/>
                  <a:pt x="4662" y="628"/>
                </a:cubicBezTo>
                <a:lnTo>
                  <a:pt x="4657" y="633"/>
                </a:lnTo>
                <a:lnTo>
                  <a:pt x="4658" y="632"/>
                </a:lnTo>
                <a:cubicBezTo>
                  <a:pt x="4658" y="631"/>
                  <a:pt x="4658" y="631"/>
                  <a:pt x="4658" y="630"/>
                </a:cubicBezTo>
                <a:cubicBezTo>
                  <a:pt x="4658" y="630"/>
                  <a:pt x="4658" y="630"/>
                  <a:pt x="4658" y="630"/>
                </a:cubicBezTo>
                <a:cubicBezTo>
                  <a:pt x="4657" y="630"/>
                  <a:pt x="4654" y="632"/>
                  <a:pt x="4649" y="635"/>
                </a:cubicBezTo>
                <a:cubicBezTo>
                  <a:pt x="4645" y="639"/>
                  <a:pt x="4642" y="642"/>
                  <a:pt x="4642" y="643"/>
                </a:cubicBezTo>
                <a:cubicBezTo>
                  <a:pt x="4642" y="644"/>
                  <a:pt x="4643" y="645"/>
                  <a:pt x="4644" y="646"/>
                </a:cubicBezTo>
                <a:lnTo>
                  <a:pt x="4645" y="648"/>
                </a:lnTo>
                <a:lnTo>
                  <a:pt x="4645" y="648"/>
                </a:lnTo>
                <a:cubicBezTo>
                  <a:pt x="4645" y="648"/>
                  <a:pt x="4644" y="648"/>
                  <a:pt x="4643" y="647"/>
                </a:cubicBezTo>
                <a:cubicBezTo>
                  <a:pt x="4642" y="646"/>
                  <a:pt x="4641" y="645"/>
                  <a:pt x="4640" y="645"/>
                </a:cubicBezTo>
                <a:cubicBezTo>
                  <a:pt x="4637" y="645"/>
                  <a:pt x="4632" y="648"/>
                  <a:pt x="4624" y="653"/>
                </a:cubicBezTo>
                <a:cubicBezTo>
                  <a:pt x="4604" y="667"/>
                  <a:pt x="4592" y="674"/>
                  <a:pt x="4589" y="674"/>
                </a:cubicBezTo>
                <a:close/>
                <a:moveTo>
                  <a:pt x="4696" y="602"/>
                </a:moveTo>
                <a:cubicBezTo>
                  <a:pt x="4697" y="602"/>
                  <a:pt x="4698" y="601"/>
                  <a:pt x="4700" y="598"/>
                </a:cubicBezTo>
                <a:lnTo>
                  <a:pt x="4702" y="595"/>
                </a:lnTo>
                <a:lnTo>
                  <a:pt x="4702" y="595"/>
                </a:lnTo>
                <a:cubicBezTo>
                  <a:pt x="4702" y="595"/>
                  <a:pt x="4701" y="596"/>
                  <a:pt x="4700" y="597"/>
                </a:cubicBezTo>
                <a:cubicBezTo>
                  <a:pt x="4699" y="598"/>
                  <a:pt x="4697" y="598"/>
                  <a:pt x="4697" y="599"/>
                </a:cubicBezTo>
                <a:cubicBezTo>
                  <a:pt x="4696" y="600"/>
                  <a:pt x="4695" y="601"/>
                  <a:pt x="4695" y="601"/>
                </a:cubicBezTo>
                <a:cubicBezTo>
                  <a:pt x="4695" y="602"/>
                  <a:pt x="4696" y="602"/>
                  <a:pt x="4696" y="602"/>
                </a:cubicBezTo>
                <a:close/>
                <a:moveTo>
                  <a:pt x="4704" y="595"/>
                </a:moveTo>
                <a:cubicBezTo>
                  <a:pt x="4706" y="595"/>
                  <a:pt x="4709" y="592"/>
                  <a:pt x="4714" y="588"/>
                </a:cubicBezTo>
                <a:cubicBezTo>
                  <a:pt x="4717" y="585"/>
                  <a:pt x="4719" y="584"/>
                  <a:pt x="4719" y="583"/>
                </a:cubicBezTo>
                <a:lnTo>
                  <a:pt x="4718" y="583"/>
                </a:lnTo>
                <a:cubicBezTo>
                  <a:pt x="4717" y="583"/>
                  <a:pt x="4716" y="584"/>
                  <a:pt x="4712" y="587"/>
                </a:cubicBezTo>
                <a:cubicBezTo>
                  <a:pt x="4707" y="591"/>
                  <a:pt x="4704" y="594"/>
                  <a:pt x="4704" y="595"/>
                </a:cubicBezTo>
                <a:close/>
                <a:moveTo>
                  <a:pt x="4731" y="575"/>
                </a:moveTo>
                <a:cubicBezTo>
                  <a:pt x="4731" y="575"/>
                  <a:pt x="4733" y="573"/>
                  <a:pt x="4735" y="571"/>
                </a:cubicBezTo>
                <a:lnTo>
                  <a:pt x="4737" y="568"/>
                </a:lnTo>
                <a:lnTo>
                  <a:pt x="4736" y="568"/>
                </a:lnTo>
                <a:lnTo>
                  <a:pt x="4734" y="570"/>
                </a:lnTo>
                <a:cubicBezTo>
                  <a:pt x="4731" y="572"/>
                  <a:pt x="4730" y="573"/>
                  <a:pt x="4730" y="574"/>
                </a:cubicBezTo>
                <a:cubicBezTo>
                  <a:pt x="4730" y="575"/>
                  <a:pt x="4730" y="575"/>
                  <a:pt x="4731" y="575"/>
                </a:cubicBezTo>
                <a:close/>
                <a:moveTo>
                  <a:pt x="4752" y="556"/>
                </a:moveTo>
                <a:cubicBezTo>
                  <a:pt x="4753" y="556"/>
                  <a:pt x="4754" y="555"/>
                  <a:pt x="4756" y="552"/>
                </a:cubicBezTo>
                <a:lnTo>
                  <a:pt x="4758" y="550"/>
                </a:lnTo>
                <a:cubicBezTo>
                  <a:pt x="4758" y="550"/>
                  <a:pt x="4757" y="551"/>
                  <a:pt x="4755" y="552"/>
                </a:cubicBezTo>
                <a:cubicBezTo>
                  <a:pt x="4753" y="554"/>
                  <a:pt x="4752" y="555"/>
                  <a:pt x="4752" y="556"/>
                </a:cubicBezTo>
                <a:cubicBezTo>
                  <a:pt x="4752" y="556"/>
                  <a:pt x="4752" y="556"/>
                  <a:pt x="4752" y="556"/>
                </a:cubicBezTo>
                <a:close/>
                <a:moveTo>
                  <a:pt x="4757" y="540"/>
                </a:moveTo>
                <a:cubicBezTo>
                  <a:pt x="4756" y="540"/>
                  <a:pt x="4756" y="540"/>
                  <a:pt x="4756" y="539"/>
                </a:cubicBezTo>
                <a:cubicBezTo>
                  <a:pt x="4756" y="539"/>
                  <a:pt x="4757" y="539"/>
                  <a:pt x="4758" y="538"/>
                </a:cubicBezTo>
                <a:cubicBezTo>
                  <a:pt x="4758" y="538"/>
                  <a:pt x="4759" y="537"/>
                  <a:pt x="4760" y="537"/>
                </a:cubicBezTo>
                <a:cubicBezTo>
                  <a:pt x="4760" y="537"/>
                  <a:pt x="4761" y="537"/>
                  <a:pt x="4761" y="537"/>
                </a:cubicBezTo>
                <a:cubicBezTo>
                  <a:pt x="4761" y="537"/>
                  <a:pt x="4762" y="537"/>
                  <a:pt x="4762" y="537"/>
                </a:cubicBezTo>
                <a:lnTo>
                  <a:pt x="4762" y="538"/>
                </a:lnTo>
                <a:cubicBezTo>
                  <a:pt x="4760" y="539"/>
                  <a:pt x="4759" y="540"/>
                  <a:pt x="4757" y="540"/>
                </a:cubicBezTo>
                <a:close/>
                <a:moveTo>
                  <a:pt x="4407" y="740"/>
                </a:moveTo>
                <a:cubicBezTo>
                  <a:pt x="4406" y="740"/>
                  <a:pt x="4404" y="738"/>
                  <a:pt x="4402" y="736"/>
                </a:cubicBezTo>
                <a:cubicBezTo>
                  <a:pt x="4401" y="735"/>
                  <a:pt x="4400" y="734"/>
                  <a:pt x="4400" y="734"/>
                </a:cubicBezTo>
                <a:cubicBezTo>
                  <a:pt x="4400" y="733"/>
                  <a:pt x="4401" y="733"/>
                  <a:pt x="4401" y="733"/>
                </a:cubicBezTo>
                <a:lnTo>
                  <a:pt x="4403" y="733"/>
                </a:lnTo>
                <a:cubicBezTo>
                  <a:pt x="4407" y="734"/>
                  <a:pt x="4408" y="735"/>
                  <a:pt x="4408" y="739"/>
                </a:cubicBezTo>
                <a:cubicBezTo>
                  <a:pt x="4408" y="739"/>
                  <a:pt x="4408" y="740"/>
                  <a:pt x="4407" y="740"/>
                </a:cubicBezTo>
                <a:close/>
                <a:moveTo>
                  <a:pt x="4398" y="742"/>
                </a:moveTo>
                <a:cubicBezTo>
                  <a:pt x="4397" y="742"/>
                  <a:pt x="4396" y="742"/>
                  <a:pt x="4396" y="741"/>
                </a:cubicBezTo>
                <a:lnTo>
                  <a:pt x="4397" y="740"/>
                </a:lnTo>
                <a:cubicBezTo>
                  <a:pt x="4397" y="738"/>
                  <a:pt x="4398" y="737"/>
                  <a:pt x="4399" y="737"/>
                </a:cubicBezTo>
                <a:cubicBezTo>
                  <a:pt x="4399" y="737"/>
                  <a:pt x="4400" y="738"/>
                  <a:pt x="4400" y="740"/>
                </a:cubicBezTo>
                <a:cubicBezTo>
                  <a:pt x="4400" y="741"/>
                  <a:pt x="4399" y="742"/>
                  <a:pt x="4398" y="742"/>
                </a:cubicBezTo>
                <a:close/>
                <a:moveTo>
                  <a:pt x="4390" y="744"/>
                </a:moveTo>
                <a:lnTo>
                  <a:pt x="4387" y="744"/>
                </a:lnTo>
                <a:cubicBezTo>
                  <a:pt x="4387" y="743"/>
                  <a:pt x="4388" y="742"/>
                  <a:pt x="4390" y="741"/>
                </a:cubicBezTo>
                <a:lnTo>
                  <a:pt x="4392" y="741"/>
                </a:lnTo>
                <a:cubicBezTo>
                  <a:pt x="4393" y="741"/>
                  <a:pt x="4394" y="741"/>
                  <a:pt x="4394" y="742"/>
                </a:cubicBezTo>
                <a:cubicBezTo>
                  <a:pt x="4394" y="744"/>
                  <a:pt x="4392" y="744"/>
                  <a:pt x="4390" y="744"/>
                </a:cubicBezTo>
                <a:close/>
                <a:moveTo>
                  <a:pt x="4349" y="769"/>
                </a:moveTo>
                <a:cubicBezTo>
                  <a:pt x="4346" y="769"/>
                  <a:pt x="4345" y="769"/>
                  <a:pt x="4345" y="768"/>
                </a:cubicBezTo>
                <a:lnTo>
                  <a:pt x="4346" y="768"/>
                </a:lnTo>
                <a:lnTo>
                  <a:pt x="4350" y="767"/>
                </a:lnTo>
                <a:cubicBezTo>
                  <a:pt x="4352" y="767"/>
                  <a:pt x="4353" y="768"/>
                  <a:pt x="4353" y="768"/>
                </a:cubicBezTo>
                <a:cubicBezTo>
                  <a:pt x="4353" y="769"/>
                  <a:pt x="4352" y="769"/>
                  <a:pt x="4349" y="769"/>
                </a:cubicBezTo>
                <a:close/>
                <a:moveTo>
                  <a:pt x="4359" y="751"/>
                </a:moveTo>
                <a:cubicBezTo>
                  <a:pt x="4358" y="751"/>
                  <a:pt x="4357" y="750"/>
                  <a:pt x="4357" y="750"/>
                </a:cubicBezTo>
                <a:lnTo>
                  <a:pt x="4358" y="750"/>
                </a:lnTo>
                <a:lnTo>
                  <a:pt x="4360" y="749"/>
                </a:lnTo>
                <a:cubicBezTo>
                  <a:pt x="4362" y="749"/>
                  <a:pt x="4363" y="750"/>
                  <a:pt x="4363" y="750"/>
                </a:cubicBezTo>
                <a:cubicBezTo>
                  <a:pt x="4363" y="751"/>
                  <a:pt x="4362" y="751"/>
                  <a:pt x="4359" y="751"/>
                </a:cubicBezTo>
                <a:close/>
                <a:moveTo>
                  <a:pt x="4343" y="746"/>
                </a:moveTo>
                <a:cubicBezTo>
                  <a:pt x="4341" y="746"/>
                  <a:pt x="4340" y="746"/>
                  <a:pt x="4340" y="746"/>
                </a:cubicBezTo>
                <a:cubicBezTo>
                  <a:pt x="4340" y="745"/>
                  <a:pt x="4341" y="745"/>
                  <a:pt x="4344" y="745"/>
                </a:cubicBezTo>
                <a:lnTo>
                  <a:pt x="4346" y="745"/>
                </a:lnTo>
                <a:cubicBezTo>
                  <a:pt x="4346" y="745"/>
                  <a:pt x="4347" y="745"/>
                  <a:pt x="4347" y="746"/>
                </a:cubicBezTo>
                <a:cubicBezTo>
                  <a:pt x="4347" y="746"/>
                  <a:pt x="4345" y="746"/>
                  <a:pt x="4343" y="746"/>
                </a:cubicBezTo>
                <a:close/>
                <a:moveTo>
                  <a:pt x="4589" y="674"/>
                </a:moveTo>
                <a:close/>
                <a:moveTo>
                  <a:pt x="4414" y="737"/>
                </a:moveTo>
                <a:lnTo>
                  <a:pt x="4414" y="737"/>
                </a:lnTo>
                <a:cubicBezTo>
                  <a:pt x="4413" y="737"/>
                  <a:pt x="4412" y="736"/>
                  <a:pt x="4411" y="734"/>
                </a:cubicBezTo>
                <a:cubicBezTo>
                  <a:pt x="4410" y="732"/>
                  <a:pt x="4409" y="732"/>
                  <a:pt x="4409" y="731"/>
                </a:cubicBezTo>
                <a:cubicBezTo>
                  <a:pt x="4409" y="731"/>
                  <a:pt x="4409" y="730"/>
                  <a:pt x="4410" y="730"/>
                </a:cubicBezTo>
                <a:cubicBezTo>
                  <a:pt x="4412" y="730"/>
                  <a:pt x="4413" y="731"/>
                  <a:pt x="4414" y="732"/>
                </a:cubicBezTo>
                <a:cubicBezTo>
                  <a:pt x="4414" y="733"/>
                  <a:pt x="4415" y="735"/>
                  <a:pt x="4415" y="736"/>
                </a:cubicBezTo>
                <a:lnTo>
                  <a:pt x="4414" y="737"/>
                </a:lnTo>
                <a:close/>
                <a:moveTo>
                  <a:pt x="4724" y="633"/>
                </a:moveTo>
                <a:lnTo>
                  <a:pt x="4724" y="609"/>
                </a:lnTo>
                <a:cubicBezTo>
                  <a:pt x="4724" y="609"/>
                  <a:pt x="4725" y="613"/>
                  <a:pt x="4725" y="621"/>
                </a:cubicBezTo>
                <a:lnTo>
                  <a:pt x="4724" y="631"/>
                </a:lnTo>
                <a:cubicBezTo>
                  <a:pt x="4724" y="632"/>
                  <a:pt x="4724" y="633"/>
                  <a:pt x="4724" y="633"/>
                </a:cubicBezTo>
                <a:close/>
                <a:moveTo>
                  <a:pt x="4732" y="676"/>
                </a:moveTo>
                <a:cubicBezTo>
                  <a:pt x="4732" y="676"/>
                  <a:pt x="4731" y="675"/>
                  <a:pt x="4731" y="674"/>
                </a:cubicBezTo>
                <a:lnTo>
                  <a:pt x="4730" y="671"/>
                </a:lnTo>
                <a:cubicBezTo>
                  <a:pt x="4730" y="671"/>
                  <a:pt x="4730" y="670"/>
                  <a:pt x="4731" y="670"/>
                </a:cubicBezTo>
                <a:cubicBezTo>
                  <a:pt x="4731" y="670"/>
                  <a:pt x="4731" y="671"/>
                  <a:pt x="4732" y="671"/>
                </a:cubicBezTo>
                <a:cubicBezTo>
                  <a:pt x="4733" y="672"/>
                  <a:pt x="4733" y="674"/>
                  <a:pt x="4733" y="675"/>
                </a:cubicBezTo>
                <a:cubicBezTo>
                  <a:pt x="4733" y="676"/>
                  <a:pt x="4733" y="676"/>
                  <a:pt x="4732" y="676"/>
                </a:cubicBezTo>
                <a:close/>
                <a:moveTo>
                  <a:pt x="4726" y="654"/>
                </a:moveTo>
                <a:cubicBezTo>
                  <a:pt x="4726" y="654"/>
                  <a:pt x="4725" y="653"/>
                  <a:pt x="4725" y="651"/>
                </a:cubicBezTo>
                <a:cubicBezTo>
                  <a:pt x="4725" y="649"/>
                  <a:pt x="4726" y="648"/>
                  <a:pt x="4726" y="648"/>
                </a:cubicBezTo>
                <a:cubicBezTo>
                  <a:pt x="4727" y="648"/>
                  <a:pt x="4727" y="649"/>
                  <a:pt x="4727" y="651"/>
                </a:cubicBezTo>
                <a:lnTo>
                  <a:pt x="4727" y="654"/>
                </a:lnTo>
                <a:lnTo>
                  <a:pt x="4726" y="654"/>
                </a:lnTo>
                <a:close/>
                <a:moveTo>
                  <a:pt x="4841" y="485"/>
                </a:moveTo>
                <a:lnTo>
                  <a:pt x="4840" y="485"/>
                </a:lnTo>
                <a:cubicBezTo>
                  <a:pt x="4840" y="484"/>
                  <a:pt x="4841" y="483"/>
                  <a:pt x="4844" y="482"/>
                </a:cubicBezTo>
                <a:cubicBezTo>
                  <a:pt x="4846" y="480"/>
                  <a:pt x="4848" y="480"/>
                  <a:pt x="4848" y="480"/>
                </a:cubicBezTo>
                <a:lnTo>
                  <a:pt x="4849" y="480"/>
                </a:lnTo>
                <a:cubicBezTo>
                  <a:pt x="4849" y="481"/>
                  <a:pt x="4848" y="482"/>
                  <a:pt x="4845" y="483"/>
                </a:cubicBezTo>
                <a:cubicBezTo>
                  <a:pt x="4843" y="484"/>
                  <a:pt x="4841" y="485"/>
                  <a:pt x="4841" y="485"/>
                </a:cubicBezTo>
                <a:close/>
                <a:moveTo>
                  <a:pt x="4819" y="497"/>
                </a:moveTo>
                <a:lnTo>
                  <a:pt x="4819" y="497"/>
                </a:lnTo>
                <a:lnTo>
                  <a:pt x="4819" y="497"/>
                </a:lnTo>
                <a:cubicBezTo>
                  <a:pt x="4820" y="496"/>
                  <a:pt x="4821" y="495"/>
                  <a:pt x="4824" y="493"/>
                </a:cubicBezTo>
                <a:cubicBezTo>
                  <a:pt x="4827" y="492"/>
                  <a:pt x="4830" y="490"/>
                  <a:pt x="4833" y="489"/>
                </a:cubicBezTo>
                <a:cubicBezTo>
                  <a:pt x="4836" y="487"/>
                  <a:pt x="4837" y="487"/>
                  <a:pt x="4838" y="487"/>
                </a:cubicBezTo>
                <a:cubicBezTo>
                  <a:pt x="4838" y="487"/>
                  <a:pt x="4835" y="489"/>
                  <a:pt x="4830" y="492"/>
                </a:cubicBezTo>
                <a:cubicBezTo>
                  <a:pt x="4824" y="495"/>
                  <a:pt x="4821" y="497"/>
                  <a:pt x="4819" y="497"/>
                </a:cubicBezTo>
                <a:close/>
                <a:moveTo>
                  <a:pt x="4880" y="456"/>
                </a:moveTo>
                <a:cubicBezTo>
                  <a:pt x="4880" y="456"/>
                  <a:pt x="4881" y="454"/>
                  <a:pt x="4883" y="451"/>
                </a:cubicBezTo>
                <a:cubicBezTo>
                  <a:pt x="4886" y="448"/>
                  <a:pt x="4887" y="447"/>
                  <a:pt x="4888" y="447"/>
                </a:cubicBezTo>
                <a:cubicBezTo>
                  <a:pt x="4888" y="447"/>
                  <a:pt x="4887" y="449"/>
                  <a:pt x="4885" y="451"/>
                </a:cubicBezTo>
                <a:cubicBezTo>
                  <a:pt x="4882" y="455"/>
                  <a:pt x="4880" y="456"/>
                  <a:pt x="4880" y="456"/>
                </a:cubicBezTo>
                <a:close/>
                <a:moveTo>
                  <a:pt x="4895" y="442"/>
                </a:moveTo>
                <a:cubicBezTo>
                  <a:pt x="4895" y="441"/>
                  <a:pt x="4897" y="438"/>
                  <a:pt x="4901" y="433"/>
                </a:cubicBezTo>
                <a:cubicBezTo>
                  <a:pt x="4905" y="429"/>
                  <a:pt x="4908" y="426"/>
                  <a:pt x="4910" y="426"/>
                </a:cubicBezTo>
                <a:cubicBezTo>
                  <a:pt x="4910" y="426"/>
                  <a:pt x="4908" y="429"/>
                  <a:pt x="4903" y="434"/>
                </a:cubicBezTo>
                <a:lnTo>
                  <a:pt x="4895" y="442"/>
                </a:lnTo>
                <a:close/>
                <a:moveTo>
                  <a:pt x="4835" y="397"/>
                </a:moveTo>
                <a:lnTo>
                  <a:pt x="4835" y="393"/>
                </a:lnTo>
                <a:cubicBezTo>
                  <a:pt x="4836" y="391"/>
                  <a:pt x="4838" y="389"/>
                  <a:pt x="4838" y="389"/>
                </a:cubicBezTo>
                <a:cubicBezTo>
                  <a:pt x="4839" y="389"/>
                  <a:pt x="4839" y="390"/>
                  <a:pt x="4839" y="390"/>
                </a:cubicBezTo>
                <a:cubicBezTo>
                  <a:pt x="4839" y="391"/>
                  <a:pt x="4839" y="392"/>
                  <a:pt x="4838" y="393"/>
                </a:cubicBezTo>
                <a:cubicBezTo>
                  <a:pt x="4836" y="395"/>
                  <a:pt x="4835" y="397"/>
                  <a:pt x="4835" y="397"/>
                </a:cubicBezTo>
                <a:close/>
                <a:moveTo>
                  <a:pt x="4913" y="424"/>
                </a:moveTo>
                <a:lnTo>
                  <a:pt x="4912" y="423"/>
                </a:lnTo>
                <a:cubicBezTo>
                  <a:pt x="4912" y="423"/>
                  <a:pt x="4913" y="421"/>
                  <a:pt x="4916" y="419"/>
                </a:cubicBezTo>
                <a:cubicBezTo>
                  <a:pt x="4918" y="416"/>
                  <a:pt x="4920" y="415"/>
                  <a:pt x="4920" y="415"/>
                </a:cubicBezTo>
                <a:cubicBezTo>
                  <a:pt x="4920" y="415"/>
                  <a:pt x="4919" y="417"/>
                  <a:pt x="4917" y="419"/>
                </a:cubicBezTo>
                <a:cubicBezTo>
                  <a:pt x="4914" y="422"/>
                  <a:pt x="4913" y="424"/>
                  <a:pt x="4913" y="424"/>
                </a:cubicBezTo>
                <a:close/>
                <a:moveTo>
                  <a:pt x="5050" y="128"/>
                </a:moveTo>
                <a:cubicBezTo>
                  <a:pt x="5049" y="128"/>
                  <a:pt x="5048" y="127"/>
                  <a:pt x="5045" y="124"/>
                </a:cubicBezTo>
                <a:cubicBezTo>
                  <a:pt x="5041" y="120"/>
                  <a:pt x="5035" y="118"/>
                  <a:pt x="5027" y="118"/>
                </a:cubicBezTo>
                <a:cubicBezTo>
                  <a:pt x="5022" y="118"/>
                  <a:pt x="5017" y="119"/>
                  <a:pt x="5012" y="120"/>
                </a:cubicBezTo>
                <a:cubicBezTo>
                  <a:pt x="5006" y="122"/>
                  <a:pt x="5002" y="122"/>
                  <a:pt x="5000" y="122"/>
                </a:cubicBezTo>
                <a:lnTo>
                  <a:pt x="4999" y="122"/>
                </a:lnTo>
                <a:cubicBezTo>
                  <a:pt x="4999" y="122"/>
                  <a:pt x="5002" y="120"/>
                  <a:pt x="5009" y="118"/>
                </a:cubicBezTo>
                <a:cubicBezTo>
                  <a:pt x="5016" y="116"/>
                  <a:pt x="5022" y="115"/>
                  <a:pt x="5027" y="115"/>
                </a:cubicBezTo>
                <a:cubicBezTo>
                  <a:pt x="5039" y="115"/>
                  <a:pt x="5046" y="119"/>
                  <a:pt x="5049" y="125"/>
                </a:cubicBezTo>
                <a:lnTo>
                  <a:pt x="5051" y="127"/>
                </a:lnTo>
                <a:cubicBezTo>
                  <a:pt x="5051" y="128"/>
                  <a:pt x="5050" y="128"/>
                  <a:pt x="5050" y="128"/>
                </a:cubicBezTo>
                <a:close/>
                <a:moveTo>
                  <a:pt x="5005" y="360"/>
                </a:moveTo>
                <a:cubicBezTo>
                  <a:pt x="5004" y="360"/>
                  <a:pt x="5004" y="359"/>
                  <a:pt x="5004" y="359"/>
                </a:cubicBezTo>
                <a:lnTo>
                  <a:pt x="5004" y="357"/>
                </a:lnTo>
                <a:cubicBezTo>
                  <a:pt x="5006" y="356"/>
                  <a:pt x="5007" y="355"/>
                  <a:pt x="5008" y="355"/>
                </a:cubicBezTo>
                <a:cubicBezTo>
                  <a:pt x="5009" y="355"/>
                  <a:pt x="5009" y="355"/>
                  <a:pt x="5009" y="357"/>
                </a:cubicBezTo>
                <a:cubicBezTo>
                  <a:pt x="5009" y="357"/>
                  <a:pt x="5009" y="357"/>
                  <a:pt x="5008" y="358"/>
                </a:cubicBezTo>
                <a:cubicBezTo>
                  <a:pt x="5008" y="359"/>
                  <a:pt x="5007" y="360"/>
                  <a:pt x="5005" y="360"/>
                </a:cubicBezTo>
                <a:close/>
                <a:moveTo>
                  <a:pt x="5009" y="353"/>
                </a:moveTo>
                <a:cubicBezTo>
                  <a:pt x="5009" y="353"/>
                  <a:pt x="5008" y="353"/>
                  <a:pt x="5008" y="352"/>
                </a:cubicBezTo>
                <a:cubicBezTo>
                  <a:pt x="5008" y="352"/>
                  <a:pt x="5009" y="351"/>
                  <a:pt x="5009" y="350"/>
                </a:cubicBezTo>
                <a:cubicBezTo>
                  <a:pt x="5009" y="349"/>
                  <a:pt x="5011" y="348"/>
                  <a:pt x="5012" y="348"/>
                </a:cubicBezTo>
                <a:cubicBezTo>
                  <a:pt x="5013" y="348"/>
                  <a:pt x="5013" y="349"/>
                  <a:pt x="5013" y="350"/>
                </a:cubicBezTo>
                <a:lnTo>
                  <a:pt x="5013" y="350"/>
                </a:lnTo>
                <a:cubicBezTo>
                  <a:pt x="5012" y="352"/>
                  <a:pt x="5011" y="353"/>
                  <a:pt x="5009" y="353"/>
                </a:cubicBezTo>
                <a:close/>
                <a:moveTo>
                  <a:pt x="4868" y="772"/>
                </a:moveTo>
                <a:cubicBezTo>
                  <a:pt x="4854" y="772"/>
                  <a:pt x="4842" y="771"/>
                  <a:pt x="4832" y="767"/>
                </a:cubicBezTo>
                <a:cubicBezTo>
                  <a:pt x="4819" y="764"/>
                  <a:pt x="4812" y="762"/>
                  <a:pt x="4812" y="762"/>
                </a:cubicBezTo>
                <a:cubicBezTo>
                  <a:pt x="4812" y="762"/>
                  <a:pt x="4811" y="762"/>
                  <a:pt x="4811" y="762"/>
                </a:cubicBezTo>
                <a:cubicBezTo>
                  <a:pt x="4810" y="761"/>
                  <a:pt x="4809" y="761"/>
                  <a:pt x="4809" y="760"/>
                </a:cubicBezTo>
                <a:cubicBezTo>
                  <a:pt x="4809" y="759"/>
                  <a:pt x="4809" y="759"/>
                  <a:pt x="4807" y="759"/>
                </a:cubicBezTo>
                <a:cubicBezTo>
                  <a:pt x="4803" y="759"/>
                  <a:pt x="4798" y="756"/>
                  <a:pt x="4790" y="751"/>
                </a:cubicBezTo>
                <a:cubicBezTo>
                  <a:pt x="4782" y="746"/>
                  <a:pt x="4776" y="740"/>
                  <a:pt x="4770" y="734"/>
                </a:cubicBezTo>
                <a:cubicBezTo>
                  <a:pt x="4748" y="706"/>
                  <a:pt x="4738" y="677"/>
                  <a:pt x="4738" y="649"/>
                </a:cubicBezTo>
                <a:cubicBezTo>
                  <a:pt x="4738" y="637"/>
                  <a:pt x="4737" y="632"/>
                  <a:pt x="4736" y="631"/>
                </a:cubicBezTo>
                <a:lnTo>
                  <a:pt x="4736" y="631"/>
                </a:lnTo>
                <a:cubicBezTo>
                  <a:pt x="4736" y="631"/>
                  <a:pt x="4735" y="630"/>
                  <a:pt x="4735" y="627"/>
                </a:cubicBezTo>
                <a:cubicBezTo>
                  <a:pt x="4735" y="623"/>
                  <a:pt x="4736" y="615"/>
                  <a:pt x="4738" y="604"/>
                </a:cubicBezTo>
                <a:cubicBezTo>
                  <a:pt x="4739" y="593"/>
                  <a:pt x="4741" y="583"/>
                  <a:pt x="4743" y="573"/>
                </a:cubicBezTo>
                <a:cubicBezTo>
                  <a:pt x="4745" y="563"/>
                  <a:pt x="4747" y="556"/>
                  <a:pt x="4749" y="553"/>
                </a:cubicBezTo>
                <a:lnTo>
                  <a:pt x="4750" y="551"/>
                </a:lnTo>
                <a:cubicBezTo>
                  <a:pt x="4751" y="551"/>
                  <a:pt x="4751" y="551"/>
                  <a:pt x="4751" y="552"/>
                </a:cubicBezTo>
                <a:lnTo>
                  <a:pt x="4750" y="557"/>
                </a:lnTo>
                <a:cubicBezTo>
                  <a:pt x="4751" y="557"/>
                  <a:pt x="4751" y="555"/>
                  <a:pt x="4753" y="552"/>
                </a:cubicBezTo>
                <a:cubicBezTo>
                  <a:pt x="4759" y="532"/>
                  <a:pt x="4762" y="519"/>
                  <a:pt x="4762" y="513"/>
                </a:cubicBezTo>
                <a:cubicBezTo>
                  <a:pt x="4762" y="511"/>
                  <a:pt x="4762" y="509"/>
                  <a:pt x="4760" y="509"/>
                </a:cubicBezTo>
                <a:cubicBezTo>
                  <a:pt x="4759" y="509"/>
                  <a:pt x="4759" y="509"/>
                  <a:pt x="4758" y="510"/>
                </a:cubicBezTo>
                <a:cubicBezTo>
                  <a:pt x="4757" y="510"/>
                  <a:pt x="4756" y="508"/>
                  <a:pt x="4756" y="505"/>
                </a:cubicBezTo>
                <a:cubicBezTo>
                  <a:pt x="4756" y="504"/>
                  <a:pt x="4756" y="503"/>
                  <a:pt x="4757" y="503"/>
                </a:cubicBezTo>
                <a:cubicBezTo>
                  <a:pt x="4757" y="502"/>
                  <a:pt x="4758" y="502"/>
                  <a:pt x="4758" y="501"/>
                </a:cubicBezTo>
                <a:lnTo>
                  <a:pt x="4759" y="501"/>
                </a:lnTo>
                <a:cubicBezTo>
                  <a:pt x="4759" y="501"/>
                  <a:pt x="4760" y="500"/>
                  <a:pt x="4760" y="499"/>
                </a:cubicBezTo>
                <a:cubicBezTo>
                  <a:pt x="4760" y="498"/>
                  <a:pt x="4760" y="497"/>
                  <a:pt x="4760" y="497"/>
                </a:cubicBezTo>
                <a:cubicBezTo>
                  <a:pt x="4761" y="496"/>
                  <a:pt x="4761" y="495"/>
                  <a:pt x="4763" y="493"/>
                </a:cubicBezTo>
                <a:cubicBezTo>
                  <a:pt x="4763" y="493"/>
                  <a:pt x="4764" y="495"/>
                  <a:pt x="4764" y="498"/>
                </a:cubicBezTo>
                <a:cubicBezTo>
                  <a:pt x="4764" y="501"/>
                  <a:pt x="4764" y="503"/>
                  <a:pt x="4766" y="503"/>
                </a:cubicBezTo>
                <a:cubicBezTo>
                  <a:pt x="4767" y="503"/>
                  <a:pt x="4768" y="502"/>
                  <a:pt x="4769" y="500"/>
                </a:cubicBezTo>
                <a:lnTo>
                  <a:pt x="4770" y="498"/>
                </a:lnTo>
                <a:cubicBezTo>
                  <a:pt x="4770" y="496"/>
                  <a:pt x="4769" y="495"/>
                  <a:pt x="4767" y="493"/>
                </a:cubicBezTo>
                <a:cubicBezTo>
                  <a:pt x="4765" y="491"/>
                  <a:pt x="4764" y="490"/>
                  <a:pt x="4764" y="487"/>
                </a:cubicBezTo>
                <a:cubicBezTo>
                  <a:pt x="4764" y="487"/>
                  <a:pt x="4764" y="485"/>
                  <a:pt x="4765" y="485"/>
                </a:cubicBezTo>
                <a:cubicBezTo>
                  <a:pt x="4765" y="484"/>
                  <a:pt x="4766" y="483"/>
                  <a:pt x="4767" y="483"/>
                </a:cubicBezTo>
                <a:cubicBezTo>
                  <a:pt x="4768" y="483"/>
                  <a:pt x="4769" y="483"/>
                  <a:pt x="4770" y="482"/>
                </a:cubicBezTo>
                <a:cubicBezTo>
                  <a:pt x="4771" y="482"/>
                  <a:pt x="4771" y="482"/>
                  <a:pt x="4771" y="481"/>
                </a:cubicBezTo>
                <a:cubicBezTo>
                  <a:pt x="4771" y="480"/>
                  <a:pt x="4770" y="479"/>
                  <a:pt x="4769" y="479"/>
                </a:cubicBezTo>
                <a:cubicBezTo>
                  <a:pt x="4768" y="479"/>
                  <a:pt x="4767" y="478"/>
                  <a:pt x="4767" y="477"/>
                </a:cubicBezTo>
                <a:cubicBezTo>
                  <a:pt x="4767" y="475"/>
                  <a:pt x="4768" y="472"/>
                  <a:pt x="4770" y="468"/>
                </a:cubicBezTo>
                <a:lnTo>
                  <a:pt x="4772" y="463"/>
                </a:lnTo>
                <a:cubicBezTo>
                  <a:pt x="4771" y="463"/>
                  <a:pt x="4771" y="463"/>
                  <a:pt x="4771" y="462"/>
                </a:cubicBezTo>
                <a:cubicBezTo>
                  <a:pt x="4771" y="462"/>
                  <a:pt x="4772" y="461"/>
                  <a:pt x="4774" y="459"/>
                </a:cubicBezTo>
                <a:cubicBezTo>
                  <a:pt x="4775" y="457"/>
                  <a:pt x="4776" y="455"/>
                  <a:pt x="4776" y="452"/>
                </a:cubicBezTo>
                <a:lnTo>
                  <a:pt x="4776" y="450"/>
                </a:lnTo>
                <a:cubicBezTo>
                  <a:pt x="4776" y="448"/>
                  <a:pt x="4777" y="447"/>
                  <a:pt x="4779" y="446"/>
                </a:cubicBezTo>
                <a:cubicBezTo>
                  <a:pt x="4781" y="445"/>
                  <a:pt x="4781" y="445"/>
                  <a:pt x="4781" y="444"/>
                </a:cubicBezTo>
                <a:cubicBezTo>
                  <a:pt x="4781" y="444"/>
                  <a:pt x="4781" y="443"/>
                  <a:pt x="4779" y="442"/>
                </a:cubicBezTo>
                <a:cubicBezTo>
                  <a:pt x="4778" y="441"/>
                  <a:pt x="4778" y="441"/>
                  <a:pt x="4778" y="441"/>
                </a:cubicBezTo>
                <a:cubicBezTo>
                  <a:pt x="4778" y="440"/>
                  <a:pt x="4778" y="440"/>
                  <a:pt x="4779" y="440"/>
                </a:cubicBezTo>
                <a:cubicBezTo>
                  <a:pt x="4780" y="440"/>
                  <a:pt x="4781" y="439"/>
                  <a:pt x="4781" y="438"/>
                </a:cubicBezTo>
                <a:lnTo>
                  <a:pt x="4780" y="436"/>
                </a:lnTo>
                <a:cubicBezTo>
                  <a:pt x="4780" y="436"/>
                  <a:pt x="4780" y="436"/>
                  <a:pt x="4780" y="436"/>
                </a:cubicBezTo>
                <a:lnTo>
                  <a:pt x="4782" y="437"/>
                </a:lnTo>
                <a:cubicBezTo>
                  <a:pt x="4783" y="438"/>
                  <a:pt x="4784" y="439"/>
                  <a:pt x="4784" y="441"/>
                </a:cubicBezTo>
                <a:cubicBezTo>
                  <a:pt x="4784" y="445"/>
                  <a:pt x="4782" y="451"/>
                  <a:pt x="4778" y="459"/>
                </a:cubicBezTo>
                <a:cubicBezTo>
                  <a:pt x="4774" y="465"/>
                  <a:pt x="4773" y="470"/>
                  <a:pt x="4773" y="471"/>
                </a:cubicBezTo>
                <a:cubicBezTo>
                  <a:pt x="4773" y="472"/>
                  <a:pt x="4773" y="472"/>
                  <a:pt x="4773" y="472"/>
                </a:cubicBezTo>
                <a:cubicBezTo>
                  <a:pt x="4775" y="471"/>
                  <a:pt x="4777" y="469"/>
                  <a:pt x="4779" y="464"/>
                </a:cubicBezTo>
                <a:cubicBezTo>
                  <a:pt x="4781" y="460"/>
                  <a:pt x="4782" y="456"/>
                  <a:pt x="4783" y="451"/>
                </a:cubicBezTo>
                <a:cubicBezTo>
                  <a:pt x="4784" y="446"/>
                  <a:pt x="4785" y="442"/>
                  <a:pt x="4785" y="439"/>
                </a:cubicBezTo>
                <a:cubicBezTo>
                  <a:pt x="4785" y="438"/>
                  <a:pt x="4785" y="437"/>
                  <a:pt x="4785" y="436"/>
                </a:cubicBezTo>
                <a:cubicBezTo>
                  <a:pt x="4783" y="433"/>
                  <a:pt x="4782" y="432"/>
                  <a:pt x="4782" y="431"/>
                </a:cubicBezTo>
                <a:lnTo>
                  <a:pt x="4784" y="432"/>
                </a:lnTo>
                <a:cubicBezTo>
                  <a:pt x="4786" y="432"/>
                  <a:pt x="4787" y="430"/>
                  <a:pt x="4787" y="426"/>
                </a:cubicBezTo>
                <a:cubicBezTo>
                  <a:pt x="4787" y="425"/>
                  <a:pt x="4787" y="424"/>
                  <a:pt x="4787" y="424"/>
                </a:cubicBezTo>
                <a:cubicBezTo>
                  <a:pt x="4786" y="423"/>
                  <a:pt x="4786" y="423"/>
                  <a:pt x="4786" y="422"/>
                </a:cubicBezTo>
                <a:lnTo>
                  <a:pt x="4789" y="423"/>
                </a:lnTo>
                <a:cubicBezTo>
                  <a:pt x="4790" y="423"/>
                  <a:pt x="4790" y="423"/>
                  <a:pt x="4790" y="422"/>
                </a:cubicBezTo>
                <a:lnTo>
                  <a:pt x="4789" y="416"/>
                </a:lnTo>
                <a:cubicBezTo>
                  <a:pt x="4789" y="415"/>
                  <a:pt x="4789" y="415"/>
                  <a:pt x="4789" y="415"/>
                </a:cubicBezTo>
                <a:lnTo>
                  <a:pt x="4792" y="419"/>
                </a:lnTo>
                <a:cubicBezTo>
                  <a:pt x="4792" y="419"/>
                  <a:pt x="4792" y="419"/>
                  <a:pt x="4792" y="418"/>
                </a:cubicBezTo>
                <a:lnTo>
                  <a:pt x="4791" y="413"/>
                </a:lnTo>
                <a:cubicBezTo>
                  <a:pt x="4791" y="412"/>
                  <a:pt x="4792" y="411"/>
                  <a:pt x="4792" y="411"/>
                </a:cubicBezTo>
                <a:lnTo>
                  <a:pt x="4793" y="411"/>
                </a:lnTo>
                <a:cubicBezTo>
                  <a:pt x="4794" y="411"/>
                  <a:pt x="4795" y="410"/>
                  <a:pt x="4796" y="408"/>
                </a:cubicBezTo>
                <a:cubicBezTo>
                  <a:pt x="4798" y="406"/>
                  <a:pt x="4798" y="404"/>
                  <a:pt x="4798" y="402"/>
                </a:cubicBezTo>
                <a:cubicBezTo>
                  <a:pt x="4798" y="401"/>
                  <a:pt x="4798" y="400"/>
                  <a:pt x="4798" y="399"/>
                </a:cubicBezTo>
                <a:cubicBezTo>
                  <a:pt x="4798" y="398"/>
                  <a:pt x="4797" y="398"/>
                  <a:pt x="4797" y="397"/>
                </a:cubicBezTo>
                <a:lnTo>
                  <a:pt x="4799" y="397"/>
                </a:lnTo>
                <a:cubicBezTo>
                  <a:pt x="4801" y="397"/>
                  <a:pt x="4802" y="396"/>
                  <a:pt x="4803" y="394"/>
                </a:cubicBezTo>
                <a:cubicBezTo>
                  <a:pt x="4805" y="392"/>
                  <a:pt x="4805" y="390"/>
                  <a:pt x="4805" y="389"/>
                </a:cubicBezTo>
                <a:cubicBezTo>
                  <a:pt x="4805" y="388"/>
                  <a:pt x="4805" y="388"/>
                  <a:pt x="4805" y="388"/>
                </a:cubicBezTo>
                <a:cubicBezTo>
                  <a:pt x="4804" y="388"/>
                  <a:pt x="4804" y="389"/>
                  <a:pt x="4803" y="390"/>
                </a:cubicBezTo>
                <a:cubicBezTo>
                  <a:pt x="4801" y="392"/>
                  <a:pt x="4800" y="393"/>
                  <a:pt x="4800" y="393"/>
                </a:cubicBezTo>
                <a:lnTo>
                  <a:pt x="4802" y="387"/>
                </a:lnTo>
                <a:cubicBezTo>
                  <a:pt x="4805" y="381"/>
                  <a:pt x="4807" y="378"/>
                  <a:pt x="4808" y="378"/>
                </a:cubicBezTo>
                <a:lnTo>
                  <a:pt x="4806" y="384"/>
                </a:lnTo>
                <a:cubicBezTo>
                  <a:pt x="4806" y="384"/>
                  <a:pt x="4806" y="385"/>
                  <a:pt x="4807" y="385"/>
                </a:cubicBezTo>
                <a:cubicBezTo>
                  <a:pt x="4807" y="385"/>
                  <a:pt x="4808" y="383"/>
                  <a:pt x="4810" y="380"/>
                </a:cubicBezTo>
                <a:lnTo>
                  <a:pt x="4811" y="376"/>
                </a:lnTo>
                <a:cubicBezTo>
                  <a:pt x="4811" y="376"/>
                  <a:pt x="4810" y="377"/>
                  <a:pt x="4810" y="377"/>
                </a:cubicBezTo>
                <a:cubicBezTo>
                  <a:pt x="4809" y="377"/>
                  <a:pt x="4809" y="378"/>
                  <a:pt x="4808" y="378"/>
                </a:cubicBezTo>
                <a:lnTo>
                  <a:pt x="4808" y="377"/>
                </a:lnTo>
                <a:cubicBezTo>
                  <a:pt x="4808" y="376"/>
                  <a:pt x="4809" y="374"/>
                  <a:pt x="4810" y="370"/>
                </a:cubicBezTo>
                <a:cubicBezTo>
                  <a:pt x="4811" y="367"/>
                  <a:pt x="4813" y="366"/>
                  <a:pt x="4813" y="366"/>
                </a:cubicBezTo>
                <a:cubicBezTo>
                  <a:pt x="4814" y="366"/>
                  <a:pt x="4814" y="366"/>
                  <a:pt x="4815" y="367"/>
                </a:cubicBezTo>
                <a:cubicBezTo>
                  <a:pt x="4815" y="367"/>
                  <a:pt x="4815" y="368"/>
                  <a:pt x="4816" y="368"/>
                </a:cubicBezTo>
                <a:cubicBezTo>
                  <a:pt x="4816" y="368"/>
                  <a:pt x="4816" y="367"/>
                  <a:pt x="4817" y="366"/>
                </a:cubicBezTo>
                <a:cubicBezTo>
                  <a:pt x="4818" y="365"/>
                  <a:pt x="4818" y="364"/>
                  <a:pt x="4818" y="364"/>
                </a:cubicBezTo>
                <a:cubicBezTo>
                  <a:pt x="4818" y="363"/>
                  <a:pt x="4818" y="363"/>
                  <a:pt x="4817" y="363"/>
                </a:cubicBezTo>
                <a:lnTo>
                  <a:pt x="4816" y="364"/>
                </a:lnTo>
                <a:cubicBezTo>
                  <a:pt x="4815" y="364"/>
                  <a:pt x="4815" y="363"/>
                  <a:pt x="4815" y="363"/>
                </a:cubicBezTo>
                <a:cubicBezTo>
                  <a:pt x="4815" y="362"/>
                  <a:pt x="4815" y="361"/>
                  <a:pt x="4816" y="360"/>
                </a:cubicBezTo>
                <a:cubicBezTo>
                  <a:pt x="4817" y="359"/>
                  <a:pt x="4818" y="359"/>
                  <a:pt x="4819" y="359"/>
                </a:cubicBezTo>
                <a:cubicBezTo>
                  <a:pt x="4820" y="359"/>
                  <a:pt x="4820" y="358"/>
                  <a:pt x="4821" y="357"/>
                </a:cubicBezTo>
                <a:cubicBezTo>
                  <a:pt x="4823" y="355"/>
                  <a:pt x="4825" y="353"/>
                  <a:pt x="4825" y="351"/>
                </a:cubicBezTo>
                <a:cubicBezTo>
                  <a:pt x="4825" y="351"/>
                  <a:pt x="4824" y="351"/>
                  <a:pt x="4824" y="351"/>
                </a:cubicBezTo>
                <a:cubicBezTo>
                  <a:pt x="4824" y="351"/>
                  <a:pt x="4823" y="351"/>
                  <a:pt x="4823" y="351"/>
                </a:cubicBezTo>
                <a:cubicBezTo>
                  <a:pt x="4822" y="352"/>
                  <a:pt x="4822" y="352"/>
                  <a:pt x="4821" y="352"/>
                </a:cubicBezTo>
                <a:cubicBezTo>
                  <a:pt x="4821" y="352"/>
                  <a:pt x="4821" y="352"/>
                  <a:pt x="4821" y="351"/>
                </a:cubicBezTo>
                <a:cubicBezTo>
                  <a:pt x="4821" y="351"/>
                  <a:pt x="4821" y="349"/>
                  <a:pt x="4823" y="345"/>
                </a:cubicBezTo>
                <a:cubicBezTo>
                  <a:pt x="4828" y="336"/>
                  <a:pt x="4831" y="330"/>
                  <a:pt x="4834" y="325"/>
                </a:cubicBezTo>
                <a:cubicBezTo>
                  <a:pt x="4837" y="321"/>
                  <a:pt x="4839" y="319"/>
                  <a:pt x="4839" y="319"/>
                </a:cubicBezTo>
                <a:cubicBezTo>
                  <a:pt x="4840" y="319"/>
                  <a:pt x="4840" y="319"/>
                  <a:pt x="4840" y="320"/>
                </a:cubicBezTo>
                <a:cubicBezTo>
                  <a:pt x="4840" y="321"/>
                  <a:pt x="4840" y="323"/>
                  <a:pt x="4838" y="324"/>
                </a:cubicBezTo>
                <a:cubicBezTo>
                  <a:pt x="4837" y="326"/>
                  <a:pt x="4836" y="328"/>
                  <a:pt x="4835" y="330"/>
                </a:cubicBezTo>
                <a:cubicBezTo>
                  <a:pt x="4833" y="333"/>
                  <a:pt x="4832" y="335"/>
                  <a:pt x="4831" y="337"/>
                </a:cubicBezTo>
                <a:cubicBezTo>
                  <a:pt x="4830" y="339"/>
                  <a:pt x="4829" y="340"/>
                  <a:pt x="4829" y="341"/>
                </a:cubicBezTo>
                <a:lnTo>
                  <a:pt x="4831" y="340"/>
                </a:lnTo>
                <a:cubicBezTo>
                  <a:pt x="4834" y="336"/>
                  <a:pt x="4838" y="331"/>
                  <a:pt x="4841" y="324"/>
                </a:cubicBezTo>
                <a:cubicBezTo>
                  <a:pt x="4844" y="318"/>
                  <a:pt x="4845" y="313"/>
                  <a:pt x="4845" y="310"/>
                </a:cubicBezTo>
                <a:lnTo>
                  <a:pt x="4845" y="309"/>
                </a:lnTo>
                <a:cubicBezTo>
                  <a:pt x="4845" y="306"/>
                  <a:pt x="4846" y="305"/>
                  <a:pt x="4846" y="305"/>
                </a:cubicBezTo>
                <a:lnTo>
                  <a:pt x="4849" y="306"/>
                </a:lnTo>
                <a:cubicBezTo>
                  <a:pt x="4850" y="306"/>
                  <a:pt x="4852" y="305"/>
                  <a:pt x="4853" y="302"/>
                </a:cubicBezTo>
                <a:cubicBezTo>
                  <a:pt x="4855" y="300"/>
                  <a:pt x="4855" y="298"/>
                  <a:pt x="4855" y="298"/>
                </a:cubicBezTo>
                <a:cubicBezTo>
                  <a:pt x="4855" y="298"/>
                  <a:pt x="4854" y="299"/>
                  <a:pt x="4853" y="300"/>
                </a:cubicBezTo>
                <a:cubicBezTo>
                  <a:pt x="4851" y="302"/>
                  <a:pt x="4850" y="303"/>
                  <a:pt x="4849" y="303"/>
                </a:cubicBezTo>
                <a:cubicBezTo>
                  <a:pt x="4849" y="303"/>
                  <a:pt x="4849" y="303"/>
                  <a:pt x="4849" y="302"/>
                </a:cubicBezTo>
                <a:cubicBezTo>
                  <a:pt x="4848" y="302"/>
                  <a:pt x="4848" y="301"/>
                  <a:pt x="4848" y="301"/>
                </a:cubicBezTo>
                <a:cubicBezTo>
                  <a:pt x="4847" y="301"/>
                  <a:pt x="4845" y="303"/>
                  <a:pt x="4843" y="306"/>
                </a:cubicBezTo>
                <a:cubicBezTo>
                  <a:pt x="4841" y="309"/>
                  <a:pt x="4840" y="312"/>
                  <a:pt x="4840" y="313"/>
                </a:cubicBezTo>
                <a:cubicBezTo>
                  <a:pt x="4840" y="313"/>
                  <a:pt x="4840" y="313"/>
                  <a:pt x="4840" y="313"/>
                </a:cubicBezTo>
                <a:cubicBezTo>
                  <a:pt x="4841" y="313"/>
                  <a:pt x="4841" y="313"/>
                  <a:pt x="4841" y="312"/>
                </a:cubicBezTo>
                <a:cubicBezTo>
                  <a:pt x="4842" y="312"/>
                  <a:pt x="4842" y="312"/>
                  <a:pt x="4843" y="312"/>
                </a:cubicBezTo>
                <a:cubicBezTo>
                  <a:pt x="4843" y="312"/>
                  <a:pt x="4844" y="312"/>
                  <a:pt x="4844" y="313"/>
                </a:cubicBezTo>
                <a:cubicBezTo>
                  <a:pt x="4844" y="316"/>
                  <a:pt x="4842" y="317"/>
                  <a:pt x="4839" y="317"/>
                </a:cubicBezTo>
                <a:lnTo>
                  <a:pt x="4839" y="317"/>
                </a:lnTo>
                <a:cubicBezTo>
                  <a:pt x="4836" y="317"/>
                  <a:pt x="4833" y="322"/>
                  <a:pt x="4827" y="333"/>
                </a:cubicBezTo>
                <a:cubicBezTo>
                  <a:pt x="4821" y="344"/>
                  <a:pt x="4818" y="349"/>
                  <a:pt x="4816" y="349"/>
                </a:cubicBezTo>
                <a:lnTo>
                  <a:pt x="4815" y="349"/>
                </a:lnTo>
                <a:cubicBezTo>
                  <a:pt x="4815" y="349"/>
                  <a:pt x="4814" y="350"/>
                  <a:pt x="4814" y="351"/>
                </a:cubicBezTo>
                <a:cubicBezTo>
                  <a:pt x="4813" y="355"/>
                  <a:pt x="4812" y="358"/>
                  <a:pt x="4812" y="358"/>
                </a:cubicBezTo>
                <a:cubicBezTo>
                  <a:pt x="4812" y="359"/>
                  <a:pt x="4811" y="359"/>
                  <a:pt x="4811" y="360"/>
                </a:cubicBezTo>
                <a:cubicBezTo>
                  <a:pt x="4811" y="361"/>
                  <a:pt x="4811" y="361"/>
                  <a:pt x="4811" y="362"/>
                </a:cubicBezTo>
                <a:cubicBezTo>
                  <a:pt x="4811" y="362"/>
                  <a:pt x="4810" y="363"/>
                  <a:pt x="4809" y="366"/>
                </a:cubicBezTo>
                <a:cubicBezTo>
                  <a:pt x="4808" y="369"/>
                  <a:pt x="4806" y="372"/>
                  <a:pt x="4804" y="375"/>
                </a:cubicBezTo>
                <a:cubicBezTo>
                  <a:pt x="4800" y="383"/>
                  <a:pt x="4797" y="388"/>
                  <a:pt x="4796" y="391"/>
                </a:cubicBezTo>
                <a:cubicBezTo>
                  <a:pt x="4793" y="400"/>
                  <a:pt x="4789" y="409"/>
                  <a:pt x="4785" y="418"/>
                </a:cubicBezTo>
                <a:cubicBezTo>
                  <a:pt x="4782" y="424"/>
                  <a:pt x="4779" y="430"/>
                  <a:pt x="4777" y="436"/>
                </a:cubicBezTo>
                <a:cubicBezTo>
                  <a:pt x="4774" y="443"/>
                  <a:pt x="4772" y="448"/>
                  <a:pt x="4771" y="453"/>
                </a:cubicBezTo>
                <a:cubicBezTo>
                  <a:pt x="4769" y="457"/>
                  <a:pt x="4768" y="460"/>
                  <a:pt x="4767" y="463"/>
                </a:cubicBezTo>
                <a:cubicBezTo>
                  <a:pt x="4766" y="466"/>
                  <a:pt x="4764" y="468"/>
                  <a:pt x="4764" y="469"/>
                </a:cubicBezTo>
                <a:cubicBezTo>
                  <a:pt x="4763" y="470"/>
                  <a:pt x="4762" y="471"/>
                  <a:pt x="4762" y="473"/>
                </a:cubicBezTo>
                <a:cubicBezTo>
                  <a:pt x="4762" y="474"/>
                  <a:pt x="4762" y="475"/>
                  <a:pt x="4761" y="477"/>
                </a:cubicBezTo>
                <a:lnTo>
                  <a:pt x="4758" y="487"/>
                </a:lnTo>
                <a:cubicBezTo>
                  <a:pt x="4754" y="494"/>
                  <a:pt x="4752" y="499"/>
                  <a:pt x="4752" y="502"/>
                </a:cubicBezTo>
                <a:cubicBezTo>
                  <a:pt x="4751" y="505"/>
                  <a:pt x="4750" y="507"/>
                  <a:pt x="4749" y="507"/>
                </a:cubicBezTo>
                <a:lnTo>
                  <a:pt x="4748" y="506"/>
                </a:lnTo>
                <a:lnTo>
                  <a:pt x="4748" y="506"/>
                </a:lnTo>
                <a:cubicBezTo>
                  <a:pt x="4748" y="504"/>
                  <a:pt x="4749" y="497"/>
                  <a:pt x="4753" y="486"/>
                </a:cubicBezTo>
                <a:cubicBezTo>
                  <a:pt x="4756" y="475"/>
                  <a:pt x="4760" y="463"/>
                  <a:pt x="4766" y="448"/>
                </a:cubicBezTo>
                <a:cubicBezTo>
                  <a:pt x="4771" y="434"/>
                  <a:pt x="4778" y="416"/>
                  <a:pt x="4789" y="394"/>
                </a:cubicBezTo>
                <a:cubicBezTo>
                  <a:pt x="4799" y="372"/>
                  <a:pt x="4809" y="352"/>
                  <a:pt x="4819" y="334"/>
                </a:cubicBezTo>
                <a:cubicBezTo>
                  <a:pt x="4829" y="316"/>
                  <a:pt x="4835" y="307"/>
                  <a:pt x="4836" y="307"/>
                </a:cubicBezTo>
                <a:cubicBezTo>
                  <a:pt x="4837" y="307"/>
                  <a:pt x="4837" y="307"/>
                  <a:pt x="4837" y="306"/>
                </a:cubicBezTo>
                <a:lnTo>
                  <a:pt x="4837" y="304"/>
                </a:lnTo>
                <a:cubicBezTo>
                  <a:pt x="4837" y="304"/>
                  <a:pt x="4838" y="302"/>
                  <a:pt x="4840" y="301"/>
                </a:cubicBezTo>
                <a:cubicBezTo>
                  <a:pt x="4841" y="301"/>
                  <a:pt x="4842" y="300"/>
                  <a:pt x="4842" y="299"/>
                </a:cubicBezTo>
                <a:cubicBezTo>
                  <a:pt x="4842" y="298"/>
                  <a:pt x="4841" y="298"/>
                  <a:pt x="4841" y="297"/>
                </a:cubicBezTo>
                <a:cubicBezTo>
                  <a:pt x="4841" y="297"/>
                  <a:pt x="4841" y="296"/>
                  <a:pt x="4841" y="296"/>
                </a:cubicBezTo>
                <a:lnTo>
                  <a:pt x="4842" y="296"/>
                </a:lnTo>
                <a:cubicBezTo>
                  <a:pt x="4844" y="296"/>
                  <a:pt x="4845" y="294"/>
                  <a:pt x="4847" y="290"/>
                </a:cubicBezTo>
                <a:cubicBezTo>
                  <a:pt x="4848" y="286"/>
                  <a:pt x="4850" y="284"/>
                  <a:pt x="4851" y="284"/>
                </a:cubicBezTo>
                <a:cubicBezTo>
                  <a:pt x="4852" y="284"/>
                  <a:pt x="4853" y="284"/>
                  <a:pt x="4853" y="283"/>
                </a:cubicBezTo>
                <a:lnTo>
                  <a:pt x="4852" y="282"/>
                </a:lnTo>
                <a:cubicBezTo>
                  <a:pt x="4852" y="281"/>
                  <a:pt x="4853" y="279"/>
                  <a:pt x="4854" y="279"/>
                </a:cubicBezTo>
                <a:cubicBezTo>
                  <a:pt x="4855" y="279"/>
                  <a:pt x="4856" y="278"/>
                  <a:pt x="4856" y="278"/>
                </a:cubicBezTo>
                <a:cubicBezTo>
                  <a:pt x="4856" y="277"/>
                  <a:pt x="4856" y="276"/>
                  <a:pt x="4857" y="274"/>
                </a:cubicBezTo>
                <a:cubicBezTo>
                  <a:pt x="4857" y="273"/>
                  <a:pt x="4858" y="271"/>
                  <a:pt x="4860" y="269"/>
                </a:cubicBezTo>
                <a:cubicBezTo>
                  <a:pt x="4862" y="268"/>
                  <a:pt x="4863" y="267"/>
                  <a:pt x="4863" y="267"/>
                </a:cubicBezTo>
                <a:lnTo>
                  <a:pt x="4861" y="267"/>
                </a:lnTo>
                <a:cubicBezTo>
                  <a:pt x="4861" y="266"/>
                  <a:pt x="4862" y="264"/>
                  <a:pt x="4864" y="262"/>
                </a:cubicBezTo>
                <a:cubicBezTo>
                  <a:pt x="4866" y="259"/>
                  <a:pt x="4867" y="257"/>
                  <a:pt x="4868" y="256"/>
                </a:cubicBezTo>
                <a:lnTo>
                  <a:pt x="4871" y="254"/>
                </a:lnTo>
                <a:cubicBezTo>
                  <a:pt x="4871" y="254"/>
                  <a:pt x="4870" y="255"/>
                  <a:pt x="4870" y="257"/>
                </a:cubicBezTo>
                <a:cubicBezTo>
                  <a:pt x="4870" y="259"/>
                  <a:pt x="4870" y="260"/>
                  <a:pt x="4872" y="260"/>
                </a:cubicBezTo>
                <a:cubicBezTo>
                  <a:pt x="4872" y="260"/>
                  <a:pt x="4872" y="259"/>
                  <a:pt x="4872" y="256"/>
                </a:cubicBezTo>
                <a:cubicBezTo>
                  <a:pt x="4872" y="254"/>
                  <a:pt x="4874" y="250"/>
                  <a:pt x="4878" y="244"/>
                </a:cubicBezTo>
                <a:cubicBezTo>
                  <a:pt x="4881" y="238"/>
                  <a:pt x="4885" y="232"/>
                  <a:pt x="4889" y="228"/>
                </a:cubicBezTo>
                <a:cubicBezTo>
                  <a:pt x="4893" y="223"/>
                  <a:pt x="4896" y="220"/>
                  <a:pt x="4897" y="220"/>
                </a:cubicBezTo>
                <a:cubicBezTo>
                  <a:pt x="4898" y="220"/>
                  <a:pt x="4898" y="220"/>
                  <a:pt x="4898" y="220"/>
                </a:cubicBezTo>
                <a:cubicBezTo>
                  <a:pt x="4898" y="221"/>
                  <a:pt x="4897" y="223"/>
                  <a:pt x="4895" y="224"/>
                </a:cubicBezTo>
                <a:cubicBezTo>
                  <a:pt x="4889" y="231"/>
                  <a:pt x="4886" y="235"/>
                  <a:pt x="4886" y="237"/>
                </a:cubicBezTo>
                <a:lnTo>
                  <a:pt x="4886" y="237"/>
                </a:lnTo>
                <a:lnTo>
                  <a:pt x="4887" y="237"/>
                </a:lnTo>
                <a:cubicBezTo>
                  <a:pt x="4887" y="237"/>
                  <a:pt x="4889" y="236"/>
                  <a:pt x="4892" y="232"/>
                </a:cubicBezTo>
                <a:cubicBezTo>
                  <a:pt x="4894" y="230"/>
                  <a:pt x="4897" y="226"/>
                  <a:pt x="4898" y="223"/>
                </a:cubicBezTo>
                <a:cubicBezTo>
                  <a:pt x="4900" y="219"/>
                  <a:pt x="4902" y="217"/>
                  <a:pt x="4902" y="215"/>
                </a:cubicBezTo>
                <a:cubicBezTo>
                  <a:pt x="4902" y="212"/>
                  <a:pt x="4903" y="211"/>
                  <a:pt x="4905" y="211"/>
                </a:cubicBezTo>
                <a:cubicBezTo>
                  <a:pt x="4906" y="211"/>
                  <a:pt x="4907" y="210"/>
                  <a:pt x="4907" y="209"/>
                </a:cubicBezTo>
                <a:lnTo>
                  <a:pt x="4906" y="207"/>
                </a:lnTo>
                <a:lnTo>
                  <a:pt x="4908" y="206"/>
                </a:lnTo>
                <a:cubicBezTo>
                  <a:pt x="4909" y="206"/>
                  <a:pt x="4913" y="203"/>
                  <a:pt x="4920" y="195"/>
                </a:cubicBezTo>
                <a:cubicBezTo>
                  <a:pt x="4927" y="188"/>
                  <a:pt x="4931" y="184"/>
                  <a:pt x="4933" y="184"/>
                </a:cubicBezTo>
                <a:cubicBezTo>
                  <a:pt x="4933" y="184"/>
                  <a:pt x="4933" y="184"/>
                  <a:pt x="4933" y="184"/>
                </a:cubicBezTo>
                <a:lnTo>
                  <a:pt x="4932" y="188"/>
                </a:lnTo>
                <a:cubicBezTo>
                  <a:pt x="4932" y="189"/>
                  <a:pt x="4932" y="189"/>
                  <a:pt x="4933" y="189"/>
                </a:cubicBezTo>
                <a:cubicBezTo>
                  <a:pt x="4934" y="189"/>
                  <a:pt x="4939" y="186"/>
                  <a:pt x="4946" y="178"/>
                </a:cubicBezTo>
                <a:cubicBezTo>
                  <a:pt x="4960" y="164"/>
                  <a:pt x="4975" y="152"/>
                  <a:pt x="4992" y="143"/>
                </a:cubicBezTo>
                <a:cubicBezTo>
                  <a:pt x="5008" y="135"/>
                  <a:pt x="5022" y="131"/>
                  <a:pt x="5033" y="131"/>
                </a:cubicBezTo>
                <a:cubicBezTo>
                  <a:pt x="5038" y="131"/>
                  <a:pt x="5042" y="132"/>
                  <a:pt x="5046" y="134"/>
                </a:cubicBezTo>
                <a:cubicBezTo>
                  <a:pt x="5047" y="135"/>
                  <a:pt x="5048" y="136"/>
                  <a:pt x="5049" y="136"/>
                </a:cubicBezTo>
                <a:cubicBezTo>
                  <a:pt x="5049" y="136"/>
                  <a:pt x="5051" y="136"/>
                  <a:pt x="5053" y="136"/>
                </a:cubicBezTo>
                <a:cubicBezTo>
                  <a:pt x="5054" y="137"/>
                  <a:pt x="5057" y="137"/>
                  <a:pt x="5060" y="139"/>
                </a:cubicBezTo>
                <a:cubicBezTo>
                  <a:pt x="5067" y="143"/>
                  <a:pt x="5072" y="147"/>
                  <a:pt x="5075" y="151"/>
                </a:cubicBezTo>
                <a:cubicBezTo>
                  <a:pt x="5077" y="153"/>
                  <a:pt x="5078" y="156"/>
                  <a:pt x="5079" y="160"/>
                </a:cubicBezTo>
                <a:cubicBezTo>
                  <a:pt x="5082" y="169"/>
                  <a:pt x="5083" y="179"/>
                  <a:pt x="5083" y="191"/>
                </a:cubicBezTo>
                <a:cubicBezTo>
                  <a:pt x="5083" y="236"/>
                  <a:pt x="5065" y="289"/>
                  <a:pt x="5029" y="350"/>
                </a:cubicBezTo>
                <a:cubicBezTo>
                  <a:pt x="4992" y="411"/>
                  <a:pt x="4949" y="459"/>
                  <a:pt x="4901" y="495"/>
                </a:cubicBezTo>
                <a:cubicBezTo>
                  <a:pt x="4888" y="502"/>
                  <a:pt x="4880" y="506"/>
                  <a:pt x="4877" y="506"/>
                </a:cubicBezTo>
                <a:cubicBezTo>
                  <a:pt x="4877" y="506"/>
                  <a:pt x="4876" y="506"/>
                  <a:pt x="4876" y="505"/>
                </a:cubicBezTo>
                <a:cubicBezTo>
                  <a:pt x="4876" y="505"/>
                  <a:pt x="4877" y="504"/>
                  <a:pt x="4877" y="502"/>
                </a:cubicBezTo>
                <a:cubicBezTo>
                  <a:pt x="4879" y="500"/>
                  <a:pt x="4881" y="500"/>
                  <a:pt x="4882" y="500"/>
                </a:cubicBezTo>
                <a:cubicBezTo>
                  <a:pt x="4883" y="500"/>
                  <a:pt x="4883" y="500"/>
                  <a:pt x="4883" y="501"/>
                </a:cubicBezTo>
                <a:cubicBezTo>
                  <a:pt x="4883" y="501"/>
                  <a:pt x="4883" y="502"/>
                  <a:pt x="4882" y="502"/>
                </a:cubicBezTo>
                <a:cubicBezTo>
                  <a:pt x="4882" y="503"/>
                  <a:pt x="4882" y="504"/>
                  <a:pt x="4882" y="504"/>
                </a:cubicBezTo>
                <a:lnTo>
                  <a:pt x="4883" y="503"/>
                </a:lnTo>
                <a:cubicBezTo>
                  <a:pt x="4884" y="503"/>
                  <a:pt x="4885" y="502"/>
                  <a:pt x="4885" y="501"/>
                </a:cubicBezTo>
                <a:cubicBezTo>
                  <a:pt x="4885" y="496"/>
                  <a:pt x="4886" y="493"/>
                  <a:pt x="4887" y="493"/>
                </a:cubicBezTo>
                <a:cubicBezTo>
                  <a:pt x="4887" y="493"/>
                  <a:pt x="4888" y="494"/>
                  <a:pt x="4890" y="495"/>
                </a:cubicBezTo>
                <a:lnTo>
                  <a:pt x="4892" y="497"/>
                </a:lnTo>
                <a:cubicBezTo>
                  <a:pt x="4892" y="497"/>
                  <a:pt x="4892" y="496"/>
                  <a:pt x="4892" y="495"/>
                </a:cubicBezTo>
                <a:cubicBezTo>
                  <a:pt x="4891" y="495"/>
                  <a:pt x="4891" y="494"/>
                  <a:pt x="4891" y="493"/>
                </a:cubicBezTo>
                <a:cubicBezTo>
                  <a:pt x="4891" y="492"/>
                  <a:pt x="4892" y="490"/>
                  <a:pt x="4893" y="489"/>
                </a:cubicBezTo>
                <a:cubicBezTo>
                  <a:pt x="4894" y="487"/>
                  <a:pt x="4895" y="487"/>
                  <a:pt x="4897" y="487"/>
                </a:cubicBezTo>
                <a:cubicBezTo>
                  <a:pt x="4898" y="487"/>
                  <a:pt x="4898" y="488"/>
                  <a:pt x="4898" y="489"/>
                </a:cubicBezTo>
                <a:cubicBezTo>
                  <a:pt x="4898" y="490"/>
                  <a:pt x="4898" y="490"/>
                  <a:pt x="4898" y="491"/>
                </a:cubicBezTo>
                <a:cubicBezTo>
                  <a:pt x="4898" y="492"/>
                  <a:pt x="4897" y="492"/>
                  <a:pt x="4897" y="492"/>
                </a:cubicBezTo>
                <a:lnTo>
                  <a:pt x="4899" y="491"/>
                </a:lnTo>
                <a:cubicBezTo>
                  <a:pt x="4900" y="490"/>
                  <a:pt x="4900" y="489"/>
                  <a:pt x="4900" y="488"/>
                </a:cubicBezTo>
                <a:cubicBezTo>
                  <a:pt x="4900" y="486"/>
                  <a:pt x="4901" y="484"/>
                  <a:pt x="4903" y="481"/>
                </a:cubicBezTo>
                <a:cubicBezTo>
                  <a:pt x="4905" y="479"/>
                  <a:pt x="4907" y="478"/>
                  <a:pt x="4909" y="478"/>
                </a:cubicBezTo>
                <a:lnTo>
                  <a:pt x="4912" y="478"/>
                </a:lnTo>
                <a:lnTo>
                  <a:pt x="4913" y="477"/>
                </a:lnTo>
                <a:lnTo>
                  <a:pt x="4913" y="476"/>
                </a:lnTo>
                <a:cubicBezTo>
                  <a:pt x="4913" y="474"/>
                  <a:pt x="4916" y="471"/>
                  <a:pt x="4920" y="467"/>
                </a:cubicBezTo>
                <a:lnTo>
                  <a:pt x="4923" y="464"/>
                </a:lnTo>
                <a:cubicBezTo>
                  <a:pt x="4923" y="465"/>
                  <a:pt x="4924" y="465"/>
                  <a:pt x="4924" y="465"/>
                </a:cubicBezTo>
                <a:cubicBezTo>
                  <a:pt x="4925" y="465"/>
                  <a:pt x="4926" y="463"/>
                  <a:pt x="4929" y="459"/>
                </a:cubicBezTo>
                <a:cubicBezTo>
                  <a:pt x="4931" y="455"/>
                  <a:pt x="4933" y="453"/>
                  <a:pt x="4935" y="453"/>
                </a:cubicBezTo>
                <a:cubicBezTo>
                  <a:pt x="4935" y="453"/>
                  <a:pt x="4935" y="454"/>
                  <a:pt x="4935" y="454"/>
                </a:cubicBezTo>
                <a:cubicBezTo>
                  <a:pt x="4935" y="455"/>
                  <a:pt x="4935" y="456"/>
                  <a:pt x="4935" y="456"/>
                </a:cubicBezTo>
                <a:cubicBezTo>
                  <a:pt x="4934" y="457"/>
                  <a:pt x="4934" y="458"/>
                  <a:pt x="4934" y="458"/>
                </a:cubicBezTo>
                <a:cubicBezTo>
                  <a:pt x="4934" y="458"/>
                  <a:pt x="4935" y="458"/>
                  <a:pt x="4937" y="456"/>
                </a:cubicBezTo>
                <a:cubicBezTo>
                  <a:pt x="4938" y="455"/>
                  <a:pt x="4939" y="454"/>
                  <a:pt x="4939" y="453"/>
                </a:cubicBezTo>
                <a:cubicBezTo>
                  <a:pt x="4939" y="452"/>
                  <a:pt x="4939" y="451"/>
                  <a:pt x="4938" y="451"/>
                </a:cubicBezTo>
                <a:cubicBezTo>
                  <a:pt x="4938" y="450"/>
                  <a:pt x="4937" y="449"/>
                  <a:pt x="4937" y="448"/>
                </a:cubicBezTo>
                <a:cubicBezTo>
                  <a:pt x="4937" y="447"/>
                  <a:pt x="4940" y="444"/>
                  <a:pt x="4947" y="439"/>
                </a:cubicBezTo>
                <a:cubicBezTo>
                  <a:pt x="4954" y="433"/>
                  <a:pt x="4958" y="430"/>
                  <a:pt x="4958" y="429"/>
                </a:cubicBezTo>
                <a:cubicBezTo>
                  <a:pt x="4958" y="427"/>
                  <a:pt x="4959" y="427"/>
                  <a:pt x="4960" y="427"/>
                </a:cubicBezTo>
                <a:cubicBezTo>
                  <a:pt x="4961" y="427"/>
                  <a:pt x="4965" y="423"/>
                  <a:pt x="4971" y="416"/>
                </a:cubicBezTo>
                <a:cubicBezTo>
                  <a:pt x="4975" y="411"/>
                  <a:pt x="4978" y="407"/>
                  <a:pt x="4978" y="406"/>
                </a:cubicBezTo>
                <a:lnTo>
                  <a:pt x="4977" y="406"/>
                </a:lnTo>
                <a:cubicBezTo>
                  <a:pt x="4977" y="406"/>
                  <a:pt x="4980" y="402"/>
                  <a:pt x="4986" y="395"/>
                </a:cubicBezTo>
                <a:cubicBezTo>
                  <a:pt x="4995" y="386"/>
                  <a:pt x="4999" y="380"/>
                  <a:pt x="4999" y="379"/>
                </a:cubicBezTo>
                <a:cubicBezTo>
                  <a:pt x="4999" y="377"/>
                  <a:pt x="5001" y="375"/>
                  <a:pt x="5004" y="371"/>
                </a:cubicBezTo>
                <a:cubicBezTo>
                  <a:pt x="5008" y="367"/>
                  <a:pt x="5010" y="365"/>
                  <a:pt x="5010" y="363"/>
                </a:cubicBezTo>
                <a:cubicBezTo>
                  <a:pt x="5010" y="362"/>
                  <a:pt x="5011" y="360"/>
                  <a:pt x="5014" y="356"/>
                </a:cubicBezTo>
                <a:cubicBezTo>
                  <a:pt x="5017" y="353"/>
                  <a:pt x="5018" y="350"/>
                  <a:pt x="5018" y="349"/>
                </a:cubicBezTo>
                <a:cubicBezTo>
                  <a:pt x="5018" y="347"/>
                  <a:pt x="5018" y="346"/>
                  <a:pt x="5019" y="346"/>
                </a:cubicBezTo>
                <a:cubicBezTo>
                  <a:pt x="5019" y="345"/>
                  <a:pt x="5019" y="345"/>
                  <a:pt x="5020" y="344"/>
                </a:cubicBezTo>
                <a:lnTo>
                  <a:pt x="5021" y="344"/>
                </a:lnTo>
                <a:cubicBezTo>
                  <a:pt x="5022" y="344"/>
                  <a:pt x="5023" y="343"/>
                  <a:pt x="5026" y="339"/>
                </a:cubicBezTo>
                <a:cubicBezTo>
                  <a:pt x="5027" y="336"/>
                  <a:pt x="5029" y="334"/>
                  <a:pt x="5029" y="333"/>
                </a:cubicBezTo>
                <a:cubicBezTo>
                  <a:pt x="5029" y="333"/>
                  <a:pt x="5028" y="332"/>
                  <a:pt x="5028" y="332"/>
                </a:cubicBezTo>
                <a:cubicBezTo>
                  <a:pt x="5028" y="332"/>
                  <a:pt x="5027" y="332"/>
                  <a:pt x="5027" y="332"/>
                </a:cubicBezTo>
                <a:cubicBezTo>
                  <a:pt x="5027" y="331"/>
                  <a:pt x="5028" y="331"/>
                  <a:pt x="5030" y="329"/>
                </a:cubicBezTo>
                <a:cubicBezTo>
                  <a:pt x="5032" y="328"/>
                  <a:pt x="5033" y="326"/>
                  <a:pt x="5034" y="323"/>
                </a:cubicBezTo>
                <a:cubicBezTo>
                  <a:pt x="5034" y="322"/>
                  <a:pt x="5035" y="321"/>
                  <a:pt x="5036" y="320"/>
                </a:cubicBezTo>
                <a:cubicBezTo>
                  <a:pt x="5036" y="318"/>
                  <a:pt x="5037" y="317"/>
                  <a:pt x="5039" y="316"/>
                </a:cubicBezTo>
                <a:cubicBezTo>
                  <a:pt x="5040" y="313"/>
                  <a:pt x="5041" y="311"/>
                  <a:pt x="5041" y="308"/>
                </a:cubicBezTo>
                <a:lnTo>
                  <a:pt x="5041" y="306"/>
                </a:lnTo>
                <a:cubicBezTo>
                  <a:pt x="5041" y="305"/>
                  <a:pt x="5041" y="304"/>
                  <a:pt x="5043" y="303"/>
                </a:cubicBezTo>
                <a:cubicBezTo>
                  <a:pt x="5045" y="302"/>
                  <a:pt x="5046" y="301"/>
                  <a:pt x="5046" y="300"/>
                </a:cubicBezTo>
                <a:lnTo>
                  <a:pt x="5045" y="298"/>
                </a:lnTo>
                <a:cubicBezTo>
                  <a:pt x="5045" y="296"/>
                  <a:pt x="5046" y="295"/>
                  <a:pt x="5046" y="294"/>
                </a:cubicBezTo>
                <a:cubicBezTo>
                  <a:pt x="5047" y="293"/>
                  <a:pt x="5048" y="292"/>
                  <a:pt x="5048" y="292"/>
                </a:cubicBezTo>
                <a:lnTo>
                  <a:pt x="5049" y="292"/>
                </a:lnTo>
                <a:cubicBezTo>
                  <a:pt x="5050" y="292"/>
                  <a:pt x="5050" y="292"/>
                  <a:pt x="5050" y="291"/>
                </a:cubicBezTo>
                <a:lnTo>
                  <a:pt x="5049" y="287"/>
                </a:lnTo>
                <a:cubicBezTo>
                  <a:pt x="5049" y="287"/>
                  <a:pt x="5049" y="287"/>
                  <a:pt x="5049" y="287"/>
                </a:cubicBezTo>
                <a:lnTo>
                  <a:pt x="5053" y="288"/>
                </a:lnTo>
                <a:cubicBezTo>
                  <a:pt x="5053" y="288"/>
                  <a:pt x="5053" y="288"/>
                  <a:pt x="5053" y="288"/>
                </a:cubicBezTo>
                <a:lnTo>
                  <a:pt x="5053" y="287"/>
                </a:lnTo>
                <a:cubicBezTo>
                  <a:pt x="5053" y="282"/>
                  <a:pt x="5054" y="275"/>
                  <a:pt x="5058" y="267"/>
                </a:cubicBezTo>
                <a:cubicBezTo>
                  <a:pt x="5070" y="232"/>
                  <a:pt x="5076" y="205"/>
                  <a:pt x="5076" y="186"/>
                </a:cubicBezTo>
                <a:cubicBezTo>
                  <a:pt x="5076" y="179"/>
                  <a:pt x="5075" y="174"/>
                  <a:pt x="5073" y="169"/>
                </a:cubicBezTo>
                <a:cubicBezTo>
                  <a:pt x="5071" y="165"/>
                  <a:pt x="5070" y="163"/>
                  <a:pt x="5070" y="163"/>
                </a:cubicBezTo>
                <a:cubicBezTo>
                  <a:pt x="5069" y="163"/>
                  <a:pt x="5069" y="163"/>
                  <a:pt x="5069" y="164"/>
                </a:cubicBezTo>
                <a:cubicBezTo>
                  <a:pt x="5069" y="164"/>
                  <a:pt x="5070" y="166"/>
                  <a:pt x="5071" y="169"/>
                </a:cubicBezTo>
                <a:cubicBezTo>
                  <a:pt x="5071" y="173"/>
                  <a:pt x="5072" y="177"/>
                  <a:pt x="5072" y="183"/>
                </a:cubicBezTo>
                <a:cubicBezTo>
                  <a:pt x="5072" y="192"/>
                  <a:pt x="5071" y="203"/>
                  <a:pt x="5068" y="213"/>
                </a:cubicBezTo>
                <a:lnTo>
                  <a:pt x="5066" y="224"/>
                </a:lnTo>
                <a:cubicBezTo>
                  <a:pt x="5066" y="226"/>
                  <a:pt x="5065" y="230"/>
                  <a:pt x="5063" y="235"/>
                </a:cubicBezTo>
                <a:cubicBezTo>
                  <a:pt x="5061" y="242"/>
                  <a:pt x="5059" y="246"/>
                  <a:pt x="5058" y="246"/>
                </a:cubicBezTo>
                <a:cubicBezTo>
                  <a:pt x="5057" y="246"/>
                  <a:pt x="5057" y="248"/>
                  <a:pt x="5057" y="252"/>
                </a:cubicBezTo>
                <a:cubicBezTo>
                  <a:pt x="5057" y="256"/>
                  <a:pt x="5056" y="259"/>
                  <a:pt x="5053" y="264"/>
                </a:cubicBezTo>
                <a:cubicBezTo>
                  <a:pt x="5051" y="268"/>
                  <a:pt x="5050" y="271"/>
                  <a:pt x="5050" y="274"/>
                </a:cubicBezTo>
                <a:cubicBezTo>
                  <a:pt x="5050" y="274"/>
                  <a:pt x="5050" y="275"/>
                  <a:pt x="5051" y="275"/>
                </a:cubicBezTo>
                <a:lnTo>
                  <a:pt x="5051" y="276"/>
                </a:lnTo>
                <a:cubicBezTo>
                  <a:pt x="5050" y="276"/>
                  <a:pt x="5049" y="275"/>
                  <a:pt x="5048" y="273"/>
                </a:cubicBezTo>
                <a:cubicBezTo>
                  <a:pt x="5046" y="272"/>
                  <a:pt x="5045" y="271"/>
                  <a:pt x="5045" y="271"/>
                </a:cubicBezTo>
                <a:lnTo>
                  <a:pt x="5045" y="271"/>
                </a:lnTo>
                <a:cubicBezTo>
                  <a:pt x="5045" y="272"/>
                  <a:pt x="5045" y="274"/>
                  <a:pt x="5047" y="278"/>
                </a:cubicBezTo>
                <a:cubicBezTo>
                  <a:pt x="5047" y="280"/>
                  <a:pt x="5048" y="281"/>
                  <a:pt x="5048" y="283"/>
                </a:cubicBezTo>
                <a:cubicBezTo>
                  <a:pt x="5048" y="285"/>
                  <a:pt x="5046" y="287"/>
                  <a:pt x="5043" y="290"/>
                </a:cubicBezTo>
                <a:cubicBezTo>
                  <a:pt x="5040" y="293"/>
                  <a:pt x="5039" y="294"/>
                  <a:pt x="5039" y="294"/>
                </a:cubicBezTo>
                <a:cubicBezTo>
                  <a:pt x="5039" y="295"/>
                  <a:pt x="5039" y="295"/>
                  <a:pt x="5039" y="295"/>
                </a:cubicBezTo>
                <a:lnTo>
                  <a:pt x="5041" y="294"/>
                </a:lnTo>
                <a:cubicBezTo>
                  <a:pt x="5042" y="294"/>
                  <a:pt x="5042" y="294"/>
                  <a:pt x="5042" y="296"/>
                </a:cubicBezTo>
                <a:cubicBezTo>
                  <a:pt x="5041" y="298"/>
                  <a:pt x="5040" y="299"/>
                  <a:pt x="5039" y="299"/>
                </a:cubicBezTo>
                <a:cubicBezTo>
                  <a:pt x="5037" y="299"/>
                  <a:pt x="5036" y="299"/>
                  <a:pt x="5035" y="301"/>
                </a:cubicBezTo>
                <a:cubicBezTo>
                  <a:pt x="5035" y="303"/>
                  <a:pt x="5035" y="304"/>
                  <a:pt x="5035" y="304"/>
                </a:cubicBezTo>
                <a:lnTo>
                  <a:pt x="5037" y="303"/>
                </a:lnTo>
                <a:cubicBezTo>
                  <a:pt x="5038" y="303"/>
                  <a:pt x="5038" y="303"/>
                  <a:pt x="5038" y="304"/>
                </a:cubicBezTo>
                <a:cubicBezTo>
                  <a:pt x="5038" y="305"/>
                  <a:pt x="5037" y="308"/>
                  <a:pt x="5034" y="314"/>
                </a:cubicBezTo>
                <a:cubicBezTo>
                  <a:pt x="5031" y="320"/>
                  <a:pt x="5029" y="323"/>
                  <a:pt x="5027" y="323"/>
                </a:cubicBezTo>
                <a:cubicBezTo>
                  <a:pt x="5026" y="323"/>
                  <a:pt x="5026" y="323"/>
                  <a:pt x="5026" y="322"/>
                </a:cubicBezTo>
                <a:lnTo>
                  <a:pt x="5027" y="318"/>
                </a:lnTo>
                <a:cubicBezTo>
                  <a:pt x="5026" y="318"/>
                  <a:pt x="5025" y="320"/>
                  <a:pt x="5022" y="323"/>
                </a:cubicBezTo>
                <a:cubicBezTo>
                  <a:pt x="5020" y="325"/>
                  <a:pt x="5019" y="326"/>
                  <a:pt x="5019" y="327"/>
                </a:cubicBezTo>
                <a:lnTo>
                  <a:pt x="5026" y="326"/>
                </a:lnTo>
                <a:cubicBezTo>
                  <a:pt x="5026" y="326"/>
                  <a:pt x="5026" y="326"/>
                  <a:pt x="5026" y="326"/>
                </a:cubicBezTo>
                <a:cubicBezTo>
                  <a:pt x="5026" y="327"/>
                  <a:pt x="5025" y="330"/>
                  <a:pt x="5022" y="335"/>
                </a:cubicBezTo>
                <a:cubicBezTo>
                  <a:pt x="5020" y="338"/>
                  <a:pt x="5018" y="341"/>
                  <a:pt x="5016" y="343"/>
                </a:cubicBezTo>
                <a:cubicBezTo>
                  <a:pt x="5014" y="346"/>
                  <a:pt x="5012" y="347"/>
                  <a:pt x="5012" y="347"/>
                </a:cubicBezTo>
                <a:cubicBezTo>
                  <a:pt x="5012" y="347"/>
                  <a:pt x="5012" y="347"/>
                  <a:pt x="5012" y="346"/>
                </a:cubicBezTo>
                <a:lnTo>
                  <a:pt x="5013" y="343"/>
                </a:lnTo>
                <a:cubicBezTo>
                  <a:pt x="5012" y="343"/>
                  <a:pt x="5011" y="344"/>
                  <a:pt x="5009" y="346"/>
                </a:cubicBezTo>
                <a:cubicBezTo>
                  <a:pt x="5006" y="348"/>
                  <a:pt x="5004" y="351"/>
                  <a:pt x="5004" y="353"/>
                </a:cubicBezTo>
                <a:cubicBezTo>
                  <a:pt x="5004" y="354"/>
                  <a:pt x="4997" y="364"/>
                  <a:pt x="4982" y="384"/>
                </a:cubicBezTo>
                <a:cubicBezTo>
                  <a:pt x="4977" y="390"/>
                  <a:pt x="4975" y="394"/>
                  <a:pt x="4975" y="395"/>
                </a:cubicBezTo>
                <a:cubicBezTo>
                  <a:pt x="4975" y="396"/>
                  <a:pt x="4972" y="399"/>
                  <a:pt x="4968" y="404"/>
                </a:cubicBezTo>
                <a:cubicBezTo>
                  <a:pt x="4965" y="406"/>
                  <a:pt x="4963" y="408"/>
                  <a:pt x="4963" y="409"/>
                </a:cubicBezTo>
                <a:lnTo>
                  <a:pt x="4965" y="409"/>
                </a:lnTo>
                <a:cubicBezTo>
                  <a:pt x="4964" y="410"/>
                  <a:pt x="4962" y="413"/>
                  <a:pt x="4956" y="418"/>
                </a:cubicBezTo>
                <a:cubicBezTo>
                  <a:pt x="4949" y="424"/>
                  <a:pt x="4946" y="429"/>
                  <a:pt x="4946" y="430"/>
                </a:cubicBezTo>
                <a:lnTo>
                  <a:pt x="4946" y="431"/>
                </a:lnTo>
                <a:cubicBezTo>
                  <a:pt x="4946" y="431"/>
                  <a:pt x="4945" y="433"/>
                  <a:pt x="4942" y="436"/>
                </a:cubicBezTo>
                <a:cubicBezTo>
                  <a:pt x="4939" y="441"/>
                  <a:pt x="4933" y="446"/>
                  <a:pt x="4925" y="453"/>
                </a:cubicBezTo>
                <a:lnTo>
                  <a:pt x="4920" y="457"/>
                </a:lnTo>
                <a:lnTo>
                  <a:pt x="4919" y="457"/>
                </a:lnTo>
                <a:lnTo>
                  <a:pt x="4919" y="458"/>
                </a:lnTo>
                <a:cubicBezTo>
                  <a:pt x="4919" y="460"/>
                  <a:pt x="4915" y="466"/>
                  <a:pt x="4906" y="475"/>
                </a:cubicBezTo>
                <a:cubicBezTo>
                  <a:pt x="4897" y="483"/>
                  <a:pt x="4886" y="492"/>
                  <a:pt x="4873" y="501"/>
                </a:cubicBezTo>
                <a:cubicBezTo>
                  <a:pt x="4859" y="511"/>
                  <a:pt x="4852" y="517"/>
                  <a:pt x="4852" y="518"/>
                </a:cubicBezTo>
                <a:cubicBezTo>
                  <a:pt x="4852" y="519"/>
                  <a:pt x="4852" y="519"/>
                  <a:pt x="4851" y="519"/>
                </a:cubicBezTo>
                <a:lnTo>
                  <a:pt x="4846" y="518"/>
                </a:lnTo>
                <a:lnTo>
                  <a:pt x="4845" y="519"/>
                </a:lnTo>
                <a:lnTo>
                  <a:pt x="4846" y="520"/>
                </a:lnTo>
                <a:cubicBezTo>
                  <a:pt x="4846" y="522"/>
                  <a:pt x="4839" y="523"/>
                  <a:pt x="4826" y="523"/>
                </a:cubicBezTo>
                <a:lnTo>
                  <a:pt x="4820" y="523"/>
                </a:lnTo>
                <a:cubicBezTo>
                  <a:pt x="4811" y="523"/>
                  <a:pt x="4806" y="522"/>
                  <a:pt x="4802" y="520"/>
                </a:cubicBezTo>
                <a:cubicBezTo>
                  <a:pt x="4799" y="518"/>
                  <a:pt x="4796" y="514"/>
                  <a:pt x="4794" y="509"/>
                </a:cubicBezTo>
                <a:cubicBezTo>
                  <a:pt x="4793" y="506"/>
                  <a:pt x="4793" y="504"/>
                  <a:pt x="4792" y="504"/>
                </a:cubicBezTo>
                <a:cubicBezTo>
                  <a:pt x="4791" y="504"/>
                  <a:pt x="4791" y="505"/>
                  <a:pt x="4790" y="507"/>
                </a:cubicBezTo>
                <a:cubicBezTo>
                  <a:pt x="4789" y="509"/>
                  <a:pt x="4789" y="511"/>
                  <a:pt x="4789" y="511"/>
                </a:cubicBezTo>
                <a:lnTo>
                  <a:pt x="4788" y="509"/>
                </a:lnTo>
                <a:cubicBezTo>
                  <a:pt x="4788" y="507"/>
                  <a:pt x="4789" y="505"/>
                  <a:pt x="4790" y="503"/>
                </a:cubicBezTo>
                <a:cubicBezTo>
                  <a:pt x="4791" y="502"/>
                  <a:pt x="4791" y="500"/>
                  <a:pt x="4791" y="498"/>
                </a:cubicBezTo>
                <a:cubicBezTo>
                  <a:pt x="4791" y="497"/>
                  <a:pt x="4791" y="496"/>
                  <a:pt x="4790" y="496"/>
                </a:cubicBezTo>
                <a:lnTo>
                  <a:pt x="4789" y="497"/>
                </a:lnTo>
                <a:cubicBezTo>
                  <a:pt x="4788" y="497"/>
                  <a:pt x="4788" y="496"/>
                  <a:pt x="4788" y="495"/>
                </a:cubicBezTo>
                <a:cubicBezTo>
                  <a:pt x="4788" y="494"/>
                  <a:pt x="4788" y="493"/>
                  <a:pt x="4788" y="493"/>
                </a:cubicBezTo>
                <a:lnTo>
                  <a:pt x="4788" y="493"/>
                </a:lnTo>
                <a:cubicBezTo>
                  <a:pt x="4787" y="493"/>
                  <a:pt x="4787" y="494"/>
                  <a:pt x="4786" y="496"/>
                </a:cubicBezTo>
                <a:cubicBezTo>
                  <a:pt x="4785" y="497"/>
                  <a:pt x="4785" y="499"/>
                  <a:pt x="4785" y="501"/>
                </a:cubicBezTo>
                <a:cubicBezTo>
                  <a:pt x="4785" y="502"/>
                  <a:pt x="4785" y="504"/>
                  <a:pt x="4785" y="505"/>
                </a:cubicBezTo>
                <a:cubicBezTo>
                  <a:pt x="4786" y="505"/>
                  <a:pt x="4786" y="506"/>
                  <a:pt x="4786" y="507"/>
                </a:cubicBezTo>
                <a:cubicBezTo>
                  <a:pt x="4786" y="508"/>
                  <a:pt x="4785" y="508"/>
                  <a:pt x="4785" y="508"/>
                </a:cubicBezTo>
                <a:lnTo>
                  <a:pt x="4784" y="508"/>
                </a:lnTo>
                <a:cubicBezTo>
                  <a:pt x="4783" y="508"/>
                  <a:pt x="4782" y="508"/>
                  <a:pt x="4781" y="510"/>
                </a:cubicBezTo>
                <a:cubicBezTo>
                  <a:pt x="4780" y="511"/>
                  <a:pt x="4780" y="513"/>
                  <a:pt x="4780" y="515"/>
                </a:cubicBezTo>
                <a:cubicBezTo>
                  <a:pt x="4780" y="516"/>
                  <a:pt x="4780" y="517"/>
                  <a:pt x="4781" y="518"/>
                </a:cubicBezTo>
                <a:lnTo>
                  <a:pt x="4781" y="519"/>
                </a:lnTo>
                <a:cubicBezTo>
                  <a:pt x="4781" y="519"/>
                  <a:pt x="4781" y="520"/>
                  <a:pt x="4781" y="520"/>
                </a:cubicBezTo>
                <a:lnTo>
                  <a:pt x="4778" y="519"/>
                </a:lnTo>
                <a:cubicBezTo>
                  <a:pt x="4778" y="519"/>
                  <a:pt x="4778" y="519"/>
                  <a:pt x="4778" y="519"/>
                </a:cubicBezTo>
                <a:lnTo>
                  <a:pt x="4779" y="525"/>
                </a:lnTo>
                <a:cubicBezTo>
                  <a:pt x="4779" y="526"/>
                  <a:pt x="4779" y="526"/>
                  <a:pt x="4778" y="526"/>
                </a:cubicBezTo>
                <a:lnTo>
                  <a:pt x="4776" y="525"/>
                </a:lnTo>
                <a:cubicBezTo>
                  <a:pt x="4775" y="525"/>
                  <a:pt x="4775" y="526"/>
                  <a:pt x="4775" y="526"/>
                </a:cubicBezTo>
                <a:lnTo>
                  <a:pt x="4776" y="530"/>
                </a:lnTo>
                <a:cubicBezTo>
                  <a:pt x="4776" y="531"/>
                  <a:pt x="4776" y="532"/>
                  <a:pt x="4775" y="532"/>
                </a:cubicBezTo>
                <a:cubicBezTo>
                  <a:pt x="4774" y="532"/>
                  <a:pt x="4774" y="532"/>
                  <a:pt x="4774" y="534"/>
                </a:cubicBezTo>
                <a:lnTo>
                  <a:pt x="4775" y="539"/>
                </a:lnTo>
                <a:cubicBezTo>
                  <a:pt x="4775" y="540"/>
                  <a:pt x="4775" y="541"/>
                  <a:pt x="4775" y="541"/>
                </a:cubicBezTo>
                <a:cubicBezTo>
                  <a:pt x="4774" y="541"/>
                  <a:pt x="4773" y="540"/>
                  <a:pt x="4773" y="539"/>
                </a:cubicBezTo>
                <a:cubicBezTo>
                  <a:pt x="4772" y="539"/>
                  <a:pt x="4771" y="539"/>
                  <a:pt x="4771" y="539"/>
                </a:cubicBezTo>
                <a:lnTo>
                  <a:pt x="4771" y="539"/>
                </a:lnTo>
                <a:cubicBezTo>
                  <a:pt x="4771" y="539"/>
                  <a:pt x="4771" y="540"/>
                  <a:pt x="4773" y="541"/>
                </a:cubicBezTo>
                <a:cubicBezTo>
                  <a:pt x="4774" y="543"/>
                  <a:pt x="4774" y="544"/>
                  <a:pt x="4774" y="544"/>
                </a:cubicBezTo>
                <a:cubicBezTo>
                  <a:pt x="4774" y="546"/>
                  <a:pt x="4774" y="546"/>
                  <a:pt x="4772" y="546"/>
                </a:cubicBezTo>
                <a:lnTo>
                  <a:pt x="4770" y="546"/>
                </a:lnTo>
                <a:cubicBezTo>
                  <a:pt x="4769" y="546"/>
                  <a:pt x="4769" y="546"/>
                  <a:pt x="4769" y="546"/>
                </a:cubicBezTo>
                <a:cubicBezTo>
                  <a:pt x="4769" y="547"/>
                  <a:pt x="4770" y="548"/>
                  <a:pt x="4771" y="549"/>
                </a:cubicBezTo>
                <a:cubicBezTo>
                  <a:pt x="4771" y="551"/>
                  <a:pt x="4771" y="553"/>
                  <a:pt x="4771" y="554"/>
                </a:cubicBezTo>
                <a:cubicBezTo>
                  <a:pt x="4771" y="556"/>
                  <a:pt x="4771" y="558"/>
                  <a:pt x="4770" y="560"/>
                </a:cubicBezTo>
                <a:cubicBezTo>
                  <a:pt x="4769" y="562"/>
                  <a:pt x="4768" y="563"/>
                  <a:pt x="4767" y="563"/>
                </a:cubicBezTo>
                <a:lnTo>
                  <a:pt x="4764" y="562"/>
                </a:lnTo>
                <a:cubicBezTo>
                  <a:pt x="4764" y="562"/>
                  <a:pt x="4765" y="563"/>
                  <a:pt x="4766" y="565"/>
                </a:cubicBezTo>
                <a:cubicBezTo>
                  <a:pt x="4767" y="566"/>
                  <a:pt x="4768" y="567"/>
                  <a:pt x="4768" y="569"/>
                </a:cubicBezTo>
                <a:cubicBezTo>
                  <a:pt x="4768" y="570"/>
                  <a:pt x="4767" y="571"/>
                  <a:pt x="4766" y="571"/>
                </a:cubicBezTo>
                <a:cubicBezTo>
                  <a:pt x="4766" y="572"/>
                  <a:pt x="4765" y="573"/>
                  <a:pt x="4764" y="573"/>
                </a:cubicBezTo>
                <a:cubicBezTo>
                  <a:pt x="4764" y="573"/>
                  <a:pt x="4764" y="572"/>
                  <a:pt x="4764" y="571"/>
                </a:cubicBezTo>
                <a:cubicBezTo>
                  <a:pt x="4764" y="569"/>
                  <a:pt x="4764" y="569"/>
                  <a:pt x="4764" y="569"/>
                </a:cubicBezTo>
                <a:lnTo>
                  <a:pt x="4763" y="569"/>
                </a:lnTo>
                <a:lnTo>
                  <a:pt x="4763" y="570"/>
                </a:lnTo>
                <a:cubicBezTo>
                  <a:pt x="4763" y="571"/>
                  <a:pt x="4763" y="572"/>
                  <a:pt x="4764" y="573"/>
                </a:cubicBezTo>
                <a:cubicBezTo>
                  <a:pt x="4765" y="574"/>
                  <a:pt x="4765" y="576"/>
                  <a:pt x="4765" y="577"/>
                </a:cubicBezTo>
                <a:cubicBezTo>
                  <a:pt x="4765" y="580"/>
                  <a:pt x="4764" y="583"/>
                  <a:pt x="4763" y="587"/>
                </a:cubicBezTo>
                <a:cubicBezTo>
                  <a:pt x="4758" y="604"/>
                  <a:pt x="4756" y="625"/>
                  <a:pt x="4756" y="651"/>
                </a:cubicBezTo>
                <a:cubicBezTo>
                  <a:pt x="4756" y="667"/>
                  <a:pt x="4758" y="682"/>
                  <a:pt x="4762" y="695"/>
                </a:cubicBezTo>
                <a:cubicBezTo>
                  <a:pt x="4766" y="708"/>
                  <a:pt x="4769" y="715"/>
                  <a:pt x="4772" y="715"/>
                </a:cubicBezTo>
                <a:cubicBezTo>
                  <a:pt x="4776" y="715"/>
                  <a:pt x="4779" y="717"/>
                  <a:pt x="4782" y="719"/>
                </a:cubicBezTo>
                <a:cubicBezTo>
                  <a:pt x="4788" y="726"/>
                  <a:pt x="4790" y="730"/>
                  <a:pt x="4790" y="732"/>
                </a:cubicBezTo>
                <a:cubicBezTo>
                  <a:pt x="4790" y="732"/>
                  <a:pt x="4790" y="733"/>
                  <a:pt x="4789" y="734"/>
                </a:cubicBezTo>
                <a:cubicBezTo>
                  <a:pt x="4789" y="734"/>
                  <a:pt x="4786" y="731"/>
                  <a:pt x="4783" y="725"/>
                </a:cubicBezTo>
                <a:cubicBezTo>
                  <a:pt x="4780" y="721"/>
                  <a:pt x="4778" y="719"/>
                  <a:pt x="4778" y="719"/>
                </a:cubicBezTo>
                <a:cubicBezTo>
                  <a:pt x="4777" y="719"/>
                  <a:pt x="4777" y="719"/>
                  <a:pt x="4777" y="720"/>
                </a:cubicBezTo>
                <a:cubicBezTo>
                  <a:pt x="4777" y="721"/>
                  <a:pt x="4777" y="721"/>
                  <a:pt x="4776" y="721"/>
                </a:cubicBezTo>
                <a:lnTo>
                  <a:pt x="4774" y="720"/>
                </a:lnTo>
                <a:cubicBezTo>
                  <a:pt x="4774" y="721"/>
                  <a:pt x="4776" y="723"/>
                  <a:pt x="4780" y="727"/>
                </a:cubicBezTo>
                <a:cubicBezTo>
                  <a:pt x="4787" y="732"/>
                  <a:pt x="4791" y="735"/>
                  <a:pt x="4793" y="735"/>
                </a:cubicBezTo>
                <a:cubicBezTo>
                  <a:pt x="4794" y="735"/>
                  <a:pt x="4795" y="735"/>
                  <a:pt x="4795" y="737"/>
                </a:cubicBezTo>
                <a:lnTo>
                  <a:pt x="4795" y="737"/>
                </a:lnTo>
                <a:cubicBezTo>
                  <a:pt x="4795" y="739"/>
                  <a:pt x="4796" y="739"/>
                  <a:pt x="4798" y="739"/>
                </a:cubicBezTo>
                <a:lnTo>
                  <a:pt x="4799" y="739"/>
                </a:lnTo>
                <a:cubicBezTo>
                  <a:pt x="4801" y="739"/>
                  <a:pt x="4802" y="739"/>
                  <a:pt x="4803" y="741"/>
                </a:cubicBezTo>
                <a:cubicBezTo>
                  <a:pt x="4804" y="742"/>
                  <a:pt x="4804" y="743"/>
                  <a:pt x="4806" y="743"/>
                </a:cubicBezTo>
                <a:cubicBezTo>
                  <a:pt x="4806" y="743"/>
                  <a:pt x="4807" y="742"/>
                  <a:pt x="4807" y="742"/>
                </a:cubicBezTo>
                <a:cubicBezTo>
                  <a:pt x="4807" y="741"/>
                  <a:pt x="4807" y="740"/>
                  <a:pt x="4806" y="740"/>
                </a:cubicBezTo>
                <a:cubicBezTo>
                  <a:pt x="4806" y="740"/>
                  <a:pt x="4806" y="739"/>
                  <a:pt x="4806" y="739"/>
                </a:cubicBezTo>
                <a:cubicBezTo>
                  <a:pt x="4806" y="739"/>
                  <a:pt x="4807" y="739"/>
                  <a:pt x="4808" y="739"/>
                </a:cubicBezTo>
                <a:cubicBezTo>
                  <a:pt x="4809" y="740"/>
                  <a:pt x="4809" y="741"/>
                  <a:pt x="4809" y="742"/>
                </a:cubicBezTo>
                <a:lnTo>
                  <a:pt x="4809" y="743"/>
                </a:lnTo>
                <a:cubicBezTo>
                  <a:pt x="4809" y="744"/>
                  <a:pt x="4809" y="745"/>
                  <a:pt x="4811" y="745"/>
                </a:cubicBezTo>
                <a:cubicBezTo>
                  <a:pt x="4812" y="746"/>
                  <a:pt x="4813" y="747"/>
                  <a:pt x="4815" y="747"/>
                </a:cubicBezTo>
                <a:cubicBezTo>
                  <a:pt x="4815" y="747"/>
                  <a:pt x="4816" y="746"/>
                  <a:pt x="4816" y="746"/>
                </a:cubicBezTo>
                <a:cubicBezTo>
                  <a:pt x="4817" y="746"/>
                  <a:pt x="4817" y="746"/>
                  <a:pt x="4817" y="746"/>
                </a:cubicBezTo>
                <a:cubicBezTo>
                  <a:pt x="4819" y="746"/>
                  <a:pt x="4822" y="747"/>
                  <a:pt x="4826" y="748"/>
                </a:cubicBezTo>
                <a:cubicBezTo>
                  <a:pt x="4831" y="751"/>
                  <a:pt x="4839" y="752"/>
                  <a:pt x="4848" y="752"/>
                </a:cubicBezTo>
                <a:cubicBezTo>
                  <a:pt x="4874" y="752"/>
                  <a:pt x="4908" y="745"/>
                  <a:pt x="4951" y="730"/>
                </a:cubicBezTo>
                <a:cubicBezTo>
                  <a:pt x="4971" y="724"/>
                  <a:pt x="4988" y="718"/>
                  <a:pt x="5002" y="711"/>
                </a:cubicBezTo>
                <a:cubicBezTo>
                  <a:pt x="5008" y="709"/>
                  <a:pt x="5012" y="707"/>
                  <a:pt x="5016" y="705"/>
                </a:cubicBezTo>
                <a:cubicBezTo>
                  <a:pt x="5019" y="704"/>
                  <a:pt x="5026" y="701"/>
                  <a:pt x="5035" y="696"/>
                </a:cubicBezTo>
                <a:cubicBezTo>
                  <a:pt x="5060" y="683"/>
                  <a:pt x="5075" y="675"/>
                  <a:pt x="5081" y="671"/>
                </a:cubicBezTo>
                <a:cubicBezTo>
                  <a:pt x="5087" y="667"/>
                  <a:pt x="5091" y="665"/>
                  <a:pt x="5094" y="665"/>
                </a:cubicBezTo>
                <a:cubicBezTo>
                  <a:pt x="5095" y="665"/>
                  <a:pt x="5096" y="666"/>
                  <a:pt x="5096" y="666"/>
                </a:cubicBezTo>
                <a:cubicBezTo>
                  <a:pt x="5096" y="667"/>
                  <a:pt x="5093" y="670"/>
                  <a:pt x="5087" y="672"/>
                </a:cubicBezTo>
                <a:cubicBezTo>
                  <a:pt x="5083" y="675"/>
                  <a:pt x="5081" y="677"/>
                  <a:pt x="5081" y="679"/>
                </a:cubicBezTo>
                <a:lnTo>
                  <a:pt x="5081" y="680"/>
                </a:lnTo>
                <a:cubicBezTo>
                  <a:pt x="5081" y="680"/>
                  <a:pt x="5081" y="681"/>
                  <a:pt x="5081" y="681"/>
                </a:cubicBezTo>
                <a:lnTo>
                  <a:pt x="5080" y="680"/>
                </a:lnTo>
                <a:cubicBezTo>
                  <a:pt x="5075" y="680"/>
                  <a:pt x="5069" y="682"/>
                  <a:pt x="5063" y="686"/>
                </a:cubicBezTo>
                <a:cubicBezTo>
                  <a:pt x="5040" y="698"/>
                  <a:pt x="5015" y="710"/>
                  <a:pt x="4988" y="720"/>
                </a:cubicBezTo>
                <a:cubicBezTo>
                  <a:pt x="4960" y="731"/>
                  <a:pt x="4935" y="740"/>
                  <a:pt x="4913" y="745"/>
                </a:cubicBezTo>
                <a:cubicBezTo>
                  <a:pt x="4898" y="749"/>
                  <a:pt x="4890" y="752"/>
                  <a:pt x="4890" y="752"/>
                </a:cubicBezTo>
                <a:cubicBezTo>
                  <a:pt x="4890" y="753"/>
                  <a:pt x="4891" y="754"/>
                  <a:pt x="4892" y="754"/>
                </a:cubicBezTo>
                <a:cubicBezTo>
                  <a:pt x="4896" y="754"/>
                  <a:pt x="4905" y="752"/>
                  <a:pt x="4918" y="748"/>
                </a:cubicBezTo>
                <a:cubicBezTo>
                  <a:pt x="4930" y="745"/>
                  <a:pt x="4937" y="744"/>
                  <a:pt x="4941" y="744"/>
                </a:cubicBezTo>
                <a:cubicBezTo>
                  <a:pt x="4942" y="744"/>
                  <a:pt x="4942" y="744"/>
                  <a:pt x="4943" y="744"/>
                </a:cubicBezTo>
                <a:cubicBezTo>
                  <a:pt x="4944" y="745"/>
                  <a:pt x="4944" y="745"/>
                  <a:pt x="4944" y="745"/>
                </a:cubicBezTo>
                <a:lnTo>
                  <a:pt x="4944" y="744"/>
                </a:lnTo>
                <a:cubicBezTo>
                  <a:pt x="4944" y="742"/>
                  <a:pt x="4952" y="738"/>
                  <a:pt x="4967" y="732"/>
                </a:cubicBezTo>
                <a:cubicBezTo>
                  <a:pt x="4980" y="728"/>
                  <a:pt x="4990" y="724"/>
                  <a:pt x="4995" y="723"/>
                </a:cubicBezTo>
                <a:cubicBezTo>
                  <a:pt x="4997" y="723"/>
                  <a:pt x="4999" y="723"/>
                  <a:pt x="4999" y="722"/>
                </a:cubicBezTo>
                <a:cubicBezTo>
                  <a:pt x="4999" y="721"/>
                  <a:pt x="5001" y="720"/>
                  <a:pt x="5004" y="720"/>
                </a:cubicBezTo>
                <a:cubicBezTo>
                  <a:pt x="5007" y="720"/>
                  <a:pt x="5009" y="719"/>
                  <a:pt x="5009" y="718"/>
                </a:cubicBezTo>
                <a:cubicBezTo>
                  <a:pt x="5009" y="717"/>
                  <a:pt x="5010" y="716"/>
                  <a:pt x="5011" y="716"/>
                </a:cubicBezTo>
                <a:lnTo>
                  <a:pt x="5013" y="716"/>
                </a:lnTo>
                <a:cubicBezTo>
                  <a:pt x="5014" y="716"/>
                  <a:pt x="5016" y="715"/>
                  <a:pt x="5017" y="714"/>
                </a:cubicBezTo>
                <a:cubicBezTo>
                  <a:pt x="5019" y="712"/>
                  <a:pt x="5021" y="711"/>
                  <a:pt x="5022" y="711"/>
                </a:cubicBezTo>
                <a:lnTo>
                  <a:pt x="5023" y="712"/>
                </a:lnTo>
                <a:cubicBezTo>
                  <a:pt x="5024" y="712"/>
                  <a:pt x="5025" y="711"/>
                  <a:pt x="5025" y="710"/>
                </a:cubicBezTo>
                <a:cubicBezTo>
                  <a:pt x="5025" y="709"/>
                  <a:pt x="5026" y="709"/>
                  <a:pt x="5028" y="709"/>
                </a:cubicBezTo>
                <a:lnTo>
                  <a:pt x="5030" y="709"/>
                </a:lnTo>
                <a:cubicBezTo>
                  <a:pt x="5031" y="709"/>
                  <a:pt x="5031" y="709"/>
                  <a:pt x="5031" y="708"/>
                </a:cubicBezTo>
                <a:cubicBezTo>
                  <a:pt x="5031" y="707"/>
                  <a:pt x="5032" y="707"/>
                  <a:pt x="5033" y="707"/>
                </a:cubicBezTo>
                <a:cubicBezTo>
                  <a:pt x="5033" y="707"/>
                  <a:pt x="5034" y="707"/>
                  <a:pt x="5035" y="707"/>
                </a:cubicBezTo>
                <a:cubicBezTo>
                  <a:pt x="5035" y="708"/>
                  <a:pt x="5036" y="708"/>
                  <a:pt x="5036" y="708"/>
                </a:cubicBezTo>
                <a:cubicBezTo>
                  <a:pt x="5037" y="708"/>
                  <a:pt x="5039" y="707"/>
                  <a:pt x="5039" y="705"/>
                </a:cubicBezTo>
                <a:cubicBezTo>
                  <a:pt x="5040" y="704"/>
                  <a:pt x="5041" y="703"/>
                  <a:pt x="5042" y="703"/>
                </a:cubicBezTo>
                <a:lnTo>
                  <a:pt x="5044" y="703"/>
                </a:lnTo>
                <a:cubicBezTo>
                  <a:pt x="5046" y="703"/>
                  <a:pt x="5048" y="702"/>
                  <a:pt x="5049" y="700"/>
                </a:cubicBezTo>
                <a:cubicBezTo>
                  <a:pt x="5050" y="700"/>
                  <a:pt x="5051" y="699"/>
                  <a:pt x="5051" y="699"/>
                </a:cubicBezTo>
                <a:cubicBezTo>
                  <a:pt x="5052" y="699"/>
                  <a:pt x="5053" y="698"/>
                  <a:pt x="5054" y="698"/>
                </a:cubicBezTo>
                <a:lnTo>
                  <a:pt x="5054" y="699"/>
                </a:lnTo>
                <a:cubicBezTo>
                  <a:pt x="5055" y="699"/>
                  <a:pt x="5055" y="698"/>
                  <a:pt x="5055" y="696"/>
                </a:cubicBezTo>
                <a:cubicBezTo>
                  <a:pt x="5055" y="693"/>
                  <a:pt x="5056" y="693"/>
                  <a:pt x="5056" y="693"/>
                </a:cubicBezTo>
                <a:cubicBezTo>
                  <a:pt x="5056" y="693"/>
                  <a:pt x="5057" y="693"/>
                  <a:pt x="5058" y="695"/>
                </a:cubicBezTo>
                <a:cubicBezTo>
                  <a:pt x="5058" y="696"/>
                  <a:pt x="5059" y="697"/>
                  <a:pt x="5059" y="697"/>
                </a:cubicBezTo>
                <a:cubicBezTo>
                  <a:pt x="5059" y="697"/>
                  <a:pt x="5060" y="696"/>
                  <a:pt x="5060" y="695"/>
                </a:cubicBezTo>
                <a:cubicBezTo>
                  <a:pt x="5060" y="694"/>
                  <a:pt x="5061" y="693"/>
                  <a:pt x="5062" y="693"/>
                </a:cubicBezTo>
                <a:lnTo>
                  <a:pt x="5063" y="694"/>
                </a:lnTo>
                <a:cubicBezTo>
                  <a:pt x="5063" y="694"/>
                  <a:pt x="5064" y="693"/>
                  <a:pt x="5064" y="691"/>
                </a:cubicBezTo>
                <a:cubicBezTo>
                  <a:pt x="5064" y="689"/>
                  <a:pt x="5064" y="688"/>
                  <a:pt x="5064" y="688"/>
                </a:cubicBezTo>
                <a:cubicBezTo>
                  <a:pt x="5065" y="688"/>
                  <a:pt x="5065" y="689"/>
                  <a:pt x="5066" y="690"/>
                </a:cubicBezTo>
                <a:cubicBezTo>
                  <a:pt x="5066" y="691"/>
                  <a:pt x="5067" y="691"/>
                  <a:pt x="5068" y="691"/>
                </a:cubicBezTo>
                <a:cubicBezTo>
                  <a:pt x="5068" y="691"/>
                  <a:pt x="5069" y="690"/>
                  <a:pt x="5071" y="689"/>
                </a:cubicBezTo>
                <a:cubicBezTo>
                  <a:pt x="5073" y="687"/>
                  <a:pt x="5074" y="686"/>
                  <a:pt x="5075" y="686"/>
                </a:cubicBezTo>
                <a:lnTo>
                  <a:pt x="5076" y="687"/>
                </a:lnTo>
                <a:cubicBezTo>
                  <a:pt x="5077" y="687"/>
                  <a:pt x="5077" y="686"/>
                  <a:pt x="5077" y="685"/>
                </a:cubicBezTo>
                <a:cubicBezTo>
                  <a:pt x="5077" y="684"/>
                  <a:pt x="5077" y="683"/>
                  <a:pt x="5078" y="683"/>
                </a:cubicBezTo>
                <a:lnTo>
                  <a:pt x="5079" y="684"/>
                </a:lnTo>
                <a:cubicBezTo>
                  <a:pt x="5081" y="684"/>
                  <a:pt x="5085" y="682"/>
                  <a:pt x="5093" y="677"/>
                </a:cubicBezTo>
                <a:cubicBezTo>
                  <a:pt x="5101" y="673"/>
                  <a:pt x="5104" y="670"/>
                  <a:pt x="5104" y="669"/>
                </a:cubicBezTo>
                <a:lnTo>
                  <a:pt x="5104" y="669"/>
                </a:lnTo>
                <a:cubicBezTo>
                  <a:pt x="5104" y="669"/>
                  <a:pt x="5104" y="669"/>
                  <a:pt x="5104" y="669"/>
                </a:cubicBezTo>
                <a:cubicBezTo>
                  <a:pt x="5104" y="669"/>
                  <a:pt x="5105" y="667"/>
                  <a:pt x="5107" y="666"/>
                </a:cubicBezTo>
                <a:cubicBezTo>
                  <a:pt x="5109" y="664"/>
                  <a:pt x="5111" y="664"/>
                  <a:pt x="5114" y="664"/>
                </a:cubicBezTo>
                <a:cubicBezTo>
                  <a:pt x="5115" y="664"/>
                  <a:pt x="5117" y="663"/>
                  <a:pt x="5119" y="660"/>
                </a:cubicBezTo>
                <a:cubicBezTo>
                  <a:pt x="5121" y="657"/>
                  <a:pt x="5122" y="656"/>
                  <a:pt x="5122" y="656"/>
                </a:cubicBezTo>
                <a:cubicBezTo>
                  <a:pt x="5123" y="656"/>
                  <a:pt x="5123" y="656"/>
                  <a:pt x="5123" y="657"/>
                </a:cubicBezTo>
                <a:cubicBezTo>
                  <a:pt x="5123" y="657"/>
                  <a:pt x="5123" y="657"/>
                  <a:pt x="5123" y="657"/>
                </a:cubicBezTo>
                <a:cubicBezTo>
                  <a:pt x="5124" y="657"/>
                  <a:pt x="5125" y="656"/>
                  <a:pt x="5126" y="654"/>
                </a:cubicBezTo>
                <a:lnTo>
                  <a:pt x="5129" y="652"/>
                </a:lnTo>
                <a:lnTo>
                  <a:pt x="5128" y="654"/>
                </a:lnTo>
                <a:cubicBezTo>
                  <a:pt x="5128" y="654"/>
                  <a:pt x="5128" y="654"/>
                  <a:pt x="5128" y="654"/>
                </a:cubicBezTo>
                <a:cubicBezTo>
                  <a:pt x="5128" y="654"/>
                  <a:pt x="5130" y="653"/>
                  <a:pt x="5132" y="650"/>
                </a:cubicBezTo>
                <a:cubicBezTo>
                  <a:pt x="5134" y="649"/>
                  <a:pt x="5135" y="647"/>
                  <a:pt x="5137" y="646"/>
                </a:cubicBezTo>
                <a:cubicBezTo>
                  <a:pt x="5139" y="645"/>
                  <a:pt x="5141" y="645"/>
                  <a:pt x="5141" y="645"/>
                </a:cubicBezTo>
                <a:cubicBezTo>
                  <a:pt x="5142" y="645"/>
                  <a:pt x="5143" y="643"/>
                  <a:pt x="5146" y="640"/>
                </a:cubicBezTo>
                <a:cubicBezTo>
                  <a:pt x="5148" y="637"/>
                  <a:pt x="5151" y="635"/>
                  <a:pt x="5153" y="634"/>
                </a:cubicBezTo>
                <a:cubicBezTo>
                  <a:pt x="5158" y="631"/>
                  <a:pt x="5161" y="628"/>
                  <a:pt x="5165" y="625"/>
                </a:cubicBezTo>
                <a:cubicBezTo>
                  <a:pt x="5171" y="620"/>
                  <a:pt x="5174" y="617"/>
                  <a:pt x="5174" y="617"/>
                </a:cubicBezTo>
                <a:cubicBezTo>
                  <a:pt x="5174" y="616"/>
                  <a:pt x="5175" y="616"/>
                  <a:pt x="5175" y="616"/>
                </a:cubicBezTo>
                <a:cubicBezTo>
                  <a:pt x="5178" y="616"/>
                  <a:pt x="5179" y="615"/>
                  <a:pt x="5179" y="613"/>
                </a:cubicBezTo>
                <a:cubicBezTo>
                  <a:pt x="5179" y="611"/>
                  <a:pt x="5180" y="610"/>
                  <a:pt x="5182" y="610"/>
                </a:cubicBezTo>
                <a:cubicBezTo>
                  <a:pt x="5184" y="610"/>
                  <a:pt x="5188" y="607"/>
                  <a:pt x="5194" y="601"/>
                </a:cubicBezTo>
                <a:lnTo>
                  <a:pt x="5216" y="580"/>
                </a:lnTo>
                <a:cubicBezTo>
                  <a:pt x="5234" y="562"/>
                  <a:pt x="5249" y="547"/>
                  <a:pt x="5260" y="535"/>
                </a:cubicBezTo>
                <a:lnTo>
                  <a:pt x="5272" y="521"/>
                </a:lnTo>
                <a:cubicBezTo>
                  <a:pt x="5272" y="521"/>
                  <a:pt x="5272" y="521"/>
                  <a:pt x="5272" y="523"/>
                </a:cubicBezTo>
                <a:cubicBezTo>
                  <a:pt x="5272" y="525"/>
                  <a:pt x="5272" y="527"/>
                  <a:pt x="5270" y="528"/>
                </a:cubicBezTo>
                <a:cubicBezTo>
                  <a:pt x="5269" y="529"/>
                  <a:pt x="5269" y="531"/>
                  <a:pt x="5269" y="533"/>
                </a:cubicBezTo>
                <a:lnTo>
                  <a:pt x="5269" y="535"/>
                </a:lnTo>
                <a:cubicBezTo>
                  <a:pt x="5269" y="535"/>
                  <a:pt x="5269" y="535"/>
                  <a:pt x="5269" y="535"/>
                </a:cubicBezTo>
                <a:lnTo>
                  <a:pt x="5269" y="535"/>
                </a:lnTo>
                <a:cubicBezTo>
                  <a:pt x="5267" y="535"/>
                  <a:pt x="5266" y="536"/>
                  <a:pt x="5265" y="538"/>
                </a:cubicBezTo>
                <a:cubicBezTo>
                  <a:pt x="5264" y="540"/>
                  <a:pt x="5263" y="543"/>
                  <a:pt x="5263" y="546"/>
                </a:cubicBezTo>
                <a:cubicBezTo>
                  <a:pt x="5262" y="551"/>
                  <a:pt x="5257" y="558"/>
                  <a:pt x="5249" y="568"/>
                </a:cubicBezTo>
                <a:cubicBezTo>
                  <a:pt x="5241" y="579"/>
                  <a:pt x="5231" y="590"/>
                  <a:pt x="5219" y="601"/>
                </a:cubicBezTo>
                <a:cubicBezTo>
                  <a:pt x="5207" y="613"/>
                  <a:pt x="5196" y="623"/>
                  <a:pt x="5185" y="632"/>
                </a:cubicBezTo>
                <a:cubicBezTo>
                  <a:pt x="5182" y="634"/>
                  <a:pt x="5178" y="637"/>
                  <a:pt x="5173" y="641"/>
                </a:cubicBezTo>
                <a:cubicBezTo>
                  <a:pt x="5133" y="674"/>
                  <a:pt x="5082" y="705"/>
                  <a:pt x="5019" y="732"/>
                </a:cubicBezTo>
                <a:cubicBezTo>
                  <a:pt x="4959" y="759"/>
                  <a:pt x="4909" y="772"/>
                  <a:pt x="4868" y="772"/>
                </a:cubicBezTo>
                <a:close/>
                <a:moveTo>
                  <a:pt x="4876" y="769"/>
                </a:moveTo>
                <a:cubicBezTo>
                  <a:pt x="4878" y="769"/>
                  <a:pt x="4878" y="769"/>
                  <a:pt x="4878" y="769"/>
                </a:cubicBezTo>
                <a:lnTo>
                  <a:pt x="4878" y="768"/>
                </a:lnTo>
                <a:lnTo>
                  <a:pt x="4875" y="768"/>
                </a:lnTo>
                <a:cubicBezTo>
                  <a:pt x="4872" y="768"/>
                  <a:pt x="4870" y="768"/>
                  <a:pt x="4870" y="769"/>
                </a:cubicBezTo>
                <a:lnTo>
                  <a:pt x="4876" y="769"/>
                </a:lnTo>
                <a:close/>
                <a:moveTo>
                  <a:pt x="4858" y="757"/>
                </a:moveTo>
                <a:cubicBezTo>
                  <a:pt x="4875" y="757"/>
                  <a:pt x="4884" y="757"/>
                  <a:pt x="4886" y="756"/>
                </a:cubicBezTo>
                <a:cubicBezTo>
                  <a:pt x="4887" y="755"/>
                  <a:pt x="4888" y="754"/>
                  <a:pt x="4888" y="754"/>
                </a:cubicBezTo>
                <a:cubicBezTo>
                  <a:pt x="4888" y="753"/>
                  <a:pt x="4888" y="752"/>
                  <a:pt x="4886" y="752"/>
                </a:cubicBezTo>
                <a:lnTo>
                  <a:pt x="4880" y="753"/>
                </a:lnTo>
                <a:cubicBezTo>
                  <a:pt x="4872" y="754"/>
                  <a:pt x="4867" y="754"/>
                  <a:pt x="4863" y="754"/>
                </a:cubicBezTo>
                <a:cubicBezTo>
                  <a:pt x="4857" y="754"/>
                  <a:pt x="4853" y="755"/>
                  <a:pt x="4852" y="756"/>
                </a:cubicBezTo>
                <a:lnTo>
                  <a:pt x="4851" y="756"/>
                </a:lnTo>
                <a:cubicBezTo>
                  <a:pt x="4851" y="757"/>
                  <a:pt x="4853" y="757"/>
                  <a:pt x="4858" y="757"/>
                </a:cubicBezTo>
                <a:close/>
                <a:moveTo>
                  <a:pt x="4845" y="759"/>
                </a:moveTo>
                <a:cubicBezTo>
                  <a:pt x="4846" y="759"/>
                  <a:pt x="4846" y="759"/>
                  <a:pt x="4846" y="758"/>
                </a:cubicBezTo>
                <a:lnTo>
                  <a:pt x="4846" y="758"/>
                </a:lnTo>
                <a:cubicBezTo>
                  <a:pt x="4846" y="757"/>
                  <a:pt x="4843" y="756"/>
                  <a:pt x="4838" y="755"/>
                </a:cubicBezTo>
                <a:lnTo>
                  <a:pt x="4833" y="755"/>
                </a:lnTo>
                <a:cubicBezTo>
                  <a:pt x="4833" y="755"/>
                  <a:pt x="4833" y="755"/>
                  <a:pt x="4833" y="755"/>
                </a:cubicBezTo>
                <a:cubicBezTo>
                  <a:pt x="4833" y="756"/>
                  <a:pt x="4833" y="756"/>
                  <a:pt x="4834" y="757"/>
                </a:cubicBezTo>
                <a:cubicBezTo>
                  <a:pt x="4835" y="757"/>
                  <a:pt x="4836" y="758"/>
                  <a:pt x="4839" y="758"/>
                </a:cubicBezTo>
                <a:cubicBezTo>
                  <a:pt x="4841" y="759"/>
                  <a:pt x="4843" y="759"/>
                  <a:pt x="4845" y="759"/>
                </a:cubicBezTo>
                <a:close/>
                <a:moveTo>
                  <a:pt x="4938" y="448"/>
                </a:moveTo>
                <a:lnTo>
                  <a:pt x="4941" y="448"/>
                </a:lnTo>
                <a:cubicBezTo>
                  <a:pt x="4943" y="447"/>
                  <a:pt x="4944" y="446"/>
                  <a:pt x="4944" y="445"/>
                </a:cubicBezTo>
                <a:lnTo>
                  <a:pt x="4943" y="445"/>
                </a:lnTo>
                <a:cubicBezTo>
                  <a:pt x="4942" y="445"/>
                  <a:pt x="4941" y="446"/>
                  <a:pt x="4940" y="446"/>
                </a:cubicBezTo>
                <a:cubicBezTo>
                  <a:pt x="4939" y="447"/>
                  <a:pt x="4938" y="448"/>
                  <a:pt x="4938" y="448"/>
                </a:cubicBezTo>
                <a:close/>
                <a:moveTo>
                  <a:pt x="4872" y="483"/>
                </a:moveTo>
                <a:cubicBezTo>
                  <a:pt x="4874" y="483"/>
                  <a:pt x="4876" y="482"/>
                  <a:pt x="4878" y="479"/>
                </a:cubicBezTo>
                <a:cubicBezTo>
                  <a:pt x="4880" y="476"/>
                  <a:pt x="4882" y="475"/>
                  <a:pt x="4882" y="475"/>
                </a:cubicBezTo>
                <a:lnTo>
                  <a:pt x="4881" y="474"/>
                </a:lnTo>
                <a:cubicBezTo>
                  <a:pt x="4881" y="474"/>
                  <a:pt x="4880" y="475"/>
                  <a:pt x="4879" y="475"/>
                </a:cubicBezTo>
                <a:cubicBezTo>
                  <a:pt x="4878" y="476"/>
                  <a:pt x="4876" y="478"/>
                  <a:pt x="4875" y="479"/>
                </a:cubicBezTo>
                <a:cubicBezTo>
                  <a:pt x="4873" y="481"/>
                  <a:pt x="4872" y="482"/>
                  <a:pt x="4872" y="483"/>
                </a:cubicBezTo>
                <a:cubicBezTo>
                  <a:pt x="4872" y="483"/>
                  <a:pt x="4872" y="483"/>
                  <a:pt x="4872" y="483"/>
                </a:cubicBezTo>
                <a:close/>
                <a:moveTo>
                  <a:pt x="4903" y="456"/>
                </a:moveTo>
                <a:cubicBezTo>
                  <a:pt x="4904" y="456"/>
                  <a:pt x="4906" y="455"/>
                  <a:pt x="4909" y="451"/>
                </a:cubicBezTo>
                <a:cubicBezTo>
                  <a:pt x="4911" y="449"/>
                  <a:pt x="4912" y="447"/>
                  <a:pt x="4912" y="447"/>
                </a:cubicBezTo>
                <a:cubicBezTo>
                  <a:pt x="4911" y="447"/>
                  <a:pt x="4910" y="448"/>
                  <a:pt x="4907" y="451"/>
                </a:cubicBezTo>
                <a:cubicBezTo>
                  <a:pt x="4905" y="454"/>
                  <a:pt x="4903" y="456"/>
                  <a:pt x="4903" y="456"/>
                </a:cubicBezTo>
                <a:close/>
                <a:moveTo>
                  <a:pt x="5014" y="339"/>
                </a:moveTo>
                <a:cubicBezTo>
                  <a:pt x="5015" y="339"/>
                  <a:pt x="5016" y="338"/>
                  <a:pt x="5018" y="334"/>
                </a:cubicBezTo>
                <a:cubicBezTo>
                  <a:pt x="5019" y="332"/>
                  <a:pt x="5020" y="331"/>
                  <a:pt x="5020" y="330"/>
                </a:cubicBezTo>
                <a:lnTo>
                  <a:pt x="5020" y="330"/>
                </a:lnTo>
                <a:lnTo>
                  <a:pt x="5017" y="332"/>
                </a:lnTo>
                <a:cubicBezTo>
                  <a:pt x="5015" y="335"/>
                  <a:pt x="5014" y="337"/>
                  <a:pt x="5014" y="339"/>
                </a:cubicBezTo>
                <a:cubicBezTo>
                  <a:pt x="5014" y="339"/>
                  <a:pt x="5014" y="339"/>
                  <a:pt x="5014" y="339"/>
                </a:cubicBezTo>
                <a:close/>
                <a:moveTo>
                  <a:pt x="5027" y="316"/>
                </a:moveTo>
                <a:cubicBezTo>
                  <a:pt x="5028" y="316"/>
                  <a:pt x="5029" y="316"/>
                  <a:pt x="5030" y="314"/>
                </a:cubicBezTo>
                <a:lnTo>
                  <a:pt x="5030" y="313"/>
                </a:lnTo>
                <a:cubicBezTo>
                  <a:pt x="5030" y="313"/>
                  <a:pt x="5030" y="313"/>
                  <a:pt x="5030" y="313"/>
                </a:cubicBezTo>
                <a:lnTo>
                  <a:pt x="5029" y="313"/>
                </a:lnTo>
                <a:cubicBezTo>
                  <a:pt x="5026" y="314"/>
                  <a:pt x="5025" y="315"/>
                  <a:pt x="5025" y="316"/>
                </a:cubicBezTo>
                <a:cubicBezTo>
                  <a:pt x="5025" y="316"/>
                  <a:pt x="5026" y="316"/>
                  <a:pt x="5027" y="316"/>
                </a:cubicBezTo>
                <a:close/>
                <a:moveTo>
                  <a:pt x="4921" y="204"/>
                </a:moveTo>
                <a:cubicBezTo>
                  <a:pt x="4922" y="204"/>
                  <a:pt x="4924" y="202"/>
                  <a:pt x="4926" y="199"/>
                </a:cubicBezTo>
                <a:cubicBezTo>
                  <a:pt x="4928" y="197"/>
                  <a:pt x="4929" y="195"/>
                  <a:pt x="4929" y="195"/>
                </a:cubicBezTo>
                <a:cubicBezTo>
                  <a:pt x="4929" y="195"/>
                  <a:pt x="4927" y="195"/>
                  <a:pt x="4925" y="197"/>
                </a:cubicBezTo>
                <a:cubicBezTo>
                  <a:pt x="4922" y="198"/>
                  <a:pt x="4921" y="200"/>
                  <a:pt x="4921" y="202"/>
                </a:cubicBezTo>
                <a:cubicBezTo>
                  <a:pt x="4921" y="203"/>
                  <a:pt x="4921" y="204"/>
                  <a:pt x="4921" y="204"/>
                </a:cubicBezTo>
                <a:close/>
                <a:moveTo>
                  <a:pt x="4882" y="249"/>
                </a:moveTo>
                <a:cubicBezTo>
                  <a:pt x="4883" y="249"/>
                  <a:pt x="4883" y="248"/>
                  <a:pt x="4883" y="246"/>
                </a:cubicBezTo>
                <a:cubicBezTo>
                  <a:pt x="4883" y="245"/>
                  <a:pt x="4883" y="244"/>
                  <a:pt x="4882" y="244"/>
                </a:cubicBezTo>
                <a:lnTo>
                  <a:pt x="4881" y="244"/>
                </a:lnTo>
                <a:cubicBezTo>
                  <a:pt x="4880" y="245"/>
                  <a:pt x="4880" y="245"/>
                  <a:pt x="4880" y="246"/>
                </a:cubicBezTo>
                <a:cubicBezTo>
                  <a:pt x="4880" y="247"/>
                  <a:pt x="4880" y="247"/>
                  <a:pt x="4881" y="248"/>
                </a:cubicBezTo>
                <a:cubicBezTo>
                  <a:pt x="4882" y="249"/>
                  <a:pt x="4882" y="249"/>
                  <a:pt x="4882" y="249"/>
                </a:cubicBezTo>
                <a:close/>
                <a:moveTo>
                  <a:pt x="4817" y="509"/>
                </a:moveTo>
                <a:cubicBezTo>
                  <a:pt x="4820" y="509"/>
                  <a:pt x="4825" y="507"/>
                  <a:pt x="4831" y="504"/>
                </a:cubicBezTo>
                <a:cubicBezTo>
                  <a:pt x="4834" y="502"/>
                  <a:pt x="4837" y="501"/>
                  <a:pt x="4840" y="499"/>
                </a:cubicBezTo>
                <a:cubicBezTo>
                  <a:pt x="4842" y="498"/>
                  <a:pt x="4844" y="496"/>
                  <a:pt x="4845" y="495"/>
                </a:cubicBezTo>
                <a:cubicBezTo>
                  <a:pt x="4846" y="494"/>
                  <a:pt x="4848" y="493"/>
                  <a:pt x="4848" y="493"/>
                </a:cubicBezTo>
                <a:cubicBezTo>
                  <a:pt x="4849" y="493"/>
                  <a:pt x="4850" y="494"/>
                  <a:pt x="4850" y="495"/>
                </a:cubicBezTo>
                <a:cubicBezTo>
                  <a:pt x="4850" y="496"/>
                  <a:pt x="4848" y="498"/>
                  <a:pt x="4843" y="500"/>
                </a:cubicBezTo>
                <a:cubicBezTo>
                  <a:pt x="4839" y="502"/>
                  <a:pt x="4836" y="504"/>
                  <a:pt x="4836" y="506"/>
                </a:cubicBezTo>
                <a:lnTo>
                  <a:pt x="4837" y="506"/>
                </a:lnTo>
                <a:cubicBezTo>
                  <a:pt x="4839" y="506"/>
                  <a:pt x="4843" y="504"/>
                  <a:pt x="4848" y="501"/>
                </a:cubicBezTo>
                <a:cubicBezTo>
                  <a:pt x="4861" y="493"/>
                  <a:pt x="4868" y="488"/>
                  <a:pt x="4868" y="486"/>
                </a:cubicBezTo>
                <a:cubicBezTo>
                  <a:pt x="4868" y="486"/>
                  <a:pt x="4867" y="486"/>
                  <a:pt x="4867" y="486"/>
                </a:cubicBezTo>
                <a:cubicBezTo>
                  <a:pt x="4866" y="486"/>
                  <a:pt x="4864" y="487"/>
                  <a:pt x="4863" y="488"/>
                </a:cubicBezTo>
                <a:cubicBezTo>
                  <a:pt x="4861" y="490"/>
                  <a:pt x="4860" y="492"/>
                  <a:pt x="4858" y="492"/>
                </a:cubicBezTo>
                <a:cubicBezTo>
                  <a:pt x="4856" y="493"/>
                  <a:pt x="4854" y="494"/>
                  <a:pt x="4853" y="494"/>
                </a:cubicBezTo>
                <a:cubicBezTo>
                  <a:pt x="4852" y="494"/>
                  <a:pt x="4851" y="494"/>
                  <a:pt x="4851" y="493"/>
                </a:cubicBezTo>
                <a:cubicBezTo>
                  <a:pt x="4851" y="492"/>
                  <a:pt x="4856" y="487"/>
                  <a:pt x="4867" y="478"/>
                </a:cubicBezTo>
                <a:cubicBezTo>
                  <a:pt x="4878" y="470"/>
                  <a:pt x="4884" y="465"/>
                  <a:pt x="4886" y="465"/>
                </a:cubicBezTo>
                <a:cubicBezTo>
                  <a:pt x="4887" y="465"/>
                  <a:pt x="4895" y="458"/>
                  <a:pt x="4910" y="442"/>
                </a:cubicBezTo>
                <a:cubicBezTo>
                  <a:pt x="4917" y="433"/>
                  <a:pt x="4924" y="426"/>
                  <a:pt x="4930" y="419"/>
                </a:cubicBezTo>
                <a:cubicBezTo>
                  <a:pt x="4935" y="412"/>
                  <a:pt x="4939" y="408"/>
                  <a:pt x="4939" y="407"/>
                </a:cubicBezTo>
                <a:cubicBezTo>
                  <a:pt x="4941" y="404"/>
                  <a:pt x="4942" y="402"/>
                  <a:pt x="4943" y="400"/>
                </a:cubicBezTo>
                <a:cubicBezTo>
                  <a:pt x="4944" y="398"/>
                  <a:pt x="4945" y="397"/>
                  <a:pt x="4946" y="397"/>
                </a:cubicBezTo>
                <a:lnTo>
                  <a:pt x="4948" y="399"/>
                </a:lnTo>
                <a:cubicBezTo>
                  <a:pt x="4948" y="399"/>
                  <a:pt x="4949" y="398"/>
                  <a:pt x="4949" y="398"/>
                </a:cubicBezTo>
                <a:lnTo>
                  <a:pt x="4947" y="396"/>
                </a:lnTo>
                <a:cubicBezTo>
                  <a:pt x="4947" y="394"/>
                  <a:pt x="4949" y="392"/>
                  <a:pt x="4953" y="389"/>
                </a:cubicBezTo>
                <a:cubicBezTo>
                  <a:pt x="4956" y="385"/>
                  <a:pt x="4958" y="383"/>
                  <a:pt x="4958" y="381"/>
                </a:cubicBezTo>
                <a:cubicBezTo>
                  <a:pt x="4958" y="380"/>
                  <a:pt x="4959" y="377"/>
                  <a:pt x="4962" y="374"/>
                </a:cubicBezTo>
                <a:cubicBezTo>
                  <a:pt x="4965" y="372"/>
                  <a:pt x="4967" y="369"/>
                  <a:pt x="4970" y="364"/>
                </a:cubicBezTo>
                <a:cubicBezTo>
                  <a:pt x="4972" y="360"/>
                  <a:pt x="4973" y="359"/>
                  <a:pt x="4974" y="359"/>
                </a:cubicBezTo>
                <a:lnTo>
                  <a:pt x="4977" y="360"/>
                </a:lnTo>
                <a:lnTo>
                  <a:pt x="4977" y="357"/>
                </a:lnTo>
                <a:cubicBezTo>
                  <a:pt x="4977" y="355"/>
                  <a:pt x="4979" y="352"/>
                  <a:pt x="4982" y="347"/>
                </a:cubicBezTo>
                <a:cubicBezTo>
                  <a:pt x="4986" y="340"/>
                  <a:pt x="4989" y="335"/>
                  <a:pt x="4990" y="332"/>
                </a:cubicBezTo>
                <a:cubicBezTo>
                  <a:pt x="4992" y="327"/>
                  <a:pt x="4994" y="325"/>
                  <a:pt x="4994" y="325"/>
                </a:cubicBezTo>
                <a:cubicBezTo>
                  <a:pt x="4995" y="325"/>
                  <a:pt x="4996" y="325"/>
                  <a:pt x="4996" y="324"/>
                </a:cubicBezTo>
                <a:lnTo>
                  <a:pt x="4996" y="323"/>
                </a:lnTo>
                <a:cubicBezTo>
                  <a:pt x="4996" y="321"/>
                  <a:pt x="4997" y="318"/>
                  <a:pt x="5000" y="316"/>
                </a:cubicBezTo>
                <a:cubicBezTo>
                  <a:pt x="5003" y="313"/>
                  <a:pt x="5004" y="311"/>
                  <a:pt x="5004" y="308"/>
                </a:cubicBezTo>
                <a:lnTo>
                  <a:pt x="5004" y="306"/>
                </a:lnTo>
                <a:cubicBezTo>
                  <a:pt x="5004" y="306"/>
                  <a:pt x="5004" y="305"/>
                  <a:pt x="5006" y="305"/>
                </a:cubicBezTo>
                <a:cubicBezTo>
                  <a:pt x="5007" y="304"/>
                  <a:pt x="5008" y="303"/>
                  <a:pt x="5009" y="301"/>
                </a:cubicBezTo>
                <a:cubicBezTo>
                  <a:pt x="5010" y="299"/>
                  <a:pt x="5011" y="296"/>
                  <a:pt x="5013" y="294"/>
                </a:cubicBezTo>
                <a:cubicBezTo>
                  <a:pt x="5015" y="291"/>
                  <a:pt x="5016" y="288"/>
                  <a:pt x="5017" y="285"/>
                </a:cubicBezTo>
                <a:cubicBezTo>
                  <a:pt x="5017" y="282"/>
                  <a:pt x="5019" y="279"/>
                  <a:pt x="5021" y="277"/>
                </a:cubicBezTo>
                <a:cubicBezTo>
                  <a:pt x="5023" y="275"/>
                  <a:pt x="5024" y="272"/>
                  <a:pt x="5024" y="270"/>
                </a:cubicBezTo>
                <a:lnTo>
                  <a:pt x="5024" y="267"/>
                </a:lnTo>
                <a:cubicBezTo>
                  <a:pt x="5024" y="267"/>
                  <a:pt x="5024" y="267"/>
                  <a:pt x="5024" y="267"/>
                </a:cubicBezTo>
                <a:lnTo>
                  <a:pt x="5026" y="267"/>
                </a:lnTo>
                <a:cubicBezTo>
                  <a:pt x="5026" y="267"/>
                  <a:pt x="5027" y="267"/>
                  <a:pt x="5027" y="265"/>
                </a:cubicBezTo>
                <a:cubicBezTo>
                  <a:pt x="5027" y="264"/>
                  <a:pt x="5027" y="263"/>
                  <a:pt x="5028" y="262"/>
                </a:cubicBezTo>
                <a:cubicBezTo>
                  <a:pt x="5028" y="261"/>
                  <a:pt x="5028" y="260"/>
                  <a:pt x="5028" y="259"/>
                </a:cubicBezTo>
                <a:cubicBezTo>
                  <a:pt x="5028" y="259"/>
                  <a:pt x="5028" y="258"/>
                  <a:pt x="5029" y="257"/>
                </a:cubicBezTo>
                <a:cubicBezTo>
                  <a:pt x="5030" y="255"/>
                  <a:pt x="5031" y="254"/>
                  <a:pt x="5031" y="253"/>
                </a:cubicBezTo>
                <a:cubicBezTo>
                  <a:pt x="5032" y="252"/>
                  <a:pt x="5033" y="251"/>
                  <a:pt x="5033" y="249"/>
                </a:cubicBezTo>
                <a:cubicBezTo>
                  <a:pt x="5033" y="249"/>
                  <a:pt x="5033" y="248"/>
                  <a:pt x="5032" y="247"/>
                </a:cubicBezTo>
                <a:cubicBezTo>
                  <a:pt x="5032" y="247"/>
                  <a:pt x="5032" y="246"/>
                  <a:pt x="5032" y="246"/>
                </a:cubicBezTo>
                <a:cubicBezTo>
                  <a:pt x="5032" y="245"/>
                  <a:pt x="5032" y="245"/>
                  <a:pt x="5032" y="245"/>
                </a:cubicBezTo>
                <a:lnTo>
                  <a:pt x="5035" y="246"/>
                </a:lnTo>
                <a:cubicBezTo>
                  <a:pt x="5035" y="246"/>
                  <a:pt x="5036" y="245"/>
                  <a:pt x="5036" y="243"/>
                </a:cubicBezTo>
                <a:cubicBezTo>
                  <a:pt x="5036" y="242"/>
                  <a:pt x="5036" y="240"/>
                  <a:pt x="5037" y="239"/>
                </a:cubicBezTo>
                <a:cubicBezTo>
                  <a:pt x="5037" y="237"/>
                  <a:pt x="5038" y="236"/>
                  <a:pt x="5039" y="234"/>
                </a:cubicBezTo>
                <a:cubicBezTo>
                  <a:pt x="5042" y="223"/>
                  <a:pt x="5045" y="212"/>
                  <a:pt x="5048" y="200"/>
                </a:cubicBezTo>
                <a:cubicBezTo>
                  <a:pt x="5050" y="188"/>
                  <a:pt x="5051" y="177"/>
                  <a:pt x="5051" y="168"/>
                </a:cubicBezTo>
                <a:cubicBezTo>
                  <a:pt x="5051" y="164"/>
                  <a:pt x="5051" y="160"/>
                  <a:pt x="5050" y="157"/>
                </a:cubicBezTo>
                <a:cubicBezTo>
                  <a:pt x="5049" y="154"/>
                  <a:pt x="5049" y="152"/>
                  <a:pt x="5048" y="151"/>
                </a:cubicBezTo>
                <a:cubicBezTo>
                  <a:pt x="5048" y="149"/>
                  <a:pt x="5047" y="149"/>
                  <a:pt x="5045" y="149"/>
                </a:cubicBezTo>
                <a:cubicBezTo>
                  <a:pt x="5041" y="149"/>
                  <a:pt x="5036" y="151"/>
                  <a:pt x="5029" y="154"/>
                </a:cubicBezTo>
                <a:cubicBezTo>
                  <a:pt x="5016" y="160"/>
                  <a:pt x="5009" y="164"/>
                  <a:pt x="5009" y="167"/>
                </a:cubicBezTo>
                <a:cubicBezTo>
                  <a:pt x="5009" y="168"/>
                  <a:pt x="5009" y="169"/>
                  <a:pt x="5008" y="169"/>
                </a:cubicBezTo>
                <a:lnTo>
                  <a:pt x="5006" y="167"/>
                </a:lnTo>
                <a:cubicBezTo>
                  <a:pt x="5005" y="167"/>
                  <a:pt x="5003" y="168"/>
                  <a:pt x="5002" y="169"/>
                </a:cubicBezTo>
                <a:cubicBezTo>
                  <a:pt x="5001" y="171"/>
                  <a:pt x="5000" y="172"/>
                  <a:pt x="5000" y="173"/>
                </a:cubicBezTo>
                <a:lnTo>
                  <a:pt x="5000" y="175"/>
                </a:lnTo>
                <a:cubicBezTo>
                  <a:pt x="5000" y="175"/>
                  <a:pt x="5000" y="176"/>
                  <a:pt x="5000" y="176"/>
                </a:cubicBezTo>
                <a:lnTo>
                  <a:pt x="4998" y="175"/>
                </a:lnTo>
                <a:cubicBezTo>
                  <a:pt x="4996" y="175"/>
                  <a:pt x="4989" y="180"/>
                  <a:pt x="4977" y="190"/>
                </a:cubicBezTo>
                <a:cubicBezTo>
                  <a:pt x="4965" y="201"/>
                  <a:pt x="4959" y="207"/>
                  <a:pt x="4957" y="210"/>
                </a:cubicBezTo>
                <a:cubicBezTo>
                  <a:pt x="4955" y="214"/>
                  <a:pt x="4952" y="218"/>
                  <a:pt x="4947" y="223"/>
                </a:cubicBezTo>
                <a:cubicBezTo>
                  <a:pt x="4936" y="236"/>
                  <a:pt x="4929" y="243"/>
                  <a:pt x="4927" y="243"/>
                </a:cubicBezTo>
                <a:cubicBezTo>
                  <a:pt x="4926" y="243"/>
                  <a:pt x="4926" y="242"/>
                  <a:pt x="4926" y="242"/>
                </a:cubicBezTo>
                <a:cubicBezTo>
                  <a:pt x="4926" y="241"/>
                  <a:pt x="4928" y="239"/>
                  <a:pt x="4931" y="236"/>
                </a:cubicBezTo>
                <a:cubicBezTo>
                  <a:pt x="4934" y="234"/>
                  <a:pt x="4936" y="232"/>
                  <a:pt x="4936" y="230"/>
                </a:cubicBezTo>
                <a:cubicBezTo>
                  <a:pt x="4936" y="228"/>
                  <a:pt x="4937" y="226"/>
                  <a:pt x="4940" y="223"/>
                </a:cubicBezTo>
                <a:cubicBezTo>
                  <a:pt x="4942" y="221"/>
                  <a:pt x="4944" y="219"/>
                  <a:pt x="4946" y="216"/>
                </a:cubicBezTo>
                <a:cubicBezTo>
                  <a:pt x="4948" y="214"/>
                  <a:pt x="4949" y="212"/>
                  <a:pt x="4949" y="211"/>
                </a:cubicBezTo>
                <a:cubicBezTo>
                  <a:pt x="4949" y="211"/>
                  <a:pt x="4948" y="210"/>
                  <a:pt x="4948" y="210"/>
                </a:cubicBezTo>
                <a:cubicBezTo>
                  <a:pt x="4948" y="210"/>
                  <a:pt x="4945" y="213"/>
                  <a:pt x="4942" y="218"/>
                </a:cubicBezTo>
                <a:cubicBezTo>
                  <a:pt x="4937" y="223"/>
                  <a:pt x="4933" y="228"/>
                  <a:pt x="4928" y="235"/>
                </a:cubicBezTo>
                <a:cubicBezTo>
                  <a:pt x="4923" y="241"/>
                  <a:pt x="4918" y="247"/>
                  <a:pt x="4914" y="252"/>
                </a:cubicBezTo>
                <a:cubicBezTo>
                  <a:pt x="4910" y="257"/>
                  <a:pt x="4908" y="260"/>
                  <a:pt x="4908" y="261"/>
                </a:cubicBezTo>
                <a:cubicBezTo>
                  <a:pt x="4908" y="261"/>
                  <a:pt x="4908" y="262"/>
                  <a:pt x="4908" y="262"/>
                </a:cubicBezTo>
                <a:cubicBezTo>
                  <a:pt x="4908" y="262"/>
                  <a:pt x="4908" y="262"/>
                  <a:pt x="4908" y="262"/>
                </a:cubicBezTo>
                <a:cubicBezTo>
                  <a:pt x="4909" y="262"/>
                  <a:pt x="4910" y="262"/>
                  <a:pt x="4912" y="261"/>
                </a:cubicBezTo>
                <a:cubicBezTo>
                  <a:pt x="4914" y="259"/>
                  <a:pt x="4916" y="259"/>
                  <a:pt x="4916" y="259"/>
                </a:cubicBezTo>
                <a:lnTo>
                  <a:pt x="4916" y="259"/>
                </a:lnTo>
                <a:cubicBezTo>
                  <a:pt x="4916" y="260"/>
                  <a:pt x="4915" y="261"/>
                  <a:pt x="4914" y="262"/>
                </a:cubicBezTo>
                <a:cubicBezTo>
                  <a:pt x="4912" y="264"/>
                  <a:pt x="4911" y="265"/>
                  <a:pt x="4909" y="265"/>
                </a:cubicBezTo>
                <a:lnTo>
                  <a:pt x="4907" y="264"/>
                </a:lnTo>
                <a:cubicBezTo>
                  <a:pt x="4905" y="264"/>
                  <a:pt x="4904" y="265"/>
                  <a:pt x="4903" y="267"/>
                </a:cubicBezTo>
                <a:cubicBezTo>
                  <a:pt x="4902" y="268"/>
                  <a:pt x="4902" y="269"/>
                  <a:pt x="4902" y="271"/>
                </a:cubicBezTo>
                <a:cubicBezTo>
                  <a:pt x="4902" y="271"/>
                  <a:pt x="4902" y="272"/>
                  <a:pt x="4902" y="273"/>
                </a:cubicBezTo>
                <a:lnTo>
                  <a:pt x="4903" y="274"/>
                </a:lnTo>
                <a:cubicBezTo>
                  <a:pt x="4903" y="274"/>
                  <a:pt x="4902" y="274"/>
                  <a:pt x="4902" y="274"/>
                </a:cubicBezTo>
                <a:lnTo>
                  <a:pt x="4901" y="274"/>
                </a:lnTo>
                <a:cubicBezTo>
                  <a:pt x="4900" y="274"/>
                  <a:pt x="4896" y="278"/>
                  <a:pt x="4890" y="287"/>
                </a:cubicBezTo>
                <a:cubicBezTo>
                  <a:pt x="4883" y="295"/>
                  <a:pt x="4880" y="300"/>
                  <a:pt x="4880" y="302"/>
                </a:cubicBezTo>
                <a:lnTo>
                  <a:pt x="4880" y="302"/>
                </a:lnTo>
                <a:cubicBezTo>
                  <a:pt x="4880" y="303"/>
                  <a:pt x="4879" y="305"/>
                  <a:pt x="4877" y="308"/>
                </a:cubicBezTo>
                <a:cubicBezTo>
                  <a:pt x="4874" y="310"/>
                  <a:pt x="4873" y="313"/>
                  <a:pt x="4873" y="315"/>
                </a:cubicBezTo>
                <a:cubicBezTo>
                  <a:pt x="4873" y="317"/>
                  <a:pt x="4872" y="318"/>
                  <a:pt x="4870" y="319"/>
                </a:cubicBezTo>
                <a:cubicBezTo>
                  <a:pt x="4868" y="320"/>
                  <a:pt x="4867" y="321"/>
                  <a:pt x="4867" y="322"/>
                </a:cubicBezTo>
                <a:lnTo>
                  <a:pt x="4868" y="324"/>
                </a:lnTo>
                <a:cubicBezTo>
                  <a:pt x="4868" y="325"/>
                  <a:pt x="4867" y="327"/>
                  <a:pt x="4864" y="329"/>
                </a:cubicBezTo>
                <a:cubicBezTo>
                  <a:pt x="4861" y="333"/>
                  <a:pt x="4860" y="335"/>
                  <a:pt x="4860" y="336"/>
                </a:cubicBezTo>
                <a:cubicBezTo>
                  <a:pt x="4860" y="337"/>
                  <a:pt x="4855" y="346"/>
                  <a:pt x="4846" y="362"/>
                </a:cubicBezTo>
                <a:cubicBezTo>
                  <a:pt x="4838" y="378"/>
                  <a:pt x="4833" y="386"/>
                  <a:pt x="4832" y="387"/>
                </a:cubicBezTo>
                <a:cubicBezTo>
                  <a:pt x="4831" y="387"/>
                  <a:pt x="4830" y="388"/>
                  <a:pt x="4830" y="388"/>
                </a:cubicBezTo>
                <a:lnTo>
                  <a:pt x="4831" y="390"/>
                </a:lnTo>
                <a:cubicBezTo>
                  <a:pt x="4831" y="391"/>
                  <a:pt x="4830" y="392"/>
                  <a:pt x="4830" y="392"/>
                </a:cubicBezTo>
                <a:cubicBezTo>
                  <a:pt x="4829" y="392"/>
                  <a:pt x="4828" y="392"/>
                  <a:pt x="4828" y="393"/>
                </a:cubicBezTo>
                <a:lnTo>
                  <a:pt x="4829" y="395"/>
                </a:lnTo>
                <a:cubicBezTo>
                  <a:pt x="4829" y="396"/>
                  <a:pt x="4828" y="397"/>
                  <a:pt x="4827" y="397"/>
                </a:cubicBezTo>
                <a:cubicBezTo>
                  <a:pt x="4826" y="397"/>
                  <a:pt x="4826" y="397"/>
                  <a:pt x="4826" y="397"/>
                </a:cubicBezTo>
                <a:lnTo>
                  <a:pt x="4826" y="399"/>
                </a:lnTo>
                <a:cubicBezTo>
                  <a:pt x="4826" y="400"/>
                  <a:pt x="4826" y="401"/>
                  <a:pt x="4825" y="401"/>
                </a:cubicBezTo>
                <a:cubicBezTo>
                  <a:pt x="4824" y="401"/>
                  <a:pt x="4823" y="401"/>
                  <a:pt x="4823" y="402"/>
                </a:cubicBezTo>
                <a:lnTo>
                  <a:pt x="4824" y="403"/>
                </a:lnTo>
                <a:cubicBezTo>
                  <a:pt x="4824" y="405"/>
                  <a:pt x="4823" y="409"/>
                  <a:pt x="4820" y="414"/>
                </a:cubicBezTo>
                <a:cubicBezTo>
                  <a:pt x="4817" y="420"/>
                  <a:pt x="4815" y="424"/>
                  <a:pt x="4815" y="427"/>
                </a:cubicBezTo>
                <a:cubicBezTo>
                  <a:pt x="4815" y="429"/>
                  <a:pt x="4816" y="430"/>
                  <a:pt x="4818" y="430"/>
                </a:cubicBezTo>
                <a:cubicBezTo>
                  <a:pt x="4819" y="430"/>
                  <a:pt x="4819" y="429"/>
                  <a:pt x="4819" y="427"/>
                </a:cubicBezTo>
                <a:lnTo>
                  <a:pt x="4819" y="422"/>
                </a:lnTo>
                <a:lnTo>
                  <a:pt x="4820" y="422"/>
                </a:lnTo>
                <a:cubicBezTo>
                  <a:pt x="4821" y="422"/>
                  <a:pt x="4822" y="422"/>
                  <a:pt x="4823" y="420"/>
                </a:cubicBezTo>
                <a:cubicBezTo>
                  <a:pt x="4824" y="419"/>
                  <a:pt x="4825" y="418"/>
                  <a:pt x="4825" y="416"/>
                </a:cubicBezTo>
                <a:cubicBezTo>
                  <a:pt x="4826" y="414"/>
                  <a:pt x="4826" y="413"/>
                  <a:pt x="4826" y="411"/>
                </a:cubicBezTo>
                <a:lnTo>
                  <a:pt x="4825" y="409"/>
                </a:lnTo>
                <a:lnTo>
                  <a:pt x="4826" y="408"/>
                </a:lnTo>
                <a:lnTo>
                  <a:pt x="4828" y="409"/>
                </a:lnTo>
                <a:cubicBezTo>
                  <a:pt x="4829" y="409"/>
                  <a:pt x="4829" y="408"/>
                  <a:pt x="4830" y="406"/>
                </a:cubicBezTo>
                <a:cubicBezTo>
                  <a:pt x="4830" y="405"/>
                  <a:pt x="4830" y="404"/>
                  <a:pt x="4830" y="404"/>
                </a:cubicBezTo>
                <a:cubicBezTo>
                  <a:pt x="4830" y="404"/>
                  <a:pt x="4831" y="404"/>
                  <a:pt x="4831" y="405"/>
                </a:cubicBezTo>
                <a:cubicBezTo>
                  <a:pt x="4831" y="407"/>
                  <a:pt x="4829" y="412"/>
                  <a:pt x="4826" y="418"/>
                </a:cubicBezTo>
                <a:cubicBezTo>
                  <a:pt x="4823" y="425"/>
                  <a:pt x="4822" y="430"/>
                  <a:pt x="4822" y="434"/>
                </a:cubicBezTo>
                <a:lnTo>
                  <a:pt x="4823" y="439"/>
                </a:lnTo>
                <a:cubicBezTo>
                  <a:pt x="4823" y="439"/>
                  <a:pt x="4822" y="439"/>
                  <a:pt x="4822" y="439"/>
                </a:cubicBezTo>
                <a:lnTo>
                  <a:pt x="4819" y="438"/>
                </a:lnTo>
                <a:cubicBezTo>
                  <a:pt x="4819" y="438"/>
                  <a:pt x="4819" y="438"/>
                  <a:pt x="4819" y="439"/>
                </a:cubicBezTo>
                <a:lnTo>
                  <a:pt x="4820" y="443"/>
                </a:lnTo>
                <a:cubicBezTo>
                  <a:pt x="4820" y="444"/>
                  <a:pt x="4819" y="445"/>
                  <a:pt x="4818" y="446"/>
                </a:cubicBezTo>
                <a:cubicBezTo>
                  <a:pt x="4816" y="447"/>
                  <a:pt x="4815" y="448"/>
                  <a:pt x="4815" y="448"/>
                </a:cubicBezTo>
                <a:lnTo>
                  <a:pt x="4815" y="451"/>
                </a:lnTo>
                <a:cubicBezTo>
                  <a:pt x="4815" y="451"/>
                  <a:pt x="4815" y="451"/>
                  <a:pt x="4814" y="451"/>
                </a:cubicBezTo>
                <a:cubicBezTo>
                  <a:pt x="4813" y="451"/>
                  <a:pt x="4813" y="452"/>
                  <a:pt x="4813" y="453"/>
                </a:cubicBezTo>
                <a:lnTo>
                  <a:pt x="4813" y="453"/>
                </a:lnTo>
                <a:cubicBezTo>
                  <a:pt x="4813" y="455"/>
                  <a:pt x="4813" y="456"/>
                  <a:pt x="4812" y="456"/>
                </a:cubicBezTo>
                <a:cubicBezTo>
                  <a:pt x="4812" y="456"/>
                  <a:pt x="4812" y="457"/>
                  <a:pt x="4812" y="458"/>
                </a:cubicBezTo>
                <a:cubicBezTo>
                  <a:pt x="4811" y="460"/>
                  <a:pt x="4811" y="462"/>
                  <a:pt x="4811" y="464"/>
                </a:cubicBezTo>
                <a:cubicBezTo>
                  <a:pt x="4810" y="469"/>
                  <a:pt x="4809" y="473"/>
                  <a:pt x="4807" y="477"/>
                </a:cubicBezTo>
                <a:cubicBezTo>
                  <a:pt x="4805" y="480"/>
                  <a:pt x="4805" y="484"/>
                  <a:pt x="4805" y="487"/>
                </a:cubicBezTo>
                <a:cubicBezTo>
                  <a:pt x="4805" y="494"/>
                  <a:pt x="4806" y="497"/>
                  <a:pt x="4808" y="497"/>
                </a:cubicBezTo>
                <a:cubicBezTo>
                  <a:pt x="4808" y="497"/>
                  <a:pt x="4809" y="497"/>
                  <a:pt x="4809" y="496"/>
                </a:cubicBezTo>
                <a:cubicBezTo>
                  <a:pt x="4810" y="495"/>
                  <a:pt x="4810" y="495"/>
                  <a:pt x="4811" y="495"/>
                </a:cubicBezTo>
                <a:cubicBezTo>
                  <a:pt x="4812" y="495"/>
                  <a:pt x="4813" y="495"/>
                  <a:pt x="4814" y="496"/>
                </a:cubicBezTo>
                <a:cubicBezTo>
                  <a:pt x="4815" y="497"/>
                  <a:pt x="4815" y="498"/>
                  <a:pt x="4815" y="499"/>
                </a:cubicBezTo>
                <a:cubicBezTo>
                  <a:pt x="4815" y="500"/>
                  <a:pt x="4814" y="500"/>
                  <a:pt x="4812" y="500"/>
                </a:cubicBezTo>
                <a:lnTo>
                  <a:pt x="4806" y="500"/>
                </a:lnTo>
                <a:cubicBezTo>
                  <a:pt x="4806" y="500"/>
                  <a:pt x="4806" y="501"/>
                  <a:pt x="4808" y="503"/>
                </a:cubicBezTo>
                <a:cubicBezTo>
                  <a:pt x="4809" y="504"/>
                  <a:pt x="4810" y="505"/>
                  <a:pt x="4811" y="505"/>
                </a:cubicBezTo>
                <a:lnTo>
                  <a:pt x="4813" y="505"/>
                </a:lnTo>
                <a:cubicBezTo>
                  <a:pt x="4814" y="505"/>
                  <a:pt x="4815" y="506"/>
                  <a:pt x="4815" y="507"/>
                </a:cubicBezTo>
                <a:cubicBezTo>
                  <a:pt x="4815" y="508"/>
                  <a:pt x="4815" y="509"/>
                  <a:pt x="4817" y="509"/>
                </a:cubicBezTo>
                <a:close/>
                <a:moveTo>
                  <a:pt x="4792" y="490"/>
                </a:moveTo>
                <a:cubicBezTo>
                  <a:pt x="4793" y="490"/>
                  <a:pt x="4793" y="490"/>
                  <a:pt x="4793" y="488"/>
                </a:cubicBezTo>
                <a:lnTo>
                  <a:pt x="4793" y="486"/>
                </a:lnTo>
                <a:cubicBezTo>
                  <a:pt x="4793" y="484"/>
                  <a:pt x="4793" y="482"/>
                  <a:pt x="4793" y="482"/>
                </a:cubicBezTo>
                <a:lnTo>
                  <a:pt x="4792" y="481"/>
                </a:lnTo>
                <a:cubicBezTo>
                  <a:pt x="4792" y="481"/>
                  <a:pt x="4791" y="482"/>
                  <a:pt x="4791" y="483"/>
                </a:cubicBezTo>
                <a:cubicBezTo>
                  <a:pt x="4789" y="485"/>
                  <a:pt x="4789" y="486"/>
                  <a:pt x="4789" y="487"/>
                </a:cubicBezTo>
                <a:cubicBezTo>
                  <a:pt x="4789" y="489"/>
                  <a:pt x="4790" y="490"/>
                  <a:pt x="4792" y="490"/>
                </a:cubicBezTo>
                <a:close/>
                <a:moveTo>
                  <a:pt x="4795" y="419"/>
                </a:moveTo>
                <a:cubicBezTo>
                  <a:pt x="4796" y="419"/>
                  <a:pt x="4797" y="418"/>
                  <a:pt x="4798" y="416"/>
                </a:cubicBezTo>
                <a:lnTo>
                  <a:pt x="4798" y="414"/>
                </a:lnTo>
                <a:cubicBezTo>
                  <a:pt x="4798" y="414"/>
                  <a:pt x="4798" y="413"/>
                  <a:pt x="4798" y="413"/>
                </a:cubicBezTo>
                <a:lnTo>
                  <a:pt x="4797" y="414"/>
                </a:lnTo>
                <a:cubicBezTo>
                  <a:pt x="4795" y="414"/>
                  <a:pt x="4795" y="416"/>
                  <a:pt x="4795" y="417"/>
                </a:cubicBezTo>
                <a:cubicBezTo>
                  <a:pt x="4795" y="419"/>
                  <a:pt x="4795" y="419"/>
                  <a:pt x="4795" y="419"/>
                </a:cubicBezTo>
                <a:close/>
                <a:moveTo>
                  <a:pt x="4788" y="435"/>
                </a:moveTo>
                <a:cubicBezTo>
                  <a:pt x="4789" y="435"/>
                  <a:pt x="4790" y="433"/>
                  <a:pt x="4791" y="431"/>
                </a:cubicBezTo>
                <a:cubicBezTo>
                  <a:pt x="4793" y="427"/>
                  <a:pt x="4794" y="424"/>
                  <a:pt x="4794" y="423"/>
                </a:cubicBezTo>
                <a:lnTo>
                  <a:pt x="4794" y="422"/>
                </a:lnTo>
                <a:cubicBezTo>
                  <a:pt x="4794" y="422"/>
                  <a:pt x="4793" y="424"/>
                  <a:pt x="4791" y="426"/>
                </a:cubicBezTo>
                <a:cubicBezTo>
                  <a:pt x="4789" y="430"/>
                  <a:pt x="4788" y="433"/>
                  <a:pt x="4788" y="434"/>
                </a:cubicBezTo>
                <a:lnTo>
                  <a:pt x="4788" y="435"/>
                </a:lnTo>
                <a:close/>
                <a:moveTo>
                  <a:pt x="4764" y="511"/>
                </a:moveTo>
                <a:cubicBezTo>
                  <a:pt x="4766" y="511"/>
                  <a:pt x="4766" y="510"/>
                  <a:pt x="4766" y="509"/>
                </a:cubicBezTo>
                <a:cubicBezTo>
                  <a:pt x="4766" y="508"/>
                  <a:pt x="4766" y="507"/>
                  <a:pt x="4766" y="507"/>
                </a:cubicBezTo>
                <a:cubicBezTo>
                  <a:pt x="4764" y="504"/>
                  <a:pt x="4763" y="503"/>
                  <a:pt x="4761" y="503"/>
                </a:cubicBezTo>
                <a:cubicBezTo>
                  <a:pt x="4760" y="503"/>
                  <a:pt x="4759" y="504"/>
                  <a:pt x="4759" y="506"/>
                </a:cubicBezTo>
                <a:cubicBezTo>
                  <a:pt x="4759" y="507"/>
                  <a:pt x="4760" y="508"/>
                  <a:pt x="4761" y="510"/>
                </a:cubicBezTo>
                <a:cubicBezTo>
                  <a:pt x="4762" y="511"/>
                  <a:pt x="4763" y="511"/>
                  <a:pt x="4764" y="511"/>
                </a:cubicBezTo>
                <a:close/>
                <a:moveTo>
                  <a:pt x="4744" y="591"/>
                </a:moveTo>
                <a:cubicBezTo>
                  <a:pt x="4744" y="591"/>
                  <a:pt x="4744" y="590"/>
                  <a:pt x="4744" y="589"/>
                </a:cubicBezTo>
                <a:lnTo>
                  <a:pt x="4744" y="586"/>
                </a:lnTo>
                <a:cubicBezTo>
                  <a:pt x="4744" y="586"/>
                  <a:pt x="4743" y="585"/>
                  <a:pt x="4743" y="585"/>
                </a:cubicBezTo>
                <a:cubicBezTo>
                  <a:pt x="4743" y="585"/>
                  <a:pt x="4742" y="586"/>
                  <a:pt x="4742" y="588"/>
                </a:cubicBezTo>
                <a:cubicBezTo>
                  <a:pt x="4742" y="590"/>
                  <a:pt x="4743" y="591"/>
                  <a:pt x="4744" y="591"/>
                </a:cubicBezTo>
                <a:close/>
                <a:moveTo>
                  <a:pt x="4742" y="602"/>
                </a:moveTo>
                <a:cubicBezTo>
                  <a:pt x="4742" y="601"/>
                  <a:pt x="4742" y="601"/>
                  <a:pt x="4742" y="600"/>
                </a:cubicBezTo>
                <a:lnTo>
                  <a:pt x="4741" y="597"/>
                </a:lnTo>
                <a:cubicBezTo>
                  <a:pt x="4741" y="597"/>
                  <a:pt x="4741" y="598"/>
                  <a:pt x="4741" y="601"/>
                </a:cubicBezTo>
                <a:cubicBezTo>
                  <a:pt x="4741" y="602"/>
                  <a:pt x="4741" y="602"/>
                  <a:pt x="4741" y="602"/>
                </a:cubicBezTo>
                <a:lnTo>
                  <a:pt x="4742" y="602"/>
                </a:lnTo>
                <a:close/>
                <a:moveTo>
                  <a:pt x="4739" y="621"/>
                </a:moveTo>
                <a:cubicBezTo>
                  <a:pt x="4739" y="621"/>
                  <a:pt x="4740" y="620"/>
                  <a:pt x="4740" y="619"/>
                </a:cubicBezTo>
                <a:lnTo>
                  <a:pt x="4740" y="616"/>
                </a:lnTo>
                <a:cubicBezTo>
                  <a:pt x="4739" y="616"/>
                  <a:pt x="4739" y="615"/>
                  <a:pt x="4739" y="615"/>
                </a:cubicBezTo>
                <a:cubicBezTo>
                  <a:pt x="4738" y="615"/>
                  <a:pt x="4738" y="616"/>
                  <a:pt x="4738" y="617"/>
                </a:cubicBezTo>
                <a:cubicBezTo>
                  <a:pt x="4738" y="619"/>
                  <a:pt x="4739" y="621"/>
                  <a:pt x="4739" y="621"/>
                </a:cubicBezTo>
                <a:close/>
                <a:moveTo>
                  <a:pt x="5238" y="540"/>
                </a:moveTo>
                <a:close/>
                <a:moveTo>
                  <a:pt x="4765" y="501"/>
                </a:moveTo>
                <a:cubicBezTo>
                  <a:pt x="4764" y="501"/>
                  <a:pt x="4764" y="501"/>
                  <a:pt x="4764" y="500"/>
                </a:cubicBezTo>
                <a:cubicBezTo>
                  <a:pt x="4764" y="498"/>
                  <a:pt x="4765" y="497"/>
                  <a:pt x="4766" y="496"/>
                </a:cubicBezTo>
                <a:lnTo>
                  <a:pt x="4768" y="495"/>
                </a:lnTo>
                <a:cubicBezTo>
                  <a:pt x="4768" y="495"/>
                  <a:pt x="4768" y="496"/>
                  <a:pt x="4768" y="497"/>
                </a:cubicBezTo>
                <a:cubicBezTo>
                  <a:pt x="4768" y="499"/>
                  <a:pt x="4768" y="500"/>
                  <a:pt x="4766" y="501"/>
                </a:cubicBezTo>
                <a:lnTo>
                  <a:pt x="4765" y="501"/>
                </a:lnTo>
                <a:close/>
                <a:moveTo>
                  <a:pt x="4793" y="408"/>
                </a:moveTo>
                <a:lnTo>
                  <a:pt x="4793" y="408"/>
                </a:lnTo>
                <a:cubicBezTo>
                  <a:pt x="4793" y="407"/>
                  <a:pt x="4793" y="406"/>
                  <a:pt x="4794" y="404"/>
                </a:cubicBezTo>
                <a:cubicBezTo>
                  <a:pt x="4794" y="403"/>
                  <a:pt x="4795" y="402"/>
                  <a:pt x="4796" y="402"/>
                </a:cubicBezTo>
                <a:lnTo>
                  <a:pt x="4796" y="402"/>
                </a:lnTo>
                <a:lnTo>
                  <a:pt x="4797" y="403"/>
                </a:lnTo>
                <a:cubicBezTo>
                  <a:pt x="4797" y="404"/>
                  <a:pt x="4796" y="405"/>
                  <a:pt x="4795" y="406"/>
                </a:cubicBezTo>
                <a:lnTo>
                  <a:pt x="4793" y="408"/>
                </a:lnTo>
                <a:close/>
                <a:moveTo>
                  <a:pt x="5104" y="662"/>
                </a:moveTo>
                <a:cubicBezTo>
                  <a:pt x="5103" y="662"/>
                  <a:pt x="5103" y="662"/>
                  <a:pt x="5103" y="660"/>
                </a:cubicBezTo>
                <a:cubicBezTo>
                  <a:pt x="5103" y="659"/>
                  <a:pt x="5104" y="658"/>
                  <a:pt x="5106" y="658"/>
                </a:cubicBezTo>
                <a:cubicBezTo>
                  <a:pt x="5106" y="658"/>
                  <a:pt x="5106" y="658"/>
                  <a:pt x="5106" y="659"/>
                </a:cubicBezTo>
                <a:cubicBezTo>
                  <a:pt x="5106" y="659"/>
                  <a:pt x="5106" y="660"/>
                  <a:pt x="5106" y="661"/>
                </a:cubicBezTo>
                <a:cubicBezTo>
                  <a:pt x="5105" y="662"/>
                  <a:pt x="5105" y="662"/>
                  <a:pt x="5104" y="662"/>
                </a:cubicBezTo>
                <a:close/>
                <a:moveTo>
                  <a:pt x="4751" y="548"/>
                </a:moveTo>
                <a:cubicBezTo>
                  <a:pt x="4750" y="548"/>
                  <a:pt x="4749" y="547"/>
                  <a:pt x="4749" y="546"/>
                </a:cubicBezTo>
                <a:cubicBezTo>
                  <a:pt x="4748" y="545"/>
                  <a:pt x="4747" y="544"/>
                  <a:pt x="4747" y="544"/>
                </a:cubicBezTo>
                <a:lnTo>
                  <a:pt x="4749" y="544"/>
                </a:lnTo>
                <a:cubicBezTo>
                  <a:pt x="4751" y="544"/>
                  <a:pt x="4751" y="544"/>
                  <a:pt x="4752" y="543"/>
                </a:cubicBezTo>
                <a:cubicBezTo>
                  <a:pt x="4752" y="542"/>
                  <a:pt x="4752" y="541"/>
                  <a:pt x="4753" y="541"/>
                </a:cubicBezTo>
                <a:cubicBezTo>
                  <a:pt x="4753" y="541"/>
                  <a:pt x="4753" y="542"/>
                  <a:pt x="4753" y="544"/>
                </a:cubicBezTo>
                <a:lnTo>
                  <a:pt x="4753" y="544"/>
                </a:lnTo>
                <a:cubicBezTo>
                  <a:pt x="4753" y="546"/>
                  <a:pt x="4753" y="548"/>
                  <a:pt x="4751" y="548"/>
                </a:cubicBezTo>
                <a:close/>
                <a:moveTo>
                  <a:pt x="4749" y="535"/>
                </a:moveTo>
                <a:lnTo>
                  <a:pt x="4748" y="535"/>
                </a:lnTo>
                <a:cubicBezTo>
                  <a:pt x="4748" y="535"/>
                  <a:pt x="4748" y="534"/>
                  <a:pt x="4748" y="534"/>
                </a:cubicBezTo>
                <a:cubicBezTo>
                  <a:pt x="4748" y="532"/>
                  <a:pt x="4748" y="531"/>
                  <a:pt x="4749" y="530"/>
                </a:cubicBezTo>
                <a:cubicBezTo>
                  <a:pt x="4750" y="529"/>
                  <a:pt x="4751" y="527"/>
                  <a:pt x="4751" y="526"/>
                </a:cubicBezTo>
                <a:lnTo>
                  <a:pt x="4750" y="522"/>
                </a:lnTo>
                <a:cubicBezTo>
                  <a:pt x="4750" y="522"/>
                  <a:pt x="4750" y="521"/>
                  <a:pt x="4750" y="521"/>
                </a:cubicBezTo>
                <a:cubicBezTo>
                  <a:pt x="4751" y="521"/>
                  <a:pt x="4751" y="522"/>
                  <a:pt x="4751" y="522"/>
                </a:cubicBezTo>
                <a:cubicBezTo>
                  <a:pt x="4752" y="522"/>
                  <a:pt x="4753" y="523"/>
                  <a:pt x="4753" y="524"/>
                </a:cubicBezTo>
                <a:cubicBezTo>
                  <a:pt x="4753" y="524"/>
                  <a:pt x="4754" y="525"/>
                  <a:pt x="4754" y="527"/>
                </a:cubicBezTo>
                <a:cubicBezTo>
                  <a:pt x="4754" y="528"/>
                  <a:pt x="4754" y="529"/>
                  <a:pt x="4754" y="529"/>
                </a:cubicBezTo>
                <a:lnTo>
                  <a:pt x="4756" y="530"/>
                </a:lnTo>
                <a:lnTo>
                  <a:pt x="4754" y="530"/>
                </a:lnTo>
                <a:cubicBezTo>
                  <a:pt x="4752" y="530"/>
                  <a:pt x="4751" y="531"/>
                  <a:pt x="4751" y="533"/>
                </a:cubicBezTo>
                <a:cubicBezTo>
                  <a:pt x="4751" y="534"/>
                  <a:pt x="4750" y="535"/>
                  <a:pt x="4749" y="535"/>
                </a:cubicBezTo>
                <a:close/>
                <a:moveTo>
                  <a:pt x="4919" y="255"/>
                </a:moveTo>
                <a:cubicBezTo>
                  <a:pt x="4918" y="255"/>
                  <a:pt x="4917" y="254"/>
                  <a:pt x="4917" y="253"/>
                </a:cubicBezTo>
                <a:cubicBezTo>
                  <a:pt x="4917" y="253"/>
                  <a:pt x="4918" y="252"/>
                  <a:pt x="4918" y="251"/>
                </a:cubicBezTo>
                <a:cubicBezTo>
                  <a:pt x="4919" y="250"/>
                  <a:pt x="4920" y="249"/>
                  <a:pt x="4921" y="248"/>
                </a:cubicBezTo>
                <a:cubicBezTo>
                  <a:pt x="4922" y="248"/>
                  <a:pt x="4922" y="247"/>
                  <a:pt x="4923" y="247"/>
                </a:cubicBezTo>
                <a:cubicBezTo>
                  <a:pt x="4924" y="248"/>
                  <a:pt x="4925" y="248"/>
                  <a:pt x="4925" y="249"/>
                </a:cubicBezTo>
                <a:cubicBezTo>
                  <a:pt x="4925" y="250"/>
                  <a:pt x="4924" y="251"/>
                  <a:pt x="4922" y="253"/>
                </a:cubicBezTo>
                <a:cubicBezTo>
                  <a:pt x="4921" y="254"/>
                  <a:pt x="4920" y="255"/>
                  <a:pt x="4919" y="255"/>
                </a:cubicBezTo>
                <a:close/>
                <a:moveTo>
                  <a:pt x="5238" y="541"/>
                </a:moveTo>
                <a:cubicBezTo>
                  <a:pt x="5238" y="541"/>
                  <a:pt x="5238" y="541"/>
                  <a:pt x="5238" y="540"/>
                </a:cubicBezTo>
                <a:cubicBezTo>
                  <a:pt x="5238" y="540"/>
                  <a:pt x="5238" y="539"/>
                  <a:pt x="5239" y="538"/>
                </a:cubicBezTo>
                <a:cubicBezTo>
                  <a:pt x="5240" y="537"/>
                  <a:pt x="5241" y="536"/>
                  <a:pt x="5243" y="535"/>
                </a:cubicBezTo>
                <a:lnTo>
                  <a:pt x="5244" y="534"/>
                </a:lnTo>
                <a:lnTo>
                  <a:pt x="5244" y="534"/>
                </a:lnTo>
                <a:lnTo>
                  <a:pt x="5243" y="537"/>
                </a:lnTo>
                <a:cubicBezTo>
                  <a:pt x="5240" y="540"/>
                  <a:pt x="5239" y="541"/>
                  <a:pt x="5238" y="541"/>
                </a:cubicBezTo>
                <a:close/>
                <a:moveTo>
                  <a:pt x="4931" y="400"/>
                </a:moveTo>
                <a:close/>
                <a:moveTo>
                  <a:pt x="4932" y="401"/>
                </a:moveTo>
                <a:cubicBezTo>
                  <a:pt x="4932" y="401"/>
                  <a:pt x="4931" y="401"/>
                  <a:pt x="4931" y="400"/>
                </a:cubicBezTo>
                <a:cubicBezTo>
                  <a:pt x="4931" y="400"/>
                  <a:pt x="4932" y="399"/>
                  <a:pt x="4933" y="398"/>
                </a:cubicBezTo>
                <a:cubicBezTo>
                  <a:pt x="4934" y="397"/>
                  <a:pt x="4935" y="396"/>
                  <a:pt x="4936" y="395"/>
                </a:cubicBezTo>
                <a:cubicBezTo>
                  <a:pt x="4937" y="394"/>
                  <a:pt x="4938" y="394"/>
                  <a:pt x="4938" y="394"/>
                </a:cubicBezTo>
                <a:lnTo>
                  <a:pt x="4938" y="394"/>
                </a:lnTo>
                <a:lnTo>
                  <a:pt x="4936" y="397"/>
                </a:lnTo>
                <a:cubicBezTo>
                  <a:pt x="4934" y="399"/>
                  <a:pt x="4933" y="401"/>
                  <a:pt x="4932" y="401"/>
                </a:cubicBezTo>
                <a:close/>
                <a:moveTo>
                  <a:pt x="5223" y="552"/>
                </a:moveTo>
                <a:cubicBezTo>
                  <a:pt x="5223" y="551"/>
                  <a:pt x="5223" y="551"/>
                  <a:pt x="5224" y="550"/>
                </a:cubicBezTo>
                <a:cubicBezTo>
                  <a:pt x="5226" y="549"/>
                  <a:pt x="5227" y="548"/>
                  <a:pt x="5227" y="548"/>
                </a:cubicBezTo>
                <a:lnTo>
                  <a:pt x="5228" y="548"/>
                </a:lnTo>
                <a:lnTo>
                  <a:pt x="5228" y="549"/>
                </a:lnTo>
                <a:cubicBezTo>
                  <a:pt x="5228" y="549"/>
                  <a:pt x="5227" y="550"/>
                  <a:pt x="5226" y="551"/>
                </a:cubicBezTo>
                <a:cubicBezTo>
                  <a:pt x="5224" y="551"/>
                  <a:pt x="5223" y="552"/>
                  <a:pt x="5223" y="552"/>
                </a:cubicBezTo>
                <a:close/>
                <a:moveTo>
                  <a:pt x="5163" y="605"/>
                </a:moveTo>
                <a:cubicBezTo>
                  <a:pt x="5162" y="605"/>
                  <a:pt x="5161" y="604"/>
                  <a:pt x="5161" y="603"/>
                </a:cubicBezTo>
                <a:cubicBezTo>
                  <a:pt x="5161" y="601"/>
                  <a:pt x="5162" y="601"/>
                  <a:pt x="5164" y="601"/>
                </a:cubicBezTo>
                <a:cubicBezTo>
                  <a:pt x="5165" y="601"/>
                  <a:pt x="5165" y="601"/>
                  <a:pt x="5165" y="602"/>
                </a:cubicBezTo>
                <a:cubicBezTo>
                  <a:pt x="5165" y="602"/>
                  <a:pt x="5165" y="603"/>
                  <a:pt x="5165" y="604"/>
                </a:cubicBezTo>
                <a:cubicBezTo>
                  <a:pt x="5164" y="605"/>
                  <a:pt x="5163" y="605"/>
                  <a:pt x="5163" y="605"/>
                </a:cubicBezTo>
                <a:close/>
                <a:moveTo>
                  <a:pt x="5111" y="658"/>
                </a:moveTo>
                <a:cubicBezTo>
                  <a:pt x="5111" y="658"/>
                  <a:pt x="5110" y="657"/>
                  <a:pt x="5109" y="656"/>
                </a:cubicBezTo>
                <a:cubicBezTo>
                  <a:pt x="5109" y="656"/>
                  <a:pt x="5108" y="656"/>
                  <a:pt x="5108" y="655"/>
                </a:cubicBezTo>
                <a:cubicBezTo>
                  <a:pt x="5108" y="654"/>
                  <a:pt x="5109" y="654"/>
                  <a:pt x="5111" y="654"/>
                </a:cubicBezTo>
                <a:cubicBezTo>
                  <a:pt x="5112" y="654"/>
                  <a:pt x="5113" y="654"/>
                  <a:pt x="5113" y="655"/>
                </a:cubicBezTo>
                <a:lnTo>
                  <a:pt x="5113" y="656"/>
                </a:lnTo>
                <a:cubicBezTo>
                  <a:pt x="5113" y="656"/>
                  <a:pt x="5112" y="656"/>
                  <a:pt x="5112" y="657"/>
                </a:cubicBezTo>
                <a:cubicBezTo>
                  <a:pt x="5112" y="657"/>
                  <a:pt x="5111" y="658"/>
                  <a:pt x="5111" y="658"/>
                </a:cubicBezTo>
                <a:close/>
                <a:moveTo>
                  <a:pt x="5138" y="623"/>
                </a:moveTo>
                <a:cubicBezTo>
                  <a:pt x="5138" y="622"/>
                  <a:pt x="5139" y="621"/>
                  <a:pt x="5141" y="619"/>
                </a:cubicBezTo>
                <a:cubicBezTo>
                  <a:pt x="5144" y="616"/>
                  <a:pt x="5146" y="614"/>
                  <a:pt x="5147" y="614"/>
                </a:cubicBezTo>
                <a:lnTo>
                  <a:pt x="5148" y="615"/>
                </a:lnTo>
                <a:cubicBezTo>
                  <a:pt x="5148" y="616"/>
                  <a:pt x="5146" y="618"/>
                  <a:pt x="5143" y="620"/>
                </a:cubicBezTo>
                <a:cubicBezTo>
                  <a:pt x="5140" y="622"/>
                  <a:pt x="5138" y="623"/>
                  <a:pt x="5138" y="623"/>
                </a:cubicBezTo>
                <a:close/>
                <a:moveTo>
                  <a:pt x="5170" y="598"/>
                </a:moveTo>
                <a:cubicBezTo>
                  <a:pt x="5170" y="598"/>
                  <a:pt x="5169" y="598"/>
                  <a:pt x="5169" y="598"/>
                </a:cubicBezTo>
                <a:cubicBezTo>
                  <a:pt x="5169" y="597"/>
                  <a:pt x="5171" y="595"/>
                  <a:pt x="5175" y="592"/>
                </a:cubicBezTo>
                <a:cubicBezTo>
                  <a:pt x="5179" y="588"/>
                  <a:pt x="5182" y="586"/>
                  <a:pt x="5184" y="586"/>
                </a:cubicBezTo>
                <a:lnTo>
                  <a:pt x="5184" y="586"/>
                </a:lnTo>
                <a:cubicBezTo>
                  <a:pt x="5185" y="586"/>
                  <a:pt x="5186" y="586"/>
                  <a:pt x="5186" y="585"/>
                </a:cubicBezTo>
                <a:lnTo>
                  <a:pt x="5187" y="583"/>
                </a:lnTo>
                <a:lnTo>
                  <a:pt x="5187" y="585"/>
                </a:lnTo>
                <a:cubicBezTo>
                  <a:pt x="5186" y="587"/>
                  <a:pt x="5185" y="588"/>
                  <a:pt x="5184" y="588"/>
                </a:cubicBezTo>
                <a:lnTo>
                  <a:pt x="5184" y="588"/>
                </a:lnTo>
                <a:cubicBezTo>
                  <a:pt x="5182" y="588"/>
                  <a:pt x="5180" y="589"/>
                  <a:pt x="5177" y="593"/>
                </a:cubicBezTo>
                <a:cubicBezTo>
                  <a:pt x="5173" y="596"/>
                  <a:pt x="5171" y="598"/>
                  <a:pt x="5170" y="598"/>
                </a:cubicBezTo>
                <a:close/>
                <a:moveTo>
                  <a:pt x="4771" y="568"/>
                </a:moveTo>
                <a:cubicBezTo>
                  <a:pt x="4771" y="568"/>
                  <a:pt x="4771" y="568"/>
                  <a:pt x="4771" y="566"/>
                </a:cubicBezTo>
                <a:cubicBezTo>
                  <a:pt x="4771" y="565"/>
                  <a:pt x="4771" y="563"/>
                  <a:pt x="4773" y="563"/>
                </a:cubicBezTo>
                <a:lnTo>
                  <a:pt x="4774" y="562"/>
                </a:lnTo>
                <a:cubicBezTo>
                  <a:pt x="4774" y="562"/>
                  <a:pt x="4774" y="563"/>
                  <a:pt x="4774" y="563"/>
                </a:cubicBezTo>
                <a:lnTo>
                  <a:pt x="4774" y="565"/>
                </a:lnTo>
                <a:cubicBezTo>
                  <a:pt x="4773" y="567"/>
                  <a:pt x="4772" y="568"/>
                  <a:pt x="4771" y="568"/>
                </a:cubicBezTo>
                <a:close/>
                <a:moveTo>
                  <a:pt x="4769" y="577"/>
                </a:moveTo>
                <a:cubicBezTo>
                  <a:pt x="4769" y="577"/>
                  <a:pt x="4768" y="577"/>
                  <a:pt x="4768" y="575"/>
                </a:cubicBezTo>
                <a:cubicBezTo>
                  <a:pt x="4768" y="575"/>
                  <a:pt x="4769" y="574"/>
                  <a:pt x="4769" y="573"/>
                </a:cubicBezTo>
                <a:cubicBezTo>
                  <a:pt x="4770" y="572"/>
                  <a:pt x="4771" y="571"/>
                  <a:pt x="4771" y="571"/>
                </a:cubicBezTo>
                <a:cubicBezTo>
                  <a:pt x="4772" y="571"/>
                  <a:pt x="4772" y="572"/>
                  <a:pt x="4772" y="572"/>
                </a:cubicBezTo>
                <a:lnTo>
                  <a:pt x="4772" y="574"/>
                </a:lnTo>
                <a:cubicBezTo>
                  <a:pt x="4771" y="576"/>
                  <a:pt x="4770" y="577"/>
                  <a:pt x="4769" y="577"/>
                </a:cubicBezTo>
                <a:close/>
                <a:moveTo>
                  <a:pt x="4870" y="511"/>
                </a:moveTo>
                <a:cubicBezTo>
                  <a:pt x="4869" y="511"/>
                  <a:pt x="4868" y="510"/>
                  <a:pt x="4868" y="509"/>
                </a:cubicBezTo>
                <a:cubicBezTo>
                  <a:pt x="4868" y="507"/>
                  <a:pt x="4869" y="507"/>
                  <a:pt x="4871" y="507"/>
                </a:cubicBezTo>
                <a:cubicBezTo>
                  <a:pt x="4872" y="507"/>
                  <a:pt x="4872" y="507"/>
                  <a:pt x="4872" y="508"/>
                </a:cubicBezTo>
                <a:lnTo>
                  <a:pt x="4872" y="509"/>
                </a:lnTo>
                <a:cubicBezTo>
                  <a:pt x="4871" y="510"/>
                  <a:pt x="4870" y="511"/>
                  <a:pt x="4870" y="511"/>
                </a:cubicBezTo>
                <a:close/>
                <a:moveTo>
                  <a:pt x="4767" y="690"/>
                </a:moveTo>
                <a:cubicBezTo>
                  <a:pt x="4767" y="689"/>
                  <a:pt x="4766" y="688"/>
                  <a:pt x="4766" y="686"/>
                </a:cubicBezTo>
                <a:cubicBezTo>
                  <a:pt x="4766" y="685"/>
                  <a:pt x="4767" y="684"/>
                  <a:pt x="4767" y="684"/>
                </a:cubicBezTo>
                <a:cubicBezTo>
                  <a:pt x="4768" y="684"/>
                  <a:pt x="4768" y="685"/>
                  <a:pt x="4768" y="687"/>
                </a:cubicBezTo>
                <a:cubicBezTo>
                  <a:pt x="4768" y="688"/>
                  <a:pt x="4768" y="689"/>
                  <a:pt x="4768" y="689"/>
                </a:cubicBezTo>
                <a:lnTo>
                  <a:pt x="4767" y="690"/>
                </a:lnTo>
                <a:close/>
                <a:moveTo>
                  <a:pt x="4765" y="598"/>
                </a:moveTo>
                <a:cubicBezTo>
                  <a:pt x="4764" y="598"/>
                  <a:pt x="4764" y="597"/>
                  <a:pt x="4764" y="595"/>
                </a:cubicBezTo>
                <a:cubicBezTo>
                  <a:pt x="4764" y="593"/>
                  <a:pt x="4765" y="592"/>
                  <a:pt x="4766" y="592"/>
                </a:cubicBezTo>
                <a:cubicBezTo>
                  <a:pt x="4767" y="592"/>
                  <a:pt x="4768" y="592"/>
                  <a:pt x="4768" y="593"/>
                </a:cubicBezTo>
                <a:lnTo>
                  <a:pt x="4767" y="595"/>
                </a:lnTo>
                <a:cubicBezTo>
                  <a:pt x="4766" y="597"/>
                  <a:pt x="4766" y="598"/>
                  <a:pt x="4765" y="598"/>
                </a:cubicBezTo>
                <a:close/>
                <a:moveTo>
                  <a:pt x="4768" y="589"/>
                </a:moveTo>
                <a:cubicBezTo>
                  <a:pt x="4767" y="589"/>
                  <a:pt x="4766" y="588"/>
                  <a:pt x="4766" y="585"/>
                </a:cubicBezTo>
                <a:cubicBezTo>
                  <a:pt x="4766" y="584"/>
                  <a:pt x="4767" y="582"/>
                  <a:pt x="4768" y="581"/>
                </a:cubicBezTo>
                <a:lnTo>
                  <a:pt x="4769" y="581"/>
                </a:lnTo>
                <a:cubicBezTo>
                  <a:pt x="4769" y="581"/>
                  <a:pt x="4769" y="581"/>
                  <a:pt x="4769" y="583"/>
                </a:cubicBezTo>
                <a:lnTo>
                  <a:pt x="4769" y="584"/>
                </a:lnTo>
                <a:cubicBezTo>
                  <a:pt x="4768" y="588"/>
                  <a:pt x="4768" y="589"/>
                  <a:pt x="4768" y="589"/>
                </a:cubicBezTo>
                <a:close/>
                <a:moveTo>
                  <a:pt x="4761" y="649"/>
                </a:moveTo>
                <a:cubicBezTo>
                  <a:pt x="4759" y="648"/>
                  <a:pt x="4758" y="648"/>
                  <a:pt x="4758" y="648"/>
                </a:cubicBezTo>
                <a:lnTo>
                  <a:pt x="4762" y="647"/>
                </a:lnTo>
                <a:cubicBezTo>
                  <a:pt x="4763" y="647"/>
                  <a:pt x="4763" y="647"/>
                  <a:pt x="4763" y="647"/>
                </a:cubicBezTo>
                <a:cubicBezTo>
                  <a:pt x="4764" y="647"/>
                  <a:pt x="4764" y="647"/>
                  <a:pt x="4764" y="648"/>
                </a:cubicBezTo>
                <a:cubicBezTo>
                  <a:pt x="4764" y="648"/>
                  <a:pt x="4763" y="649"/>
                  <a:pt x="4761" y="649"/>
                </a:cubicBezTo>
                <a:close/>
                <a:moveTo>
                  <a:pt x="4762" y="630"/>
                </a:moveTo>
                <a:lnTo>
                  <a:pt x="4762" y="630"/>
                </a:lnTo>
                <a:cubicBezTo>
                  <a:pt x="4761" y="629"/>
                  <a:pt x="4761" y="627"/>
                  <a:pt x="4761" y="625"/>
                </a:cubicBezTo>
                <a:cubicBezTo>
                  <a:pt x="4761" y="623"/>
                  <a:pt x="4761" y="621"/>
                  <a:pt x="4761" y="619"/>
                </a:cubicBezTo>
                <a:cubicBezTo>
                  <a:pt x="4761" y="616"/>
                  <a:pt x="4761" y="614"/>
                  <a:pt x="4761" y="614"/>
                </a:cubicBezTo>
                <a:cubicBezTo>
                  <a:pt x="4763" y="614"/>
                  <a:pt x="4763" y="617"/>
                  <a:pt x="4763" y="622"/>
                </a:cubicBezTo>
                <a:cubicBezTo>
                  <a:pt x="4763" y="627"/>
                  <a:pt x="4763" y="630"/>
                  <a:pt x="4762" y="630"/>
                </a:cubicBezTo>
                <a:close/>
                <a:moveTo>
                  <a:pt x="4763" y="612"/>
                </a:moveTo>
                <a:cubicBezTo>
                  <a:pt x="4763" y="612"/>
                  <a:pt x="4762" y="611"/>
                  <a:pt x="4762" y="609"/>
                </a:cubicBezTo>
                <a:cubicBezTo>
                  <a:pt x="4762" y="608"/>
                  <a:pt x="4762" y="607"/>
                  <a:pt x="4763" y="607"/>
                </a:cubicBezTo>
                <a:cubicBezTo>
                  <a:pt x="4763" y="606"/>
                  <a:pt x="4763" y="606"/>
                  <a:pt x="4764" y="605"/>
                </a:cubicBezTo>
                <a:cubicBezTo>
                  <a:pt x="4765" y="605"/>
                  <a:pt x="4765" y="606"/>
                  <a:pt x="4765" y="607"/>
                </a:cubicBezTo>
                <a:cubicBezTo>
                  <a:pt x="4765" y="607"/>
                  <a:pt x="4765" y="608"/>
                  <a:pt x="4765" y="609"/>
                </a:cubicBezTo>
                <a:cubicBezTo>
                  <a:pt x="4764" y="610"/>
                  <a:pt x="4764" y="610"/>
                  <a:pt x="4764" y="611"/>
                </a:cubicBezTo>
                <a:cubicBezTo>
                  <a:pt x="4763" y="612"/>
                  <a:pt x="4763" y="612"/>
                  <a:pt x="4763" y="612"/>
                </a:cubicBezTo>
                <a:close/>
                <a:moveTo>
                  <a:pt x="5578" y="589"/>
                </a:moveTo>
                <a:cubicBezTo>
                  <a:pt x="5578" y="589"/>
                  <a:pt x="5577" y="589"/>
                  <a:pt x="5577" y="588"/>
                </a:cubicBezTo>
                <a:cubicBezTo>
                  <a:pt x="5577" y="587"/>
                  <a:pt x="5576" y="586"/>
                  <a:pt x="5576" y="585"/>
                </a:cubicBezTo>
                <a:cubicBezTo>
                  <a:pt x="5575" y="585"/>
                  <a:pt x="5575" y="584"/>
                  <a:pt x="5575" y="583"/>
                </a:cubicBezTo>
                <a:lnTo>
                  <a:pt x="5575" y="583"/>
                </a:lnTo>
                <a:lnTo>
                  <a:pt x="5577" y="585"/>
                </a:lnTo>
                <a:cubicBezTo>
                  <a:pt x="5578" y="586"/>
                  <a:pt x="5579" y="587"/>
                  <a:pt x="5579" y="588"/>
                </a:cubicBezTo>
                <a:lnTo>
                  <a:pt x="5578" y="589"/>
                </a:lnTo>
                <a:close/>
                <a:moveTo>
                  <a:pt x="5265" y="595"/>
                </a:moveTo>
                <a:cubicBezTo>
                  <a:pt x="5264" y="595"/>
                  <a:pt x="5263" y="595"/>
                  <a:pt x="5263" y="594"/>
                </a:cubicBezTo>
                <a:cubicBezTo>
                  <a:pt x="5262" y="593"/>
                  <a:pt x="5261" y="592"/>
                  <a:pt x="5261" y="591"/>
                </a:cubicBezTo>
                <a:cubicBezTo>
                  <a:pt x="5261" y="589"/>
                  <a:pt x="5262" y="587"/>
                  <a:pt x="5264" y="584"/>
                </a:cubicBezTo>
                <a:cubicBezTo>
                  <a:pt x="5265" y="582"/>
                  <a:pt x="5266" y="580"/>
                  <a:pt x="5266" y="580"/>
                </a:cubicBezTo>
                <a:lnTo>
                  <a:pt x="5267" y="586"/>
                </a:lnTo>
                <a:lnTo>
                  <a:pt x="5267" y="588"/>
                </a:lnTo>
                <a:cubicBezTo>
                  <a:pt x="5267" y="593"/>
                  <a:pt x="5267" y="595"/>
                  <a:pt x="5265" y="595"/>
                </a:cubicBezTo>
                <a:close/>
                <a:moveTo>
                  <a:pt x="5280" y="565"/>
                </a:moveTo>
                <a:cubicBezTo>
                  <a:pt x="5280" y="565"/>
                  <a:pt x="5280" y="564"/>
                  <a:pt x="5279" y="563"/>
                </a:cubicBezTo>
                <a:cubicBezTo>
                  <a:pt x="5279" y="563"/>
                  <a:pt x="5278" y="563"/>
                  <a:pt x="5278" y="562"/>
                </a:cubicBezTo>
                <a:lnTo>
                  <a:pt x="5277" y="561"/>
                </a:lnTo>
                <a:cubicBezTo>
                  <a:pt x="5277" y="560"/>
                  <a:pt x="5278" y="560"/>
                  <a:pt x="5279" y="560"/>
                </a:cubicBezTo>
                <a:cubicBezTo>
                  <a:pt x="5280" y="560"/>
                  <a:pt x="5281" y="561"/>
                  <a:pt x="5281" y="562"/>
                </a:cubicBezTo>
                <a:cubicBezTo>
                  <a:pt x="5281" y="564"/>
                  <a:pt x="5281" y="565"/>
                  <a:pt x="5280" y="565"/>
                </a:cubicBezTo>
                <a:close/>
                <a:moveTo>
                  <a:pt x="5286" y="747"/>
                </a:moveTo>
                <a:cubicBezTo>
                  <a:pt x="5282" y="747"/>
                  <a:pt x="5277" y="747"/>
                  <a:pt x="5273" y="746"/>
                </a:cubicBezTo>
                <a:cubicBezTo>
                  <a:pt x="5261" y="743"/>
                  <a:pt x="5253" y="738"/>
                  <a:pt x="5249" y="732"/>
                </a:cubicBezTo>
                <a:cubicBezTo>
                  <a:pt x="5247" y="729"/>
                  <a:pt x="5245" y="728"/>
                  <a:pt x="5243" y="728"/>
                </a:cubicBezTo>
                <a:cubicBezTo>
                  <a:pt x="5241" y="728"/>
                  <a:pt x="5239" y="726"/>
                  <a:pt x="5236" y="722"/>
                </a:cubicBezTo>
                <a:cubicBezTo>
                  <a:pt x="5233" y="718"/>
                  <a:pt x="5230" y="714"/>
                  <a:pt x="5227" y="710"/>
                </a:cubicBezTo>
                <a:cubicBezTo>
                  <a:pt x="5225" y="705"/>
                  <a:pt x="5223" y="702"/>
                  <a:pt x="5223" y="699"/>
                </a:cubicBezTo>
                <a:lnTo>
                  <a:pt x="5224" y="696"/>
                </a:lnTo>
                <a:cubicBezTo>
                  <a:pt x="5224" y="696"/>
                  <a:pt x="5224" y="695"/>
                  <a:pt x="5223" y="695"/>
                </a:cubicBezTo>
                <a:cubicBezTo>
                  <a:pt x="5222" y="695"/>
                  <a:pt x="5221" y="689"/>
                  <a:pt x="5221" y="678"/>
                </a:cubicBezTo>
                <a:cubicBezTo>
                  <a:pt x="5221" y="667"/>
                  <a:pt x="5222" y="654"/>
                  <a:pt x="5223" y="638"/>
                </a:cubicBezTo>
                <a:cubicBezTo>
                  <a:pt x="5224" y="623"/>
                  <a:pt x="5226" y="612"/>
                  <a:pt x="5228" y="604"/>
                </a:cubicBezTo>
                <a:cubicBezTo>
                  <a:pt x="5230" y="599"/>
                  <a:pt x="5230" y="595"/>
                  <a:pt x="5230" y="592"/>
                </a:cubicBezTo>
                <a:lnTo>
                  <a:pt x="5230" y="589"/>
                </a:lnTo>
                <a:cubicBezTo>
                  <a:pt x="5230" y="588"/>
                  <a:pt x="5231" y="586"/>
                  <a:pt x="5232" y="585"/>
                </a:cubicBezTo>
                <a:cubicBezTo>
                  <a:pt x="5233" y="583"/>
                  <a:pt x="5234" y="581"/>
                  <a:pt x="5234" y="579"/>
                </a:cubicBezTo>
                <a:lnTo>
                  <a:pt x="5234" y="577"/>
                </a:lnTo>
                <a:cubicBezTo>
                  <a:pt x="5234" y="577"/>
                  <a:pt x="5234" y="576"/>
                  <a:pt x="5234" y="576"/>
                </a:cubicBezTo>
                <a:lnTo>
                  <a:pt x="5236" y="577"/>
                </a:lnTo>
                <a:cubicBezTo>
                  <a:pt x="5237" y="577"/>
                  <a:pt x="5237" y="577"/>
                  <a:pt x="5237" y="576"/>
                </a:cubicBezTo>
                <a:lnTo>
                  <a:pt x="5237" y="574"/>
                </a:lnTo>
                <a:cubicBezTo>
                  <a:pt x="5237" y="572"/>
                  <a:pt x="5239" y="566"/>
                  <a:pt x="5243" y="557"/>
                </a:cubicBezTo>
                <a:cubicBezTo>
                  <a:pt x="5247" y="549"/>
                  <a:pt x="5252" y="541"/>
                  <a:pt x="5258" y="533"/>
                </a:cubicBezTo>
                <a:cubicBezTo>
                  <a:pt x="5267" y="521"/>
                  <a:pt x="5274" y="515"/>
                  <a:pt x="5280" y="515"/>
                </a:cubicBezTo>
                <a:cubicBezTo>
                  <a:pt x="5281" y="515"/>
                  <a:pt x="5283" y="516"/>
                  <a:pt x="5284" y="516"/>
                </a:cubicBezTo>
                <a:cubicBezTo>
                  <a:pt x="5287" y="517"/>
                  <a:pt x="5290" y="518"/>
                  <a:pt x="5295" y="519"/>
                </a:cubicBezTo>
                <a:cubicBezTo>
                  <a:pt x="5299" y="520"/>
                  <a:pt x="5301" y="522"/>
                  <a:pt x="5301" y="523"/>
                </a:cubicBezTo>
                <a:lnTo>
                  <a:pt x="5299" y="529"/>
                </a:lnTo>
                <a:cubicBezTo>
                  <a:pt x="5299" y="531"/>
                  <a:pt x="5300" y="533"/>
                  <a:pt x="5302" y="533"/>
                </a:cubicBezTo>
                <a:cubicBezTo>
                  <a:pt x="5304" y="534"/>
                  <a:pt x="5305" y="535"/>
                  <a:pt x="5305" y="537"/>
                </a:cubicBezTo>
                <a:lnTo>
                  <a:pt x="5305" y="541"/>
                </a:lnTo>
                <a:cubicBezTo>
                  <a:pt x="5304" y="541"/>
                  <a:pt x="5304" y="540"/>
                  <a:pt x="5304" y="538"/>
                </a:cubicBezTo>
                <a:cubicBezTo>
                  <a:pt x="5303" y="536"/>
                  <a:pt x="5302" y="535"/>
                  <a:pt x="5301" y="535"/>
                </a:cubicBezTo>
                <a:cubicBezTo>
                  <a:pt x="5300" y="535"/>
                  <a:pt x="5299" y="537"/>
                  <a:pt x="5298" y="541"/>
                </a:cubicBezTo>
                <a:cubicBezTo>
                  <a:pt x="5297" y="546"/>
                  <a:pt x="5296" y="548"/>
                  <a:pt x="5295" y="548"/>
                </a:cubicBezTo>
                <a:lnTo>
                  <a:pt x="5293" y="547"/>
                </a:lnTo>
                <a:cubicBezTo>
                  <a:pt x="5293" y="547"/>
                  <a:pt x="5292" y="547"/>
                  <a:pt x="5292" y="548"/>
                </a:cubicBezTo>
                <a:cubicBezTo>
                  <a:pt x="5291" y="548"/>
                  <a:pt x="5290" y="549"/>
                  <a:pt x="5290" y="550"/>
                </a:cubicBezTo>
                <a:cubicBezTo>
                  <a:pt x="5290" y="550"/>
                  <a:pt x="5290" y="551"/>
                  <a:pt x="5291" y="551"/>
                </a:cubicBezTo>
                <a:lnTo>
                  <a:pt x="5293" y="550"/>
                </a:lnTo>
                <a:cubicBezTo>
                  <a:pt x="5294" y="550"/>
                  <a:pt x="5294" y="550"/>
                  <a:pt x="5294" y="551"/>
                </a:cubicBezTo>
                <a:cubicBezTo>
                  <a:pt x="5294" y="553"/>
                  <a:pt x="5293" y="555"/>
                  <a:pt x="5292" y="558"/>
                </a:cubicBezTo>
                <a:lnTo>
                  <a:pt x="5290" y="560"/>
                </a:lnTo>
                <a:lnTo>
                  <a:pt x="5292" y="554"/>
                </a:lnTo>
                <a:lnTo>
                  <a:pt x="5291" y="553"/>
                </a:lnTo>
                <a:cubicBezTo>
                  <a:pt x="5291" y="553"/>
                  <a:pt x="5290" y="554"/>
                  <a:pt x="5289" y="556"/>
                </a:cubicBezTo>
                <a:cubicBezTo>
                  <a:pt x="5287" y="558"/>
                  <a:pt x="5285" y="560"/>
                  <a:pt x="5284" y="560"/>
                </a:cubicBezTo>
                <a:cubicBezTo>
                  <a:pt x="5281" y="560"/>
                  <a:pt x="5279" y="556"/>
                  <a:pt x="5279" y="550"/>
                </a:cubicBezTo>
                <a:lnTo>
                  <a:pt x="5279" y="544"/>
                </a:lnTo>
                <a:cubicBezTo>
                  <a:pt x="5279" y="542"/>
                  <a:pt x="5278" y="541"/>
                  <a:pt x="5277" y="541"/>
                </a:cubicBezTo>
                <a:cubicBezTo>
                  <a:pt x="5277" y="541"/>
                  <a:pt x="5277" y="541"/>
                  <a:pt x="5276" y="541"/>
                </a:cubicBezTo>
                <a:cubicBezTo>
                  <a:pt x="5276" y="542"/>
                  <a:pt x="5275" y="543"/>
                  <a:pt x="5275" y="544"/>
                </a:cubicBezTo>
                <a:lnTo>
                  <a:pt x="5275" y="548"/>
                </a:lnTo>
                <a:cubicBezTo>
                  <a:pt x="5275" y="549"/>
                  <a:pt x="5275" y="551"/>
                  <a:pt x="5274" y="553"/>
                </a:cubicBezTo>
                <a:cubicBezTo>
                  <a:pt x="5274" y="556"/>
                  <a:pt x="5273" y="557"/>
                  <a:pt x="5272" y="559"/>
                </a:cubicBezTo>
                <a:cubicBezTo>
                  <a:pt x="5270" y="560"/>
                  <a:pt x="5270" y="561"/>
                  <a:pt x="5269" y="561"/>
                </a:cubicBezTo>
                <a:cubicBezTo>
                  <a:pt x="5269" y="561"/>
                  <a:pt x="5268" y="561"/>
                  <a:pt x="5268" y="561"/>
                </a:cubicBezTo>
                <a:lnTo>
                  <a:pt x="5267" y="560"/>
                </a:lnTo>
                <a:lnTo>
                  <a:pt x="5267" y="562"/>
                </a:lnTo>
                <a:cubicBezTo>
                  <a:pt x="5267" y="564"/>
                  <a:pt x="5265" y="571"/>
                  <a:pt x="5260" y="583"/>
                </a:cubicBezTo>
                <a:cubicBezTo>
                  <a:pt x="5253" y="598"/>
                  <a:pt x="5250" y="607"/>
                  <a:pt x="5250" y="611"/>
                </a:cubicBezTo>
                <a:lnTo>
                  <a:pt x="5250" y="612"/>
                </a:lnTo>
                <a:cubicBezTo>
                  <a:pt x="5250" y="612"/>
                  <a:pt x="5250" y="611"/>
                  <a:pt x="5250" y="610"/>
                </a:cubicBezTo>
                <a:cubicBezTo>
                  <a:pt x="5251" y="610"/>
                  <a:pt x="5251" y="609"/>
                  <a:pt x="5252" y="609"/>
                </a:cubicBezTo>
                <a:lnTo>
                  <a:pt x="5254" y="610"/>
                </a:lnTo>
                <a:lnTo>
                  <a:pt x="5255" y="609"/>
                </a:lnTo>
                <a:cubicBezTo>
                  <a:pt x="5255" y="608"/>
                  <a:pt x="5254" y="608"/>
                  <a:pt x="5254" y="607"/>
                </a:cubicBezTo>
                <a:cubicBezTo>
                  <a:pt x="5254" y="606"/>
                  <a:pt x="5254" y="605"/>
                  <a:pt x="5254" y="604"/>
                </a:cubicBezTo>
                <a:cubicBezTo>
                  <a:pt x="5254" y="602"/>
                  <a:pt x="5254" y="600"/>
                  <a:pt x="5255" y="598"/>
                </a:cubicBezTo>
                <a:cubicBezTo>
                  <a:pt x="5256" y="597"/>
                  <a:pt x="5257" y="596"/>
                  <a:pt x="5259" y="596"/>
                </a:cubicBezTo>
                <a:cubicBezTo>
                  <a:pt x="5259" y="596"/>
                  <a:pt x="5260" y="596"/>
                  <a:pt x="5261" y="597"/>
                </a:cubicBezTo>
                <a:cubicBezTo>
                  <a:pt x="5262" y="597"/>
                  <a:pt x="5262" y="598"/>
                  <a:pt x="5263" y="599"/>
                </a:cubicBezTo>
                <a:cubicBezTo>
                  <a:pt x="5264" y="600"/>
                  <a:pt x="5264" y="601"/>
                  <a:pt x="5264" y="602"/>
                </a:cubicBezTo>
                <a:cubicBezTo>
                  <a:pt x="5264" y="603"/>
                  <a:pt x="5264" y="603"/>
                  <a:pt x="5264" y="603"/>
                </a:cubicBezTo>
                <a:cubicBezTo>
                  <a:pt x="5263" y="603"/>
                  <a:pt x="5262" y="602"/>
                  <a:pt x="5261" y="600"/>
                </a:cubicBezTo>
                <a:lnTo>
                  <a:pt x="5258" y="597"/>
                </a:lnTo>
                <a:lnTo>
                  <a:pt x="5258" y="597"/>
                </a:lnTo>
                <a:cubicBezTo>
                  <a:pt x="5258" y="598"/>
                  <a:pt x="5259" y="599"/>
                  <a:pt x="5259" y="602"/>
                </a:cubicBezTo>
                <a:cubicBezTo>
                  <a:pt x="5260" y="604"/>
                  <a:pt x="5261" y="605"/>
                  <a:pt x="5261" y="606"/>
                </a:cubicBezTo>
                <a:cubicBezTo>
                  <a:pt x="5261" y="607"/>
                  <a:pt x="5260" y="607"/>
                  <a:pt x="5260" y="607"/>
                </a:cubicBezTo>
                <a:lnTo>
                  <a:pt x="5258" y="606"/>
                </a:lnTo>
                <a:cubicBezTo>
                  <a:pt x="5258" y="606"/>
                  <a:pt x="5258" y="607"/>
                  <a:pt x="5258" y="607"/>
                </a:cubicBezTo>
                <a:lnTo>
                  <a:pt x="5259" y="614"/>
                </a:lnTo>
                <a:cubicBezTo>
                  <a:pt x="5259" y="614"/>
                  <a:pt x="5259" y="614"/>
                  <a:pt x="5259" y="614"/>
                </a:cubicBezTo>
                <a:lnTo>
                  <a:pt x="5256" y="613"/>
                </a:lnTo>
                <a:cubicBezTo>
                  <a:pt x="5256" y="613"/>
                  <a:pt x="5255" y="614"/>
                  <a:pt x="5255" y="614"/>
                </a:cubicBezTo>
                <a:cubicBezTo>
                  <a:pt x="5255" y="615"/>
                  <a:pt x="5256" y="616"/>
                  <a:pt x="5256" y="617"/>
                </a:cubicBezTo>
                <a:cubicBezTo>
                  <a:pt x="5256" y="618"/>
                  <a:pt x="5256" y="619"/>
                  <a:pt x="5256" y="620"/>
                </a:cubicBezTo>
                <a:cubicBezTo>
                  <a:pt x="5256" y="622"/>
                  <a:pt x="5256" y="623"/>
                  <a:pt x="5255" y="623"/>
                </a:cubicBezTo>
                <a:cubicBezTo>
                  <a:pt x="5254" y="624"/>
                  <a:pt x="5254" y="625"/>
                  <a:pt x="5254" y="625"/>
                </a:cubicBezTo>
                <a:lnTo>
                  <a:pt x="5255" y="628"/>
                </a:lnTo>
                <a:cubicBezTo>
                  <a:pt x="5255" y="628"/>
                  <a:pt x="5255" y="628"/>
                  <a:pt x="5255" y="628"/>
                </a:cubicBezTo>
                <a:lnTo>
                  <a:pt x="5252" y="627"/>
                </a:lnTo>
                <a:cubicBezTo>
                  <a:pt x="5251" y="627"/>
                  <a:pt x="5251" y="628"/>
                  <a:pt x="5251" y="629"/>
                </a:cubicBezTo>
                <a:lnTo>
                  <a:pt x="5251" y="634"/>
                </a:lnTo>
                <a:cubicBezTo>
                  <a:pt x="5251" y="636"/>
                  <a:pt x="5251" y="638"/>
                  <a:pt x="5250" y="639"/>
                </a:cubicBezTo>
                <a:cubicBezTo>
                  <a:pt x="5249" y="642"/>
                  <a:pt x="5248" y="648"/>
                  <a:pt x="5247" y="657"/>
                </a:cubicBezTo>
                <a:cubicBezTo>
                  <a:pt x="5246" y="666"/>
                  <a:pt x="5246" y="674"/>
                  <a:pt x="5246" y="683"/>
                </a:cubicBezTo>
                <a:cubicBezTo>
                  <a:pt x="5246" y="690"/>
                  <a:pt x="5246" y="696"/>
                  <a:pt x="5247" y="701"/>
                </a:cubicBezTo>
                <a:cubicBezTo>
                  <a:pt x="5249" y="711"/>
                  <a:pt x="5256" y="716"/>
                  <a:pt x="5268" y="716"/>
                </a:cubicBezTo>
                <a:cubicBezTo>
                  <a:pt x="5297" y="716"/>
                  <a:pt x="5357" y="689"/>
                  <a:pt x="5448" y="637"/>
                </a:cubicBezTo>
                <a:lnTo>
                  <a:pt x="5548" y="578"/>
                </a:lnTo>
                <a:cubicBezTo>
                  <a:pt x="5573" y="563"/>
                  <a:pt x="5587" y="555"/>
                  <a:pt x="5590" y="555"/>
                </a:cubicBezTo>
                <a:lnTo>
                  <a:pt x="5591" y="555"/>
                </a:lnTo>
                <a:cubicBezTo>
                  <a:pt x="5592" y="555"/>
                  <a:pt x="5592" y="555"/>
                  <a:pt x="5592" y="554"/>
                </a:cubicBezTo>
                <a:cubicBezTo>
                  <a:pt x="5592" y="553"/>
                  <a:pt x="5592" y="552"/>
                  <a:pt x="5593" y="551"/>
                </a:cubicBezTo>
                <a:cubicBezTo>
                  <a:pt x="5594" y="551"/>
                  <a:pt x="5594" y="551"/>
                  <a:pt x="5595" y="551"/>
                </a:cubicBezTo>
                <a:cubicBezTo>
                  <a:pt x="5597" y="551"/>
                  <a:pt x="5598" y="550"/>
                  <a:pt x="5598" y="549"/>
                </a:cubicBezTo>
                <a:cubicBezTo>
                  <a:pt x="5598" y="548"/>
                  <a:pt x="5599" y="547"/>
                  <a:pt x="5599" y="547"/>
                </a:cubicBezTo>
                <a:lnTo>
                  <a:pt x="5602" y="548"/>
                </a:lnTo>
                <a:cubicBezTo>
                  <a:pt x="5602" y="548"/>
                  <a:pt x="5603" y="547"/>
                  <a:pt x="5603" y="546"/>
                </a:cubicBezTo>
                <a:cubicBezTo>
                  <a:pt x="5603" y="545"/>
                  <a:pt x="5604" y="545"/>
                  <a:pt x="5606" y="545"/>
                </a:cubicBezTo>
                <a:lnTo>
                  <a:pt x="5607" y="545"/>
                </a:lnTo>
                <a:cubicBezTo>
                  <a:pt x="5609" y="545"/>
                  <a:pt x="5612" y="543"/>
                  <a:pt x="5615" y="540"/>
                </a:cubicBezTo>
                <a:lnTo>
                  <a:pt x="5616" y="539"/>
                </a:lnTo>
                <a:cubicBezTo>
                  <a:pt x="5617" y="539"/>
                  <a:pt x="5619" y="540"/>
                  <a:pt x="5621" y="542"/>
                </a:cubicBezTo>
                <a:cubicBezTo>
                  <a:pt x="5623" y="544"/>
                  <a:pt x="5625" y="546"/>
                  <a:pt x="5627" y="548"/>
                </a:cubicBezTo>
                <a:cubicBezTo>
                  <a:pt x="5628" y="550"/>
                  <a:pt x="5629" y="551"/>
                  <a:pt x="5629" y="552"/>
                </a:cubicBezTo>
                <a:cubicBezTo>
                  <a:pt x="5629" y="555"/>
                  <a:pt x="5623" y="560"/>
                  <a:pt x="5611" y="568"/>
                </a:cubicBezTo>
                <a:cubicBezTo>
                  <a:pt x="5608" y="570"/>
                  <a:pt x="5606" y="571"/>
                  <a:pt x="5605" y="571"/>
                </a:cubicBezTo>
                <a:cubicBezTo>
                  <a:pt x="5604" y="571"/>
                  <a:pt x="5604" y="571"/>
                  <a:pt x="5604" y="570"/>
                </a:cubicBezTo>
                <a:cubicBezTo>
                  <a:pt x="5604" y="569"/>
                  <a:pt x="5604" y="568"/>
                  <a:pt x="5605" y="568"/>
                </a:cubicBezTo>
                <a:lnTo>
                  <a:pt x="5606" y="568"/>
                </a:lnTo>
                <a:cubicBezTo>
                  <a:pt x="5607" y="568"/>
                  <a:pt x="5607" y="568"/>
                  <a:pt x="5607" y="567"/>
                </a:cubicBezTo>
                <a:cubicBezTo>
                  <a:pt x="5607" y="566"/>
                  <a:pt x="5608" y="566"/>
                  <a:pt x="5609" y="565"/>
                </a:cubicBezTo>
                <a:cubicBezTo>
                  <a:pt x="5611" y="564"/>
                  <a:pt x="5612" y="563"/>
                  <a:pt x="5614" y="562"/>
                </a:cubicBezTo>
                <a:cubicBezTo>
                  <a:pt x="5616" y="561"/>
                  <a:pt x="5618" y="561"/>
                  <a:pt x="5620" y="559"/>
                </a:cubicBezTo>
                <a:cubicBezTo>
                  <a:pt x="5621" y="558"/>
                  <a:pt x="5622" y="557"/>
                  <a:pt x="5622" y="556"/>
                </a:cubicBezTo>
                <a:cubicBezTo>
                  <a:pt x="5622" y="554"/>
                  <a:pt x="5622" y="553"/>
                  <a:pt x="5621" y="553"/>
                </a:cubicBezTo>
                <a:cubicBezTo>
                  <a:pt x="5620" y="553"/>
                  <a:pt x="5618" y="554"/>
                  <a:pt x="5616" y="557"/>
                </a:cubicBezTo>
                <a:cubicBezTo>
                  <a:pt x="5613" y="560"/>
                  <a:pt x="5611" y="561"/>
                  <a:pt x="5610" y="561"/>
                </a:cubicBezTo>
                <a:lnTo>
                  <a:pt x="5609" y="561"/>
                </a:lnTo>
                <a:cubicBezTo>
                  <a:pt x="5607" y="561"/>
                  <a:pt x="5606" y="562"/>
                  <a:pt x="5604" y="564"/>
                </a:cubicBezTo>
                <a:cubicBezTo>
                  <a:pt x="5602" y="566"/>
                  <a:pt x="5600" y="568"/>
                  <a:pt x="5597" y="569"/>
                </a:cubicBezTo>
                <a:cubicBezTo>
                  <a:pt x="5594" y="571"/>
                  <a:pt x="5591" y="571"/>
                  <a:pt x="5590" y="571"/>
                </a:cubicBezTo>
                <a:lnTo>
                  <a:pt x="5588" y="571"/>
                </a:lnTo>
                <a:cubicBezTo>
                  <a:pt x="5587" y="571"/>
                  <a:pt x="5587" y="571"/>
                  <a:pt x="5586" y="573"/>
                </a:cubicBezTo>
                <a:cubicBezTo>
                  <a:pt x="5585" y="574"/>
                  <a:pt x="5584" y="576"/>
                  <a:pt x="5584" y="578"/>
                </a:cubicBezTo>
                <a:cubicBezTo>
                  <a:pt x="5583" y="580"/>
                  <a:pt x="5582" y="581"/>
                  <a:pt x="5582" y="583"/>
                </a:cubicBezTo>
                <a:lnTo>
                  <a:pt x="5582" y="586"/>
                </a:lnTo>
                <a:lnTo>
                  <a:pt x="5582" y="585"/>
                </a:lnTo>
                <a:cubicBezTo>
                  <a:pt x="5580" y="582"/>
                  <a:pt x="5579" y="580"/>
                  <a:pt x="5577" y="580"/>
                </a:cubicBezTo>
                <a:cubicBezTo>
                  <a:pt x="5575" y="580"/>
                  <a:pt x="5574" y="581"/>
                  <a:pt x="5573" y="583"/>
                </a:cubicBezTo>
                <a:cubicBezTo>
                  <a:pt x="5572" y="585"/>
                  <a:pt x="5572" y="586"/>
                  <a:pt x="5572" y="588"/>
                </a:cubicBezTo>
                <a:lnTo>
                  <a:pt x="5572" y="588"/>
                </a:lnTo>
                <a:cubicBezTo>
                  <a:pt x="5572" y="589"/>
                  <a:pt x="5571" y="589"/>
                  <a:pt x="5571" y="589"/>
                </a:cubicBezTo>
                <a:lnTo>
                  <a:pt x="5568" y="588"/>
                </a:lnTo>
                <a:cubicBezTo>
                  <a:pt x="5566" y="588"/>
                  <a:pt x="5566" y="590"/>
                  <a:pt x="5566" y="593"/>
                </a:cubicBezTo>
                <a:cubicBezTo>
                  <a:pt x="5566" y="596"/>
                  <a:pt x="5565" y="598"/>
                  <a:pt x="5563" y="598"/>
                </a:cubicBezTo>
                <a:cubicBezTo>
                  <a:pt x="5561" y="599"/>
                  <a:pt x="5560" y="600"/>
                  <a:pt x="5560" y="601"/>
                </a:cubicBezTo>
                <a:lnTo>
                  <a:pt x="5562" y="603"/>
                </a:lnTo>
                <a:lnTo>
                  <a:pt x="5561" y="604"/>
                </a:lnTo>
                <a:lnTo>
                  <a:pt x="5560" y="603"/>
                </a:lnTo>
                <a:cubicBezTo>
                  <a:pt x="5560" y="603"/>
                  <a:pt x="5560" y="603"/>
                  <a:pt x="5559" y="603"/>
                </a:cubicBezTo>
                <a:cubicBezTo>
                  <a:pt x="5558" y="603"/>
                  <a:pt x="5557" y="603"/>
                  <a:pt x="5556" y="604"/>
                </a:cubicBezTo>
                <a:cubicBezTo>
                  <a:pt x="5555" y="605"/>
                  <a:pt x="5554" y="605"/>
                  <a:pt x="5553" y="605"/>
                </a:cubicBezTo>
                <a:cubicBezTo>
                  <a:pt x="5553" y="605"/>
                  <a:pt x="5553" y="605"/>
                  <a:pt x="5553" y="604"/>
                </a:cubicBezTo>
                <a:cubicBezTo>
                  <a:pt x="5553" y="603"/>
                  <a:pt x="5554" y="601"/>
                  <a:pt x="5555" y="601"/>
                </a:cubicBezTo>
                <a:cubicBezTo>
                  <a:pt x="5556" y="600"/>
                  <a:pt x="5557" y="600"/>
                  <a:pt x="5557" y="599"/>
                </a:cubicBezTo>
                <a:cubicBezTo>
                  <a:pt x="5557" y="598"/>
                  <a:pt x="5556" y="596"/>
                  <a:pt x="5556" y="595"/>
                </a:cubicBezTo>
                <a:cubicBezTo>
                  <a:pt x="5555" y="593"/>
                  <a:pt x="5555" y="593"/>
                  <a:pt x="5554" y="593"/>
                </a:cubicBezTo>
                <a:cubicBezTo>
                  <a:pt x="5554" y="593"/>
                  <a:pt x="5553" y="593"/>
                  <a:pt x="5552" y="595"/>
                </a:cubicBezTo>
                <a:cubicBezTo>
                  <a:pt x="5549" y="598"/>
                  <a:pt x="5540" y="603"/>
                  <a:pt x="5524" y="612"/>
                </a:cubicBezTo>
                <a:cubicBezTo>
                  <a:pt x="5508" y="620"/>
                  <a:pt x="5500" y="625"/>
                  <a:pt x="5500" y="627"/>
                </a:cubicBezTo>
                <a:cubicBezTo>
                  <a:pt x="5500" y="628"/>
                  <a:pt x="5499" y="628"/>
                  <a:pt x="5497" y="628"/>
                </a:cubicBezTo>
                <a:cubicBezTo>
                  <a:pt x="5495" y="628"/>
                  <a:pt x="5494" y="629"/>
                  <a:pt x="5494" y="630"/>
                </a:cubicBezTo>
                <a:lnTo>
                  <a:pt x="5494" y="635"/>
                </a:lnTo>
                <a:cubicBezTo>
                  <a:pt x="5494" y="635"/>
                  <a:pt x="5493" y="634"/>
                  <a:pt x="5492" y="634"/>
                </a:cubicBezTo>
                <a:cubicBezTo>
                  <a:pt x="5492" y="633"/>
                  <a:pt x="5490" y="632"/>
                  <a:pt x="5490" y="632"/>
                </a:cubicBezTo>
                <a:cubicBezTo>
                  <a:pt x="5488" y="632"/>
                  <a:pt x="5486" y="633"/>
                  <a:pt x="5483" y="634"/>
                </a:cubicBezTo>
                <a:cubicBezTo>
                  <a:pt x="5481" y="635"/>
                  <a:pt x="5479" y="636"/>
                  <a:pt x="5477" y="638"/>
                </a:cubicBezTo>
                <a:cubicBezTo>
                  <a:pt x="5475" y="639"/>
                  <a:pt x="5474" y="641"/>
                  <a:pt x="5474" y="642"/>
                </a:cubicBezTo>
                <a:lnTo>
                  <a:pt x="5474" y="643"/>
                </a:lnTo>
                <a:lnTo>
                  <a:pt x="5474" y="646"/>
                </a:lnTo>
                <a:cubicBezTo>
                  <a:pt x="5472" y="648"/>
                  <a:pt x="5470" y="650"/>
                  <a:pt x="5468" y="650"/>
                </a:cubicBezTo>
                <a:cubicBezTo>
                  <a:pt x="5467" y="650"/>
                  <a:pt x="5467" y="649"/>
                  <a:pt x="5467" y="649"/>
                </a:cubicBezTo>
                <a:cubicBezTo>
                  <a:pt x="5467" y="648"/>
                  <a:pt x="5467" y="647"/>
                  <a:pt x="5468" y="646"/>
                </a:cubicBezTo>
                <a:cubicBezTo>
                  <a:pt x="5470" y="644"/>
                  <a:pt x="5470" y="643"/>
                  <a:pt x="5470" y="643"/>
                </a:cubicBezTo>
                <a:lnTo>
                  <a:pt x="5470" y="643"/>
                </a:lnTo>
                <a:cubicBezTo>
                  <a:pt x="5469" y="643"/>
                  <a:pt x="5465" y="644"/>
                  <a:pt x="5460" y="648"/>
                </a:cubicBezTo>
                <a:cubicBezTo>
                  <a:pt x="5455" y="652"/>
                  <a:pt x="5452" y="654"/>
                  <a:pt x="5452" y="655"/>
                </a:cubicBezTo>
                <a:cubicBezTo>
                  <a:pt x="5452" y="657"/>
                  <a:pt x="5451" y="658"/>
                  <a:pt x="5451" y="659"/>
                </a:cubicBezTo>
                <a:cubicBezTo>
                  <a:pt x="5450" y="660"/>
                  <a:pt x="5448" y="661"/>
                  <a:pt x="5446" y="661"/>
                </a:cubicBezTo>
                <a:cubicBezTo>
                  <a:pt x="5446" y="661"/>
                  <a:pt x="5447" y="660"/>
                  <a:pt x="5448" y="659"/>
                </a:cubicBezTo>
                <a:cubicBezTo>
                  <a:pt x="5450" y="658"/>
                  <a:pt x="5450" y="657"/>
                  <a:pt x="5450" y="656"/>
                </a:cubicBezTo>
                <a:cubicBezTo>
                  <a:pt x="5450" y="655"/>
                  <a:pt x="5450" y="655"/>
                  <a:pt x="5450" y="655"/>
                </a:cubicBezTo>
                <a:cubicBezTo>
                  <a:pt x="5448" y="655"/>
                  <a:pt x="5446" y="655"/>
                  <a:pt x="5444" y="657"/>
                </a:cubicBezTo>
                <a:cubicBezTo>
                  <a:pt x="5442" y="658"/>
                  <a:pt x="5441" y="659"/>
                  <a:pt x="5441" y="660"/>
                </a:cubicBezTo>
                <a:cubicBezTo>
                  <a:pt x="5441" y="661"/>
                  <a:pt x="5441" y="661"/>
                  <a:pt x="5442" y="661"/>
                </a:cubicBezTo>
                <a:cubicBezTo>
                  <a:pt x="5443" y="661"/>
                  <a:pt x="5443" y="661"/>
                  <a:pt x="5443" y="662"/>
                </a:cubicBezTo>
                <a:lnTo>
                  <a:pt x="5443" y="665"/>
                </a:lnTo>
                <a:cubicBezTo>
                  <a:pt x="5443" y="666"/>
                  <a:pt x="5443" y="668"/>
                  <a:pt x="5445" y="669"/>
                </a:cubicBezTo>
                <a:cubicBezTo>
                  <a:pt x="5446" y="671"/>
                  <a:pt x="5447" y="672"/>
                  <a:pt x="5447" y="673"/>
                </a:cubicBezTo>
                <a:cubicBezTo>
                  <a:pt x="5447" y="674"/>
                  <a:pt x="5446" y="674"/>
                  <a:pt x="5444" y="674"/>
                </a:cubicBezTo>
                <a:cubicBezTo>
                  <a:pt x="5441" y="674"/>
                  <a:pt x="5436" y="677"/>
                  <a:pt x="5428" y="681"/>
                </a:cubicBezTo>
                <a:cubicBezTo>
                  <a:pt x="5420" y="686"/>
                  <a:pt x="5416" y="689"/>
                  <a:pt x="5416" y="690"/>
                </a:cubicBezTo>
                <a:cubicBezTo>
                  <a:pt x="5416" y="691"/>
                  <a:pt x="5415" y="692"/>
                  <a:pt x="5413" y="692"/>
                </a:cubicBezTo>
                <a:lnTo>
                  <a:pt x="5409" y="692"/>
                </a:lnTo>
                <a:cubicBezTo>
                  <a:pt x="5406" y="692"/>
                  <a:pt x="5405" y="692"/>
                  <a:pt x="5405" y="693"/>
                </a:cubicBezTo>
                <a:cubicBezTo>
                  <a:pt x="5405" y="694"/>
                  <a:pt x="5404" y="694"/>
                  <a:pt x="5404" y="694"/>
                </a:cubicBezTo>
                <a:lnTo>
                  <a:pt x="5401" y="693"/>
                </a:lnTo>
                <a:cubicBezTo>
                  <a:pt x="5401" y="693"/>
                  <a:pt x="5401" y="693"/>
                  <a:pt x="5401" y="694"/>
                </a:cubicBezTo>
                <a:cubicBezTo>
                  <a:pt x="5401" y="695"/>
                  <a:pt x="5401" y="696"/>
                  <a:pt x="5402" y="697"/>
                </a:cubicBezTo>
                <a:cubicBezTo>
                  <a:pt x="5402" y="699"/>
                  <a:pt x="5403" y="699"/>
                  <a:pt x="5403" y="700"/>
                </a:cubicBezTo>
                <a:cubicBezTo>
                  <a:pt x="5402" y="700"/>
                  <a:pt x="5401" y="698"/>
                  <a:pt x="5399" y="696"/>
                </a:cubicBezTo>
                <a:cubicBezTo>
                  <a:pt x="5398" y="694"/>
                  <a:pt x="5396" y="693"/>
                  <a:pt x="5396" y="693"/>
                </a:cubicBezTo>
                <a:cubicBezTo>
                  <a:pt x="5396" y="693"/>
                  <a:pt x="5395" y="693"/>
                  <a:pt x="5395" y="694"/>
                </a:cubicBezTo>
                <a:cubicBezTo>
                  <a:pt x="5395" y="694"/>
                  <a:pt x="5396" y="696"/>
                  <a:pt x="5396" y="697"/>
                </a:cubicBezTo>
                <a:cubicBezTo>
                  <a:pt x="5397" y="698"/>
                  <a:pt x="5397" y="700"/>
                  <a:pt x="5397" y="701"/>
                </a:cubicBezTo>
                <a:cubicBezTo>
                  <a:pt x="5397" y="703"/>
                  <a:pt x="5396" y="704"/>
                  <a:pt x="5394" y="704"/>
                </a:cubicBezTo>
                <a:cubicBezTo>
                  <a:pt x="5393" y="704"/>
                  <a:pt x="5393" y="704"/>
                  <a:pt x="5393" y="703"/>
                </a:cubicBezTo>
                <a:lnTo>
                  <a:pt x="5393" y="700"/>
                </a:lnTo>
                <a:cubicBezTo>
                  <a:pt x="5393" y="699"/>
                  <a:pt x="5393" y="698"/>
                  <a:pt x="5391" y="698"/>
                </a:cubicBezTo>
                <a:cubicBezTo>
                  <a:pt x="5389" y="698"/>
                  <a:pt x="5388" y="700"/>
                  <a:pt x="5388" y="703"/>
                </a:cubicBezTo>
                <a:cubicBezTo>
                  <a:pt x="5388" y="706"/>
                  <a:pt x="5386" y="709"/>
                  <a:pt x="5382" y="711"/>
                </a:cubicBezTo>
                <a:cubicBezTo>
                  <a:pt x="5379" y="714"/>
                  <a:pt x="5376" y="715"/>
                  <a:pt x="5373" y="715"/>
                </a:cubicBezTo>
                <a:cubicBezTo>
                  <a:pt x="5372" y="715"/>
                  <a:pt x="5371" y="714"/>
                  <a:pt x="5370" y="713"/>
                </a:cubicBezTo>
                <a:cubicBezTo>
                  <a:pt x="5369" y="713"/>
                  <a:pt x="5368" y="712"/>
                  <a:pt x="5368" y="712"/>
                </a:cubicBezTo>
                <a:cubicBezTo>
                  <a:pt x="5368" y="713"/>
                  <a:pt x="5368" y="714"/>
                  <a:pt x="5368" y="716"/>
                </a:cubicBezTo>
                <a:lnTo>
                  <a:pt x="5368" y="716"/>
                </a:lnTo>
                <a:cubicBezTo>
                  <a:pt x="5368" y="719"/>
                  <a:pt x="5361" y="723"/>
                  <a:pt x="5348" y="729"/>
                </a:cubicBezTo>
                <a:cubicBezTo>
                  <a:pt x="5323" y="741"/>
                  <a:pt x="5302" y="747"/>
                  <a:pt x="5286" y="747"/>
                </a:cubicBezTo>
                <a:close/>
                <a:moveTo>
                  <a:pt x="5245" y="627"/>
                </a:moveTo>
                <a:cubicBezTo>
                  <a:pt x="5245" y="627"/>
                  <a:pt x="5246" y="627"/>
                  <a:pt x="5246" y="626"/>
                </a:cubicBezTo>
                <a:cubicBezTo>
                  <a:pt x="5247" y="625"/>
                  <a:pt x="5247" y="624"/>
                  <a:pt x="5248" y="622"/>
                </a:cubicBezTo>
                <a:cubicBezTo>
                  <a:pt x="5249" y="621"/>
                  <a:pt x="5249" y="620"/>
                  <a:pt x="5249" y="618"/>
                </a:cubicBezTo>
                <a:cubicBezTo>
                  <a:pt x="5249" y="618"/>
                  <a:pt x="5249" y="618"/>
                  <a:pt x="5248" y="618"/>
                </a:cubicBezTo>
                <a:cubicBezTo>
                  <a:pt x="5248" y="618"/>
                  <a:pt x="5247" y="618"/>
                  <a:pt x="5247" y="619"/>
                </a:cubicBezTo>
                <a:cubicBezTo>
                  <a:pt x="5246" y="620"/>
                  <a:pt x="5245" y="622"/>
                  <a:pt x="5245" y="623"/>
                </a:cubicBezTo>
                <a:cubicBezTo>
                  <a:pt x="5245" y="624"/>
                  <a:pt x="5244" y="625"/>
                  <a:pt x="5244" y="626"/>
                </a:cubicBezTo>
                <a:cubicBezTo>
                  <a:pt x="5244" y="627"/>
                  <a:pt x="5245" y="627"/>
                  <a:pt x="5245" y="627"/>
                </a:cubicBezTo>
                <a:close/>
                <a:moveTo>
                  <a:pt x="5269" y="734"/>
                </a:moveTo>
                <a:cubicBezTo>
                  <a:pt x="5271" y="734"/>
                  <a:pt x="5272" y="734"/>
                  <a:pt x="5272" y="733"/>
                </a:cubicBezTo>
                <a:lnTo>
                  <a:pt x="5272" y="732"/>
                </a:lnTo>
                <a:lnTo>
                  <a:pt x="5270" y="732"/>
                </a:lnTo>
                <a:cubicBezTo>
                  <a:pt x="5268" y="732"/>
                  <a:pt x="5267" y="732"/>
                  <a:pt x="5267" y="734"/>
                </a:cubicBezTo>
                <a:cubicBezTo>
                  <a:pt x="5267" y="734"/>
                  <a:pt x="5268" y="734"/>
                  <a:pt x="5269" y="734"/>
                </a:cubicBezTo>
                <a:close/>
                <a:moveTo>
                  <a:pt x="5374" y="712"/>
                </a:moveTo>
                <a:cubicBezTo>
                  <a:pt x="5376" y="712"/>
                  <a:pt x="5378" y="711"/>
                  <a:pt x="5378" y="710"/>
                </a:cubicBezTo>
                <a:cubicBezTo>
                  <a:pt x="5378" y="710"/>
                  <a:pt x="5378" y="709"/>
                  <a:pt x="5377" y="708"/>
                </a:cubicBezTo>
                <a:cubicBezTo>
                  <a:pt x="5376" y="707"/>
                  <a:pt x="5375" y="707"/>
                  <a:pt x="5375" y="707"/>
                </a:cubicBezTo>
                <a:cubicBezTo>
                  <a:pt x="5374" y="707"/>
                  <a:pt x="5374" y="708"/>
                  <a:pt x="5373" y="709"/>
                </a:cubicBezTo>
                <a:cubicBezTo>
                  <a:pt x="5371" y="710"/>
                  <a:pt x="5371" y="711"/>
                  <a:pt x="5370" y="711"/>
                </a:cubicBezTo>
                <a:lnTo>
                  <a:pt x="5374" y="712"/>
                </a:lnTo>
                <a:close/>
                <a:moveTo>
                  <a:pt x="5290" y="735"/>
                </a:moveTo>
                <a:cubicBezTo>
                  <a:pt x="5291" y="735"/>
                  <a:pt x="5297" y="733"/>
                  <a:pt x="5307" y="730"/>
                </a:cubicBezTo>
                <a:cubicBezTo>
                  <a:pt x="5310" y="730"/>
                  <a:pt x="5318" y="727"/>
                  <a:pt x="5331" y="722"/>
                </a:cubicBezTo>
                <a:cubicBezTo>
                  <a:pt x="5343" y="717"/>
                  <a:pt x="5350" y="714"/>
                  <a:pt x="5351" y="713"/>
                </a:cubicBezTo>
                <a:cubicBezTo>
                  <a:pt x="5351" y="713"/>
                  <a:pt x="5353" y="712"/>
                  <a:pt x="5357" y="712"/>
                </a:cubicBezTo>
                <a:cubicBezTo>
                  <a:pt x="5361" y="711"/>
                  <a:pt x="5365" y="709"/>
                  <a:pt x="5369" y="706"/>
                </a:cubicBezTo>
                <a:cubicBezTo>
                  <a:pt x="5374" y="704"/>
                  <a:pt x="5377" y="702"/>
                  <a:pt x="5378" y="702"/>
                </a:cubicBezTo>
                <a:cubicBezTo>
                  <a:pt x="5378" y="702"/>
                  <a:pt x="5379" y="703"/>
                  <a:pt x="5379" y="703"/>
                </a:cubicBezTo>
                <a:lnTo>
                  <a:pt x="5378" y="706"/>
                </a:lnTo>
                <a:cubicBezTo>
                  <a:pt x="5378" y="707"/>
                  <a:pt x="5378" y="708"/>
                  <a:pt x="5380" y="708"/>
                </a:cubicBezTo>
                <a:cubicBezTo>
                  <a:pt x="5381" y="708"/>
                  <a:pt x="5382" y="707"/>
                  <a:pt x="5384" y="706"/>
                </a:cubicBezTo>
                <a:cubicBezTo>
                  <a:pt x="5385" y="705"/>
                  <a:pt x="5386" y="705"/>
                  <a:pt x="5386" y="704"/>
                </a:cubicBezTo>
                <a:cubicBezTo>
                  <a:pt x="5386" y="704"/>
                  <a:pt x="5385" y="703"/>
                  <a:pt x="5384" y="702"/>
                </a:cubicBezTo>
                <a:cubicBezTo>
                  <a:pt x="5382" y="701"/>
                  <a:pt x="5381" y="701"/>
                  <a:pt x="5381" y="700"/>
                </a:cubicBezTo>
                <a:lnTo>
                  <a:pt x="5381" y="699"/>
                </a:lnTo>
                <a:cubicBezTo>
                  <a:pt x="5385" y="697"/>
                  <a:pt x="5390" y="694"/>
                  <a:pt x="5395" y="692"/>
                </a:cubicBezTo>
                <a:lnTo>
                  <a:pt x="5399" y="691"/>
                </a:lnTo>
                <a:cubicBezTo>
                  <a:pt x="5402" y="691"/>
                  <a:pt x="5403" y="690"/>
                  <a:pt x="5403" y="688"/>
                </a:cubicBezTo>
                <a:cubicBezTo>
                  <a:pt x="5403" y="687"/>
                  <a:pt x="5403" y="686"/>
                  <a:pt x="5401" y="686"/>
                </a:cubicBezTo>
                <a:cubicBezTo>
                  <a:pt x="5400" y="686"/>
                  <a:pt x="5397" y="688"/>
                  <a:pt x="5393" y="690"/>
                </a:cubicBezTo>
                <a:lnTo>
                  <a:pt x="5391" y="691"/>
                </a:lnTo>
                <a:cubicBezTo>
                  <a:pt x="5390" y="691"/>
                  <a:pt x="5390" y="690"/>
                  <a:pt x="5390" y="690"/>
                </a:cubicBezTo>
                <a:lnTo>
                  <a:pt x="5391" y="688"/>
                </a:lnTo>
                <a:cubicBezTo>
                  <a:pt x="5391" y="687"/>
                  <a:pt x="5391" y="687"/>
                  <a:pt x="5391" y="687"/>
                </a:cubicBezTo>
                <a:cubicBezTo>
                  <a:pt x="5390" y="687"/>
                  <a:pt x="5390" y="687"/>
                  <a:pt x="5389" y="688"/>
                </a:cubicBezTo>
                <a:cubicBezTo>
                  <a:pt x="5388" y="688"/>
                  <a:pt x="5387" y="688"/>
                  <a:pt x="5387" y="689"/>
                </a:cubicBezTo>
                <a:cubicBezTo>
                  <a:pt x="5386" y="690"/>
                  <a:pt x="5386" y="690"/>
                  <a:pt x="5386" y="691"/>
                </a:cubicBezTo>
                <a:lnTo>
                  <a:pt x="5386" y="691"/>
                </a:lnTo>
                <a:cubicBezTo>
                  <a:pt x="5386" y="693"/>
                  <a:pt x="5384" y="694"/>
                  <a:pt x="5381" y="694"/>
                </a:cubicBezTo>
                <a:cubicBezTo>
                  <a:pt x="5376" y="695"/>
                  <a:pt x="5366" y="699"/>
                  <a:pt x="5350" y="707"/>
                </a:cubicBezTo>
                <a:cubicBezTo>
                  <a:pt x="5338" y="713"/>
                  <a:pt x="5330" y="718"/>
                  <a:pt x="5324" y="720"/>
                </a:cubicBezTo>
                <a:cubicBezTo>
                  <a:pt x="5319" y="722"/>
                  <a:pt x="5315" y="723"/>
                  <a:pt x="5311" y="724"/>
                </a:cubicBezTo>
                <a:cubicBezTo>
                  <a:pt x="5308" y="725"/>
                  <a:pt x="5306" y="725"/>
                  <a:pt x="5306" y="727"/>
                </a:cubicBezTo>
                <a:cubicBezTo>
                  <a:pt x="5305" y="728"/>
                  <a:pt x="5304" y="728"/>
                  <a:pt x="5302" y="728"/>
                </a:cubicBezTo>
                <a:cubicBezTo>
                  <a:pt x="5302" y="728"/>
                  <a:pt x="5301" y="728"/>
                  <a:pt x="5300" y="728"/>
                </a:cubicBezTo>
                <a:cubicBezTo>
                  <a:pt x="5299" y="728"/>
                  <a:pt x="5298" y="728"/>
                  <a:pt x="5298" y="728"/>
                </a:cubicBezTo>
                <a:cubicBezTo>
                  <a:pt x="5297" y="728"/>
                  <a:pt x="5297" y="728"/>
                  <a:pt x="5297" y="728"/>
                </a:cubicBezTo>
                <a:lnTo>
                  <a:pt x="5298" y="730"/>
                </a:lnTo>
                <a:cubicBezTo>
                  <a:pt x="5298" y="731"/>
                  <a:pt x="5297" y="732"/>
                  <a:pt x="5296" y="732"/>
                </a:cubicBezTo>
                <a:lnTo>
                  <a:pt x="5287" y="730"/>
                </a:lnTo>
                <a:lnTo>
                  <a:pt x="5287" y="730"/>
                </a:lnTo>
                <a:lnTo>
                  <a:pt x="5288" y="731"/>
                </a:lnTo>
                <a:cubicBezTo>
                  <a:pt x="5289" y="732"/>
                  <a:pt x="5289" y="732"/>
                  <a:pt x="5289" y="733"/>
                </a:cubicBezTo>
                <a:lnTo>
                  <a:pt x="5289" y="735"/>
                </a:lnTo>
                <a:lnTo>
                  <a:pt x="5290" y="735"/>
                </a:lnTo>
                <a:close/>
                <a:moveTo>
                  <a:pt x="5396" y="686"/>
                </a:moveTo>
                <a:cubicBezTo>
                  <a:pt x="5398" y="686"/>
                  <a:pt x="5399" y="685"/>
                  <a:pt x="5399" y="683"/>
                </a:cubicBezTo>
                <a:lnTo>
                  <a:pt x="5400" y="683"/>
                </a:lnTo>
                <a:cubicBezTo>
                  <a:pt x="5400" y="683"/>
                  <a:pt x="5400" y="683"/>
                  <a:pt x="5399" y="683"/>
                </a:cubicBezTo>
                <a:lnTo>
                  <a:pt x="5398" y="683"/>
                </a:lnTo>
                <a:cubicBezTo>
                  <a:pt x="5395" y="684"/>
                  <a:pt x="5394" y="685"/>
                  <a:pt x="5394" y="686"/>
                </a:cubicBezTo>
                <a:cubicBezTo>
                  <a:pt x="5394" y="686"/>
                  <a:pt x="5395" y="686"/>
                  <a:pt x="5396" y="686"/>
                </a:cubicBezTo>
                <a:close/>
                <a:moveTo>
                  <a:pt x="5276" y="727"/>
                </a:moveTo>
                <a:cubicBezTo>
                  <a:pt x="5280" y="727"/>
                  <a:pt x="5285" y="726"/>
                  <a:pt x="5290" y="725"/>
                </a:cubicBezTo>
                <a:cubicBezTo>
                  <a:pt x="5293" y="724"/>
                  <a:pt x="5295" y="724"/>
                  <a:pt x="5298" y="723"/>
                </a:cubicBezTo>
                <a:cubicBezTo>
                  <a:pt x="5300" y="722"/>
                  <a:pt x="5302" y="722"/>
                  <a:pt x="5302" y="722"/>
                </a:cubicBezTo>
                <a:cubicBezTo>
                  <a:pt x="5303" y="721"/>
                  <a:pt x="5304" y="721"/>
                  <a:pt x="5305" y="721"/>
                </a:cubicBezTo>
                <a:cubicBezTo>
                  <a:pt x="5306" y="720"/>
                  <a:pt x="5306" y="720"/>
                  <a:pt x="5307" y="719"/>
                </a:cubicBezTo>
                <a:cubicBezTo>
                  <a:pt x="5307" y="718"/>
                  <a:pt x="5309" y="718"/>
                  <a:pt x="5311" y="718"/>
                </a:cubicBezTo>
                <a:cubicBezTo>
                  <a:pt x="5313" y="718"/>
                  <a:pt x="5319" y="716"/>
                  <a:pt x="5328" y="712"/>
                </a:cubicBezTo>
                <a:cubicBezTo>
                  <a:pt x="5337" y="708"/>
                  <a:pt x="5346" y="705"/>
                  <a:pt x="5355" y="700"/>
                </a:cubicBezTo>
                <a:cubicBezTo>
                  <a:pt x="5361" y="697"/>
                  <a:pt x="5366" y="695"/>
                  <a:pt x="5370" y="694"/>
                </a:cubicBezTo>
                <a:cubicBezTo>
                  <a:pt x="5372" y="694"/>
                  <a:pt x="5373" y="693"/>
                  <a:pt x="5374" y="691"/>
                </a:cubicBezTo>
                <a:cubicBezTo>
                  <a:pt x="5375" y="690"/>
                  <a:pt x="5376" y="690"/>
                  <a:pt x="5376" y="690"/>
                </a:cubicBezTo>
                <a:lnTo>
                  <a:pt x="5378" y="690"/>
                </a:lnTo>
                <a:cubicBezTo>
                  <a:pt x="5378" y="690"/>
                  <a:pt x="5379" y="689"/>
                  <a:pt x="5379" y="688"/>
                </a:cubicBezTo>
                <a:cubicBezTo>
                  <a:pt x="5379" y="687"/>
                  <a:pt x="5380" y="687"/>
                  <a:pt x="5381" y="687"/>
                </a:cubicBezTo>
                <a:cubicBezTo>
                  <a:pt x="5383" y="687"/>
                  <a:pt x="5385" y="686"/>
                  <a:pt x="5386" y="686"/>
                </a:cubicBezTo>
                <a:cubicBezTo>
                  <a:pt x="5388" y="683"/>
                  <a:pt x="5391" y="682"/>
                  <a:pt x="5393" y="681"/>
                </a:cubicBezTo>
                <a:cubicBezTo>
                  <a:pt x="5395" y="681"/>
                  <a:pt x="5396" y="680"/>
                  <a:pt x="5397" y="679"/>
                </a:cubicBezTo>
                <a:cubicBezTo>
                  <a:pt x="5398" y="678"/>
                  <a:pt x="5399" y="678"/>
                  <a:pt x="5400" y="678"/>
                </a:cubicBezTo>
                <a:cubicBezTo>
                  <a:pt x="5404" y="677"/>
                  <a:pt x="5407" y="677"/>
                  <a:pt x="5407" y="676"/>
                </a:cubicBezTo>
                <a:lnTo>
                  <a:pt x="5406" y="674"/>
                </a:lnTo>
                <a:cubicBezTo>
                  <a:pt x="5406" y="674"/>
                  <a:pt x="5408" y="674"/>
                  <a:pt x="5410" y="674"/>
                </a:cubicBezTo>
                <a:cubicBezTo>
                  <a:pt x="5412" y="674"/>
                  <a:pt x="5413" y="674"/>
                  <a:pt x="5413" y="674"/>
                </a:cubicBezTo>
                <a:cubicBezTo>
                  <a:pt x="5413" y="674"/>
                  <a:pt x="5412" y="675"/>
                  <a:pt x="5410" y="676"/>
                </a:cubicBezTo>
                <a:cubicBezTo>
                  <a:pt x="5409" y="677"/>
                  <a:pt x="5408" y="678"/>
                  <a:pt x="5408" y="679"/>
                </a:cubicBezTo>
                <a:cubicBezTo>
                  <a:pt x="5408" y="679"/>
                  <a:pt x="5409" y="680"/>
                  <a:pt x="5410" y="680"/>
                </a:cubicBezTo>
                <a:lnTo>
                  <a:pt x="5411" y="681"/>
                </a:lnTo>
                <a:cubicBezTo>
                  <a:pt x="5411" y="681"/>
                  <a:pt x="5410" y="681"/>
                  <a:pt x="5410" y="681"/>
                </a:cubicBezTo>
                <a:lnTo>
                  <a:pt x="5404" y="680"/>
                </a:lnTo>
                <a:cubicBezTo>
                  <a:pt x="5404" y="680"/>
                  <a:pt x="5404" y="681"/>
                  <a:pt x="5405" y="681"/>
                </a:cubicBezTo>
                <a:cubicBezTo>
                  <a:pt x="5406" y="681"/>
                  <a:pt x="5406" y="682"/>
                  <a:pt x="5406" y="683"/>
                </a:cubicBezTo>
                <a:lnTo>
                  <a:pt x="5406" y="685"/>
                </a:lnTo>
                <a:cubicBezTo>
                  <a:pt x="5406" y="686"/>
                  <a:pt x="5406" y="687"/>
                  <a:pt x="5408" y="687"/>
                </a:cubicBezTo>
                <a:cubicBezTo>
                  <a:pt x="5409" y="687"/>
                  <a:pt x="5410" y="685"/>
                  <a:pt x="5413" y="681"/>
                </a:cubicBezTo>
                <a:cubicBezTo>
                  <a:pt x="5413" y="679"/>
                  <a:pt x="5415" y="678"/>
                  <a:pt x="5416" y="676"/>
                </a:cubicBezTo>
                <a:cubicBezTo>
                  <a:pt x="5417" y="675"/>
                  <a:pt x="5418" y="674"/>
                  <a:pt x="5419" y="674"/>
                </a:cubicBezTo>
                <a:cubicBezTo>
                  <a:pt x="5420" y="674"/>
                  <a:pt x="5420" y="675"/>
                  <a:pt x="5420" y="675"/>
                </a:cubicBezTo>
                <a:cubicBezTo>
                  <a:pt x="5420" y="675"/>
                  <a:pt x="5420" y="676"/>
                  <a:pt x="5419" y="676"/>
                </a:cubicBezTo>
                <a:cubicBezTo>
                  <a:pt x="5417" y="677"/>
                  <a:pt x="5417" y="678"/>
                  <a:pt x="5417" y="679"/>
                </a:cubicBezTo>
                <a:cubicBezTo>
                  <a:pt x="5417" y="680"/>
                  <a:pt x="5418" y="681"/>
                  <a:pt x="5419" y="681"/>
                </a:cubicBezTo>
                <a:cubicBezTo>
                  <a:pt x="5420" y="681"/>
                  <a:pt x="5421" y="680"/>
                  <a:pt x="5421" y="679"/>
                </a:cubicBezTo>
                <a:cubicBezTo>
                  <a:pt x="5421" y="679"/>
                  <a:pt x="5421" y="678"/>
                  <a:pt x="5421" y="676"/>
                </a:cubicBezTo>
                <a:lnTo>
                  <a:pt x="5421" y="673"/>
                </a:lnTo>
                <a:cubicBezTo>
                  <a:pt x="5421" y="672"/>
                  <a:pt x="5421" y="671"/>
                  <a:pt x="5420" y="669"/>
                </a:cubicBezTo>
                <a:cubicBezTo>
                  <a:pt x="5419" y="668"/>
                  <a:pt x="5419" y="666"/>
                  <a:pt x="5419" y="666"/>
                </a:cubicBezTo>
                <a:cubicBezTo>
                  <a:pt x="5419" y="666"/>
                  <a:pt x="5419" y="665"/>
                  <a:pt x="5419" y="665"/>
                </a:cubicBezTo>
                <a:lnTo>
                  <a:pt x="5423" y="666"/>
                </a:lnTo>
                <a:cubicBezTo>
                  <a:pt x="5425" y="666"/>
                  <a:pt x="5426" y="665"/>
                  <a:pt x="5426" y="664"/>
                </a:cubicBezTo>
                <a:lnTo>
                  <a:pt x="5426" y="663"/>
                </a:lnTo>
                <a:cubicBezTo>
                  <a:pt x="5426" y="662"/>
                  <a:pt x="5429" y="661"/>
                  <a:pt x="5435" y="661"/>
                </a:cubicBezTo>
                <a:cubicBezTo>
                  <a:pt x="5435" y="662"/>
                  <a:pt x="5433" y="664"/>
                  <a:pt x="5430" y="666"/>
                </a:cubicBezTo>
                <a:cubicBezTo>
                  <a:pt x="5426" y="668"/>
                  <a:pt x="5424" y="669"/>
                  <a:pt x="5424" y="670"/>
                </a:cubicBezTo>
                <a:lnTo>
                  <a:pt x="5424" y="670"/>
                </a:lnTo>
                <a:cubicBezTo>
                  <a:pt x="5426" y="670"/>
                  <a:pt x="5426" y="671"/>
                  <a:pt x="5426" y="672"/>
                </a:cubicBezTo>
                <a:lnTo>
                  <a:pt x="5426" y="673"/>
                </a:lnTo>
                <a:cubicBezTo>
                  <a:pt x="5426" y="674"/>
                  <a:pt x="5427" y="675"/>
                  <a:pt x="5429" y="676"/>
                </a:cubicBezTo>
                <a:lnTo>
                  <a:pt x="5431" y="676"/>
                </a:lnTo>
                <a:lnTo>
                  <a:pt x="5431" y="676"/>
                </a:lnTo>
                <a:lnTo>
                  <a:pt x="5429" y="675"/>
                </a:lnTo>
                <a:cubicBezTo>
                  <a:pt x="5428" y="674"/>
                  <a:pt x="5427" y="673"/>
                  <a:pt x="5427" y="673"/>
                </a:cubicBezTo>
                <a:cubicBezTo>
                  <a:pt x="5427" y="673"/>
                  <a:pt x="5427" y="672"/>
                  <a:pt x="5428" y="672"/>
                </a:cubicBezTo>
                <a:cubicBezTo>
                  <a:pt x="5429" y="672"/>
                  <a:pt x="5430" y="672"/>
                  <a:pt x="5430" y="671"/>
                </a:cubicBezTo>
                <a:cubicBezTo>
                  <a:pt x="5430" y="671"/>
                  <a:pt x="5431" y="670"/>
                  <a:pt x="5431" y="670"/>
                </a:cubicBezTo>
                <a:cubicBezTo>
                  <a:pt x="5431" y="668"/>
                  <a:pt x="5431" y="667"/>
                  <a:pt x="5433" y="666"/>
                </a:cubicBezTo>
                <a:cubicBezTo>
                  <a:pt x="5434" y="666"/>
                  <a:pt x="5435" y="666"/>
                  <a:pt x="5435" y="667"/>
                </a:cubicBezTo>
                <a:lnTo>
                  <a:pt x="5435" y="668"/>
                </a:lnTo>
                <a:cubicBezTo>
                  <a:pt x="5435" y="668"/>
                  <a:pt x="5435" y="668"/>
                  <a:pt x="5435" y="669"/>
                </a:cubicBezTo>
                <a:cubicBezTo>
                  <a:pt x="5436" y="669"/>
                  <a:pt x="5436" y="669"/>
                  <a:pt x="5436" y="669"/>
                </a:cubicBezTo>
                <a:cubicBezTo>
                  <a:pt x="5438" y="669"/>
                  <a:pt x="5438" y="665"/>
                  <a:pt x="5438" y="660"/>
                </a:cubicBezTo>
                <a:cubicBezTo>
                  <a:pt x="5438" y="656"/>
                  <a:pt x="5438" y="654"/>
                  <a:pt x="5437" y="653"/>
                </a:cubicBezTo>
                <a:cubicBezTo>
                  <a:pt x="5435" y="653"/>
                  <a:pt x="5422" y="659"/>
                  <a:pt x="5399" y="671"/>
                </a:cubicBezTo>
                <a:cubicBezTo>
                  <a:pt x="5354" y="694"/>
                  <a:pt x="5326" y="707"/>
                  <a:pt x="5314" y="710"/>
                </a:cubicBezTo>
                <a:lnTo>
                  <a:pt x="5298" y="714"/>
                </a:lnTo>
                <a:cubicBezTo>
                  <a:pt x="5290" y="717"/>
                  <a:pt x="5281" y="718"/>
                  <a:pt x="5269" y="718"/>
                </a:cubicBezTo>
                <a:cubicBezTo>
                  <a:pt x="5260" y="718"/>
                  <a:pt x="5255" y="718"/>
                  <a:pt x="5255" y="720"/>
                </a:cubicBezTo>
                <a:cubicBezTo>
                  <a:pt x="5255" y="721"/>
                  <a:pt x="5257" y="722"/>
                  <a:pt x="5262" y="724"/>
                </a:cubicBezTo>
                <a:cubicBezTo>
                  <a:pt x="5267" y="726"/>
                  <a:pt x="5271" y="727"/>
                  <a:pt x="5276" y="727"/>
                </a:cubicBezTo>
                <a:close/>
                <a:moveTo>
                  <a:pt x="5444" y="652"/>
                </a:moveTo>
                <a:cubicBezTo>
                  <a:pt x="5446" y="652"/>
                  <a:pt x="5446" y="651"/>
                  <a:pt x="5446" y="650"/>
                </a:cubicBezTo>
                <a:cubicBezTo>
                  <a:pt x="5446" y="649"/>
                  <a:pt x="5446" y="648"/>
                  <a:pt x="5446" y="648"/>
                </a:cubicBezTo>
                <a:lnTo>
                  <a:pt x="5444" y="647"/>
                </a:lnTo>
                <a:cubicBezTo>
                  <a:pt x="5443" y="647"/>
                  <a:pt x="5443" y="647"/>
                  <a:pt x="5442" y="648"/>
                </a:cubicBezTo>
                <a:cubicBezTo>
                  <a:pt x="5441" y="649"/>
                  <a:pt x="5440" y="649"/>
                  <a:pt x="5440" y="650"/>
                </a:cubicBezTo>
                <a:cubicBezTo>
                  <a:pt x="5440" y="650"/>
                  <a:pt x="5441" y="651"/>
                  <a:pt x="5442" y="652"/>
                </a:cubicBezTo>
                <a:lnTo>
                  <a:pt x="5444" y="652"/>
                </a:lnTo>
                <a:close/>
                <a:moveTo>
                  <a:pt x="5450" y="650"/>
                </a:moveTo>
                <a:cubicBezTo>
                  <a:pt x="5451" y="650"/>
                  <a:pt x="5452" y="650"/>
                  <a:pt x="5453" y="649"/>
                </a:cubicBezTo>
                <a:cubicBezTo>
                  <a:pt x="5455" y="648"/>
                  <a:pt x="5456" y="647"/>
                  <a:pt x="5456" y="645"/>
                </a:cubicBezTo>
                <a:lnTo>
                  <a:pt x="5456" y="644"/>
                </a:lnTo>
                <a:cubicBezTo>
                  <a:pt x="5455" y="643"/>
                  <a:pt x="5455" y="643"/>
                  <a:pt x="5453" y="643"/>
                </a:cubicBezTo>
                <a:cubicBezTo>
                  <a:pt x="5453" y="643"/>
                  <a:pt x="5452" y="643"/>
                  <a:pt x="5451" y="644"/>
                </a:cubicBezTo>
                <a:cubicBezTo>
                  <a:pt x="5450" y="645"/>
                  <a:pt x="5450" y="647"/>
                  <a:pt x="5450" y="649"/>
                </a:cubicBezTo>
                <a:cubicBezTo>
                  <a:pt x="5450" y="649"/>
                  <a:pt x="5450" y="650"/>
                  <a:pt x="5450" y="650"/>
                </a:cubicBezTo>
                <a:close/>
                <a:moveTo>
                  <a:pt x="5561" y="597"/>
                </a:moveTo>
                <a:cubicBezTo>
                  <a:pt x="5562" y="597"/>
                  <a:pt x="5563" y="595"/>
                  <a:pt x="5563" y="593"/>
                </a:cubicBezTo>
                <a:cubicBezTo>
                  <a:pt x="5563" y="592"/>
                  <a:pt x="5562" y="591"/>
                  <a:pt x="5562" y="591"/>
                </a:cubicBezTo>
                <a:lnTo>
                  <a:pt x="5560" y="592"/>
                </a:lnTo>
                <a:cubicBezTo>
                  <a:pt x="5560" y="592"/>
                  <a:pt x="5560" y="593"/>
                  <a:pt x="5560" y="595"/>
                </a:cubicBezTo>
                <a:cubicBezTo>
                  <a:pt x="5560" y="595"/>
                  <a:pt x="5560" y="595"/>
                  <a:pt x="5560" y="595"/>
                </a:cubicBezTo>
                <a:cubicBezTo>
                  <a:pt x="5560" y="596"/>
                  <a:pt x="5560" y="596"/>
                  <a:pt x="5561" y="597"/>
                </a:cubicBezTo>
                <a:close/>
                <a:moveTo>
                  <a:pt x="5270" y="576"/>
                </a:moveTo>
                <a:cubicBezTo>
                  <a:pt x="5270" y="576"/>
                  <a:pt x="5269" y="576"/>
                  <a:pt x="5269" y="575"/>
                </a:cubicBezTo>
                <a:cubicBezTo>
                  <a:pt x="5269" y="575"/>
                  <a:pt x="5270" y="574"/>
                  <a:pt x="5271" y="573"/>
                </a:cubicBezTo>
                <a:cubicBezTo>
                  <a:pt x="5272" y="572"/>
                  <a:pt x="5273" y="571"/>
                  <a:pt x="5274" y="570"/>
                </a:cubicBezTo>
                <a:cubicBezTo>
                  <a:pt x="5275" y="570"/>
                  <a:pt x="5276" y="569"/>
                  <a:pt x="5276" y="569"/>
                </a:cubicBezTo>
                <a:cubicBezTo>
                  <a:pt x="5276" y="569"/>
                  <a:pt x="5277" y="570"/>
                  <a:pt x="5277" y="570"/>
                </a:cubicBezTo>
                <a:cubicBezTo>
                  <a:pt x="5277" y="570"/>
                  <a:pt x="5276" y="571"/>
                  <a:pt x="5274" y="573"/>
                </a:cubicBezTo>
                <a:cubicBezTo>
                  <a:pt x="5273" y="575"/>
                  <a:pt x="5271" y="576"/>
                  <a:pt x="5270" y="576"/>
                </a:cubicBezTo>
                <a:close/>
                <a:moveTo>
                  <a:pt x="5593" y="578"/>
                </a:moveTo>
                <a:cubicBezTo>
                  <a:pt x="5593" y="578"/>
                  <a:pt x="5593" y="578"/>
                  <a:pt x="5593" y="578"/>
                </a:cubicBezTo>
                <a:cubicBezTo>
                  <a:pt x="5593" y="577"/>
                  <a:pt x="5594" y="576"/>
                  <a:pt x="5595" y="575"/>
                </a:cubicBezTo>
                <a:cubicBezTo>
                  <a:pt x="5597" y="573"/>
                  <a:pt x="5599" y="572"/>
                  <a:pt x="5599" y="572"/>
                </a:cubicBezTo>
                <a:cubicBezTo>
                  <a:pt x="5600" y="572"/>
                  <a:pt x="5600" y="573"/>
                  <a:pt x="5600" y="573"/>
                </a:cubicBezTo>
                <a:lnTo>
                  <a:pt x="5601" y="573"/>
                </a:lnTo>
                <a:cubicBezTo>
                  <a:pt x="5601" y="574"/>
                  <a:pt x="5600" y="575"/>
                  <a:pt x="5599" y="576"/>
                </a:cubicBezTo>
                <a:cubicBezTo>
                  <a:pt x="5599" y="576"/>
                  <a:pt x="5597" y="577"/>
                  <a:pt x="5596" y="578"/>
                </a:cubicBezTo>
                <a:cubicBezTo>
                  <a:pt x="5595" y="578"/>
                  <a:pt x="5594" y="578"/>
                  <a:pt x="5593" y="578"/>
                </a:cubicBezTo>
                <a:close/>
                <a:moveTo>
                  <a:pt x="5250" y="679"/>
                </a:moveTo>
                <a:cubicBezTo>
                  <a:pt x="5250" y="679"/>
                  <a:pt x="5249" y="678"/>
                  <a:pt x="5249" y="676"/>
                </a:cubicBezTo>
                <a:cubicBezTo>
                  <a:pt x="5249" y="674"/>
                  <a:pt x="5250" y="674"/>
                  <a:pt x="5250" y="674"/>
                </a:cubicBezTo>
                <a:cubicBezTo>
                  <a:pt x="5250" y="674"/>
                  <a:pt x="5251" y="674"/>
                  <a:pt x="5252" y="674"/>
                </a:cubicBezTo>
                <a:cubicBezTo>
                  <a:pt x="5252" y="674"/>
                  <a:pt x="5252" y="675"/>
                  <a:pt x="5252" y="676"/>
                </a:cubicBezTo>
                <a:cubicBezTo>
                  <a:pt x="5252" y="676"/>
                  <a:pt x="5252" y="677"/>
                  <a:pt x="5252" y="678"/>
                </a:cubicBezTo>
                <a:cubicBezTo>
                  <a:pt x="5251" y="679"/>
                  <a:pt x="5250" y="679"/>
                  <a:pt x="5250" y="679"/>
                </a:cubicBezTo>
                <a:close/>
                <a:moveTo>
                  <a:pt x="5458" y="656"/>
                </a:moveTo>
                <a:cubicBezTo>
                  <a:pt x="5457" y="656"/>
                  <a:pt x="5457" y="656"/>
                  <a:pt x="5457" y="654"/>
                </a:cubicBezTo>
                <a:cubicBezTo>
                  <a:pt x="5457" y="654"/>
                  <a:pt x="5458" y="653"/>
                  <a:pt x="5458" y="652"/>
                </a:cubicBezTo>
                <a:cubicBezTo>
                  <a:pt x="5459" y="652"/>
                  <a:pt x="5460" y="652"/>
                  <a:pt x="5461" y="651"/>
                </a:cubicBezTo>
                <a:cubicBezTo>
                  <a:pt x="5462" y="650"/>
                  <a:pt x="5463" y="650"/>
                  <a:pt x="5463" y="650"/>
                </a:cubicBezTo>
                <a:lnTo>
                  <a:pt x="5463" y="650"/>
                </a:lnTo>
                <a:lnTo>
                  <a:pt x="5462" y="653"/>
                </a:lnTo>
                <a:cubicBezTo>
                  <a:pt x="5460" y="655"/>
                  <a:pt x="5459" y="656"/>
                  <a:pt x="5458" y="656"/>
                </a:cubicBezTo>
                <a:close/>
                <a:moveTo>
                  <a:pt x="5508" y="633"/>
                </a:moveTo>
                <a:lnTo>
                  <a:pt x="5505" y="633"/>
                </a:lnTo>
                <a:cubicBezTo>
                  <a:pt x="5505" y="633"/>
                  <a:pt x="5506" y="632"/>
                  <a:pt x="5507" y="632"/>
                </a:cubicBezTo>
                <a:cubicBezTo>
                  <a:pt x="5510" y="631"/>
                  <a:pt x="5512" y="630"/>
                  <a:pt x="5514" y="627"/>
                </a:cubicBezTo>
                <a:cubicBezTo>
                  <a:pt x="5516" y="626"/>
                  <a:pt x="5518" y="625"/>
                  <a:pt x="5520" y="625"/>
                </a:cubicBezTo>
                <a:cubicBezTo>
                  <a:pt x="5521" y="625"/>
                  <a:pt x="5522" y="625"/>
                  <a:pt x="5522" y="626"/>
                </a:cubicBezTo>
                <a:lnTo>
                  <a:pt x="5519" y="626"/>
                </a:lnTo>
                <a:cubicBezTo>
                  <a:pt x="5517" y="626"/>
                  <a:pt x="5515" y="627"/>
                  <a:pt x="5513" y="630"/>
                </a:cubicBezTo>
                <a:cubicBezTo>
                  <a:pt x="5512" y="632"/>
                  <a:pt x="5510" y="633"/>
                  <a:pt x="5508" y="633"/>
                </a:cubicBezTo>
                <a:close/>
                <a:moveTo>
                  <a:pt x="5491" y="644"/>
                </a:moveTo>
                <a:cubicBezTo>
                  <a:pt x="5490" y="644"/>
                  <a:pt x="5490" y="643"/>
                  <a:pt x="5490" y="643"/>
                </a:cubicBezTo>
                <a:cubicBezTo>
                  <a:pt x="5490" y="642"/>
                  <a:pt x="5492" y="640"/>
                  <a:pt x="5497" y="638"/>
                </a:cubicBezTo>
                <a:cubicBezTo>
                  <a:pt x="5499" y="637"/>
                  <a:pt x="5501" y="637"/>
                  <a:pt x="5502" y="637"/>
                </a:cubicBezTo>
                <a:lnTo>
                  <a:pt x="5502" y="637"/>
                </a:lnTo>
                <a:cubicBezTo>
                  <a:pt x="5502" y="637"/>
                  <a:pt x="5502" y="638"/>
                  <a:pt x="5500" y="639"/>
                </a:cubicBezTo>
                <a:cubicBezTo>
                  <a:pt x="5499" y="640"/>
                  <a:pt x="5498" y="641"/>
                  <a:pt x="5496" y="642"/>
                </a:cubicBezTo>
                <a:cubicBezTo>
                  <a:pt x="5494" y="643"/>
                  <a:pt x="5492" y="644"/>
                  <a:pt x="5491" y="644"/>
                </a:cubicBezTo>
                <a:close/>
                <a:moveTo>
                  <a:pt x="5451" y="669"/>
                </a:moveTo>
                <a:cubicBezTo>
                  <a:pt x="5450" y="669"/>
                  <a:pt x="5449" y="669"/>
                  <a:pt x="5447" y="669"/>
                </a:cubicBezTo>
                <a:cubicBezTo>
                  <a:pt x="5446" y="669"/>
                  <a:pt x="5445" y="668"/>
                  <a:pt x="5445" y="667"/>
                </a:cubicBezTo>
                <a:cubicBezTo>
                  <a:pt x="5445" y="666"/>
                  <a:pt x="5446" y="665"/>
                  <a:pt x="5450" y="665"/>
                </a:cubicBezTo>
                <a:cubicBezTo>
                  <a:pt x="5452" y="665"/>
                  <a:pt x="5454" y="665"/>
                  <a:pt x="5454" y="664"/>
                </a:cubicBezTo>
                <a:lnTo>
                  <a:pt x="5453" y="662"/>
                </a:lnTo>
                <a:cubicBezTo>
                  <a:pt x="5453" y="661"/>
                  <a:pt x="5453" y="661"/>
                  <a:pt x="5454" y="661"/>
                </a:cubicBezTo>
                <a:lnTo>
                  <a:pt x="5454" y="661"/>
                </a:lnTo>
                <a:cubicBezTo>
                  <a:pt x="5456" y="661"/>
                  <a:pt x="5458" y="660"/>
                  <a:pt x="5462" y="659"/>
                </a:cubicBezTo>
                <a:cubicBezTo>
                  <a:pt x="5465" y="657"/>
                  <a:pt x="5469" y="655"/>
                  <a:pt x="5473" y="653"/>
                </a:cubicBezTo>
                <a:cubicBezTo>
                  <a:pt x="5476" y="651"/>
                  <a:pt x="5479" y="649"/>
                  <a:pt x="5481" y="647"/>
                </a:cubicBezTo>
                <a:cubicBezTo>
                  <a:pt x="5483" y="646"/>
                  <a:pt x="5485" y="645"/>
                  <a:pt x="5486" y="645"/>
                </a:cubicBezTo>
                <a:cubicBezTo>
                  <a:pt x="5487" y="645"/>
                  <a:pt x="5488" y="646"/>
                  <a:pt x="5488" y="647"/>
                </a:cubicBezTo>
                <a:cubicBezTo>
                  <a:pt x="5488" y="649"/>
                  <a:pt x="5487" y="649"/>
                  <a:pt x="5485" y="649"/>
                </a:cubicBezTo>
                <a:cubicBezTo>
                  <a:pt x="5483" y="649"/>
                  <a:pt x="5482" y="650"/>
                  <a:pt x="5482" y="651"/>
                </a:cubicBezTo>
                <a:lnTo>
                  <a:pt x="5483" y="653"/>
                </a:lnTo>
                <a:cubicBezTo>
                  <a:pt x="5483" y="654"/>
                  <a:pt x="5483" y="654"/>
                  <a:pt x="5482" y="654"/>
                </a:cubicBezTo>
                <a:lnTo>
                  <a:pt x="5481" y="653"/>
                </a:lnTo>
                <a:cubicBezTo>
                  <a:pt x="5479" y="653"/>
                  <a:pt x="5477" y="654"/>
                  <a:pt x="5476" y="656"/>
                </a:cubicBezTo>
                <a:cubicBezTo>
                  <a:pt x="5474" y="658"/>
                  <a:pt x="5473" y="659"/>
                  <a:pt x="5471" y="659"/>
                </a:cubicBezTo>
                <a:cubicBezTo>
                  <a:pt x="5470" y="659"/>
                  <a:pt x="5468" y="660"/>
                  <a:pt x="5465" y="661"/>
                </a:cubicBezTo>
                <a:cubicBezTo>
                  <a:pt x="5458" y="665"/>
                  <a:pt x="5455" y="667"/>
                  <a:pt x="5455" y="668"/>
                </a:cubicBezTo>
                <a:cubicBezTo>
                  <a:pt x="5455" y="669"/>
                  <a:pt x="5454" y="669"/>
                  <a:pt x="5451" y="669"/>
                </a:cubicBezTo>
                <a:close/>
                <a:moveTo>
                  <a:pt x="5445" y="667"/>
                </a:moveTo>
                <a:close/>
                <a:moveTo>
                  <a:pt x="5527" y="623"/>
                </a:moveTo>
                <a:cubicBezTo>
                  <a:pt x="5527" y="623"/>
                  <a:pt x="5527" y="623"/>
                  <a:pt x="5527" y="623"/>
                </a:cubicBezTo>
                <a:cubicBezTo>
                  <a:pt x="5527" y="622"/>
                  <a:pt x="5528" y="620"/>
                  <a:pt x="5529" y="618"/>
                </a:cubicBezTo>
                <a:cubicBezTo>
                  <a:pt x="5533" y="614"/>
                  <a:pt x="5535" y="611"/>
                  <a:pt x="5537" y="611"/>
                </a:cubicBezTo>
                <a:cubicBezTo>
                  <a:pt x="5538" y="611"/>
                  <a:pt x="5541" y="610"/>
                  <a:pt x="5544" y="608"/>
                </a:cubicBezTo>
                <a:cubicBezTo>
                  <a:pt x="5547" y="606"/>
                  <a:pt x="5549" y="605"/>
                  <a:pt x="5550" y="605"/>
                </a:cubicBezTo>
                <a:cubicBezTo>
                  <a:pt x="5550" y="605"/>
                  <a:pt x="5550" y="605"/>
                  <a:pt x="5550" y="606"/>
                </a:cubicBezTo>
                <a:cubicBezTo>
                  <a:pt x="5550" y="608"/>
                  <a:pt x="5550" y="610"/>
                  <a:pt x="5550" y="610"/>
                </a:cubicBezTo>
                <a:lnTo>
                  <a:pt x="5548" y="609"/>
                </a:lnTo>
                <a:cubicBezTo>
                  <a:pt x="5547" y="609"/>
                  <a:pt x="5544" y="610"/>
                  <a:pt x="5541" y="613"/>
                </a:cubicBezTo>
                <a:cubicBezTo>
                  <a:pt x="5538" y="616"/>
                  <a:pt x="5535" y="617"/>
                  <a:pt x="5534" y="617"/>
                </a:cubicBezTo>
                <a:cubicBezTo>
                  <a:pt x="5532" y="617"/>
                  <a:pt x="5530" y="619"/>
                  <a:pt x="5529" y="621"/>
                </a:cubicBezTo>
                <a:cubicBezTo>
                  <a:pt x="5528" y="623"/>
                  <a:pt x="5528" y="623"/>
                  <a:pt x="5527" y="623"/>
                </a:cubicBezTo>
                <a:close/>
                <a:moveTo>
                  <a:pt x="5362" y="362"/>
                </a:moveTo>
                <a:close/>
                <a:moveTo>
                  <a:pt x="5347" y="383"/>
                </a:moveTo>
                <a:cubicBezTo>
                  <a:pt x="5347" y="383"/>
                  <a:pt x="5346" y="383"/>
                  <a:pt x="5346" y="382"/>
                </a:cubicBezTo>
                <a:lnTo>
                  <a:pt x="5353" y="377"/>
                </a:lnTo>
                <a:cubicBezTo>
                  <a:pt x="5353" y="377"/>
                  <a:pt x="5352" y="378"/>
                  <a:pt x="5351" y="379"/>
                </a:cubicBezTo>
                <a:cubicBezTo>
                  <a:pt x="5349" y="382"/>
                  <a:pt x="5348" y="383"/>
                  <a:pt x="5347" y="383"/>
                </a:cubicBezTo>
                <a:close/>
                <a:moveTo>
                  <a:pt x="5336" y="394"/>
                </a:moveTo>
                <a:close/>
                <a:moveTo>
                  <a:pt x="5362" y="362"/>
                </a:moveTo>
                <a:cubicBezTo>
                  <a:pt x="5362" y="362"/>
                  <a:pt x="5362" y="362"/>
                  <a:pt x="5362" y="362"/>
                </a:cubicBezTo>
                <a:cubicBezTo>
                  <a:pt x="5362" y="361"/>
                  <a:pt x="5363" y="360"/>
                  <a:pt x="5365" y="358"/>
                </a:cubicBezTo>
                <a:lnTo>
                  <a:pt x="5368" y="356"/>
                </a:lnTo>
                <a:lnTo>
                  <a:pt x="5366" y="359"/>
                </a:lnTo>
                <a:cubicBezTo>
                  <a:pt x="5364" y="361"/>
                  <a:pt x="5363" y="362"/>
                  <a:pt x="5362" y="362"/>
                </a:cubicBezTo>
                <a:close/>
                <a:moveTo>
                  <a:pt x="5346" y="382"/>
                </a:moveTo>
                <a:close/>
                <a:moveTo>
                  <a:pt x="5311" y="458"/>
                </a:moveTo>
                <a:cubicBezTo>
                  <a:pt x="5309" y="458"/>
                  <a:pt x="5308" y="457"/>
                  <a:pt x="5308" y="455"/>
                </a:cubicBezTo>
                <a:lnTo>
                  <a:pt x="5308" y="455"/>
                </a:lnTo>
                <a:cubicBezTo>
                  <a:pt x="5308" y="453"/>
                  <a:pt x="5309" y="451"/>
                  <a:pt x="5310" y="451"/>
                </a:cubicBezTo>
                <a:cubicBezTo>
                  <a:pt x="5310" y="451"/>
                  <a:pt x="5310" y="452"/>
                  <a:pt x="5311" y="452"/>
                </a:cubicBezTo>
                <a:cubicBezTo>
                  <a:pt x="5312" y="453"/>
                  <a:pt x="5312" y="453"/>
                  <a:pt x="5313" y="453"/>
                </a:cubicBezTo>
                <a:cubicBezTo>
                  <a:pt x="5314" y="453"/>
                  <a:pt x="5315" y="453"/>
                  <a:pt x="5316" y="451"/>
                </a:cubicBezTo>
                <a:cubicBezTo>
                  <a:pt x="5317" y="451"/>
                  <a:pt x="5317" y="450"/>
                  <a:pt x="5318" y="450"/>
                </a:cubicBezTo>
                <a:lnTo>
                  <a:pt x="5317" y="453"/>
                </a:lnTo>
                <a:cubicBezTo>
                  <a:pt x="5316" y="456"/>
                  <a:pt x="5314" y="458"/>
                  <a:pt x="5311" y="458"/>
                </a:cubicBezTo>
                <a:close/>
                <a:moveTo>
                  <a:pt x="5336" y="394"/>
                </a:moveTo>
                <a:cubicBezTo>
                  <a:pt x="5336" y="394"/>
                  <a:pt x="5336" y="394"/>
                  <a:pt x="5336" y="394"/>
                </a:cubicBezTo>
                <a:cubicBezTo>
                  <a:pt x="5336" y="394"/>
                  <a:pt x="5336" y="393"/>
                  <a:pt x="5337" y="392"/>
                </a:cubicBezTo>
                <a:cubicBezTo>
                  <a:pt x="5338" y="391"/>
                  <a:pt x="5340" y="390"/>
                  <a:pt x="5342" y="389"/>
                </a:cubicBezTo>
                <a:cubicBezTo>
                  <a:pt x="5344" y="387"/>
                  <a:pt x="5345" y="387"/>
                  <a:pt x="5346" y="387"/>
                </a:cubicBezTo>
                <a:lnTo>
                  <a:pt x="5346" y="387"/>
                </a:lnTo>
                <a:cubicBezTo>
                  <a:pt x="5346" y="388"/>
                  <a:pt x="5345" y="389"/>
                  <a:pt x="5343" y="390"/>
                </a:cubicBezTo>
                <a:cubicBezTo>
                  <a:pt x="5339" y="393"/>
                  <a:pt x="5337" y="394"/>
                  <a:pt x="5336" y="394"/>
                </a:cubicBezTo>
                <a:close/>
                <a:moveTo>
                  <a:pt x="5296" y="482"/>
                </a:moveTo>
                <a:cubicBezTo>
                  <a:pt x="5296" y="482"/>
                  <a:pt x="5294" y="481"/>
                  <a:pt x="5292" y="479"/>
                </a:cubicBezTo>
                <a:cubicBezTo>
                  <a:pt x="5292" y="478"/>
                  <a:pt x="5290" y="474"/>
                  <a:pt x="5289" y="468"/>
                </a:cubicBezTo>
                <a:cubicBezTo>
                  <a:pt x="5288" y="463"/>
                  <a:pt x="5287" y="459"/>
                  <a:pt x="5285" y="457"/>
                </a:cubicBezTo>
                <a:lnTo>
                  <a:pt x="5284" y="455"/>
                </a:lnTo>
                <a:lnTo>
                  <a:pt x="5287" y="457"/>
                </a:lnTo>
                <a:cubicBezTo>
                  <a:pt x="5287" y="457"/>
                  <a:pt x="5287" y="456"/>
                  <a:pt x="5287" y="456"/>
                </a:cubicBezTo>
                <a:lnTo>
                  <a:pt x="5287" y="453"/>
                </a:lnTo>
                <a:cubicBezTo>
                  <a:pt x="5287" y="453"/>
                  <a:pt x="5287" y="452"/>
                  <a:pt x="5288" y="452"/>
                </a:cubicBezTo>
                <a:cubicBezTo>
                  <a:pt x="5289" y="452"/>
                  <a:pt x="5290" y="451"/>
                  <a:pt x="5290" y="449"/>
                </a:cubicBezTo>
                <a:cubicBezTo>
                  <a:pt x="5290" y="447"/>
                  <a:pt x="5292" y="442"/>
                  <a:pt x="5295" y="434"/>
                </a:cubicBezTo>
                <a:cubicBezTo>
                  <a:pt x="5298" y="428"/>
                  <a:pt x="5299" y="424"/>
                  <a:pt x="5299" y="423"/>
                </a:cubicBezTo>
                <a:cubicBezTo>
                  <a:pt x="5299" y="422"/>
                  <a:pt x="5299" y="422"/>
                  <a:pt x="5299" y="422"/>
                </a:cubicBezTo>
                <a:cubicBezTo>
                  <a:pt x="5298" y="422"/>
                  <a:pt x="5297" y="424"/>
                  <a:pt x="5295" y="427"/>
                </a:cubicBezTo>
                <a:cubicBezTo>
                  <a:pt x="5293" y="431"/>
                  <a:pt x="5292" y="434"/>
                  <a:pt x="5290" y="438"/>
                </a:cubicBezTo>
                <a:cubicBezTo>
                  <a:pt x="5289" y="442"/>
                  <a:pt x="5288" y="444"/>
                  <a:pt x="5288" y="445"/>
                </a:cubicBezTo>
                <a:cubicBezTo>
                  <a:pt x="5288" y="446"/>
                  <a:pt x="5287" y="448"/>
                  <a:pt x="5286" y="450"/>
                </a:cubicBezTo>
                <a:cubicBezTo>
                  <a:pt x="5285" y="452"/>
                  <a:pt x="5283" y="453"/>
                  <a:pt x="5282" y="455"/>
                </a:cubicBezTo>
                <a:cubicBezTo>
                  <a:pt x="5280" y="456"/>
                  <a:pt x="5279" y="457"/>
                  <a:pt x="5278" y="457"/>
                </a:cubicBezTo>
                <a:cubicBezTo>
                  <a:pt x="5277" y="457"/>
                  <a:pt x="5277" y="456"/>
                  <a:pt x="5277" y="453"/>
                </a:cubicBezTo>
                <a:cubicBezTo>
                  <a:pt x="5277" y="441"/>
                  <a:pt x="5285" y="421"/>
                  <a:pt x="5302" y="394"/>
                </a:cubicBezTo>
                <a:cubicBezTo>
                  <a:pt x="5320" y="366"/>
                  <a:pt x="5331" y="349"/>
                  <a:pt x="5338" y="342"/>
                </a:cubicBezTo>
                <a:cubicBezTo>
                  <a:pt x="5338" y="341"/>
                  <a:pt x="5341" y="338"/>
                  <a:pt x="5345" y="333"/>
                </a:cubicBezTo>
                <a:cubicBezTo>
                  <a:pt x="5352" y="322"/>
                  <a:pt x="5357" y="317"/>
                  <a:pt x="5360" y="317"/>
                </a:cubicBezTo>
                <a:cubicBezTo>
                  <a:pt x="5363" y="317"/>
                  <a:pt x="5365" y="319"/>
                  <a:pt x="5365" y="322"/>
                </a:cubicBezTo>
                <a:cubicBezTo>
                  <a:pt x="5365" y="324"/>
                  <a:pt x="5364" y="326"/>
                  <a:pt x="5363" y="329"/>
                </a:cubicBezTo>
                <a:cubicBezTo>
                  <a:pt x="5361" y="332"/>
                  <a:pt x="5361" y="333"/>
                  <a:pt x="5361" y="334"/>
                </a:cubicBezTo>
                <a:cubicBezTo>
                  <a:pt x="5361" y="335"/>
                  <a:pt x="5361" y="335"/>
                  <a:pt x="5363" y="335"/>
                </a:cubicBezTo>
                <a:cubicBezTo>
                  <a:pt x="5364" y="335"/>
                  <a:pt x="5365" y="337"/>
                  <a:pt x="5365" y="341"/>
                </a:cubicBezTo>
                <a:cubicBezTo>
                  <a:pt x="5365" y="348"/>
                  <a:pt x="5364" y="352"/>
                  <a:pt x="5361" y="355"/>
                </a:cubicBezTo>
                <a:cubicBezTo>
                  <a:pt x="5355" y="360"/>
                  <a:pt x="5347" y="372"/>
                  <a:pt x="5337" y="390"/>
                </a:cubicBezTo>
                <a:cubicBezTo>
                  <a:pt x="5333" y="397"/>
                  <a:pt x="5331" y="401"/>
                  <a:pt x="5331" y="403"/>
                </a:cubicBezTo>
                <a:lnTo>
                  <a:pt x="5331" y="404"/>
                </a:lnTo>
                <a:cubicBezTo>
                  <a:pt x="5331" y="405"/>
                  <a:pt x="5331" y="406"/>
                  <a:pt x="5331" y="406"/>
                </a:cubicBezTo>
                <a:lnTo>
                  <a:pt x="5329" y="405"/>
                </a:lnTo>
                <a:cubicBezTo>
                  <a:pt x="5328" y="405"/>
                  <a:pt x="5326" y="406"/>
                  <a:pt x="5324" y="408"/>
                </a:cubicBezTo>
                <a:lnTo>
                  <a:pt x="5323" y="411"/>
                </a:lnTo>
                <a:cubicBezTo>
                  <a:pt x="5324" y="411"/>
                  <a:pt x="5324" y="411"/>
                  <a:pt x="5326" y="410"/>
                </a:cubicBezTo>
                <a:lnTo>
                  <a:pt x="5329" y="409"/>
                </a:lnTo>
                <a:cubicBezTo>
                  <a:pt x="5329" y="410"/>
                  <a:pt x="5328" y="411"/>
                  <a:pt x="5327" y="411"/>
                </a:cubicBezTo>
                <a:cubicBezTo>
                  <a:pt x="5325" y="413"/>
                  <a:pt x="5324" y="415"/>
                  <a:pt x="5323" y="419"/>
                </a:cubicBezTo>
                <a:cubicBezTo>
                  <a:pt x="5322" y="422"/>
                  <a:pt x="5320" y="426"/>
                  <a:pt x="5317" y="429"/>
                </a:cubicBezTo>
                <a:cubicBezTo>
                  <a:pt x="5306" y="447"/>
                  <a:pt x="5301" y="456"/>
                  <a:pt x="5301" y="458"/>
                </a:cubicBezTo>
                <a:cubicBezTo>
                  <a:pt x="5301" y="458"/>
                  <a:pt x="5301" y="459"/>
                  <a:pt x="5301" y="459"/>
                </a:cubicBezTo>
                <a:lnTo>
                  <a:pt x="5303" y="458"/>
                </a:lnTo>
                <a:cubicBezTo>
                  <a:pt x="5304" y="458"/>
                  <a:pt x="5305" y="459"/>
                  <a:pt x="5307" y="460"/>
                </a:cubicBezTo>
                <a:cubicBezTo>
                  <a:pt x="5307" y="461"/>
                  <a:pt x="5308" y="462"/>
                  <a:pt x="5308" y="463"/>
                </a:cubicBezTo>
                <a:cubicBezTo>
                  <a:pt x="5308" y="464"/>
                  <a:pt x="5308" y="464"/>
                  <a:pt x="5307" y="465"/>
                </a:cubicBezTo>
                <a:cubicBezTo>
                  <a:pt x="5307" y="465"/>
                  <a:pt x="5307" y="465"/>
                  <a:pt x="5306" y="465"/>
                </a:cubicBezTo>
                <a:cubicBezTo>
                  <a:pt x="5306" y="465"/>
                  <a:pt x="5305" y="465"/>
                  <a:pt x="5305" y="464"/>
                </a:cubicBezTo>
                <a:cubicBezTo>
                  <a:pt x="5305" y="463"/>
                  <a:pt x="5304" y="462"/>
                  <a:pt x="5302" y="462"/>
                </a:cubicBezTo>
                <a:cubicBezTo>
                  <a:pt x="5301" y="462"/>
                  <a:pt x="5300" y="463"/>
                  <a:pt x="5300" y="463"/>
                </a:cubicBezTo>
                <a:cubicBezTo>
                  <a:pt x="5300" y="463"/>
                  <a:pt x="5300" y="464"/>
                  <a:pt x="5301" y="464"/>
                </a:cubicBezTo>
                <a:cubicBezTo>
                  <a:pt x="5301" y="465"/>
                  <a:pt x="5301" y="466"/>
                  <a:pt x="5301" y="467"/>
                </a:cubicBezTo>
                <a:cubicBezTo>
                  <a:pt x="5301" y="469"/>
                  <a:pt x="5301" y="471"/>
                  <a:pt x="5301" y="473"/>
                </a:cubicBezTo>
                <a:cubicBezTo>
                  <a:pt x="5300" y="476"/>
                  <a:pt x="5299" y="478"/>
                  <a:pt x="5298" y="479"/>
                </a:cubicBezTo>
                <a:cubicBezTo>
                  <a:pt x="5297" y="481"/>
                  <a:pt x="5297" y="482"/>
                  <a:pt x="5296" y="482"/>
                </a:cubicBezTo>
                <a:close/>
                <a:moveTo>
                  <a:pt x="5344" y="353"/>
                </a:moveTo>
                <a:cubicBezTo>
                  <a:pt x="5345" y="353"/>
                  <a:pt x="5347" y="352"/>
                  <a:pt x="5349" y="349"/>
                </a:cubicBezTo>
                <a:cubicBezTo>
                  <a:pt x="5352" y="346"/>
                  <a:pt x="5353" y="345"/>
                  <a:pt x="5353" y="344"/>
                </a:cubicBezTo>
                <a:cubicBezTo>
                  <a:pt x="5352" y="344"/>
                  <a:pt x="5350" y="346"/>
                  <a:pt x="5347" y="349"/>
                </a:cubicBezTo>
                <a:cubicBezTo>
                  <a:pt x="5346" y="352"/>
                  <a:pt x="5344" y="353"/>
                  <a:pt x="5344" y="353"/>
                </a:cubicBezTo>
                <a:close/>
                <a:moveTo>
                  <a:pt x="5336" y="365"/>
                </a:moveTo>
                <a:cubicBezTo>
                  <a:pt x="5337" y="365"/>
                  <a:pt x="5338" y="364"/>
                  <a:pt x="5341" y="361"/>
                </a:cubicBezTo>
                <a:cubicBezTo>
                  <a:pt x="5343" y="358"/>
                  <a:pt x="5344" y="356"/>
                  <a:pt x="5344" y="356"/>
                </a:cubicBezTo>
                <a:cubicBezTo>
                  <a:pt x="5343" y="356"/>
                  <a:pt x="5342" y="357"/>
                  <a:pt x="5339" y="360"/>
                </a:cubicBezTo>
                <a:cubicBezTo>
                  <a:pt x="5337" y="363"/>
                  <a:pt x="5336" y="365"/>
                  <a:pt x="5336" y="365"/>
                </a:cubicBezTo>
                <a:close/>
                <a:moveTo>
                  <a:pt x="5308" y="408"/>
                </a:moveTo>
                <a:cubicBezTo>
                  <a:pt x="5309" y="408"/>
                  <a:pt x="5314" y="401"/>
                  <a:pt x="5324" y="386"/>
                </a:cubicBezTo>
                <a:cubicBezTo>
                  <a:pt x="5331" y="375"/>
                  <a:pt x="5334" y="368"/>
                  <a:pt x="5334" y="368"/>
                </a:cubicBezTo>
                <a:cubicBezTo>
                  <a:pt x="5334" y="368"/>
                  <a:pt x="5331" y="372"/>
                  <a:pt x="5326" y="379"/>
                </a:cubicBezTo>
                <a:cubicBezTo>
                  <a:pt x="5321" y="387"/>
                  <a:pt x="5317" y="392"/>
                  <a:pt x="5315" y="392"/>
                </a:cubicBezTo>
                <a:cubicBezTo>
                  <a:pt x="5315" y="392"/>
                  <a:pt x="5315" y="393"/>
                  <a:pt x="5314" y="394"/>
                </a:cubicBezTo>
                <a:cubicBezTo>
                  <a:pt x="5314" y="394"/>
                  <a:pt x="5314" y="395"/>
                  <a:pt x="5314" y="396"/>
                </a:cubicBezTo>
                <a:cubicBezTo>
                  <a:pt x="5314" y="397"/>
                  <a:pt x="5314" y="398"/>
                  <a:pt x="5313" y="398"/>
                </a:cubicBezTo>
                <a:cubicBezTo>
                  <a:pt x="5312" y="399"/>
                  <a:pt x="5311" y="399"/>
                  <a:pt x="5310" y="399"/>
                </a:cubicBezTo>
                <a:cubicBezTo>
                  <a:pt x="5309" y="399"/>
                  <a:pt x="5308" y="401"/>
                  <a:pt x="5308" y="404"/>
                </a:cubicBezTo>
                <a:lnTo>
                  <a:pt x="5308" y="408"/>
                </a:lnTo>
                <a:close/>
                <a:moveTo>
                  <a:pt x="5301" y="420"/>
                </a:moveTo>
                <a:cubicBezTo>
                  <a:pt x="5302" y="420"/>
                  <a:pt x="5304" y="419"/>
                  <a:pt x="5305" y="416"/>
                </a:cubicBezTo>
                <a:cubicBezTo>
                  <a:pt x="5306" y="414"/>
                  <a:pt x="5306" y="413"/>
                  <a:pt x="5306" y="412"/>
                </a:cubicBezTo>
                <a:cubicBezTo>
                  <a:pt x="5306" y="411"/>
                  <a:pt x="5306" y="411"/>
                  <a:pt x="5306" y="411"/>
                </a:cubicBezTo>
                <a:cubicBezTo>
                  <a:pt x="5304" y="411"/>
                  <a:pt x="5303" y="413"/>
                  <a:pt x="5301" y="416"/>
                </a:cubicBezTo>
                <a:cubicBezTo>
                  <a:pt x="5301" y="417"/>
                  <a:pt x="5300" y="419"/>
                  <a:pt x="5300" y="419"/>
                </a:cubicBezTo>
                <a:cubicBezTo>
                  <a:pt x="5300" y="420"/>
                  <a:pt x="5300" y="420"/>
                  <a:pt x="5301" y="420"/>
                </a:cubicBezTo>
                <a:close/>
                <a:moveTo>
                  <a:pt x="5313" y="449"/>
                </a:moveTo>
                <a:cubicBezTo>
                  <a:pt x="5313" y="449"/>
                  <a:pt x="5312" y="449"/>
                  <a:pt x="5312" y="448"/>
                </a:cubicBezTo>
                <a:lnTo>
                  <a:pt x="5312" y="447"/>
                </a:lnTo>
                <a:cubicBezTo>
                  <a:pt x="5313" y="446"/>
                  <a:pt x="5314" y="445"/>
                  <a:pt x="5315" y="445"/>
                </a:cubicBezTo>
                <a:lnTo>
                  <a:pt x="5316" y="445"/>
                </a:lnTo>
                <a:cubicBezTo>
                  <a:pt x="5317" y="445"/>
                  <a:pt x="5317" y="445"/>
                  <a:pt x="5317" y="444"/>
                </a:cubicBezTo>
                <a:lnTo>
                  <a:pt x="5317" y="441"/>
                </a:lnTo>
                <a:cubicBezTo>
                  <a:pt x="5317" y="439"/>
                  <a:pt x="5317" y="438"/>
                  <a:pt x="5319" y="436"/>
                </a:cubicBezTo>
                <a:cubicBezTo>
                  <a:pt x="5320" y="434"/>
                  <a:pt x="5321" y="433"/>
                  <a:pt x="5322" y="433"/>
                </a:cubicBezTo>
                <a:lnTo>
                  <a:pt x="5324" y="433"/>
                </a:lnTo>
                <a:cubicBezTo>
                  <a:pt x="5324" y="433"/>
                  <a:pt x="5324" y="433"/>
                  <a:pt x="5324" y="433"/>
                </a:cubicBezTo>
                <a:lnTo>
                  <a:pt x="5324" y="430"/>
                </a:lnTo>
                <a:cubicBezTo>
                  <a:pt x="5324" y="429"/>
                  <a:pt x="5324" y="427"/>
                  <a:pt x="5325" y="425"/>
                </a:cubicBezTo>
                <a:cubicBezTo>
                  <a:pt x="5326" y="424"/>
                  <a:pt x="5326" y="422"/>
                  <a:pt x="5327" y="421"/>
                </a:cubicBezTo>
                <a:cubicBezTo>
                  <a:pt x="5329" y="419"/>
                  <a:pt x="5330" y="419"/>
                  <a:pt x="5331" y="419"/>
                </a:cubicBezTo>
                <a:lnTo>
                  <a:pt x="5332" y="419"/>
                </a:lnTo>
                <a:cubicBezTo>
                  <a:pt x="5333" y="419"/>
                  <a:pt x="5334" y="419"/>
                  <a:pt x="5335" y="418"/>
                </a:cubicBezTo>
                <a:cubicBezTo>
                  <a:pt x="5335" y="417"/>
                  <a:pt x="5336" y="416"/>
                  <a:pt x="5336" y="416"/>
                </a:cubicBezTo>
                <a:lnTo>
                  <a:pt x="5332" y="417"/>
                </a:lnTo>
                <a:cubicBezTo>
                  <a:pt x="5332" y="417"/>
                  <a:pt x="5332" y="417"/>
                  <a:pt x="5332" y="417"/>
                </a:cubicBezTo>
                <a:cubicBezTo>
                  <a:pt x="5332" y="415"/>
                  <a:pt x="5334" y="410"/>
                  <a:pt x="5339" y="403"/>
                </a:cubicBezTo>
                <a:cubicBezTo>
                  <a:pt x="5343" y="397"/>
                  <a:pt x="5346" y="393"/>
                  <a:pt x="5348" y="393"/>
                </a:cubicBezTo>
                <a:cubicBezTo>
                  <a:pt x="5348" y="394"/>
                  <a:pt x="5349" y="394"/>
                  <a:pt x="5349" y="394"/>
                </a:cubicBezTo>
                <a:cubicBezTo>
                  <a:pt x="5350" y="394"/>
                  <a:pt x="5351" y="393"/>
                  <a:pt x="5352" y="392"/>
                </a:cubicBezTo>
                <a:cubicBezTo>
                  <a:pt x="5354" y="392"/>
                  <a:pt x="5354" y="391"/>
                  <a:pt x="5355" y="391"/>
                </a:cubicBezTo>
                <a:cubicBezTo>
                  <a:pt x="5355" y="391"/>
                  <a:pt x="5355" y="391"/>
                  <a:pt x="5355" y="391"/>
                </a:cubicBezTo>
                <a:cubicBezTo>
                  <a:pt x="5355" y="393"/>
                  <a:pt x="5353" y="395"/>
                  <a:pt x="5350" y="399"/>
                </a:cubicBezTo>
                <a:cubicBezTo>
                  <a:pt x="5349" y="400"/>
                  <a:pt x="5348" y="400"/>
                  <a:pt x="5347" y="400"/>
                </a:cubicBezTo>
                <a:lnTo>
                  <a:pt x="5347" y="400"/>
                </a:lnTo>
                <a:lnTo>
                  <a:pt x="5348" y="398"/>
                </a:lnTo>
                <a:cubicBezTo>
                  <a:pt x="5348" y="398"/>
                  <a:pt x="5348" y="397"/>
                  <a:pt x="5348" y="397"/>
                </a:cubicBezTo>
                <a:lnTo>
                  <a:pt x="5346" y="399"/>
                </a:lnTo>
                <a:cubicBezTo>
                  <a:pt x="5346" y="399"/>
                  <a:pt x="5346" y="400"/>
                  <a:pt x="5346" y="401"/>
                </a:cubicBezTo>
                <a:lnTo>
                  <a:pt x="5346" y="404"/>
                </a:lnTo>
                <a:cubicBezTo>
                  <a:pt x="5346" y="405"/>
                  <a:pt x="5346" y="406"/>
                  <a:pt x="5344" y="407"/>
                </a:cubicBezTo>
                <a:cubicBezTo>
                  <a:pt x="5343" y="409"/>
                  <a:pt x="5342" y="409"/>
                  <a:pt x="5340" y="409"/>
                </a:cubicBezTo>
                <a:lnTo>
                  <a:pt x="5338" y="409"/>
                </a:lnTo>
                <a:lnTo>
                  <a:pt x="5339" y="411"/>
                </a:lnTo>
                <a:cubicBezTo>
                  <a:pt x="5339" y="413"/>
                  <a:pt x="5338" y="414"/>
                  <a:pt x="5337" y="417"/>
                </a:cubicBezTo>
                <a:cubicBezTo>
                  <a:pt x="5336" y="419"/>
                  <a:pt x="5335" y="422"/>
                  <a:pt x="5333" y="425"/>
                </a:cubicBezTo>
                <a:cubicBezTo>
                  <a:pt x="5331" y="429"/>
                  <a:pt x="5329" y="432"/>
                  <a:pt x="5327" y="435"/>
                </a:cubicBezTo>
                <a:cubicBezTo>
                  <a:pt x="5325" y="438"/>
                  <a:pt x="5324" y="441"/>
                  <a:pt x="5323" y="442"/>
                </a:cubicBezTo>
                <a:cubicBezTo>
                  <a:pt x="5322" y="444"/>
                  <a:pt x="5321" y="446"/>
                  <a:pt x="5319" y="447"/>
                </a:cubicBezTo>
                <a:cubicBezTo>
                  <a:pt x="5316" y="448"/>
                  <a:pt x="5315" y="449"/>
                  <a:pt x="5313" y="449"/>
                </a:cubicBezTo>
                <a:close/>
                <a:moveTo>
                  <a:pt x="5349" y="391"/>
                </a:moveTo>
                <a:cubicBezTo>
                  <a:pt x="5349" y="391"/>
                  <a:pt x="5349" y="391"/>
                  <a:pt x="5349" y="391"/>
                </a:cubicBezTo>
                <a:cubicBezTo>
                  <a:pt x="5349" y="389"/>
                  <a:pt x="5353" y="384"/>
                  <a:pt x="5360" y="373"/>
                </a:cubicBezTo>
                <a:cubicBezTo>
                  <a:pt x="5367" y="365"/>
                  <a:pt x="5370" y="359"/>
                  <a:pt x="5370" y="356"/>
                </a:cubicBezTo>
                <a:cubicBezTo>
                  <a:pt x="5370" y="355"/>
                  <a:pt x="5370" y="355"/>
                  <a:pt x="5370" y="354"/>
                </a:cubicBezTo>
                <a:cubicBezTo>
                  <a:pt x="5369" y="353"/>
                  <a:pt x="5369" y="353"/>
                  <a:pt x="5369" y="351"/>
                </a:cubicBezTo>
                <a:cubicBezTo>
                  <a:pt x="5369" y="350"/>
                  <a:pt x="5370" y="349"/>
                  <a:pt x="5371" y="347"/>
                </a:cubicBezTo>
                <a:cubicBezTo>
                  <a:pt x="5373" y="345"/>
                  <a:pt x="5374" y="344"/>
                  <a:pt x="5374" y="344"/>
                </a:cubicBezTo>
                <a:lnTo>
                  <a:pt x="5374" y="345"/>
                </a:lnTo>
                <a:lnTo>
                  <a:pt x="5371" y="353"/>
                </a:lnTo>
                <a:cubicBezTo>
                  <a:pt x="5372" y="353"/>
                  <a:pt x="5373" y="352"/>
                  <a:pt x="5376" y="348"/>
                </a:cubicBezTo>
                <a:cubicBezTo>
                  <a:pt x="5378" y="346"/>
                  <a:pt x="5379" y="345"/>
                  <a:pt x="5380" y="345"/>
                </a:cubicBezTo>
                <a:cubicBezTo>
                  <a:pt x="5381" y="345"/>
                  <a:pt x="5381" y="345"/>
                  <a:pt x="5381" y="346"/>
                </a:cubicBezTo>
                <a:cubicBezTo>
                  <a:pt x="5381" y="348"/>
                  <a:pt x="5380" y="350"/>
                  <a:pt x="5378" y="353"/>
                </a:cubicBezTo>
                <a:lnTo>
                  <a:pt x="5377" y="355"/>
                </a:lnTo>
                <a:lnTo>
                  <a:pt x="5380" y="354"/>
                </a:lnTo>
                <a:cubicBezTo>
                  <a:pt x="5380" y="354"/>
                  <a:pt x="5381" y="354"/>
                  <a:pt x="5381" y="355"/>
                </a:cubicBezTo>
                <a:cubicBezTo>
                  <a:pt x="5381" y="356"/>
                  <a:pt x="5377" y="362"/>
                  <a:pt x="5370" y="372"/>
                </a:cubicBezTo>
                <a:cubicBezTo>
                  <a:pt x="5361" y="384"/>
                  <a:pt x="5356" y="389"/>
                  <a:pt x="5355" y="389"/>
                </a:cubicBezTo>
                <a:cubicBezTo>
                  <a:pt x="5354" y="389"/>
                  <a:pt x="5353" y="390"/>
                  <a:pt x="5352" y="390"/>
                </a:cubicBezTo>
                <a:cubicBezTo>
                  <a:pt x="5351" y="391"/>
                  <a:pt x="5350" y="391"/>
                  <a:pt x="5349" y="391"/>
                </a:cubicBezTo>
                <a:close/>
                <a:moveTo>
                  <a:pt x="5364" y="374"/>
                </a:moveTo>
                <a:cubicBezTo>
                  <a:pt x="5365" y="374"/>
                  <a:pt x="5366" y="373"/>
                  <a:pt x="5368" y="370"/>
                </a:cubicBezTo>
                <a:lnTo>
                  <a:pt x="5370" y="368"/>
                </a:lnTo>
                <a:lnTo>
                  <a:pt x="5370" y="367"/>
                </a:lnTo>
                <a:cubicBezTo>
                  <a:pt x="5370" y="367"/>
                  <a:pt x="5369" y="368"/>
                  <a:pt x="5368" y="369"/>
                </a:cubicBezTo>
                <a:cubicBezTo>
                  <a:pt x="5367" y="370"/>
                  <a:pt x="5366" y="370"/>
                  <a:pt x="5365" y="371"/>
                </a:cubicBezTo>
                <a:cubicBezTo>
                  <a:pt x="5364" y="372"/>
                  <a:pt x="5364" y="373"/>
                  <a:pt x="5364" y="373"/>
                </a:cubicBezTo>
                <a:cubicBezTo>
                  <a:pt x="5364" y="374"/>
                  <a:pt x="5364" y="374"/>
                  <a:pt x="5364" y="374"/>
                </a:cubicBezTo>
                <a:close/>
                <a:moveTo>
                  <a:pt x="5371" y="365"/>
                </a:moveTo>
                <a:cubicBezTo>
                  <a:pt x="5372" y="365"/>
                  <a:pt x="5372" y="365"/>
                  <a:pt x="5373" y="364"/>
                </a:cubicBezTo>
                <a:cubicBezTo>
                  <a:pt x="5374" y="363"/>
                  <a:pt x="5374" y="362"/>
                  <a:pt x="5375" y="361"/>
                </a:cubicBezTo>
                <a:lnTo>
                  <a:pt x="5377" y="359"/>
                </a:lnTo>
                <a:lnTo>
                  <a:pt x="5377" y="358"/>
                </a:lnTo>
                <a:lnTo>
                  <a:pt x="5374" y="360"/>
                </a:lnTo>
                <a:cubicBezTo>
                  <a:pt x="5372" y="362"/>
                  <a:pt x="5370" y="364"/>
                  <a:pt x="5370" y="365"/>
                </a:cubicBezTo>
                <a:cubicBezTo>
                  <a:pt x="5370" y="365"/>
                  <a:pt x="5371" y="365"/>
                  <a:pt x="5371" y="365"/>
                </a:cubicBezTo>
                <a:close/>
                <a:moveTo>
                  <a:pt x="5304" y="475"/>
                </a:moveTo>
                <a:cubicBezTo>
                  <a:pt x="5303" y="475"/>
                  <a:pt x="5303" y="474"/>
                  <a:pt x="5303" y="472"/>
                </a:cubicBezTo>
                <a:cubicBezTo>
                  <a:pt x="5303" y="469"/>
                  <a:pt x="5304" y="468"/>
                  <a:pt x="5305" y="468"/>
                </a:cubicBezTo>
                <a:cubicBezTo>
                  <a:pt x="5306" y="468"/>
                  <a:pt x="5306" y="469"/>
                  <a:pt x="5306" y="470"/>
                </a:cubicBezTo>
                <a:cubicBezTo>
                  <a:pt x="5306" y="470"/>
                  <a:pt x="5306" y="471"/>
                  <a:pt x="5306" y="472"/>
                </a:cubicBezTo>
                <a:cubicBezTo>
                  <a:pt x="5306" y="473"/>
                  <a:pt x="5305" y="474"/>
                  <a:pt x="5305" y="474"/>
                </a:cubicBezTo>
                <a:cubicBezTo>
                  <a:pt x="5305" y="475"/>
                  <a:pt x="5304" y="475"/>
                  <a:pt x="5304" y="475"/>
                </a:cubicBezTo>
                <a:close/>
                <a:moveTo>
                  <a:pt x="5743" y="218"/>
                </a:moveTo>
                <a:lnTo>
                  <a:pt x="5742" y="218"/>
                </a:lnTo>
                <a:cubicBezTo>
                  <a:pt x="5741" y="218"/>
                  <a:pt x="5741" y="217"/>
                  <a:pt x="5740" y="215"/>
                </a:cubicBezTo>
                <a:lnTo>
                  <a:pt x="5739" y="212"/>
                </a:lnTo>
                <a:lnTo>
                  <a:pt x="5739" y="212"/>
                </a:lnTo>
                <a:lnTo>
                  <a:pt x="5741" y="213"/>
                </a:lnTo>
                <a:cubicBezTo>
                  <a:pt x="5742" y="215"/>
                  <a:pt x="5743" y="216"/>
                  <a:pt x="5743" y="216"/>
                </a:cubicBezTo>
                <a:lnTo>
                  <a:pt x="5743" y="218"/>
                </a:lnTo>
                <a:close/>
                <a:moveTo>
                  <a:pt x="5670" y="355"/>
                </a:moveTo>
                <a:cubicBezTo>
                  <a:pt x="5669" y="355"/>
                  <a:pt x="5669" y="355"/>
                  <a:pt x="5669" y="355"/>
                </a:cubicBezTo>
                <a:cubicBezTo>
                  <a:pt x="5669" y="354"/>
                  <a:pt x="5669" y="353"/>
                  <a:pt x="5670" y="351"/>
                </a:cubicBezTo>
                <a:cubicBezTo>
                  <a:pt x="5670" y="350"/>
                  <a:pt x="5671" y="350"/>
                  <a:pt x="5671" y="349"/>
                </a:cubicBezTo>
                <a:cubicBezTo>
                  <a:pt x="5671" y="348"/>
                  <a:pt x="5672" y="348"/>
                  <a:pt x="5672" y="348"/>
                </a:cubicBezTo>
                <a:cubicBezTo>
                  <a:pt x="5673" y="348"/>
                  <a:pt x="5673" y="348"/>
                  <a:pt x="5673" y="350"/>
                </a:cubicBezTo>
                <a:cubicBezTo>
                  <a:pt x="5673" y="352"/>
                  <a:pt x="5673" y="354"/>
                  <a:pt x="5671" y="355"/>
                </a:cubicBezTo>
                <a:lnTo>
                  <a:pt x="5670" y="355"/>
                </a:lnTo>
                <a:close/>
                <a:moveTo>
                  <a:pt x="5805" y="307"/>
                </a:moveTo>
                <a:lnTo>
                  <a:pt x="5808" y="301"/>
                </a:lnTo>
                <a:cubicBezTo>
                  <a:pt x="5810" y="298"/>
                  <a:pt x="5812" y="295"/>
                  <a:pt x="5812" y="294"/>
                </a:cubicBezTo>
                <a:cubicBezTo>
                  <a:pt x="5813" y="292"/>
                  <a:pt x="5814" y="292"/>
                  <a:pt x="5814" y="292"/>
                </a:cubicBezTo>
                <a:lnTo>
                  <a:pt x="5814" y="293"/>
                </a:lnTo>
                <a:cubicBezTo>
                  <a:pt x="5814" y="295"/>
                  <a:pt x="5812" y="298"/>
                  <a:pt x="5808" y="302"/>
                </a:cubicBezTo>
                <a:lnTo>
                  <a:pt x="5805" y="307"/>
                </a:lnTo>
                <a:close/>
                <a:moveTo>
                  <a:pt x="5654" y="686"/>
                </a:moveTo>
                <a:cubicBezTo>
                  <a:pt x="5654" y="685"/>
                  <a:pt x="5656" y="682"/>
                  <a:pt x="5660" y="676"/>
                </a:cubicBezTo>
                <a:cubicBezTo>
                  <a:pt x="5667" y="665"/>
                  <a:pt x="5671" y="659"/>
                  <a:pt x="5672" y="659"/>
                </a:cubicBezTo>
                <a:cubicBezTo>
                  <a:pt x="5672" y="660"/>
                  <a:pt x="5670" y="664"/>
                  <a:pt x="5666" y="670"/>
                </a:cubicBezTo>
                <a:cubicBezTo>
                  <a:pt x="5659" y="681"/>
                  <a:pt x="5655" y="686"/>
                  <a:pt x="5654" y="686"/>
                </a:cubicBezTo>
                <a:close/>
                <a:moveTo>
                  <a:pt x="5634" y="718"/>
                </a:moveTo>
                <a:cubicBezTo>
                  <a:pt x="5632" y="718"/>
                  <a:pt x="5632" y="718"/>
                  <a:pt x="5632" y="718"/>
                </a:cubicBezTo>
                <a:lnTo>
                  <a:pt x="5633" y="717"/>
                </a:lnTo>
                <a:cubicBezTo>
                  <a:pt x="5635" y="716"/>
                  <a:pt x="5636" y="714"/>
                  <a:pt x="5636" y="712"/>
                </a:cubicBezTo>
                <a:cubicBezTo>
                  <a:pt x="5636" y="710"/>
                  <a:pt x="5637" y="709"/>
                  <a:pt x="5639" y="709"/>
                </a:cubicBezTo>
                <a:cubicBezTo>
                  <a:pt x="5639" y="709"/>
                  <a:pt x="5639" y="710"/>
                  <a:pt x="5639" y="710"/>
                </a:cubicBezTo>
                <a:cubicBezTo>
                  <a:pt x="5639" y="711"/>
                  <a:pt x="5639" y="712"/>
                  <a:pt x="5639" y="713"/>
                </a:cubicBezTo>
                <a:cubicBezTo>
                  <a:pt x="5638" y="715"/>
                  <a:pt x="5637" y="716"/>
                  <a:pt x="5636" y="717"/>
                </a:cubicBezTo>
                <a:cubicBezTo>
                  <a:pt x="5635" y="718"/>
                  <a:pt x="5634" y="718"/>
                  <a:pt x="5634" y="718"/>
                </a:cubicBezTo>
                <a:close/>
                <a:moveTo>
                  <a:pt x="5854" y="677"/>
                </a:moveTo>
                <a:cubicBezTo>
                  <a:pt x="5851" y="677"/>
                  <a:pt x="5848" y="676"/>
                  <a:pt x="5846" y="674"/>
                </a:cubicBezTo>
                <a:cubicBezTo>
                  <a:pt x="5844" y="672"/>
                  <a:pt x="5843" y="671"/>
                  <a:pt x="5843" y="671"/>
                </a:cubicBezTo>
                <a:cubicBezTo>
                  <a:pt x="5843" y="671"/>
                  <a:pt x="5843" y="670"/>
                  <a:pt x="5844" y="670"/>
                </a:cubicBezTo>
                <a:cubicBezTo>
                  <a:pt x="5845" y="670"/>
                  <a:pt x="5847" y="671"/>
                  <a:pt x="5851" y="674"/>
                </a:cubicBezTo>
                <a:cubicBezTo>
                  <a:pt x="5854" y="675"/>
                  <a:pt x="5855" y="676"/>
                  <a:pt x="5855" y="676"/>
                </a:cubicBezTo>
                <a:cubicBezTo>
                  <a:pt x="5855" y="677"/>
                  <a:pt x="5854" y="677"/>
                  <a:pt x="5854" y="677"/>
                </a:cubicBezTo>
                <a:close/>
                <a:moveTo>
                  <a:pt x="5668" y="644"/>
                </a:moveTo>
                <a:lnTo>
                  <a:pt x="5668" y="642"/>
                </a:lnTo>
                <a:cubicBezTo>
                  <a:pt x="5669" y="640"/>
                  <a:pt x="5671" y="638"/>
                  <a:pt x="5672" y="636"/>
                </a:cubicBezTo>
                <a:cubicBezTo>
                  <a:pt x="5673" y="634"/>
                  <a:pt x="5675" y="633"/>
                  <a:pt x="5676" y="632"/>
                </a:cubicBezTo>
                <a:cubicBezTo>
                  <a:pt x="5678" y="631"/>
                  <a:pt x="5679" y="630"/>
                  <a:pt x="5679" y="630"/>
                </a:cubicBezTo>
                <a:cubicBezTo>
                  <a:pt x="5679" y="630"/>
                  <a:pt x="5680" y="630"/>
                  <a:pt x="5680" y="630"/>
                </a:cubicBezTo>
                <a:cubicBezTo>
                  <a:pt x="5680" y="631"/>
                  <a:pt x="5678" y="634"/>
                  <a:pt x="5673" y="639"/>
                </a:cubicBezTo>
                <a:cubicBezTo>
                  <a:pt x="5670" y="642"/>
                  <a:pt x="5669" y="644"/>
                  <a:pt x="5668" y="644"/>
                </a:cubicBezTo>
                <a:close/>
                <a:moveTo>
                  <a:pt x="5612" y="767"/>
                </a:moveTo>
                <a:cubicBezTo>
                  <a:pt x="5611" y="767"/>
                  <a:pt x="5610" y="766"/>
                  <a:pt x="5609" y="764"/>
                </a:cubicBezTo>
                <a:lnTo>
                  <a:pt x="5609" y="763"/>
                </a:lnTo>
                <a:cubicBezTo>
                  <a:pt x="5609" y="762"/>
                  <a:pt x="5609" y="761"/>
                  <a:pt x="5610" y="760"/>
                </a:cubicBezTo>
                <a:cubicBezTo>
                  <a:pt x="5611" y="758"/>
                  <a:pt x="5611" y="758"/>
                  <a:pt x="5612" y="758"/>
                </a:cubicBezTo>
                <a:cubicBezTo>
                  <a:pt x="5612" y="758"/>
                  <a:pt x="5613" y="758"/>
                  <a:pt x="5613" y="759"/>
                </a:cubicBezTo>
                <a:cubicBezTo>
                  <a:pt x="5614" y="760"/>
                  <a:pt x="5614" y="761"/>
                  <a:pt x="5614" y="761"/>
                </a:cubicBezTo>
                <a:cubicBezTo>
                  <a:pt x="5614" y="762"/>
                  <a:pt x="5613" y="762"/>
                  <a:pt x="5612" y="762"/>
                </a:cubicBezTo>
                <a:cubicBezTo>
                  <a:pt x="5611" y="762"/>
                  <a:pt x="5611" y="762"/>
                  <a:pt x="5611" y="763"/>
                </a:cubicBezTo>
                <a:lnTo>
                  <a:pt x="5612" y="766"/>
                </a:lnTo>
                <a:lnTo>
                  <a:pt x="5612" y="767"/>
                </a:lnTo>
                <a:close/>
                <a:moveTo>
                  <a:pt x="5641" y="707"/>
                </a:moveTo>
                <a:cubicBezTo>
                  <a:pt x="5641" y="706"/>
                  <a:pt x="5641" y="705"/>
                  <a:pt x="5642" y="704"/>
                </a:cubicBezTo>
                <a:cubicBezTo>
                  <a:pt x="5643" y="702"/>
                  <a:pt x="5644" y="700"/>
                  <a:pt x="5645" y="698"/>
                </a:cubicBezTo>
                <a:cubicBezTo>
                  <a:pt x="5646" y="697"/>
                  <a:pt x="5647" y="695"/>
                  <a:pt x="5649" y="693"/>
                </a:cubicBezTo>
                <a:cubicBezTo>
                  <a:pt x="5650" y="691"/>
                  <a:pt x="5651" y="691"/>
                  <a:pt x="5651" y="691"/>
                </a:cubicBezTo>
                <a:cubicBezTo>
                  <a:pt x="5651" y="691"/>
                  <a:pt x="5651" y="692"/>
                  <a:pt x="5650" y="694"/>
                </a:cubicBezTo>
                <a:cubicBezTo>
                  <a:pt x="5649" y="696"/>
                  <a:pt x="5647" y="699"/>
                  <a:pt x="5644" y="703"/>
                </a:cubicBezTo>
                <a:cubicBezTo>
                  <a:pt x="5642" y="705"/>
                  <a:pt x="5641" y="707"/>
                  <a:pt x="5641" y="707"/>
                </a:cubicBezTo>
                <a:close/>
                <a:moveTo>
                  <a:pt x="5622" y="743"/>
                </a:moveTo>
                <a:cubicBezTo>
                  <a:pt x="5621" y="743"/>
                  <a:pt x="5621" y="742"/>
                  <a:pt x="5621" y="742"/>
                </a:cubicBezTo>
                <a:lnTo>
                  <a:pt x="5620" y="740"/>
                </a:lnTo>
                <a:cubicBezTo>
                  <a:pt x="5620" y="739"/>
                  <a:pt x="5621" y="738"/>
                  <a:pt x="5621" y="737"/>
                </a:cubicBezTo>
                <a:lnTo>
                  <a:pt x="5623" y="737"/>
                </a:lnTo>
                <a:cubicBezTo>
                  <a:pt x="5624" y="737"/>
                  <a:pt x="5624" y="737"/>
                  <a:pt x="5625" y="738"/>
                </a:cubicBezTo>
                <a:cubicBezTo>
                  <a:pt x="5625" y="739"/>
                  <a:pt x="5624" y="740"/>
                  <a:pt x="5624" y="741"/>
                </a:cubicBezTo>
                <a:cubicBezTo>
                  <a:pt x="5623" y="742"/>
                  <a:pt x="5622" y="743"/>
                  <a:pt x="5622" y="743"/>
                </a:cubicBezTo>
                <a:close/>
                <a:moveTo>
                  <a:pt x="5616" y="757"/>
                </a:moveTo>
                <a:cubicBezTo>
                  <a:pt x="5616" y="757"/>
                  <a:pt x="5615" y="757"/>
                  <a:pt x="5614" y="756"/>
                </a:cubicBezTo>
                <a:cubicBezTo>
                  <a:pt x="5613" y="755"/>
                  <a:pt x="5613" y="755"/>
                  <a:pt x="5613" y="754"/>
                </a:cubicBezTo>
                <a:cubicBezTo>
                  <a:pt x="5613" y="753"/>
                  <a:pt x="5614" y="752"/>
                  <a:pt x="5614" y="751"/>
                </a:cubicBezTo>
                <a:cubicBezTo>
                  <a:pt x="5615" y="749"/>
                  <a:pt x="5616" y="748"/>
                  <a:pt x="5617" y="747"/>
                </a:cubicBezTo>
                <a:cubicBezTo>
                  <a:pt x="5617" y="746"/>
                  <a:pt x="5619" y="746"/>
                  <a:pt x="5619" y="746"/>
                </a:cubicBezTo>
                <a:lnTo>
                  <a:pt x="5621" y="746"/>
                </a:lnTo>
                <a:cubicBezTo>
                  <a:pt x="5621" y="747"/>
                  <a:pt x="5620" y="747"/>
                  <a:pt x="5619" y="747"/>
                </a:cubicBezTo>
                <a:cubicBezTo>
                  <a:pt x="5618" y="747"/>
                  <a:pt x="5617" y="748"/>
                  <a:pt x="5617" y="750"/>
                </a:cubicBezTo>
                <a:lnTo>
                  <a:pt x="5618" y="751"/>
                </a:lnTo>
                <a:cubicBezTo>
                  <a:pt x="5618" y="752"/>
                  <a:pt x="5618" y="753"/>
                  <a:pt x="5617" y="753"/>
                </a:cubicBezTo>
                <a:cubicBezTo>
                  <a:pt x="5616" y="753"/>
                  <a:pt x="5616" y="753"/>
                  <a:pt x="5616" y="754"/>
                </a:cubicBezTo>
                <a:lnTo>
                  <a:pt x="5616" y="757"/>
                </a:lnTo>
                <a:close/>
                <a:moveTo>
                  <a:pt x="5625" y="734"/>
                </a:moveTo>
                <a:cubicBezTo>
                  <a:pt x="5624" y="734"/>
                  <a:pt x="5623" y="734"/>
                  <a:pt x="5623" y="734"/>
                </a:cubicBezTo>
                <a:lnTo>
                  <a:pt x="5625" y="732"/>
                </a:lnTo>
                <a:cubicBezTo>
                  <a:pt x="5626" y="732"/>
                  <a:pt x="5627" y="731"/>
                  <a:pt x="5627" y="730"/>
                </a:cubicBezTo>
                <a:lnTo>
                  <a:pt x="5627" y="730"/>
                </a:lnTo>
                <a:cubicBezTo>
                  <a:pt x="5627" y="728"/>
                  <a:pt x="5628" y="726"/>
                  <a:pt x="5630" y="724"/>
                </a:cubicBezTo>
                <a:cubicBezTo>
                  <a:pt x="5632" y="722"/>
                  <a:pt x="5633" y="721"/>
                  <a:pt x="5633" y="721"/>
                </a:cubicBezTo>
                <a:lnTo>
                  <a:pt x="5634" y="721"/>
                </a:lnTo>
                <a:cubicBezTo>
                  <a:pt x="5634" y="722"/>
                  <a:pt x="5633" y="724"/>
                  <a:pt x="5631" y="727"/>
                </a:cubicBezTo>
                <a:cubicBezTo>
                  <a:pt x="5629" y="732"/>
                  <a:pt x="5627" y="734"/>
                  <a:pt x="5625" y="734"/>
                </a:cubicBezTo>
                <a:close/>
                <a:moveTo>
                  <a:pt x="5597" y="750"/>
                </a:moveTo>
                <a:lnTo>
                  <a:pt x="5596" y="750"/>
                </a:lnTo>
                <a:cubicBezTo>
                  <a:pt x="5596" y="750"/>
                  <a:pt x="5595" y="750"/>
                  <a:pt x="5595" y="750"/>
                </a:cubicBezTo>
                <a:lnTo>
                  <a:pt x="5595" y="749"/>
                </a:lnTo>
                <a:cubicBezTo>
                  <a:pt x="5598" y="743"/>
                  <a:pt x="5600" y="738"/>
                  <a:pt x="5603" y="733"/>
                </a:cubicBezTo>
                <a:cubicBezTo>
                  <a:pt x="5605" y="729"/>
                  <a:pt x="5607" y="727"/>
                  <a:pt x="5608" y="727"/>
                </a:cubicBezTo>
                <a:cubicBezTo>
                  <a:pt x="5609" y="727"/>
                  <a:pt x="5609" y="727"/>
                  <a:pt x="5609" y="728"/>
                </a:cubicBezTo>
                <a:cubicBezTo>
                  <a:pt x="5609" y="728"/>
                  <a:pt x="5609" y="729"/>
                  <a:pt x="5608" y="730"/>
                </a:cubicBezTo>
                <a:cubicBezTo>
                  <a:pt x="5607" y="730"/>
                  <a:pt x="5606" y="732"/>
                  <a:pt x="5605" y="735"/>
                </a:cubicBezTo>
                <a:cubicBezTo>
                  <a:pt x="5604" y="738"/>
                  <a:pt x="5603" y="740"/>
                  <a:pt x="5601" y="743"/>
                </a:cubicBezTo>
                <a:cubicBezTo>
                  <a:pt x="5600" y="745"/>
                  <a:pt x="5599" y="747"/>
                  <a:pt x="5599" y="747"/>
                </a:cubicBezTo>
                <a:lnTo>
                  <a:pt x="5599" y="748"/>
                </a:lnTo>
                <a:cubicBezTo>
                  <a:pt x="5599" y="749"/>
                  <a:pt x="5598" y="750"/>
                  <a:pt x="5597" y="750"/>
                </a:cubicBezTo>
                <a:close/>
                <a:moveTo>
                  <a:pt x="5597" y="789"/>
                </a:moveTo>
                <a:lnTo>
                  <a:pt x="5597" y="788"/>
                </a:lnTo>
                <a:cubicBezTo>
                  <a:pt x="5597" y="786"/>
                  <a:pt x="5598" y="784"/>
                  <a:pt x="5600" y="781"/>
                </a:cubicBezTo>
                <a:cubicBezTo>
                  <a:pt x="5601" y="778"/>
                  <a:pt x="5603" y="775"/>
                  <a:pt x="5605" y="772"/>
                </a:cubicBezTo>
                <a:cubicBezTo>
                  <a:pt x="5607" y="769"/>
                  <a:pt x="5608" y="768"/>
                  <a:pt x="5608" y="768"/>
                </a:cubicBezTo>
                <a:cubicBezTo>
                  <a:pt x="5609" y="768"/>
                  <a:pt x="5609" y="769"/>
                  <a:pt x="5609" y="770"/>
                </a:cubicBezTo>
                <a:cubicBezTo>
                  <a:pt x="5609" y="771"/>
                  <a:pt x="5609" y="771"/>
                  <a:pt x="5608" y="771"/>
                </a:cubicBezTo>
                <a:cubicBezTo>
                  <a:pt x="5607" y="771"/>
                  <a:pt x="5607" y="771"/>
                  <a:pt x="5607" y="772"/>
                </a:cubicBezTo>
                <a:lnTo>
                  <a:pt x="5607" y="774"/>
                </a:lnTo>
                <a:cubicBezTo>
                  <a:pt x="5607" y="775"/>
                  <a:pt x="5607" y="776"/>
                  <a:pt x="5606" y="776"/>
                </a:cubicBezTo>
                <a:cubicBezTo>
                  <a:pt x="5605" y="776"/>
                  <a:pt x="5603" y="778"/>
                  <a:pt x="5601" y="783"/>
                </a:cubicBezTo>
                <a:cubicBezTo>
                  <a:pt x="5599" y="787"/>
                  <a:pt x="5598" y="789"/>
                  <a:pt x="5597" y="789"/>
                </a:cubicBezTo>
                <a:close/>
                <a:moveTo>
                  <a:pt x="5717" y="383"/>
                </a:moveTo>
                <a:cubicBezTo>
                  <a:pt x="5717" y="382"/>
                  <a:pt x="5718" y="381"/>
                  <a:pt x="5720" y="378"/>
                </a:cubicBezTo>
                <a:cubicBezTo>
                  <a:pt x="5722" y="375"/>
                  <a:pt x="5724" y="374"/>
                  <a:pt x="5725" y="374"/>
                </a:cubicBezTo>
                <a:lnTo>
                  <a:pt x="5725" y="375"/>
                </a:lnTo>
                <a:cubicBezTo>
                  <a:pt x="5725" y="375"/>
                  <a:pt x="5724" y="376"/>
                  <a:pt x="5722" y="379"/>
                </a:cubicBezTo>
                <a:cubicBezTo>
                  <a:pt x="5720" y="382"/>
                  <a:pt x="5718" y="383"/>
                  <a:pt x="5717" y="383"/>
                </a:cubicBezTo>
                <a:close/>
                <a:moveTo>
                  <a:pt x="5609" y="722"/>
                </a:moveTo>
                <a:cubicBezTo>
                  <a:pt x="5609" y="722"/>
                  <a:pt x="5609" y="722"/>
                  <a:pt x="5609" y="721"/>
                </a:cubicBezTo>
                <a:lnTo>
                  <a:pt x="5610" y="718"/>
                </a:lnTo>
                <a:cubicBezTo>
                  <a:pt x="5612" y="715"/>
                  <a:pt x="5612" y="714"/>
                  <a:pt x="5613" y="714"/>
                </a:cubicBezTo>
                <a:cubicBezTo>
                  <a:pt x="5614" y="714"/>
                  <a:pt x="5614" y="715"/>
                  <a:pt x="5614" y="717"/>
                </a:cubicBezTo>
                <a:cubicBezTo>
                  <a:pt x="5614" y="719"/>
                  <a:pt x="5613" y="721"/>
                  <a:pt x="5611" y="721"/>
                </a:cubicBezTo>
                <a:lnTo>
                  <a:pt x="5609" y="722"/>
                </a:lnTo>
                <a:close/>
                <a:moveTo>
                  <a:pt x="5585" y="839"/>
                </a:moveTo>
                <a:cubicBezTo>
                  <a:pt x="5582" y="839"/>
                  <a:pt x="5579" y="838"/>
                  <a:pt x="5574" y="835"/>
                </a:cubicBezTo>
                <a:cubicBezTo>
                  <a:pt x="5561" y="826"/>
                  <a:pt x="5552" y="813"/>
                  <a:pt x="5546" y="795"/>
                </a:cubicBezTo>
                <a:cubicBezTo>
                  <a:pt x="5545" y="791"/>
                  <a:pt x="5544" y="785"/>
                  <a:pt x="5544" y="777"/>
                </a:cubicBezTo>
                <a:cubicBezTo>
                  <a:pt x="5544" y="760"/>
                  <a:pt x="5547" y="738"/>
                  <a:pt x="5551" y="710"/>
                </a:cubicBezTo>
                <a:cubicBezTo>
                  <a:pt x="5556" y="683"/>
                  <a:pt x="5562" y="655"/>
                  <a:pt x="5570" y="628"/>
                </a:cubicBezTo>
                <a:cubicBezTo>
                  <a:pt x="5585" y="577"/>
                  <a:pt x="5601" y="529"/>
                  <a:pt x="5618" y="484"/>
                </a:cubicBezTo>
                <a:cubicBezTo>
                  <a:pt x="5623" y="470"/>
                  <a:pt x="5626" y="463"/>
                  <a:pt x="5626" y="461"/>
                </a:cubicBezTo>
                <a:cubicBezTo>
                  <a:pt x="5627" y="456"/>
                  <a:pt x="5636" y="436"/>
                  <a:pt x="5651" y="400"/>
                </a:cubicBezTo>
                <a:cubicBezTo>
                  <a:pt x="5657" y="385"/>
                  <a:pt x="5660" y="376"/>
                  <a:pt x="5660" y="373"/>
                </a:cubicBezTo>
                <a:cubicBezTo>
                  <a:pt x="5660" y="371"/>
                  <a:pt x="5661" y="370"/>
                  <a:pt x="5662" y="370"/>
                </a:cubicBezTo>
                <a:cubicBezTo>
                  <a:pt x="5663" y="370"/>
                  <a:pt x="5664" y="369"/>
                  <a:pt x="5664" y="369"/>
                </a:cubicBezTo>
                <a:lnTo>
                  <a:pt x="5664" y="368"/>
                </a:lnTo>
                <a:cubicBezTo>
                  <a:pt x="5664" y="366"/>
                  <a:pt x="5664" y="365"/>
                  <a:pt x="5665" y="364"/>
                </a:cubicBezTo>
                <a:cubicBezTo>
                  <a:pt x="5666" y="360"/>
                  <a:pt x="5668" y="358"/>
                  <a:pt x="5669" y="358"/>
                </a:cubicBezTo>
                <a:lnTo>
                  <a:pt x="5669" y="359"/>
                </a:lnTo>
                <a:cubicBezTo>
                  <a:pt x="5669" y="360"/>
                  <a:pt x="5668" y="364"/>
                  <a:pt x="5666" y="370"/>
                </a:cubicBezTo>
                <a:cubicBezTo>
                  <a:pt x="5664" y="377"/>
                  <a:pt x="5661" y="383"/>
                  <a:pt x="5659" y="390"/>
                </a:cubicBezTo>
                <a:cubicBezTo>
                  <a:pt x="5656" y="397"/>
                  <a:pt x="5653" y="403"/>
                  <a:pt x="5651" y="407"/>
                </a:cubicBezTo>
                <a:cubicBezTo>
                  <a:pt x="5651" y="409"/>
                  <a:pt x="5650" y="410"/>
                  <a:pt x="5650" y="411"/>
                </a:cubicBezTo>
                <a:cubicBezTo>
                  <a:pt x="5650" y="412"/>
                  <a:pt x="5650" y="413"/>
                  <a:pt x="5651" y="413"/>
                </a:cubicBezTo>
                <a:cubicBezTo>
                  <a:pt x="5651" y="414"/>
                  <a:pt x="5651" y="414"/>
                  <a:pt x="5651" y="415"/>
                </a:cubicBezTo>
                <a:cubicBezTo>
                  <a:pt x="5651" y="415"/>
                  <a:pt x="5651" y="416"/>
                  <a:pt x="5649" y="416"/>
                </a:cubicBezTo>
                <a:cubicBezTo>
                  <a:pt x="5648" y="416"/>
                  <a:pt x="5648" y="419"/>
                  <a:pt x="5648" y="424"/>
                </a:cubicBezTo>
                <a:lnTo>
                  <a:pt x="5648" y="430"/>
                </a:lnTo>
                <a:cubicBezTo>
                  <a:pt x="5648" y="430"/>
                  <a:pt x="5649" y="428"/>
                  <a:pt x="5651" y="423"/>
                </a:cubicBezTo>
                <a:lnTo>
                  <a:pt x="5651" y="421"/>
                </a:lnTo>
                <a:cubicBezTo>
                  <a:pt x="5655" y="411"/>
                  <a:pt x="5657" y="406"/>
                  <a:pt x="5659" y="404"/>
                </a:cubicBezTo>
                <a:cubicBezTo>
                  <a:pt x="5662" y="401"/>
                  <a:pt x="5663" y="398"/>
                  <a:pt x="5664" y="396"/>
                </a:cubicBezTo>
                <a:cubicBezTo>
                  <a:pt x="5664" y="392"/>
                  <a:pt x="5666" y="387"/>
                  <a:pt x="5669" y="383"/>
                </a:cubicBezTo>
                <a:lnTo>
                  <a:pt x="5671" y="376"/>
                </a:lnTo>
                <a:lnTo>
                  <a:pt x="5672" y="372"/>
                </a:lnTo>
                <a:lnTo>
                  <a:pt x="5672" y="371"/>
                </a:lnTo>
                <a:cubicBezTo>
                  <a:pt x="5672" y="370"/>
                  <a:pt x="5672" y="370"/>
                  <a:pt x="5673" y="370"/>
                </a:cubicBezTo>
                <a:cubicBezTo>
                  <a:pt x="5674" y="370"/>
                  <a:pt x="5675" y="369"/>
                  <a:pt x="5675" y="368"/>
                </a:cubicBezTo>
                <a:lnTo>
                  <a:pt x="5674" y="365"/>
                </a:lnTo>
                <a:cubicBezTo>
                  <a:pt x="5674" y="362"/>
                  <a:pt x="5675" y="361"/>
                  <a:pt x="5676" y="361"/>
                </a:cubicBezTo>
                <a:cubicBezTo>
                  <a:pt x="5677" y="360"/>
                  <a:pt x="5677" y="360"/>
                  <a:pt x="5677" y="360"/>
                </a:cubicBezTo>
                <a:lnTo>
                  <a:pt x="5676" y="357"/>
                </a:lnTo>
                <a:cubicBezTo>
                  <a:pt x="5676" y="357"/>
                  <a:pt x="5677" y="356"/>
                  <a:pt x="5678" y="356"/>
                </a:cubicBezTo>
                <a:cubicBezTo>
                  <a:pt x="5679" y="356"/>
                  <a:pt x="5679" y="356"/>
                  <a:pt x="5679" y="355"/>
                </a:cubicBezTo>
                <a:cubicBezTo>
                  <a:pt x="5679" y="355"/>
                  <a:pt x="5679" y="354"/>
                  <a:pt x="5678" y="353"/>
                </a:cubicBezTo>
                <a:cubicBezTo>
                  <a:pt x="5677" y="352"/>
                  <a:pt x="5676" y="351"/>
                  <a:pt x="5676" y="350"/>
                </a:cubicBezTo>
                <a:cubicBezTo>
                  <a:pt x="5676" y="350"/>
                  <a:pt x="5677" y="350"/>
                  <a:pt x="5679" y="350"/>
                </a:cubicBezTo>
                <a:lnTo>
                  <a:pt x="5681" y="350"/>
                </a:lnTo>
                <a:cubicBezTo>
                  <a:pt x="5683" y="350"/>
                  <a:pt x="5683" y="350"/>
                  <a:pt x="5683" y="349"/>
                </a:cubicBezTo>
                <a:lnTo>
                  <a:pt x="5682" y="345"/>
                </a:lnTo>
                <a:cubicBezTo>
                  <a:pt x="5682" y="345"/>
                  <a:pt x="5682" y="345"/>
                  <a:pt x="5683" y="345"/>
                </a:cubicBezTo>
                <a:lnTo>
                  <a:pt x="5686" y="347"/>
                </a:lnTo>
                <a:lnTo>
                  <a:pt x="5686" y="346"/>
                </a:lnTo>
                <a:cubicBezTo>
                  <a:pt x="5686" y="346"/>
                  <a:pt x="5686" y="345"/>
                  <a:pt x="5685" y="345"/>
                </a:cubicBezTo>
                <a:cubicBezTo>
                  <a:pt x="5684" y="344"/>
                  <a:pt x="5684" y="343"/>
                  <a:pt x="5684" y="342"/>
                </a:cubicBezTo>
                <a:cubicBezTo>
                  <a:pt x="5684" y="335"/>
                  <a:pt x="5689" y="321"/>
                  <a:pt x="5700" y="299"/>
                </a:cubicBezTo>
                <a:cubicBezTo>
                  <a:pt x="5700" y="299"/>
                  <a:pt x="5701" y="299"/>
                  <a:pt x="5701" y="299"/>
                </a:cubicBezTo>
                <a:lnTo>
                  <a:pt x="5704" y="291"/>
                </a:lnTo>
                <a:lnTo>
                  <a:pt x="5705" y="285"/>
                </a:lnTo>
                <a:cubicBezTo>
                  <a:pt x="5705" y="280"/>
                  <a:pt x="5706" y="278"/>
                  <a:pt x="5707" y="278"/>
                </a:cubicBezTo>
                <a:lnTo>
                  <a:pt x="5708" y="279"/>
                </a:lnTo>
                <a:cubicBezTo>
                  <a:pt x="5709" y="279"/>
                  <a:pt x="5714" y="272"/>
                  <a:pt x="5720" y="260"/>
                </a:cubicBezTo>
                <a:cubicBezTo>
                  <a:pt x="5727" y="247"/>
                  <a:pt x="5730" y="240"/>
                  <a:pt x="5730" y="239"/>
                </a:cubicBezTo>
                <a:cubicBezTo>
                  <a:pt x="5730" y="236"/>
                  <a:pt x="5731" y="235"/>
                  <a:pt x="5733" y="235"/>
                </a:cubicBezTo>
                <a:cubicBezTo>
                  <a:pt x="5734" y="235"/>
                  <a:pt x="5735" y="234"/>
                  <a:pt x="5735" y="233"/>
                </a:cubicBezTo>
                <a:cubicBezTo>
                  <a:pt x="5735" y="231"/>
                  <a:pt x="5736" y="230"/>
                  <a:pt x="5736" y="229"/>
                </a:cubicBezTo>
                <a:lnTo>
                  <a:pt x="5736" y="226"/>
                </a:lnTo>
                <a:cubicBezTo>
                  <a:pt x="5736" y="224"/>
                  <a:pt x="5737" y="223"/>
                  <a:pt x="5739" y="223"/>
                </a:cubicBezTo>
                <a:cubicBezTo>
                  <a:pt x="5741" y="223"/>
                  <a:pt x="5742" y="222"/>
                  <a:pt x="5743" y="220"/>
                </a:cubicBezTo>
                <a:cubicBezTo>
                  <a:pt x="5744" y="218"/>
                  <a:pt x="5745" y="215"/>
                  <a:pt x="5745" y="213"/>
                </a:cubicBezTo>
                <a:cubicBezTo>
                  <a:pt x="5745" y="211"/>
                  <a:pt x="5746" y="208"/>
                  <a:pt x="5748" y="205"/>
                </a:cubicBezTo>
                <a:cubicBezTo>
                  <a:pt x="5753" y="196"/>
                  <a:pt x="5757" y="191"/>
                  <a:pt x="5759" y="191"/>
                </a:cubicBezTo>
                <a:cubicBezTo>
                  <a:pt x="5760" y="191"/>
                  <a:pt x="5761" y="191"/>
                  <a:pt x="5761" y="190"/>
                </a:cubicBezTo>
                <a:cubicBezTo>
                  <a:pt x="5761" y="190"/>
                  <a:pt x="5763" y="189"/>
                  <a:pt x="5764" y="187"/>
                </a:cubicBezTo>
                <a:cubicBezTo>
                  <a:pt x="5764" y="187"/>
                  <a:pt x="5764" y="187"/>
                  <a:pt x="5764" y="187"/>
                </a:cubicBezTo>
                <a:lnTo>
                  <a:pt x="5761" y="188"/>
                </a:lnTo>
                <a:lnTo>
                  <a:pt x="5761" y="187"/>
                </a:lnTo>
                <a:lnTo>
                  <a:pt x="5765" y="184"/>
                </a:lnTo>
                <a:lnTo>
                  <a:pt x="5767" y="180"/>
                </a:lnTo>
                <a:lnTo>
                  <a:pt x="5766" y="181"/>
                </a:lnTo>
                <a:lnTo>
                  <a:pt x="5766" y="181"/>
                </a:lnTo>
                <a:lnTo>
                  <a:pt x="5769" y="178"/>
                </a:lnTo>
                <a:cubicBezTo>
                  <a:pt x="5771" y="176"/>
                  <a:pt x="5772" y="174"/>
                  <a:pt x="5772" y="174"/>
                </a:cubicBezTo>
                <a:lnTo>
                  <a:pt x="5771" y="174"/>
                </a:lnTo>
                <a:lnTo>
                  <a:pt x="5770" y="174"/>
                </a:lnTo>
                <a:cubicBezTo>
                  <a:pt x="5770" y="174"/>
                  <a:pt x="5770" y="174"/>
                  <a:pt x="5770" y="174"/>
                </a:cubicBezTo>
                <a:cubicBezTo>
                  <a:pt x="5770" y="173"/>
                  <a:pt x="5771" y="172"/>
                  <a:pt x="5773" y="171"/>
                </a:cubicBezTo>
                <a:cubicBezTo>
                  <a:pt x="5776" y="167"/>
                  <a:pt x="5778" y="165"/>
                  <a:pt x="5778" y="164"/>
                </a:cubicBezTo>
                <a:cubicBezTo>
                  <a:pt x="5778" y="163"/>
                  <a:pt x="5781" y="159"/>
                  <a:pt x="5786" y="152"/>
                </a:cubicBezTo>
                <a:cubicBezTo>
                  <a:pt x="5792" y="145"/>
                  <a:pt x="5797" y="139"/>
                  <a:pt x="5801" y="133"/>
                </a:cubicBezTo>
                <a:cubicBezTo>
                  <a:pt x="5804" y="127"/>
                  <a:pt x="5807" y="125"/>
                  <a:pt x="5808" y="125"/>
                </a:cubicBezTo>
                <a:cubicBezTo>
                  <a:pt x="5808" y="125"/>
                  <a:pt x="5811" y="122"/>
                  <a:pt x="5814" y="116"/>
                </a:cubicBezTo>
                <a:cubicBezTo>
                  <a:pt x="5815" y="113"/>
                  <a:pt x="5817" y="111"/>
                  <a:pt x="5818" y="110"/>
                </a:cubicBezTo>
                <a:cubicBezTo>
                  <a:pt x="5819" y="108"/>
                  <a:pt x="5820" y="107"/>
                  <a:pt x="5821" y="107"/>
                </a:cubicBezTo>
                <a:cubicBezTo>
                  <a:pt x="5822" y="107"/>
                  <a:pt x="5822" y="107"/>
                  <a:pt x="5823" y="106"/>
                </a:cubicBezTo>
                <a:cubicBezTo>
                  <a:pt x="5823" y="106"/>
                  <a:pt x="5823" y="105"/>
                  <a:pt x="5823" y="104"/>
                </a:cubicBezTo>
                <a:lnTo>
                  <a:pt x="5823" y="103"/>
                </a:lnTo>
                <a:cubicBezTo>
                  <a:pt x="5823" y="101"/>
                  <a:pt x="5824" y="99"/>
                  <a:pt x="5826" y="98"/>
                </a:cubicBezTo>
                <a:cubicBezTo>
                  <a:pt x="5827" y="96"/>
                  <a:pt x="5829" y="96"/>
                  <a:pt x="5831" y="96"/>
                </a:cubicBezTo>
                <a:cubicBezTo>
                  <a:pt x="5831" y="96"/>
                  <a:pt x="5832" y="95"/>
                  <a:pt x="5832" y="95"/>
                </a:cubicBezTo>
                <a:cubicBezTo>
                  <a:pt x="5833" y="94"/>
                  <a:pt x="5833" y="93"/>
                  <a:pt x="5833" y="92"/>
                </a:cubicBezTo>
                <a:cubicBezTo>
                  <a:pt x="5833" y="91"/>
                  <a:pt x="5834" y="89"/>
                  <a:pt x="5837" y="86"/>
                </a:cubicBezTo>
                <a:cubicBezTo>
                  <a:pt x="5840" y="82"/>
                  <a:pt x="5844" y="78"/>
                  <a:pt x="5848" y="74"/>
                </a:cubicBezTo>
                <a:cubicBezTo>
                  <a:pt x="5855" y="68"/>
                  <a:pt x="5859" y="64"/>
                  <a:pt x="5859" y="64"/>
                </a:cubicBezTo>
                <a:cubicBezTo>
                  <a:pt x="5858" y="64"/>
                  <a:pt x="5858" y="64"/>
                  <a:pt x="5857" y="65"/>
                </a:cubicBezTo>
                <a:cubicBezTo>
                  <a:pt x="5854" y="68"/>
                  <a:pt x="5852" y="69"/>
                  <a:pt x="5852" y="69"/>
                </a:cubicBezTo>
                <a:cubicBezTo>
                  <a:pt x="5852" y="68"/>
                  <a:pt x="5854" y="67"/>
                  <a:pt x="5857" y="63"/>
                </a:cubicBezTo>
                <a:lnTo>
                  <a:pt x="5861" y="59"/>
                </a:lnTo>
                <a:lnTo>
                  <a:pt x="5865" y="57"/>
                </a:lnTo>
                <a:cubicBezTo>
                  <a:pt x="5867" y="57"/>
                  <a:pt x="5869" y="56"/>
                  <a:pt x="5871" y="54"/>
                </a:cubicBezTo>
                <a:cubicBezTo>
                  <a:pt x="5875" y="50"/>
                  <a:pt x="5880" y="47"/>
                  <a:pt x="5884" y="44"/>
                </a:cubicBezTo>
                <a:cubicBezTo>
                  <a:pt x="5889" y="41"/>
                  <a:pt x="5892" y="39"/>
                  <a:pt x="5893" y="39"/>
                </a:cubicBezTo>
                <a:cubicBezTo>
                  <a:pt x="5895" y="39"/>
                  <a:pt x="5896" y="38"/>
                  <a:pt x="5897" y="37"/>
                </a:cubicBezTo>
                <a:cubicBezTo>
                  <a:pt x="5900" y="35"/>
                  <a:pt x="5902" y="34"/>
                  <a:pt x="5902" y="33"/>
                </a:cubicBezTo>
                <a:lnTo>
                  <a:pt x="5897" y="34"/>
                </a:lnTo>
                <a:cubicBezTo>
                  <a:pt x="5897" y="32"/>
                  <a:pt x="5900" y="30"/>
                  <a:pt x="5904" y="29"/>
                </a:cubicBezTo>
                <a:cubicBezTo>
                  <a:pt x="5907" y="28"/>
                  <a:pt x="5911" y="27"/>
                  <a:pt x="5914" y="27"/>
                </a:cubicBezTo>
                <a:cubicBezTo>
                  <a:pt x="5919" y="27"/>
                  <a:pt x="5924" y="30"/>
                  <a:pt x="5929" y="34"/>
                </a:cubicBezTo>
                <a:cubicBezTo>
                  <a:pt x="5932" y="36"/>
                  <a:pt x="5933" y="38"/>
                  <a:pt x="5933" y="40"/>
                </a:cubicBezTo>
                <a:lnTo>
                  <a:pt x="5932" y="41"/>
                </a:lnTo>
                <a:lnTo>
                  <a:pt x="5932" y="41"/>
                </a:lnTo>
                <a:cubicBezTo>
                  <a:pt x="5930" y="41"/>
                  <a:pt x="5929" y="40"/>
                  <a:pt x="5928" y="38"/>
                </a:cubicBezTo>
                <a:cubicBezTo>
                  <a:pt x="5927" y="36"/>
                  <a:pt x="5926" y="35"/>
                  <a:pt x="5926" y="35"/>
                </a:cubicBezTo>
                <a:cubicBezTo>
                  <a:pt x="5926" y="39"/>
                  <a:pt x="5930" y="43"/>
                  <a:pt x="5937" y="47"/>
                </a:cubicBezTo>
                <a:cubicBezTo>
                  <a:pt x="5942" y="48"/>
                  <a:pt x="5944" y="50"/>
                  <a:pt x="5946" y="53"/>
                </a:cubicBezTo>
                <a:cubicBezTo>
                  <a:pt x="5948" y="56"/>
                  <a:pt x="5949" y="59"/>
                  <a:pt x="5949" y="64"/>
                </a:cubicBezTo>
                <a:cubicBezTo>
                  <a:pt x="5949" y="74"/>
                  <a:pt x="5947" y="86"/>
                  <a:pt x="5943" y="101"/>
                </a:cubicBezTo>
                <a:cubicBezTo>
                  <a:pt x="5940" y="110"/>
                  <a:pt x="5937" y="117"/>
                  <a:pt x="5935" y="122"/>
                </a:cubicBezTo>
                <a:cubicBezTo>
                  <a:pt x="5933" y="124"/>
                  <a:pt x="5933" y="125"/>
                  <a:pt x="5933" y="126"/>
                </a:cubicBezTo>
                <a:cubicBezTo>
                  <a:pt x="5933" y="126"/>
                  <a:pt x="5933" y="127"/>
                  <a:pt x="5933" y="127"/>
                </a:cubicBezTo>
                <a:cubicBezTo>
                  <a:pt x="5934" y="127"/>
                  <a:pt x="5934" y="127"/>
                  <a:pt x="5934" y="127"/>
                </a:cubicBezTo>
                <a:cubicBezTo>
                  <a:pt x="5934" y="127"/>
                  <a:pt x="5933" y="128"/>
                  <a:pt x="5932" y="129"/>
                </a:cubicBezTo>
                <a:cubicBezTo>
                  <a:pt x="5930" y="130"/>
                  <a:pt x="5929" y="133"/>
                  <a:pt x="5929" y="136"/>
                </a:cubicBezTo>
                <a:cubicBezTo>
                  <a:pt x="5929" y="139"/>
                  <a:pt x="5928" y="142"/>
                  <a:pt x="5927" y="142"/>
                </a:cubicBezTo>
                <a:lnTo>
                  <a:pt x="5926" y="141"/>
                </a:lnTo>
                <a:cubicBezTo>
                  <a:pt x="5926" y="141"/>
                  <a:pt x="5926" y="142"/>
                  <a:pt x="5926" y="142"/>
                </a:cubicBezTo>
                <a:lnTo>
                  <a:pt x="5926" y="144"/>
                </a:lnTo>
                <a:cubicBezTo>
                  <a:pt x="5926" y="146"/>
                  <a:pt x="5926" y="147"/>
                  <a:pt x="5924" y="148"/>
                </a:cubicBezTo>
                <a:cubicBezTo>
                  <a:pt x="5922" y="149"/>
                  <a:pt x="5922" y="150"/>
                  <a:pt x="5922" y="152"/>
                </a:cubicBezTo>
                <a:lnTo>
                  <a:pt x="5922" y="157"/>
                </a:lnTo>
                <a:cubicBezTo>
                  <a:pt x="5922" y="158"/>
                  <a:pt x="5922" y="158"/>
                  <a:pt x="5922" y="158"/>
                </a:cubicBezTo>
                <a:lnTo>
                  <a:pt x="5919" y="157"/>
                </a:lnTo>
                <a:cubicBezTo>
                  <a:pt x="5919" y="157"/>
                  <a:pt x="5919" y="157"/>
                  <a:pt x="5919" y="158"/>
                </a:cubicBezTo>
                <a:lnTo>
                  <a:pt x="5920" y="162"/>
                </a:lnTo>
                <a:lnTo>
                  <a:pt x="5917" y="161"/>
                </a:lnTo>
                <a:lnTo>
                  <a:pt x="5918" y="166"/>
                </a:lnTo>
                <a:cubicBezTo>
                  <a:pt x="5918" y="167"/>
                  <a:pt x="5918" y="167"/>
                  <a:pt x="5917" y="167"/>
                </a:cubicBezTo>
                <a:lnTo>
                  <a:pt x="5915" y="166"/>
                </a:lnTo>
                <a:cubicBezTo>
                  <a:pt x="5915" y="166"/>
                  <a:pt x="5914" y="166"/>
                  <a:pt x="5914" y="167"/>
                </a:cubicBezTo>
                <a:lnTo>
                  <a:pt x="5916" y="171"/>
                </a:lnTo>
                <a:cubicBezTo>
                  <a:pt x="5916" y="171"/>
                  <a:pt x="5915" y="171"/>
                  <a:pt x="5915" y="171"/>
                </a:cubicBezTo>
                <a:lnTo>
                  <a:pt x="5913" y="171"/>
                </a:lnTo>
                <a:cubicBezTo>
                  <a:pt x="5913" y="171"/>
                  <a:pt x="5912" y="171"/>
                  <a:pt x="5912" y="172"/>
                </a:cubicBezTo>
                <a:lnTo>
                  <a:pt x="5914" y="179"/>
                </a:lnTo>
                <a:lnTo>
                  <a:pt x="5912" y="178"/>
                </a:lnTo>
                <a:cubicBezTo>
                  <a:pt x="5912" y="177"/>
                  <a:pt x="5911" y="176"/>
                  <a:pt x="5911" y="176"/>
                </a:cubicBezTo>
                <a:cubicBezTo>
                  <a:pt x="5910" y="176"/>
                  <a:pt x="5909" y="178"/>
                  <a:pt x="5909" y="182"/>
                </a:cubicBezTo>
                <a:cubicBezTo>
                  <a:pt x="5909" y="183"/>
                  <a:pt x="5909" y="184"/>
                  <a:pt x="5909" y="185"/>
                </a:cubicBezTo>
                <a:cubicBezTo>
                  <a:pt x="5910" y="186"/>
                  <a:pt x="5910" y="186"/>
                  <a:pt x="5910" y="187"/>
                </a:cubicBezTo>
                <a:cubicBezTo>
                  <a:pt x="5910" y="188"/>
                  <a:pt x="5909" y="188"/>
                  <a:pt x="5909" y="188"/>
                </a:cubicBezTo>
                <a:lnTo>
                  <a:pt x="5907" y="188"/>
                </a:lnTo>
                <a:cubicBezTo>
                  <a:pt x="5906" y="188"/>
                  <a:pt x="5905" y="189"/>
                  <a:pt x="5905" y="191"/>
                </a:cubicBezTo>
                <a:cubicBezTo>
                  <a:pt x="5905" y="193"/>
                  <a:pt x="5905" y="194"/>
                  <a:pt x="5904" y="194"/>
                </a:cubicBezTo>
                <a:lnTo>
                  <a:pt x="5903" y="194"/>
                </a:lnTo>
                <a:cubicBezTo>
                  <a:pt x="5902" y="194"/>
                  <a:pt x="5901" y="195"/>
                  <a:pt x="5900" y="197"/>
                </a:cubicBezTo>
                <a:cubicBezTo>
                  <a:pt x="5900" y="199"/>
                  <a:pt x="5899" y="201"/>
                  <a:pt x="5899" y="201"/>
                </a:cubicBezTo>
                <a:cubicBezTo>
                  <a:pt x="5899" y="202"/>
                  <a:pt x="5899" y="202"/>
                  <a:pt x="5900" y="202"/>
                </a:cubicBezTo>
                <a:lnTo>
                  <a:pt x="5903" y="200"/>
                </a:lnTo>
                <a:cubicBezTo>
                  <a:pt x="5903" y="201"/>
                  <a:pt x="5903" y="201"/>
                  <a:pt x="5902" y="202"/>
                </a:cubicBezTo>
                <a:cubicBezTo>
                  <a:pt x="5902" y="203"/>
                  <a:pt x="5901" y="204"/>
                  <a:pt x="5900" y="204"/>
                </a:cubicBezTo>
                <a:lnTo>
                  <a:pt x="5899" y="203"/>
                </a:lnTo>
                <a:cubicBezTo>
                  <a:pt x="5897" y="203"/>
                  <a:pt x="5896" y="205"/>
                  <a:pt x="5895" y="208"/>
                </a:cubicBezTo>
                <a:lnTo>
                  <a:pt x="5894" y="213"/>
                </a:lnTo>
                <a:lnTo>
                  <a:pt x="5896" y="212"/>
                </a:lnTo>
                <a:cubicBezTo>
                  <a:pt x="5897" y="212"/>
                  <a:pt x="5897" y="212"/>
                  <a:pt x="5897" y="213"/>
                </a:cubicBezTo>
                <a:cubicBezTo>
                  <a:pt x="5897" y="213"/>
                  <a:pt x="5896" y="213"/>
                  <a:pt x="5896" y="215"/>
                </a:cubicBezTo>
                <a:cubicBezTo>
                  <a:pt x="5895" y="216"/>
                  <a:pt x="5895" y="216"/>
                  <a:pt x="5893" y="216"/>
                </a:cubicBezTo>
                <a:lnTo>
                  <a:pt x="5892" y="216"/>
                </a:lnTo>
                <a:cubicBezTo>
                  <a:pt x="5891" y="216"/>
                  <a:pt x="5891" y="218"/>
                  <a:pt x="5891" y="220"/>
                </a:cubicBezTo>
                <a:lnTo>
                  <a:pt x="5891" y="222"/>
                </a:lnTo>
                <a:cubicBezTo>
                  <a:pt x="5891" y="222"/>
                  <a:pt x="5891" y="222"/>
                  <a:pt x="5891" y="222"/>
                </a:cubicBezTo>
                <a:lnTo>
                  <a:pt x="5890" y="222"/>
                </a:lnTo>
                <a:cubicBezTo>
                  <a:pt x="5889" y="222"/>
                  <a:pt x="5887" y="224"/>
                  <a:pt x="5885" y="228"/>
                </a:cubicBezTo>
                <a:lnTo>
                  <a:pt x="5882" y="234"/>
                </a:lnTo>
                <a:cubicBezTo>
                  <a:pt x="5883" y="234"/>
                  <a:pt x="5884" y="233"/>
                  <a:pt x="5886" y="230"/>
                </a:cubicBezTo>
                <a:lnTo>
                  <a:pt x="5890" y="227"/>
                </a:lnTo>
                <a:lnTo>
                  <a:pt x="5889" y="228"/>
                </a:lnTo>
                <a:cubicBezTo>
                  <a:pt x="5888" y="229"/>
                  <a:pt x="5886" y="232"/>
                  <a:pt x="5884" y="237"/>
                </a:cubicBezTo>
                <a:cubicBezTo>
                  <a:pt x="5881" y="242"/>
                  <a:pt x="5878" y="247"/>
                  <a:pt x="5874" y="253"/>
                </a:cubicBezTo>
                <a:cubicBezTo>
                  <a:pt x="5871" y="259"/>
                  <a:pt x="5868" y="264"/>
                  <a:pt x="5865" y="267"/>
                </a:cubicBezTo>
                <a:cubicBezTo>
                  <a:pt x="5863" y="272"/>
                  <a:pt x="5861" y="274"/>
                  <a:pt x="5861" y="274"/>
                </a:cubicBezTo>
                <a:cubicBezTo>
                  <a:pt x="5860" y="274"/>
                  <a:pt x="5860" y="273"/>
                  <a:pt x="5860" y="273"/>
                </a:cubicBezTo>
                <a:lnTo>
                  <a:pt x="5862" y="269"/>
                </a:lnTo>
                <a:cubicBezTo>
                  <a:pt x="5862" y="269"/>
                  <a:pt x="5861" y="269"/>
                  <a:pt x="5860" y="270"/>
                </a:cubicBezTo>
                <a:cubicBezTo>
                  <a:pt x="5859" y="271"/>
                  <a:pt x="5859" y="272"/>
                  <a:pt x="5859" y="275"/>
                </a:cubicBezTo>
                <a:lnTo>
                  <a:pt x="5859" y="276"/>
                </a:lnTo>
                <a:cubicBezTo>
                  <a:pt x="5859" y="277"/>
                  <a:pt x="5859" y="277"/>
                  <a:pt x="5858" y="278"/>
                </a:cubicBezTo>
                <a:cubicBezTo>
                  <a:pt x="5857" y="279"/>
                  <a:pt x="5856" y="280"/>
                  <a:pt x="5855" y="281"/>
                </a:cubicBezTo>
                <a:cubicBezTo>
                  <a:pt x="5855" y="282"/>
                  <a:pt x="5854" y="283"/>
                  <a:pt x="5854" y="283"/>
                </a:cubicBezTo>
                <a:cubicBezTo>
                  <a:pt x="5854" y="282"/>
                  <a:pt x="5854" y="281"/>
                  <a:pt x="5855" y="279"/>
                </a:cubicBezTo>
                <a:cubicBezTo>
                  <a:pt x="5857" y="278"/>
                  <a:pt x="5857" y="277"/>
                  <a:pt x="5857" y="277"/>
                </a:cubicBezTo>
                <a:cubicBezTo>
                  <a:pt x="5857" y="276"/>
                  <a:pt x="5857" y="276"/>
                  <a:pt x="5857" y="276"/>
                </a:cubicBezTo>
                <a:lnTo>
                  <a:pt x="5856" y="277"/>
                </a:lnTo>
                <a:cubicBezTo>
                  <a:pt x="5855" y="277"/>
                  <a:pt x="5855" y="278"/>
                  <a:pt x="5854" y="279"/>
                </a:cubicBezTo>
                <a:cubicBezTo>
                  <a:pt x="5853" y="280"/>
                  <a:pt x="5852" y="281"/>
                  <a:pt x="5851" y="283"/>
                </a:cubicBezTo>
                <a:cubicBezTo>
                  <a:pt x="5850" y="285"/>
                  <a:pt x="5850" y="286"/>
                  <a:pt x="5850" y="286"/>
                </a:cubicBezTo>
                <a:cubicBezTo>
                  <a:pt x="5850" y="286"/>
                  <a:pt x="5850" y="287"/>
                  <a:pt x="5850" y="287"/>
                </a:cubicBezTo>
                <a:lnTo>
                  <a:pt x="5852" y="286"/>
                </a:lnTo>
                <a:cubicBezTo>
                  <a:pt x="5852" y="286"/>
                  <a:pt x="5851" y="288"/>
                  <a:pt x="5848" y="291"/>
                </a:cubicBezTo>
                <a:cubicBezTo>
                  <a:pt x="5840" y="299"/>
                  <a:pt x="5833" y="308"/>
                  <a:pt x="5828" y="318"/>
                </a:cubicBezTo>
                <a:cubicBezTo>
                  <a:pt x="5825" y="322"/>
                  <a:pt x="5824" y="324"/>
                  <a:pt x="5823" y="324"/>
                </a:cubicBezTo>
                <a:cubicBezTo>
                  <a:pt x="5822" y="324"/>
                  <a:pt x="5821" y="325"/>
                  <a:pt x="5821" y="326"/>
                </a:cubicBezTo>
                <a:cubicBezTo>
                  <a:pt x="5821" y="328"/>
                  <a:pt x="5819" y="331"/>
                  <a:pt x="5814" y="337"/>
                </a:cubicBezTo>
                <a:cubicBezTo>
                  <a:pt x="5812" y="339"/>
                  <a:pt x="5810" y="342"/>
                  <a:pt x="5808" y="345"/>
                </a:cubicBezTo>
                <a:cubicBezTo>
                  <a:pt x="5784" y="375"/>
                  <a:pt x="5760" y="402"/>
                  <a:pt x="5733" y="427"/>
                </a:cubicBezTo>
                <a:cubicBezTo>
                  <a:pt x="5721" y="438"/>
                  <a:pt x="5714" y="445"/>
                  <a:pt x="5710" y="446"/>
                </a:cubicBezTo>
                <a:cubicBezTo>
                  <a:pt x="5709" y="446"/>
                  <a:pt x="5707" y="447"/>
                  <a:pt x="5704" y="450"/>
                </a:cubicBezTo>
                <a:cubicBezTo>
                  <a:pt x="5702" y="451"/>
                  <a:pt x="5701" y="451"/>
                  <a:pt x="5699" y="451"/>
                </a:cubicBezTo>
                <a:lnTo>
                  <a:pt x="5695" y="451"/>
                </a:lnTo>
                <a:cubicBezTo>
                  <a:pt x="5693" y="451"/>
                  <a:pt x="5693" y="451"/>
                  <a:pt x="5693" y="452"/>
                </a:cubicBezTo>
                <a:cubicBezTo>
                  <a:pt x="5693" y="453"/>
                  <a:pt x="5691" y="454"/>
                  <a:pt x="5687" y="454"/>
                </a:cubicBezTo>
                <a:lnTo>
                  <a:pt x="5684" y="453"/>
                </a:lnTo>
                <a:cubicBezTo>
                  <a:pt x="5683" y="453"/>
                  <a:pt x="5682" y="454"/>
                  <a:pt x="5681" y="456"/>
                </a:cubicBezTo>
                <a:cubicBezTo>
                  <a:pt x="5679" y="458"/>
                  <a:pt x="5678" y="461"/>
                  <a:pt x="5676" y="465"/>
                </a:cubicBezTo>
                <a:cubicBezTo>
                  <a:pt x="5659" y="508"/>
                  <a:pt x="5639" y="563"/>
                  <a:pt x="5619" y="629"/>
                </a:cubicBezTo>
                <a:cubicBezTo>
                  <a:pt x="5610" y="656"/>
                  <a:pt x="5606" y="672"/>
                  <a:pt x="5605" y="679"/>
                </a:cubicBezTo>
                <a:cubicBezTo>
                  <a:pt x="5605" y="684"/>
                  <a:pt x="5604" y="687"/>
                  <a:pt x="5603" y="687"/>
                </a:cubicBezTo>
                <a:lnTo>
                  <a:pt x="5597" y="709"/>
                </a:lnTo>
                <a:cubicBezTo>
                  <a:pt x="5594" y="722"/>
                  <a:pt x="5592" y="729"/>
                  <a:pt x="5591" y="729"/>
                </a:cubicBezTo>
                <a:lnTo>
                  <a:pt x="5590" y="728"/>
                </a:lnTo>
                <a:cubicBezTo>
                  <a:pt x="5589" y="728"/>
                  <a:pt x="5589" y="731"/>
                  <a:pt x="5589" y="736"/>
                </a:cubicBezTo>
                <a:lnTo>
                  <a:pt x="5590" y="742"/>
                </a:lnTo>
                <a:cubicBezTo>
                  <a:pt x="5589" y="742"/>
                  <a:pt x="5589" y="742"/>
                  <a:pt x="5589" y="740"/>
                </a:cubicBezTo>
                <a:cubicBezTo>
                  <a:pt x="5588" y="739"/>
                  <a:pt x="5588" y="738"/>
                  <a:pt x="5587" y="738"/>
                </a:cubicBezTo>
                <a:cubicBezTo>
                  <a:pt x="5587" y="738"/>
                  <a:pt x="5587" y="739"/>
                  <a:pt x="5587" y="740"/>
                </a:cubicBezTo>
                <a:lnTo>
                  <a:pt x="5588" y="753"/>
                </a:lnTo>
                <a:cubicBezTo>
                  <a:pt x="5588" y="755"/>
                  <a:pt x="5588" y="755"/>
                  <a:pt x="5587" y="755"/>
                </a:cubicBezTo>
                <a:cubicBezTo>
                  <a:pt x="5587" y="755"/>
                  <a:pt x="5587" y="755"/>
                  <a:pt x="5586" y="753"/>
                </a:cubicBezTo>
                <a:cubicBezTo>
                  <a:pt x="5586" y="752"/>
                  <a:pt x="5585" y="751"/>
                  <a:pt x="5585" y="751"/>
                </a:cubicBezTo>
                <a:cubicBezTo>
                  <a:pt x="5585" y="751"/>
                  <a:pt x="5584" y="753"/>
                  <a:pt x="5584" y="758"/>
                </a:cubicBezTo>
                <a:cubicBezTo>
                  <a:pt x="5584" y="763"/>
                  <a:pt x="5585" y="766"/>
                  <a:pt x="5586" y="766"/>
                </a:cubicBezTo>
                <a:cubicBezTo>
                  <a:pt x="5587" y="766"/>
                  <a:pt x="5589" y="764"/>
                  <a:pt x="5591" y="759"/>
                </a:cubicBezTo>
                <a:cubicBezTo>
                  <a:pt x="5591" y="758"/>
                  <a:pt x="5592" y="757"/>
                  <a:pt x="5592" y="756"/>
                </a:cubicBezTo>
                <a:cubicBezTo>
                  <a:pt x="5593" y="756"/>
                  <a:pt x="5594" y="755"/>
                  <a:pt x="5595" y="754"/>
                </a:cubicBezTo>
                <a:cubicBezTo>
                  <a:pt x="5596" y="754"/>
                  <a:pt x="5597" y="755"/>
                  <a:pt x="5597" y="755"/>
                </a:cubicBezTo>
                <a:cubicBezTo>
                  <a:pt x="5597" y="756"/>
                  <a:pt x="5596" y="757"/>
                  <a:pt x="5595" y="757"/>
                </a:cubicBezTo>
                <a:cubicBezTo>
                  <a:pt x="5594" y="757"/>
                  <a:pt x="5594" y="758"/>
                  <a:pt x="5594" y="759"/>
                </a:cubicBezTo>
                <a:lnTo>
                  <a:pt x="5594" y="760"/>
                </a:lnTo>
                <a:cubicBezTo>
                  <a:pt x="5594" y="761"/>
                  <a:pt x="5594" y="762"/>
                  <a:pt x="5593" y="762"/>
                </a:cubicBezTo>
                <a:cubicBezTo>
                  <a:pt x="5592" y="762"/>
                  <a:pt x="5592" y="762"/>
                  <a:pt x="5592" y="764"/>
                </a:cubicBezTo>
                <a:lnTo>
                  <a:pt x="5592" y="765"/>
                </a:lnTo>
                <a:cubicBezTo>
                  <a:pt x="5592" y="766"/>
                  <a:pt x="5592" y="767"/>
                  <a:pt x="5591" y="767"/>
                </a:cubicBezTo>
                <a:cubicBezTo>
                  <a:pt x="5590" y="767"/>
                  <a:pt x="5589" y="768"/>
                  <a:pt x="5588" y="770"/>
                </a:cubicBezTo>
                <a:cubicBezTo>
                  <a:pt x="5585" y="775"/>
                  <a:pt x="5583" y="781"/>
                  <a:pt x="5582" y="789"/>
                </a:cubicBezTo>
                <a:cubicBezTo>
                  <a:pt x="5582" y="791"/>
                  <a:pt x="5583" y="792"/>
                  <a:pt x="5583" y="792"/>
                </a:cubicBezTo>
                <a:cubicBezTo>
                  <a:pt x="5584" y="792"/>
                  <a:pt x="5586" y="786"/>
                  <a:pt x="5591" y="776"/>
                </a:cubicBezTo>
                <a:cubicBezTo>
                  <a:pt x="5597" y="763"/>
                  <a:pt x="5602" y="752"/>
                  <a:pt x="5607" y="742"/>
                </a:cubicBezTo>
                <a:cubicBezTo>
                  <a:pt x="5612" y="732"/>
                  <a:pt x="5616" y="726"/>
                  <a:pt x="5617" y="725"/>
                </a:cubicBezTo>
                <a:lnTo>
                  <a:pt x="5619" y="723"/>
                </a:lnTo>
                <a:cubicBezTo>
                  <a:pt x="5619" y="723"/>
                  <a:pt x="5618" y="723"/>
                  <a:pt x="5618" y="723"/>
                </a:cubicBezTo>
                <a:cubicBezTo>
                  <a:pt x="5618" y="723"/>
                  <a:pt x="5617" y="723"/>
                  <a:pt x="5617" y="723"/>
                </a:cubicBezTo>
                <a:cubicBezTo>
                  <a:pt x="5617" y="722"/>
                  <a:pt x="5618" y="721"/>
                  <a:pt x="5619" y="720"/>
                </a:cubicBezTo>
                <a:cubicBezTo>
                  <a:pt x="5621" y="718"/>
                  <a:pt x="5622" y="717"/>
                  <a:pt x="5622" y="717"/>
                </a:cubicBezTo>
                <a:lnTo>
                  <a:pt x="5622" y="716"/>
                </a:lnTo>
                <a:cubicBezTo>
                  <a:pt x="5622" y="714"/>
                  <a:pt x="5622" y="714"/>
                  <a:pt x="5624" y="714"/>
                </a:cubicBezTo>
                <a:cubicBezTo>
                  <a:pt x="5625" y="714"/>
                  <a:pt x="5625" y="713"/>
                  <a:pt x="5625" y="713"/>
                </a:cubicBezTo>
                <a:cubicBezTo>
                  <a:pt x="5625" y="713"/>
                  <a:pt x="5625" y="712"/>
                  <a:pt x="5625" y="712"/>
                </a:cubicBezTo>
                <a:cubicBezTo>
                  <a:pt x="5624" y="712"/>
                  <a:pt x="5624" y="712"/>
                  <a:pt x="5624" y="711"/>
                </a:cubicBezTo>
                <a:cubicBezTo>
                  <a:pt x="5624" y="710"/>
                  <a:pt x="5625" y="709"/>
                  <a:pt x="5626" y="708"/>
                </a:cubicBezTo>
                <a:cubicBezTo>
                  <a:pt x="5628" y="707"/>
                  <a:pt x="5629" y="707"/>
                  <a:pt x="5629" y="706"/>
                </a:cubicBezTo>
                <a:cubicBezTo>
                  <a:pt x="5629" y="706"/>
                  <a:pt x="5628" y="706"/>
                  <a:pt x="5627" y="706"/>
                </a:cubicBezTo>
                <a:cubicBezTo>
                  <a:pt x="5621" y="706"/>
                  <a:pt x="5618" y="705"/>
                  <a:pt x="5618" y="705"/>
                </a:cubicBezTo>
                <a:cubicBezTo>
                  <a:pt x="5618" y="704"/>
                  <a:pt x="5619" y="703"/>
                  <a:pt x="5619" y="702"/>
                </a:cubicBezTo>
                <a:cubicBezTo>
                  <a:pt x="5620" y="701"/>
                  <a:pt x="5621" y="701"/>
                  <a:pt x="5622" y="701"/>
                </a:cubicBezTo>
                <a:cubicBezTo>
                  <a:pt x="5622" y="701"/>
                  <a:pt x="5623" y="701"/>
                  <a:pt x="5624" y="702"/>
                </a:cubicBezTo>
                <a:cubicBezTo>
                  <a:pt x="5624" y="703"/>
                  <a:pt x="5624" y="704"/>
                  <a:pt x="5625" y="704"/>
                </a:cubicBezTo>
                <a:cubicBezTo>
                  <a:pt x="5626" y="704"/>
                  <a:pt x="5627" y="703"/>
                  <a:pt x="5628" y="701"/>
                </a:cubicBezTo>
                <a:cubicBezTo>
                  <a:pt x="5629" y="700"/>
                  <a:pt x="5629" y="698"/>
                  <a:pt x="5629" y="696"/>
                </a:cubicBezTo>
                <a:cubicBezTo>
                  <a:pt x="5629" y="694"/>
                  <a:pt x="5630" y="693"/>
                  <a:pt x="5631" y="693"/>
                </a:cubicBezTo>
                <a:cubicBezTo>
                  <a:pt x="5633" y="693"/>
                  <a:pt x="5634" y="692"/>
                  <a:pt x="5635" y="689"/>
                </a:cubicBezTo>
                <a:cubicBezTo>
                  <a:pt x="5636" y="686"/>
                  <a:pt x="5637" y="683"/>
                  <a:pt x="5640" y="681"/>
                </a:cubicBezTo>
                <a:cubicBezTo>
                  <a:pt x="5641" y="679"/>
                  <a:pt x="5641" y="678"/>
                  <a:pt x="5641" y="676"/>
                </a:cubicBezTo>
                <a:cubicBezTo>
                  <a:pt x="5641" y="672"/>
                  <a:pt x="5639" y="670"/>
                  <a:pt x="5636" y="670"/>
                </a:cubicBezTo>
                <a:lnTo>
                  <a:pt x="5635" y="670"/>
                </a:lnTo>
                <a:cubicBezTo>
                  <a:pt x="5634" y="670"/>
                  <a:pt x="5634" y="671"/>
                  <a:pt x="5634" y="671"/>
                </a:cubicBezTo>
                <a:lnTo>
                  <a:pt x="5636" y="671"/>
                </a:lnTo>
                <a:cubicBezTo>
                  <a:pt x="5637" y="672"/>
                  <a:pt x="5638" y="673"/>
                  <a:pt x="5638" y="674"/>
                </a:cubicBezTo>
                <a:cubicBezTo>
                  <a:pt x="5638" y="677"/>
                  <a:pt x="5637" y="679"/>
                  <a:pt x="5635" y="681"/>
                </a:cubicBezTo>
                <a:cubicBezTo>
                  <a:pt x="5634" y="684"/>
                  <a:pt x="5632" y="685"/>
                  <a:pt x="5629" y="685"/>
                </a:cubicBezTo>
                <a:lnTo>
                  <a:pt x="5626" y="685"/>
                </a:lnTo>
                <a:lnTo>
                  <a:pt x="5627" y="687"/>
                </a:lnTo>
                <a:cubicBezTo>
                  <a:pt x="5627" y="688"/>
                  <a:pt x="5626" y="689"/>
                  <a:pt x="5626" y="690"/>
                </a:cubicBezTo>
                <a:cubicBezTo>
                  <a:pt x="5625" y="690"/>
                  <a:pt x="5624" y="689"/>
                  <a:pt x="5624" y="688"/>
                </a:cubicBezTo>
                <a:cubicBezTo>
                  <a:pt x="5624" y="684"/>
                  <a:pt x="5626" y="683"/>
                  <a:pt x="5629" y="683"/>
                </a:cubicBezTo>
                <a:cubicBezTo>
                  <a:pt x="5630" y="683"/>
                  <a:pt x="5631" y="683"/>
                  <a:pt x="5631" y="682"/>
                </a:cubicBezTo>
                <a:lnTo>
                  <a:pt x="5631" y="679"/>
                </a:lnTo>
                <a:cubicBezTo>
                  <a:pt x="5631" y="678"/>
                  <a:pt x="5631" y="676"/>
                  <a:pt x="5632" y="674"/>
                </a:cubicBezTo>
                <a:cubicBezTo>
                  <a:pt x="5632" y="672"/>
                  <a:pt x="5633" y="671"/>
                  <a:pt x="5634" y="669"/>
                </a:cubicBezTo>
                <a:cubicBezTo>
                  <a:pt x="5634" y="668"/>
                  <a:pt x="5635" y="667"/>
                  <a:pt x="5636" y="667"/>
                </a:cubicBezTo>
                <a:lnTo>
                  <a:pt x="5637" y="667"/>
                </a:lnTo>
                <a:cubicBezTo>
                  <a:pt x="5637" y="667"/>
                  <a:pt x="5638" y="667"/>
                  <a:pt x="5638" y="666"/>
                </a:cubicBezTo>
                <a:lnTo>
                  <a:pt x="5637" y="664"/>
                </a:lnTo>
                <a:cubicBezTo>
                  <a:pt x="5637" y="663"/>
                  <a:pt x="5638" y="662"/>
                  <a:pt x="5639" y="661"/>
                </a:cubicBezTo>
                <a:cubicBezTo>
                  <a:pt x="5639" y="661"/>
                  <a:pt x="5640" y="660"/>
                  <a:pt x="5640" y="659"/>
                </a:cubicBezTo>
                <a:lnTo>
                  <a:pt x="5639" y="657"/>
                </a:lnTo>
                <a:cubicBezTo>
                  <a:pt x="5639" y="655"/>
                  <a:pt x="5640" y="654"/>
                  <a:pt x="5641" y="654"/>
                </a:cubicBezTo>
                <a:cubicBezTo>
                  <a:pt x="5642" y="654"/>
                  <a:pt x="5644" y="652"/>
                  <a:pt x="5646" y="647"/>
                </a:cubicBezTo>
                <a:cubicBezTo>
                  <a:pt x="5651" y="637"/>
                  <a:pt x="5659" y="625"/>
                  <a:pt x="5671" y="612"/>
                </a:cubicBezTo>
                <a:cubicBezTo>
                  <a:pt x="5683" y="598"/>
                  <a:pt x="5694" y="587"/>
                  <a:pt x="5707" y="576"/>
                </a:cubicBezTo>
                <a:cubicBezTo>
                  <a:pt x="5719" y="566"/>
                  <a:pt x="5727" y="561"/>
                  <a:pt x="5733" y="561"/>
                </a:cubicBezTo>
                <a:cubicBezTo>
                  <a:pt x="5733" y="561"/>
                  <a:pt x="5734" y="561"/>
                  <a:pt x="5734" y="561"/>
                </a:cubicBezTo>
                <a:cubicBezTo>
                  <a:pt x="5735" y="561"/>
                  <a:pt x="5735" y="562"/>
                  <a:pt x="5735" y="562"/>
                </a:cubicBezTo>
                <a:cubicBezTo>
                  <a:pt x="5736" y="562"/>
                  <a:pt x="5736" y="561"/>
                  <a:pt x="5736" y="559"/>
                </a:cubicBezTo>
                <a:cubicBezTo>
                  <a:pt x="5736" y="558"/>
                  <a:pt x="5739" y="557"/>
                  <a:pt x="5743" y="557"/>
                </a:cubicBezTo>
                <a:cubicBezTo>
                  <a:pt x="5748" y="557"/>
                  <a:pt x="5755" y="558"/>
                  <a:pt x="5762" y="559"/>
                </a:cubicBezTo>
                <a:cubicBezTo>
                  <a:pt x="5770" y="561"/>
                  <a:pt x="5777" y="563"/>
                  <a:pt x="5783" y="566"/>
                </a:cubicBezTo>
                <a:cubicBezTo>
                  <a:pt x="5790" y="568"/>
                  <a:pt x="5794" y="570"/>
                  <a:pt x="5796" y="572"/>
                </a:cubicBezTo>
                <a:lnTo>
                  <a:pt x="5799" y="575"/>
                </a:lnTo>
                <a:cubicBezTo>
                  <a:pt x="5799" y="576"/>
                  <a:pt x="5799" y="576"/>
                  <a:pt x="5798" y="576"/>
                </a:cubicBezTo>
                <a:lnTo>
                  <a:pt x="5795" y="574"/>
                </a:lnTo>
                <a:lnTo>
                  <a:pt x="5796" y="575"/>
                </a:lnTo>
                <a:cubicBezTo>
                  <a:pt x="5797" y="577"/>
                  <a:pt x="5798" y="577"/>
                  <a:pt x="5799" y="578"/>
                </a:cubicBezTo>
                <a:cubicBezTo>
                  <a:pt x="5800" y="578"/>
                  <a:pt x="5802" y="578"/>
                  <a:pt x="5803" y="578"/>
                </a:cubicBezTo>
                <a:cubicBezTo>
                  <a:pt x="5805" y="579"/>
                  <a:pt x="5807" y="582"/>
                  <a:pt x="5811" y="587"/>
                </a:cubicBezTo>
                <a:cubicBezTo>
                  <a:pt x="5814" y="591"/>
                  <a:pt x="5815" y="593"/>
                  <a:pt x="5815" y="593"/>
                </a:cubicBezTo>
                <a:cubicBezTo>
                  <a:pt x="5815" y="593"/>
                  <a:pt x="5813" y="591"/>
                  <a:pt x="5809" y="587"/>
                </a:cubicBezTo>
                <a:cubicBezTo>
                  <a:pt x="5805" y="583"/>
                  <a:pt x="5803" y="581"/>
                  <a:pt x="5802" y="581"/>
                </a:cubicBezTo>
                <a:cubicBezTo>
                  <a:pt x="5802" y="582"/>
                  <a:pt x="5804" y="584"/>
                  <a:pt x="5807" y="588"/>
                </a:cubicBezTo>
                <a:cubicBezTo>
                  <a:pt x="5812" y="594"/>
                  <a:pt x="5815" y="597"/>
                  <a:pt x="5817" y="597"/>
                </a:cubicBezTo>
                <a:cubicBezTo>
                  <a:pt x="5820" y="597"/>
                  <a:pt x="5821" y="597"/>
                  <a:pt x="5821" y="597"/>
                </a:cubicBezTo>
                <a:cubicBezTo>
                  <a:pt x="5821" y="598"/>
                  <a:pt x="5820" y="598"/>
                  <a:pt x="5819" y="598"/>
                </a:cubicBezTo>
                <a:cubicBezTo>
                  <a:pt x="5818" y="599"/>
                  <a:pt x="5817" y="600"/>
                  <a:pt x="5817" y="601"/>
                </a:cubicBezTo>
                <a:cubicBezTo>
                  <a:pt x="5817" y="602"/>
                  <a:pt x="5818" y="603"/>
                  <a:pt x="5820" y="604"/>
                </a:cubicBezTo>
                <a:cubicBezTo>
                  <a:pt x="5822" y="606"/>
                  <a:pt x="5823" y="608"/>
                  <a:pt x="5824" y="611"/>
                </a:cubicBezTo>
                <a:cubicBezTo>
                  <a:pt x="5825" y="614"/>
                  <a:pt x="5826" y="616"/>
                  <a:pt x="5827" y="617"/>
                </a:cubicBezTo>
                <a:cubicBezTo>
                  <a:pt x="5828" y="618"/>
                  <a:pt x="5829" y="619"/>
                  <a:pt x="5829" y="619"/>
                </a:cubicBezTo>
                <a:cubicBezTo>
                  <a:pt x="5829" y="620"/>
                  <a:pt x="5829" y="620"/>
                  <a:pt x="5829" y="620"/>
                </a:cubicBezTo>
                <a:cubicBezTo>
                  <a:pt x="5828" y="620"/>
                  <a:pt x="5828" y="620"/>
                  <a:pt x="5828" y="620"/>
                </a:cubicBezTo>
                <a:cubicBezTo>
                  <a:pt x="5828" y="621"/>
                  <a:pt x="5829" y="623"/>
                  <a:pt x="5831" y="625"/>
                </a:cubicBezTo>
                <a:cubicBezTo>
                  <a:pt x="5831" y="625"/>
                  <a:pt x="5831" y="626"/>
                  <a:pt x="5831" y="626"/>
                </a:cubicBezTo>
                <a:lnTo>
                  <a:pt x="5837" y="635"/>
                </a:lnTo>
                <a:cubicBezTo>
                  <a:pt x="5840" y="642"/>
                  <a:pt x="5843" y="647"/>
                  <a:pt x="5847" y="652"/>
                </a:cubicBezTo>
                <a:cubicBezTo>
                  <a:pt x="5850" y="657"/>
                  <a:pt x="5854" y="661"/>
                  <a:pt x="5857" y="662"/>
                </a:cubicBezTo>
                <a:cubicBezTo>
                  <a:pt x="5860" y="664"/>
                  <a:pt x="5862" y="665"/>
                  <a:pt x="5863" y="665"/>
                </a:cubicBezTo>
                <a:cubicBezTo>
                  <a:pt x="5864" y="665"/>
                  <a:pt x="5864" y="665"/>
                  <a:pt x="5864" y="665"/>
                </a:cubicBezTo>
                <a:cubicBezTo>
                  <a:pt x="5864" y="664"/>
                  <a:pt x="5863" y="662"/>
                  <a:pt x="5861" y="660"/>
                </a:cubicBezTo>
                <a:cubicBezTo>
                  <a:pt x="5860" y="659"/>
                  <a:pt x="5859" y="659"/>
                  <a:pt x="5859" y="658"/>
                </a:cubicBezTo>
                <a:cubicBezTo>
                  <a:pt x="5860" y="658"/>
                  <a:pt x="5861" y="659"/>
                  <a:pt x="5864" y="662"/>
                </a:cubicBezTo>
                <a:cubicBezTo>
                  <a:pt x="5869" y="666"/>
                  <a:pt x="5876" y="668"/>
                  <a:pt x="5884" y="668"/>
                </a:cubicBezTo>
                <a:cubicBezTo>
                  <a:pt x="5907" y="668"/>
                  <a:pt x="5937" y="654"/>
                  <a:pt x="5974" y="627"/>
                </a:cubicBezTo>
                <a:cubicBezTo>
                  <a:pt x="5989" y="615"/>
                  <a:pt x="6004" y="604"/>
                  <a:pt x="6018" y="594"/>
                </a:cubicBezTo>
                <a:cubicBezTo>
                  <a:pt x="6035" y="583"/>
                  <a:pt x="6045" y="578"/>
                  <a:pt x="6048" y="578"/>
                </a:cubicBezTo>
                <a:cubicBezTo>
                  <a:pt x="6050" y="578"/>
                  <a:pt x="6050" y="578"/>
                  <a:pt x="6050" y="580"/>
                </a:cubicBezTo>
                <a:lnTo>
                  <a:pt x="6050" y="580"/>
                </a:lnTo>
                <a:cubicBezTo>
                  <a:pt x="6048" y="580"/>
                  <a:pt x="6043" y="584"/>
                  <a:pt x="6035" y="592"/>
                </a:cubicBezTo>
                <a:cubicBezTo>
                  <a:pt x="5983" y="646"/>
                  <a:pt x="5938" y="672"/>
                  <a:pt x="5900" y="672"/>
                </a:cubicBezTo>
                <a:lnTo>
                  <a:pt x="5897" y="672"/>
                </a:lnTo>
                <a:cubicBezTo>
                  <a:pt x="5890" y="672"/>
                  <a:pt x="5887" y="673"/>
                  <a:pt x="5887" y="674"/>
                </a:cubicBezTo>
                <a:lnTo>
                  <a:pt x="5894" y="675"/>
                </a:lnTo>
                <a:cubicBezTo>
                  <a:pt x="5897" y="676"/>
                  <a:pt x="5900" y="676"/>
                  <a:pt x="5904" y="676"/>
                </a:cubicBezTo>
                <a:cubicBezTo>
                  <a:pt x="5922" y="676"/>
                  <a:pt x="5943" y="669"/>
                  <a:pt x="5966" y="655"/>
                </a:cubicBezTo>
                <a:cubicBezTo>
                  <a:pt x="5973" y="651"/>
                  <a:pt x="5978" y="649"/>
                  <a:pt x="5980" y="649"/>
                </a:cubicBezTo>
                <a:lnTo>
                  <a:pt x="5981" y="649"/>
                </a:lnTo>
                <a:lnTo>
                  <a:pt x="5981" y="648"/>
                </a:lnTo>
                <a:cubicBezTo>
                  <a:pt x="5981" y="645"/>
                  <a:pt x="5994" y="634"/>
                  <a:pt x="6018" y="613"/>
                </a:cubicBezTo>
                <a:cubicBezTo>
                  <a:pt x="6022" y="610"/>
                  <a:pt x="6025" y="607"/>
                  <a:pt x="6028" y="605"/>
                </a:cubicBezTo>
                <a:lnTo>
                  <a:pt x="6033" y="603"/>
                </a:lnTo>
                <a:cubicBezTo>
                  <a:pt x="6033" y="603"/>
                  <a:pt x="6033" y="602"/>
                  <a:pt x="6033" y="600"/>
                </a:cubicBezTo>
                <a:cubicBezTo>
                  <a:pt x="6033" y="599"/>
                  <a:pt x="6034" y="598"/>
                  <a:pt x="6036" y="598"/>
                </a:cubicBezTo>
                <a:cubicBezTo>
                  <a:pt x="6037" y="598"/>
                  <a:pt x="6038" y="598"/>
                  <a:pt x="6038" y="596"/>
                </a:cubicBezTo>
                <a:cubicBezTo>
                  <a:pt x="6038" y="595"/>
                  <a:pt x="6039" y="593"/>
                  <a:pt x="6041" y="591"/>
                </a:cubicBezTo>
                <a:cubicBezTo>
                  <a:pt x="6044" y="590"/>
                  <a:pt x="6045" y="588"/>
                  <a:pt x="6045" y="586"/>
                </a:cubicBezTo>
                <a:cubicBezTo>
                  <a:pt x="6045" y="584"/>
                  <a:pt x="6046" y="583"/>
                  <a:pt x="6047" y="583"/>
                </a:cubicBezTo>
                <a:cubicBezTo>
                  <a:pt x="6048" y="583"/>
                  <a:pt x="6049" y="583"/>
                  <a:pt x="6049" y="585"/>
                </a:cubicBezTo>
                <a:cubicBezTo>
                  <a:pt x="6049" y="588"/>
                  <a:pt x="6047" y="593"/>
                  <a:pt x="6042" y="600"/>
                </a:cubicBezTo>
                <a:cubicBezTo>
                  <a:pt x="6038" y="607"/>
                  <a:pt x="6030" y="616"/>
                  <a:pt x="6018" y="627"/>
                </a:cubicBezTo>
                <a:lnTo>
                  <a:pt x="6006" y="639"/>
                </a:lnTo>
                <a:cubicBezTo>
                  <a:pt x="6001" y="643"/>
                  <a:pt x="5998" y="645"/>
                  <a:pt x="5997" y="645"/>
                </a:cubicBezTo>
                <a:cubicBezTo>
                  <a:pt x="5995" y="645"/>
                  <a:pt x="5994" y="646"/>
                  <a:pt x="5993" y="648"/>
                </a:cubicBezTo>
                <a:cubicBezTo>
                  <a:pt x="5990" y="652"/>
                  <a:pt x="5987" y="655"/>
                  <a:pt x="5983" y="658"/>
                </a:cubicBezTo>
                <a:cubicBezTo>
                  <a:pt x="5977" y="662"/>
                  <a:pt x="5974" y="664"/>
                  <a:pt x="5973" y="665"/>
                </a:cubicBezTo>
                <a:cubicBezTo>
                  <a:pt x="5973" y="666"/>
                  <a:pt x="5972" y="666"/>
                  <a:pt x="5970" y="666"/>
                </a:cubicBezTo>
                <a:lnTo>
                  <a:pt x="5966" y="666"/>
                </a:lnTo>
                <a:lnTo>
                  <a:pt x="5965" y="667"/>
                </a:lnTo>
                <a:lnTo>
                  <a:pt x="5965" y="668"/>
                </a:lnTo>
                <a:cubicBezTo>
                  <a:pt x="5965" y="669"/>
                  <a:pt x="5964" y="670"/>
                  <a:pt x="5963" y="672"/>
                </a:cubicBezTo>
                <a:lnTo>
                  <a:pt x="5961" y="674"/>
                </a:lnTo>
                <a:cubicBezTo>
                  <a:pt x="5960" y="674"/>
                  <a:pt x="5960" y="674"/>
                  <a:pt x="5960" y="674"/>
                </a:cubicBezTo>
                <a:lnTo>
                  <a:pt x="5959" y="674"/>
                </a:lnTo>
                <a:cubicBezTo>
                  <a:pt x="5958" y="674"/>
                  <a:pt x="5956" y="674"/>
                  <a:pt x="5952" y="676"/>
                </a:cubicBezTo>
                <a:cubicBezTo>
                  <a:pt x="5938" y="684"/>
                  <a:pt x="5923" y="688"/>
                  <a:pt x="5907" y="688"/>
                </a:cubicBezTo>
                <a:cubicBezTo>
                  <a:pt x="5897" y="688"/>
                  <a:pt x="5887" y="686"/>
                  <a:pt x="5876" y="683"/>
                </a:cubicBezTo>
                <a:cubicBezTo>
                  <a:pt x="5864" y="680"/>
                  <a:pt x="5859" y="678"/>
                  <a:pt x="5858" y="677"/>
                </a:cubicBezTo>
                <a:cubicBezTo>
                  <a:pt x="5858" y="676"/>
                  <a:pt x="5854" y="673"/>
                  <a:pt x="5849" y="668"/>
                </a:cubicBezTo>
                <a:cubicBezTo>
                  <a:pt x="5843" y="663"/>
                  <a:pt x="5839" y="661"/>
                  <a:pt x="5837" y="661"/>
                </a:cubicBezTo>
                <a:cubicBezTo>
                  <a:pt x="5837" y="661"/>
                  <a:pt x="5836" y="661"/>
                  <a:pt x="5836" y="662"/>
                </a:cubicBezTo>
                <a:cubicBezTo>
                  <a:pt x="5836" y="663"/>
                  <a:pt x="5837" y="664"/>
                  <a:pt x="5837" y="665"/>
                </a:cubicBezTo>
                <a:cubicBezTo>
                  <a:pt x="5838" y="666"/>
                  <a:pt x="5838" y="666"/>
                  <a:pt x="5838" y="667"/>
                </a:cubicBezTo>
                <a:cubicBezTo>
                  <a:pt x="5838" y="667"/>
                  <a:pt x="5838" y="667"/>
                  <a:pt x="5837" y="667"/>
                </a:cubicBezTo>
                <a:cubicBezTo>
                  <a:pt x="5837" y="667"/>
                  <a:pt x="5836" y="666"/>
                  <a:pt x="5835" y="665"/>
                </a:cubicBezTo>
                <a:cubicBezTo>
                  <a:pt x="5833" y="664"/>
                  <a:pt x="5833" y="662"/>
                  <a:pt x="5833" y="660"/>
                </a:cubicBezTo>
                <a:cubicBezTo>
                  <a:pt x="5833" y="658"/>
                  <a:pt x="5832" y="657"/>
                  <a:pt x="5832" y="657"/>
                </a:cubicBezTo>
                <a:lnTo>
                  <a:pt x="5831" y="657"/>
                </a:lnTo>
                <a:cubicBezTo>
                  <a:pt x="5830" y="657"/>
                  <a:pt x="5828" y="655"/>
                  <a:pt x="5827" y="652"/>
                </a:cubicBezTo>
                <a:cubicBezTo>
                  <a:pt x="5825" y="650"/>
                  <a:pt x="5824" y="648"/>
                  <a:pt x="5822" y="646"/>
                </a:cubicBezTo>
                <a:cubicBezTo>
                  <a:pt x="5820" y="643"/>
                  <a:pt x="5817" y="637"/>
                  <a:pt x="5812" y="629"/>
                </a:cubicBezTo>
                <a:cubicBezTo>
                  <a:pt x="5807" y="622"/>
                  <a:pt x="5803" y="615"/>
                  <a:pt x="5800" y="609"/>
                </a:cubicBezTo>
                <a:cubicBezTo>
                  <a:pt x="5793" y="598"/>
                  <a:pt x="5788" y="590"/>
                  <a:pt x="5784" y="586"/>
                </a:cubicBezTo>
                <a:cubicBezTo>
                  <a:pt x="5779" y="581"/>
                  <a:pt x="5775" y="579"/>
                  <a:pt x="5770" y="579"/>
                </a:cubicBezTo>
                <a:lnTo>
                  <a:pt x="5768" y="579"/>
                </a:lnTo>
                <a:cubicBezTo>
                  <a:pt x="5755" y="583"/>
                  <a:pt x="5740" y="591"/>
                  <a:pt x="5722" y="605"/>
                </a:cubicBezTo>
                <a:cubicBezTo>
                  <a:pt x="5704" y="619"/>
                  <a:pt x="5691" y="634"/>
                  <a:pt x="5682" y="648"/>
                </a:cubicBezTo>
                <a:cubicBezTo>
                  <a:pt x="5680" y="652"/>
                  <a:pt x="5678" y="654"/>
                  <a:pt x="5676" y="655"/>
                </a:cubicBezTo>
                <a:cubicBezTo>
                  <a:pt x="5675" y="655"/>
                  <a:pt x="5675" y="655"/>
                  <a:pt x="5675" y="655"/>
                </a:cubicBezTo>
                <a:cubicBezTo>
                  <a:pt x="5675" y="653"/>
                  <a:pt x="5678" y="649"/>
                  <a:pt x="5684" y="642"/>
                </a:cubicBezTo>
                <a:cubicBezTo>
                  <a:pt x="5714" y="605"/>
                  <a:pt x="5741" y="583"/>
                  <a:pt x="5764" y="576"/>
                </a:cubicBezTo>
                <a:cubicBezTo>
                  <a:pt x="5768" y="575"/>
                  <a:pt x="5770" y="574"/>
                  <a:pt x="5770" y="573"/>
                </a:cubicBezTo>
                <a:cubicBezTo>
                  <a:pt x="5770" y="572"/>
                  <a:pt x="5769" y="571"/>
                  <a:pt x="5768" y="571"/>
                </a:cubicBezTo>
                <a:cubicBezTo>
                  <a:pt x="5768" y="571"/>
                  <a:pt x="5766" y="570"/>
                  <a:pt x="5765" y="570"/>
                </a:cubicBezTo>
                <a:cubicBezTo>
                  <a:pt x="5761" y="570"/>
                  <a:pt x="5754" y="573"/>
                  <a:pt x="5744" y="580"/>
                </a:cubicBezTo>
                <a:cubicBezTo>
                  <a:pt x="5735" y="586"/>
                  <a:pt x="5725" y="593"/>
                  <a:pt x="5716" y="602"/>
                </a:cubicBezTo>
                <a:cubicBezTo>
                  <a:pt x="5705" y="612"/>
                  <a:pt x="5699" y="617"/>
                  <a:pt x="5698" y="617"/>
                </a:cubicBezTo>
                <a:cubicBezTo>
                  <a:pt x="5698" y="617"/>
                  <a:pt x="5700" y="614"/>
                  <a:pt x="5704" y="610"/>
                </a:cubicBezTo>
                <a:cubicBezTo>
                  <a:pt x="5711" y="601"/>
                  <a:pt x="5718" y="593"/>
                  <a:pt x="5727" y="587"/>
                </a:cubicBezTo>
                <a:cubicBezTo>
                  <a:pt x="5731" y="583"/>
                  <a:pt x="5734" y="581"/>
                  <a:pt x="5734" y="580"/>
                </a:cubicBezTo>
                <a:cubicBezTo>
                  <a:pt x="5734" y="580"/>
                  <a:pt x="5734" y="579"/>
                  <a:pt x="5733" y="579"/>
                </a:cubicBezTo>
                <a:cubicBezTo>
                  <a:pt x="5733" y="579"/>
                  <a:pt x="5731" y="581"/>
                  <a:pt x="5727" y="583"/>
                </a:cubicBezTo>
                <a:cubicBezTo>
                  <a:pt x="5718" y="590"/>
                  <a:pt x="5711" y="596"/>
                  <a:pt x="5707" y="601"/>
                </a:cubicBezTo>
                <a:cubicBezTo>
                  <a:pt x="5706" y="602"/>
                  <a:pt x="5705" y="603"/>
                  <a:pt x="5704" y="604"/>
                </a:cubicBezTo>
                <a:cubicBezTo>
                  <a:pt x="5702" y="605"/>
                  <a:pt x="5701" y="606"/>
                  <a:pt x="5700" y="606"/>
                </a:cubicBezTo>
                <a:cubicBezTo>
                  <a:pt x="5698" y="606"/>
                  <a:pt x="5695" y="609"/>
                  <a:pt x="5692" y="614"/>
                </a:cubicBezTo>
                <a:cubicBezTo>
                  <a:pt x="5689" y="620"/>
                  <a:pt x="5685" y="624"/>
                  <a:pt x="5681" y="627"/>
                </a:cubicBezTo>
                <a:cubicBezTo>
                  <a:pt x="5676" y="629"/>
                  <a:pt x="5672" y="634"/>
                  <a:pt x="5667" y="640"/>
                </a:cubicBezTo>
                <a:lnTo>
                  <a:pt x="5662" y="648"/>
                </a:lnTo>
                <a:lnTo>
                  <a:pt x="5667" y="646"/>
                </a:lnTo>
                <a:cubicBezTo>
                  <a:pt x="5667" y="647"/>
                  <a:pt x="5663" y="653"/>
                  <a:pt x="5656" y="662"/>
                </a:cubicBezTo>
                <a:cubicBezTo>
                  <a:pt x="5643" y="680"/>
                  <a:pt x="5637" y="690"/>
                  <a:pt x="5637" y="692"/>
                </a:cubicBezTo>
                <a:cubicBezTo>
                  <a:pt x="5637" y="692"/>
                  <a:pt x="5637" y="693"/>
                  <a:pt x="5637" y="693"/>
                </a:cubicBezTo>
                <a:lnTo>
                  <a:pt x="5641" y="691"/>
                </a:lnTo>
                <a:cubicBezTo>
                  <a:pt x="5641" y="691"/>
                  <a:pt x="5640" y="692"/>
                  <a:pt x="5640" y="692"/>
                </a:cubicBezTo>
                <a:cubicBezTo>
                  <a:pt x="5639" y="693"/>
                  <a:pt x="5639" y="693"/>
                  <a:pt x="5638" y="694"/>
                </a:cubicBezTo>
                <a:cubicBezTo>
                  <a:pt x="5638" y="694"/>
                  <a:pt x="5637" y="695"/>
                  <a:pt x="5637" y="696"/>
                </a:cubicBezTo>
                <a:cubicBezTo>
                  <a:pt x="5636" y="696"/>
                  <a:pt x="5635" y="697"/>
                  <a:pt x="5635" y="697"/>
                </a:cubicBezTo>
                <a:lnTo>
                  <a:pt x="5633" y="696"/>
                </a:lnTo>
                <a:cubicBezTo>
                  <a:pt x="5632" y="696"/>
                  <a:pt x="5632" y="697"/>
                  <a:pt x="5632" y="698"/>
                </a:cubicBezTo>
                <a:cubicBezTo>
                  <a:pt x="5632" y="700"/>
                  <a:pt x="5632" y="702"/>
                  <a:pt x="5632" y="704"/>
                </a:cubicBezTo>
                <a:cubicBezTo>
                  <a:pt x="5631" y="709"/>
                  <a:pt x="5629" y="712"/>
                  <a:pt x="5627" y="714"/>
                </a:cubicBezTo>
                <a:cubicBezTo>
                  <a:pt x="5627" y="715"/>
                  <a:pt x="5625" y="719"/>
                  <a:pt x="5621" y="727"/>
                </a:cubicBezTo>
                <a:cubicBezTo>
                  <a:pt x="5610" y="750"/>
                  <a:pt x="5602" y="768"/>
                  <a:pt x="5597" y="779"/>
                </a:cubicBezTo>
                <a:cubicBezTo>
                  <a:pt x="5591" y="794"/>
                  <a:pt x="5588" y="804"/>
                  <a:pt x="5588" y="808"/>
                </a:cubicBezTo>
                <a:lnTo>
                  <a:pt x="5589" y="809"/>
                </a:lnTo>
                <a:cubicBezTo>
                  <a:pt x="5590" y="807"/>
                  <a:pt x="5591" y="806"/>
                  <a:pt x="5591" y="803"/>
                </a:cubicBezTo>
                <a:cubicBezTo>
                  <a:pt x="5591" y="801"/>
                  <a:pt x="5591" y="799"/>
                  <a:pt x="5593" y="797"/>
                </a:cubicBezTo>
                <a:lnTo>
                  <a:pt x="5593" y="797"/>
                </a:lnTo>
                <a:cubicBezTo>
                  <a:pt x="5593" y="797"/>
                  <a:pt x="5594" y="799"/>
                  <a:pt x="5594" y="801"/>
                </a:cubicBezTo>
                <a:lnTo>
                  <a:pt x="5593" y="804"/>
                </a:lnTo>
                <a:cubicBezTo>
                  <a:pt x="5593" y="805"/>
                  <a:pt x="5593" y="805"/>
                  <a:pt x="5594" y="805"/>
                </a:cubicBezTo>
                <a:lnTo>
                  <a:pt x="5594" y="804"/>
                </a:lnTo>
                <a:cubicBezTo>
                  <a:pt x="5597" y="801"/>
                  <a:pt x="5599" y="799"/>
                  <a:pt x="5600" y="798"/>
                </a:cubicBezTo>
                <a:lnTo>
                  <a:pt x="5603" y="796"/>
                </a:lnTo>
                <a:cubicBezTo>
                  <a:pt x="5603" y="797"/>
                  <a:pt x="5603" y="798"/>
                  <a:pt x="5602" y="800"/>
                </a:cubicBezTo>
                <a:cubicBezTo>
                  <a:pt x="5600" y="804"/>
                  <a:pt x="5598" y="806"/>
                  <a:pt x="5595" y="808"/>
                </a:cubicBezTo>
                <a:cubicBezTo>
                  <a:pt x="5592" y="810"/>
                  <a:pt x="5591" y="812"/>
                  <a:pt x="5591" y="813"/>
                </a:cubicBezTo>
                <a:cubicBezTo>
                  <a:pt x="5591" y="814"/>
                  <a:pt x="5591" y="815"/>
                  <a:pt x="5592" y="815"/>
                </a:cubicBezTo>
                <a:cubicBezTo>
                  <a:pt x="5592" y="816"/>
                  <a:pt x="5593" y="816"/>
                  <a:pt x="5593" y="816"/>
                </a:cubicBezTo>
                <a:lnTo>
                  <a:pt x="5590" y="816"/>
                </a:lnTo>
                <a:cubicBezTo>
                  <a:pt x="5589" y="816"/>
                  <a:pt x="5588" y="816"/>
                  <a:pt x="5588" y="817"/>
                </a:cubicBezTo>
                <a:cubicBezTo>
                  <a:pt x="5588" y="818"/>
                  <a:pt x="5587" y="818"/>
                  <a:pt x="5586" y="818"/>
                </a:cubicBezTo>
                <a:lnTo>
                  <a:pt x="5585" y="818"/>
                </a:lnTo>
                <a:lnTo>
                  <a:pt x="5586" y="821"/>
                </a:lnTo>
                <a:cubicBezTo>
                  <a:pt x="5587" y="824"/>
                  <a:pt x="5588" y="826"/>
                  <a:pt x="5590" y="826"/>
                </a:cubicBezTo>
                <a:cubicBezTo>
                  <a:pt x="5590" y="826"/>
                  <a:pt x="5590" y="826"/>
                  <a:pt x="5590" y="826"/>
                </a:cubicBezTo>
                <a:cubicBezTo>
                  <a:pt x="5590" y="825"/>
                  <a:pt x="5590" y="824"/>
                  <a:pt x="5590" y="823"/>
                </a:cubicBezTo>
                <a:cubicBezTo>
                  <a:pt x="5589" y="823"/>
                  <a:pt x="5589" y="822"/>
                  <a:pt x="5589" y="821"/>
                </a:cubicBezTo>
                <a:lnTo>
                  <a:pt x="5590" y="822"/>
                </a:lnTo>
                <a:cubicBezTo>
                  <a:pt x="5591" y="824"/>
                  <a:pt x="5592" y="827"/>
                  <a:pt x="5592" y="830"/>
                </a:cubicBezTo>
                <a:cubicBezTo>
                  <a:pt x="5592" y="833"/>
                  <a:pt x="5591" y="835"/>
                  <a:pt x="5590" y="837"/>
                </a:cubicBezTo>
                <a:cubicBezTo>
                  <a:pt x="5589" y="838"/>
                  <a:pt x="5587" y="839"/>
                  <a:pt x="5585" y="839"/>
                </a:cubicBezTo>
                <a:close/>
                <a:moveTo>
                  <a:pt x="5564" y="732"/>
                </a:moveTo>
                <a:lnTo>
                  <a:pt x="5564" y="730"/>
                </a:lnTo>
                <a:lnTo>
                  <a:pt x="5564" y="726"/>
                </a:lnTo>
                <a:cubicBezTo>
                  <a:pt x="5563" y="726"/>
                  <a:pt x="5562" y="727"/>
                  <a:pt x="5562" y="728"/>
                </a:cubicBezTo>
                <a:cubicBezTo>
                  <a:pt x="5562" y="730"/>
                  <a:pt x="5563" y="732"/>
                  <a:pt x="5564" y="732"/>
                </a:cubicBezTo>
                <a:close/>
                <a:moveTo>
                  <a:pt x="5565" y="723"/>
                </a:moveTo>
                <a:lnTo>
                  <a:pt x="5566" y="719"/>
                </a:lnTo>
                <a:cubicBezTo>
                  <a:pt x="5567" y="717"/>
                  <a:pt x="5568" y="715"/>
                  <a:pt x="5568" y="713"/>
                </a:cubicBezTo>
                <a:cubicBezTo>
                  <a:pt x="5568" y="711"/>
                  <a:pt x="5569" y="710"/>
                  <a:pt x="5569" y="709"/>
                </a:cubicBezTo>
                <a:lnTo>
                  <a:pt x="5569" y="707"/>
                </a:lnTo>
                <a:cubicBezTo>
                  <a:pt x="5568" y="707"/>
                  <a:pt x="5568" y="708"/>
                  <a:pt x="5567" y="709"/>
                </a:cubicBezTo>
                <a:cubicBezTo>
                  <a:pt x="5565" y="711"/>
                  <a:pt x="5565" y="714"/>
                  <a:pt x="5565" y="718"/>
                </a:cubicBezTo>
                <a:cubicBezTo>
                  <a:pt x="5565" y="721"/>
                  <a:pt x="5565" y="723"/>
                  <a:pt x="5565" y="723"/>
                </a:cubicBezTo>
                <a:close/>
                <a:moveTo>
                  <a:pt x="5947" y="676"/>
                </a:moveTo>
                <a:cubicBezTo>
                  <a:pt x="5948" y="676"/>
                  <a:pt x="5949" y="675"/>
                  <a:pt x="5952" y="674"/>
                </a:cubicBezTo>
                <a:cubicBezTo>
                  <a:pt x="5954" y="673"/>
                  <a:pt x="5956" y="672"/>
                  <a:pt x="5956" y="671"/>
                </a:cubicBezTo>
                <a:lnTo>
                  <a:pt x="5955" y="671"/>
                </a:lnTo>
                <a:cubicBezTo>
                  <a:pt x="5954" y="671"/>
                  <a:pt x="5953" y="671"/>
                  <a:pt x="5951" y="672"/>
                </a:cubicBezTo>
                <a:cubicBezTo>
                  <a:pt x="5948" y="674"/>
                  <a:pt x="5947" y="675"/>
                  <a:pt x="5947" y="676"/>
                </a:cubicBezTo>
                <a:close/>
                <a:moveTo>
                  <a:pt x="5934" y="681"/>
                </a:moveTo>
                <a:cubicBezTo>
                  <a:pt x="5937" y="681"/>
                  <a:pt x="5939" y="681"/>
                  <a:pt x="5939" y="679"/>
                </a:cubicBezTo>
                <a:lnTo>
                  <a:pt x="5940" y="678"/>
                </a:lnTo>
                <a:cubicBezTo>
                  <a:pt x="5940" y="677"/>
                  <a:pt x="5939" y="677"/>
                  <a:pt x="5939" y="677"/>
                </a:cubicBezTo>
                <a:cubicBezTo>
                  <a:pt x="5937" y="677"/>
                  <a:pt x="5936" y="678"/>
                  <a:pt x="5934" y="679"/>
                </a:cubicBezTo>
                <a:cubicBezTo>
                  <a:pt x="5933" y="680"/>
                  <a:pt x="5932" y="681"/>
                  <a:pt x="5932" y="681"/>
                </a:cubicBezTo>
                <a:cubicBezTo>
                  <a:pt x="5932" y="681"/>
                  <a:pt x="5933" y="681"/>
                  <a:pt x="5934" y="681"/>
                </a:cubicBezTo>
                <a:close/>
                <a:moveTo>
                  <a:pt x="5925" y="683"/>
                </a:moveTo>
                <a:cubicBezTo>
                  <a:pt x="5927" y="683"/>
                  <a:pt x="5928" y="683"/>
                  <a:pt x="5928" y="683"/>
                </a:cubicBezTo>
                <a:cubicBezTo>
                  <a:pt x="5928" y="683"/>
                  <a:pt x="5928" y="682"/>
                  <a:pt x="5928" y="682"/>
                </a:cubicBezTo>
                <a:cubicBezTo>
                  <a:pt x="5927" y="682"/>
                  <a:pt x="5926" y="681"/>
                  <a:pt x="5926" y="681"/>
                </a:cubicBezTo>
                <a:cubicBezTo>
                  <a:pt x="5925" y="681"/>
                  <a:pt x="5924" y="682"/>
                  <a:pt x="5922" y="683"/>
                </a:cubicBezTo>
                <a:cubicBezTo>
                  <a:pt x="5922" y="683"/>
                  <a:pt x="5922" y="683"/>
                  <a:pt x="5922" y="683"/>
                </a:cubicBezTo>
                <a:cubicBezTo>
                  <a:pt x="5922" y="683"/>
                  <a:pt x="5923" y="683"/>
                  <a:pt x="5925" y="683"/>
                </a:cubicBezTo>
                <a:close/>
                <a:moveTo>
                  <a:pt x="5916" y="686"/>
                </a:moveTo>
                <a:cubicBezTo>
                  <a:pt x="5917" y="686"/>
                  <a:pt x="5918" y="686"/>
                  <a:pt x="5918" y="685"/>
                </a:cubicBezTo>
                <a:lnTo>
                  <a:pt x="5918" y="685"/>
                </a:lnTo>
                <a:lnTo>
                  <a:pt x="5916" y="684"/>
                </a:lnTo>
                <a:lnTo>
                  <a:pt x="5914" y="685"/>
                </a:lnTo>
                <a:cubicBezTo>
                  <a:pt x="5913" y="685"/>
                  <a:pt x="5913" y="685"/>
                  <a:pt x="5913" y="686"/>
                </a:cubicBezTo>
                <a:cubicBezTo>
                  <a:pt x="5913" y="686"/>
                  <a:pt x="5914" y="686"/>
                  <a:pt x="5916" y="686"/>
                </a:cubicBezTo>
                <a:close/>
                <a:moveTo>
                  <a:pt x="5884" y="679"/>
                </a:moveTo>
                <a:cubicBezTo>
                  <a:pt x="5886" y="679"/>
                  <a:pt x="5888" y="679"/>
                  <a:pt x="5888" y="679"/>
                </a:cubicBezTo>
                <a:cubicBezTo>
                  <a:pt x="5888" y="678"/>
                  <a:pt x="5886" y="677"/>
                  <a:pt x="5882" y="675"/>
                </a:cubicBezTo>
                <a:cubicBezTo>
                  <a:pt x="5879" y="673"/>
                  <a:pt x="5874" y="672"/>
                  <a:pt x="5870" y="672"/>
                </a:cubicBezTo>
                <a:cubicBezTo>
                  <a:pt x="5867" y="672"/>
                  <a:pt x="5865" y="673"/>
                  <a:pt x="5865" y="674"/>
                </a:cubicBezTo>
                <a:cubicBezTo>
                  <a:pt x="5865" y="674"/>
                  <a:pt x="5867" y="674"/>
                  <a:pt x="5871" y="676"/>
                </a:cubicBezTo>
                <a:cubicBezTo>
                  <a:pt x="5877" y="678"/>
                  <a:pt x="5881" y="679"/>
                  <a:pt x="5884" y="679"/>
                </a:cubicBezTo>
                <a:close/>
                <a:moveTo>
                  <a:pt x="5737" y="578"/>
                </a:moveTo>
                <a:cubicBezTo>
                  <a:pt x="5739" y="578"/>
                  <a:pt x="5741" y="578"/>
                  <a:pt x="5742" y="577"/>
                </a:cubicBezTo>
                <a:cubicBezTo>
                  <a:pt x="5744" y="576"/>
                  <a:pt x="5745" y="575"/>
                  <a:pt x="5745" y="574"/>
                </a:cubicBezTo>
                <a:cubicBezTo>
                  <a:pt x="5745" y="574"/>
                  <a:pt x="5744" y="574"/>
                  <a:pt x="5744" y="574"/>
                </a:cubicBezTo>
                <a:cubicBezTo>
                  <a:pt x="5743" y="574"/>
                  <a:pt x="5741" y="574"/>
                  <a:pt x="5738" y="576"/>
                </a:cubicBezTo>
                <a:cubicBezTo>
                  <a:pt x="5737" y="577"/>
                  <a:pt x="5737" y="578"/>
                  <a:pt x="5737" y="578"/>
                </a:cubicBezTo>
                <a:cubicBezTo>
                  <a:pt x="5737" y="578"/>
                  <a:pt x="5737" y="578"/>
                  <a:pt x="5737" y="578"/>
                </a:cubicBezTo>
                <a:close/>
                <a:moveTo>
                  <a:pt x="5644" y="674"/>
                </a:moveTo>
                <a:cubicBezTo>
                  <a:pt x="5644" y="674"/>
                  <a:pt x="5645" y="674"/>
                  <a:pt x="5646" y="673"/>
                </a:cubicBezTo>
                <a:cubicBezTo>
                  <a:pt x="5647" y="672"/>
                  <a:pt x="5647" y="670"/>
                  <a:pt x="5647" y="668"/>
                </a:cubicBezTo>
                <a:cubicBezTo>
                  <a:pt x="5647" y="666"/>
                  <a:pt x="5648" y="665"/>
                  <a:pt x="5650" y="664"/>
                </a:cubicBezTo>
                <a:cubicBezTo>
                  <a:pt x="5653" y="663"/>
                  <a:pt x="5655" y="661"/>
                  <a:pt x="5655" y="659"/>
                </a:cubicBezTo>
                <a:cubicBezTo>
                  <a:pt x="5655" y="658"/>
                  <a:pt x="5655" y="658"/>
                  <a:pt x="5654" y="658"/>
                </a:cubicBezTo>
                <a:cubicBezTo>
                  <a:pt x="5654" y="658"/>
                  <a:pt x="5652" y="659"/>
                  <a:pt x="5650" y="662"/>
                </a:cubicBezTo>
                <a:cubicBezTo>
                  <a:pt x="5645" y="666"/>
                  <a:pt x="5643" y="670"/>
                  <a:pt x="5643" y="673"/>
                </a:cubicBezTo>
                <a:cubicBezTo>
                  <a:pt x="5643" y="674"/>
                  <a:pt x="5643" y="674"/>
                  <a:pt x="5644" y="674"/>
                </a:cubicBezTo>
                <a:close/>
                <a:moveTo>
                  <a:pt x="5583" y="775"/>
                </a:moveTo>
                <a:cubicBezTo>
                  <a:pt x="5584" y="774"/>
                  <a:pt x="5584" y="773"/>
                  <a:pt x="5584" y="772"/>
                </a:cubicBezTo>
                <a:lnTo>
                  <a:pt x="5584" y="770"/>
                </a:lnTo>
                <a:lnTo>
                  <a:pt x="5582" y="769"/>
                </a:lnTo>
                <a:cubicBezTo>
                  <a:pt x="5582" y="769"/>
                  <a:pt x="5582" y="770"/>
                  <a:pt x="5582" y="772"/>
                </a:cubicBezTo>
                <a:cubicBezTo>
                  <a:pt x="5582" y="774"/>
                  <a:pt x="5582" y="775"/>
                  <a:pt x="5583" y="775"/>
                </a:cubicBezTo>
                <a:close/>
                <a:moveTo>
                  <a:pt x="5627" y="574"/>
                </a:moveTo>
                <a:cubicBezTo>
                  <a:pt x="5628" y="574"/>
                  <a:pt x="5629" y="574"/>
                  <a:pt x="5629" y="573"/>
                </a:cubicBezTo>
                <a:cubicBezTo>
                  <a:pt x="5630" y="572"/>
                  <a:pt x="5631" y="571"/>
                  <a:pt x="5631" y="569"/>
                </a:cubicBezTo>
                <a:cubicBezTo>
                  <a:pt x="5632" y="567"/>
                  <a:pt x="5633" y="565"/>
                  <a:pt x="5633" y="563"/>
                </a:cubicBezTo>
                <a:lnTo>
                  <a:pt x="5633" y="561"/>
                </a:lnTo>
                <a:cubicBezTo>
                  <a:pt x="5633" y="561"/>
                  <a:pt x="5633" y="561"/>
                  <a:pt x="5633" y="561"/>
                </a:cubicBezTo>
                <a:lnTo>
                  <a:pt x="5634" y="560"/>
                </a:lnTo>
                <a:cubicBezTo>
                  <a:pt x="5635" y="560"/>
                  <a:pt x="5636" y="559"/>
                  <a:pt x="5636" y="557"/>
                </a:cubicBezTo>
                <a:cubicBezTo>
                  <a:pt x="5636" y="556"/>
                  <a:pt x="5636" y="556"/>
                  <a:pt x="5636" y="556"/>
                </a:cubicBezTo>
                <a:lnTo>
                  <a:pt x="5634" y="557"/>
                </a:lnTo>
                <a:cubicBezTo>
                  <a:pt x="5633" y="557"/>
                  <a:pt x="5632" y="556"/>
                  <a:pt x="5630" y="555"/>
                </a:cubicBezTo>
                <a:lnTo>
                  <a:pt x="5628" y="553"/>
                </a:lnTo>
                <a:lnTo>
                  <a:pt x="5627" y="553"/>
                </a:lnTo>
                <a:lnTo>
                  <a:pt x="5629" y="556"/>
                </a:lnTo>
                <a:cubicBezTo>
                  <a:pt x="5629" y="557"/>
                  <a:pt x="5629" y="558"/>
                  <a:pt x="5627" y="558"/>
                </a:cubicBezTo>
                <a:cubicBezTo>
                  <a:pt x="5626" y="558"/>
                  <a:pt x="5626" y="558"/>
                  <a:pt x="5626" y="559"/>
                </a:cubicBezTo>
                <a:lnTo>
                  <a:pt x="5627" y="560"/>
                </a:lnTo>
                <a:cubicBezTo>
                  <a:pt x="5628" y="561"/>
                  <a:pt x="5629" y="563"/>
                  <a:pt x="5629" y="565"/>
                </a:cubicBezTo>
                <a:cubicBezTo>
                  <a:pt x="5629" y="568"/>
                  <a:pt x="5628" y="570"/>
                  <a:pt x="5625" y="570"/>
                </a:cubicBezTo>
                <a:lnTo>
                  <a:pt x="5621" y="569"/>
                </a:lnTo>
                <a:cubicBezTo>
                  <a:pt x="5621" y="570"/>
                  <a:pt x="5622" y="571"/>
                  <a:pt x="5624" y="572"/>
                </a:cubicBezTo>
                <a:cubicBezTo>
                  <a:pt x="5625" y="573"/>
                  <a:pt x="5627" y="574"/>
                  <a:pt x="5627" y="574"/>
                </a:cubicBezTo>
                <a:close/>
                <a:moveTo>
                  <a:pt x="5619" y="539"/>
                </a:moveTo>
                <a:lnTo>
                  <a:pt x="5621" y="539"/>
                </a:lnTo>
                <a:cubicBezTo>
                  <a:pt x="5621" y="538"/>
                  <a:pt x="5622" y="536"/>
                  <a:pt x="5622" y="534"/>
                </a:cubicBezTo>
                <a:cubicBezTo>
                  <a:pt x="5623" y="533"/>
                  <a:pt x="5624" y="531"/>
                  <a:pt x="5624" y="529"/>
                </a:cubicBezTo>
                <a:cubicBezTo>
                  <a:pt x="5624" y="528"/>
                  <a:pt x="5625" y="527"/>
                  <a:pt x="5625" y="526"/>
                </a:cubicBezTo>
                <a:cubicBezTo>
                  <a:pt x="5625" y="525"/>
                  <a:pt x="5624" y="525"/>
                  <a:pt x="5624" y="525"/>
                </a:cubicBezTo>
                <a:cubicBezTo>
                  <a:pt x="5624" y="525"/>
                  <a:pt x="5622" y="528"/>
                  <a:pt x="5620" y="535"/>
                </a:cubicBezTo>
                <a:lnTo>
                  <a:pt x="5619" y="539"/>
                </a:lnTo>
                <a:close/>
                <a:moveTo>
                  <a:pt x="5680" y="435"/>
                </a:moveTo>
                <a:cubicBezTo>
                  <a:pt x="5681" y="435"/>
                  <a:pt x="5682" y="434"/>
                  <a:pt x="5683" y="431"/>
                </a:cubicBezTo>
                <a:cubicBezTo>
                  <a:pt x="5685" y="427"/>
                  <a:pt x="5686" y="425"/>
                  <a:pt x="5686" y="424"/>
                </a:cubicBezTo>
                <a:cubicBezTo>
                  <a:pt x="5686" y="424"/>
                  <a:pt x="5686" y="424"/>
                  <a:pt x="5685" y="424"/>
                </a:cubicBezTo>
                <a:cubicBezTo>
                  <a:pt x="5684" y="424"/>
                  <a:pt x="5683" y="424"/>
                  <a:pt x="5682" y="425"/>
                </a:cubicBezTo>
                <a:cubicBezTo>
                  <a:pt x="5680" y="426"/>
                  <a:pt x="5679" y="428"/>
                  <a:pt x="5679" y="430"/>
                </a:cubicBezTo>
                <a:lnTo>
                  <a:pt x="5679" y="432"/>
                </a:lnTo>
                <a:cubicBezTo>
                  <a:pt x="5679" y="434"/>
                  <a:pt x="5680" y="435"/>
                  <a:pt x="5680" y="435"/>
                </a:cubicBezTo>
                <a:close/>
                <a:moveTo>
                  <a:pt x="5687" y="418"/>
                </a:moveTo>
                <a:cubicBezTo>
                  <a:pt x="5688" y="418"/>
                  <a:pt x="5689" y="416"/>
                  <a:pt x="5691" y="413"/>
                </a:cubicBezTo>
                <a:lnTo>
                  <a:pt x="5692" y="409"/>
                </a:lnTo>
                <a:lnTo>
                  <a:pt x="5692" y="409"/>
                </a:lnTo>
                <a:cubicBezTo>
                  <a:pt x="5691" y="409"/>
                  <a:pt x="5691" y="409"/>
                  <a:pt x="5690" y="410"/>
                </a:cubicBezTo>
                <a:cubicBezTo>
                  <a:pt x="5690" y="411"/>
                  <a:pt x="5689" y="412"/>
                  <a:pt x="5688" y="414"/>
                </a:cubicBezTo>
                <a:cubicBezTo>
                  <a:pt x="5688" y="415"/>
                  <a:pt x="5687" y="416"/>
                  <a:pt x="5687" y="417"/>
                </a:cubicBezTo>
                <a:lnTo>
                  <a:pt x="5687" y="418"/>
                </a:lnTo>
                <a:close/>
                <a:moveTo>
                  <a:pt x="5695" y="402"/>
                </a:moveTo>
                <a:cubicBezTo>
                  <a:pt x="5696" y="402"/>
                  <a:pt x="5697" y="401"/>
                  <a:pt x="5697" y="399"/>
                </a:cubicBezTo>
                <a:cubicBezTo>
                  <a:pt x="5697" y="399"/>
                  <a:pt x="5697" y="398"/>
                  <a:pt x="5696" y="397"/>
                </a:cubicBezTo>
                <a:cubicBezTo>
                  <a:pt x="5696" y="397"/>
                  <a:pt x="5695" y="397"/>
                  <a:pt x="5695" y="397"/>
                </a:cubicBezTo>
                <a:cubicBezTo>
                  <a:pt x="5694" y="397"/>
                  <a:pt x="5694" y="397"/>
                  <a:pt x="5694" y="399"/>
                </a:cubicBezTo>
                <a:cubicBezTo>
                  <a:pt x="5694" y="401"/>
                  <a:pt x="5694" y="402"/>
                  <a:pt x="5695" y="402"/>
                </a:cubicBezTo>
                <a:close/>
                <a:moveTo>
                  <a:pt x="5710" y="442"/>
                </a:moveTo>
                <a:cubicBezTo>
                  <a:pt x="5711" y="441"/>
                  <a:pt x="5711" y="441"/>
                  <a:pt x="5711" y="440"/>
                </a:cubicBezTo>
                <a:cubicBezTo>
                  <a:pt x="5711" y="439"/>
                  <a:pt x="5711" y="438"/>
                  <a:pt x="5710" y="438"/>
                </a:cubicBezTo>
                <a:cubicBezTo>
                  <a:pt x="5709" y="437"/>
                  <a:pt x="5709" y="436"/>
                  <a:pt x="5708" y="436"/>
                </a:cubicBezTo>
                <a:cubicBezTo>
                  <a:pt x="5707" y="436"/>
                  <a:pt x="5706" y="437"/>
                  <a:pt x="5706" y="439"/>
                </a:cubicBezTo>
                <a:cubicBezTo>
                  <a:pt x="5706" y="440"/>
                  <a:pt x="5706" y="440"/>
                  <a:pt x="5707" y="441"/>
                </a:cubicBezTo>
                <a:cubicBezTo>
                  <a:pt x="5708" y="442"/>
                  <a:pt x="5709" y="442"/>
                  <a:pt x="5709" y="442"/>
                </a:cubicBezTo>
                <a:lnTo>
                  <a:pt x="5710" y="442"/>
                </a:lnTo>
                <a:close/>
                <a:moveTo>
                  <a:pt x="5720" y="431"/>
                </a:moveTo>
                <a:cubicBezTo>
                  <a:pt x="5722" y="431"/>
                  <a:pt x="5723" y="429"/>
                  <a:pt x="5723" y="427"/>
                </a:cubicBezTo>
                <a:lnTo>
                  <a:pt x="5723" y="426"/>
                </a:lnTo>
                <a:cubicBezTo>
                  <a:pt x="5723" y="425"/>
                  <a:pt x="5723" y="425"/>
                  <a:pt x="5722" y="425"/>
                </a:cubicBezTo>
                <a:lnTo>
                  <a:pt x="5722" y="426"/>
                </a:lnTo>
                <a:cubicBezTo>
                  <a:pt x="5721" y="428"/>
                  <a:pt x="5720" y="428"/>
                  <a:pt x="5719" y="428"/>
                </a:cubicBezTo>
                <a:lnTo>
                  <a:pt x="5717" y="427"/>
                </a:lnTo>
                <a:lnTo>
                  <a:pt x="5718" y="429"/>
                </a:lnTo>
                <a:cubicBezTo>
                  <a:pt x="5718" y="430"/>
                  <a:pt x="5719" y="431"/>
                  <a:pt x="5720" y="431"/>
                </a:cubicBezTo>
                <a:close/>
                <a:moveTo>
                  <a:pt x="5733" y="419"/>
                </a:moveTo>
                <a:cubicBezTo>
                  <a:pt x="5734" y="419"/>
                  <a:pt x="5734" y="419"/>
                  <a:pt x="5734" y="419"/>
                </a:cubicBezTo>
                <a:cubicBezTo>
                  <a:pt x="5734" y="417"/>
                  <a:pt x="5733" y="417"/>
                  <a:pt x="5731" y="417"/>
                </a:cubicBezTo>
                <a:cubicBezTo>
                  <a:pt x="5729" y="417"/>
                  <a:pt x="5729" y="417"/>
                  <a:pt x="5729" y="418"/>
                </a:cubicBezTo>
                <a:cubicBezTo>
                  <a:pt x="5729" y="419"/>
                  <a:pt x="5730" y="419"/>
                  <a:pt x="5731" y="419"/>
                </a:cubicBezTo>
                <a:lnTo>
                  <a:pt x="5733" y="419"/>
                </a:lnTo>
                <a:close/>
                <a:moveTo>
                  <a:pt x="5745" y="404"/>
                </a:moveTo>
                <a:cubicBezTo>
                  <a:pt x="5746" y="404"/>
                  <a:pt x="5747" y="403"/>
                  <a:pt x="5750" y="402"/>
                </a:cubicBezTo>
                <a:cubicBezTo>
                  <a:pt x="5752" y="400"/>
                  <a:pt x="5753" y="398"/>
                  <a:pt x="5753" y="397"/>
                </a:cubicBezTo>
                <a:cubicBezTo>
                  <a:pt x="5753" y="396"/>
                  <a:pt x="5753" y="395"/>
                  <a:pt x="5753" y="395"/>
                </a:cubicBezTo>
                <a:cubicBezTo>
                  <a:pt x="5752" y="395"/>
                  <a:pt x="5751" y="397"/>
                  <a:pt x="5748" y="399"/>
                </a:cubicBezTo>
                <a:cubicBezTo>
                  <a:pt x="5746" y="402"/>
                  <a:pt x="5745" y="404"/>
                  <a:pt x="5745" y="404"/>
                </a:cubicBezTo>
                <a:close/>
                <a:moveTo>
                  <a:pt x="5756" y="392"/>
                </a:moveTo>
                <a:cubicBezTo>
                  <a:pt x="5756" y="392"/>
                  <a:pt x="5757" y="392"/>
                  <a:pt x="5759" y="391"/>
                </a:cubicBezTo>
                <a:cubicBezTo>
                  <a:pt x="5761" y="389"/>
                  <a:pt x="5762" y="388"/>
                  <a:pt x="5763" y="387"/>
                </a:cubicBezTo>
                <a:cubicBezTo>
                  <a:pt x="5764" y="387"/>
                  <a:pt x="5765" y="386"/>
                  <a:pt x="5765" y="385"/>
                </a:cubicBezTo>
                <a:cubicBezTo>
                  <a:pt x="5765" y="384"/>
                  <a:pt x="5764" y="384"/>
                  <a:pt x="5764" y="384"/>
                </a:cubicBezTo>
                <a:cubicBezTo>
                  <a:pt x="5763" y="384"/>
                  <a:pt x="5761" y="385"/>
                  <a:pt x="5759" y="388"/>
                </a:cubicBezTo>
                <a:cubicBezTo>
                  <a:pt x="5756" y="390"/>
                  <a:pt x="5755" y="392"/>
                  <a:pt x="5755" y="392"/>
                </a:cubicBezTo>
                <a:lnTo>
                  <a:pt x="5756" y="392"/>
                </a:lnTo>
                <a:close/>
                <a:moveTo>
                  <a:pt x="5783" y="367"/>
                </a:moveTo>
                <a:cubicBezTo>
                  <a:pt x="5783" y="367"/>
                  <a:pt x="5785" y="366"/>
                  <a:pt x="5786" y="364"/>
                </a:cubicBezTo>
                <a:lnTo>
                  <a:pt x="5788" y="362"/>
                </a:lnTo>
                <a:lnTo>
                  <a:pt x="5788" y="361"/>
                </a:lnTo>
                <a:lnTo>
                  <a:pt x="5786" y="362"/>
                </a:lnTo>
                <a:cubicBezTo>
                  <a:pt x="5783" y="363"/>
                  <a:pt x="5782" y="364"/>
                  <a:pt x="5782" y="366"/>
                </a:cubicBezTo>
                <a:cubicBezTo>
                  <a:pt x="5782" y="367"/>
                  <a:pt x="5782" y="367"/>
                  <a:pt x="5783" y="367"/>
                </a:cubicBezTo>
                <a:close/>
                <a:moveTo>
                  <a:pt x="5852" y="267"/>
                </a:moveTo>
                <a:cubicBezTo>
                  <a:pt x="5853" y="267"/>
                  <a:pt x="5854" y="265"/>
                  <a:pt x="5856" y="262"/>
                </a:cubicBezTo>
                <a:lnTo>
                  <a:pt x="5858" y="260"/>
                </a:lnTo>
                <a:lnTo>
                  <a:pt x="5858" y="259"/>
                </a:lnTo>
                <a:lnTo>
                  <a:pt x="5855" y="262"/>
                </a:lnTo>
                <a:cubicBezTo>
                  <a:pt x="5853" y="264"/>
                  <a:pt x="5851" y="265"/>
                  <a:pt x="5851" y="266"/>
                </a:cubicBezTo>
                <a:cubicBezTo>
                  <a:pt x="5851" y="266"/>
                  <a:pt x="5852" y="267"/>
                  <a:pt x="5852" y="267"/>
                </a:cubicBezTo>
                <a:close/>
                <a:moveTo>
                  <a:pt x="5858" y="231"/>
                </a:moveTo>
                <a:cubicBezTo>
                  <a:pt x="5860" y="231"/>
                  <a:pt x="5862" y="228"/>
                  <a:pt x="5866" y="220"/>
                </a:cubicBezTo>
                <a:cubicBezTo>
                  <a:pt x="5869" y="216"/>
                  <a:pt x="5870" y="214"/>
                  <a:pt x="5870" y="213"/>
                </a:cubicBezTo>
                <a:lnTo>
                  <a:pt x="5869" y="213"/>
                </a:lnTo>
                <a:cubicBezTo>
                  <a:pt x="5869" y="213"/>
                  <a:pt x="5868" y="213"/>
                  <a:pt x="5867" y="215"/>
                </a:cubicBezTo>
                <a:cubicBezTo>
                  <a:pt x="5865" y="218"/>
                  <a:pt x="5864" y="219"/>
                  <a:pt x="5864" y="220"/>
                </a:cubicBezTo>
                <a:lnTo>
                  <a:pt x="5864" y="222"/>
                </a:lnTo>
                <a:cubicBezTo>
                  <a:pt x="5864" y="223"/>
                  <a:pt x="5864" y="223"/>
                  <a:pt x="5863" y="223"/>
                </a:cubicBezTo>
                <a:cubicBezTo>
                  <a:pt x="5862" y="223"/>
                  <a:pt x="5862" y="223"/>
                  <a:pt x="5861" y="224"/>
                </a:cubicBezTo>
                <a:cubicBezTo>
                  <a:pt x="5860" y="225"/>
                  <a:pt x="5860" y="225"/>
                  <a:pt x="5860" y="226"/>
                </a:cubicBezTo>
                <a:cubicBezTo>
                  <a:pt x="5860" y="227"/>
                  <a:pt x="5860" y="228"/>
                  <a:pt x="5859" y="229"/>
                </a:cubicBezTo>
                <a:cubicBezTo>
                  <a:pt x="5859" y="230"/>
                  <a:pt x="5859" y="230"/>
                  <a:pt x="5858" y="231"/>
                </a:cubicBezTo>
                <a:lnTo>
                  <a:pt x="5857" y="231"/>
                </a:lnTo>
                <a:lnTo>
                  <a:pt x="5858" y="231"/>
                </a:lnTo>
                <a:close/>
                <a:moveTo>
                  <a:pt x="5871" y="209"/>
                </a:moveTo>
                <a:cubicBezTo>
                  <a:pt x="5872" y="209"/>
                  <a:pt x="5873" y="208"/>
                  <a:pt x="5874" y="206"/>
                </a:cubicBezTo>
                <a:cubicBezTo>
                  <a:pt x="5875" y="203"/>
                  <a:pt x="5877" y="201"/>
                  <a:pt x="5879" y="197"/>
                </a:cubicBezTo>
                <a:cubicBezTo>
                  <a:pt x="5881" y="192"/>
                  <a:pt x="5882" y="189"/>
                  <a:pt x="5882" y="188"/>
                </a:cubicBezTo>
                <a:lnTo>
                  <a:pt x="5882" y="188"/>
                </a:lnTo>
                <a:lnTo>
                  <a:pt x="5880" y="190"/>
                </a:lnTo>
                <a:cubicBezTo>
                  <a:pt x="5877" y="193"/>
                  <a:pt x="5876" y="195"/>
                  <a:pt x="5876" y="195"/>
                </a:cubicBezTo>
                <a:cubicBezTo>
                  <a:pt x="5876" y="199"/>
                  <a:pt x="5874" y="203"/>
                  <a:pt x="5872" y="206"/>
                </a:cubicBezTo>
                <a:cubicBezTo>
                  <a:pt x="5870" y="207"/>
                  <a:pt x="5870" y="208"/>
                  <a:pt x="5870" y="208"/>
                </a:cubicBezTo>
                <a:cubicBezTo>
                  <a:pt x="5870" y="209"/>
                  <a:pt x="5870" y="209"/>
                  <a:pt x="5871" y="209"/>
                </a:cubicBezTo>
                <a:close/>
                <a:moveTo>
                  <a:pt x="5876" y="246"/>
                </a:moveTo>
                <a:cubicBezTo>
                  <a:pt x="5877" y="246"/>
                  <a:pt x="5878" y="244"/>
                  <a:pt x="5879" y="241"/>
                </a:cubicBezTo>
                <a:cubicBezTo>
                  <a:pt x="5880" y="239"/>
                  <a:pt x="5881" y="238"/>
                  <a:pt x="5881" y="237"/>
                </a:cubicBezTo>
                <a:lnTo>
                  <a:pt x="5881" y="237"/>
                </a:lnTo>
                <a:cubicBezTo>
                  <a:pt x="5880" y="237"/>
                  <a:pt x="5879" y="238"/>
                  <a:pt x="5878" y="240"/>
                </a:cubicBezTo>
                <a:cubicBezTo>
                  <a:pt x="5877" y="243"/>
                  <a:pt x="5876" y="245"/>
                  <a:pt x="5876" y="245"/>
                </a:cubicBezTo>
                <a:lnTo>
                  <a:pt x="5876" y="246"/>
                </a:lnTo>
                <a:close/>
                <a:moveTo>
                  <a:pt x="5871" y="236"/>
                </a:moveTo>
                <a:cubicBezTo>
                  <a:pt x="5872" y="236"/>
                  <a:pt x="5872" y="236"/>
                  <a:pt x="5872" y="235"/>
                </a:cubicBezTo>
                <a:cubicBezTo>
                  <a:pt x="5874" y="232"/>
                  <a:pt x="5875" y="228"/>
                  <a:pt x="5878" y="224"/>
                </a:cubicBezTo>
                <a:cubicBezTo>
                  <a:pt x="5880" y="221"/>
                  <a:pt x="5885" y="211"/>
                  <a:pt x="5894" y="195"/>
                </a:cubicBezTo>
                <a:cubicBezTo>
                  <a:pt x="5902" y="179"/>
                  <a:pt x="5907" y="171"/>
                  <a:pt x="5908" y="171"/>
                </a:cubicBezTo>
                <a:lnTo>
                  <a:pt x="5910" y="171"/>
                </a:lnTo>
                <a:lnTo>
                  <a:pt x="5909" y="167"/>
                </a:lnTo>
                <a:cubicBezTo>
                  <a:pt x="5909" y="163"/>
                  <a:pt x="5910" y="159"/>
                  <a:pt x="5912" y="155"/>
                </a:cubicBezTo>
                <a:cubicBezTo>
                  <a:pt x="5915" y="148"/>
                  <a:pt x="5919" y="139"/>
                  <a:pt x="5922" y="129"/>
                </a:cubicBezTo>
                <a:cubicBezTo>
                  <a:pt x="5931" y="104"/>
                  <a:pt x="5935" y="87"/>
                  <a:pt x="5935" y="80"/>
                </a:cubicBezTo>
                <a:cubicBezTo>
                  <a:pt x="5935" y="78"/>
                  <a:pt x="5935" y="78"/>
                  <a:pt x="5934" y="78"/>
                </a:cubicBezTo>
                <a:cubicBezTo>
                  <a:pt x="5933" y="78"/>
                  <a:pt x="5932" y="81"/>
                  <a:pt x="5931" y="88"/>
                </a:cubicBezTo>
                <a:cubicBezTo>
                  <a:pt x="5930" y="93"/>
                  <a:pt x="5928" y="101"/>
                  <a:pt x="5925" y="112"/>
                </a:cubicBezTo>
                <a:cubicBezTo>
                  <a:pt x="5922" y="122"/>
                  <a:pt x="5919" y="131"/>
                  <a:pt x="5915" y="140"/>
                </a:cubicBezTo>
                <a:cubicBezTo>
                  <a:pt x="5911" y="148"/>
                  <a:pt x="5904" y="164"/>
                  <a:pt x="5893" y="188"/>
                </a:cubicBezTo>
                <a:cubicBezTo>
                  <a:pt x="5882" y="212"/>
                  <a:pt x="5875" y="225"/>
                  <a:pt x="5874" y="227"/>
                </a:cubicBezTo>
                <a:cubicBezTo>
                  <a:pt x="5872" y="229"/>
                  <a:pt x="5871" y="232"/>
                  <a:pt x="5871" y="234"/>
                </a:cubicBezTo>
                <a:lnTo>
                  <a:pt x="5871" y="236"/>
                </a:lnTo>
                <a:close/>
                <a:moveTo>
                  <a:pt x="5922" y="38"/>
                </a:moveTo>
                <a:cubicBezTo>
                  <a:pt x="5922" y="38"/>
                  <a:pt x="5923" y="38"/>
                  <a:pt x="5923" y="38"/>
                </a:cubicBezTo>
                <a:cubicBezTo>
                  <a:pt x="5923" y="37"/>
                  <a:pt x="5922" y="36"/>
                  <a:pt x="5921" y="34"/>
                </a:cubicBezTo>
                <a:cubicBezTo>
                  <a:pt x="5920" y="33"/>
                  <a:pt x="5916" y="32"/>
                  <a:pt x="5911" y="32"/>
                </a:cubicBezTo>
                <a:lnTo>
                  <a:pt x="5909" y="32"/>
                </a:lnTo>
                <a:cubicBezTo>
                  <a:pt x="5906" y="32"/>
                  <a:pt x="5905" y="32"/>
                  <a:pt x="5905" y="32"/>
                </a:cubicBezTo>
                <a:cubicBezTo>
                  <a:pt x="5905" y="34"/>
                  <a:pt x="5908" y="35"/>
                  <a:pt x="5914" y="37"/>
                </a:cubicBezTo>
                <a:cubicBezTo>
                  <a:pt x="5917" y="38"/>
                  <a:pt x="5920" y="38"/>
                  <a:pt x="5922" y="38"/>
                </a:cubicBezTo>
                <a:close/>
                <a:moveTo>
                  <a:pt x="5844" y="113"/>
                </a:moveTo>
                <a:cubicBezTo>
                  <a:pt x="5844" y="113"/>
                  <a:pt x="5845" y="112"/>
                  <a:pt x="5847" y="109"/>
                </a:cubicBezTo>
                <a:lnTo>
                  <a:pt x="5849" y="106"/>
                </a:lnTo>
                <a:cubicBezTo>
                  <a:pt x="5849" y="106"/>
                  <a:pt x="5848" y="107"/>
                  <a:pt x="5847" y="108"/>
                </a:cubicBezTo>
                <a:cubicBezTo>
                  <a:pt x="5844" y="110"/>
                  <a:pt x="5843" y="111"/>
                  <a:pt x="5843" y="112"/>
                </a:cubicBezTo>
                <a:cubicBezTo>
                  <a:pt x="5843" y="113"/>
                  <a:pt x="5843" y="113"/>
                  <a:pt x="5844" y="113"/>
                </a:cubicBezTo>
                <a:close/>
                <a:moveTo>
                  <a:pt x="5835" y="143"/>
                </a:moveTo>
                <a:cubicBezTo>
                  <a:pt x="5836" y="143"/>
                  <a:pt x="5837" y="141"/>
                  <a:pt x="5839" y="139"/>
                </a:cubicBezTo>
                <a:lnTo>
                  <a:pt x="5841" y="136"/>
                </a:lnTo>
                <a:lnTo>
                  <a:pt x="5840" y="136"/>
                </a:lnTo>
                <a:lnTo>
                  <a:pt x="5838" y="138"/>
                </a:lnTo>
                <a:cubicBezTo>
                  <a:pt x="5835" y="140"/>
                  <a:pt x="5834" y="141"/>
                  <a:pt x="5834" y="142"/>
                </a:cubicBezTo>
                <a:cubicBezTo>
                  <a:pt x="5834" y="142"/>
                  <a:pt x="5834" y="143"/>
                  <a:pt x="5835" y="143"/>
                </a:cubicBezTo>
                <a:close/>
                <a:moveTo>
                  <a:pt x="5826" y="136"/>
                </a:moveTo>
                <a:cubicBezTo>
                  <a:pt x="5827" y="136"/>
                  <a:pt x="5827" y="136"/>
                  <a:pt x="5828" y="134"/>
                </a:cubicBezTo>
                <a:cubicBezTo>
                  <a:pt x="5833" y="127"/>
                  <a:pt x="5835" y="123"/>
                  <a:pt x="5835" y="122"/>
                </a:cubicBezTo>
                <a:cubicBezTo>
                  <a:pt x="5835" y="122"/>
                  <a:pt x="5833" y="124"/>
                  <a:pt x="5830" y="129"/>
                </a:cubicBezTo>
                <a:cubicBezTo>
                  <a:pt x="5827" y="133"/>
                  <a:pt x="5826" y="135"/>
                  <a:pt x="5826" y="136"/>
                </a:cubicBezTo>
                <a:close/>
                <a:moveTo>
                  <a:pt x="5811" y="155"/>
                </a:moveTo>
                <a:cubicBezTo>
                  <a:pt x="5811" y="155"/>
                  <a:pt x="5812" y="155"/>
                  <a:pt x="5813" y="154"/>
                </a:cubicBezTo>
                <a:cubicBezTo>
                  <a:pt x="5814" y="154"/>
                  <a:pt x="5815" y="152"/>
                  <a:pt x="5817" y="151"/>
                </a:cubicBezTo>
                <a:cubicBezTo>
                  <a:pt x="5818" y="149"/>
                  <a:pt x="5819" y="148"/>
                  <a:pt x="5820" y="146"/>
                </a:cubicBezTo>
                <a:cubicBezTo>
                  <a:pt x="5820" y="144"/>
                  <a:pt x="5821" y="144"/>
                  <a:pt x="5821" y="143"/>
                </a:cubicBezTo>
                <a:lnTo>
                  <a:pt x="5821" y="143"/>
                </a:lnTo>
                <a:cubicBezTo>
                  <a:pt x="5820" y="143"/>
                  <a:pt x="5817" y="145"/>
                  <a:pt x="5814" y="150"/>
                </a:cubicBezTo>
                <a:cubicBezTo>
                  <a:pt x="5812" y="153"/>
                  <a:pt x="5811" y="155"/>
                  <a:pt x="5811" y="155"/>
                </a:cubicBezTo>
                <a:close/>
                <a:moveTo>
                  <a:pt x="5795" y="178"/>
                </a:moveTo>
                <a:cubicBezTo>
                  <a:pt x="5795" y="178"/>
                  <a:pt x="5796" y="178"/>
                  <a:pt x="5797" y="177"/>
                </a:cubicBezTo>
                <a:cubicBezTo>
                  <a:pt x="5798" y="176"/>
                  <a:pt x="5799" y="175"/>
                  <a:pt x="5800" y="173"/>
                </a:cubicBezTo>
                <a:cubicBezTo>
                  <a:pt x="5801" y="172"/>
                  <a:pt x="5802" y="170"/>
                  <a:pt x="5803" y="169"/>
                </a:cubicBezTo>
                <a:cubicBezTo>
                  <a:pt x="5804" y="168"/>
                  <a:pt x="5805" y="167"/>
                  <a:pt x="5805" y="166"/>
                </a:cubicBezTo>
                <a:cubicBezTo>
                  <a:pt x="5804" y="166"/>
                  <a:pt x="5802" y="167"/>
                  <a:pt x="5800" y="170"/>
                </a:cubicBezTo>
                <a:cubicBezTo>
                  <a:pt x="5797" y="172"/>
                  <a:pt x="5796" y="174"/>
                  <a:pt x="5796" y="175"/>
                </a:cubicBezTo>
                <a:lnTo>
                  <a:pt x="5796" y="175"/>
                </a:lnTo>
                <a:cubicBezTo>
                  <a:pt x="5797" y="175"/>
                  <a:pt x="5797" y="175"/>
                  <a:pt x="5797" y="176"/>
                </a:cubicBezTo>
                <a:lnTo>
                  <a:pt x="5796" y="178"/>
                </a:lnTo>
                <a:lnTo>
                  <a:pt x="5795" y="178"/>
                </a:lnTo>
                <a:close/>
                <a:moveTo>
                  <a:pt x="5800" y="193"/>
                </a:moveTo>
                <a:cubicBezTo>
                  <a:pt x="5801" y="193"/>
                  <a:pt x="5802" y="192"/>
                  <a:pt x="5804" y="189"/>
                </a:cubicBezTo>
                <a:lnTo>
                  <a:pt x="5806" y="187"/>
                </a:lnTo>
                <a:lnTo>
                  <a:pt x="5806" y="186"/>
                </a:lnTo>
                <a:lnTo>
                  <a:pt x="5803" y="188"/>
                </a:lnTo>
                <a:cubicBezTo>
                  <a:pt x="5800" y="191"/>
                  <a:pt x="5799" y="192"/>
                  <a:pt x="5799" y="193"/>
                </a:cubicBezTo>
                <a:cubicBezTo>
                  <a:pt x="5799" y="193"/>
                  <a:pt x="5799" y="193"/>
                  <a:pt x="5800" y="193"/>
                </a:cubicBezTo>
                <a:close/>
                <a:moveTo>
                  <a:pt x="5784" y="221"/>
                </a:moveTo>
                <a:cubicBezTo>
                  <a:pt x="5785" y="221"/>
                  <a:pt x="5785" y="220"/>
                  <a:pt x="5785" y="220"/>
                </a:cubicBezTo>
                <a:cubicBezTo>
                  <a:pt x="5786" y="219"/>
                  <a:pt x="5787" y="218"/>
                  <a:pt x="5788" y="216"/>
                </a:cubicBezTo>
                <a:cubicBezTo>
                  <a:pt x="5788" y="214"/>
                  <a:pt x="5790" y="213"/>
                  <a:pt x="5790" y="210"/>
                </a:cubicBezTo>
                <a:cubicBezTo>
                  <a:pt x="5791" y="209"/>
                  <a:pt x="5792" y="207"/>
                  <a:pt x="5793" y="205"/>
                </a:cubicBezTo>
                <a:cubicBezTo>
                  <a:pt x="5794" y="204"/>
                  <a:pt x="5794" y="203"/>
                  <a:pt x="5794" y="202"/>
                </a:cubicBezTo>
                <a:cubicBezTo>
                  <a:pt x="5793" y="202"/>
                  <a:pt x="5792" y="205"/>
                  <a:pt x="5789" y="210"/>
                </a:cubicBezTo>
                <a:cubicBezTo>
                  <a:pt x="5786" y="215"/>
                  <a:pt x="5784" y="218"/>
                  <a:pt x="5784" y="220"/>
                </a:cubicBezTo>
                <a:lnTo>
                  <a:pt x="5784" y="221"/>
                </a:lnTo>
                <a:close/>
                <a:moveTo>
                  <a:pt x="5776" y="209"/>
                </a:moveTo>
                <a:lnTo>
                  <a:pt x="5781" y="203"/>
                </a:lnTo>
                <a:cubicBezTo>
                  <a:pt x="5788" y="193"/>
                  <a:pt x="5791" y="187"/>
                  <a:pt x="5791" y="185"/>
                </a:cubicBezTo>
                <a:lnTo>
                  <a:pt x="5791" y="185"/>
                </a:lnTo>
                <a:lnTo>
                  <a:pt x="5786" y="190"/>
                </a:lnTo>
                <a:cubicBezTo>
                  <a:pt x="5782" y="195"/>
                  <a:pt x="5780" y="198"/>
                  <a:pt x="5780" y="198"/>
                </a:cubicBezTo>
                <a:cubicBezTo>
                  <a:pt x="5780" y="198"/>
                  <a:pt x="5780" y="201"/>
                  <a:pt x="5778" y="205"/>
                </a:cubicBezTo>
                <a:lnTo>
                  <a:pt x="5776" y="209"/>
                </a:lnTo>
                <a:close/>
                <a:moveTo>
                  <a:pt x="5764" y="230"/>
                </a:moveTo>
                <a:cubicBezTo>
                  <a:pt x="5764" y="230"/>
                  <a:pt x="5766" y="227"/>
                  <a:pt x="5770" y="220"/>
                </a:cubicBezTo>
                <a:cubicBezTo>
                  <a:pt x="5773" y="216"/>
                  <a:pt x="5774" y="213"/>
                  <a:pt x="5774" y="212"/>
                </a:cubicBezTo>
                <a:lnTo>
                  <a:pt x="5774" y="211"/>
                </a:lnTo>
                <a:cubicBezTo>
                  <a:pt x="5772" y="211"/>
                  <a:pt x="5771" y="213"/>
                  <a:pt x="5769" y="217"/>
                </a:cubicBezTo>
                <a:cubicBezTo>
                  <a:pt x="5767" y="221"/>
                  <a:pt x="5766" y="223"/>
                  <a:pt x="5765" y="223"/>
                </a:cubicBezTo>
                <a:cubicBezTo>
                  <a:pt x="5764" y="223"/>
                  <a:pt x="5763" y="224"/>
                  <a:pt x="5763" y="227"/>
                </a:cubicBezTo>
                <a:cubicBezTo>
                  <a:pt x="5763" y="228"/>
                  <a:pt x="5763" y="229"/>
                  <a:pt x="5764" y="230"/>
                </a:cubicBezTo>
                <a:close/>
                <a:moveTo>
                  <a:pt x="5755" y="243"/>
                </a:moveTo>
                <a:cubicBezTo>
                  <a:pt x="5757" y="242"/>
                  <a:pt x="5759" y="240"/>
                  <a:pt x="5760" y="237"/>
                </a:cubicBezTo>
                <a:cubicBezTo>
                  <a:pt x="5761" y="235"/>
                  <a:pt x="5762" y="233"/>
                  <a:pt x="5762" y="233"/>
                </a:cubicBezTo>
                <a:lnTo>
                  <a:pt x="5762" y="232"/>
                </a:lnTo>
                <a:cubicBezTo>
                  <a:pt x="5761" y="232"/>
                  <a:pt x="5759" y="234"/>
                  <a:pt x="5757" y="238"/>
                </a:cubicBezTo>
                <a:cubicBezTo>
                  <a:pt x="5756" y="240"/>
                  <a:pt x="5755" y="242"/>
                  <a:pt x="5755" y="242"/>
                </a:cubicBezTo>
                <a:lnTo>
                  <a:pt x="5755" y="243"/>
                </a:lnTo>
                <a:close/>
                <a:moveTo>
                  <a:pt x="5746" y="286"/>
                </a:moveTo>
                <a:lnTo>
                  <a:pt x="5749" y="283"/>
                </a:lnTo>
                <a:cubicBezTo>
                  <a:pt x="5750" y="281"/>
                  <a:pt x="5751" y="279"/>
                  <a:pt x="5752" y="278"/>
                </a:cubicBezTo>
                <a:cubicBezTo>
                  <a:pt x="5753" y="276"/>
                  <a:pt x="5753" y="275"/>
                  <a:pt x="5753" y="275"/>
                </a:cubicBezTo>
                <a:lnTo>
                  <a:pt x="5753" y="274"/>
                </a:lnTo>
                <a:cubicBezTo>
                  <a:pt x="5753" y="274"/>
                  <a:pt x="5753" y="274"/>
                  <a:pt x="5753" y="274"/>
                </a:cubicBezTo>
                <a:cubicBezTo>
                  <a:pt x="5752" y="274"/>
                  <a:pt x="5750" y="277"/>
                  <a:pt x="5747" y="284"/>
                </a:cubicBezTo>
                <a:lnTo>
                  <a:pt x="5746" y="286"/>
                </a:lnTo>
                <a:close/>
                <a:moveTo>
                  <a:pt x="5717" y="301"/>
                </a:moveTo>
                <a:cubicBezTo>
                  <a:pt x="5718" y="301"/>
                  <a:pt x="5719" y="300"/>
                  <a:pt x="5719" y="297"/>
                </a:cubicBezTo>
                <a:lnTo>
                  <a:pt x="5720" y="296"/>
                </a:lnTo>
                <a:cubicBezTo>
                  <a:pt x="5720" y="295"/>
                  <a:pt x="5720" y="295"/>
                  <a:pt x="5719" y="295"/>
                </a:cubicBezTo>
                <a:lnTo>
                  <a:pt x="5719" y="295"/>
                </a:lnTo>
                <a:cubicBezTo>
                  <a:pt x="5717" y="296"/>
                  <a:pt x="5717" y="297"/>
                  <a:pt x="5717" y="299"/>
                </a:cubicBezTo>
                <a:cubicBezTo>
                  <a:pt x="5717" y="300"/>
                  <a:pt x="5717" y="301"/>
                  <a:pt x="5717" y="301"/>
                </a:cubicBezTo>
                <a:close/>
                <a:moveTo>
                  <a:pt x="5702" y="333"/>
                </a:moveTo>
                <a:cubicBezTo>
                  <a:pt x="5702" y="333"/>
                  <a:pt x="5703" y="332"/>
                  <a:pt x="5703" y="331"/>
                </a:cubicBezTo>
                <a:cubicBezTo>
                  <a:pt x="5704" y="330"/>
                  <a:pt x="5704" y="330"/>
                  <a:pt x="5705" y="330"/>
                </a:cubicBezTo>
                <a:lnTo>
                  <a:pt x="5708" y="330"/>
                </a:lnTo>
                <a:lnTo>
                  <a:pt x="5707" y="328"/>
                </a:lnTo>
                <a:cubicBezTo>
                  <a:pt x="5707" y="326"/>
                  <a:pt x="5707" y="324"/>
                  <a:pt x="5708" y="321"/>
                </a:cubicBezTo>
                <a:cubicBezTo>
                  <a:pt x="5709" y="319"/>
                  <a:pt x="5710" y="316"/>
                  <a:pt x="5711" y="314"/>
                </a:cubicBezTo>
                <a:cubicBezTo>
                  <a:pt x="5713" y="312"/>
                  <a:pt x="5714" y="311"/>
                  <a:pt x="5714" y="311"/>
                </a:cubicBezTo>
                <a:lnTo>
                  <a:pt x="5715" y="311"/>
                </a:lnTo>
                <a:cubicBezTo>
                  <a:pt x="5716" y="311"/>
                  <a:pt x="5716" y="311"/>
                  <a:pt x="5716" y="311"/>
                </a:cubicBezTo>
                <a:cubicBezTo>
                  <a:pt x="5716" y="310"/>
                  <a:pt x="5715" y="309"/>
                  <a:pt x="5715" y="308"/>
                </a:cubicBezTo>
                <a:cubicBezTo>
                  <a:pt x="5714" y="307"/>
                  <a:pt x="5714" y="306"/>
                  <a:pt x="5714" y="306"/>
                </a:cubicBezTo>
                <a:cubicBezTo>
                  <a:pt x="5713" y="306"/>
                  <a:pt x="5712" y="308"/>
                  <a:pt x="5711" y="310"/>
                </a:cubicBezTo>
                <a:cubicBezTo>
                  <a:pt x="5709" y="313"/>
                  <a:pt x="5708" y="314"/>
                  <a:pt x="5708" y="315"/>
                </a:cubicBezTo>
                <a:cubicBezTo>
                  <a:pt x="5707" y="316"/>
                  <a:pt x="5706" y="316"/>
                  <a:pt x="5706" y="317"/>
                </a:cubicBezTo>
                <a:lnTo>
                  <a:pt x="5707" y="318"/>
                </a:lnTo>
                <a:cubicBezTo>
                  <a:pt x="5707" y="318"/>
                  <a:pt x="5706" y="321"/>
                  <a:pt x="5705" y="324"/>
                </a:cubicBezTo>
                <a:cubicBezTo>
                  <a:pt x="5703" y="328"/>
                  <a:pt x="5702" y="330"/>
                  <a:pt x="5702" y="332"/>
                </a:cubicBezTo>
                <a:lnTo>
                  <a:pt x="5702" y="333"/>
                </a:lnTo>
                <a:close/>
                <a:moveTo>
                  <a:pt x="5702" y="383"/>
                </a:moveTo>
                <a:cubicBezTo>
                  <a:pt x="5703" y="383"/>
                  <a:pt x="5703" y="383"/>
                  <a:pt x="5704" y="382"/>
                </a:cubicBezTo>
                <a:cubicBezTo>
                  <a:pt x="5705" y="381"/>
                  <a:pt x="5705" y="380"/>
                  <a:pt x="5705" y="380"/>
                </a:cubicBezTo>
                <a:cubicBezTo>
                  <a:pt x="5705" y="379"/>
                  <a:pt x="5704" y="379"/>
                  <a:pt x="5704" y="379"/>
                </a:cubicBezTo>
                <a:cubicBezTo>
                  <a:pt x="5702" y="379"/>
                  <a:pt x="5702" y="380"/>
                  <a:pt x="5701" y="381"/>
                </a:cubicBezTo>
                <a:cubicBezTo>
                  <a:pt x="5701" y="383"/>
                  <a:pt x="5702" y="383"/>
                  <a:pt x="5702" y="383"/>
                </a:cubicBezTo>
                <a:close/>
                <a:moveTo>
                  <a:pt x="5695" y="420"/>
                </a:moveTo>
                <a:cubicBezTo>
                  <a:pt x="5697" y="420"/>
                  <a:pt x="5704" y="413"/>
                  <a:pt x="5716" y="400"/>
                </a:cubicBezTo>
                <a:lnTo>
                  <a:pt x="5721" y="396"/>
                </a:lnTo>
                <a:cubicBezTo>
                  <a:pt x="5733" y="383"/>
                  <a:pt x="5741" y="376"/>
                  <a:pt x="5743" y="376"/>
                </a:cubicBezTo>
                <a:cubicBezTo>
                  <a:pt x="5744" y="376"/>
                  <a:pt x="5745" y="377"/>
                  <a:pt x="5745" y="379"/>
                </a:cubicBezTo>
                <a:cubicBezTo>
                  <a:pt x="5745" y="379"/>
                  <a:pt x="5745" y="380"/>
                  <a:pt x="5744" y="381"/>
                </a:cubicBezTo>
                <a:cubicBezTo>
                  <a:pt x="5743" y="382"/>
                  <a:pt x="5742" y="384"/>
                  <a:pt x="5741" y="385"/>
                </a:cubicBezTo>
                <a:cubicBezTo>
                  <a:pt x="5740" y="387"/>
                  <a:pt x="5739" y="388"/>
                  <a:pt x="5739" y="388"/>
                </a:cubicBezTo>
                <a:lnTo>
                  <a:pt x="5740" y="379"/>
                </a:lnTo>
                <a:cubicBezTo>
                  <a:pt x="5740" y="379"/>
                  <a:pt x="5739" y="380"/>
                  <a:pt x="5738" y="382"/>
                </a:cubicBezTo>
                <a:cubicBezTo>
                  <a:pt x="5738" y="383"/>
                  <a:pt x="5737" y="385"/>
                  <a:pt x="5736" y="386"/>
                </a:cubicBezTo>
                <a:cubicBezTo>
                  <a:pt x="5735" y="387"/>
                  <a:pt x="5734" y="388"/>
                  <a:pt x="5733" y="389"/>
                </a:cubicBezTo>
                <a:cubicBezTo>
                  <a:pt x="5732" y="389"/>
                  <a:pt x="5732" y="389"/>
                  <a:pt x="5732" y="390"/>
                </a:cubicBezTo>
                <a:cubicBezTo>
                  <a:pt x="5732" y="390"/>
                  <a:pt x="5732" y="390"/>
                  <a:pt x="5733" y="390"/>
                </a:cubicBezTo>
                <a:cubicBezTo>
                  <a:pt x="5734" y="390"/>
                  <a:pt x="5734" y="391"/>
                  <a:pt x="5734" y="391"/>
                </a:cubicBezTo>
                <a:cubicBezTo>
                  <a:pt x="5734" y="393"/>
                  <a:pt x="5731" y="398"/>
                  <a:pt x="5723" y="406"/>
                </a:cubicBezTo>
                <a:lnTo>
                  <a:pt x="5720" y="409"/>
                </a:lnTo>
                <a:cubicBezTo>
                  <a:pt x="5720" y="409"/>
                  <a:pt x="5726" y="404"/>
                  <a:pt x="5736" y="393"/>
                </a:cubicBezTo>
                <a:cubicBezTo>
                  <a:pt x="5764" y="363"/>
                  <a:pt x="5784" y="340"/>
                  <a:pt x="5796" y="324"/>
                </a:cubicBezTo>
                <a:lnTo>
                  <a:pt x="5800" y="320"/>
                </a:lnTo>
                <a:cubicBezTo>
                  <a:pt x="5805" y="313"/>
                  <a:pt x="5813" y="303"/>
                  <a:pt x="5822" y="290"/>
                </a:cubicBezTo>
                <a:cubicBezTo>
                  <a:pt x="5845" y="257"/>
                  <a:pt x="5857" y="238"/>
                  <a:pt x="5857" y="235"/>
                </a:cubicBezTo>
                <a:cubicBezTo>
                  <a:pt x="5857" y="235"/>
                  <a:pt x="5856" y="235"/>
                  <a:pt x="5855" y="235"/>
                </a:cubicBezTo>
                <a:cubicBezTo>
                  <a:pt x="5855" y="235"/>
                  <a:pt x="5854" y="235"/>
                  <a:pt x="5854" y="236"/>
                </a:cubicBezTo>
                <a:cubicBezTo>
                  <a:pt x="5853" y="237"/>
                  <a:pt x="5852" y="237"/>
                  <a:pt x="5852" y="238"/>
                </a:cubicBezTo>
                <a:lnTo>
                  <a:pt x="5853" y="240"/>
                </a:lnTo>
                <a:cubicBezTo>
                  <a:pt x="5853" y="241"/>
                  <a:pt x="5852" y="241"/>
                  <a:pt x="5851" y="241"/>
                </a:cubicBezTo>
                <a:cubicBezTo>
                  <a:pt x="5850" y="241"/>
                  <a:pt x="5849" y="242"/>
                  <a:pt x="5849" y="244"/>
                </a:cubicBezTo>
                <a:cubicBezTo>
                  <a:pt x="5849" y="246"/>
                  <a:pt x="5849" y="247"/>
                  <a:pt x="5847" y="249"/>
                </a:cubicBezTo>
                <a:cubicBezTo>
                  <a:pt x="5845" y="250"/>
                  <a:pt x="5844" y="251"/>
                  <a:pt x="5844" y="252"/>
                </a:cubicBezTo>
                <a:lnTo>
                  <a:pt x="5844" y="254"/>
                </a:lnTo>
                <a:cubicBezTo>
                  <a:pt x="5844" y="255"/>
                  <a:pt x="5844" y="255"/>
                  <a:pt x="5842" y="255"/>
                </a:cubicBezTo>
                <a:cubicBezTo>
                  <a:pt x="5841" y="255"/>
                  <a:pt x="5841" y="256"/>
                  <a:pt x="5841" y="257"/>
                </a:cubicBezTo>
                <a:cubicBezTo>
                  <a:pt x="5841" y="259"/>
                  <a:pt x="5840" y="261"/>
                  <a:pt x="5837" y="263"/>
                </a:cubicBezTo>
                <a:cubicBezTo>
                  <a:pt x="5835" y="264"/>
                  <a:pt x="5835" y="264"/>
                  <a:pt x="5835" y="266"/>
                </a:cubicBezTo>
                <a:lnTo>
                  <a:pt x="5835" y="267"/>
                </a:lnTo>
                <a:cubicBezTo>
                  <a:pt x="5835" y="267"/>
                  <a:pt x="5834" y="269"/>
                  <a:pt x="5832" y="271"/>
                </a:cubicBezTo>
                <a:cubicBezTo>
                  <a:pt x="5830" y="273"/>
                  <a:pt x="5829" y="275"/>
                  <a:pt x="5827" y="277"/>
                </a:cubicBezTo>
                <a:cubicBezTo>
                  <a:pt x="5825" y="278"/>
                  <a:pt x="5824" y="279"/>
                  <a:pt x="5823" y="279"/>
                </a:cubicBezTo>
                <a:cubicBezTo>
                  <a:pt x="5822" y="279"/>
                  <a:pt x="5821" y="279"/>
                  <a:pt x="5821" y="280"/>
                </a:cubicBezTo>
                <a:cubicBezTo>
                  <a:pt x="5820" y="281"/>
                  <a:pt x="5820" y="281"/>
                  <a:pt x="5819" y="282"/>
                </a:cubicBezTo>
                <a:cubicBezTo>
                  <a:pt x="5819" y="283"/>
                  <a:pt x="5819" y="284"/>
                  <a:pt x="5819" y="284"/>
                </a:cubicBezTo>
                <a:lnTo>
                  <a:pt x="5819" y="285"/>
                </a:lnTo>
                <a:lnTo>
                  <a:pt x="5820" y="283"/>
                </a:lnTo>
                <a:cubicBezTo>
                  <a:pt x="5821" y="282"/>
                  <a:pt x="5822" y="281"/>
                  <a:pt x="5822" y="281"/>
                </a:cubicBezTo>
                <a:cubicBezTo>
                  <a:pt x="5823" y="281"/>
                  <a:pt x="5824" y="282"/>
                  <a:pt x="5824" y="283"/>
                </a:cubicBezTo>
                <a:cubicBezTo>
                  <a:pt x="5824" y="284"/>
                  <a:pt x="5823" y="285"/>
                  <a:pt x="5822" y="286"/>
                </a:cubicBezTo>
                <a:cubicBezTo>
                  <a:pt x="5821" y="287"/>
                  <a:pt x="5820" y="288"/>
                  <a:pt x="5818" y="289"/>
                </a:cubicBezTo>
                <a:cubicBezTo>
                  <a:pt x="5817" y="290"/>
                  <a:pt x="5815" y="290"/>
                  <a:pt x="5814" y="291"/>
                </a:cubicBezTo>
                <a:cubicBezTo>
                  <a:pt x="5813" y="291"/>
                  <a:pt x="5811" y="293"/>
                  <a:pt x="5809" y="296"/>
                </a:cubicBezTo>
                <a:cubicBezTo>
                  <a:pt x="5806" y="299"/>
                  <a:pt x="5804" y="303"/>
                  <a:pt x="5802" y="306"/>
                </a:cubicBezTo>
                <a:cubicBezTo>
                  <a:pt x="5799" y="310"/>
                  <a:pt x="5798" y="313"/>
                  <a:pt x="5798" y="314"/>
                </a:cubicBezTo>
                <a:lnTo>
                  <a:pt x="5798" y="315"/>
                </a:lnTo>
                <a:cubicBezTo>
                  <a:pt x="5798" y="316"/>
                  <a:pt x="5798" y="318"/>
                  <a:pt x="5796" y="319"/>
                </a:cubicBezTo>
                <a:cubicBezTo>
                  <a:pt x="5795" y="321"/>
                  <a:pt x="5794" y="321"/>
                  <a:pt x="5793" y="321"/>
                </a:cubicBezTo>
                <a:cubicBezTo>
                  <a:pt x="5793" y="321"/>
                  <a:pt x="5793" y="321"/>
                  <a:pt x="5793" y="321"/>
                </a:cubicBezTo>
                <a:cubicBezTo>
                  <a:pt x="5793" y="320"/>
                  <a:pt x="5793" y="320"/>
                  <a:pt x="5792" y="320"/>
                </a:cubicBezTo>
                <a:cubicBezTo>
                  <a:pt x="5792" y="320"/>
                  <a:pt x="5790" y="321"/>
                  <a:pt x="5787" y="324"/>
                </a:cubicBezTo>
                <a:cubicBezTo>
                  <a:pt x="5784" y="326"/>
                  <a:pt x="5782" y="327"/>
                  <a:pt x="5781" y="327"/>
                </a:cubicBezTo>
                <a:cubicBezTo>
                  <a:pt x="5780" y="327"/>
                  <a:pt x="5780" y="327"/>
                  <a:pt x="5780" y="326"/>
                </a:cubicBezTo>
                <a:cubicBezTo>
                  <a:pt x="5780" y="325"/>
                  <a:pt x="5780" y="324"/>
                  <a:pt x="5779" y="324"/>
                </a:cubicBezTo>
                <a:lnTo>
                  <a:pt x="5778" y="325"/>
                </a:lnTo>
                <a:cubicBezTo>
                  <a:pt x="5778" y="326"/>
                  <a:pt x="5778" y="326"/>
                  <a:pt x="5778" y="327"/>
                </a:cubicBezTo>
                <a:cubicBezTo>
                  <a:pt x="5778" y="329"/>
                  <a:pt x="5779" y="330"/>
                  <a:pt x="5781" y="330"/>
                </a:cubicBezTo>
                <a:cubicBezTo>
                  <a:pt x="5781" y="330"/>
                  <a:pt x="5782" y="329"/>
                  <a:pt x="5783" y="328"/>
                </a:cubicBezTo>
                <a:cubicBezTo>
                  <a:pt x="5784" y="328"/>
                  <a:pt x="5785" y="327"/>
                  <a:pt x="5786" y="327"/>
                </a:cubicBezTo>
                <a:cubicBezTo>
                  <a:pt x="5786" y="327"/>
                  <a:pt x="5787" y="328"/>
                  <a:pt x="5787" y="329"/>
                </a:cubicBezTo>
                <a:cubicBezTo>
                  <a:pt x="5787" y="331"/>
                  <a:pt x="5786" y="332"/>
                  <a:pt x="5785" y="333"/>
                </a:cubicBezTo>
                <a:cubicBezTo>
                  <a:pt x="5784" y="334"/>
                  <a:pt x="5783" y="335"/>
                  <a:pt x="5782" y="335"/>
                </a:cubicBezTo>
                <a:cubicBezTo>
                  <a:pt x="5782" y="335"/>
                  <a:pt x="5782" y="335"/>
                  <a:pt x="5782" y="334"/>
                </a:cubicBezTo>
                <a:cubicBezTo>
                  <a:pt x="5782" y="334"/>
                  <a:pt x="5781" y="334"/>
                  <a:pt x="5781" y="334"/>
                </a:cubicBezTo>
                <a:cubicBezTo>
                  <a:pt x="5781" y="334"/>
                  <a:pt x="5779" y="335"/>
                  <a:pt x="5777" y="336"/>
                </a:cubicBezTo>
                <a:cubicBezTo>
                  <a:pt x="5775" y="338"/>
                  <a:pt x="5773" y="339"/>
                  <a:pt x="5772" y="339"/>
                </a:cubicBezTo>
                <a:lnTo>
                  <a:pt x="5770" y="339"/>
                </a:lnTo>
                <a:cubicBezTo>
                  <a:pt x="5770" y="339"/>
                  <a:pt x="5769" y="339"/>
                  <a:pt x="5768" y="339"/>
                </a:cubicBezTo>
                <a:cubicBezTo>
                  <a:pt x="5768" y="340"/>
                  <a:pt x="5767" y="340"/>
                  <a:pt x="5767" y="341"/>
                </a:cubicBezTo>
                <a:cubicBezTo>
                  <a:pt x="5767" y="342"/>
                  <a:pt x="5767" y="342"/>
                  <a:pt x="5767" y="342"/>
                </a:cubicBezTo>
                <a:lnTo>
                  <a:pt x="5771" y="340"/>
                </a:lnTo>
                <a:cubicBezTo>
                  <a:pt x="5771" y="341"/>
                  <a:pt x="5769" y="343"/>
                  <a:pt x="5766" y="346"/>
                </a:cubicBezTo>
                <a:cubicBezTo>
                  <a:pt x="5764" y="348"/>
                  <a:pt x="5763" y="348"/>
                  <a:pt x="5763" y="348"/>
                </a:cubicBezTo>
                <a:lnTo>
                  <a:pt x="5764" y="346"/>
                </a:lnTo>
                <a:cubicBezTo>
                  <a:pt x="5766" y="344"/>
                  <a:pt x="5766" y="343"/>
                  <a:pt x="5766" y="342"/>
                </a:cubicBezTo>
                <a:cubicBezTo>
                  <a:pt x="5765" y="342"/>
                  <a:pt x="5759" y="348"/>
                  <a:pt x="5747" y="361"/>
                </a:cubicBezTo>
                <a:cubicBezTo>
                  <a:pt x="5738" y="370"/>
                  <a:pt x="5734" y="375"/>
                  <a:pt x="5733" y="375"/>
                </a:cubicBezTo>
                <a:lnTo>
                  <a:pt x="5734" y="373"/>
                </a:lnTo>
                <a:cubicBezTo>
                  <a:pt x="5735" y="372"/>
                  <a:pt x="5736" y="371"/>
                  <a:pt x="5737" y="370"/>
                </a:cubicBezTo>
                <a:cubicBezTo>
                  <a:pt x="5738" y="368"/>
                  <a:pt x="5738" y="367"/>
                  <a:pt x="5738" y="367"/>
                </a:cubicBezTo>
                <a:lnTo>
                  <a:pt x="5737" y="365"/>
                </a:lnTo>
                <a:cubicBezTo>
                  <a:pt x="5737" y="363"/>
                  <a:pt x="5738" y="362"/>
                  <a:pt x="5739" y="362"/>
                </a:cubicBezTo>
                <a:cubicBezTo>
                  <a:pt x="5741" y="360"/>
                  <a:pt x="5744" y="359"/>
                  <a:pt x="5747" y="359"/>
                </a:cubicBezTo>
                <a:cubicBezTo>
                  <a:pt x="5749" y="359"/>
                  <a:pt x="5751" y="355"/>
                  <a:pt x="5755" y="348"/>
                </a:cubicBezTo>
                <a:cubicBezTo>
                  <a:pt x="5759" y="343"/>
                  <a:pt x="5763" y="338"/>
                  <a:pt x="5767" y="333"/>
                </a:cubicBezTo>
                <a:cubicBezTo>
                  <a:pt x="5771" y="330"/>
                  <a:pt x="5773" y="327"/>
                  <a:pt x="5773" y="325"/>
                </a:cubicBezTo>
                <a:cubicBezTo>
                  <a:pt x="5773" y="323"/>
                  <a:pt x="5775" y="321"/>
                  <a:pt x="5778" y="319"/>
                </a:cubicBezTo>
                <a:cubicBezTo>
                  <a:pt x="5781" y="316"/>
                  <a:pt x="5783" y="314"/>
                  <a:pt x="5783" y="313"/>
                </a:cubicBezTo>
                <a:lnTo>
                  <a:pt x="5783" y="313"/>
                </a:lnTo>
                <a:cubicBezTo>
                  <a:pt x="5783" y="311"/>
                  <a:pt x="5785" y="308"/>
                  <a:pt x="5787" y="304"/>
                </a:cubicBezTo>
                <a:cubicBezTo>
                  <a:pt x="5790" y="301"/>
                  <a:pt x="5791" y="298"/>
                  <a:pt x="5791" y="296"/>
                </a:cubicBezTo>
                <a:lnTo>
                  <a:pt x="5790" y="294"/>
                </a:lnTo>
                <a:lnTo>
                  <a:pt x="5793" y="295"/>
                </a:lnTo>
                <a:cubicBezTo>
                  <a:pt x="5794" y="295"/>
                  <a:pt x="5796" y="294"/>
                  <a:pt x="5797" y="293"/>
                </a:cubicBezTo>
                <a:cubicBezTo>
                  <a:pt x="5798" y="291"/>
                  <a:pt x="5799" y="290"/>
                  <a:pt x="5799" y="289"/>
                </a:cubicBezTo>
                <a:lnTo>
                  <a:pt x="5798" y="287"/>
                </a:lnTo>
                <a:cubicBezTo>
                  <a:pt x="5798" y="285"/>
                  <a:pt x="5799" y="283"/>
                  <a:pt x="5801" y="281"/>
                </a:cubicBezTo>
                <a:cubicBezTo>
                  <a:pt x="5803" y="280"/>
                  <a:pt x="5805" y="279"/>
                  <a:pt x="5807" y="279"/>
                </a:cubicBezTo>
                <a:cubicBezTo>
                  <a:pt x="5809" y="279"/>
                  <a:pt x="5811" y="278"/>
                  <a:pt x="5812" y="277"/>
                </a:cubicBezTo>
                <a:cubicBezTo>
                  <a:pt x="5812" y="274"/>
                  <a:pt x="5812" y="272"/>
                  <a:pt x="5813" y="269"/>
                </a:cubicBezTo>
                <a:cubicBezTo>
                  <a:pt x="5815" y="266"/>
                  <a:pt x="5816" y="265"/>
                  <a:pt x="5817" y="265"/>
                </a:cubicBezTo>
                <a:lnTo>
                  <a:pt x="5819" y="266"/>
                </a:lnTo>
                <a:cubicBezTo>
                  <a:pt x="5820" y="266"/>
                  <a:pt x="5821" y="265"/>
                  <a:pt x="5822" y="265"/>
                </a:cubicBezTo>
                <a:cubicBezTo>
                  <a:pt x="5822" y="264"/>
                  <a:pt x="5823" y="264"/>
                  <a:pt x="5823" y="263"/>
                </a:cubicBezTo>
                <a:lnTo>
                  <a:pt x="5822" y="262"/>
                </a:lnTo>
                <a:lnTo>
                  <a:pt x="5820" y="264"/>
                </a:lnTo>
                <a:cubicBezTo>
                  <a:pt x="5819" y="264"/>
                  <a:pt x="5819" y="263"/>
                  <a:pt x="5819" y="263"/>
                </a:cubicBezTo>
                <a:cubicBezTo>
                  <a:pt x="5819" y="262"/>
                  <a:pt x="5822" y="256"/>
                  <a:pt x="5829" y="245"/>
                </a:cubicBezTo>
                <a:cubicBezTo>
                  <a:pt x="5836" y="233"/>
                  <a:pt x="5840" y="226"/>
                  <a:pt x="5842" y="224"/>
                </a:cubicBezTo>
                <a:cubicBezTo>
                  <a:pt x="5844" y="222"/>
                  <a:pt x="5845" y="220"/>
                  <a:pt x="5845" y="219"/>
                </a:cubicBezTo>
                <a:cubicBezTo>
                  <a:pt x="5845" y="217"/>
                  <a:pt x="5849" y="211"/>
                  <a:pt x="5859" y="200"/>
                </a:cubicBezTo>
                <a:cubicBezTo>
                  <a:pt x="5860" y="199"/>
                  <a:pt x="5860" y="197"/>
                  <a:pt x="5860" y="196"/>
                </a:cubicBezTo>
                <a:lnTo>
                  <a:pt x="5860" y="196"/>
                </a:lnTo>
                <a:cubicBezTo>
                  <a:pt x="5860" y="195"/>
                  <a:pt x="5861" y="193"/>
                  <a:pt x="5863" y="191"/>
                </a:cubicBezTo>
                <a:cubicBezTo>
                  <a:pt x="5864" y="188"/>
                  <a:pt x="5865" y="186"/>
                  <a:pt x="5866" y="184"/>
                </a:cubicBezTo>
                <a:cubicBezTo>
                  <a:pt x="5867" y="182"/>
                  <a:pt x="5868" y="180"/>
                  <a:pt x="5870" y="178"/>
                </a:cubicBezTo>
                <a:cubicBezTo>
                  <a:pt x="5872" y="177"/>
                  <a:pt x="5872" y="176"/>
                  <a:pt x="5872" y="176"/>
                </a:cubicBezTo>
                <a:lnTo>
                  <a:pt x="5870" y="176"/>
                </a:lnTo>
                <a:lnTo>
                  <a:pt x="5870" y="176"/>
                </a:lnTo>
                <a:cubicBezTo>
                  <a:pt x="5870" y="176"/>
                  <a:pt x="5871" y="174"/>
                  <a:pt x="5873" y="171"/>
                </a:cubicBezTo>
                <a:cubicBezTo>
                  <a:pt x="5876" y="167"/>
                  <a:pt x="5878" y="164"/>
                  <a:pt x="5878" y="162"/>
                </a:cubicBezTo>
                <a:cubicBezTo>
                  <a:pt x="5878" y="160"/>
                  <a:pt x="5879" y="157"/>
                  <a:pt x="5882" y="152"/>
                </a:cubicBezTo>
                <a:cubicBezTo>
                  <a:pt x="5884" y="146"/>
                  <a:pt x="5885" y="142"/>
                  <a:pt x="5885" y="140"/>
                </a:cubicBezTo>
                <a:lnTo>
                  <a:pt x="5885" y="137"/>
                </a:lnTo>
                <a:cubicBezTo>
                  <a:pt x="5885" y="137"/>
                  <a:pt x="5885" y="137"/>
                  <a:pt x="5885" y="137"/>
                </a:cubicBezTo>
                <a:lnTo>
                  <a:pt x="5886" y="137"/>
                </a:lnTo>
                <a:cubicBezTo>
                  <a:pt x="5887" y="137"/>
                  <a:pt x="5887" y="136"/>
                  <a:pt x="5888" y="134"/>
                </a:cubicBezTo>
                <a:cubicBezTo>
                  <a:pt x="5889" y="133"/>
                  <a:pt x="5890" y="131"/>
                  <a:pt x="5892" y="128"/>
                </a:cubicBezTo>
                <a:cubicBezTo>
                  <a:pt x="5893" y="125"/>
                  <a:pt x="5894" y="122"/>
                  <a:pt x="5895" y="119"/>
                </a:cubicBezTo>
                <a:cubicBezTo>
                  <a:pt x="5897" y="115"/>
                  <a:pt x="5898" y="113"/>
                  <a:pt x="5899" y="111"/>
                </a:cubicBezTo>
                <a:cubicBezTo>
                  <a:pt x="5899" y="109"/>
                  <a:pt x="5900" y="107"/>
                  <a:pt x="5901" y="105"/>
                </a:cubicBezTo>
                <a:cubicBezTo>
                  <a:pt x="5901" y="103"/>
                  <a:pt x="5902" y="102"/>
                  <a:pt x="5902" y="100"/>
                </a:cubicBezTo>
                <a:cubicBezTo>
                  <a:pt x="5902" y="99"/>
                  <a:pt x="5902" y="98"/>
                  <a:pt x="5903" y="98"/>
                </a:cubicBezTo>
                <a:lnTo>
                  <a:pt x="5905" y="99"/>
                </a:lnTo>
                <a:cubicBezTo>
                  <a:pt x="5905" y="98"/>
                  <a:pt x="5905" y="98"/>
                  <a:pt x="5905" y="98"/>
                </a:cubicBezTo>
                <a:cubicBezTo>
                  <a:pt x="5905" y="97"/>
                  <a:pt x="5904" y="97"/>
                  <a:pt x="5904" y="96"/>
                </a:cubicBezTo>
                <a:cubicBezTo>
                  <a:pt x="5904" y="90"/>
                  <a:pt x="5906" y="83"/>
                  <a:pt x="5910" y="76"/>
                </a:cubicBezTo>
                <a:lnTo>
                  <a:pt x="5911" y="73"/>
                </a:lnTo>
                <a:cubicBezTo>
                  <a:pt x="5909" y="73"/>
                  <a:pt x="5904" y="77"/>
                  <a:pt x="5896" y="85"/>
                </a:cubicBezTo>
                <a:cubicBezTo>
                  <a:pt x="5887" y="94"/>
                  <a:pt x="5879" y="103"/>
                  <a:pt x="5871" y="113"/>
                </a:cubicBezTo>
                <a:lnTo>
                  <a:pt x="5861" y="125"/>
                </a:lnTo>
                <a:cubicBezTo>
                  <a:pt x="5852" y="136"/>
                  <a:pt x="5843" y="149"/>
                  <a:pt x="5833" y="162"/>
                </a:cubicBezTo>
                <a:cubicBezTo>
                  <a:pt x="5824" y="176"/>
                  <a:pt x="5816" y="188"/>
                  <a:pt x="5810" y="198"/>
                </a:cubicBezTo>
                <a:cubicBezTo>
                  <a:pt x="5804" y="206"/>
                  <a:pt x="5801" y="210"/>
                  <a:pt x="5800" y="210"/>
                </a:cubicBezTo>
                <a:lnTo>
                  <a:pt x="5799" y="210"/>
                </a:lnTo>
                <a:cubicBezTo>
                  <a:pt x="5798" y="210"/>
                  <a:pt x="5798" y="211"/>
                  <a:pt x="5798" y="213"/>
                </a:cubicBezTo>
                <a:lnTo>
                  <a:pt x="5798" y="215"/>
                </a:lnTo>
                <a:cubicBezTo>
                  <a:pt x="5798" y="216"/>
                  <a:pt x="5797" y="216"/>
                  <a:pt x="5796" y="217"/>
                </a:cubicBezTo>
                <a:cubicBezTo>
                  <a:pt x="5795" y="217"/>
                  <a:pt x="5794" y="217"/>
                  <a:pt x="5793" y="218"/>
                </a:cubicBezTo>
                <a:cubicBezTo>
                  <a:pt x="5792" y="219"/>
                  <a:pt x="5791" y="220"/>
                  <a:pt x="5791" y="220"/>
                </a:cubicBezTo>
                <a:lnTo>
                  <a:pt x="5794" y="219"/>
                </a:lnTo>
                <a:cubicBezTo>
                  <a:pt x="5795" y="219"/>
                  <a:pt x="5795" y="219"/>
                  <a:pt x="5795" y="220"/>
                </a:cubicBezTo>
                <a:cubicBezTo>
                  <a:pt x="5795" y="221"/>
                  <a:pt x="5793" y="224"/>
                  <a:pt x="5791" y="228"/>
                </a:cubicBezTo>
                <a:cubicBezTo>
                  <a:pt x="5788" y="233"/>
                  <a:pt x="5786" y="235"/>
                  <a:pt x="5784" y="235"/>
                </a:cubicBezTo>
                <a:lnTo>
                  <a:pt x="5783" y="235"/>
                </a:lnTo>
                <a:cubicBezTo>
                  <a:pt x="5782" y="235"/>
                  <a:pt x="5782" y="235"/>
                  <a:pt x="5782" y="235"/>
                </a:cubicBezTo>
                <a:lnTo>
                  <a:pt x="5783" y="237"/>
                </a:lnTo>
                <a:cubicBezTo>
                  <a:pt x="5783" y="240"/>
                  <a:pt x="5778" y="250"/>
                  <a:pt x="5769" y="266"/>
                </a:cubicBezTo>
                <a:cubicBezTo>
                  <a:pt x="5761" y="280"/>
                  <a:pt x="5749" y="303"/>
                  <a:pt x="5733" y="335"/>
                </a:cubicBezTo>
                <a:cubicBezTo>
                  <a:pt x="5718" y="367"/>
                  <a:pt x="5710" y="384"/>
                  <a:pt x="5710" y="386"/>
                </a:cubicBezTo>
                <a:cubicBezTo>
                  <a:pt x="5710" y="387"/>
                  <a:pt x="5710" y="387"/>
                  <a:pt x="5711" y="387"/>
                </a:cubicBezTo>
                <a:lnTo>
                  <a:pt x="5713" y="386"/>
                </a:lnTo>
                <a:cubicBezTo>
                  <a:pt x="5714" y="386"/>
                  <a:pt x="5714" y="387"/>
                  <a:pt x="5714" y="387"/>
                </a:cubicBezTo>
                <a:cubicBezTo>
                  <a:pt x="5714" y="388"/>
                  <a:pt x="5713" y="390"/>
                  <a:pt x="5713" y="391"/>
                </a:cubicBezTo>
                <a:cubicBezTo>
                  <a:pt x="5712" y="393"/>
                  <a:pt x="5711" y="394"/>
                  <a:pt x="5710" y="396"/>
                </a:cubicBezTo>
                <a:cubicBezTo>
                  <a:pt x="5709" y="397"/>
                  <a:pt x="5708" y="397"/>
                  <a:pt x="5708" y="397"/>
                </a:cubicBezTo>
                <a:cubicBezTo>
                  <a:pt x="5708" y="397"/>
                  <a:pt x="5709" y="396"/>
                  <a:pt x="5710" y="394"/>
                </a:cubicBezTo>
                <a:cubicBezTo>
                  <a:pt x="5711" y="393"/>
                  <a:pt x="5711" y="392"/>
                  <a:pt x="5711" y="391"/>
                </a:cubicBezTo>
                <a:cubicBezTo>
                  <a:pt x="5711" y="390"/>
                  <a:pt x="5711" y="389"/>
                  <a:pt x="5709" y="389"/>
                </a:cubicBezTo>
                <a:cubicBezTo>
                  <a:pt x="5708" y="389"/>
                  <a:pt x="5707" y="390"/>
                  <a:pt x="5706" y="393"/>
                </a:cubicBezTo>
                <a:cubicBezTo>
                  <a:pt x="5704" y="398"/>
                  <a:pt x="5702" y="404"/>
                  <a:pt x="5698" y="411"/>
                </a:cubicBezTo>
                <a:cubicBezTo>
                  <a:pt x="5696" y="415"/>
                  <a:pt x="5695" y="418"/>
                  <a:pt x="5695" y="419"/>
                </a:cubicBezTo>
                <a:lnTo>
                  <a:pt x="5695" y="420"/>
                </a:lnTo>
                <a:close/>
                <a:moveTo>
                  <a:pt x="5693" y="353"/>
                </a:moveTo>
                <a:cubicBezTo>
                  <a:pt x="5694" y="353"/>
                  <a:pt x="5696" y="350"/>
                  <a:pt x="5698" y="344"/>
                </a:cubicBezTo>
                <a:cubicBezTo>
                  <a:pt x="5699" y="340"/>
                  <a:pt x="5700" y="338"/>
                  <a:pt x="5700" y="336"/>
                </a:cubicBezTo>
                <a:cubicBezTo>
                  <a:pt x="5700" y="334"/>
                  <a:pt x="5699" y="333"/>
                  <a:pt x="5698" y="333"/>
                </a:cubicBezTo>
                <a:cubicBezTo>
                  <a:pt x="5698" y="333"/>
                  <a:pt x="5698" y="333"/>
                  <a:pt x="5698" y="334"/>
                </a:cubicBezTo>
                <a:lnTo>
                  <a:pt x="5698" y="336"/>
                </a:lnTo>
                <a:cubicBezTo>
                  <a:pt x="5698" y="337"/>
                  <a:pt x="5698" y="338"/>
                  <a:pt x="5698" y="338"/>
                </a:cubicBezTo>
                <a:cubicBezTo>
                  <a:pt x="5697" y="338"/>
                  <a:pt x="5697" y="338"/>
                  <a:pt x="5696" y="338"/>
                </a:cubicBezTo>
                <a:cubicBezTo>
                  <a:pt x="5696" y="338"/>
                  <a:pt x="5696" y="340"/>
                  <a:pt x="5695" y="342"/>
                </a:cubicBezTo>
                <a:cubicBezTo>
                  <a:pt x="5695" y="345"/>
                  <a:pt x="5694" y="347"/>
                  <a:pt x="5694" y="349"/>
                </a:cubicBezTo>
                <a:cubicBezTo>
                  <a:pt x="5693" y="351"/>
                  <a:pt x="5693" y="352"/>
                  <a:pt x="5693" y="353"/>
                </a:cubicBezTo>
                <a:cubicBezTo>
                  <a:pt x="5693" y="353"/>
                  <a:pt x="5693" y="353"/>
                  <a:pt x="5693" y="353"/>
                </a:cubicBezTo>
                <a:close/>
                <a:moveTo>
                  <a:pt x="5689" y="337"/>
                </a:moveTo>
                <a:lnTo>
                  <a:pt x="5693" y="333"/>
                </a:lnTo>
                <a:cubicBezTo>
                  <a:pt x="5694" y="330"/>
                  <a:pt x="5695" y="328"/>
                  <a:pt x="5695" y="328"/>
                </a:cubicBezTo>
                <a:cubicBezTo>
                  <a:pt x="5695" y="327"/>
                  <a:pt x="5695" y="326"/>
                  <a:pt x="5695" y="326"/>
                </a:cubicBezTo>
                <a:cubicBezTo>
                  <a:pt x="5694" y="326"/>
                  <a:pt x="5693" y="328"/>
                  <a:pt x="5691" y="333"/>
                </a:cubicBezTo>
                <a:lnTo>
                  <a:pt x="5689" y="337"/>
                </a:lnTo>
                <a:close/>
                <a:moveTo>
                  <a:pt x="5672" y="402"/>
                </a:moveTo>
                <a:cubicBezTo>
                  <a:pt x="5673" y="402"/>
                  <a:pt x="5676" y="395"/>
                  <a:pt x="5682" y="382"/>
                </a:cubicBezTo>
                <a:cubicBezTo>
                  <a:pt x="5687" y="370"/>
                  <a:pt x="5690" y="363"/>
                  <a:pt x="5690" y="362"/>
                </a:cubicBezTo>
                <a:cubicBezTo>
                  <a:pt x="5690" y="362"/>
                  <a:pt x="5690" y="362"/>
                  <a:pt x="5689" y="362"/>
                </a:cubicBezTo>
                <a:lnTo>
                  <a:pt x="5688" y="362"/>
                </a:lnTo>
                <a:cubicBezTo>
                  <a:pt x="5686" y="362"/>
                  <a:pt x="5684" y="362"/>
                  <a:pt x="5684" y="363"/>
                </a:cubicBezTo>
                <a:lnTo>
                  <a:pt x="5684" y="364"/>
                </a:lnTo>
                <a:cubicBezTo>
                  <a:pt x="5684" y="367"/>
                  <a:pt x="5683" y="372"/>
                  <a:pt x="5680" y="379"/>
                </a:cubicBezTo>
                <a:cubicBezTo>
                  <a:pt x="5674" y="392"/>
                  <a:pt x="5672" y="400"/>
                  <a:pt x="5672" y="402"/>
                </a:cubicBezTo>
                <a:close/>
                <a:moveTo>
                  <a:pt x="5633" y="555"/>
                </a:moveTo>
                <a:cubicBezTo>
                  <a:pt x="5634" y="555"/>
                  <a:pt x="5634" y="554"/>
                  <a:pt x="5636" y="554"/>
                </a:cubicBezTo>
                <a:cubicBezTo>
                  <a:pt x="5637" y="553"/>
                  <a:pt x="5638" y="552"/>
                  <a:pt x="5638" y="552"/>
                </a:cubicBezTo>
                <a:lnTo>
                  <a:pt x="5638" y="551"/>
                </a:lnTo>
                <a:cubicBezTo>
                  <a:pt x="5638" y="550"/>
                  <a:pt x="5639" y="548"/>
                  <a:pt x="5640" y="547"/>
                </a:cubicBezTo>
                <a:cubicBezTo>
                  <a:pt x="5641" y="545"/>
                  <a:pt x="5642" y="544"/>
                  <a:pt x="5642" y="541"/>
                </a:cubicBezTo>
                <a:lnTo>
                  <a:pt x="5641" y="539"/>
                </a:lnTo>
                <a:cubicBezTo>
                  <a:pt x="5641" y="538"/>
                  <a:pt x="5642" y="537"/>
                  <a:pt x="5643" y="537"/>
                </a:cubicBezTo>
                <a:cubicBezTo>
                  <a:pt x="5644" y="537"/>
                  <a:pt x="5645" y="536"/>
                  <a:pt x="5645" y="534"/>
                </a:cubicBezTo>
                <a:cubicBezTo>
                  <a:pt x="5645" y="533"/>
                  <a:pt x="5655" y="506"/>
                  <a:pt x="5674" y="453"/>
                </a:cubicBezTo>
                <a:lnTo>
                  <a:pt x="5675" y="452"/>
                </a:lnTo>
                <a:cubicBezTo>
                  <a:pt x="5675" y="451"/>
                  <a:pt x="5674" y="450"/>
                  <a:pt x="5672" y="450"/>
                </a:cubicBezTo>
                <a:cubicBezTo>
                  <a:pt x="5670" y="450"/>
                  <a:pt x="5669" y="451"/>
                  <a:pt x="5669" y="452"/>
                </a:cubicBezTo>
                <a:lnTo>
                  <a:pt x="5670" y="456"/>
                </a:lnTo>
                <a:cubicBezTo>
                  <a:pt x="5670" y="456"/>
                  <a:pt x="5670" y="457"/>
                  <a:pt x="5669" y="457"/>
                </a:cubicBezTo>
                <a:cubicBezTo>
                  <a:pt x="5668" y="457"/>
                  <a:pt x="5666" y="462"/>
                  <a:pt x="5661" y="473"/>
                </a:cubicBezTo>
                <a:cubicBezTo>
                  <a:pt x="5657" y="484"/>
                  <a:pt x="5654" y="490"/>
                  <a:pt x="5654" y="492"/>
                </a:cubicBezTo>
                <a:lnTo>
                  <a:pt x="5655" y="493"/>
                </a:lnTo>
                <a:cubicBezTo>
                  <a:pt x="5655" y="494"/>
                  <a:pt x="5654" y="495"/>
                  <a:pt x="5652" y="497"/>
                </a:cubicBezTo>
                <a:cubicBezTo>
                  <a:pt x="5651" y="499"/>
                  <a:pt x="5650" y="501"/>
                  <a:pt x="5650" y="503"/>
                </a:cubicBezTo>
                <a:lnTo>
                  <a:pt x="5651" y="506"/>
                </a:lnTo>
                <a:cubicBezTo>
                  <a:pt x="5651" y="507"/>
                  <a:pt x="5650" y="507"/>
                  <a:pt x="5649" y="507"/>
                </a:cubicBezTo>
                <a:cubicBezTo>
                  <a:pt x="5648" y="507"/>
                  <a:pt x="5647" y="510"/>
                  <a:pt x="5645" y="516"/>
                </a:cubicBezTo>
                <a:cubicBezTo>
                  <a:pt x="5643" y="522"/>
                  <a:pt x="5641" y="525"/>
                  <a:pt x="5639" y="525"/>
                </a:cubicBezTo>
                <a:lnTo>
                  <a:pt x="5638" y="524"/>
                </a:lnTo>
                <a:lnTo>
                  <a:pt x="5637" y="525"/>
                </a:lnTo>
                <a:cubicBezTo>
                  <a:pt x="5637" y="526"/>
                  <a:pt x="5637" y="527"/>
                  <a:pt x="5638" y="528"/>
                </a:cubicBezTo>
                <a:cubicBezTo>
                  <a:pt x="5639" y="529"/>
                  <a:pt x="5639" y="530"/>
                  <a:pt x="5639" y="532"/>
                </a:cubicBezTo>
                <a:cubicBezTo>
                  <a:pt x="5639" y="535"/>
                  <a:pt x="5637" y="537"/>
                  <a:pt x="5634" y="537"/>
                </a:cubicBezTo>
                <a:cubicBezTo>
                  <a:pt x="5633" y="537"/>
                  <a:pt x="5632" y="537"/>
                  <a:pt x="5632" y="537"/>
                </a:cubicBezTo>
                <a:cubicBezTo>
                  <a:pt x="5632" y="538"/>
                  <a:pt x="5633" y="538"/>
                  <a:pt x="5634" y="539"/>
                </a:cubicBezTo>
                <a:cubicBezTo>
                  <a:pt x="5635" y="540"/>
                  <a:pt x="5635" y="541"/>
                  <a:pt x="5635" y="542"/>
                </a:cubicBezTo>
                <a:cubicBezTo>
                  <a:pt x="5635" y="544"/>
                  <a:pt x="5635" y="545"/>
                  <a:pt x="5634" y="547"/>
                </a:cubicBezTo>
                <a:cubicBezTo>
                  <a:pt x="5633" y="551"/>
                  <a:pt x="5632" y="553"/>
                  <a:pt x="5632" y="554"/>
                </a:cubicBezTo>
                <a:cubicBezTo>
                  <a:pt x="5632" y="554"/>
                  <a:pt x="5632" y="555"/>
                  <a:pt x="5633" y="555"/>
                </a:cubicBezTo>
                <a:close/>
                <a:moveTo>
                  <a:pt x="5626" y="521"/>
                </a:moveTo>
                <a:cubicBezTo>
                  <a:pt x="5626" y="521"/>
                  <a:pt x="5631" y="509"/>
                  <a:pt x="5641" y="485"/>
                </a:cubicBezTo>
                <a:cubicBezTo>
                  <a:pt x="5649" y="464"/>
                  <a:pt x="5653" y="452"/>
                  <a:pt x="5653" y="448"/>
                </a:cubicBezTo>
                <a:cubicBezTo>
                  <a:pt x="5652" y="449"/>
                  <a:pt x="5647" y="461"/>
                  <a:pt x="5638" y="483"/>
                </a:cubicBezTo>
                <a:cubicBezTo>
                  <a:pt x="5630" y="506"/>
                  <a:pt x="5625" y="518"/>
                  <a:pt x="5625" y="520"/>
                </a:cubicBezTo>
                <a:cubicBezTo>
                  <a:pt x="5625" y="520"/>
                  <a:pt x="5625" y="521"/>
                  <a:pt x="5626" y="521"/>
                </a:cubicBezTo>
                <a:close/>
                <a:moveTo>
                  <a:pt x="5604" y="537"/>
                </a:moveTo>
                <a:cubicBezTo>
                  <a:pt x="5604" y="537"/>
                  <a:pt x="5610" y="524"/>
                  <a:pt x="5620" y="498"/>
                </a:cubicBezTo>
                <a:cubicBezTo>
                  <a:pt x="5629" y="476"/>
                  <a:pt x="5635" y="460"/>
                  <a:pt x="5639" y="452"/>
                </a:cubicBezTo>
                <a:cubicBezTo>
                  <a:pt x="5643" y="443"/>
                  <a:pt x="5645" y="437"/>
                  <a:pt x="5645" y="433"/>
                </a:cubicBezTo>
                <a:cubicBezTo>
                  <a:pt x="5645" y="431"/>
                  <a:pt x="5645" y="430"/>
                  <a:pt x="5644" y="430"/>
                </a:cubicBezTo>
                <a:cubicBezTo>
                  <a:pt x="5643" y="430"/>
                  <a:pt x="5639" y="437"/>
                  <a:pt x="5635" y="451"/>
                </a:cubicBezTo>
                <a:cubicBezTo>
                  <a:pt x="5614" y="505"/>
                  <a:pt x="5604" y="533"/>
                  <a:pt x="5604" y="536"/>
                </a:cubicBezTo>
                <a:cubicBezTo>
                  <a:pt x="5604" y="537"/>
                  <a:pt x="5604" y="537"/>
                  <a:pt x="5604" y="537"/>
                </a:cubicBezTo>
                <a:close/>
                <a:moveTo>
                  <a:pt x="5606" y="577"/>
                </a:moveTo>
                <a:cubicBezTo>
                  <a:pt x="5606" y="577"/>
                  <a:pt x="5609" y="572"/>
                  <a:pt x="5613" y="563"/>
                </a:cubicBezTo>
                <a:cubicBezTo>
                  <a:pt x="5617" y="552"/>
                  <a:pt x="5619" y="546"/>
                  <a:pt x="5619" y="544"/>
                </a:cubicBezTo>
                <a:lnTo>
                  <a:pt x="5619" y="544"/>
                </a:lnTo>
                <a:cubicBezTo>
                  <a:pt x="5617" y="544"/>
                  <a:pt x="5615" y="549"/>
                  <a:pt x="5612" y="558"/>
                </a:cubicBezTo>
                <a:cubicBezTo>
                  <a:pt x="5608" y="569"/>
                  <a:pt x="5606" y="575"/>
                  <a:pt x="5606" y="577"/>
                </a:cubicBezTo>
                <a:close/>
                <a:moveTo>
                  <a:pt x="5603" y="589"/>
                </a:moveTo>
                <a:cubicBezTo>
                  <a:pt x="5603" y="589"/>
                  <a:pt x="5604" y="588"/>
                  <a:pt x="5604" y="588"/>
                </a:cubicBezTo>
                <a:cubicBezTo>
                  <a:pt x="5605" y="587"/>
                  <a:pt x="5605" y="585"/>
                  <a:pt x="5605" y="584"/>
                </a:cubicBezTo>
                <a:cubicBezTo>
                  <a:pt x="5605" y="583"/>
                  <a:pt x="5605" y="582"/>
                  <a:pt x="5605" y="582"/>
                </a:cubicBezTo>
                <a:cubicBezTo>
                  <a:pt x="5604" y="582"/>
                  <a:pt x="5604" y="583"/>
                  <a:pt x="5603" y="585"/>
                </a:cubicBezTo>
                <a:lnTo>
                  <a:pt x="5603" y="589"/>
                </a:lnTo>
                <a:close/>
                <a:moveTo>
                  <a:pt x="5582" y="730"/>
                </a:moveTo>
                <a:cubicBezTo>
                  <a:pt x="5584" y="730"/>
                  <a:pt x="5586" y="722"/>
                  <a:pt x="5590" y="707"/>
                </a:cubicBezTo>
                <a:cubicBezTo>
                  <a:pt x="5591" y="700"/>
                  <a:pt x="5595" y="687"/>
                  <a:pt x="5600" y="668"/>
                </a:cubicBezTo>
                <a:cubicBezTo>
                  <a:pt x="5615" y="620"/>
                  <a:pt x="5624" y="592"/>
                  <a:pt x="5627" y="583"/>
                </a:cubicBezTo>
                <a:cubicBezTo>
                  <a:pt x="5628" y="581"/>
                  <a:pt x="5629" y="580"/>
                  <a:pt x="5629" y="579"/>
                </a:cubicBezTo>
                <a:cubicBezTo>
                  <a:pt x="5629" y="578"/>
                  <a:pt x="5628" y="578"/>
                  <a:pt x="5627" y="577"/>
                </a:cubicBezTo>
                <a:cubicBezTo>
                  <a:pt x="5625" y="576"/>
                  <a:pt x="5622" y="575"/>
                  <a:pt x="5621" y="575"/>
                </a:cubicBezTo>
                <a:cubicBezTo>
                  <a:pt x="5619" y="575"/>
                  <a:pt x="5619" y="575"/>
                  <a:pt x="5619" y="576"/>
                </a:cubicBezTo>
                <a:cubicBezTo>
                  <a:pt x="5619" y="577"/>
                  <a:pt x="5619" y="579"/>
                  <a:pt x="5621" y="580"/>
                </a:cubicBezTo>
                <a:lnTo>
                  <a:pt x="5623" y="583"/>
                </a:lnTo>
                <a:lnTo>
                  <a:pt x="5623" y="583"/>
                </a:lnTo>
                <a:lnTo>
                  <a:pt x="5619" y="581"/>
                </a:lnTo>
                <a:cubicBezTo>
                  <a:pt x="5619" y="581"/>
                  <a:pt x="5619" y="581"/>
                  <a:pt x="5619" y="582"/>
                </a:cubicBezTo>
                <a:lnTo>
                  <a:pt x="5619" y="584"/>
                </a:lnTo>
                <a:cubicBezTo>
                  <a:pt x="5619" y="586"/>
                  <a:pt x="5619" y="589"/>
                  <a:pt x="5617" y="591"/>
                </a:cubicBezTo>
                <a:cubicBezTo>
                  <a:pt x="5614" y="594"/>
                  <a:pt x="5612" y="600"/>
                  <a:pt x="5609" y="610"/>
                </a:cubicBezTo>
                <a:lnTo>
                  <a:pt x="5604" y="632"/>
                </a:lnTo>
                <a:cubicBezTo>
                  <a:pt x="5604" y="633"/>
                  <a:pt x="5603" y="635"/>
                  <a:pt x="5602" y="639"/>
                </a:cubicBezTo>
                <a:cubicBezTo>
                  <a:pt x="5600" y="644"/>
                  <a:pt x="5599" y="647"/>
                  <a:pt x="5599" y="648"/>
                </a:cubicBezTo>
                <a:cubicBezTo>
                  <a:pt x="5599" y="648"/>
                  <a:pt x="5599" y="648"/>
                  <a:pt x="5599" y="648"/>
                </a:cubicBezTo>
                <a:lnTo>
                  <a:pt x="5602" y="647"/>
                </a:lnTo>
                <a:lnTo>
                  <a:pt x="5602" y="648"/>
                </a:lnTo>
                <a:lnTo>
                  <a:pt x="5600" y="650"/>
                </a:lnTo>
                <a:cubicBezTo>
                  <a:pt x="5599" y="651"/>
                  <a:pt x="5598" y="653"/>
                  <a:pt x="5598" y="656"/>
                </a:cubicBezTo>
                <a:lnTo>
                  <a:pt x="5598" y="659"/>
                </a:lnTo>
                <a:cubicBezTo>
                  <a:pt x="5598" y="660"/>
                  <a:pt x="5598" y="661"/>
                  <a:pt x="5597" y="661"/>
                </a:cubicBezTo>
                <a:cubicBezTo>
                  <a:pt x="5596" y="661"/>
                  <a:pt x="5595" y="664"/>
                  <a:pt x="5595" y="669"/>
                </a:cubicBezTo>
                <a:cubicBezTo>
                  <a:pt x="5594" y="672"/>
                  <a:pt x="5593" y="680"/>
                  <a:pt x="5590" y="693"/>
                </a:cubicBezTo>
                <a:lnTo>
                  <a:pt x="5588" y="702"/>
                </a:lnTo>
                <a:cubicBezTo>
                  <a:pt x="5584" y="717"/>
                  <a:pt x="5582" y="726"/>
                  <a:pt x="5582" y="728"/>
                </a:cubicBezTo>
                <a:cubicBezTo>
                  <a:pt x="5582" y="729"/>
                  <a:pt x="5582" y="730"/>
                  <a:pt x="5582" y="730"/>
                </a:cubicBezTo>
                <a:close/>
                <a:moveTo>
                  <a:pt x="5578" y="752"/>
                </a:moveTo>
                <a:cubicBezTo>
                  <a:pt x="5579" y="752"/>
                  <a:pt x="5579" y="750"/>
                  <a:pt x="5580" y="747"/>
                </a:cubicBezTo>
                <a:cubicBezTo>
                  <a:pt x="5581" y="742"/>
                  <a:pt x="5582" y="738"/>
                  <a:pt x="5582" y="736"/>
                </a:cubicBezTo>
                <a:cubicBezTo>
                  <a:pt x="5582" y="734"/>
                  <a:pt x="5581" y="733"/>
                  <a:pt x="5581" y="733"/>
                </a:cubicBezTo>
                <a:cubicBezTo>
                  <a:pt x="5581" y="733"/>
                  <a:pt x="5580" y="734"/>
                  <a:pt x="5580" y="737"/>
                </a:cubicBezTo>
                <a:cubicBezTo>
                  <a:pt x="5579" y="740"/>
                  <a:pt x="5578" y="743"/>
                  <a:pt x="5578" y="748"/>
                </a:cubicBezTo>
                <a:lnTo>
                  <a:pt x="5578" y="752"/>
                </a:lnTo>
                <a:close/>
                <a:moveTo>
                  <a:pt x="5577" y="761"/>
                </a:moveTo>
                <a:cubicBezTo>
                  <a:pt x="5577" y="761"/>
                  <a:pt x="5577" y="760"/>
                  <a:pt x="5577" y="759"/>
                </a:cubicBezTo>
                <a:lnTo>
                  <a:pt x="5577" y="757"/>
                </a:lnTo>
                <a:lnTo>
                  <a:pt x="5576" y="756"/>
                </a:lnTo>
                <a:cubicBezTo>
                  <a:pt x="5576" y="756"/>
                  <a:pt x="5576" y="757"/>
                  <a:pt x="5575" y="758"/>
                </a:cubicBezTo>
                <a:cubicBezTo>
                  <a:pt x="5575" y="760"/>
                  <a:pt x="5576" y="761"/>
                  <a:pt x="5576" y="761"/>
                </a:cubicBezTo>
                <a:lnTo>
                  <a:pt x="5577" y="761"/>
                </a:lnTo>
                <a:close/>
                <a:moveTo>
                  <a:pt x="5754" y="368"/>
                </a:moveTo>
                <a:cubicBezTo>
                  <a:pt x="5754" y="368"/>
                  <a:pt x="5753" y="367"/>
                  <a:pt x="5753" y="367"/>
                </a:cubicBezTo>
                <a:cubicBezTo>
                  <a:pt x="5753" y="366"/>
                  <a:pt x="5754" y="366"/>
                  <a:pt x="5755" y="365"/>
                </a:cubicBezTo>
                <a:cubicBezTo>
                  <a:pt x="5756" y="364"/>
                  <a:pt x="5756" y="363"/>
                  <a:pt x="5758" y="362"/>
                </a:cubicBezTo>
                <a:lnTo>
                  <a:pt x="5760" y="360"/>
                </a:lnTo>
                <a:lnTo>
                  <a:pt x="5760" y="360"/>
                </a:lnTo>
                <a:lnTo>
                  <a:pt x="5758" y="364"/>
                </a:lnTo>
                <a:cubicBezTo>
                  <a:pt x="5756" y="366"/>
                  <a:pt x="5755" y="368"/>
                  <a:pt x="5754" y="368"/>
                </a:cubicBezTo>
                <a:close/>
                <a:moveTo>
                  <a:pt x="5728" y="371"/>
                </a:moveTo>
                <a:close/>
                <a:moveTo>
                  <a:pt x="5753" y="367"/>
                </a:moveTo>
                <a:close/>
                <a:moveTo>
                  <a:pt x="5758" y="357"/>
                </a:moveTo>
                <a:close/>
                <a:moveTo>
                  <a:pt x="5758" y="359"/>
                </a:moveTo>
                <a:cubicBezTo>
                  <a:pt x="5758" y="359"/>
                  <a:pt x="5758" y="358"/>
                  <a:pt x="5758" y="357"/>
                </a:cubicBezTo>
                <a:cubicBezTo>
                  <a:pt x="5758" y="357"/>
                  <a:pt x="5758" y="357"/>
                  <a:pt x="5759" y="356"/>
                </a:cubicBezTo>
                <a:cubicBezTo>
                  <a:pt x="5760" y="355"/>
                  <a:pt x="5761" y="354"/>
                  <a:pt x="5762" y="353"/>
                </a:cubicBezTo>
                <a:lnTo>
                  <a:pt x="5764" y="351"/>
                </a:lnTo>
                <a:lnTo>
                  <a:pt x="5765" y="351"/>
                </a:lnTo>
                <a:lnTo>
                  <a:pt x="5763" y="355"/>
                </a:lnTo>
                <a:cubicBezTo>
                  <a:pt x="5760" y="357"/>
                  <a:pt x="5759" y="359"/>
                  <a:pt x="5758" y="359"/>
                </a:cubicBezTo>
                <a:close/>
                <a:moveTo>
                  <a:pt x="5745" y="356"/>
                </a:moveTo>
                <a:cubicBezTo>
                  <a:pt x="5745" y="356"/>
                  <a:pt x="5745" y="356"/>
                  <a:pt x="5745" y="355"/>
                </a:cubicBezTo>
                <a:cubicBezTo>
                  <a:pt x="5745" y="355"/>
                  <a:pt x="5745" y="354"/>
                  <a:pt x="5746" y="353"/>
                </a:cubicBezTo>
                <a:cubicBezTo>
                  <a:pt x="5747" y="352"/>
                  <a:pt x="5748" y="351"/>
                  <a:pt x="5750" y="350"/>
                </a:cubicBezTo>
                <a:lnTo>
                  <a:pt x="5751" y="349"/>
                </a:lnTo>
                <a:lnTo>
                  <a:pt x="5752" y="350"/>
                </a:lnTo>
                <a:lnTo>
                  <a:pt x="5750" y="352"/>
                </a:lnTo>
                <a:cubicBezTo>
                  <a:pt x="5748" y="355"/>
                  <a:pt x="5746" y="356"/>
                  <a:pt x="5745" y="356"/>
                </a:cubicBezTo>
                <a:close/>
                <a:moveTo>
                  <a:pt x="5745" y="355"/>
                </a:moveTo>
                <a:close/>
                <a:moveTo>
                  <a:pt x="5728" y="372"/>
                </a:moveTo>
                <a:cubicBezTo>
                  <a:pt x="5728" y="372"/>
                  <a:pt x="5728" y="372"/>
                  <a:pt x="5728" y="371"/>
                </a:cubicBezTo>
                <a:cubicBezTo>
                  <a:pt x="5728" y="370"/>
                  <a:pt x="5729" y="369"/>
                  <a:pt x="5731" y="367"/>
                </a:cubicBezTo>
                <a:lnTo>
                  <a:pt x="5734" y="365"/>
                </a:lnTo>
                <a:cubicBezTo>
                  <a:pt x="5734" y="365"/>
                  <a:pt x="5733" y="367"/>
                  <a:pt x="5732" y="368"/>
                </a:cubicBezTo>
                <a:cubicBezTo>
                  <a:pt x="5730" y="371"/>
                  <a:pt x="5729" y="372"/>
                  <a:pt x="5728" y="372"/>
                </a:cubicBezTo>
                <a:close/>
                <a:moveTo>
                  <a:pt x="6050" y="800"/>
                </a:moveTo>
                <a:cubicBezTo>
                  <a:pt x="6046" y="800"/>
                  <a:pt x="6042" y="799"/>
                  <a:pt x="6038" y="798"/>
                </a:cubicBezTo>
                <a:lnTo>
                  <a:pt x="6038" y="798"/>
                </a:lnTo>
                <a:cubicBezTo>
                  <a:pt x="6036" y="797"/>
                  <a:pt x="6035" y="796"/>
                  <a:pt x="6034" y="795"/>
                </a:cubicBezTo>
                <a:lnTo>
                  <a:pt x="6033" y="793"/>
                </a:lnTo>
                <a:lnTo>
                  <a:pt x="6033" y="793"/>
                </a:lnTo>
                <a:cubicBezTo>
                  <a:pt x="6031" y="794"/>
                  <a:pt x="6030" y="794"/>
                  <a:pt x="6030" y="794"/>
                </a:cubicBezTo>
                <a:cubicBezTo>
                  <a:pt x="6029" y="795"/>
                  <a:pt x="6028" y="795"/>
                  <a:pt x="6027" y="795"/>
                </a:cubicBezTo>
                <a:cubicBezTo>
                  <a:pt x="6026" y="795"/>
                  <a:pt x="6024" y="794"/>
                  <a:pt x="6021" y="794"/>
                </a:cubicBezTo>
                <a:cubicBezTo>
                  <a:pt x="6019" y="793"/>
                  <a:pt x="6016" y="792"/>
                  <a:pt x="6014" y="790"/>
                </a:cubicBezTo>
                <a:cubicBezTo>
                  <a:pt x="6011" y="788"/>
                  <a:pt x="6010" y="786"/>
                  <a:pt x="6010" y="784"/>
                </a:cubicBezTo>
                <a:lnTo>
                  <a:pt x="6009" y="783"/>
                </a:lnTo>
                <a:lnTo>
                  <a:pt x="6007" y="784"/>
                </a:lnTo>
                <a:cubicBezTo>
                  <a:pt x="6006" y="784"/>
                  <a:pt x="6005" y="783"/>
                  <a:pt x="6003" y="781"/>
                </a:cubicBezTo>
                <a:cubicBezTo>
                  <a:pt x="6001" y="779"/>
                  <a:pt x="5999" y="776"/>
                  <a:pt x="5997" y="772"/>
                </a:cubicBezTo>
                <a:cubicBezTo>
                  <a:pt x="5991" y="760"/>
                  <a:pt x="5988" y="747"/>
                  <a:pt x="5988" y="730"/>
                </a:cubicBezTo>
                <a:cubicBezTo>
                  <a:pt x="5988" y="715"/>
                  <a:pt x="5990" y="697"/>
                  <a:pt x="5996" y="676"/>
                </a:cubicBezTo>
                <a:cubicBezTo>
                  <a:pt x="5999" y="664"/>
                  <a:pt x="6001" y="658"/>
                  <a:pt x="6001" y="657"/>
                </a:cubicBezTo>
                <a:cubicBezTo>
                  <a:pt x="6001" y="656"/>
                  <a:pt x="6001" y="655"/>
                  <a:pt x="6002" y="653"/>
                </a:cubicBezTo>
                <a:cubicBezTo>
                  <a:pt x="6003" y="651"/>
                  <a:pt x="6004" y="648"/>
                  <a:pt x="6005" y="645"/>
                </a:cubicBezTo>
                <a:cubicBezTo>
                  <a:pt x="6007" y="640"/>
                  <a:pt x="6008" y="636"/>
                  <a:pt x="6008" y="634"/>
                </a:cubicBezTo>
                <a:lnTo>
                  <a:pt x="6008" y="632"/>
                </a:lnTo>
                <a:cubicBezTo>
                  <a:pt x="6008" y="631"/>
                  <a:pt x="6008" y="631"/>
                  <a:pt x="6008" y="630"/>
                </a:cubicBezTo>
                <a:cubicBezTo>
                  <a:pt x="6008" y="630"/>
                  <a:pt x="6008" y="630"/>
                  <a:pt x="6009" y="630"/>
                </a:cubicBezTo>
                <a:cubicBezTo>
                  <a:pt x="6010" y="630"/>
                  <a:pt x="6011" y="630"/>
                  <a:pt x="6011" y="628"/>
                </a:cubicBezTo>
                <a:cubicBezTo>
                  <a:pt x="6012" y="627"/>
                  <a:pt x="6013" y="625"/>
                  <a:pt x="6013" y="624"/>
                </a:cubicBezTo>
                <a:cubicBezTo>
                  <a:pt x="6013" y="622"/>
                  <a:pt x="6012" y="621"/>
                  <a:pt x="6011" y="620"/>
                </a:cubicBezTo>
                <a:cubicBezTo>
                  <a:pt x="6011" y="619"/>
                  <a:pt x="6011" y="619"/>
                  <a:pt x="6011" y="618"/>
                </a:cubicBezTo>
                <a:cubicBezTo>
                  <a:pt x="6011" y="617"/>
                  <a:pt x="6012" y="616"/>
                  <a:pt x="6014" y="615"/>
                </a:cubicBezTo>
                <a:cubicBezTo>
                  <a:pt x="6016" y="615"/>
                  <a:pt x="6017" y="613"/>
                  <a:pt x="6017" y="611"/>
                </a:cubicBezTo>
                <a:lnTo>
                  <a:pt x="6016" y="608"/>
                </a:lnTo>
                <a:lnTo>
                  <a:pt x="6016" y="605"/>
                </a:lnTo>
                <a:cubicBezTo>
                  <a:pt x="6016" y="603"/>
                  <a:pt x="6017" y="602"/>
                  <a:pt x="6019" y="602"/>
                </a:cubicBezTo>
                <a:cubicBezTo>
                  <a:pt x="6021" y="602"/>
                  <a:pt x="6022" y="602"/>
                  <a:pt x="6022" y="602"/>
                </a:cubicBezTo>
                <a:cubicBezTo>
                  <a:pt x="6022" y="601"/>
                  <a:pt x="6021" y="601"/>
                  <a:pt x="6020" y="600"/>
                </a:cubicBezTo>
                <a:cubicBezTo>
                  <a:pt x="6019" y="599"/>
                  <a:pt x="6019" y="598"/>
                  <a:pt x="6019" y="598"/>
                </a:cubicBezTo>
                <a:cubicBezTo>
                  <a:pt x="6019" y="597"/>
                  <a:pt x="6019" y="595"/>
                  <a:pt x="6020" y="594"/>
                </a:cubicBezTo>
                <a:cubicBezTo>
                  <a:pt x="6021" y="592"/>
                  <a:pt x="6021" y="591"/>
                  <a:pt x="6022" y="590"/>
                </a:cubicBezTo>
                <a:cubicBezTo>
                  <a:pt x="6022" y="589"/>
                  <a:pt x="6021" y="588"/>
                  <a:pt x="6021" y="588"/>
                </a:cubicBezTo>
                <a:cubicBezTo>
                  <a:pt x="6021" y="587"/>
                  <a:pt x="6023" y="584"/>
                  <a:pt x="6027" y="579"/>
                </a:cubicBezTo>
                <a:lnTo>
                  <a:pt x="6032" y="571"/>
                </a:lnTo>
                <a:cubicBezTo>
                  <a:pt x="6032" y="571"/>
                  <a:pt x="6032" y="571"/>
                  <a:pt x="6032" y="571"/>
                </a:cubicBezTo>
                <a:lnTo>
                  <a:pt x="6031" y="571"/>
                </a:lnTo>
                <a:cubicBezTo>
                  <a:pt x="6031" y="570"/>
                  <a:pt x="6032" y="568"/>
                  <a:pt x="6035" y="565"/>
                </a:cubicBezTo>
                <a:cubicBezTo>
                  <a:pt x="6038" y="560"/>
                  <a:pt x="6039" y="557"/>
                  <a:pt x="6039" y="557"/>
                </a:cubicBezTo>
                <a:cubicBezTo>
                  <a:pt x="6039" y="556"/>
                  <a:pt x="6039" y="556"/>
                  <a:pt x="6039" y="556"/>
                </a:cubicBezTo>
                <a:cubicBezTo>
                  <a:pt x="6039" y="555"/>
                  <a:pt x="6040" y="553"/>
                  <a:pt x="6043" y="549"/>
                </a:cubicBezTo>
                <a:cubicBezTo>
                  <a:pt x="6046" y="545"/>
                  <a:pt x="6047" y="542"/>
                  <a:pt x="6047" y="541"/>
                </a:cubicBezTo>
                <a:cubicBezTo>
                  <a:pt x="6047" y="541"/>
                  <a:pt x="6045" y="539"/>
                  <a:pt x="6041" y="538"/>
                </a:cubicBezTo>
                <a:cubicBezTo>
                  <a:pt x="6039" y="537"/>
                  <a:pt x="6037" y="536"/>
                  <a:pt x="6036" y="535"/>
                </a:cubicBezTo>
                <a:cubicBezTo>
                  <a:pt x="6035" y="534"/>
                  <a:pt x="6034" y="534"/>
                  <a:pt x="6034" y="533"/>
                </a:cubicBezTo>
                <a:cubicBezTo>
                  <a:pt x="6034" y="532"/>
                  <a:pt x="6033" y="531"/>
                  <a:pt x="6032" y="531"/>
                </a:cubicBezTo>
                <a:cubicBezTo>
                  <a:pt x="6031" y="531"/>
                  <a:pt x="6030" y="531"/>
                  <a:pt x="6029" y="531"/>
                </a:cubicBezTo>
                <a:cubicBezTo>
                  <a:pt x="6028" y="531"/>
                  <a:pt x="6027" y="531"/>
                  <a:pt x="6026" y="530"/>
                </a:cubicBezTo>
                <a:lnTo>
                  <a:pt x="6026" y="530"/>
                </a:lnTo>
                <a:lnTo>
                  <a:pt x="6026" y="529"/>
                </a:lnTo>
                <a:cubicBezTo>
                  <a:pt x="6026" y="529"/>
                  <a:pt x="6028" y="527"/>
                  <a:pt x="6031" y="526"/>
                </a:cubicBezTo>
                <a:cubicBezTo>
                  <a:pt x="6034" y="524"/>
                  <a:pt x="6038" y="523"/>
                  <a:pt x="6042" y="521"/>
                </a:cubicBezTo>
                <a:cubicBezTo>
                  <a:pt x="6046" y="519"/>
                  <a:pt x="6050" y="518"/>
                  <a:pt x="6053" y="517"/>
                </a:cubicBezTo>
                <a:cubicBezTo>
                  <a:pt x="6056" y="515"/>
                  <a:pt x="6058" y="515"/>
                  <a:pt x="6059" y="515"/>
                </a:cubicBezTo>
                <a:cubicBezTo>
                  <a:pt x="6060" y="515"/>
                  <a:pt x="6061" y="514"/>
                  <a:pt x="6062" y="513"/>
                </a:cubicBezTo>
                <a:cubicBezTo>
                  <a:pt x="6063" y="512"/>
                  <a:pt x="6064" y="512"/>
                  <a:pt x="6064" y="510"/>
                </a:cubicBezTo>
                <a:cubicBezTo>
                  <a:pt x="6065" y="509"/>
                  <a:pt x="6065" y="508"/>
                  <a:pt x="6065" y="508"/>
                </a:cubicBezTo>
                <a:cubicBezTo>
                  <a:pt x="6065" y="507"/>
                  <a:pt x="6065" y="507"/>
                  <a:pt x="6064" y="507"/>
                </a:cubicBezTo>
                <a:lnTo>
                  <a:pt x="6063" y="507"/>
                </a:lnTo>
                <a:cubicBezTo>
                  <a:pt x="6062" y="507"/>
                  <a:pt x="6059" y="508"/>
                  <a:pt x="6054" y="511"/>
                </a:cubicBezTo>
                <a:cubicBezTo>
                  <a:pt x="6049" y="514"/>
                  <a:pt x="6046" y="515"/>
                  <a:pt x="6045" y="515"/>
                </a:cubicBezTo>
                <a:cubicBezTo>
                  <a:pt x="6044" y="515"/>
                  <a:pt x="6043" y="515"/>
                  <a:pt x="6043" y="515"/>
                </a:cubicBezTo>
                <a:lnTo>
                  <a:pt x="6043" y="517"/>
                </a:lnTo>
                <a:cubicBezTo>
                  <a:pt x="6043" y="517"/>
                  <a:pt x="6043" y="518"/>
                  <a:pt x="6041" y="519"/>
                </a:cubicBezTo>
                <a:cubicBezTo>
                  <a:pt x="6038" y="520"/>
                  <a:pt x="6034" y="521"/>
                  <a:pt x="6028" y="521"/>
                </a:cubicBezTo>
                <a:cubicBezTo>
                  <a:pt x="6025" y="521"/>
                  <a:pt x="6024" y="520"/>
                  <a:pt x="6024" y="519"/>
                </a:cubicBezTo>
                <a:cubicBezTo>
                  <a:pt x="6024" y="519"/>
                  <a:pt x="6024" y="518"/>
                  <a:pt x="6025" y="518"/>
                </a:cubicBezTo>
                <a:cubicBezTo>
                  <a:pt x="6025" y="518"/>
                  <a:pt x="6026" y="518"/>
                  <a:pt x="6027" y="518"/>
                </a:cubicBezTo>
                <a:cubicBezTo>
                  <a:pt x="6036" y="518"/>
                  <a:pt x="6040" y="517"/>
                  <a:pt x="6040" y="515"/>
                </a:cubicBezTo>
                <a:cubicBezTo>
                  <a:pt x="6040" y="513"/>
                  <a:pt x="6038" y="512"/>
                  <a:pt x="6035" y="511"/>
                </a:cubicBezTo>
                <a:cubicBezTo>
                  <a:pt x="6033" y="510"/>
                  <a:pt x="6033" y="509"/>
                  <a:pt x="6033" y="509"/>
                </a:cubicBezTo>
                <a:cubicBezTo>
                  <a:pt x="6034" y="508"/>
                  <a:pt x="6041" y="505"/>
                  <a:pt x="6053" y="500"/>
                </a:cubicBezTo>
                <a:cubicBezTo>
                  <a:pt x="6070" y="493"/>
                  <a:pt x="6079" y="490"/>
                  <a:pt x="6081" y="490"/>
                </a:cubicBezTo>
                <a:cubicBezTo>
                  <a:pt x="6083" y="490"/>
                  <a:pt x="6085" y="488"/>
                  <a:pt x="6087" y="486"/>
                </a:cubicBezTo>
                <a:cubicBezTo>
                  <a:pt x="6089" y="484"/>
                  <a:pt x="6090" y="482"/>
                  <a:pt x="6091" y="482"/>
                </a:cubicBezTo>
                <a:cubicBezTo>
                  <a:pt x="6092" y="482"/>
                  <a:pt x="6093" y="482"/>
                  <a:pt x="6094" y="481"/>
                </a:cubicBezTo>
                <a:cubicBezTo>
                  <a:pt x="6098" y="479"/>
                  <a:pt x="6105" y="477"/>
                  <a:pt x="6115" y="473"/>
                </a:cubicBezTo>
                <a:cubicBezTo>
                  <a:pt x="6135" y="466"/>
                  <a:pt x="6150" y="462"/>
                  <a:pt x="6158" y="460"/>
                </a:cubicBezTo>
                <a:cubicBezTo>
                  <a:pt x="6160" y="460"/>
                  <a:pt x="6162" y="460"/>
                  <a:pt x="6164" y="459"/>
                </a:cubicBezTo>
                <a:cubicBezTo>
                  <a:pt x="6171" y="457"/>
                  <a:pt x="6175" y="456"/>
                  <a:pt x="6177" y="456"/>
                </a:cubicBezTo>
                <a:cubicBezTo>
                  <a:pt x="6179" y="456"/>
                  <a:pt x="6180" y="456"/>
                  <a:pt x="6180" y="456"/>
                </a:cubicBezTo>
                <a:cubicBezTo>
                  <a:pt x="6181" y="456"/>
                  <a:pt x="6181" y="456"/>
                  <a:pt x="6182" y="456"/>
                </a:cubicBezTo>
                <a:cubicBezTo>
                  <a:pt x="6183" y="456"/>
                  <a:pt x="6183" y="455"/>
                  <a:pt x="6184" y="454"/>
                </a:cubicBezTo>
                <a:cubicBezTo>
                  <a:pt x="6184" y="453"/>
                  <a:pt x="6185" y="453"/>
                  <a:pt x="6187" y="453"/>
                </a:cubicBezTo>
                <a:lnTo>
                  <a:pt x="6190" y="453"/>
                </a:lnTo>
                <a:cubicBezTo>
                  <a:pt x="6192" y="453"/>
                  <a:pt x="6194" y="453"/>
                  <a:pt x="6195" y="452"/>
                </a:cubicBezTo>
                <a:cubicBezTo>
                  <a:pt x="6196" y="452"/>
                  <a:pt x="6198" y="451"/>
                  <a:pt x="6199" y="451"/>
                </a:cubicBezTo>
                <a:cubicBezTo>
                  <a:pt x="6200" y="452"/>
                  <a:pt x="6200" y="453"/>
                  <a:pt x="6201" y="455"/>
                </a:cubicBezTo>
                <a:cubicBezTo>
                  <a:pt x="6202" y="458"/>
                  <a:pt x="6203" y="459"/>
                  <a:pt x="6205" y="459"/>
                </a:cubicBezTo>
                <a:cubicBezTo>
                  <a:pt x="6205" y="459"/>
                  <a:pt x="6206" y="459"/>
                  <a:pt x="6206" y="459"/>
                </a:cubicBezTo>
                <a:lnTo>
                  <a:pt x="6206" y="458"/>
                </a:lnTo>
                <a:lnTo>
                  <a:pt x="6205" y="456"/>
                </a:lnTo>
                <a:cubicBezTo>
                  <a:pt x="6205" y="456"/>
                  <a:pt x="6205" y="456"/>
                  <a:pt x="6206" y="456"/>
                </a:cubicBezTo>
                <a:lnTo>
                  <a:pt x="6207" y="456"/>
                </a:lnTo>
                <a:lnTo>
                  <a:pt x="6210" y="456"/>
                </a:lnTo>
                <a:cubicBezTo>
                  <a:pt x="6211" y="456"/>
                  <a:pt x="6211" y="455"/>
                  <a:pt x="6211" y="454"/>
                </a:cubicBezTo>
                <a:cubicBezTo>
                  <a:pt x="6211" y="453"/>
                  <a:pt x="6212" y="453"/>
                  <a:pt x="6215" y="453"/>
                </a:cubicBezTo>
                <a:lnTo>
                  <a:pt x="6224" y="453"/>
                </a:lnTo>
                <a:cubicBezTo>
                  <a:pt x="6225" y="453"/>
                  <a:pt x="6226" y="453"/>
                  <a:pt x="6226" y="452"/>
                </a:cubicBezTo>
                <a:cubicBezTo>
                  <a:pt x="6226" y="451"/>
                  <a:pt x="6228" y="451"/>
                  <a:pt x="6231" y="451"/>
                </a:cubicBezTo>
                <a:cubicBezTo>
                  <a:pt x="6234" y="451"/>
                  <a:pt x="6236" y="451"/>
                  <a:pt x="6236" y="450"/>
                </a:cubicBezTo>
                <a:lnTo>
                  <a:pt x="6236" y="448"/>
                </a:lnTo>
                <a:cubicBezTo>
                  <a:pt x="6236" y="447"/>
                  <a:pt x="6237" y="446"/>
                  <a:pt x="6238" y="446"/>
                </a:cubicBezTo>
                <a:cubicBezTo>
                  <a:pt x="6240" y="446"/>
                  <a:pt x="6241" y="446"/>
                  <a:pt x="6241" y="447"/>
                </a:cubicBezTo>
                <a:cubicBezTo>
                  <a:pt x="6241" y="448"/>
                  <a:pt x="6242" y="448"/>
                  <a:pt x="6243" y="448"/>
                </a:cubicBezTo>
                <a:cubicBezTo>
                  <a:pt x="6251" y="448"/>
                  <a:pt x="6254" y="447"/>
                  <a:pt x="6254" y="443"/>
                </a:cubicBezTo>
                <a:cubicBezTo>
                  <a:pt x="6254" y="442"/>
                  <a:pt x="6255" y="441"/>
                  <a:pt x="6255" y="441"/>
                </a:cubicBezTo>
                <a:cubicBezTo>
                  <a:pt x="6255" y="441"/>
                  <a:pt x="6256" y="442"/>
                  <a:pt x="6257" y="443"/>
                </a:cubicBezTo>
                <a:cubicBezTo>
                  <a:pt x="6257" y="445"/>
                  <a:pt x="6261" y="446"/>
                  <a:pt x="6268" y="446"/>
                </a:cubicBezTo>
                <a:cubicBezTo>
                  <a:pt x="6285" y="446"/>
                  <a:pt x="6293" y="447"/>
                  <a:pt x="6293" y="449"/>
                </a:cubicBezTo>
                <a:lnTo>
                  <a:pt x="6293" y="450"/>
                </a:lnTo>
                <a:cubicBezTo>
                  <a:pt x="6293" y="451"/>
                  <a:pt x="6294" y="451"/>
                  <a:pt x="6296" y="451"/>
                </a:cubicBezTo>
                <a:cubicBezTo>
                  <a:pt x="6299" y="451"/>
                  <a:pt x="6300" y="451"/>
                  <a:pt x="6300" y="448"/>
                </a:cubicBezTo>
                <a:lnTo>
                  <a:pt x="6300" y="448"/>
                </a:lnTo>
                <a:cubicBezTo>
                  <a:pt x="6299" y="446"/>
                  <a:pt x="6298" y="445"/>
                  <a:pt x="6297" y="445"/>
                </a:cubicBezTo>
                <a:lnTo>
                  <a:pt x="6296" y="445"/>
                </a:lnTo>
                <a:cubicBezTo>
                  <a:pt x="6295" y="445"/>
                  <a:pt x="6295" y="445"/>
                  <a:pt x="6295" y="444"/>
                </a:cubicBezTo>
                <a:cubicBezTo>
                  <a:pt x="6295" y="444"/>
                  <a:pt x="6295" y="443"/>
                  <a:pt x="6296" y="443"/>
                </a:cubicBezTo>
                <a:cubicBezTo>
                  <a:pt x="6296" y="442"/>
                  <a:pt x="6296" y="442"/>
                  <a:pt x="6297" y="442"/>
                </a:cubicBezTo>
                <a:cubicBezTo>
                  <a:pt x="6299" y="442"/>
                  <a:pt x="6300" y="443"/>
                  <a:pt x="6301" y="444"/>
                </a:cubicBezTo>
                <a:cubicBezTo>
                  <a:pt x="6302" y="446"/>
                  <a:pt x="6303" y="448"/>
                  <a:pt x="6303" y="450"/>
                </a:cubicBezTo>
                <a:lnTo>
                  <a:pt x="6302" y="454"/>
                </a:lnTo>
                <a:cubicBezTo>
                  <a:pt x="6302" y="457"/>
                  <a:pt x="6304" y="459"/>
                  <a:pt x="6306" y="459"/>
                </a:cubicBezTo>
                <a:cubicBezTo>
                  <a:pt x="6309" y="459"/>
                  <a:pt x="6310" y="460"/>
                  <a:pt x="6310" y="461"/>
                </a:cubicBezTo>
                <a:lnTo>
                  <a:pt x="6310" y="463"/>
                </a:lnTo>
                <a:lnTo>
                  <a:pt x="6310" y="463"/>
                </a:lnTo>
                <a:cubicBezTo>
                  <a:pt x="6310" y="463"/>
                  <a:pt x="6311" y="464"/>
                  <a:pt x="6312" y="464"/>
                </a:cubicBezTo>
                <a:cubicBezTo>
                  <a:pt x="6313" y="464"/>
                  <a:pt x="6314" y="465"/>
                  <a:pt x="6314" y="468"/>
                </a:cubicBezTo>
                <a:cubicBezTo>
                  <a:pt x="6314" y="470"/>
                  <a:pt x="6315" y="472"/>
                  <a:pt x="6317" y="473"/>
                </a:cubicBezTo>
                <a:cubicBezTo>
                  <a:pt x="6319" y="473"/>
                  <a:pt x="6320" y="475"/>
                  <a:pt x="6320" y="478"/>
                </a:cubicBezTo>
                <a:cubicBezTo>
                  <a:pt x="6320" y="479"/>
                  <a:pt x="6320" y="480"/>
                  <a:pt x="6321" y="481"/>
                </a:cubicBezTo>
                <a:cubicBezTo>
                  <a:pt x="6321" y="482"/>
                  <a:pt x="6322" y="483"/>
                  <a:pt x="6323" y="484"/>
                </a:cubicBezTo>
                <a:cubicBezTo>
                  <a:pt x="6324" y="485"/>
                  <a:pt x="6324" y="487"/>
                  <a:pt x="6324" y="490"/>
                </a:cubicBezTo>
                <a:lnTo>
                  <a:pt x="6324" y="495"/>
                </a:lnTo>
                <a:lnTo>
                  <a:pt x="6323" y="502"/>
                </a:lnTo>
                <a:cubicBezTo>
                  <a:pt x="6323" y="502"/>
                  <a:pt x="6323" y="502"/>
                  <a:pt x="6324" y="502"/>
                </a:cubicBezTo>
                <a:cubicBezTo>
                  <a:pt x="6324" y="502"/>
                  <a:pt x="6325" y="502"/>
                  <a:pt x="6326" y="500"/>
                </a:cubicBezTo>
                <a:cubicBezTo>
                  <a:pt x="6327" y="500"/>
                  <a:pt x="6328" y="499"/>
                  <a:pt x="6329" y="499"/>
                </a:cubicBezTo>
                <a:cubicBezTo>
                  <a:pt x="6329" y="499"/>
                  <a:pt x="6329" y="499"/>
                  <a:pt x="6329" y="500"/>
                </a:cubicBezTo>
                <a:cubicBezTo>
                  <a:pt x="6329" y="502"/>
                  <a:pt x="6326" y="510"/>
                  <a:pt x="6319" y="523"/>
                </a:cubicBezTo>
                <a:cubicBezTo>
                  <a:pt x="6311" y="541"/>
                  <a:pt x="6305" y="556"/>
                  <a:pt x="6299" y="571"/>
                </a:cubicBezTo>
                <a:cubicBezTo>
                  <a:pt x="6293" y="589"/>
                  <a:pt x="6289" y="598"/>
                  <a:pt x="6288" y="601"/>
                </a:cubicBezTo>
                <a:cubicBezTo>
                  <a:pt x="6287" y="603"/>
                  <a:pt x="6286" y="605"/>
                  <a:pt x="6286" y="607"/>
                </a:cubicBezTo>
                <a:lnTo>
                  <a:pt x="6279" y="628"/>
                </a:lnTo>
                <a:lnTo>
                  <a:pt x="6277" y="637"/>
                </a:lnTo>
                <a:cubicBezTo>
                  <a:pt x="6275" y="642"/>
                  <a:pt x="6274" y="645"/>
                  <a:pt x="6274" y="645"/>
                </a:cubicBezTo>
                <a:cubicBezTo>
                  <a:pt x="6273" y="646"/>
                  <a:pt x="6273" y="647"/>
                  <a:pt x="6273" y="647"/>
                </a:cubicBezTo>
                <a:cubicBezTo>
                  <a:pt x="6273" y="647"/>
                  <a:pt x="6273" y="648"/>
                  <a:pt x="6273" y="648"/>
                </a:cubicBezTo>
                <a:cubicBezTo>
                  <a:pt x="6273" y="649"/>
                  <a:pt x="6272" y="649"/>
                  <a:pt x="6272" y="649"/>
                </a:cubicBezTo>
                <a:cubicBezTo>
                  <a:pt x="6272" y="650"/>
                  <a:pt x="6272" y="650"/>
                  <a:pt x="6271" y="651"/>
                </a:cubicBezTo>
                <a:cubicBezTo>
                  <a:pt x="6271" y="652"/>
                  <a:pt x="6271" y="652"/>
                  <a:pt x="6271" y="653"/>
                </a:cubicBezTo>
                <a:cubicBezTo>
                  <a:pt x="6269" y="664"/>
                  <a:pt x="6266" y="671"/>
                  <a:pt x="6261" y="676"/>
                </a:cubicBezTo>
                <a:lnTo>
                  <a:pt x="6260" y="677"/>
                </a:lnTo>
                <a:lnTo>
                  <a:pt x="6260" y="678"/>
                </a:lnTo>
                <a:lnTo>
                  <a:pt x="6262" y="677"/>
                </a:lnTo>
                <a:cubicBezTo>
                  <a:pt x="6263" y="677"/>
                  <a:pt x="6264" y="679"/>
                  <a:pt x="6264" y="682"/>
                </a:cubicBezTo>
                <a:cubicBezTo>
                  <a:pt x="6264" y="686"/>
                  <a:pt x="6263" y="688"/>
                  <a:pt x="6262" y="688"/>
                </a:cubicBezTo>
                <a:cubicBezTo>
                  <a:pt x="6261" y="688"/>
                  <a:pt x="6261" y="689"/>
                  <a:pt x="6261" y="690"/>
                </a:cubicBezTo>
                <a:lnTo>
                  <a:pt x="6261" y="698"/>
                </a:lnTo>
                <a:cubicBezTo>
                  <a:pt x="6261" y="701"/>
                  <a:pt x="6261" y="702"/>
                  <a:pt x="6260" y="702"/>
                </a:cubicBezTo>
                <a:cubicBezTo>
                  <a:pt x="6259" y="702"/>
                  <a:pt x="6258" y="703"/>
                  <a:pt x="6257" y="705"/>
                </a:cubicBezTo>
                <a:cubicBezTo>
                  <a:pt x="6257" y="707"/>
                  <a:pt x="6257" y="709"/>
                  <a:pt x="6257" y="712"/>
                </a:cubicBezTo>
                <a:cubicBezTo>
                  <a:pt x="6257" y="719"/>
                  <a:pt x="6257" y="723"/>
                  <a:pt x="6258" y="723"/>
                </a:cubicBezTo>
                <a:cubicBezTo>
                  <a:pt x="6260" y="723"/>
                  <a:pt x="6266" y="720"/>
                  <a:pt x="6276" y="713"/>
                </a:cubicBezTo>
                <a:cubicBezTo>
                  <a:pt x="6286" y="708"/>
                  <a:pt x="6292" y="704"/>
                  <a:pt x="6292" y="703"/>
                </a:cubicBezTo>
                <a:cubicBezTo>
                  <a:pt x="6292" y="702"/>
                  <a:pt x="6293" y="702"/>
                  <a:pt x="6295" y="702"/>
                </a:cubicBezTo>
                <a:cubicBezTo>
                  <a:pt x="6297" y="702"/>
                  <a:pt x="6306" y="695"/>
                  <a:pt x="6321" y="682"/>
                </a:cubicBezTo>
                <a:cubicBezTo>
                  <a:pt x="6337" y="670"/>
                  <a:pt x="6345" y="662"/>
                  <a:pt x="6345" y="659"/>
                </a:cubicBezTo>
                <a:cubicBezTo>
                  <a:pt x="6345" y="659"/>
                  <a:pt x="6344" y="659"/>
                  <a:pt x="6344" y="659"/>
                </a:cubicBezTo>
                <a:lnTo>
                  <a:pt x="6343" y="659"/>
                </a:lnTo>
                <a:cubicBezTo>
                  <a:pt x="6343" y="659"/>
                  <a:pt x="6341" y="660"/>
                  <a:pt x="6338" y="662"/>
                </a:cubicBezTo>
                <a:lnTo>
                  <a:pt x="6342" y="657"/>
                </a:lnTo>
                <a:cubicBezTo>
                  <a:pt x="6347" y="652"/>
                  <a:pt x="6350" y="649"/>
                  <a:pt x="6351" y="649"/>
                </a:cubicBezTo>
                <a:lnTo>
                  <a:pt x="6349" y="652"/>
                </a:lnTo>
                <a:lnTo>
                  <a:pt x="6353" y="650"/>
                </a:lnTo>
                <a:cubicBezTo>
                  <a:pt x="6356" y="647"/>
                  <a:pt x="6357" y="645"/>
                  <a:pt x="6357" y="643"/>
                </a:cubicBezTo>
                <a:cubicBezTo>
                  <a:pt x="6357" y="643"/>
                  <a:pt x="6357" y="643"/>
                  <a:pt x="6357" y="643"/>
                </a:cubicBezTo>
                <a:lnTo>
                  <a:pt x="6353" y="644"/>
                </a:lnTo>
                <a:cubicBezTo>
                  <a:pt x="6353" y="644"/>
                  <a:pt x="6353" y="643"/>
                  <a:pt x="6355" y="640"/>
                </a:cubicBezTo>
                <a:cubicBezTo>
                  <a:pt x="6356" y="638"/>
                  <a:pt x="6358" y="636"/>
                  <a:pt x="6360" y="634"/>
                </a:cubicBezTo>
                <a:cubicBezTo>
                  <a:pt x="6361" y="633"/>
                  <a:pt x="6362" y="632"/>
                  <a:pt x="6363" y="632"/>
                </a:cubicBezTo>
                <a:cubicBezTo>
                  <a:pt x="6363" y="632"/>
                  <a:pt x="6363" y="632"/>
                  <a:pt x="6363" y="632"/>
                </a:cubicBezTo>
                <a:cubicBezTo>
                  <a:pt x="6364" y="632"/>
                  <a:pt x="6364" y="631"/>
                  <a:pt x="6364" y="631"/>
                </a:cubicBezTo>
                <a:lnTo>
                  <a:pt x="6363" y="628"/>
                </a:lnTo>
                <a:cubicBezTo>
                  <a:pt x="6363" y="628"/>
                  <a:pt x="6364" y="628"/>
                  <a:pt x="6365" y="628"/>
                </a:cubicBezTo>
                <a:cubicBezTo>
                  <a:pt x="6365" y="628"/>
                  <a:pt x="6366" y="628"/>
                  <a:pt x="6366" y="627"/>
                </a:cubicBezTo>
                <a:lnTo>
                  <a:pt x="6366" y="626"/>
                </a:lnTo>
                <a:lnTo>
                  <a:pt x="6366" y="625"/>
                </a:lnTo>
                <a:cubicBezTo>
                  <a:pt x="6366" y="623"/>
                  <a:pt x="6366" y="621"/>
                  <a:pt x="6368" y="619"/>
                </a:cubicBezTo>
                <a:cubicBezTo>
                  <a:pt x="6370" y="615"/>
                  <a:pt x="6371" y="607"/>
                  <a:pt x="6371" y="595"/>
                </a:cubicBezTo>
                <a:lnTo>
                  <a:pt x="6371" y="581"/>
                </a:lnTo>
                <a:cubicBezTo>
                  <a:pt x="6371" y="573"/>
                  <a:pt x="6370" y="563"/>
                  <a:pt x="6367" y="550"/>
                </a:cubicBezTo>
                <a:cubicBezTo>
                  <a:pt x="6365" y="539"/>
                  <a:pt x="6364" y="530"/>
                  <a:pt x="6364" y="525"/>
                </a:cubicBezTo>
                <a:cubicBezTo>
                  <a:pt x="6364" y="525"/>
                  <a:pt x="6364" y="523"/>
                  <a:pt x="6365" y="520"/>
                </a:cubicBezTo>
                <a:cubicBezTo>
                  <a:pt x="6365" y="517"/>
                  <a:pt x="6367" y="514"/>
                  <a:pt x="6371" y="512"/>
                </a:cubicBezTo>
                <a:cubicBezTo>
                  <a:pt x="6373" y="511"/>
                  <a:pt x="6375" y="510"/>
                  <a:pt x="6377" y="509"/>
                </a:cubicBezTo>
                <a:cubicBezTo>
                  <a:pt x="6378" y="507"/>
                  <a:pt x="6380" y="506"/>
                  <a:pt x="6381" y="505"/>
                </a:cubicBezTo>
                <a:cubicBezTo>
                  <a:pt x="6381" y="505"/>
                  <a:pt x="6382" y="505"/>
                  <a:pt x="6383" y="504"/>
                </a:cubicBezTo>
                <a:cubicBezTo>
                  <a:pt x="6383" y="504"/>
                  <a:pt x="6383" y="504"/>
                  <a:pt x="6384" y="504"/>
                </a:cubicBezTo>
                <a:cubicBezTo>
                  <a:pt x="6384" y="504"/>
                  <a:pt x="6384" y="504"/>
                  <a:pt x="6384" y="505"/>
                </a:cubicBezTo>
                <a:cubicBezTo>
                  <a:pt x="6386" y="505"/>
                  <a:pt x="6389" y="504"/>
                  <a:pt x="6391" y="503"/>
                </a:cubicBezTo>
                <a:cubicBezTo>
                  <a:pt x="6393" y="502"/>
                  <a:pt x="6395" y="501"/>
                  <a:pt x="6397" y="501"/>
                </a:cubicBezTo>
                <a:cubicBezTo>
                  <a:pt x="6398" y="501"/>
                  <a:pt x="6399" y="502"/>
                  <a:pt x="6400" y="503"/>
                </a:cubicBezTo>
                <a:cubicBezTo>
                  <a:pt x="6400" y="505"/>
                  <a:pt x="6398" y="508"/>
                  <a:pt x="6395" y="511"/>
                </a:cubicBezTo>
                <a:cubicBezTo>
                  <a:pt x="6391" y="513"/>
                  <a:pt x="6390" y="516"/>
                  <a:pt x="6390" y="517"/>
                </a:cubicBezTo>
                <a:cubicBezTo>
                  <a:pt x="6390" y="517"/>
                  <a:pt x="6390" y="518"/>
                  <a:pt x="6390" y="518"/>
                </a:cubicBezTo>
                <a:lnTo>
                  <a:pt x="6390" y="518"/>
                </a:lnTo>
                <a:cubicBezTo>
                  <a:pt x="6390" y="519"/>
                  <a:pt x="6390" y="519"/>
                  <a:pt x="6388" y="519"/>
                </a:cubicBezTo>
                <a:cubicBezTo>
                  <a:pt x="6386" y="519"/>
                  <a:pt x="6385" y="519"/>
                  <a:pt x="6385" y="521"/>
                </a:cubicBezTo>
                <a:lnTo>
                  <a:pt x="6386" y="522"/>
                </a:lnTo>
                <a:cubicBezTo>
                  <a:pt x="6386" y="523"/>
                  <a:pt x="6385" y="524"/>
                  <a:pt x="6385" y="524"/>
                </a:cubicBezTo>
                <a:cubicBezTo>
                  <a:pt x="6384" y="524"/>
                  <a:pt x="6383" y="525"/>
                  <a:pt x="6383" y="526"/>
                </a:cubicBezTo>
                <a:cubicBezTo>
                  <a:pt x="6383" y="528"/>
                  <a:pt x="6383" y="530"/>
                  <a:pt x="6384" y="531"/>
                </a:cubicBezTo>
                <a:cubicBezTo>
                  <a:pt x="6386" y="532"/>
                  <a:pt x="6386" y="532"/>
                  <a:pt x="6386" y="532"/>
                </a:cubicBezTo>
                <a:cubicBezTo>
                  <a:pt x="6386" y="532"/>
                  <a:pt x="6387" y="532"/>
                  <a:pt x="6388" y="534"/>
                </a:cubicBezTo>
                <a:lnTo>
                  <a:pt x="6395" y="573"/>
                </a:lnTo>
                <a:cubicBezTo>
                  <a:pt x="6397" y="585"/>
                  <a:pt x="6398" y="598"/>
                  <a:pt x="6398" y="613"/>
                </a:cubicBezTo>
                <a:cubicBezTo>
                  <a:pt x="6398" y="629"/>
                  <a:pt x="6398" y="640"/>
                  <a:pt x="6397" y="646"/>
                </a:cubicBezTo>
                <a:lnTo>
                  <a:pt x="6397" y="649"/>
                </a:lnTo>
                <a:cubicBezTo>
                  <a:pt x="6397" y="649"/>
                  <a:pt x="6398" y="649"/>
                  <a:pt x="6399" y="649"/>
                </a:cubicBezTo>
                <a:cubicBezTo>
                  <a:pt x="6400" y="649"/>
                  <a:pt x="6401" y="649"/>
                  <a:pt x="6401" y="650"/>
                </a:cubicBezTo>
                <a:lnTo>
                  <a:pt x="6401" y="652"/>
                </a:lnTo>
                <a:cubicBezTo>
                  <a:pt x="6401" y="652"/>
                  <a:pt x="6400" y="654"/>
                  <a:pt x="6398" y="656"/>
                </a:cubicBezTo>
                <a:cubicBezTo>
                  <a:pt x="6396" y="657"/>
                  <a:pt x="6396" y="659"/>
                  <a:pt x="6396" y="661"/>
                </a:cubicBezTo>
                <a:lnTo>
                  <a:pt x="6396" y="664"/>
                </a:lnTo>
                <a:cubicBezTo>
                  <a:pt x="6395" y="664"/>
                  <a:pt x="6395" y="663"/>
                  <a:pt x="6393" y="661"/>
                </a:cubicBezTo>
                <a:cubicBezTo>
                  <a:pt x="6392" y="659"/>
                  <a:pt x="6391" y="658"/>
                  <a:pt x="6390" y="658"/>
                </a:cubicBezTo>
                <a:lnTo>
                  <a:pt x="6390" y="661"/>
                </a:lnTo>
                <a:cubicBezTo>
                  <a:pt x="6390" y="664"/>
                  <a:pt x="6390" y="667"/>
                  <a:pt x="6388" y="671"/>
                </a:cubicBezTo>
                <a:cubicBezTo>
                  <a:pt x="6386" y="675"/>
                  <a:pt x="6385" y="679"/>
                  <a:pt x="6382" y="683"/>
                </a:cubicBezTo>
                <a:cubicBezTo>
                  <a:pt x="6380" y="686"/>
                  <a:pt x="6378" y="688"/>
                  <a:pt x="6377" y="688"/>
                </a:cubicBezTo>
                <a:cubicBezTo>
                  <a:pt x="6376" y="688"/>
                  <a:pt x="6375" y="689"/>
                  <a:pt x="6375" y="692"/>
                </a:cubicBezTo>
                <a:cubicBezTo>
                  <a:pt x="6375" y="694"/>
                  <a:pt x="6368" y="702"/>
                  <a:pt x="6352" y="716"/>
                </a:cubicBezTo>
                <a:cubicBezTo>
                  <a:pt x="6337" y="730"/>
                  <a:pt x="6328" y="737"/>
                  <a:pt x="6325" y="737"/>
                </a:cubicBezTo>
                <a:cubicBezTo>
                  <a:pt x="6324" y="737"/>
                  <a:pt x="6323" y="737"/>
                  <a:pt x="6322" y="739"/>
                </a:cubicBezTo>
                <a:cubicBezTo>
                  <a:pt x="6321" y="740"/>
                  <a:pt x="6317" y="742"/>
                  <a:pt x="6310" y="746"/>
                </a:cubicBezTo>
                <a:cubicBezTo>
                  <a:pt x="6303" y="749"/>
                  <a:pt x="6296" y="752"/>
                  <a:pt x="6288" y="755"/>
                </a:cubicBezTo>
                <a:cubicBezTo>
                  <a:pt x="6280" y="758"/>
                  <a:pt x="6275" y="759"/>
                  <a:pt x="6272" y="759"/>
                </a:cubicBezTo>
                <a:cubicBezTo>
                  <a:pt x="6266" y="759"/>
                  <a:pt x="6262" y="758"/>
                  <a:pt x="6257" y="755"/>
                </a:cubicBezTo>
                <a:cubicBezTo>
                  <a:pt x="6252" y="752"/>
                  <a:pt x="6250" y="750"/>
                  <a:pt x="6250" y="747"/>
                </a:cubicBezTo>
                <a:cubicBezTo>
                  <a:pt x="6250" y="746"/>
                  <a:pt x="6249" y="745"/>
                  <a:pt x="6248" y="743"/>
                </a:cubicBezTo>
                <a:cubicBezTo>
                  <a:pt x="6247" y="742"/>
                  <a:pt x="6245" y="741"/>
                  <a:pt x="6243" y="740"/>
                </a:cubicBezTo>
                <a:cubicBezTo>
                  <a:pt x="6238" y="738"/>
                  <a:pt x="6234" y="735"/>
                  <a:pt x="6229" y="730"/>
                </a:cubicBezTo>
                <a:cubicBezTo>
                  <a:pt x="6224" y="725"/>
                  <a:pt x="6221" y="720"/>
                  <a:pt x="6220" y="717"/>
                </a:cubicBezTo>
                <a:cubicBezTo>
                  <a:pt x="6218" y="713"/>
                  <a:pt x="6217" y="708"/>
                  <a:pt x="6217" y="702"/>
                </a:cubicBezTo>
                <a:cubicBezTo>
                  <a:pt x="6217" y="682"/>
                  <a:pt x="6225" y="648"/>
                  <a:pt x="6241" y="598"/>
                </a:cubicBezTo>
                <a:cubicBezTo>
                  <a:pt x="6243" y="593"/>
                  <a:pt x="6245" y="589"/>
                  <a:pt x="6246" y="585"/>
                </a:cubicBezTo>
                <a:lnTo>
                  <a:pt x="6246" y="579"/>
                </a:lnTo>
                <a:cubicBezTo>
                  <a:pt x="6246" y="579"/>
                  <a:pt x="6246" y="579"/>
                  <a:pt x="6246" y="579"/>
                </a:cubicBezTo>
                <a:cubicBezTo>
                  <a:pt x="6246" y="579"/>
                  <a:pt x="6246" y="578"/>
                  <a:pt x="6247" y="577"/>
                </a:cubicBezTo>
                <a:cubicBezTo>
                  <a:pt x="6248" y="577"/>
                  <a:pt x="6250" y="572"/>
                  <a:pt x="6253" y="563"/>
                </a:cubicBezTo>
                <a:cubicBezTo>
                  <a:pt x="6254" y="559"/>
                  <a:pt x="6256" y="556"/>
                  <a:pt x="6257" y="553"/>
                </a:cubicBezTo>
                <a:cubicBezTo>
                  <a:pt x="6258" y="550"/>
                  <a:pt x="6259" y="549"/>
                  <a:pt x="6260" y="549"/>
                </a:cubicBezTo>
                <a:cubicBezTo>
                  <a:pt x="6261" y="549"/>
                  <a:pt x="6261" y="547"/>
                  <a:pt x="6261" y="544"/>
                </a:cubicBezTo>
                <a:cubicBezTo>
                  <a:pt x="6261" y="542"/>
                  <a:pt x="6261" y="540"/>
                  <a:pt x="6262" y="539"/>
                </a:cubicBezTo>
                <a:cubicBezTo>
                  <a:pt x="6262" y="538"/>
                  <a:pt x="6263" y="537"/>
                  <a:pt x="6264" y="537"/>
                </a:cubicBezTo>
                <a:cubicBezTo>
                  <a:pt x="6265" y="537"/>
                  <a:pt x="6266" y="536"/>
                  <a:pt x="6266" y="535"/>
                </a:cubicBezTo>
                <a:lnTo>
                  <a:pt x="6265" y="534"/>
                </a:lnTo>
                <a:lnTo>
                  <a:pt x="6265" y="530"/>
                </a:lnTo>
                <a:cubicBezTo>
                  <a:pt x="6265" y="528"/>
                  <a:pt x="6266" y="525"/>
                  <a:pt x="6267" y="524"/>
                </a:cubicBezTo>
                <a:cubicBezTo>
                  <a:pt x="6268" y="523"/>
                  <a:pt x="6269" y="523"/>
                  <a:pt x="6270" y="523"/>
                </a:cubicBezTo>
                <a:lnTo>
                  <a:pt x="6271" y="523"/>
                </a:lnTo>
                <a:cubicBezTo>
                  <a:pt x="6271" y="523"/>
                  <a:pt x="6272" y="523"/>
                  <a:pt x="6272" y="522"/>
                </a:cubicBezTo>
                <a:lnTo>
                  <a:pt x="6271" y="515"/>
                </a:lnTo>
                <a:cubicBezTo>
                  <a:pt x="6271" y="513"/>
                  <a:pt x="6271" y="512"/>
                  <a:pt x="6273" y="512"/>
                </a:cubicBezTo>
                <a:cubicBezTo>
                  <a:pt x="6274" y="512"/>
                  <a:pt x="6275" y="512"/>
                  <a:pt x="6276" y="511"/>
                </a:cubicBezTo>
                <a:cubicBezTo>
                  <a:pt x="6278" y="510"/>
                  <a:pt x="6278" y="508"/>
                  <a:pt x="6278" y="505"/>
                </a:cubicBezTo>
                <a:cubicBezTo>
                  <a:pt x="6278" y="504"/>
                  <a:pt x="6278" y="504"/>
                  <a:pt x="6278" y="504"/>
                </a:cubicBezTo>
                <a:lnTo>
                  <a:pt x="6274" y="505"/>
                </a:lnTo>
                <a:cubicBezTo>
                  <a:pt x="6274" y="505"/>
                  <a:pt x="6274" y="504"/>
                  <a:pt x="6275" y="504"/>
                </a:cubicBezTo>
                <a:cubicBezTo>
                  <a:pt x="6275" y="504"/>
                  <a:pt x="6276" y="503"/>
                  <a:pt x="6278" y="501"/>
                </a:cubicBezTo>
                <a:lnTo>
                  <a:pt x="6278" y="502"/>
                </a:lnTo>
                <a:cubicBezTo>
                  <a:pt x="6280" y="502"/>
                  <a:pt x="6281" y="501"/>
                  <a:pt x="6283" y="499"/>
                </a:cubicBezTo>
                <a:cubicBezTo>
                  <a:pt x="6284" y="498"/>
                  <a:pt x="6284" y="497"/>
                  <a:pt x="6284" y="496"/>
                </a:cubicBezTo>
                <a:lnTo>
                  <a:pt x="6284" y="496"/>
                </a:lnTo>
                <a:lnTo>
                  <a:pt x="6284" y="495"/>
                </a:lnTo>
                <a:cubicBezTo>
                  <a:pt x="6284" y="495"/>
                  <a:pt x="6285" y="492"/>
                  <a:pt x="6288" y="487"/>
                </a:cubicBezTo>
                <a:cubicBezTo>
                  <a:pt x="6290" y="483"/>
                  <a:pt x="6291" y="480"/>
                  <a:pt x="6291" y="479"/>
                </a:cubicBezTo>
                <a:cubicBezTo>
                  <a:pt x="6291" y="478"/>
                  <a:pt x="6291" y="478"/>
                  <a:pt x="6290" y="478"/>
                </a:cubicBezTo>
                <a:cubicBezTo>
                  <a:pt x="6278" y="478"/>
                  <a:pt x="6245" y="485"/>
                  <a:pt x="6191" y="498"/>
                </a:cubicBezTo>
                <a:cubicBezTo>
                  <a:pt x="6177" y="502"/>
                  <a:pt x="6168" y="504"/>
                  <a:pt x="6164" y="505"/>
                </a:cubicBezTo>
                <a:lnTo>
                  <a:pt x="6163" y="505"/>
                </a:lnTo>
                <a:cubicBezTo>
                  <a:pt x="6163" y="504"/>
                  <a:pt x="6167" y="503"/>
                  <a:pt x="6176" y="500"/>
                </a:cubicBezTo>
                <a:cubicBezTo>
                  <a:pt x="6185" y="497"/>
                  <a:pt x="6190" y="495"/>
                  <a:pt x="6190" y="493"/>
                </a:cubicBezTo>
                <a:lnTo>
                  <a:pt x="6189" y="492"/>
                </a:lnTo>
                <a:lnTo>
                  <a:pt x="6191" y="492"/>
                </a:lnTo>
                <a:cubicBezTo>
                  <a:pt x="6197" y="492"/>
                  <a:pt x="6203" y="492"/>
                  <a:pt x="6209" y="490"/>
                </a:cubicBezTo>
                <a:cubicBezTo>
                  <a:pt x="6217" y="488"/>
                  <a:pt x="6222" y="486"/>
                  <a:pt x="6222" y="485"/>
                </a:cubicBezTo>
                <a:cubicBezTo>
                  <a:pt x="6222" y="483"/>
                  <a:pt x="6220" y="482"/>
                  <a:pt x="6215" y="481"/>
                </a:cubicBezTo>
                <a:cubicBezTo>
                  <a:pt x="6208" y="481"/>
                  <a:pt x="6204" y="482"/>
                  <a:pt x="6203" y="485"/>
                </a:cubicBezTo>
                <a:lnTo>
                  <a:pt x="6202" y="486"/>
                </a:lnTo>
                <a:cubicBezTo>
                  <a:pt x="6202" y="487"/>
                  <a:pt x="6202" y="487"/>
                  <a:pt x="6203" y="487"/>
                </a:cubicBezTo>
                <a:cubicBezTo>
                  <a:pt x="6203" y="487"/>
                  <a:pt x="6204" y="487"/>
                  <a:pt x="6206" y="486"/>
                </a:cubicBezTo>
                <a:lnTo>
                  <a:pt x="6209" y="485"/>
                </a:lnTo>
                <a:cubicBezTo>
                  <a:pt x="6209" y="486"/>
                  <a:pt x="6208" y="487"/>
                  <a:pt x="6207" y="487"/>
                </a:cubicBezTo>
                <a:cubicBezTo>
                  <a:pt x="6206" y="488"/>
                  <a:pt x="6205" y="489"/>
                  <a:pt x="6204" y="489"/>
                </a:cubicBezTo>
                <a:cubicBezTo>
                  <a:pt x="6204" y="489"/>
                  <a:pt x="6203" y="488"/>
                  <a:pt x="6201" y="487"/>
                </a:cubicBezTo>
                <a:cubicBezTo>
                  <a:pt x="6200" y="485"/>
                  <a:pt x="6199" y="485"/>
                  <a:pt x="6197" y="485"/>
                </a:cubicBezTo>
                <a:lnTo>
                  <a:pt x="6197" y="485"/>
                </a:lnTo>
                <a:cubicBezTo>
                  <a:pt x="6196" y="485"/>
                  <a:pt x="6196" y="485"/>
                  <a:pt x="6196" y="486"/>
                </a:cubicBezTo>
                <a:lnTo>
                  <a:pt x="6197" y="490"/>
                </a:lnTo>
                <a:cubicBezTo>
                  <a:pt x="6197" y="491"/>
                  <a:pt x="6196" y="492"/>
                  <a:pt x="6195" y="492"/>
                </a:cubicBezTo>
                <a:cubicBezTo>
                  <a:pt x="6194" y="491"/>
                  <a:pt x="6193" y="490"/>
                  <a:pt x="6191" y="487"/>
                </a:cubicBezTo>
                <a:cubicBezTo>
                  <a:pt x="6189" y="484"/>
                  <a:pt x="6187" y="482"/>
                  <a:pt x="6186" y="482"/>
                </a:cubicBezTo>
                <a:cubicBezTo>
                  <a:pt x="6186" y="482"/>
                  <a:pt x="6185" y="483"/>
                  <a:pt x="6185" y="484"/>
                </a:cubicBezTo>
                <a:lnTo>
                  <a:pt x="6186" y="487"/>
                </a:lnTo>
                <a:cubicBezTo>
                  <a:pt x="6186" y="490"/>
                  <a:pt x="6184" y="490"/>
                  <a:pt x="6180" y="490"/>
                </a:cubicBezTo>
                <a:cubicBezTo>
                  <a:pt x="6176" y="490"/>
                  <a:pt x="6174" y="490"/>
                  <a:pt x="6174" y="489"/>
                </a:cubicBezTo>
                <a:cubicBezTo>
                  <a:pt x="6174" y="488"/>
                  <a:pt x="6173" y="488"/>
                  <a:pt x="6173" y="488"/>
                </a:cubicBezTo>
                <a:lnTo>
                  <a:pt x="6171" y="491"/>
                </a:lnTo>
                <a:cubicBezTo>
                  <a:pt x="6170" y="494"/>
                  <a:pt x="6168" y="496"/>
                  <a:pt x="6164" y="496"/>
                </a:cubicBezTo>
                <a:cubicBezTo>
                  <a:pt x="6159" y="496"/>
                  <a:pt x="6156" y="497"/>
                  <a:pt x="6155" y="499"/>
                </a:cubicBezTo>
                <a:cubicBezTo>
                  <a:pt x="6155" y="499"/>
                  <a:pt x="6154" y="499"/>
                  <a:pt x="6152" y="499"/>
                </a:cubicBezTo>
                <a:lnTo>
                  <a:pt x="6149" y="499"/>
                </a:lnTo>
                <a:cubicBezTo>
                  <a:pt x="6149" y="499"/>
                  <a:pt x="6148" y="499"/>
                  <a:pt x="6148" y="499"/>
                </a:cubicBezTo>
                <a:cubicBezTo>
                  <a:pt x="6147" y="499"/>
                  <a:pt x="6147" y="500"/>
                  <a:pt x="6147" y="500"/>
                </a:cubicBezTo>
                <a:cubicBezTo>
                  <a:pt x="6147" y="501"/>
                  <a:pt x="6147" y="502"/>
                  <a:pt x="6147" y="502"/>
                </a:cubicBezTo>
                <a:lnTo>
                  <a:pt x="6143" y="502"/>
                </a:lnTo>
                <a:cubicBezTo>
                  <a:pt x="6143" y="502"/>
                  <a:pt x="6142" y="502"/>
                  <a:pt x="6142" y="503"/>
                </a:cubicBezTo>
                <a:cubicBezTo>
                  <a:pt x="6142" y="504"/>
                  <a:pt x="6141" y="504"/>
                  <a:pt x="6140" y="504"/>
                </a:cubicBezTo>
                <a:lnTo>
                  <a:pt x="6138" y="504"/>
                </a:lnTo>
                <a:lnTo>
                  <a:pt x="6138" y="504"/>
                </a:lnTo>
                <a:cubicBezTo>
                  <a:pt x="6136" y="504"/>
                  <a:pt x="6135" y="504"/>
                  <a:pt x="6133" y="505"/>
                </a:cubicBezTo>
                <a:cubicBezTo>
                  <a:pt x="6132" y="507"/>
                  <a:pt x="6131" y="507"/>
                  <a:pt x="6130" y="508"/>
                </a:cubicBezTo>
                <a:cubicBezTo>
                  <a:pt x="6129" y="508"/>
                  <a:pt x="6128" y="509"/>
                  <a:pt x="6128" y="509"/>
                </a:cubicBezTo>
                <a:cubicBezTo>
                  <a:pt x="6127" y="509"/>
                  <a:pt x="6127" y="509"/>
                  <a:pt x="6127" y="511"/>
                </a:cubicBezTo>
                <a:lnTo>
                  <a:pt x="6127" y="512"/>
                </a:lnTo>
                <a:cubicBezTo>
                  <a:pt x="6128" y="515"/>
                  <a:pt x="6129" y="517"/>
                  <a:pt x="6129" y="517"/>
                </a:cubicBezTo>
                <a:cubicBezTo>
                  <a:pt x="6130" y="517"/>
                  <a:pt x="6130" y="516"/>
                  <a:pt x="6130" y="514"/>
                </a:cubicBezTo>
                <a:cubicBezTo>
                  <a:pt x="6130" y="513"/>
                  <a:pt x="6130" y="512"/>
                  <a:pt x="6130" y="511"/>
                </a:cubicBezTo>
                <a:lnTo>
                  <a:pt x="6131" y="511"/>
                </a:lnTo>
                <a:cubicBezTo>
                  <a:pt x="6132" y="511"/>
                  <a:pt x="6133" y="511"/>
                  <a:pt x="6133" y="513"/>
                </a:cubicBezTo>
                <a:cubicBezTo>
                  <a:pt x="6133" y="514"/>
                  <a:pt x="6133" y="514"/>
                  <a:pt x="6133" y="515"/>
                </a:cubicBezTo>
                <a:lnTo>
                  <a:pt x="6133" y="516"/>
                </a:lnTo>
                <a:cubicBezTo>
                  <a:pt x="6133" y="516"/>
                  <a:pt x="6134" y="516"/>
                  <a:pt x="6135" y="514"/>
                </a:cubicBezTo>
                <a:cubicBezTo>
                  <a:pt x="6137" y="513"/>
                  <a:pt x="6137" y="513"/>
                  <a:pt x="6138" y="513"/>
                </a:cubicBezTo>
                <a:cubicBezTo>
                  <a:pt x="6138" y="513"/>
                  <a:pt x="6138" y="513"/>
                  <a:pt x="6138" y="513"/>
                </a:cubicBezTo>
                <a:lnTo>
                  <a:pt x="6137" y="515"/>
                </a:lnTo>
                <a:cubicBezTo>
                  <a:pt x="6136" y="518"/>
                  <a:pt x="6135" y="519"/>
                  <a:pt x="6132" y="519"/>
                </a:cubicBezTo>
                <a:cubicBezTo>
                  <a:pt x="6129" y="519"/>
                  <a:pt x="6128" y="520"/>
                  <a:pt x="6128" y="521"/>
                </a:cubicBezTo>
                <a:lnTo>
                  <a:pt x="6128" y="522"/>
                </a:lnTo>
                <a:cubicBezTo>
                  <a:pt x="6128" y="523"/>
                  <a:pt x="6129" y="524"/>
                  <a:pt x="6131" y="524"/>
                </a:cubicBezTo>
                <a:cubicBezTo>
                  <a:pt x="6133" y="525"/>
                  <a:pt x="6134" y="527"/>
                  <a:pt x="6134" y="527"/>
                </a:cubicBezTo>
                <a:lnTo>
                  <a:pt x="6133" y="530"/>
                </a:lnTo>
                <a:cubicBezTo>
                  <a:pt x="6133" y="530"/>
                  <a:pt x="6133" y="530"/>
                  <a:pt x="6135" y="530"/>
                </a:cubicBezTo>
                <a:lnTo>
                  <a:pt x="6136" y="530"/>
                </a:lnTo>
                <a:cubicBezTo>
                  <a:pt x="6136" y="530"/>
                  <a:pt x="6137" y="531"/>
                  <a:pt x="6138" y="532"/>
                </a:cubicBezTo>
                <a:cubicBezTo>
                  <a:pt x="6138" y="534"/>
                  <a:pt x="6138" y="536"/>
                  <a:pt x="6139" y="536"/>
                </a:cubicBezTo>
                <a:lnTo>
                  <a:pt x="6140" y="537"/>
                </a:lnTo>
                <a:cubicBezTo>
                  <a:pt x="6140" y="537"/>
                  <a:pt x="6140" y="537"/>
                  <a:pt x="6140" y="536"/>
                </a:cubicBezTo>
                <a:cubicBezTo>
                  <a:pt x="6140" y="536"/>
                  <a:pt x="6139" y="535"/>
                  <a:pt x="6139" y="534"/>
                </a:cubicBezTo>
                <a:lnTo>
                  <a:pt x="6139" y="534"/>
                </a:lnTo>
                <a:cubicBezTo>
                  <a:pt x="6139" y="533"/>
                  <a:pt x="6140" y="533"/>
                  <a:pt x="6140" y="533"/>
                </a:cubicBezTo>
                <a:cubicBezTo>
                  <a:pt x="6142" y="533"/>
                  <a:pt x="6143" y="534"/>
                  <a:pt x="6144" y="537"/>
                </a:cubicBezTo>
                <a:cubicBezTo>
                  <a:pt x="6145" y="539"/>
                  <a:pt x="6148" y="544"/>
                  <a:pt x="6152" y="550"/>
                </a:cubicBezTo>
                <a:cubicBezTo>
                  <a:pt x="6175" y="573"/>
                  <a:pt x="6186" y="600"/>
                  <a:pt x="6186" y="628"/>
                </a:cubicBezTo>
                <a:cubicBezTo>
                  <a:pt x="6186" y="654"/>
                  <a:pt x="6176" y="683"/>
                  <a:pt x="6157" y="713"/>
                </a:cubicBezTo>
                <a:cubicBezTo>
                  <a:pt x="6138" y="742"/>
                  <a:pt x="6117" y="765"/>
                  <a:pt x="6095" y="781"/>
                </a:cubicBezTo>
                <a:cubicBezTo>
                  <a:pt x="6078" y="794"/>
                  <a:pt x="6063" y="800"/>
                  <a:pt x="6050" y="800"/>
                </a:cubicBezTo>
                <a:close/>
                <a:moveTo>
                  <a:pt x="6396" y="615"/>
                </a:moveTo>
                <a:cubicBezTo>
                  <a:pt x="6396" y="615"/>
                  <a:pt x="6397" y="614"/>
                  <a:pt x="6397" y="611"/>
                </a:cubicBezTo>
                <a:cubicBezTo>
                  <a:pt x="6397" y="608"/>
                  <a:pt x="6396" y="607"/>
                  <a:pt x="6396" y="607"/>
                </a:cubicBezTo>
                <a:cubicBezTo>
                  <a:pt x="6395" y="607"/>
                  <a:pt x="6395" y="609"/>
                  <a:pt x="6395" y="615"/>
                </a:cubicBezTo>
                <a:lnTo>
                  <a:pt x="6396" y="615"/>
                </a:lnTo>
                <a:close/>
                <a:moveTo>
                  <a:pt x="6274" y="752"/>
                </a:moveTo>
                <a:cubicBezTo>
                  <a:pt x="6276" y="752"/>
                  <a:pt x="6278" y="752"/>
                  <a:pt x="6279" y="751"/>
                </a:cubicBezTo>
                <a:cubicBezTo>
                  <a:pt x="6281" y="750"/>
                  <a:pt x="6282" y="750"/>
                  <a:pt x="6282" y="749"/>
                </a:cubicBezTo>
                <a:cubicBezTo>
                  <a:pt x="6282" y="749"/>
                  <a:pt x="6281" y="748"/>
                  <a:pt x="6278" y="748"/>
                </a:cubicBezTo>
                <a:cubicBezTo>
                  <a:pt x="6270" y="748"/>
                  <a:pt x="6266" y="749"/>
                  <a:pt x="6266" y="751"/>
                </a:cubicBezTo>
                <a:cubicBezTo>
                  <a:pt x="6266" y="752"/>
                  <a:pt x="6267" y="752"/>
                  <a:pt x="6270" y="752"/>
                </a:cubicBezTo>
                <a:lnTo>
                  <a:pt x="6274" y="752"/>
                </a:lnTo>
                <a:close/>
                <a:moveTo>
                  <a:pt x="6343" y="718"/>
                </a:moveTo>
                <a:cubicBezTo>
                  <a:pt x="6343" y="718"/>
                  <a:pt x="6344" y="718"/>
                  <a:pt x="6345" y="717"/>
                </a:cubicBezTo>
                <a:cubicBezTo>
                  <a:pt x="6346" y="716"/>
                  <a:pt x="6348" y="715"/>
                  <a:pt x="6350" y="713"/>
                </a:cubicBezTo>
                <a:cubicBezTo>
                  <a:pt x="6352" y="711"/>
                  <a:pt x="6355" y="709"/>
                  <a:pt x="6356" y="706"/>
                </a:cubicBezTo>
                <a:cubicBezTo>
                  <a:pt x="6359" y="703"/>
                  <a:pt x="6360" y="701"/>
                  <a:pt x="6360" y="701"/>
                </a:cubicBezTo>
                <a:cubicBezTo>
                  <a:pt x="6360" y="701"/>
                  <a:pt x="6357" y="703"/>
                  <a:pt x="6353" y="708"/>
                </a:cubicBezTo>
                <a:cubicBezTo>
                  <a:pt x="6346" y="713"/>
                  <a:pt x="6342" y="717"/>
                  <a:pt x="6342" y="718"/>
                </a:cubicBezTo>
                <a:cubicBezTo>
                  <a:pt x="6342" y="718"/>
                  <a:pt x="6342" y="718"/>
                  <a:pt x="6343" y="718"/>
                </a:cubicBezTo>
                <a:close/>
                <a:moveTo>
                  <a:pt x="6365" y="699"/>
                </a:moveTo>
                <a:cubicBezTo>
                  <a:pt x="6365" y="699"/>
                  <a:pt x="6367" y="698"/>
                  <a:pt x="6369" y="696"/>
                </a:cubicBezTo>
                <a:cubicBezTo>
                  <a:pt x="6371" y="693"/>
                  <a:pt x="6372" y="691"/>
                  <a:pt x="6372" y="690"/>
                </a:cubicBezTo>
                <a:cubicBezTo>
                  <a:pt x="6371" y="690"/>
                  <a:pt x="6370" y="691"/>
                  <a:pt x="6368" y="694"/>
                </a:cubicBezTo>
                <a:cubicBezTo>
                  <a:pt x="6366" y="696"/>
                  <a:pt x="6365" y="698"/>
                  <a:pt x="6365" y="699"/>
                </a:cubicBezTo>
                <a:close/>
                <a:moveTo>
                  <a:pt x="6378" y="681"/>
                </a:moveTo>
                <a:lnTo>
                  <a:pt x="6382" y="677"/>
                </a:lnTo>
                <a:cubicBezTo>
                  <a:pt x="6384" y="674"/>
                  <a:pt x="6386" y="672"/>
                  <a:pt x="6386" y="671"/>
                </a:cubicBezTo>
                <a:lnTo>
                  <a:pt x="6386" y="671"/>
                </a:lnTo>
                <a:lnTo>
                  <a:pt x="6385" y="671"/>
                </a:lnTo>
                <a:cubicBezTo>
                  <a:pt x="6384" y="671"/>
                  <a:pt x="6383" y="672"/>
                  <a:pt x="6381" y="675"/>
                </a:cubicBezTo>
                <a:cubicBezTo>
                  <a:pt x="6379" y="679"/>
                  <a:pt x="6378" y="680"/>
                  <a:pt x="6378" y="681"/>
                </a:cubicBezTo>
                <a:close/>
                <a:moveTo>
                  <a:pt x="6382" y="612"/>
                </a:moveTo>
                <a:cubicBezTo>
                  <a:pt x="6383" y="612"/>
                  <a:pt x="6383" y="611"/>
                  <a:pt x="6384" y="610"/>
                </a:cubicBezTo>
                <a:cubicBezTo>
                  <a:pt x="6385" y="609"/>
                  <a:pt x="6385" y="608"/>
                  <a:pt x="6385" y="608"/>
                </a:cubicBezTo>
                <a:cubicBezTo>
                  <a:pt x="6385" y="606"/>
                  <a:pt x="6384" y="606"/>
                  <a:pt x="6383" y="606"/>
                </a:cubicBezTo>
                <a:cubicBezTo>
                  <a:pt x="6382" y="606"/>
                  <a:pt x="6381" y="607"/>
                  <a:pt x="6381" y="608"/>
                </a:cubicBezTo>
                <a:cubicBezTo>
                  <a:pt x="6381" y="611"/>
                  <a:pt x="6381" y="612"/>
                  <a:pt x="6382" y="612"/>
                </a:cubicBezTo>
                <a:close/>
                <a:moveTo>
                  <a:pt x="6380" y="517"/>
                </a:moveTo>
                <a:cubicBezTo>
                  <a:pt x="6381" y="517"/>
                  <a:pt x="6383" y="516"/>
                  <a:pt x="6387" y="514"/>
                </a:cubicBezTo>
                <a:cubicBezTo>
                  <a:pt x="6392" y="510"/>
                  <a:pt x="6396" y="507"/>
                  <a:pt x="6397" y="506"/>
                </a:cubicBezTo>
                <a:cubicBezTo>
                  <a:pt x="6396" y="506"/>
                  <a:pt x="6396" y="506"/>
                  <a:pt x="6394" y="507"/>
                </a:cubicBezTo>
                <a:cubicBezTo>
                  <a:pt x="6393" y="507"/>
                  <a:pt x="6391" y="508"/>
                  <a:pt x="6388" y="510"/>
                </a:cubicBezTo>
                <a:cubicBezTo>
                  <a:pt x="6386" y="511"/>
                  <a:pt x="6384" y="513"/>
                  <a:pt x="6382" y="514"/>
                </a:cubicBezTo>
                <a:cubicBezTo>
                  <a:pt x="6380" y="516"/>
                  <a:pt x="6379" y="517"/>
                  <a:pt x="6379" y="517"/>
                </a:cubicBezTo>
                <a:lnTo>
                  <a:pt x="6380" y="517"/>
                </a:lnTo>
                <a:close/>
                <a:moveTo>
                  <a:pt x="6376" y="634"/>
                </a:moveTo>
                <a:cubicBezTo>
                  <a:pt x="6376" y="634"/>
                  <a:pt x="6377" y="633"/>
                  <a:pt x="6378" y="629"/>
                </a:cubicBezTo>
                <a:cubicBezTo>
                  <a:pt x="6380" y="623"/>
                  <a:pt x="6381" y="619"/>
                  <a:pt x="6381" y="617"/>
                </a:cubicBezTo>
                <a:lnTo>
                  <a:pt x="6381" y="616"/>
                </a:lnTo>
                <a:cubicBezTo>
                  <a:pt x="6381" y="616"/>
                  <a:pt x="6380" y="619"/>
                  <a:pt x="6378" y="623"/>
                </a:cubicBezTo>
                <a:cubicBezTo>
                  <a:pt x="6376" y="630"/>
                  <a:pt x="6375" y="633"/>
                  <a:pt x="6375" y="634"/>
                </a:cubicBezTo>
                <a:lnTo>
                  <a:pt x="6376" y="634"/>
                </a:lnTo>
                <a:close/>
                <a:moveTo>
                  <a:pt x="6366" y="665"/>
                </a:moveTo>
                <a:cubicBezTo>
                  <a:pt x="6367" y="665"/>
                  <a:pt x="6368" y="664"/>
                  <a:pt x="6368" y="663"/>
                </a:cubicBezTo>
                <a:cubicBezTo>
                  <a:pt x="6369" y="662"/>
                  <a:pt x="6370" y="661"/>
                  <a:pt x="6370" y="661"/>
                </a:cubicBezTo>
                <a:cubicBezTo>
                  <a:pt x="6370" y="658"/>
                  <a:pt x="6371" y="655"/>
                  <a:pt x="6373" y="653"/>
                </a:cubicBezTo>
                <a:cubicBezTo>
                  <a:pt x="6375" y="648"/>
                  <a:pt x="6378" y="645"/>
                  <a:pt x="6380" y="645"/>
                </a:cubicBezTo>
                <a:cubicBezTo>
                  <a:pt x="6381" y="645"/>
                  <a:pt x="6381" y="645"/>
                  <a:pt x="6382" y="646"/>
                </a:cubicBezTo>
                <a:cubicBezTo>
                  <a:pt x="6383" y="646"/>
                  <a:pt x="6383" y="646"/>
                  <a:pt x="6384" y="646"/>
                </a:cubicBezTo>
                <a:cubicBezTo>
                  <a:pt x="6384" y="646"/>
                  <a:pt x="6383" y="645"/>
                  <a:pt x="6382" y="644"/>
                </a:cubicBezTo>
                <a:cubicBezTo>
                  <a:pt x="6381" y="642"/>
                  <a:pt x="6381" y="641"/>
                  <a:pt x="6381" y="639"/>
                </a:cubicBezTo>
                <a:lnTo>
                  <a:pt x="6381" y="637"/>
                </a:lnTo>
                <a:cubicBezTo>
                  <a:pt x="6381" y="637"/>
                  <a:pt x="6381" y="637"/>
                  <a:pt x="6380" y="637"/>
                </a:cubicBezTo>
                <a:cubicBezTo>
                  <a:pt x="6378" y="637"/>
                  <a:pt x="6377" y="638"/>
                  <a:pt x="6377" y="641"/>
                </a:cubicBezTo>
                <a:cubicBezTo>
                  <a:pt x="6377" y="643"/>
                  <a:pt x="6376" y="644"/>
                  <a:pt x="6375" y="644"/>
                </a:cubicBezTo>
                <a:cubicBezTo>
                  <a:pt x="6374" y="645"/>
                  <a:pt x="6372" y="645"/>
                  <a:pt x="6371" y="645"/>
                </a:cubicBezTo>
                <a:cubicBezTo>
                  <a:pt x="6370" y="646"/>
                  <a:pt x="6369" y="646"/>
                  <a:pt x="6368" y="646"/>
                </a:cubicBezTo>
                <a:lnTo>
                  <a:pt x="6367" y="646"/>
                </a:lnTo>
                <a:cubicBezTo>
                  <a:pt x="6367" y="647"/>
                  <a:pt x="6368" y="648"/>
                  <a:pt x="6369" y="650"/>
                </a:cubicBezTo>
                <a:cubicBezTo>
                  <a:pt x="6370" y="651"/>
                  <a:pt x="6370" y="652"/>
                  <a:pt x="6370" y="653"/>
                </a:cubicBezTo>
                <a:cubicBezTo>
                  <a:pt x="6370" y="653"/>
                  <a:pt x="6370" y="653"/>
                  <a:pt x="6369" y="653"/>
                </a:cubicBezTo>
                <a:cubicBezTo>
                  <a:pt x="6368" y="653"/>
                  <a:pt x="6367" y="654"/>
                  <a:pt x="6366" y="654"/>
                </a:cubicBezTo>
                <a:lnTo>
                  <a:pt x="6365" y="662"/>
                </a:lnTo>
                <a:cubicBezTo>
                  <a:pt x="6365" y="664"/>
                  <a:pt x="6365" y="665"/>
                  <a:pt x="6366" y="665"/>
                </a:cubicBezTo>
                <a:close/>
                <a:moveTo>
                  <a:pt x="6346" y="658"/>
                </a:moveTo>
                <a:cubicBezTo>
                  <a:pt x="6348" y="658"/>
                  <a:pt x="6349" y="657"/>
                  <a:pt x="6349" y="656"/>
                </a:cubicBezTo>
                <a:cubicBezTo>
                  <a:pt x="6349" y="654"/>
                  <a:pt x="6348" y="653"/>
                  <a:pt x="6348" y="653"/>
                </a:cubicBezTo>
                <a:cubicBezTo>
                  <a:pt x="6347" y="653"/>
                  <a:pt x="6346" y="654"/>
                  <a:pt x="6346" y="655"/>
                </a:cubicBezTo>
                <a:cubicBezTo>
                  <a:pt x="6345" y="656"/>
                  <a:pt x="6345" y="657"/>
                  <a:pt x="6345" y="657"/>
                </a:cubicBezTo>
                <a:cubicBezTo>
                  <a:pt x="6345" y="658"/>
                  <a:pt x="6346" y="658"/>
                  <a:pt x="6346" y="658"/>
                </a:cubicBezTo>
                <a:close/>
                <a:moveTo>
                  <a:pt x="6299" y="719"/>
                </a:moveTo>
                <a:cubicBezTo>
                  <a:pt x="6301" y="718"/>
                  <a:pt x="6302" y="717"/>
                  <a:pt x="6302" y="715"/>
                </a:cubicBezTo>
                <a:cubicBezTo>
                  <a:pt x="6302" y="715"/>
                  <a:pt x="6301" y="714"/>
                  <a:pt x="6301" y="713"/>
                </a:cubicBezTo>
                <a:cubicBezTo>
                  <a:pt x="6301" y="713"/>
                  <a:pt x="6300" y="712"/>
                  <a:pt x="6299" y="712"/>
                </a:cubicBezTo>
                <a:cubicBezTo>
                  <a:pt x="6298" y="712"/>
                  <a:pt x="6297" y="714"/>
                  <a:pt x="6297" y="717"/>
                </a:cubicBezTo>
                <a:cubicBezTo>
                  <a:pt x="6297" y="718"/>
                  <a:pt x="6298" y="719"/>
                  <a:pt x="6298" y="719"/>
                </a:cubicBezTo>
                <a:lnTo>
                  <a:pt x="6299" y="719"/>
                </a:lnTo>
                <a:close/>
                <a:moveTo>
                  <a:pt x="6291" y="720"/>
                </a:moveTo>
                <a:cubicBezTo>
                  <a:pt x="6291" y="720"/>
                  <a:pt x="6292" y="720"/>
                  <a:pt x="6293" y="719"/>
                </a:cubicBezTo>
                <a:cubicBezTo>
                  <a:pt x="6293" y="718"/>
                  <a:pt x="6293" y="717"/>
                  <a:pt x="6293" y="716"/>
                </a:cubicBezTo>
                <a:cubicBezTo>
                  <a:pt x="6293" y="715"/>
                  <a:pt x="6292" y="714"/>
                  <a:pt x="6291" y="714"/>
                </a:cubicBezTo>
                <a:cubicBezTo>
                  <a:pt x="6291" y="714"/>
                  <a:pt x="6290" y="715"/>
                  <a:pt x="6290" y="717"/>
                </a:cubicBezTo>
                <a:cubicBezTo>
                  <a:pt x="6290" y="719"/>
                  <a:pt x="6291" y="720"/>
                  <a:pt x="6291" y="720"/>
                </a:cubicBezTo>
                <a:close/>
                <a:moveTo>
                  <a:pt x="6286" y="727"/>
                </a:moveTo>
                <a:cubicBezTo>
                  <a:pt x="6286" y="727"/>
                  <a:pt x="6287" y="726"/>
                  <a:pt x="6289" y="725"/>
                </a:cubicBezTo>
                <a:cubicBezTo>
                  <a:pt x="6290" y="725"/>
                  <a:pt x="6291" y="724"/>
                  <a:pt x="6291" y="723"/>
                </a:cubicBezTo>
                <a:lnTo>
                  <a:pt x="6290" y="723"/>
                </a:lnTo>
                <a:cubicBezTo>
                  <a:pt x="6289" y="723"/>
                  <a:pt x="6288" y="723"/>
                  <a:pt x="6287" y="724"/>
                </a:cubicBezTo>
                <a:cubicBezTo>
                  <a:pt x="6286" y="725"/>
                  <a:pt x="6286" y="726"/>
                  <a:pt x="6286" y="727"/>
                </a:cubicBezTo>
                <a:close/>
                <a:moveTo>
                  <a:pt x="6274" y="730"/>
                </a:moveTo>
                <a:cubicBezTo>
                  <a:pt x="6275" y="730"/>
                  <a:pt x="6276" y="729"/>
                  <a:pt x="6276" y="728"/>
                </a:cubicBezTo>
                <a:cubicBezTo>
                  <a:pt x="6277" y="728"/>
                  <a:pt x="6278" y="727"/>
                  <a:pt x="6278" y="726"/>
                </a:cubicBezTo>
                <a:lnTo>
                  <a:pt x="6278" y="726"/>
                </a:lnTo>
                <a:cubicBezTo>
                  <a:pt x="6277" y="726"/>
                  <a:pt x="6276" y="726"/>
                  <a:pt x="6275" y="727"/>
                </a:cubicBezTo>
                <a:cubicBezTo>
                  <a:pt x="6273" y="727"/>
                  <a:pt x="6273" y="728"/>
                  <a:pt x="6273" y="728"/>
                </a:cubicBezTo>
                <a:cubicBezTo>
                  <a:pt x="6272" y="728"/>
                  <a:pt x="6272" y="729"/>
                  <a:pt x="6272" y="729"/>
                </a:cubicBezTo>
                <a:cubicBezTo>
                  <a:pt x="6272" y="729"/>
                  <a:pt x="6273" y="730"/>
                  <a:pt x="6274" y="730"/>
                </a:cubicBezTo>
                <a:close/>
                <a:moveTo>
                  <a:pt x="6271" y="745"/>
                </a:moveTo>
                <a:cubicBezTo>
                  <a:pt x="6277" y="745"/>
                  <a:pt x="6283" y="743"/>
                  <a:pt x="6288" y="740"/>
                </a:cubicBezTo>
                <a:cubicBezTo>
                  <a:pt x="6290" y="738"/>
                  <a:pt x="6292" y="737"/>
                  <a:pt x="6293" y="737"/>
                </a:cubicBezTo>
                <a:lnTo>
                  <a:pt x="6295" y="739"/>
                </a:lnTo>
                <a:cubicBezTo>
                  <a:pt x="6296" y="739"/>
                  <a:pt x="6296" y="738"/>
                  <a:pt x="6296" y="736"/>
                </a:cubicBezTo>
                <a:cubicBezTo>
                  <a:pt x="6296" y="735"/>
                  <a:pt x="6297" y="734"/>
                  <a:pt x="6299" y="734"/>
                </a:cubicBezTo>
                <a:cubicBezTo>
                  <a:pt x="6300" y="734"/>
                  <a:pt x="6305" y="731"/>
                  <a:pt x="6313" y="726"/>
                </a:cubicBezTo>
                <a:cubicBezTo>
                  <a:pt x="6321" y="720"/>
                  <a:pt x="6330" y="714"/>
                  <a:pt x="6339" y="706"/>
                </a:cubicBezTo>
                <a:cubicBezTo>
                  <a:pt x="6348" y="699"/>
                  <a:pt x="6355" y="693"/>
                  <a:pt x="6360" y="688"/>
                </a:cubicBezTo>
                <a:cubicBezTo>
                  <a:pt x="6369" y="679"/>
                  <a:pt x="6377" y="668"/>
                  <a:pt x="6383" y="657"/>
                </a:cubicBezTo>
                <a:cubicBezTo>
                  <a:pt x="6389" y="648"/>
                  <a:pt x="6392" y="640"/>
                  <a:pt x="6392" y="636"/>
                </a:cubicBezTo>
                <a:lnTo>
                  <a:pt x="6392" y="632"/>
                </a:lnTo>
                <a:cubicBezTo>
                  <a:pt x="6392" y="631"/>
                  <a:pt x="6392" y="630"/>
                  <a:pt x="6393" y="630"/>
                </a:cubicBezTo>
                <a:cubicBezTo>
                  <a:pt x="6394" y="630"/>
                  <a:pt x="6394" y="628"/>
                  <a:pt x="6394" y="625"/>
                </a:cubicBezTo>
                <a:cubicBezTo>
                  <a:pt x="6393" y="621"/>
                  <a:pt x="6393" y="619"/>
                  <a:pt x="6392" y="619"/>
                </a:cubicBezTo>
                <a:cubicBezTo>
                  <a:pt x="6391" y="619"/>
                  <a:pt x="6391" y="619"/>
                  <a:pt x="6391" y="620"/>
                </a:cubicBezTo>
                <a:lnTo>
                  <a:pt x="6392" y="625"/>
                </a:lnTo>
                <a:cubicBezTo>
                  <a:pt x="6391" y="625"/>
                  <a:pt x="6391" y="625"/>
                  <a:pt x="6390" y="625"/>
                </a:cubicBezTo>
                <a:cubicBezTo>
                  <a:pt x="6389" y="625"/>
                  <a:pt x="6389" y="626"/>
                  <a:pt x="6388" y="627"/>
                </a:cubicBezTo>
                <a:lnTo>
                  <a:pt x="6388" y="630"/>
                </a:lnTo>
                <a:lnTo>
                  <a:pt x="6389" y="632"/>
                </a:lnTo>
                <a:cubicBezTo>
                  <a:pt x="6389" y="634"/>
                  <a:pt x="6388" y="635"/>
                  <a:pt x="6387" y="635"/>
                </a:cubicBezTo>
                <a:cubicBezTo>
                  <a:pt x="6385" y="636"/>
                  <a:pt x="6384" y="638"/>
                  <a:pt x="6384" y="640"/>
                </a:cubicBezTo>
                <a:lnTo>
                  <a:pt x="6385" y="644"/>
                </a:lnTo>
                <a:cubicBezTo>
                  <a:pt x="6385" y="649"/>
                  <a:pt x="6384" y="652"/>
                  <a:pt x="6383" y="654"/>
                </a:cubicBezTo>
                <a:cubicBezTo>
                  <a:pt x="6381" y="656"/>
                  <a:pt x="6380" y="658"/>
                  <a:pt x="6380" y="658"/>
                </a:cubicBezTo>
                <a:lnTo>
                  <a:pt x="6380" y="657"/>
                </a:lnTo>
                <a:lnTo>
                  <a:pt x="6383" y="650"/>
                </a:lnTo>
                <a:cubicBezTo>
                  <a:pt x="6383" y="649"/>
                  <a:pt x="6383" y="649"/>
                  <a:pt x="6382" y="649"/>
                </a:cubicBezTo>
                <a:cubicBezTo>
                  <a:pt x="6380" y="649"/>
                  <a:pt x="6378" y="650"/>
                  <a:pt x="6377" y="652"/>
                </a:cubicBezTo>
                <a:cubicBezTo>
                  <a:pt x="6375" y="654"/>
                  <a:pt x="6375" y="657"/>
                  <a:pt x="6374" y="660"/>
                </a:cubicBezTo>
                <a:cubicBezTo>
                  <a:pt x="6374" y="661"/>
                  <a:pt x="6374" y="662"/>
                  <a:pt x="6374" y="662"/>
                </a:cubicBezTo>
                <a:cubicBezTo>
                  <a:pt x="6374" y="662"/>
                  <a:pt x="6373" y="663"/>
                  <a:pt x="6373" y="663"/>
                </a:cubicBezTo>
                <a:cubicBezTo>
                  <a:pt x="6371" y="663"/>
                  <a:pt x="6367" y="666"/>
                  <a:pt x="6363" y="673"/>
                </a:cubicBezTo>
                <a:cubicBezTo>
                  <a:pt x="6355" y="681"/>
                  <a:pt x="6345" y="691"/>
                  <a:pt x="6331" y="702"/>
                </a:cubicBezTo>
                <a:cubicBezTo>
                  <a:pt x="6325" y="706"/>
                  <a:pt x="6321" y="709"/>
                  <a:pt x="6320" y="709"/>
                </a:cubicBezTo>
                <a:cubicBezTo>
                  <a:pt x="6318" y="709"/>
                  <a:pt x="6316" y="710"/>
                  <a:pt x="6313" y="713"/>
                </a:cubicBezTo>
                <a:cubicBezTo>
                  <a:pt x="6311" y="715"/>
                  <a:pt x="6309" y="716"/>
                  <a:pt x="6308" y="716"/>
                </a:cubicBezTo>
                <a:lnTo>
                  <a:pt x="6307" y="716"/>
                </a:lnTo>
                <a:lnTo>
                  <a:pt x="6307" y="716"/>
                </a:lnTo>
                <a:cubicBezTo>
                  <a:pt x="6307" y="714"/>
                  <a:pt x="6308" y="713"/>
                  <a:pt x="6311" y="711"/>
                </a:cubicBezTo>
                <a:cubicBezTo>
                  <a:pt x="6316" y="709"/>
                  <a:pt x="6319" y="706"/>
                  <a:pt x="6321" y="703"/>
                </a:cubicBezTo>
                <a:lnTo>
                  <a:pt x="6324" y="701"/>
                </a:lnTo>
                <a:cubicBezTo>
                  <a:pt x="6324" y="701"/>
                  <a:pt x="6325" y="701"/>
                  <a:pt x="6325" y="701"/>
                </a:cubicBezTo>
                <a:cubicBezTo>
                  <a:pt x="6325" y="701"/>
                  <a:pt x="6326" y="701"/>
                  <a:pt x="6327" y="700"/>
                </a:cubicBezTo>
                <a:cubicBezTo>
                  <a:pt x="6328" y="699"/>
                  <a:pt x="6329" y="698"/>
                  <a:pt x="6331" y="696"/>
                </a:cubicBezTo>
                <a:cubicBezTo>
                  <a:pt x="6333" y="694"/>
                  <a:pt x="6334" y="692"/>
                  <a:pt x="6335" y="691"/>
                </a:cubicBezTo>
                <a:lnTo>
                  <a:pt x="6337" y="688"/>
                </a:lnTo>
                <a:cubicBezTo>
                  <a:pt x="6337" y="686"/>
                  <a:pt x="6338" y="684"/>
                  <a:pt x="6340" y="682"/>
                </a:cubicBezTo>
                <a:cubicBezTo>
                  <a:pt x="6343" y="680"/>
                  <a:pt x="6344" y="679"/>
                  <a:pt x="6345" y="679"/>
                </a:cubicBezTo>
                <a:cubicBezTo>
                  <a:pt x="6345" y="679"/>
                  <a:pt x="6344" y="680"/>
                  <a:pt x="6342" y="682"/>
                </a:cubicBezTo>
                <a:cubicBezTo>
                  <a:pt x="6340" y="684"/>
                  <a:pt x="6339" y="686"/>
                  <a:pt x="6339" y="688"/>
                </a:cubicBezTo>
                <a:cubicBezTo>
                  <a:pt x="6339" y="688"/>
                  <a:pt x="6340" y="689"/>
                  <a:pt x="6341" y="689"/>
                </a:cubicBezTo>
                <a:cubicBezTo>
                  <a:pt x="6342" y="689"/>
                  <a:pt x="6343" y="688"/>
                  <a:pt x="6343" y="688"/>
                </a:cubicBezTo>
                <a:cubicBezTo>
                  <a:pt x="6344" y="687"/>
                  <a:pt x="6345" y="686"/>
                  <a:pt x="6345" y="684"/>
                </a:cubicBezTo>
                <a:cubicBezTo>
                  <a:pt x="6346" y="683"/>
                  <a:pt x="6346" y="682"/>
                  <a:pt x="6346" y="681"/>
                </a:cubicBezTo>
                <a:lnTo>
                  <a:pt x="6345" y="677"/>
                </a:lnTo>
                <a:cubicBezTo>
                  <a:pt x="6345" y="677"/>
                  <a:pt x="6345" y="677"/>
                  <a:pt x="6346" y="677"/>
                </a:cubicBezTo>
                <a:lnTo>
                  <a:pt x="6349" y="677"/>
                </a:lnTo>
                <a:cubicBezTo>
                  <a:pt x="6350" y="677"/>
                  <a:pt x="6350" y="676"/>
                  <a:pt x="6352" y="674"/>
                </a:cubicBezTo>
                <a:lnTo>
                  <a:pt x="6355" y="672"/>
                </a:lnTo>
                <a:cubicBezTo>
                  <a:pt x="6355" y="672"/>
                  <a:pt x="6354" y="674"/>
                  <a:pt x="6352" y="676"/>
                </a:cubicBezTo>
                <a:cubicBezTo>
                  <a:pt x="6350" y="679"/>
                  <a:pt x="6349" y="681"/>
                  <a:pt x="6349" y="683"/>
                </a:cubicBezTo>
                <a:cubicBezTo>
                  <a:pt x="6350" y="683"/>
                  <a:pt x="6352" y="680"/>
                  <a:pt x="6355" y="675"/>
                </a:cubicBezTo>
                <a:cubicBezTo>
                  <a:pt x="6357" y="673"/>
                  <a:pt x="6358" y="671"/>
                  <a:pt x="6359" y="670"/>
                </a:cubicBezTo>
                <a:lnTo>
                  <a:pt x="6363" y="668"/>
                </a:lnTo>
                <a:cubicBezTo>
                  <a:pt x="6363" y="668"/>
                  <a:pt x="6364" y="668"/>
                  <a:pt x="6364" y="667"/>
                </a:cubicBezTo>
                <a:cubicBezTo>
                  <a:pt x="6364" y="666"/>
                  <a:pt x="6363" y="665"/>
                  <a:pt x="6362" y="665"/>
                </a:cubicBezTo>
                <a:lnTo>
                  <a:pt x="6355" y="666"/>
                </a:lnTo>
                <a:cubicBezTo>
                  <a:pt x="6355" y="666"/>
                  <a:pt x="6356" y="665"/>
                  <a:pt x="6357" y="664"/>
                </a:cubicBezTo>
                <a:cubicBezTo>
                  <a:pt x="6359" y="663"/>
                  <a:pt x="6360" y="662"/>
                  <a:pt x="6361" y="661"/>
                </a:cubicBezTo>
                <a:cubicBezTo>
                  <a:pt x="6362" y="659"/>
                  <a:pt x="6363" y="658"/>
                  <a:pt x="6363" y="657"/>
                </a:cubicBezTo>
                <a:cubicBezTo>
                  <a:pt x="6364" y="656"/>
                  <a:pt x="6364" y="656"/>
                  <a:pt x="6365" y="655"/>
                </a:cubicBezTo>
                <a:cubicBezTo>
                  <a:pt x="6359" y="660"/>
                  <a:pt x="6351" y="668"/>
                  <a:pt x="6340" y="679"/>
                </a:cubicBezTo>
                <a:cubicBezTo>
                  <a:pt x="6324" y="696"/>
                  <a:pt x="6315" y="705"/>
                  <a:pt x="6312" y="705"/>
                </a:cubicBezTo>
                <a:cubicBezTo>
                  <a:pt x="6311" y="705"/>
                  <a:pt x="6310" y="706"/>
                  <a:pt x="6309" y="708"/>
                </a:cubicBezTo>
                <a:cubicBezTo>
                  <a:pt x="6308" y="709"/>
                  <a:pt x="6307" y="711"/>
                  <a:pt x="6306" y="713"/>
                </a:cubicBezTo>
                <a:cubicBezTo>
                  <a:pt x="6304" y="719"/>
                  <a:pt x="6302" y="722"/>
                  <a:pt x="6300" y="722"/>
                </a:cubicBezTo>
                <a:cubicBezTo>
                  <a:pt x="6298" y="723"/>
                  <a:pt x="6296" y="724"/>
                  <a:pt x="6296" y="725"/>
                </a:cubicBezTo>
                <a:cubicBezTo>
                  <a:pt x="6296" y="725"/>
                  <a:pt x="6294" y="727"/>
                  <a:pt x="6290" y="728"/>
                </a:cubicBezTo>
                <a:cubicBezTo>
                  <a:pt x="6288" y="729"/>
                  <a:pt x="6286" y="729"/>
                  <a:pt x="6285" y="730"/>
                </a:cubicBezTo>
                <a:cubicBezTo>
                  <a:pt x="6284" y="731"/>
                  <a:pt x="6283" y="731"/>
                  <a:pt x="6283" y="731"/>
                </a:cubicBezTo>
                <a:cubicBezTo>
                  <a:pt x="6283" y="732"/>
                  <a:pt x="6282" y="732"/>
                  <a:pt x="6280" y="734"/>
                </a:cubicBezTo>
                <a:cubicBezTo>
                  <a:pt x="6278" y="735"/>
                  <a:pt x="6275" y="736"/>
                  <a:pt x="6272" y="737"/>
                </a:cubicBezTo>
                <a:cubicBezTo>
                  <a:pt x="6266" y="740"/>
                  <a:pt x="6263" y="741"/>
                  <a:pt x="6263" y="742"/>
                </a:cubicBezTo>
                <a:cubicBezTo>
                  <a:pt x="6263" y="744"/>
                  <a:pt x="6266" y="745"/>
                  <a:pt x="6271" y="745"/>
                </a:cubicBezTo>
                <a:close/>
                <a:moveTo>
                  <a:pt x="6201" y="482"/>
                </a:moveTo>
                <a:cubicBezTo>
                  <a:pt x="6201" y="482"/>
                  <a:pt x="6202" y="482"/>
                  <a:pt x="6202" y="481"/>
                </a:cubicBezTo>
                <a:cubicBezTo>
                  <a:pt x="6203" y="480"/>
                  <a:pt x="6204" y="480"/>
                  <a:pt x="6204" y="479"/>
                </a:cubicBezTo>
                <a:cubicBezTo>
                  <a:pt x="6204" y="478"/>
                  <a:pt x="6203" y="478"/>
                  <a:pt x="6202" y="478"/>
                </a:cubicBezTo>
                <a:cubicBezTo>
                  <a:pt x="6201" y="478"/>
                  <a:pt x="6200" y="478"/>
                  <a:pt x="6200" y="480"/>
                </a:cubicBezTo>
                <a:cubicBezTo>
                  <a:pt x="6200" y="482"/>
                  <a:pt x="6200" y="482"/>
                  <a:pt x="6201" y="482"/>
                </a:cubicBezTo>
                <a:close/>
                <a:moveTo>
                  <a:pt x="6232" y="484"/>
                </a:moveTo>
                <a:cubicBezTo>
                  <a:pt x="6235" y="484"/>
                  <a:pt x="6238" y="483"/>
                  <a:pt x="6241" y="482"/>
                </a:cubicBezTo>
                <a:cubicBezTo>
                  <a:pt x="6242" y="482"/>
                  <a:pt x="6242" y="481"/>
                  <a:pt x="6242" y="481"/>
                </a:cubicBezTo>
                <a:cubicBezTo>
                  <a:pt x="6242" y="480"/>
                  <a:pt x="6242" y="480"/>
                  <a:pt x="6241" y="480"/>
                </a:cubicBezTo>
                <a:lnTo>
                  <a:pt x="6237" y="481"/>
                </a:lnTo>
                <a:cubicBezTo>
                  <a:pt x="6231" y="481"/>
                  <a:pt x="6228" y="480"/>
                  <a:pt x="6228" y="479"/>
                </a:cubicBezTo>
                <a:cubicBezTo>
                  <a:pt x="6228" y="478"/>
                  <a:pt x="6227" y="478"/>
                  <a:pt x="6225" y="478"/>
                </a:cubicBezTo>
                <a:cubicBezTo>
                  <a:pt x="6223" y="478"/>
                  <a:pt x="6222" y="478"/>
                  <a:pt x="6222" y="480"/>
                </a:cubicBezTo>
                <a:cubicBezTo>
                  <a:pt x="6222" y="481"/>
                  <a:pt x="6223" y="482"/>
                  <a:pt x="6225" y="483"/>
                </a:cubicBezTo>
                <a:cubicBezTo>
                  <a:pt x="6227" y="484"/>
                  <a:pt x="6229" y="484"/>
                  <a:pt x="6231" y="484"/>
                </a:cubicBezTo>
                <a:lnTo>
                  <a:pt x="6232" y="484"/>
                </a:lnTo>
                <a:close/>
                <a:moveTo>
                  <a:pt x="6231" y="479"/>
                </a:moveTo>
                <a:cubicBezTo>
                  <a:pt x="6232" y="479"/>
                  <a:pt x="6233" y="478"/>
                  <a:pt x="6234" y="478"/>
                </a:cubicBezTo>
                <a:cubicBezTo>
                  <a:pt x="6235" y="478"/>
                  <a:pt x="6236" y="478"/>
                  <a:pt x="6236" y="477"/>
                </a:cubicBezTo>
                <a:cubicBezTo>
                  <a:pt x="6237" y="477"/>
                  <a:pt x="6237" y="477"/>
                  <a:pt x="6237" y="476"/>
                </a:cubicBezTo>
                <a:cubicBezTo>
                  <a:pt x="6237" y="475"/>
                  <a:pt x="6236" y="475"/>
                  <a:pt x="6234" y="475"/>
                </a:cubicBezTo>
                <a:cubicBezTo>
                  <a:pt x="6232" y="475"/>
                  <a:pt x="6231" y="476"/>
                  <a:pt x="6231" y="478"/>
                </a:cubicBezTo>
                <a:cubicBezTo>
                  <a:pt x="6231" y="478"/>
                  <a:pt x="6231" y="478"/>
                  <a:pt x="6231" y="479"/>
                </a:cubicBezTo>
                <a:close/>
                <a:moveTo>
                  <a:pt x="6291" y="492"/>
                </a:moveTo>
                <a:lnTo>
                  <a:pt x="6293" y="486"/>
                </a:lnTo>
                <a:lnTo>
                  <a:pt x="6293" y="485"/>
                </a:lnTo>
                <a:cubicBezTo>
                  <a:pt x="6293" y="485"/>
                  <a:pt x="6292" y="485"/>
                  <a:pt x="6292" y="486"/>
                </a:cubicBezTo>
                <a:cubicBezTo>
                  <a:pt x="6291" y="486"/>
                  <a:pt x="6291" y="487"/>
                  <a:pt x="6290" y="487"/>
                </a:cubicBezTo>
                <a:cubicBezTo>
                  <a:pt x="6290" y="488"/>
                  <a:pt x="6289" y="489"/>
                  <a:pt x="6289" y="490"/>
                </a:cubicBezTo>
                <a:cubicBezTo>
                  <a:pt x="6289" y="491"/>
                  <a:pt x="6289" y="492"/>
                  <a:pt x="6290" y="492"/>
                </a:cubicBezTo>
                <a:lnTo>
                  <a:pt x="6291" y="492"/>
                </a:lnTo>
                <a:close/>
                <a:moveTo>
                  <a:pt x="6268" y="572"/>
                </a:moveTo>
                <a:cubicBezTo>
                  <a:pt x="6269" y="572"/>
                  <a:pt x="6270" y="571"/>
                  <a:pt x="6270" y="569"/>
                </a:cubicBezTo>
                <a:lnTo>
                  <a:pt x="6269" y="565"/>
                </a:lnTo>
                <a:cubicBezTo>
                  <a:pt x="6269" y="565"/>
                  <a:pt x="6269" y="566"/>
                  <a:pt x="6268" y="567"/>
                </a:cubicBezTo>
                <a:cubicBezTo>
                  <a:pt x="6267" y="568"/>
                  <a:pt x="6267" y="569"/>
                  <a:pt x="6267" y="570"/>
                </a:cubicBezTo>
                <a:cubicBezTo>
                  <a:pt x="6267" y="572"/>
                  <a:pt x="6267" y="572"/>
                  <a:pt x="6268" y="572"/>
                </a:cubicBezTo>
                <a:close/>
                <a:moveTo>
                  <a:pt x="6264" y="583"/>
                </a:moveTo>
                <a:cubicBezTo>
                  <a:pt x="6264" y="583"/>
                  <a:pt x="6264" y="583"/>
                  <a:pt x="6265" y="582"/>
                </a:cubicBezTo>
                <a:cubicBezTo>
                  <a:pt x="6266" y="580"/>
                  <a:pt x="6267" y="579"/>
                  <a:pt x="6267" y="578"/>
                </a:cubicBezTo>
                <a:cubicBezTo>
                  <a:pt x="6267" y="578"/>
                  <a:pt x="6268" y="577"/>
                  <a:pt x="6268" y="576"/>
                </a:cubicBezTo>
                <a:cubicBezTo>
                  <a:pt x="6268" y="575"/>
                  <a:pt x="6267" y="575"/>
                  <a:pt x="6267" y="575"/>
                </a:cubicBezTo>
                <a:cubicBezTo>
                  <a:pt x="6267" y="575"/>
                  <a:pt x="6266" y="576"/>
                  <a:pt x="6265" y="577"/>
                </a:cubicBezTo>
                <a:cubicBezTo>
                  <a:pt x="6264" y="579"/>
                  <a:pt x="6264" y="581"/>
                  <a:pt x="6264" y="583"/>
                </a:cubicBezTo>
                <a:close/>
                <a:moveTo>
                  <a:pt x="6262" y="604"/>
                </a:moveTo>
                <a:cubicBezTo>
                  <a:pt x="6262" y="604"/>
                  <a:pt x="6263" y="603"/>
                  <a:pt x="6265" y="602"/>
                </a:cubicBezTo>
                <a:cubicBezTo>
                  <a:pt x="6266" y="601"/>
                  <a:pt x="6267" y="600"/>
                  <a:pt x="6267" y="599"/>
                </a:cubicBezTo>
                <a:lnTo>
                  <a:pt x="6267" y="599"/>
                </a:lnTo>
                <a:cubicBezTo>
                  <a:pt x="6267" y="598"/>
                  <a:pt x="6266" y="598"/>
                  <a:pt x="6266" y="598"/>
                </a:cubicBezTo>
                <a:cubicBezTo>
                  <a:pt x="6264" y="598"/>
                  <a:pt x="6263" y="599"/>
                  <a:pt x="6262" y="600"/>
                </a:cubicBezTo>
                <a:cubicBezTo>
                  <a:pt x="6262" y="601"/>
                  <a:pt x="6261" y="602"/>
                  <a:pt x="6261" y="603"/>
                </a:cubicBezTo>
                <a:cubicBezTo>
                  <a:pt x="6261" y="603"/>
                  <a:pt x="6261" y="604"/>
                  <a:pt x="6262" y="604"/>
                </a:cubicBezTo>
                <a:close/>
                <a:moveTo>
                  <a:pt x="6258" y="600"/>
                </a:moveTo>
                <a:cubicBezTo>
                  <a:pt x="6258" y="600"/>
                  <a:pt x="6259" y="600"/>
                  <a:pt x="6259" y="598"/>
                </a:cubicBezTo>
                <a:cubicBezTo>
                  <a:pt x="6260" y="597"/>
                  <a:pt x="6261" y="596"/>
                  <a:pt x="6261" y="595"/>
                </a:cubicBezTo>
                <a:cubicBezTo>
                  <a:pt x="6261" y="594"/>
                  <a:pt x="6261" y="594"/>
                  <a:pt x="6260" y="594"/>
                </a:cubicBezTo>
                <a:cubicBezTo>
                  <a:pt x="6260" y="594"/>
                  <a:pt x="6259" y="594"/>
                  <a:pt x="6259" y="595"/>
                </a:cubicBezTo>
                <a:cubicBezTo>
                  <a:pt x="6259" y="595"/>
                  <a:pt x="6258" y="596"/>
                  <a:pt x="6258" y="597"/>
                </a:cubicBezTo>
                <a:cubicBezTo>
                  <a:pt x="6257" y="598"/>
                  <a:pt x="6257" y="599"/>
                  <a:pt x="6257" y="600"/>
                </a:cubicBezTo>
                <a:cubicBezTo>
                  <a:pt x="6257" y="600"/>
                  <a:pt x="6257" y="600"/>
                  <a:pt x="6258" y="600"/>
                </a:cubicBezTo>
                <a:close/>
                <a:moveTo>
                  <a:pt x="6266" y="655"/>
                </a:moveTo>
                <a:cubicBezTo>
                  <a:pt x="6266" y="655"/>
                  <a:pt x="6267" y="653"/>
                  <a:pt x="6269" y="649"/>
                </a:cubicBezTo>
                <a:cubicBezTo>
                  <a:pt x="6271" y="645"/>
                  <a:pt x="6272" y="642"/>
                  <a:pt x="6272" y="639"/>
                </a:cubicBezTo>
                <a:lnTo>
                  <a:pt x="6272" y="639"/>
                </a:lnTo>
                <a:cubicBezTo>
                  <a:pt x="6271" y="639"/>
                  <a:pt x="6270" y="640"/>
                  <a:pt x="6269" y="644"/>
                </a:cubicBezTo>
                <a:cubicBezTo>
                  <a:pt x="6267" y="649"/>
                  <a:pt x="6266" y="653"/>
                  <a:pt x="6266" y="654"/>
                </a:cubicBezTo>
                <a:lnTo>
                  <a:pt x="6266" y="655"/>
                </a:lnTo>
                <a:close/>
                <a:moveTo>
                  <a:pt x="6274" y="635"/>
                </a:moveTo>
                <a:cubicBezTo>
                  <a:pt x="6275" y="635"/>
                  <a:pt x="6275" y="635"/>
                  <a:pt x="6276" y="634"/>
                </a:cubicBezTo>
                <a:cubicBezTo>
                  <a:pt x="6276" y="633"/>
                  <a:pt x="6275" y="632"/>
                  <a:pt x="6275" y="632"/>
                </a:cubicBezTo>
                <a:cubicBezTo>
                  <a:pt x="6275" y="631"/>
                  <a:pt x="6274" y="630"/>
                  <a:pt x="6274" y="629"/>
                </a:cubicBezTo>
                <a:lnTo>
                  <a:pt x="6273" y="628"/>
                </a:lnTo>
                <a:cubicBezTo>
                  <a:pt x="6273" y="628"/>
                  <a:pt x="6272" y="629"/>
                  <a:pt x="6272" y="632"/>
                </a:cubicBezTo>
                <a:cubicBezTo>
                  <a:pt x="6272" y="634"/>
                  <a:pt x="6273" y="635"/>
                  <a:pt x="6274" y="635"/>
                </a:cubicBezTo>
                <a:close/>
                <a:moveTo>
                  <a:pt x="6277" y="618"/>
                </a:moveTo>
                <a:cubicBezTo>
                  <a:pt x="6277" y="618"/>
                  <a:pt x="6278" y="616"/>
                  <a:pt x="6280" y="612"/>
                </a:cubicBezTo>
                <a:cubicBezTo>
                  <a:pt x="6282" y="608"/>
                  <a:pt x="6283" y="605"/>
                  <a:pt x="6283" y="603"/>
                </a:cubicBezTo>
                <a:cubicBezTo>
                  <a:pt x="6283" y="602"/>
                  <a:pt x="6283" y="602"/>
                  <a:pt x="6282" y="602"/>
                </a:cubicBezTo>
                <a:cubicBezTo>
                  <a:pt x="6281" y="602"/>
                  <a:pt x="6281" y="603"/>
                  <a:pt x="6280" y="607"/>
                </a:cubicBezTo>
                <a:cubicBezTo>
                  <a:pt x="6278" y="613"/>
                  <a:pt x="6277" y="616"/>
                  <a:pt x="6277" y="617"/>
                </a:cubicBezTo>
                <a:lnTo>
                  <a:pt x="6277" y="618"/>
                </a:lnTo>
                <a:close/>
                <a:moveTo>
                  <a:pt x="6293" y="575"/>
                </a:moveTo>
                <a:cubicBezTo>
                  <a:pt x="6293" y="575"/>
                  <a:pt x="6294" y="574"/>
                  <a:pt x="6294" y="573"/>
                </a:cubicBezTo>
                <a:cubicBezTo>
                  <a:pt x="6295" y="573"/>
                  <a:pt x="6296" y="572"/>
                  <a:pt x="6296" y="571"/>
                </a:cubicBezTo>
                <a:cubicBezTo>
                  <a:pt x="6296" y="571"/>
                  <a:pt x="6295" y="570"/>
                  <a:pt x="6294" y="570"/>
                </a:cubicBezTo>
                <a:cubicBezTo>
                  <a:pt x="6293" y="570"/>
                  <a:pt x="6292" y="571"/>
                  <a:pt x="6292" y="572"/>
                </a:cubicBezTo>
                <a:cubicBezTo>
                  <a:pt x="6292" y="574"/>
                  <a:pt x="6292" y="575"/>
                  <a:pt x="6293" y="575"/>
                </a:cubicBezTo>
                <a:close/>
                <a:moveTo>
                  <a:pt x="6298" y="562"/>
                </a:moveTo>
                <a:lnTo>
                  <a:pt x="6299" y="561"/>
                </a:lnTo>
                <a:cubicBezTo>
                  <a:pt x="6300" y="561"/>
                  <a:pt x="6300" y="559"/>
                  <a:pt x="6300" y="557"/>
                </a:cubicBezTo>
                <a:cubicBezTo>
                  <a:pt x="6300" y="556"/>
                  <a:pt x="6300" y="555"/>
                  <a:pt x="6299" y="555"/>
                </a:cubicBezTo>
                <a:cubicBezTo>
                  <a:pt x="6299" y="555"/>
                  <a:pt x="6298" y="556"/>
                  <a:pt x="6298" y="558"/>
                </a:cubicBezTo>
                <a:cubicBezTo>
                  <a:pt x="6297" y="560"/>
                  <a:pt x="6297" y="561"/>
                  <a:pt x="6297" y="562"/>
                </a:cubicBezTo>
                <a:cubicBezTo>
                  <a:pt x="6297" y="562"/>
                  <a:pt x="6297" y="562"/>
                  <a:pt x="6298" y="562"/>
                </a:cubicBezTo>
                <a:close/>
                <a:moveTo>
                  <a:pt x="6303" y="546"/>
                </a:moveTo>
                <a:cubicBezTo>
                  <a:pt x="6303" y="546"/>
                  <a:pt x="6304" y="545"/>
                  <a:pt x="6305" y="544"/>
                </a:cubicBezTo>
                <a:cubicBezTo>
                  <a:pt x="6306" y="542"/>
                  <a:pt x="6308" y="539"/>
                  <a:pt x="6309" y="535"/>
                </a:cubicBezTo>
                <a:cubicBezTo>
                  <a:pt x="6311" y="531"/>
                  <a:pt x="6313" y="528"/>
                  <a:pt x="6314" y="525"/>
                </a:cubicBezTo>
                <a:cubicBezTo>
                  <a:pt x="6315" y="523"/>
                  <a:pt x="6316" y="521"/>
                  <a:pt x="6316" y="520"/>
                </a:cubicBezTo>
                <a:lnTo>
                  <a:pt x="6316" y="520"/>
                </a:lnTo>
                <a:cubicBezTo>
                  <a:pt x="6315" y="520"/>
                  <a:pt x="6313" y="524"/>
                  <a:pt x="6309" y="531"/>
                </a:cubicBezTo>
                <a:cubicBezTo>
                  <a:pt x="6305" y="540"/>
                  <a:pt x="6303" y="545"/>
                  <a:pt x="6303" y="546"/>
                </a:cubicBezTo>
                <a:close/>
                <a:moveTo>
                  <a:pt x="6317" y="517"/>
                </a:moveTo>
                <a:cubicBezTo>
                  <a:pt x="6317" y="517"/>
                  <a:pt x="6318" y="516"/>
                  <a:pt x="6319" y="514"/>
                </a:cubicBezTo>
                <a:cubicBezTo>
                  <a:pt x="6320" y="512"/>
                  <a:pt x="6321" y="511"/>
                  <a:pt x="6321" y="510"/>
                </a:cubicBezTo>
                <a:cubicBezTo>
                  <a:pt x="6322" y="509"/>
                  <a:pt x="6322" y="508"/>
                  <a:pt x="6322" y="507"/>
                </a:cubicBezTo>
                <a:cubicBezTo>
                  <a:pt x="6322" y="506"/>
                  <a:pt x="6322" y="506"/>
                  <a:pt x="6322" y="506"/>
                </a:cubicBezTo>
                <a:cubicBezTo>
                  <a:pt x="6321" y="506"/>
                  <a:pt x="6320" y="507"/>
                  <a:pt x="6319" y="508"/>
                </a:cubicBezTo>
                <a:cubicBezTo>
                  <a:pt x="6318" y="511"/>
                  <a:pt x="6317" y="514"/>
                  <a:pt x="6317" y="516"/>
                </a:cubicBezTo>
                <a:lnTo>
                  <a:pt x="6317" y="517"/>
                </a:lnTo>
                <a:close/>
                <a:moveTo>
                  <a:pt x="6246" y="723"/>
                </a:moveTo>
                <a:cubicBezTo>
                  <a:pt x="6247" y="723"/>
                  <a:pt x="6247" y="721"/>
                  <a:pt x="6247" y="718"/>
                </a:cubicBezTo>
                <a:cubicBezTo>
                  <a:pt x="6247" y="711"/>
                  <a:pt x="6249" y="700"/>
                  <a:pt x="6253" y="683"/>
                </a:cubicBezTo>
                <a:cubicBezTo>
                  <a:pt x="6264" y="640"/>
                  <a:pt x="6275" y="602"/>
                  <a:pt x="6288" y="568"/>
                </a:cubicBezTo>
                <a:cubicBezTo>
                  <a:pt x="6289" y="563"/>
                  <a:pt x="6290" y="560"/>
                  <a:pt x="6290" y="558"/>
                </a:cubicBezTo>
                <a:cubicBezTo>
                  <a:pt x="6290" y="555"/>
                  <a:pt x="6290" y="554"/>
                  <a:pt x="6289" y="553"/>
                </a:cubicBezTo>
                <a:cubicBezTo>
                  <a:pt x="6288" y="553"/>
                  <a:pt x="6288" y="552"/>
                  <a:pt x="6288" y="552"/>
                </a:cubicBezTo>
                <a:cubicBezTo>
                  <a:pt x="6288" y="552"/>
                  <a:pt x="6289" y="551"/>
                  <a:pt x="6291" y="551"/>
                </a:cubicBezTo>
                <a:cubicBezTo>
                  <a:pt x="6292" y="551"/>
                  <a:pt x="6298" y="542"/>
                  <a:pt x="6307" y="524"/>
                </a:cubicBezTo>
                <a:cubicBezTo>
                  <a:pt x="6316" y="506"/>
                  <a:pt x="6320" y="494"/>
                  <a:pt x="6320" y="490"/>
                </a:cubicBezTo>
                <a:cubicBezTo>
                  <a:pt x="6320" y="487"/>
                  <a:pt x="6320" y="485"/>
                  <a:pt x="6319" y="485"/>
                </a:cubicBezTo>
                <a:cubicBezTo>
                  <a:pt x="6319" y="485"/>
                  <a:pt x="6318" y="487"/>
                  <a:pt x="6317" y="492"/>
                </a:cubicBezTo>
                <a:cubicBezTo>
                  <a:pt x="6317" y="494"/>
                  <a:pt x="6316" y="497"/>
                  <a:pt x="6314" y="500"/>
                </a:cubicBezTo>
                <a:cubicBezTo>
                  <a:pt x="6313" y="504"/>
                  <a:pt x="6312" y="507"/>
                  <a:pt x="6310" y="509"/>
                </a:cubicBezTo>
                <a:cubicBezTo>
                  <a:pt x="6309" y="512"/>
                  <a:pt x="6308" y="514"/>
                  <a:pt x="6307" y="514"/>
                </a:cubicBezTo>
                <a:cubicBezTo>
                  <a:pt x="6306" y="514"/>
                  <a:pt x="6306" y="515"/>
                  <a:pt x="6306" y="515"/>
                </a:cubicBezTo>
                <a:cubicBezTo>
                  <a:pt x="6306" y="516"/>
                  <a:pt x="6306" y="517"/>
                  <a:pt x="6306" y="517"/>
                </a:cubicBezTo>
                <a:cubicBezTo>
                  <a:pt x="6306" y="517"/>
                  <a:pt x="6307" y="518"/>
                  <a:pt x="6307" y="518"/>
                </a:cubicBezTo>
                <a:lnTo>
                  <a:pt x="6307" y="519"/>
                </a:lnTo>
                <a:cubicBezTo>
                  <a:pt x="6306" y="519"/>
                  <a:pt x="6306" y="519"/>
                  <a:pt x="6305" y="519"/>
                </a:cubicBezTo>
                <a:cubicBezTo>
                  <a:pt x="6304" y="519"/>
                  <a:pt x="6304" y="519"/>
                  <a:pt x="6304" y="520"/>
                </a:cubicBezTo>
                <a:cubicBezTo>
                  <a:pt x="6303" y="521"/>
                  <a:pt x="6303" y="522"/>
                  <a:pt x="6303" y="524"/>
                </a:cubicBezTo>
                <a:cubicBezTo>
                  <a:pt x="6303" y="525"/>
                  <a:pt x="6303" y="526"/>
                  <a:pt x="6302" y="527"/>
                </a:cubicBezTo>
                <a:cubicBezTo>
                  <a:pt x="6302" y="528"/>
                  <a:pt x="6301" y="528"/>
                  <a:pt x="6301" y="528"/>
                </a:cubicBezTo>
                <a:cubicBezTo>
                  <a:pt x="6300" y="528"/>
                  <a:pt x="6299" y="529"/>
                  <a:pt x="6299" y="529"/>
                </a:cubicBezTo>
                <a:cubicBezTo>
                  <a:pt x="6299" y="529"/>
                  <a:pt x="6299" y="529"/>
                  <a:pt x="6299" y="530"/>
                </a:cubicBezTo>
                <a:lnTo>
                  <a:pt x="6300" y="532"/>
                </a:lnTo>
                <a:cubicBezTo>
                  <a:pt x="6300" y="533"/>
                  <a:pt x="6299" y="533"/>
                  <a:pt x="6299" y="533"/>
                </a:cubicBezTo>
                <a:cubicBezTo>
                  <a:pt x="6298" y="533"/>
                  <a:pt x="6297" y="533"/>
                  <a:pt x="6297" y="534"/>
                </a:cubicBezTo>
                <a:lnTo>
                  <a:pt x="6298" y="537"/>
                </a:lnTo>
                <a:cubicBezTo>
                  <a:pt x="6297" y="538"/>
                  <a:pt x="6296" y="538"/>
                  <a:pt x="6296" y="538"/>
                </a:cubicBezTo>
                <a:cubicBezTo>
                  <a:pt x="6295" y="538"/>
                  <a:pt x="6294" y="539"/>
                  <a:pt x="6294" y="539"/>
                </a:cubicBezTo>
                <a:cubicBezTo>
                  <a:pt x="6294" y="543"/>
                  <a:pt x="6294" y="544"/>
                  <a:pt x="6294" y="544"/>
                </a:cubicBezTo>
                <a:cubicBezTo>
                  <a:pt x="6293" y="544"/>
                  <a:pt x="6293" y="544"/>
                  <a:pt x="6292" y="542"/>
                </a:cubicBezTo>
                <a:cubicBezTo>
                  <a:pt x="6291" y="541"/>
                  <a:pt x="6290" y="541"/>
                  <a:pt x="6290" y="541"/>
                </a:cubicBezTo>
                <a:lnTo>
                  <a:pt x="6290" y="544"/>
                </a:lnTo>
                <a:cubicBezTo>
                  <a:pt x="6290" y="546"/>
                  <a:pt x="6289" y="549"/>
                  <a:pt x="6288" y="550"/>
                </a:cubicBezTo>
                <a:cubicBezTo>
                  <a:pt x="6286" y="552"/>
                  <a:pt x="6286" y="553"/>
                  <a:pt x="6286" y="554"/>
                </a:cubicBezTo>
                <a:lnTo>
                  <a:pt x="6286" y="554"/>
                </a:lnTo>
                <a:cubicBezTo>
                  <a:pt x="6286" y="554"/>
                  <a:pt x="6286" y="555"/>
                  <a:pt x="6287" y="556"/>
                </a:cubicBezTo>
                <a:cubicBezTo>
                  <a:pt x="6288" y="556"/>
                  <a:pt x="6288" y="557"/>
                  <a:pt x="6288" y="558"/>
                </a:cubicBezTo>
                <a:lnTo>
                  <a:pt x="6288" y="558"/>
                </a:lnTo>
                <a:cubicBezTo>
                  <a:pt x="6288" y="558"/>
                  <a:pt x="6288" y="559"/>
                  <a:pt x="6286" y="559"/>
                </a:cubicBezTo>
                <a:cubicBezTo>
                  <a:pt x="6285" y="560"/>
                  <a:pt x="6284" y="560"/>
                  <a:pt x="6284" y="561"/>
                </a:cubicBezTo>
                <a:cubicBezTo>
                  <a:pt x="6284" y="561"/>
                  <a:pt x="6284" y="561"/>
                  <a:pt x="6284" y="562"/>
                </a:cubicBezTo>
                <a:lnTo>
                  <a:pt x="6284" y="563"/>
                </a:lnTo>
                <a:cubicBezTo>
                  <a:pt x="6284" y="564"/>
                  <a:pt x="6283" y="566"/>
                  <a:pt x="6281" y="570"/>
                </a:cubicBezTo>
                <a:cubicBezTo>
                  <a:pt x="6279" y="572"/>
                  <a:pt x="6279" y="574"/>
                  <a:pt x="6278" y="576"/>
                </a:cubicBezTo>
                <a:cubicBezTo>
                  <a:pt x="6277" y="578"/>
                  <a:pt x="6276" y="579"/>
                  <a:pt x="6276" y="580"/>
                </a:cubicBezTo>
                <a:cubicBezTo>
                  <a:pt x="6276" y="581"/>
                  <a:pt x="6276" y="583"/>
                  <a:pt x="6275" y="585"/>
                </a:cubicBezTo>
                <a:cubicBezTo>
                  <a:pt x="6274" y="586"/>
                  <a:pt x="6273" y="587"/>
                  <a:pt x="6273" y="588"/>
                </a:cubicBezTo>
                <a:cubicBezTo>
                  <a:pt x="6273" y="590"/>
                  <a:pt x="6271" y="595"/>
                  <a:pt x="6268" y="605"/>
                </a:cubicBezTo>
                <a:lnTo>
                  <a:pt x="6264" y="615"/>
                </a:lnTo>
                <a:cubicBezTo>
                  <a:pt x="6262" y="628"/>
                  <a:pt x="6259" y="634"/>
                  <a:pt x="6257" y="634"/>
                </a:cubicBezTo>
                <a:cubicBezTo>
                  <a:pt x="6256" y="634"/>
                  <a:pt x="6256" y="632"/>
                  <a:pt x="6255" y="628"/>
                </a:cubicBezTo>
                <a:cubicBezTo>
                  <a:pt x="6256" y="623"/>
                  <a:pt x="6257" y="621"/>
                  <a:pt x="6258" y="621"/>
                </a:cubicBezTo>
                <a:cubicBezTo>
                  <a:pt x="6260" y="621"/>
                  <a:pt x="6260" y="620"/>
                  <a:pt x="6260" y="617"/>
                </a:cubicBezTo>
                <a:lnTo>
                  <a:pt x="6260" y="613"/>
                </a:lnTo>
                <a:cubicBezTo>
                  <a:pt x="6261" y="612"/>
                  <a:pt x="6261" y="612"/>
                  <a:pt x="6261" y="611"/>
                </a:cubicBezTo>
                <a:cubicBezTo>
                  <a:pt x="6261" y="610"/>
                  <a:pt x="6262" y="609"/>
                  <a:pt x="6262" y="607"/>
                </a:cubicBezTo>
                <a:cubicBezTo>
                  <a:pt x="6261" y="607"/>
                  <a:pt x="6261" y="606"/>
                  <a:pt x="6259" y="605"/>
                </a:cubicBezTo>
                <a:cubicBezTo>
                  <a:pt x="6258" y="604"/>
                  <a:pt x="6257" y="603"/>
                  <a:pt x="6257" y="603"/>
                </a:cubicBezTo>
                <a:cubicBezTo>
                  <a:pt x="6257" y="603"/>
                  <a:pt x="6257" y="603"/>
                  <a:pt x="6257" y="604"/>
                </a:cubicBezTo>
                <a:lnTo>
                  <a:pt x="6258" y="610"/>
                </a:lnTo>
                <a:cubicBezTo>
                  <a:pt x="6258" y="611"/>
                  <a:pt x="6258" y="611"/>
                  <a:pt x="6258" y="611"/>
                </a:cubicBezTo>
                <a:cubicBezTo>
                  <a:pt x="6257" y="611"/>
                  <a:pt x="6257" y="611"/>
                  <a:pt x="6256" y="610"/>
                </a:cubicBezTo>
                <a:cubicBezTo>
                  <a:pt x="6256" y="610"/>
                  <a:pt x="6255" y="609"/>
                  <a:pt x="6255" y="609"/>
                </a:cubicBezTo>
                <a:cubicBezTo>
                  <a:pt x="6255" y="610"/>
                  <a:pt x="6256" y="610"/>
                  <a:pt x="6256" y="612"/>
                </a:cubicBezTo>
                <a:cubicBezTo>
                  <a:pt x="6257" y="613"/>
                  <a:pt x="6258" y="615"/>
                  <a:pt x="6258" y="616"/>
                </a:cubicBezTo>
                <a:cubicBezTo>
                  <a:pt x="6258" y="617"/>
                  <a:pt x="6257" y="618"/>
                  <a:pt x="6255" y="618"/>
                </a:cubicBezTo>
                <a:cubicBezTo>
                  <a:pt x="6255" y="618"/>
                  <a:pt x="6254" y="617"/>
                  <a:pt x="6254" y="617"/>
                </a:cubicBezTo>
                <a:cubicBezTo>
                  <a:pt x="6254" y="617"/>
                  <a:pt x="6254" y="616"/>
                  <a:pt x="6253" y="616"/>
                </a:cubicBezTo>
                <a:lnTo>
                  <a:pt x="6253" y="618"/>
                </a:lnTo>
                <a:lnTo>
                  <a:pt x="6254" y="619"/>
                </a:lnTo>
                <a:cubicBezTo>
                  <a:pt x="6254" y="619"/>
                  <a:pt x="6254" y="620"/>
                  <a:pt x="6254" y="620"/>
                </a:cubicBezTo>
                <a:cubicBezTo>
                  <a:pt x="6253" y="621"/>
                  <a:pt x="6252" y="622"/>
                  <a:pt x="6250" y="625"/>
                </a:cubicBezTo>
                <a:lnTo>
                  <a:pt x="6250" y="625"/>
                </a:lnTo>
                <a:lnTo>
                  <a:pt x="6254" y="624"/>
                </a:lnTo>
                <a:cubicBezTo>
                  <a:pt x="6254" y="624"/>
                  <a:pt x="6254" y="624"/>
                  <a:pt x="6254" y="625"/>
                </a:cubicBezTo>
                <a:lnTo>
                  <a:pt x="6254" y="625"/>
                </a:lnTo>
                <a:cubicBezTo>
                  <a:pt x="6254" y="626"/>
                  <a:pt x="6253" y="627"/>
                  <a:pt x="6251" y="629"/>
                </a:cubicBezTo>
                <a:cubicBezTo>
                  <a:pt x="6249" y="631"/>
                  <a:pt x="6248" y="632"/>
                  <a:pt x="6248" y="632"/>
                </a:cubicBezTo>
                <a:lnTo>
                  <a:pt x="6254" y="630"/>
                </a:lnTo>
                <a:cubicBezTo>
                  <a:pt x="6254" y="631"/>
                  <a:pt x="6253" y="633"/>
                  <a:pt x="6250" y="635"/>
                </a:cubicBezTo>
                <a:cubicBezTo>
                  <a:pt x="6248" y="638"/>
                  <a:pt x="6247" y="640"/>
                  <a:pt x="6247" y="642"/>
                </a:cubicBezTo>
                <a:cubicBezTo>
                  <a:pt x="6247" y="642"/>
                  <a:pt x="6247" y="642"/>
                  <a:pt x="6247" y="642"/>
                </a:cubicBezTo>
                <a:lnTo>
                  <a:pt x="6247" y="643"/>
                </a:lnTo>
                <a:cubicBezTo>
                  <a:pt x="6247" y="643"/>
                  <a:pt x="6247" y="644"/>
                  <a:pt x="6246" y="645"/>
                </a:cubicBezTo>
                <a:cubicBezTo>
                  <a:pt x="6245" y="646"/>
                  <a:pt x="6245" y="647"/>
                  <a:pt x="6245" y="649"/>
                </a:cubicBezTo>
                <a:lnTo>
                  <a:pt x="6245" y="651"/>
                </a:lnTo>
                <a:lnTo>
                  <a:pt x="6245" y="652"/>
                </a:lnTo>
                <a:cubicBezTo>
                  <a:pt x="6245" y="652"/>
                  <a:pt x="6244" y="653"/>
                  <a:pt x="6244" y="654"/>
                </a:cubicBezTo>
                <a:cubicBezTo>
                  <a:pt x="6243" y="655"/>
                  <a:pt x="6243" y="656"/>
                  <a:pt x="6243" y="657"/>
                </a:cubicBezTo>
                <a:lnTo>
                  <a:pt x="6243" y="660"/>
                </a:lnTo>
                <a:cubicBezTo>
                  <a:pt x="6243" y="661"/>
                  <a:pt x="6243" y="661"/>
                  <a:pt x="6242" y="662"/>
                </a:cubicBezTo>
                <a:cubicBezTo>
                  <a:pt x="6242" y="663"/>
                  <a:pt x="6241" y="667"/>
                  <a:pt x="6240" y="672"/>
                </a:cubicBezTo>
                <a:cubicBezTo>
                  <a:pt x="6239" y="678"/>
                  <a:pt x="6239" y="682"/>
                  <a:pt x="6238" y="683"/>
                </a:cubicBezTo>
                <a:cubicBezTo>
                  <a:pt x="6237" y="686"/>
                  <a:pt x="6236" y="688"/>
                  <a:pt x="6236" y="692"/>
                </a:cubicBezTo>
                <a:cubicBezTo>
                  <a:pt x="6236" y="702"/>
                  <a:pt x="6237" y="710"/>
                  <a:pt x="6240" y="715"/>
                </a:cubicBezTo>
                <a:cubicBezTo>
                  <a:pt x="6242" y="719"/>
                  <a:pt x="6244" y="722"/>
                  <a:pt x="6245" y="723"/>
                </a:cubicBezTo>
                <a:lnTo>
                  <a:pt x="6246" y="723"/>
                </a:lnTo>
                <a:close/>
                <a:moveTo>
                  <a:pt x="6284" y="463"/>
                </a:moveTo>
                <a:lnTo>
                  <a:pt x="6284" y="463"/>
                </a:lnTo>
                <a:cubicBezTo>
                  <a:pt x="6284" y="462"/>
                  <a:pt x="6283" y="462"/>
                  <a:pt x="6281" y="462"/>
                </a:cubicBezTo>
                <a:cubicBezTo>
                  <a:pt x="6278" y="462"/>
                  <a:pt x="6276" y="462"/>
                  <a:pt x="6276" y="463"/>
                </a:cubicBezTo>
                <a:cubicBezTo>
                  <a:pt x="6276" y="463"/>
                  <a:pt x="6278" y="463"/>
                  <a:pt x="6282" y="463"/>
                </a:cubicBezTo>
                <a:lnTo>
                  <a:pt x="6284" y="463"/>
                </a:lnTo>
                <a:close/>
                <a:moveTo>
                  <a:pt x="6270" y="457"/>
                </a:moveTo>
                <a:cubicBezTo>
                  <a:pt x="6271" y="457"/>
                  <a:pt x="6271" y="457"/>
                  <a:pt x="6271" y="456"/>
                </a:cubicBezTo>
                <a:cubicBezTo>
                  <a:pt x="6272" y="456"/>
                  <a:pt x="6272" y="455"/>
                  <a:pt x="6272" y="455"/>
                </a:cubicBezTo>
                <a:cubicBezTo>
                  <a:pt x="6272" y="454"/>
                  <a:pt x="6272" y="453"/>
                  <a:pt x="6272" y="453"/>
                </a:cubicBezTo>
                <a:lnTo>
                  <a:pt x="6269" y="453"/>
                </a:lnTo>
                <a:cubicBezTo>
                  <a:pt x="6268" y="453"/>
                  <a:pt x="6268" y="453"/>
                  <a:pt x="6268" y="452"/>
                </a:cubicBezTo>
                <a:cubicBezTo>
                  <a:pt x="6268" y="451"/>
                  <a:pt x="6267" y="450"/>
                  <a:pt x="6267" y="450"/>
                </a:cubicBezTo>
                <a:cubicBezTo>
                  <a:pt x="6266" y="450"/>
                  <a:pt x="6266" y="451"/>
                  <a:pt x="6266" y="452"/>
                </a:cubicBezTo>
                <a:cubicBezTo>
                  <a:pt x="6266" y="452"/>
                  <a:pt x="6266" y="453"/>
                  <a:pt x="6266" y="453"/>
                </a:cubicBezTo>
                <a:cubicBezTo>
                  <a:pt x="6266" y="454"/>
                  <a:pt x="6267" y="455"/>
                  <a:pt x="6268" y="456"/>
                </a:cubicBezTo>
                <a:cubicBezTo>
                  <a:pt x="6269" y="457"/>
                  <a:pt x="6269" y="457"/>
                  <a:pt x="6270" y="457"/>
                </a:cubicBezTo>
                <a:close/>
                <a:moveTo>
                  <a:pt x="6262" y="466"/>
                </a:moveTo>
                <a:cubicBezTo>
                  <a:pt x="6264" y="466"/>
                  <a:pt x="6265" y="466"/>
                  <a:pt x="6265" y="465"/>
                </a:cubicBezTo>
                <a:lnTo>
                  <a:pt x="6265" y="465"/>
                </a:lnTo>
                <a:cubicBezTo>
                  <a:pt x="6265" y="464"/>
                  <a:pt x="6264" y="464"/>
                  <a:pt x="6263" y="464"/>
                </a:cubicBezTo>
                <a:cubicBezTo>
                  <a:pt x="6261" y="464"/>
                  <a:pt x="6260" y="465"/>
                  <a:pt x="6260" y="465"/>
                </a:cubicBezTo>
                <a:cubicBezTo>
                  <a:pt x="6260" y="465"/>
                  <a:pt x="6261" y="466"/>
                  <a:pt x="6262" y="466"/>
                </a:cubicBezTo>
                <a:close/>
                <a:moveTo>
                  <a:pt x="6258" y="458"/>
                </a:moveTo>
                <a:cubicBezTo>
                  <a:pt x="6259" y="458"/>
                  <a:pt x="6260" y="458"/>
                  <a:pt x="6261" y="457"/>
                </a:cubicBezTo>
                <a:cubicBezTo>
                  <a:pt x="6262" y="456"/>
                  <a:pt x="6263" y="454"/>
                  <a:pt x="6263" y="451"/>
                </a:cubicBezTo>
                <a:lnTo>
                  <a:pt x="6263" y="450"/>
                </a:lnTo>
                <a:cubicBezTo>
                  <a:pt x="6263" y="450"/>
                  <a:pt x="6262" y="451"/>
                  <a:pt x="6261" y="453"/>
                </a:cubicBezTo>
                <a:cubicBezTo>
                  <a:pt x="6261" y="456"/>
                  <a:pt x="6260" y="457"/>
                  <a:pt x="6260" y="457"/>
                </a:cubicBezTo>
                <a:cubicBezTo>
                  <a:pt x="6259" y="457"/>
                  <a:pt x="6259" y="456"/>
                  <a:pt x="6259" y="453"/>
                </a:cubicBezTo>
                <a:cubicBezTo>
                  <a:pt x="6259" y="451"/>
                  <a:pt x="6258" y="450"/>
                  <a:pt x="6257" y="450"/>
                </a:cubicBezTo>
                <a:cubicBezTo>
                  <a:pt x="6256" y="450"/>
                  <a:pt x="6255" y="452"/>
                  <a:pt x="6255" y="456"/>
                </a:cubicBezTo>
                <a:cubicBezTo>
                  <a:pt x="6255" y="457"/>
                  <a:pt x="6256" y="458"/>
                  <a:pt x="6258" y="458"/>
                </a:cubicBezTo>
                <a:close/>
                <a:moveTo>
                  <a:pt x="6248" y="481"/>
                </a:moveTo>
                <a:lnTo>
                  <a:pt x="6256" y="479"/>
                </a:lnTo>
                <a:lnTo>
                  <a:pt x="6278" y="475"/>
                </a:lnTo>
                <a:cubicBezTo>
                  <a:pt x="6281" y="475"/>
                  <a:pt x="6284" y="474"/>
                  <a:pt x="6288" y="473"/>
                </a:cubicBezTo>
                <a:cubicBezTo>
                  <a:pt x="6292" y="473"/>
                  <a:pt x="6294" y="473"/>
                  <a:pt x="6294" y="471"/>
                </a:cubicBezTo>
                <a:cubicBezTo>
                  <a:pt x="6294" y="470"/>
                  <a:pt x="6294" y="469"/>
                  <a:pt x="6293" y="469"/>
                </a:cubicBezTo>
                <a:cubicBezTo>
                  <a:pt x="6293" y="469"/>
                  <a:pt x="6291" y="470"/>
                  <a:pt x="6290" y="470"/>
                </a:cubicBezTo>
                <a:cubicBezTo>
                  <a:pt x="6288" y="471"/>
                  <a:pt x="6286" y="472"/>
                  <a:pt x="6283" y="472"/>
                </a:cubicBezTo>
                <a:cubicBezTo>
                  <a:pt x="6278" y="472"/>
                  <a:pt x="6275" y="471"/>
                  <a:pt x="6273" y="470"/>
                </a:cubicBezTo>
                <a:cubicBezTo>
                  <a:pt x="6272" y="470"/>
                  <a:pt x="6272" y="470"/>
                  <a:pt x="6271" y="470"/>
                </a:cubicBezTo>
                <a:cubicBezTo>
                  <a:pt x="6270" y="470"/>
                  <a:pt x="6269" y="470"/>
                  <a:pt x="6268" y="472"/>
                </a:cubicBezTo>
                <a:cubicBezTo>
                  <a:pt x="6267" y="474"/>
                  <a:pt x="6266" y="475"/>
                  <a:pt x="6264" y="475"/>
                </a:cubicBezTo>
                <a:cubicBezTo>
                  <a:pt x="6264" y="475"/>
                  <a:pt x="6263" y="475"/>
                  <a:pt x="6261" y="474"/>
                </a:cubicBezTo>
                <a:cubicBezTo>
                  <a:pt x="6258" y="472"/>
                  <a:pt x="6256" y="471"/>
                  <a:pt x="6254" y="471"/>
                </a:cubicBezTo>
                <a:cubicBezTo>
                  <a:pt x="6254" y="471"/>
                  <a:pt x="6253" y="471"/>
                  <a:pt x="6253" y="472"/>
                </a:cubicBezTo>
                <a:lnTo>
                  <a:pt x="6254" y="474"/>
                </a:lnTo>
                <a:cubicBezTo>
                  <a:pt x="6254" y="475"/>
                  <a:pt x="6253" y="475"/>
                  <a:pt x="6252" y="475"/>
                </a:cubicBezTo>
                <a:cubicBezTo>
                  <a:pt x="6252" y="475"/>
                  <a:pt x="6251" y="475"/>
                  <a:pt x="6249" y="474"/>
                </a:cubicBezTo>
                <a:cubicBezTo>
                  <a:pt x="6248" y="474"/>
                  <a:pt x="6247" y="474"/>
                  <a:pt x="6245" y="474"/>
                </a:cubicBezTo>
                <a:cubicBezTo>
                  <a:pt x="6244" y="474"/>
                  <a:pt x="6243" y="474"/>
                  <a:pt x="6243" y="475"/>
                </a:cubicBezTo>
                <a:lnTo>
                  <a:pt x="6243" y="475"/>
                </a:lnTo>
                <a:cubicBezTo>
                  <a:pt x="6243" y="477"/>
                  <a:pt x="6244" y="478"/>
                  <a:pt x="6246" y="480"/>
                </a:cubicBezTo>
                <a:cubicBezTo>
                  <a:pt x="6246" y="481"/>
                  <a:pt x="6247" y="481"/>
                  <a:pt x="6248" y="481"/>
                </a:cubicBezTo>
                <a:close/>
                <a:moveTo>
                  <a:pt x="6252" y="468"/>
                </a:moveTo>
                <a:lnTo>
                  <a:pt x="6252" y="467"/>
                </a:lnTo>
                <a:lnTo>
                  <a:pt x="6250" y="466"/>
                </a:lnTo>
                <a:cubicBezTo>
                  <a:pt x="6249" y="466"/>
                  <a:pt x="6248" y="466"/>
                  <a:pt x="6248" y="467"/>
                </a:cubicBezTo>
                <a:cubicBezTo>
                  <a:pt x="6247" y="467"/>
                  <a:pt x="6247" y="468"/>
                  <a:pt x="6247" y="468"/>
                </a:cubicBezTo>
                <a:cubicBezTo>
                  <a:pt x="6247" y="468"/>
                  <a:pt x="6248" y="468"/>
                  <a:pt x="6252" y="468"/>
                </a:cubicBezTo>
                <a:close/>
                <a:moveTo>
                  <a:pt x="6222" y="465"/>
                </a:moveTo>
                <a:cubicBezTo>
                  <a:pt x="6226" y="465"/>
                  <a:pt x="6229" y="464"/>
                  <a:pt x="6231" y="462"/>
                </a:cubicBezTo>
                <a:cubicBezTo>
                  <a:pt x="6234" y="461"/>
                  <a:pt x="6235" y="460"/>
                  <a:pt x="6235" y="459"/>
                </a:cubicBezTo>
                <a:cubicBezTo>
                  <a:pt x="6235" y="458"/>
                  <a:pt x="6235" y="458"/>
                  <a:pt x="6235" y="458"/>
                </a:cubicBezTo>
                <a:cubicBezTo>
                  <a:pt x="6236" y="458"/>
                  <a:pt x="6236" y="458"/>
                  <a:pt x="6237" y="460"/>
                </a:cubicBezTo>
                <a:cubicBezTo>
                  <a:pt x="6238" y="461"/>
                  <a:pt x="6238" y="462"/>
                  <a:pt x="6239" y="462"/>
                </a:cubicBezTo>
                <a:cubicBezTo>
                  <a:pt x="6240" y="462"/>
                  <a:pt x="6241" y="461"/>
                  <a:pt x="6241" y="460"/>
                </a:cubicBezTo>
                <a:cubicBezTo>
                  <a:pt x="6242" y="458"/>
                  <a:pt x="6243" y="458"/>
                  <a:pt x="6243" y="458"/>
                </a:cubicBezTo>
                <a:cubicBezTo>
                  <a:pt x="6243" y="458"/>
                  <a:pt x="6243" y="458"/>
                  <a:pt x="6243" y="458"/>
                </a:cubicBezTo>
                <a:cubicBezTo>
                  <a:pt x="6243" y="459"/>
                  <a:pt x="6244" y="460"/>
                  <a:pt x="6245" y="460"/>
                </a:cubicBezTo>
                <a:lnTo>
                  <a:pt x="6248" y="460"/>
                </a:lnTo>
                <a:cubicBezTo>
                  <a:pt x="6250" y="459"/>
                  <a:pt x="6251" y="458"/>
                  <a:pt x="6251" y="456"/>
                </a:cubicBezTo>
                <a:cubicBezTo>
                  <a:pt x="6250" y="454"/>
                  <a:pt x="6249" y="453"/>
                  <a:pt x="6249" y="453"/>
                </a:cubicBezTo>
                <a:cubicBezTo>
                  <a:pt x="6248" y="453"/>
                  <a:pt x="6248" y="454"/>
                  <a:pt x="6247" y="454"/>
                </a:cubicBezTo>
                <a:cubicBezTo>
                  <a:pt x="6247" y="455"/>
                  <a:pt x="6246" y="455"/>
                  <a:pt x="6244" y="456"/>
                </a:cubicBezTo>
                <a:lnTo>
                  <a:pt x="6239" y="456"/>
                </a:lnTo>
                <a:cubicBezTo>
                  <a:pt x="6236" y="456"/>
                  <a:pt x="6233" y="457"/>
                  <a:pt x="6231" y="459"/>
                </a:cubicBezTo>
                <a:lnTo>
                  <a:pt x="6229" y="460"/>
                </a:lnTo>
                <a:lnTo>
                  <a:pt x="6229" y="460"/>
                </a:lnTo>
                <a:cubicBezTo>
                  <a:pt x="6229" y="458"/>
                  <a:pt x="6228" y="457"/>
                  <a:pt x="6226" y="457"/>
                </a:cubicBezTo>
                <a:cubicBezTo>
                  <a:pt x="6223" y="457"/>
                  <a:pt x="6222" y="458"/>
                  <a:pt x="6222" y="459"/>
                </a:cubicBezTo>
                <a:cubicBezTo>
                  <a:pt x="6222" y="460"/>
                  <a:pt x="6222" y="460"/>
                  <a:pt x="6221" y="460"/>
                </a:cubicBezTo>
                <a:cubicBezTo>
                  <a:pt x="6221" y="460"/>
                  <a:pt x="6220" y="460"/>
                  <a:pt x="6219" y="459"/>
                </a:cubicBezTo>
                <a:cubicBezTo>
                  <a:pt x="6218" y="458"/>
                  <a:pt x="6217" y="458"/>
                  <a:pt x="6216" y="458"/>
                </a:cubicBezTo>
                <a:cubicBezTo>
                  <a:pt x="6215" y="458"/>
                  <a:pt x="6214" y="458"/>
                  <a:pt x="6214" y="459"/>
                </a:cubicBezTo>
                <a:cubicBezTo>
                  <a:pt x="6214" y="460"/>
                  <a:pt x="6213" y="460"/>
                  <a:pt x="6211" y="460"/>
                </a:cubicBezTo>
                <a:cubicBezTo>
                  <a:pt x="6211" y="460"/>
                  <a:pt x="6211" y="460"/>
                  <a:pt x="6211" y="460"/>
                </a:cubicBezTo>
                <a:cubicBezTo>
                  <a:pt x="6210" y="460"/>
                  <a:pt x="6210" y="460"/>
                  <a:pt x="6209" y="460"/>
                </a:cubicBezTo>
                <a:cubicBezTo>
                  <a:pt x="6209" y="460"/>
                  <a:pt x="6209" y="461"/>
                  <a:pt x="6211" y="463"/>
                </a:cubicBezTo>
                <a:cubicBezTo>
                  <a:pt x="6212" y="464"/>
                  <a:pt x="6212" y="465"/>
                  <a:pt x="6213" y="465"/>
                </a:cubicBezTo>
                <a:cubicBezTo>
                  <a:pt x="6214" y="465"/>
                  <a:pt x="6215" y="464"/>
                  <a:pt x="6216" y="462"/>
                </a:cubicBezTo>
                <a:lnTo>
                  <a:pt x="6217" y="460"/>
                </a:lnTo>
                <a:cubicBezTo>
                  <a:pt x="6217" y="460"/>
                  <a:pt x="6218" y="460"/>
                  <a:pt x="6218" y="462"/>
                </a:cubicBezTo>
                <a:cubicBezTo>
                  <a:pt x="6219" y="463"/>
                  <a:pt x="6219" y="464"/>
                  <a:pt x="6220" y="464"/>
                </a:cubicBezTo>
                <a:cubicBezTo>
                  <a:pt x="6221" y="465"/>
                  <a:pt x="6222" y="465"/>
                  <a:pt x="6222" y="465"/>
                </a:cubicBezTo>
                <a:close/>
                <a:moveTo>
                  <a:pt x="6199" y="459"/>
                </a:moveTo>
                <a:cubicBezTo>
                  <a:pt x="6200" y="459"/>
                  <a:pt x="6200" y="458"/>
                  <a:pt x="6200" y="457"/>
                </a:cubicBezTo>
                <a:cubicBezTo>
                  <a:pt x="6200" y="456"/>
                  <a:pt x="6199" y="455"/>
                  <a:pt x="6197" y="455"/>
                </a:cubicBezTo>
                <a:cubicBezTo>
                  <a:pt x="6197" y="455"/>
                  <a:pt x="6196" y="455"/>
                  <a:pt x="6196" y="455"/>
                </a:cubicBezTo>
                <a:cubicBezTo>
                  <a:pt x="6196" y="455"/>
                  <a:pt x="6196" y="456"/>
                  <a:pt x="6196" y="456"/>
                </a:cubicBezTo>
                <a:cubicBezTo>
                  <a:pt x="6196" y="456"/>
                  <a:pt x="6197" y="457"/>
                  <a:pt x="6197" y="458"/>
                </a:cubicBezTo>
                <a:cubicBezTo>
                  <a:pt x="6197" y="459"/>
                  <a:pt x="6198" y="459"/>
                  <a:pt x="6199" y="459"/>
                </a:cubicBezTo>
                <a:close/>
                <a:moveTo>
                  <a:pt x="6194" y="462"/>
                </a:moveTo>
                <a:cubicBezTo>
                  <a:pt x="6194" y="462"/>
                  <a:pt x="6195" y="461"/>
                  <a:pt x="6195" y="460"/>
                </a:cubicBezTo>
                <a:lnTo>
                  <a:pt x="6195" y="460"/>
                </a:lnTo>
                <a:cubicBezTo>
                  <a:pt x="6195" y="460"/>
                  <a:pt x="6195" y="459"/>
                  <a:pt x="6194" y="459"/>
                </a:cubicBezTo>
                <a:cubicBezTo>
                  <a:pt x="6194" y="458"/>
                  <a:pt x="6193" y="458"/>
                  <a:pt x="6193" y="458"/>
                </a:cubicBezTo>
                <a:cubicBezTo>
                  <a:pt x="6192" y="457"/>
                  <a:pt x="6191" y="457"/>
                  <a:pt x="6191" y="457"/>
                </a:cubicBezTo>
                <a:cubicBezTo>
                  <a:pt x="6190" y="457"/>
                  <a:pt x="6190" y="457"/>
                  <a:pt x="6190" y="457"/>
                </a:cubicBezTo>
                <a:cubicBezTo>
                  <a:pt x="6190" y="458"/>
                  <a:pt x="6190" y="458"/>
                  <a:pt x="6190" y="458"/>
                </a:cubicBezTo>
                <a:cubicBezTo>
                  <a:pt x="6190" y="458"/>
                  <a:pt x="6190" y="459"/>
                  <a:pt x="6191" y="460"/>
                </a:cubicBezTo>
                <a:cubicBezTo>
                  <a:pt x="6191" y="461"/>
                  <a:pt x="6192" y="462"/>
                  <a:pt x="6194" y="462"/>
                </a:cubicBezTo>
                <a:close/>
                <a:moveTo>
                  <a:pt x="6184" y="463"/>
                </a:moveTo>
                <a:cubicBezTo>
                  <a:pt x="6184" y="463"/>
                  <a:pt x="6185" y="462"/>
                  <a:pt x="6186" y="461"/>
                </a:cubicBezTo>
                <a:cubicBezTo>
                  <a:pt x="6187" y="461"/>
                  <a:pt x="6187" y="460"/>
                  <a:pt x="6187" y="459"/>
                </a:cubicBezTo>
                <a:cubicBezTo>
                  <a:pt x="6187" y="458"/>
                  <a:pt x="6187" y="458"/>
                  <a:pt x="6186" y="458"/>
                </a:cubicBezTo>
                <a:lnTo>
                  <a:pt x="6185" y="458"/>
                </a:lnTo>
                <a:cubicBezTo>
                  <a:pt x="6185" y="458"/>
                  <a:pt x="6184" y="458"/>
                  <a:pt x="6183" y="458"/>
                </a:cubicBezTo>
                <a:cubicBezTo>
                  <a:pt x="6182" y="459"/>
                  <a:pt x="6182" y="460"/>
                  <a:pt x="6182" y="461"/>
                </a:cubicBezTo>
                <a:cubicBezTo>
                  <a:pt x="6182" y="462"/>
                  <a:pt x="6182" y="463"/>
                  <a:pt x="6183" y="463"/>
                </a:cubicBezTo>
                <a:lnTo>
                  <a:pt x="6184" y="463"/>
                </a:lnTo>
                <a:close/>
                <a:moveTo>
                  <a:pt x="6177" y="465"/>
                </a:moveTo>
                <a:lnTo>
                  <a:pt x="6178" y="464"/>
                </a:lnTo>
                <a:cubicBezTo>
                  <a:pt x="6178" y="463"/>
                  <a:pt x="6177" y="462"/>
                  <a:pt x="6176" y="461"/>
                </a:cubicBezTo>
                <a:lnTo>
                  <a:pt x="6174" y="460"/>
                </a:lnTo>
                <a:lnTo>
                  <a:pt x="6174" y="460"/>
                </a:lnTo>
                <a:cubicBezTo>
                  <a:pt x="6174" y="460"/>
                  <a:pt x="6174" y="461"/>
                  <a:pt x="6175" y="462"/>
                </a:cubicBezTo>
                <a:cubicBezTo>
                  <a:pt x="6175" y="464"/>
                  <a:pt x="6176" y="464"/>
                  <a:pt x="6176" y="465"/>
                </a:cubicBezTo>
                <a:lnTo>
                  <a:pt x="6177" y="465"/>
                </a:lnTo>
                <a:close/>
                <a:moveTo>
                  <a:pt x="6159" y="481"/>
                </a:moveTo>
                <a:cubicBezTo>
                  <a:pt x="6159" y="481"/>
                  <a:pt x="6160" y="480"/>
                  <a:pt x="6161" y="479"/>
                </a:cubicBezTo>
                <a:cubicBezTo>
                  <a:pt x="6162" y="478"/>
                  <a:pt x="6163" y="477"/>
                  <a:pt x="6164" y="477"/>
                </a:cubicBezTo>
                <a:cubicBezTo>
                  <a:pt x="6165" y="477"/>
                  <a:pt x="6165" y="477"/>
                  <a:pt x="6165" y="478"/>
                </a:cubicBezTo>
                <a:cubicBezTo>
                  <a:pt x="6166" y="479"/>
                  <a:pt x="6166" y="479"/>
                  <a:pt x="6167" y="479"/>
                </a:cubicBezTo>
                <a:cubicBezTo>
                  <a:pt x="6168" y="479"/>
                  <a:pt x="6169" y="478"/>
                  <a:pt x="6170" y="476"/>
                </a:cubicBezTo>
                <a:cubicBezTo>
                  <a:pt x="6172" y="475"/>
                  <a:pt x="6173" y="474"/>
                  <a:pt x="6173" y="474"/>
                </a:cubicBezTo>
                <a:cubicBezTo>
                  <a:pt x="6173" y="474"/>
                  <a:pt x="6174" y="474"/>
                  <a:pt x="6174" y="475"/>
                </a:cubicBezTo>
                <a:lnTo>
                  <a:pt x="6174" y="475"/>
                </a:lnTo>
                <a:cubicBezTo>
                  <a:pt x="6174" y="477"/>
                  <a:pt x="6174" y="477"/>
                  <a:pt x="6174" y="477"/>
                </a:cubicBezTo>
                <a:cubicBezTo>
                  <a:pt x="6175" y="477"/>
                  <a:pt x="6175" y="476"/>
                  <a:pt x="6177" y="474"/>
                </a:cubicBezTo>
                <a:cubicBezTo>
                  <a:pt x="6178" y="473"/>
                  <a:pt x="6179" y="472"/>
                  <a:pt x="6180" y="472"/>
                </a:cubicBezTo>
                <a:cubicBezTo>
                  <a:pt x="6180" y="472"/>
                  <a:pt x="6180" y="472"/>
                  <a:pt x="6180" y="473"/>
                </a:cubicBezTo>
                <a:cubicBezTo>
                  <a:pt x="6180" y="474"/>
                  <a:pt x="6181" y="474"/>
                  <a:pt x="6182" y="474"/>
                </a:cubicBezTo>
                <a:cubicBezTo>
                  <a:pt x="6186" y="474"/>
                  <a:pt x="6190" y="473"/>
                  <a:pt x="6193" y="469"/>
                </a:cubicBezTo>
                <a:cubicBezTo>
                  <a:pt x="6194" y="467"/>
                  <a:pt x="6194" y="466"/>
                  <a:pt x="6195" y="466"/>
                </a:cubicBezTo>
                <a:lnTo>
                  <a:pt x="6195" y="467"/>
                </a:lnTo>
                <a:cubicBezTo>
                  <a:pt x="6195" y="468"/>
                  <a:pt x="6194" y="468"/>
                  <a:pt x="6194" y="470"/>
                </a:cubicBezTo>
                <a:cubicBezTo>
                  <a:pt x="6193" y="471"/>
                  <a:pt x="6193" y="472"/>
                  <a:pt x="6193" y="472"/>
                </a:cubicBezTo>
                <a:cubicBezTo>
                  <a:pt x="6193" y="473"/>
                  <a:pt x="6193" y="473"/>
                  <a:pt x="6194" y="473"/>
                </a:cubicBezTo>
                <a:cubicBezTo>
                  <a:pt x="6194" y="473"/>
                  <a:pt x="6195" y="472"/>
                  <a:pt x="6197" y="471"/>
                </a:cubicBezTo>
                <a:cubicBezTo>
                  <a:pt x="6199" y="469"/>
                  <a:pt x="6200" y="469"/>
                  <a:pt x="6201" y="469"/>
                </a:cubicBezTo>
                <a:cubicBezTo>
                  <a:pt x="6202" y="469"/>
                  <a:pt x="6203" y="469"/>
                  <a:pt x="6204" y="469"/>
                </a:cubicBezTo>
                <a:cubicBezTo>
                  <a:pt x="6204" y="469"/>
                  <a:pt x="6205" y="470"/>
                  <a:pt x="6206" y="470"/>
                </a:cubicBezTo>
                <a:cubicBezTo>
                  <a:pt x="6207" y="470"/>
                  <a:pt x="6208" y="469"/>
                  <a:pt x="6209" y="469"/>
                </a:cubicBezTo>
                <a:cubicBezTo>
                  <a:pt x="6209" y="468"/>
                  <a:pt x="6209" y="468"/>
                  <a:pt x="6209" y="467"/>
                </a:cubicBezTo>
                <a:cubicBezTo>
                  <a:pt x="6209" y="466"/>
                  <a:pt x="6209" y="465"/>
                  <a:pt x="6207" y="464"/>
                </a:cubicBezTo>
                <a:cubicBezTo>
                  <a:pt x="6206" y="462"/>
                  <a:pt x="6205" y="462"/>
                  <a:pt x="6204" y="462"/>
                </a:cubicBezTo>
                <a:cubicBezTo>
                  <a:pt x="6204" y="462"/>
                  <a:pt x="6203" y="462"/>
                  <a:pt x="6202" y="463"/>
                </a:cubicBezTo>
                <a:cubicBezTo>
                  <a:pt x="6202" y="465"/>
                  <a:pt x="6201" y="465"/>
                  <a:pt x="6200" y="465"/>
                </a:cubicBezTo>
                <a:cubicBezTo>
                  <a:pt x="6200" y="465"/>
                  <a:pt x="6199" y="465"/>
                  <a:pt x="6199" y="464"/>
                </a:cubicBezTo>
                <a:cubicBezTo>
                  <a:pt x="6198" y="463"/>
                  <a:pt x="6197" y="463"/>
                  <a:pt x="6196" y="463"/>
                </a:cubicBezTo>
                <a:cubicBezTo>
                  <a:pt x="6194" y="463"/>
                  <a:pt x="6190" y="464"/>
                  <a:pt x="6187" y="468"/>
                </a:cubicBezTo>
                <a:cubicBezTo>
                  <a:pt x="6186" y="470"/>
                  <a:pt x="6185" y="470"/>
                  <a:pt x="6185" y="470"/>
                </a:cubicBezTo>
                <a:lnTo>
                  <a:pt x="6186" y="468"/>
                </a:lnTo>
                <a:cubicBezTo>
                  <a:pt x="6186" y="467"/>
                  <a:pt x="6186" y="467"/>
                  <a:pt x="6185" y="466"/>
                </a:cubicBezTo>
                <a:cubicBezTo>
                  <a:pt x="6185" y="466"/>
                  <a:pt x="6185" y="466"/>
                  <a:pt x="6184" y="466"/>
                </a:cubicBezTo>
                <a:cubicBezTo>
                  <a:pt x="6182" y="466"/>
                  <a:pt x="6177" y="468"/>
                  <a:pt x="6169" y="470"/>
                </a:cubicBezTo>
                <a:cubicBezTo>
                  <a:pt x="6160" y="473"/>
                  <a:pt x="6155" y="475"/>
                  <a:pt x="6155" y="477"/>
                </a:cubicBezTo>
                <a:cubicBezTo>
                  <a:pt x="6155" y="478"/>
                  <a:pt x="6156" y="478"/>
                  <a:pt x="6159" y="478"/>
                </a:cubicBezTo>
                <a:lnTo>
                  <a:pt x="6160" y="479"/>
                </a:lnTo>
                <a:cubicBezTo>
                  <a:pt x="6160" y="480"/>
                  <a:pt x="6159" y="480"/>
                  <a:pt x="6159" y="480"/>
                </a:cubicBezTo>
                <a:lnTo>
                  <a:pt x="6159" y="481"/>
                </a:lnTo>
                <a:close/>
                <a:moveTo>
                  <a:pt x="6123" y="493"/>
                </a:moveTo>
                <a:cubicBezTo>
                  <a:pt x="6126" y="492"/>
                  <a:pt x="6127" y="492"/>
                  <a:pt x="6128" y="492"/>
                </a:cubicBezTo>
                <a:cubicBezTo>
                  <a:pt x="6129" y="492"/>
                  <a:pt x="6129" y="491"/>
                  <a:pt x="6129" y="491"/>
                </a:cubicBezTo>
                <a:lnTo>
                  <a:pt x="6129" y="490"/>
                </a:lnTo>
                <a:cubicBezTo>
                  <a:pt x="6129" y="490"/>
                  <a:pt x="6129" y="489"/>
                  <a:pt x="6128" y="489"/>
                </a:cubicBezTo>
                <a:cubicBezTo>
                  <a:pt x="6128" y="489"/>
                  <a:pt x="6128" y="488"/>
                  <a:pt x="6128" y="488"/>
                </a:cubicBezTo>
                <a:cubicBezTo>
                  <a:pt x="6128" y="487"/>
                  <a:pt x="6128" y="487"/>
                  <a:pt x="6129" y="487"/>
                </a:cubicBezTo>
                <a:lnTo>
                  <a:pt x="6135" y="489"/>
                </a:lnTo>
                <a:cubicBezTo>
                  <a:pt x="6135" y="489"/>
                  <a:pt x="6136" y="489"/>
                  <a:pt x="6136" y="488"/>
                </a:cubicBezTo>
                <a:lnTo>
                  <a:pt x="6135" y="485"/>
                </a:lnTo>
                <a:cubicBezTo>
                  <a:pt x="6135" y="485"/>
                  <a:pt x="6135" y="485"/>
                  <a:pt x="6135" y="485"/>
                </a:cubicBezTo>
                <a:cubicBezTo>
                  <a:pt x="6135" y="485"/>
                  <a:pt x="6136" y="485"/>
                  <a:pt x="6137" y="485"/>
                </a:cubicBezTo>
                <a:cubicBezTo>
                  <a:pt x="6138" y="486"/>
                  <a:pt x="6140" y="486"/>
                  <a:pt x="6141" y="486"/>
                </a:cubicBezTo>
                <a:cubicBezTo>
                  <a:pt x="6145" y="486"/>
                  <a:pt x="6147" y="485"/>
                  <a:pt x="6148" y="485"/>
                </a:cubicBezTo>
                <a:cubicBezTo>
                  <a:pt x="6150" y="484"/>
                  <a:pt x="6150" y="483"/>
                  <a:pt x="6150" y="482"/>
                </a:cubicBezTo>
                <a:lnTo>
                  <a:pt x="6150" y="481"/>
                </a:lnTo>
                <a:cubicBezTo>
                  <a:pt x="6150" y="481"/>
                  <a:pt x="6151" y="481"/>
                  <a:pt x="6151" y="481"/>
                </a:cubicBezTo>
                <a:lnTo>
                  <a:pt x="6155" y="482"/>
                </a:lnTo>
                <a:cubicBezTo>
                  <a:pt x="6155" y="482"/>
                  <a:pt x="6156" y="482"/>
                  <a:pt x="6156" y="481"/>
                </a:cubicBezTo>
                <a:cubicBezTo>
                  <a:pt x="6156" y="478"/>
                  <a:pt x="6154" y="477"/>
                  <a:pt x="6151" y="477"/>
                </a:cubicBezTo>
                <a:cubicBezTo>
                  <a:pt x="6147" y="477"/>
                  <a:pt x="6140" y="479"/>
                  <a:pt x="6129" y="482"/>
                </a:cubicBezTo>
                <a:cubicBezTo>
                  <a:pt x="6123" y="485"/>
                  <a:pt x="6120" y="486"/>
                  <a:pt x="6118" y="487"/>
                </a:cubicBezTo>
                <a:cubicBezTo>
                  <a:pt x="6117" y="487"/>
                  <a:pt x="6116" y="488"/>
                  <a:pt x="6116" y="489"/>
                </a:cubicBezTo>
                <a:cubicBezTo>
                  <a:pt x="6116" y="490"/>
                  <a:pt x="6117" y="490"/>
                  <a:pt x="6118" y="491"/>
                </a:cubicBezTo>
                <a:cubicBezTo>
                  <a:pt x="6119" y="492"/>
                  <a:pt x="6120" y="493"/>
                  <a:pt x="6121" y="493"/>
                </a:cubicBezTo>
                <a:lnTo>
                  <a:pt x="6123" y="493"/>
                </a:lnTo>
                <a:close/>
                <a:moveTo>
                  <a:pt x="6085" y="504"/>
                </a:moveTo>
                <a:cubicBezTo>
                  <a:pt x="6086" y="504"/>
                  <a:pt x="6086" y="504"/>
                  <a:pt x="6087" y="504"/>
                </a:cubicBezTo>
                <a:cubicBezTo>
                  <a:pt x="6089" y="503"/>
                  <a:pt x="6091" y="502"/>
                  <a:pt x="6093" y="502"/>
                </a:cubicBezTo>
                <a:cubicBezTo>
                  <a:pt x="6096" y="502"/>
                  <a:pt x="6098" y="501"/>
                  <a:pt x="6101" y="500"/>
                </a:cubicBezTo>
                <a:cubicBezTo>
                  <a:pt x="6108" y="497"/>
                  <a:pt x="6111" y="495"/>
                  <a:pt x="6111" y="493"/>
                </a:cubicBezTo>
                <a:cubicBezTo>
                  <a:pt x="6111" y="492"/>
                  <a:pt x="6110" y="492"/>
                  <a:pt x="6109" y="492"/>
                </a:cubicBezTo>
                <a:cubicBezTo>
                  <a:pt x="6109" y="492"/>
                  <a:pt x="6108" y="492"/>
                  <a:pt x="6108" y="494"/>
                </a:cubicBezTo>
                <a:cubicBezTo>
                  <a:pt x="6108" y="495"/>
                  <a:pt x="6107" y="495"/>
                  <a:pt x="6107" y="495"/>
                </a:cubicBezTo>
                <a:lnTo>
                  <a:pt x="6105" y="495"/>
                </a:lnTo>
                <a:cubicBezTo>
                  <a:pt x="6103" y="495"/>
                  <a:pt x="6101" y="495"/>
                  <a:pt x="6099" y="497"/>
                </a:cubicBezTo>
                <a:cubicBezTo>
                  <a:pt x="6096" y="500"/>
                  <a:pt x="6093" y="501"/>
                  <a:pt x="6092" y="501"/>
                </a:cubicBezTo>
                <a:cubicBezTo>
                  <a:pt x="6091" y="501"/>
                  <a:pt x="6091" y="500"/>
                  <a:pt x="6091" y="500"/>
                </a:cubicBezTo>
                <a:cubicBezTo>
                  <a:pt x="6091" y="499"/>
                  <a:pt x="6092" y="498"/>
                  <a:pt x="6093" y="497"/>
                </a:cubicBezTo>
                <a:cubicBezTo>
                  <a:pt x="6094" y="496"/>
                  <a:pt x="6095" y="495"/>
                  <a:pt x="6095" y="495"/>
                </a:cubicBezTo>
                <a:lnTo>
                  <a:pt x="6092" y="495"/>
                </a:lnTo>
                <a:cubicBezTo>
                  <a:pt x="6089" y="497"/>
                  <a:pt x="6087" y="499"/>
                  <a:pt x="6087" y="500"/>
                </a:cubicBezTo>
                <a:cubicBezTo>
                  <a:pt x="6086" y="502"/>
                  <a:pt x="6086" y="502"/>
                  <a:pt x="6085" y="502"/>
                </a:cubicBezTo>
                <a:cubicBezTo>
                  <a:pt x="6084" y="502"/>
                  <a:pt x="6084" y="502"/>
                  <a:pt x="6083" y="502"/>
                </a:cubicBezTo>
                <a:cubicBezTo>
                  <a:pt x="6083" y="501"/>
                  <a:pt x="6082" y="501"/>
                  <a:pt x="6082" y="501"/>
                </a:cubicBezTo>
                <a:cubicBezTo>
                  <a:pt x="6082" y="501"/>
                  <a:pt x="6082" y="502"/>
                  <a:pt x="6083" y="503"/>
                </a:cubicBezTo>
                <a:cubicBezTo>
                  <a:pt x="6083" y="504"/>
                  <a:pt x="6084" y="504"/>
                  <a:pt x="6085" y="504"/>
                </a:cubicBezTo>
                <a:close/>
                <a:moveTo>
                  <a:pt x="6045" y="512"/>
                </a:moveTo>
                <a:cubicBezTo>
                  <a:pt x="6047" y="512"/>
                  <a:pt x="6049" y="511"/>
                  <a:pt x="6052" y="509"/>
                </a:cubicBezTo>
                <a:lnTo>
                  <a:pt x="6056" y="506"/>
                </a:lnTo>
                <a:lnTo>
                  <a:pt x="6055" y="506"/>
                </a:lnTo>
                <a:cubicBezTo>
                  <a:pt x="6055" y="506"/>
                  <a:pt x="6054" y="506"/>
                  <a:pt x="6052" y="507"/>
                </a:cubicBezTo>
                <a:cubicBezTo>
                  <a:pt x="6050" y="508"/>
                  <a:pt x="6048" y="509"/>
                  <a:pt x="6046" y="509"/>
                </a:cubicBezTo>
                <a:lnTo>
                  <a:pt x="6044" y="509"/>
                </a:lnTo>
                <a:cubicBezTo>
                  <a:pt x="6043" y="509"/>
                  <a:pt x="6042" y="509"/>
                  <a:pt x="6042" y="509"/>
                </a:cubicBezTo>
                <a:cubicBezTo>
                  <a:pt x="6041" y="509"/>
                  <a:pt x="6041" y="509"/>
                  <a:pt x="6041" y="510"/>
                </a:cubicBezTo>
                <a:lnTo>
                  <a:pt x="6041" y="510"/>
                </a:lnTo>
                <a:cubicBezTo>
                  <a:pt x="6042" y="512"/>
                  <a:pt x="6044" y="512"/>
                  <a:pt x="6045" y="512"/>
                </a:cubicBezTo>
                <a:close/>
                <a:moveTo>
                  <a:pt x="6065" y="503"/>
                </a:moveTo>
                <a:cubicBezTo>
                  <a:pt x="6066" y="503"/>
                  <a:pt x="6068" y="503"/>
                  <a:pt x="6070" y="502"/>
                </a:cubicBezTo>
                <a:cubicBezTo>
                  <a:pt x="6071" y="501"/>
                  <a:pt x="6072" y="500"/>
                  <a:pt x="6072" y="497"/>
                </a:cubicBezTo>
                <a:cubicBezTo>
                  <a:pt x="6072" y="497"/>
                  <a:pt x="6072" y="497"/>
                  <a:pt x="6072" y="497"/>
                </a:cubicBezTo>
                <a:cubicBezTo>
                  <a:pt x="6072" y="497"/>
                  <a:pt x="6071" y="497"/>
                  <a:pt x="6071" y="498"/>
                </a:cubicBezTo>
                <a:cubicBezTo>
                  <a:pt x="6070" y="499"/>
                  <a:pt x="6068" y="499"/>
                  <a:pt x="6066" y="499"/>
                </a:cubicBezTo>
                <a:lnTo>
                  <a:pt x="6064" y="499"/>
                </a:lnTo>
                <a:cubicBezTo>
                  <a:pt x="6062" y="499"/>
                  <a:pt x="6062" y="499"/>
                  <a:pt x="6062" y="501"/>
                </a:cubicBezTo>
                <a:cubicBezTo>
                  <a:pt x="6062" y="502"/>
                  <a:pt x="6063" y="503"/>
                  <a:pt x="6065" y="503"/>
                </a:cubicBezTo>
                <a:close/>
                <a:moveTo>
                  <a:pt x="6025" y="768"/>
                </a:moveTo>
                <a:cubicBezTo>
                  <a:pt x="6025" y="768"/>
                  <a:pt x="6026" y="768"/>
                  <a:pt x="6026" y="768"/>
                </a:cubicBezTo>
                <a:lnTo>
                  <a:pt x="6025" y="765"/>
                </a:lnTo>
                <a:cubicBezTo>
                  <a:pt x="6025" y="764"/>
                  <a:pt x="6025" y="764"/>
                  <a:pt x="6026" y="764"/>
                </a:cubicBezTo>
                <a:cubicBezTo>
                  <a:pt x="6026" y="764"/>
                  <a:pt x="6026" y="764"/>
                  <a:pt x="6027" y="765"/>
                </a:cubicBezTo>
                <a:cubicBezTo>
                  <a:pt x="6028" y="765"/>
                  <a:pt x="6028" y="765"/>
                  <a:pt x="6030" y="765"/>
                </a:cubicBezTo>
                <a:cubicBezTo>
                  <a:pt x="6033" y="765"/>
                  <a:pt x="6036" y="764"/>
                  <a:pt x="6039" y="762"/>
                </a:cubicBezTo>
                <a:cubicBezTo>
                  <a:pt x="6041" y="762"/>
                  <a:pt x="6042" y="760"/>
                  <a:pt x="6042" y="759"/>
                </a:cubicBezTo>
                <a:cubicBezTo>
                  <a:pt x="6042" y="758"/>
                  <a:pt x="6043" y="757"/>
                  <a:pt x="6045" y="757"/>
                </a:cubicBezTo>
                <a:cubicBezTo>
                  <a:pt x="6047" y="757"/>
                  <a:pt x="6050" y="755"/>
                  <a:pt x="6054" y="751"/>
                </a:cubicBezTo>
                <a:cubicBezTo>
                  <a:pt x="6056" y="750"/>
                  <a:pt x="6057" y="748"/>
                  <a:pt x="6059" y="747"/>
                </a:cubicBezTo>
                <a:cubicBezTo>
                  <a:pt x="6060" y="746"/>
                  <a:pt x="6061" y="746"/>
                  <a:pt x="6061" y="746"/>
                </a:cubicBezTo>
                <a:cubicBezTo>
                  <a:pt x="6063" y="746"/>
                  <a:pt x="6069" y="741"/>
                  <a:pt x="6078" y="732"/>
                </a:cubicBezTo>
                <a:cubicBezTo>
                  <a:pt x="6086" y="723"/>
                  <a:pt x="6095" y="713"/>
                  <a:pt x="6104" y="703"/>
                </a:cubicBezTo>
                <a:cubicBezTo>
                  <a:pt x="6112" y="692"/>
                  <a:pt x="6118" y="684"/>
                  <a:pt x="6121" y="679"/>
                </a:cubicBezTo>
                <a:cubicBezTo>
                  <a:pt x="6122" y="676"/>
                  <a:pt x="6123" y="674"/>
                  <a:pt x="6125" y="672"/>
                </a:cubicBezTo>
                <a:cubicBezTo>
                  <a:pt x="6132" y="666"/>
                  <a:pt x="6139" y="651"/>
                  <a:pt x="6144" y="627"/>
                </a:cubicBezTo>
                <a:cubicBezTo>
                  <a:pt x="6146" y="618"/>
                  <a:pt x="6147" y="610"/>
                  <a:pt x="6147" y="602"/>
                </a:cubicBezTo>
                <a:cubicBezTo>
                  <a:pt x="6145" y="590"/>
                  <a:pt x="6142" y="579"/>
                  <a:pt x="6138" y="570"/>
                </a:cubicBezTo>
                <a:cubicBezTo>
                  <a:pt x="6137" y="566"/>
                  <a:pt x="6135" y="565"/>
                  <a:pt x="6134" y="565"/>
                </a:cubicBezTo>
                <a:lnTo>
                  <a:pt x="6133" y="565"/>
                </a:lnTo>
                <a:cubicBezTo>
                  <a:pt x="6132" y="565"/>
                  <a:pt x="6132" y="565"/>
                  <a:pt x="6132" y="565"/>
                </a:cubicBezTo>
                <a:lnTo>
                  <a:pt x="6133" y="563"/>
                </a:lnTo>
                <a:cubicBezTo>
                  <a:pt x="6133" y="560"/>
                  <a:pt x="6131" y="557"/>
                  <a:pt x="6127" y="553"/>
                </a:cubicBezTo>
                <a:cubicBezTo>
                  <a:pt x="6124" y="549"/>
                  <a:pt x="6122" y="548"/>
                  <a:pt x="6121" y="548"/>
                </a:cubicBezTo>
                <a:cubicBezTo>
                  <a:pt x="6121" y="548"/>
                  <a:pt x="6121" y="548"/>
                  <a:pt x="6121" y="548"/>
                </a:cubicBezTo>
                <a:cubicBezTo>
                  <a:pt x="6121" y="549"/>
                  <a:pt x="6121" y="551"/>
                  <a:pt x="6122" y="552"/>
                </a:cubicBezTo>
                <a:cubicBezTo>
                  <a:pt x="6122" y="556"/>
                  <a:pt x="6121" y="558"/>
                  <a:pt x="6120" y="558"/>
                </a:cubicBezTo>
                <a:cubicBezTo>
                  <a:pt x="6119" y="558"/>
                  <a:pt x="6118" y="558"/>
                  <a:pt x="6118" y="560"/>
                </a:cubicBezTo>
                <a:lnTo>
                  <a:pt x="6118" y="562"/>
                </a:lnTo>
                <a:cubicBezTo>
                  <a:pt x="6118" y="563"/>
                  <a:pt x="6118" y="563"/>
                  <a:pt x="6117" y="563"/>
                </a:cubicBezTo>
                <a:cubicBezTo>
                  <a:pt x="6116" y="563"/>
                  <a:pt x="6115" y="565"/>
                  <a:pt x="6113" y="567"/>
                </a:cubicBezTo>
                <a:cubicBezTo>
                  <a:pt x="6112" y="570"/>
                  <a:pt x="6111" y="574"/>
                  <a:pt x="6110" y="578"/>
                </a:cubicBezTo>
                <a:cubicBezTo>
                  <a:pt x="6108" y="581"/>
                  <a:pt x="6108" y="585"/>
                  <a:pt x="6107" y="588"/>
                </a:cubicBezTo>
                <a:cubicBezTo>
                  <a:pt x="6107" y="589"/>
                  <a:pt x="6107" y="589"/>
                  <a:pt x="6106" y="590"/>
                </a:cubicBezTo>
                <a:cubicBezTo>
                  <a:pt x="6105" y="591"/>
                  <a:pt x="6104" y="591"/>
                  <a:pt x="6102" y="591"/>
                </a:cubicBezTo>
                <a:cubicBezTo>
                  <a:pt x="6100" y="591"/>
                  <a:pt x="6099" y="591"/>
                  <a:pt x="6099" y="592"/>
                </a:cubicBezTo>
                <a:lnTo>
                  <a:pt x="6103" y="593"/>
                </a:lnTo>
                <a:cubicBezTo>
                  <a:pt x="6105" y="593"/>
                  <a:pt x="6105" y="594"/>
                  <a:pt x="6105" y="595"/>
                </a:cubicBezTo>
                <a:cubicBezTo>
                  <a:pt x="6105" y="595"/>
                  <a:pt x="6104" y="595"/>
                  <a:pt x="6102" y="595"/>
                </a:cubicBezTo>
                <a:cubicBezTo>
                  <a:pt x="6099" y="595"/>
                  <a:pt x="6098" y="596"/>
                  <a:pt x="6098" y="596"/>
                </a:cubicBezTo>
                <a:cubicBezTo>
                  <a:pt x="6098" y="597"/>
                  <a:pt x="6097" y="599"/>
                  <a:pt x="6097" y="602"/>
                </a:cubicBezTo>
                <a:lnTo>
                  <a:pt x="6098" y="605"/>
                </a:lnTo>
                <a:cubicBezTo>
                  <a:pt x="6098" y="606"/>
                  <a:pt x="6097" y="607"/>
                  <a:pt x="6096" y="607"/>
                </a:cubicBezTo>
                <a:cubicBezTo>
                  <a:pt x="6096" y="607"/>
                  <a:pt x="6096" y="606"/>
                  <a:pt x="6095" y="606"/>
                </a:cubicBezTo>
                <a:cubicBezTo>
                  <a:pt x="6095" y="606"/>
                  <a:pt x="6094" y="606"/>
                  <a:pt x="6093" y="606"/>
                </a:cubicBezTo>
                <a:cubicBezTo>
                  <a:pt x="6093" y="606"/>
                  <a:pt x="6093" y="607"/>
                  <a:pt x="6092" y="607"/>
                </a:cubicBezTo>
                <a:cubicBezTo>
                  <a:pt x="6092" y="608"/>
                  <a:pt x="6092" y="608"/>
                  <a:pt x="6092" y="609"/>
                </a:cubicBezTo>
                <a:cubicBezTo>
                  <a:pt x="6092" y="615"/>
                  <a:pt x="6089" y="618"/>
                  <a:pt x="6082" y="618"/>
                </a:cubicBezTo>
                <a:cubicBezTo>
                  <a:pt x="6081" y="618"/>
                  <a:pt x="6079" y="617"/>
                  <a:pt x="6078" y="617"/>
                </a:cubicBezTo>
                <a:cubicBezTo>
                  <a:pt x="6077" y="617"/>
                  <a:pt x="6077" y="616"/>
                  <a:pt x="6077" y="615"/>
                </a:cubicBezTo>
                <a:cubicBezTo>
                  <a:pt x="6077" y="612"/>
                  <a:pt x="6079" y="607"/>
                  <a:pt x="6082" y="599"/>
                </a:cubicBezTo>
                <a:cubicBezTo>
                  <a:pt x="6087" y="588"/>
                  <a:pt x="6091" y="581"/>
                  <a:pt x="6093" y="579"/>
                </a:cubicBezTo>
                <a:lnTo>
                  <a:pt x="6095" y="577"/>
                </a:lnTo>
                <a:cubicBezTo>
                  <a:pt x="6095" y="577"/>
                  <a:pt x="6095" y="577"/>
                  <a:pt x="6095" y="577"/>
                </a:cubicBezTo>
                <a:cubicBezTo>
                  <a:pt x="6095" y="577"/>
                  <a:pt x="6095" y="575"/>
                  <a:pt x="6096" y="573"/>
                </a:cubicBezTo>
                <a:cubicBezTo>
                  <a:pt x="6097" y="571"/>
                  <a:pt x="6097" y="568"/>
                  <a:pt x="6099" y="565"/>
                </a:cubicBezTo>
                <a:cubicBezTo>
                  <a:pt x="6102" y="556"/>
                  <a:pt x="6103" y="551"/>
                  <a:pt x="6103" y="550"/>
                </a:cubicBezTo>
                <a:cubicBezTo>
                  <a:pt x="6103" y="549"/>
                  <a:pt x="6104" y="548"/>
                  <a:pt x="6105" y="546"/>
                </a:cubicBezTo>
                <a:cubicBezTo>
                  <a:pt x="6106" y="545"/>
                  <a:pt x="6107" y="543"/>
                  <a:pt x="6107" y="541"/>
                </a:cubicBezTo>
                <a:cubicBezTo>
                  <a:pt x="6107" y="539"/>
                  <a:pt x="6107" y="538"/>
                  <a:pt x="6107" y="538"/>
                </a:cubicBezTo>
                <a:cubicBezTo>
                  <a:pt x="6105" y="538"/>
                  <a:pt x="6103" y="540"/>
                  <a:pt x="6099" y="545"/>
                </a:cubicBezTo>
                <a:cubicBezTo>
                  <a:pt x="6096" y="548"/>
                  <a:pt x="6094" y="550"/>
                  <a:pt x="6094" y="550"/>
                </a:cubicBezTo>
                <a:cubicBezTo>
                  <a:pt x="6094" y="550"/>
                  <a:pt x="6095" y="549"/>
                  <a:pt x="6097" y="546"/>
                </a:cubicBezTo>
                <a:cubicBezTo>
                  <a:pt x="6098" y="544"/>
                  <a:pt x="6099" y="542"/>
                  <a:pt x="6100" y="540"/>
                </a:cubicBezTo>
                <a:cubicBezTo>
                  <a:pt x="6101" y="539"/>
                  <a:pt x="6101" y="538"/>
                  <a:pt x="6101" y="537"/>
                </a:cubicBezTo>
                <a:cubicBezTo>
                  <a:pt x="6101" y="536"/>
                  <a:pt x="6100" y="535"/>
                  <a:pt x="6098" y="535"/>
                </a:cubicBezTo>
                <a:cubicBezTo>
                  <a:pt x="6096" y="536"/>
                  <a:pt x="6093" y="536"/>
                  <a:pt x="6091" y="537"/>
                </a:cubicBezTo>
                <a:cubicBezTo>
                  <a:pt x="6088" y="538"/>
                  <a:pt x="6085" y="540"/>
                  <a:pt x="6083" y="542"/>
                </a:cubicBezTo>
                <a:cubicBezTo>
                  <a:pt x="6080" y="544"/>
                  <a:pt x="6079" y="545"/>
                  <a:pt x="6079" y="546"/>
                </a:cubicBezTo>
                <a:lnTo>
                  <a:pt x="6081" y="546"/>
                </a:lnTo>
                <a:cubicBezTo>
                  <a:pt x="6081" y="546"/>
                  <a:pt x="6080" y="547"/>
                  <a:pt x="6078" y="549"/>
                </a:cubicBezTo>
                <a:cubicBezTo>
                  <a:pt x="6075" y="553"/>
                  <a:pt x="6074" y="555"/>
                  <a:pt x="6073" y="556"/>
                </a:cubicBezTo>
                <a:cubicBezTo>
                  <a:pt x="6073" y="559"/>
                  <a:pt x="6071" y="560"/>
                  <a:pt x="6070" y="561"/>
                </a:cubicBezTo>
                <a:cubicBezTo>
                  <a:pt x="6069" y="561"/>
                  <a:pt x="6069" y="562"/>
                  <a:pt x="6069" y="565"/>
                </a:cubicBezTo>
                <a:cubicBezTo>
                  <a:pt x="6069" y="566"/>
                  <a:pt x="6068" y="566"/>
                  <a:pt x="6068" y="567"/>
                </a:cubicBezTo>
                <a:lnTo>
                  <a:pt x="6066" y="567"/>
                </a:lnTo>
                <a:cubicBezTo>
                  <a:pt x="6065" y="567"/>
                  <a:pt x="6064" y="568"/>
                  <a:pt x="6064" y="572"/>
                </a:cubicBezTo>
                <a:cubicBezTo>
                  <a:pt x="6064" y="576"/>
                  <a:pt x="6063" y="578"/>
                  <a:pt x="6061" y="578"/>
                </a:cubicBezTo>
                <a:cubicBezTo>
                  <a:pt x="6060" y="579"/>
                  <a:pt x="6059" y="579"/>
                  <a:pt x="6059" y="580"/>
                </a:cubicBezTo>
                <a:lnTo>
                  <a:pt x="6059" y="583"/>
                </a:lnTo>
                <a:lnTo>
                  <a:pt x="6060" y="583"/>
                </a:lnTo>
                <a:lnTo>
                  <a:pt x="6059" y="583"/>
                </a:lnTo>
                <a:lnTo>
                  <a:pt x="6054" y="583"/>
                </a:lnTo>
                <a:cubicBezTo>
                  <a:pt x="6054" y="583"/>
                  <a:pt x="6054" y="583"/>
                  <a:pt x="6054" y="583"/>
                </a:cubicBezTo>
                <a:cubicBezTo>
                  <a:pt x="6054" y="583"/>
                  <a:pt x="6054" y="584"/>
                  <a:pt x="6056" y="585"/>
                </a:cubicBezTo>
                <a:cubicBezTo>
                  <a:pt x="6057" y="587"/>
                  <a:pt x="6058" y="588"/>
                  <a:pt x="6058" y="588"/>
                </a:cubicBezTo>
                <a:cubicBezTo>
                  <a:pt x="6057" y="589"/>
                  <a:pt x="6056" y="590"/>
                  <a:pt x="6055" y="592"/>
                </a:cubicBezTo>
                <a:cubicBezTo>
                  <a:pt x="6053" y="594"/>
                  <a:pt x="6052" y="596"/>
                  <a:pt x="6052" y="597"/>
                </a:cubicBezTo>
                <a:cubicBezTo>
                  <a:pt x="6051" y="602"/>
                  <a:pt x="6051" y="604"/>
                  <a:pt x="6050" y="604"/>
                </a:cubicBezTo>
                <a:lnTo>
                  <a:pt x="6048" y="603"/>
                </a:lnTo>
                <a:cubicBezTo>
                  <a:pt x="6048" y="603"/>
                  <a:pt x="6047" y="604"/>
                  <a:pt x="6047" y="605"/>
                </a:cubicBezTo>
                <a:cubicBezTo>
                  <a:pt x="6046" y="606"/>
                  <a:pt x="6046" y="607"/>
                  <a:pt x="6046" y="609"/>
                </a:cubicBezTo>
                <a:lnTo>
                  <a:pt x="6046" y="613"/>
                </a:lnTo>
                <a:cubicBezTo>
                  <a:pt x="6046" y="613"/>
                  <a:pt x="6046" y="614"/>
                  <a:pt x="6046" y="615"/>
                </a:cubicBezTo>
                <a:cubicBezTo>
                  <a:pt x="6045" y="616"/>
                  <a:pt x="6044" y="617"/>
                  <a:pt x="6043" y="619"/>
                </a:cubicBezTo>
                <a:cubicBezTo>
                  <a:pt x="6043" y="620"/>
                  <a:pt x="6042" y="621"/>
                  <a:pt x="6041" y="622"/>
                </a:cubicBezTo>
                <a:lnTo>
                  <a:pt x="6041" y="624"/>
                </a:lnTo>
                <a:lnTo>
                  <a:pt x="6042" y="625"/>
                </a:lnTo>
                <a:cubicBezTo>
                  <a:pt x="6042" y="625"/>
                  <a:pt x="6041" y="625"/>
                  <a:pt x="6040" y="625"/>
                </a:cubicBezTo>
                <a:cubicBezTo>
                  <a:pt x="6039" y="625"/>
                  <a:pt x="6038" y="626"/>
                  <a:pt x="6038" y="628"/>
                </a:cubicBezTo>
                <a:lnTo>
                  <a:pt x="6039" y="632"/>
                </a:lnTo>
                <a:cubicBezTo>
                  <a:pt x="6039" y="634"/>
                  <a:pt x="6038" y="636"/>
                  <a:pt x="6037" y="637"/>
                </a:cubicBezTo>
                <a:cubicBezTo>
                  <a:pt x="6036" y="637"/>
                  <a:pt x="6035" y="639"/>
                  <a:pt x="6035" y="640"/>
                </a:cubicBezTo>
                <a:lnTo>
                  <a:pt x="6035" y="644"/>
                </a:lnTo>
                <a:lnTo>
                  <a:pt x="6036" y="645"/>
                </a:lnTo>
                <a:cubicBezTo>
                  <a:pt x="6036" y="645"/>
                  <a:pt x="6035" y="646"/>
                  <a:pt x="6035" y="646"/>
                </a:cubicBezTo>
                <a:lnTo>
                  <a:pt x="6032" y="644"/>
                </a:lnTo>
                <a:cubicBezTo>
                  <a:pt x="6032" y="644"/>
                  <a:pt x="6032" y="645"/>
                  <a:pt x="6032" y="646"/>
                </a:cubicBezTo>
                <a:lnTo>
                  <a:pt x="6033" y="652"/>
                </a:lnTo>
                <a:cubicBezTo>
                  <a:pt x="6033" y="652"/>
                  <a:pt x="6033" y="653"/>
                  <a:pt x="6032" y="653"/>
                </a:cubicBezTo>
                <a:lnTo>
                  <a:pt x="6030" y="652"/>
                </a:lnTo>
                <a:cubicBezTo>
                  <a:pt x="6030" y="652"/>
                  <a:pt x="6029" y="652"/>
                  <a:pt x="6029" y="652"/>
                </a:cubicBezTo>
                <a:lnTo>
                  <a:pt x="6030" y="657"/>
                </a:lnTo>
                <a:cubicBezTo>
                  <a:pt x="6030" y="658"/>
                  <a:pt x="6030" y="659"/>
                  <a:pt x="6029" y="659"/>
                </a:cubicBezTo>
                <a:cubicBezTo>
                  <a:pt x="6028" y="659"/>
                  <a:pt x="6028" y="660"/>
                  <a:pt x="6028" y="662"/>
                </a:cubicBezTo>
                <a:lnTo>
                  <a:pt x="6028" y="664"/>
                </a:lnTo>
                <a:cubicBezTo>
                  <a:pt x="6028" y="665"/>
                  <a:pt x="6028" y="666"/>
                  <a:pt x="6027" y="666"/>
                </a:cubicBezTo>
                <a:cubicBezTo>
                  <a:pt x="6026" y="666"/>
                  <a:pt x="6026" y="667"/>
                  <a:pt x="6026" y="668"/>
                </a:cubicBezTo>
                <a:lnTo>
                  <a:pt x="6026" y="670"/>
                </a:lnTo>
                <a:lnTo>
                  <a:pt x="6026" y="671"/>
                </a:lnTo>
                <a:cubicBezTo>
                  <a:pt x="6026" y="673"/>
                  <a:pt x="6026" y="674"/>
                  <a:pt x="6025" y="675"/>
                </a:cubicBezTo>
                <a:cubicBezTo>
                  <a:pt x="6024" y="676"/>
                  <a:pt x="6024" y="677"/>
                  <a:pt x="6024" y="677"/>
                </a:cubicBezTo>
                <a:lnTo>
                  <a:pt x="6024" y="678"/>
                </a:lnTo>
                <a:lnTo>
                  <a:pt x="6024" y="679"/>
                </a:lnTo>
                <a:lnTo>
                  <a:pt x="6024" y="680"/>
                </a:lnTo>
                <a:cubicBezTo>
                  <a:pt x="6024" y="680"/>
                  <a:pt x="6024" y="681"/>
                  <a:pt x="6023" y="682"/>
                </a:cubicBezTo>
                <a:cubicBezTo>
                  <a:pt x="6022" y="683"/>
                  <a:pt x="6022" y="683"/>
                  <a:pt x="6022" y="685"/>
                </a:cubicBezTo>
                <a:lnTo>
                  <a:pt x="6022" y="686"/>
                </a:lnTo>
                <a:cubicBezTo>
                  <a:pt x="6022" y="687"/>
                  <a:pt x="6022" y="687"/>
                  <a:pt x="6022" y="688"/>
                </a:cubicBezTo>
                <a:cubicBezTo>
                  <a:pt x="6022" y="689"/>
                  <a:pt x="6021" y="690"/>
                  <a:pt x="6021" y="691"/>
                </a:cubicBezTo>
                <a:cubicBezTo>
                  <a:pt x="6020" y="692"/>
                  <a:pt x="6019" y="693"/>
                  <a:pt x="6019" y="695"/>
                </a:cubicBezTo>
                <a:lnTo>
                  <a:pt x="6019" y="699"/>
                </a:lnTo>
                <a:lnTo>
                  <a:pt x="6020" y="701"/>
                </a:lnTo>
                <a:cubicBezTo>
                  <a:pt x="6020" y="703"/>
                  <a:pt x="6019" y="704"/>
                  <a:pt x="6018" y="704"/>
                </a:cubicBezTo>
                <a:cubicBezTo>
                  <a:pt x="6018" y="704"/>
                  <a:pt x="6017" y="704"/>
                  <a:pt x="6017" y="705"/>
                </a:cubicBezTo>
                <a:lnTo>
                  <a:pt x="6017" y="705"/>
                </a:lnTo>
                <a:lnTo>
                  <a:pt x="6018" y="707"/>
                </a:lnTo>
                <a:cubicBezTo>
                  <a:pt x="6018" y="709"/>
                  <a:pt x="6017" y="710"/>
                  <a:pt x="6016" y="711"/>
                </a:cubicBezTo>
                <a:cubicBezTo>
                  <a:pt x="6015" y="713"/>
                  <a:pt x="6014" y="717"/>
                  <a:pt x="6014" y="723"/>
                </a:cubicBezTo>
                <a:lnTo>
                  <a:pt x="6014" y="732"/>
                </a:lnTo>
                <a:lnTo>
                  <a:pt x="6013" y="740"/>
                </a:lnTo>
                <a:cubicBezTo>
                  <a:pt x="6013" y="742"/>
                  <a:pt x="6013" y="744"/>
                  <a:pt x="6014" y="746"/>
                </a:cubicBezTo>
                <a:cubicBezTo>
                  <a:pt x="6015" y="747"/>
                  <a:pt x="6015" y="749"/>
                  <a:pt x="6015" y="749"/>
                </a:cubicBezTo>
                <a:cubicBezTo>
                  <a:pt x="6015" y="750"/>
                  <a:pt x="6014" y="750"/>
                  <a:pt x="6014" y="750"/>
                </a:cubicBezTo>
                <a:cubicBezTo>
                  <a:pt x="6013" y="750"/>
                  <a:pt x="6012" y="750"/>
                  <a:pt x="6012" y="751"/>
                </a:cubicBezTo>
                <a:cubicBezTo>
                  <a:pt x="6012" y="751"/>
                  <a:pt x="6013" y="752"/>
                  <a:pt x="6014" y="752"/>
                </a:cubicBezTo>
                <a:cubicBezTo>
                  <a:pt x="6015" y="753"/>
                  <a:pt x="6016" y="754"/>
                  <a:pt x="6016" y="754"/>
                </a:cubicBezTo>
                <a:cubicBezTo>
                  <a:pt x="6016" y="754"/>
                  <a:pt x="6015" y="755"/>
                  <a:pt x="6014" y="755"/>
                </a:cubicBezTo>
                <a:cubicBezTo>
                  <a:pt x="6013" y="755"/>
                  <a:pt x="6012" y="755"/>
                  <a:pt x="6012" y="755"/>
                </a:cubicBezTo>
                <a:cubicBezTo>
                  <a:pt x="6012" y="756"/>
                  <a:pt x="6012" y="756"/>
                  <a:pt x="6013" y="757"/>
                </a:cubicBezTo>
                <a:cubicBezTo>
                  <a:pt x="6014" y="757"/>
                  <a:pt x="6015" y="758"/>
                  <a:pt x="6016" y="759"/>
                </a:cubicBezTo>
                <a:cubicBezTo>
                  <a:pt x="6016" y="759"/>
                  <a:pt x="6016" y="760"/>
                  <a:pt x="6016" y="760"/>
                </a:cubicBezTo>
                <a:lnTo>
                  <a:pt x="6015" y="761"/>
                </a:lnTo>
                <a:cubicBezTo>
                  <a:pt x="6015" y="761"/>
                  <a:pt x="6015" y="762"/>
                  <a:pt x="6015" y="762"/>
                </a:cubicBezTo>
                <a:cubicBezTo>
                  <a:pt x="6015" y="763"/>
                  <a:pt x="6015" y="763"/>
                  <a:pt x="6016" y="764"/>
                </a:cubicBezTo>
                <a:cubicBezTo>
                  <a:pt x="6017" y="765"/>
                  <a:pt x="6018" y="766"/>
                  <a:pt x="6020" y="767"/>
                </a:cubicBezTo>
                <a:cubicBezTo>
                  <a:pt x="6021" y="768"/>
                  <a:pt x="6023" y="768"/>
                  <a:pt x="6025" y="768"/>
                </a:cubicBezTo>
                <a:close/>
                <a:moveTo>
                  <a:pt x="6137" y="703"/>
                </a:moveTo>
                <a:cubicBezTo>
                  <a:pt x="6137" y="703"/>
                  <a:pt x="6138" y="702"/>
                  <a:pt x="6138" y="701"/>
                </a:cubicBezTo>
                <a:cubicBezTo>
                  <a:pt x="6138" y="700"/>
                  <a:pt x="6137" y="699"/>
                  <a:pt x="6137" y="697"/>
                </a:cubicBezTo>
                <a:cubicBezTo>
                  <a:pt x="6136" y="696"/>
                  <a:pt x="6135" y="695"/>
                  <a:pt x="6135" y="695"/>
                </a:cubicBezTo>
                <a:cubicBezTo>
                  <a:pt x="6135" y="695"/>
                  <a:pt x="6135" y="696"/>
                  <a:pt x="6135" y="697"/>
                </a:cubicBezTo>
                <a:cubicBezTo>
                  <a:pt x="6135" y="698"/>
                  <a:pt x="6135" y="699"/>
                  <a:pt x="6135" y="700"/>
                </a:cubicBezTo>
                <a:cubicBezTo>
                  <a:pt x="6135" y="701"/>
                  <a:pt x="6135" y="701"/>
                  <a:pt x="6136" y="702"/>
                </a:cubicBezTo>
                <a:lnTo>
                  <a:pt x="6136" y="703"/>
                </a:lnTo>
                <a:lnTo>
                  <a:pt x="6137" y="703"/>
                </a:lnTo>
                <a:close/>
                <a:moveTo>
                  <a:pt x="6125" y="711"/>
                </a:moveTo>
                <a:cubicBezTo>
                  <a:pt x="6125" y="711"/>
                  <a:pt x="6126" y="710"/>
                  <a:pt x="6127" y="710"/>
                </a:cubicBezTo>
                <a:cubicBezTo>
                  <a:pt x="6128" y="709"/>
                  <a:pt x="6129" y="708"/>
                  <a:pt x="6130" y="708"/>
                </a:cubicBezTo>
                <a:cubicBezTo>
                  <a:pt x="6130" y="707"/>
                  <a:pt x="6131" y="706"/>
                  <a:pt x="6131" y="705"/>
                </a:cubicBezTo>
                <a:cubicBezTo>
                  <a:pt x="6131" y="705"/>
                  <a:pt x="6131" y="704"/>
                  <a:pt x="6130" y="704"/>
                </a:cubicBezTo>
                <a:cubicBezTo>
                  <a:pt x="6130" y="704"/>
                  <a:pt x="6129" y="705"/>
                  <a:pt x="6128" y="705"/>
                </a:cubicBezTo>
                <a:cubicBezTo>
                  <a:pt x="6127" y="706"/>
                  <a:pt x="6126" y="707"/>
                  <a:pt x="6125" y="708"/>
                </a:cubicBezTo>
                <a:cubicBezTo>
                  <a:pt x="6125" y="708"/>
                  <a:pt x="6124" y="709"/>
                  <a:pt x="6124" y="710"/>
                </a:cubicBezTo>
                <a:cubicBezTo>
                  <a:pt x="6124" y="710"/>
                  <a:pt x="6124" y="711"/>
                  <a:pt x="6125" y="711"/>
                </a:cubicBezTo>
                <a:close/>
                <a:moveTo>
                  <a:pt x="6107" y="725"/>
                </a:moveTo>
                <a:cubicBezTo>
                  <a:pt x="6107" y="725"/>
                  <a:pt x="6109" y="724"/>
                  <a:pt x="6110" y="722"/>
                </a:cubicBezTo>
                <a:cubicBezTo>
                  <a:pt x="6112" y="720"/>
                  <a:pt x="6112" y="718"/>
                  <a:pt x="6112" y="718"/>
                </a:cubicBezTo>
                <a:lnTo>
                  <a:pt x="6110" y="720"/>
                </a:lnTo>
                <a:cubicBezTo>
                  <a:pt x="6107" y="722"/>
                  <a:pt x="6106" y="724"/>
                  <a:pt x="6106" y="725"/>
                </a:cubicBezTo>
                <a:cubicBezTo>
                  <a:pt x="6106" y="725"/>
                  <a:pt x="6106" y="725"/>
                  <a:pt x="6107" y="725"/>
                </a:cubicBezTo>
                <a:close/>
                <a:moveTo>
                  <a:pt x="6060" y="766"/>
                </a:moveTo>
                <a:cubicBezTo>
                  <a:pt x="6060" y="766"/>
                  <a:pt x="6063" y="764"/>
                  <a:pt x="6067" y="761"/>
                </a:cubicBezTo>
                <a:cubicBezTo>
                  <a:pt x="6071" y="758"/>
                  <a:pt x="6074" y="757"/>
                  <a:pt x="6076" y="756"/>
                </a:cubicBezTo>
                <a:cubicBezTo>
                  <a:pt x="6079" y="756"/>
                  <a:pt x="6080" y="755"/>
                  <a:pt x="6080" y="755"/>
                </a:cubicBezTo>
                <a:lnTo>
                  <a:pt x="6080" y="754"/>
                </a:lnTo>
                <a:cubicBezTo>
                  <a:pt x="6080" y="752"/>
                  <a:pt x="6083" y="749"/>
                  <a:pt x="6087" y="744"/>
                </a:cubicBezTo>
                <a:lnTo>
                  <a:pt x="6093" y="739"/>
                </a:lnTo>
                <a:cubicBezTo>
                  <a:pt x="6092" y="739"/>
                  <a:pt x="6091" y="739"/>
                  <a:pt x="6090" y="740"/>
                </a:cubicBezTo>
                <a:cubicBezTo>
                  <a:pt x="6088" y="741"/>
                  <a:pt x="6084" y="745"/>
                  <a:pt x="6077" y="751"/>
                </a:cubicBezTo>
                <a:cubicBezTo>
                  <a:pt x="6075" y="753"/>
                  <a:pt x="6072" y="755"/>
                  <a:pt x="6070" y="757"/>
                </a:cubicBezTo>
                <a:cubicBezTo>
                  <a:pt x="6068" y="758"/>
                  <a:pt x="6066" y="758"/>
                  <a:pt x="6065" y="758"/>
                </a:cubicBezTo>
                <a:lnTo>
                  <a:pt x="6064" y="758"/>
                </a:lnTo>
                <a:cubicBezTo>
                  <a:pt x="6063" y="758"/>
                  <a:pt x="6061" y="759"/>
                  <a:pt x="6060" y="761"/>
                </a:cubicBezTo>
                <a:cubicBezTo>
                  <a:pt x="6059" y="763"/>
                  <a:pt x="6058" y="765"/>
                  <a:pt x="6058" y="765"/>
                </a:cubicBezTo>
                <a:cubicBezTo>
                  <a:pt x="6058" y="766"/>
                  <a:pt x="6059" y="766"/>
                  <a:pt x="6060" y="766"/>
                </a:cubicBezTo>
                <a:close/>
                <a:moveTo>
                  <a:pt x="6066" y="769"/>
                </a:moveTo>
                <a:cubicBezTo>
                  <a:pt x="6068" y="769"/>
                  <a:pt x="6068" y="768"/>
                  <a:pt x="6069" y="768"/>
                </a:cubicBezTo>
                <a:cubicBezTo>
                  <a:pt x="6069" y="767"/>
                  <a:pt x="6068" y="767"/>
                  <a:pt x="6067" y="766"/>
                </a:cubicBezTo>
                <a:cubicBezTo>
                  <a:pt x="6066" y="765"/>
                  <a:pt x="6065" y="765"/>
                  <a:pt x="6065" y="765"/>
                </a:cubicBezTo>
                <a:cubicBezTo>
                  <a:pt x="6065" y="765"/>
                  <a:pt x="6064" y="766"/>
                  <a:pt x="6064" y="767"/>
                </a:cubicBezTo>
                <a:cubicBezTo>
                  <a:pt x="6064" y="768"/>
                  <a:pt x="6065" y="769"/>
                  <a:pt x="6066" y="769"/>
                </a:cubicBezTo>
                <a:close/>
                <a:moveTo>
                  <a:pt x="6031" y="780"/>
                </a:moveTo>
                <a:cubicBezTo>
                  <a:pt x="6032" y="780"/>
                  <a:pt x="6033" y="780"/>
                  <a:pt x="6033" y="779"/>
                </a:cubicBezTo>
                <a:lnTo>
                  <a:pt x="6033" y="778"/>
                </a:lnTo>
                <a:lnTo>
                  <a:pt x="6033" y="777"/>
                </a:lnTo>
                <a:lnTo>
                  <a:pt x="6038" y="778"/>
                </a:lnTo>
                <a:cubicBezTo>
                  <a:pt x="6039" y="778"/>
                  <a:pt x="6040" y="778"/>
                  <a:pt x="6040" y="777"/>
                </a:cubicBezTo>
                <a:lnTo>
                  <a:pt x="6039" y="774"/>
                </a:lnTo>
                <a:cubicBezTo>
                  <a:pt x="6039" y="774"/>
                  <a:pt x="6040" y="775"/>
                  <a:pt x="6042" y="777"/>
                </a:cubicBezTo>
                <a:cubicBezTo>
                  <a:pt x="6044" y="778"/>
                  <a:pt x="6045" y="779"/>
                  <a:pt x="6046" y="779"/>
                </a:cubicBezTo>
                <a:lnTo>
                  <a:pt x="6045" y="778"/>
                </a:lnTo>
                <a:cubicBezTo>
                  <a:pt x="6045" y="776"/>
                  <a:pt x="6047" y="774"/>
                  <a:pt x="6051" y="773"/>
                </a:cubicBezTo>
                <a:cubicBezTo>
                  <a:pt x="6056" y="771"/>
                  <a:pt x="6058" y="770"/>
                  <a:pt x="6058" y="768"/>
                </a:cubicBezTo>
                <a:cubicBezTo>
                  <a:pt x="6058" y="767"/>
                  <a:pt x="6057" y="766"/>
                  <a:pt x="6056" y="764"/>
                </a:cubicBezTo>
                <a:cubicBezTo>
                  <a:pt x="6055" y="763"/>
                  <a:pt x="6054" y="762"/>
                  <a:pt x="6054" y="762"/>
                </a:cubicBezTo>
                <a:cubicBezTo>
                  <a:pt x="6053" y="762"/>
                  <a:pt x="6053" y="762"/>
                  <a:pt x="6053" y="763"/>
                </a:cubicBezTo>
                <a:lnTo>
                  <a:pt x="6053" y="764"/>
                </a:lnTo>
                <a:cubicBezTo>
                  <a:pt x="6053" y="766"/>
                  <a:pt x="6053" y="767"/>
                  <a:pt x="6052" y="768"/>
                </a:cubicBezTo>
                <a:cubicBezTo>
                  <a:pt x="6052" y="770"/>
                  <a:pt x="6051" y="770"/>
                  <a:pt x="6050" y="770"/>
                </a:cubicBezTo>
                <a:lnTo>
                  <a:pt x="6050" y="767"/>
                </a:lnTo>
                <a:cubicBezTo>
                  <a:pt x="6050" y="767"/>
                  <a:pt x="6050" y="767"/>
                  <a:pt x="6050" y="767"/>
                </a:cubicBezTo>
                <a:lnTo>
                  <a:pt x="6035" y="770"/>
                </a:lnTo>
                <a:cubicBezTo>
                  <a:pt x="6026" y="774"/>
                  <a:pt x="6021" y="776"/>
                  <a:pt x="6020" y="777"/>
                </a:cubicBezTo>
                <a:lnTo>
                  <a:pt x="6028" y="776"/>
                </a:lnTo>
                <a:cubicBezTo>
                  <a:pt x="6029" y="776"/>
                  <a:pt x="6029" y="777"/>
                  <a:pt x="6029" y="778"/>
                </a:cubicBezTo>
                <a:cubicBezTo>
                  <a:pt x="6029" y="779"/>
                  <a:pt x="6030" y="780"/>
                  <a:pt x="6031" y="780"/>
                </a:cubicBezTo>
                <a:close/>
                <a:moveTo>
                  <a:pt x="6054" y="795"/>
                </a:moveTo>
                <a:cubicBezTo>
                  <a:pt x="6057" y="795"/>
                  <a:pt x="6060" y="794"/>
                  <a:pt x="6062" y="793"/>
                </a:cubicBezTo>
                <a:cubicBezTo>
                  <a:pt x="6063" y="792"/>
                  <a:pt x="6064" y="792"/>
                  <a:pt x="6065" y="791"/>
                </a:cubicBezTo>
                <a:cubicBezTo>
                  <a:pt x="6066" y="791"/>
                  <a:pt x="6067" y="791"/>
                  <a:pt x="6068" y="791"/>
                </a:cubicBezTo>
                <a:cubicBezTo>
                  <a:pt x="6069" y="790"/>
                  <a:pt x="6071" y="790"/>
                  <a:pt x="6073" y="789"/>
                </a:cubicBezTo>
                <a:cubicBezTo>
                  <a:pt x="6075" y="788"/>
                  <a:pt x="6077" y="787"/>
                  <a:pt x="6079" y="786"/>
                </a:cubicBezTo>
                <a:cubicBezTo>
                  <a:pt x="6081" y="785"/>
                  <a:pt x="6081" y="784"/>
                  <a:pt x="6081" y="784"/>
                </a:cubicBezTo>
                <a:cubicBezTo>
                  <a:pt x="6081" y="784"/>
                  <a:pt x="6081" y="784"/>
                  <a:pt x="6081" y="784"/>
                </a:cubicBezTo>
                <a:lnTo>
                  <a:pt x="6077" y="785"/>
                </a:lnTo>
                <a:cubicBezTo>
                  <a:pt x="6076" y="785"/>
                  <a:pt x="6076" y="784"/>
                  <a:pt x="6076" y="784"/>
                </a:cubicBezTo>
                <a:lnTo>
                  <a:pt x="6076" y="782"/>
                </a:lnTo>
                <a:cubicBezTo>
                  <a:pt x="6077" y="780"/>
                  <a:pt x="6080" y="779"/>
                  <a:pt x="6083" y="779"/>
                </a:cubicBezTo>
                <a:cubicBezTo>
                  <a:pt x="6087" y="779"/>
                  <a:pt x="6089" y="779"/>
                  <a:pt x="6090" y="778"/>
                </a:cubicBezTo>
                <a:lnTo>
                  <a:pt x="6090" y="777"/>
                </a:lnTo>
                <a:lnTo>
                  <a:pt x="6090" y="776"/>
                </a:lnTo>
                <a:lnTo>
                  <a:pt x="6087" y="778"/>
                </a:lnTo>
                <a:cubicBezTo>
                  <a:pt x="6086" y="778"/>
                  <a:pt x="6086" y="777"/>
                  <a:pt x="6086" y="777"/>
                </a:cubicBezTo>
                <a:lnTo>
                  <a:pt x="6087" y="776"/>
                </a:lnTo>
                <a:cubicBezTo>
                  <a:pt x="6088" y="774"/>
                  <a:pt x="6089" y="774"/>
                  <a:pt x="6092" y="774"/>
                </a:cubicBezTo>
                <a:lnTo>
                  <a:pt x="6093" y="774"/>
                </a:lnTo>
                <a:cubicBezTo>
                  <a:pt x="6094" y="774"/>
                  <a:pt x="6094" y="774"/>
                  <a:pt x="6094" y="774"/>
                </a:cubicBezTo>
                <a:lnTo>
                  <a:pt x="6093" y="772"/>
                </a:lnTo>
                <a:cubicBezTo>
                  <a:pt x="6093" y="769"/>
                  <a:pt x="6097" y="765"/>
                  <a:pt x="6105" y="759"/>
                </a:cubicBezTo>
                <a:cubicBezTo>
                  <a:pt x="6129" y="738"/>
                  <a:pt x="6148" y="715"/>
                  <a:pt x="6162" y="689"/>
                </a:cubicBezTo>
                <a:cubicBezTo>
                  <a:pt x="6175" y="666"/>
                  <a:pt x="6182" y="645"/>
                  <a:pt x="6182" y="627"/>
                </a:cubicBezTo>
                <a:cubicBezTo>
                  <a:pt x="6182" y="621"/>
                  <a:pt x="6181" y="613"/>
                  <a:pt x="6178" y="604"/>
                </a:cubicBezTo>
                <a:cubicBezTo>
                  <a:pt x="6174" y="590"/>
                  <a:pt x="6171" y="583"/>
                  <a:pt x="6169" y="583"/>
                </a:cubicBezTo>
                <a:cubicBezTo>
                  <a:pt x="6168" y="583"/>
                  <a:pt x="6168" y="583"/>
                  <a:pt x="6168" y="583"/>
                </a:cubicBezTo>
                <a:lnTo>
                  <a:pt x="6168" y="582"/>
                </a:lnTo>
                <a:cubicBezTo>
                  <a:pt x="6168" y="579"/>
                  <a:pt x="6167" y="577"/>
                  <a:pt x="6166" y="575"/>
                </a:cubicBezTo>
                <a:cubicBezTo>
                  <a:pt x="6164" y="573"/>
                  <a:pt x="6163" y="572"/>
                  <a:pt x="6162" y="572"/>
                </a:cubicBezTo>
                <a:lnTo>
                  <a:pt x="6162" y="573"/>
                </a:lnTo>
                <a:lnTo>
                  <a:pt x="6164" y="576"/>
                </a:lnTo>
                <a:cubicBezTo>
                  <a:pt x="6167" y="585"/>
                  <a:pt x="6168" y="597"/>
                  <a:pt x="6168" y="609"/>
                </a:cubicBezTo>
                <a:cubicBezTo>
                  <a:pt x="6168" y="615"/>
                  <a:pt x="6168" y="623"/>
                  <a:pt x="6167" y="634"/>
                </a:cubicBezTo>
                <a:lnTo>
                  <a:pt x="6167" y="640"/>
                </a:lnTo>
                <a:cubicBezTo>
                  <a:pt x="6167" y="641"/>
                  <a:pt x="6166" y="642"/>
                  <a:pt x="6165" y="642"/>
                </a:cubicBezTo>
                <a:cubicBezTo>
                  <a:pt x="6164" y="642"/>
                  <a:pt x="6164" y="642"/>
                  <a:pt x="6164" y="643"/>
                </a:cubicBezTo>
                <a:lnTo>
                  <a:pt x="6164" y="645"/>
                </a:lnTo>
                <a:lnTo>
                  <a:pt x="6164" y="646"/>
                </a:lnTo>
                <a:cubicBezTo>
                  <a:pt x="6164" y="648"/>
                  <a:pt x="6164" y="649"/>
                  <a:pt x="6163" y="649"/>
                </a:cubicBezTo>
                <a:cubicBezTo>
                  <a:pt x="6162" y="650"/>
                  <a:pt x="6162" y="651"/>
                  <a:pt x="6162" y="653"/>
                </a:cubicBezTo>
                <a:lnTo>
                  <a:pt x="6162" y="656"/>
                </a:lnTo>
                <a:cubicBezTo>
                  <a:pt x="6162" y="656"/>
                  <a:pt x="6162" y="656"/>
                  <a:pt x="6162" y="657"/>
                </a:cubicBezTo>
                <a:cubicBezTo>
                  <a:pt x="6162" y="657"/>
                  <a:pt x="6161" y="658"/>
                  <a:pt x="6161" y="658"/>
                </a:cubicBezTo>
                <a:cubicBezTo>
                  <a:pt x="6160" y="658"/>
                  <a:pt x="6160" y="658"/>
                  <a:pt x="6160" y="659"/>
                </a:cubicBezTo>
                <a:lnTo>
                  <a:pt x="6160" y="662"/>
                </a:lnTo>
                <a:lnTo>
                  <a:pt x="6160" y="664"/>
                </a:lnTo>
                <a:cubicBezTo>
                  <a:pt x="6160" y="664"/>
                  <a:pt x="6160" y="664"/>
                  <a:pt x="6160" y="664"/>
                </a:cubicBezTo>
                <a:lnTo>
                  <a:pt x="6157" y="663"/>
                </a:lnTo>
                <a:cubicBezTo>
                  <a:pt x="6156" y="663"/>
                  <a:pt x="6156" y="663"/>
                  <a:pt x="6156" y="663"/>
                </a:cubicBezTo>
                <a:lnTo>
                  <a:pt x="6157" y="668"/>
                </a:lnTo>
                <a:cubicBezTo>
                  <a:pt x="6157" y="669"/>
                  <a:pt x="6156" y="669"/>
                  <a:pt x="6156" y="669"/>
                </a:cubicBezTo>
                <a:cubicBezTo>
                  <a:pt x="6155" y="669"/>
                  <a:pt x="6155" y="670"/>
                  <a:pt x="6155" y="670"/>
                </a:cubicBezTo>
                <a:lnTo>
                  <a:pt x="6155" y="672"/>
                </a:lnTo>
                <a:lnTo>
                  <a:pt x="6155" y="674"/>
                </a:lnTo>
                <a:cubicBezTo>
                  <a:pt x="6155" y="674"/>
                  <a:pt x="6155" y="674"/>
                  <a:pt x="6154" y="674"/>
                </a:cubicBezTo>
                <a:cubicBezTo>
                  <a:pt x="6153" y="674"/>
                  <a:pt x="6153" y="674"/>
                  <a:pt x="6152" y="674"/>
                </a:cubicBezTo>
                <a:lnTo>
                  <a:pt x="6153" y="678"/>
                </a:lnTo>
                <a:cubicBezTo>
                  <a:pt x="6153" y="679"/>
                  <a:pt x="6153" y="680"/>
                  <a:pt x="6152" y="681"/>
                </a:cubicBezTo>
                <a:cubicBezTo>
                  <a:pt x="6151" y="682"/>
                  <a:pt x="6150" y="683"/>
                  <a:pt x="6149" y="684"/>
                </a:cubicBezTo>
                <a:cubicBezTo>
                  <a:pt x="6148" y="684"/>
                  <a:pt x="6147" y="685"/>
                  <a:pt x="6147" y="685"/>
                </a:cubicBezTo>
                <a:cubicBezTo>
                  <a:pt x="6147" y="685"/>
                  <a:pt x="6146" y="684"/>
                  <a:pt x="6145" y="683"/>
                </a:cubicBezTo>
                <a:cubicBezTo>
                  <a:pt x="6145" y="682"/>
                  <a:pt x="6144" y="682"/>
                  <a:pt x="6143" y="682"/>
                </a:cubicBezTo>
                <a:cubicBezTo>
                  <a:pt x="6143" y="682"/>
                  <a:pt x="6143" y="682"/>
                  <a:pt x="6142" y="683"/>
                </a:cubicBezTo>
                <a:cubicBezTo>
                  <a:pt x="6142" y="683"/>
                  <a:pt x="6142" y="684"/>
                  <a:pt x="6142" y="684"/>
                </a:cubicBezTo>
                <a:cubicBezTo>
                  <a:pt x="6142" y="685"/>
                  <a:pt x="6143" y="686"/>
                  <a:pt x="6144" y="686"/>
                </a:cubicBezTo>
                <a:cubicBezTo>
                  <a:pt x="6146" y="687"/>
                  <a:pt x="6147" y="688"/>
                  <a:pt x="6147" y="688"/>
                </a:cubicBezTo>
                <a:cubicBezTo>
                  <a:pt x="6147" y="689"/>
                  <a:pt x="6146" y="690"/>
                  <a:pt x="6144" y="691"/>
                </a:cubicBezTo>
                <a:cubicBezTo>
                  <a:pt x="6143" y="693"/>
                  <a:pt x="6142" y="693"/>
                  <a:pt x="6142" y="694"/>
                </a:cubicBezTo>
                <a:lnTo>
                  <a:pt x="6144" y="693"/>
                </a:lnTo>
                <a:lnTo>
                  <a:pt x="6144" y="694"/>
                </a:lnTo>
                <a:cubicBezTo>
                  <a:pt x="6144" y="695"/>
                  <a:pt x="6141" y="699"/>
                  <a:pt x="6133" y="708"/>
                </a:cubicBezTo>
                <a:cubicBezTo>
                  <a:pt x="6128" y="713"/>
                  <a:pt x="6124" y="718"/>
                  <a:pt x="6123" y="721"/>
                </a:cubicBezTo>
                <a:cubicBezTo>
                  <a:pt x="6120" y="725"/>
                  <a:pt x="6118" y="727"/>
                  <a:pt x="6115" y="727"/>
                </a:cubicBezTo>
                <a:lnTo>
                  <a:pt x="6115" y="727"/>
                </a:lnTo>
                <a:cubicBezTo>
                  <a:pt x="6113" y="727"/>
                  <a:pt x="6107" y="731"/>
                  <a:pt x="6098" y="739"/>
                </a:cubicBezTo>
                <a:cubicBezTo>
                  <a:pt x="6089" y="748"/>
                  <a:pt x="6085" y="753"/>
                  <a:pt x="6085" y="755"/>
                </a:cubicBezTo>
                <a:lnTo>
                  <a:pt x="6085" y="756"/>
                </a:lnTo>
                <a:cubicBezTo>
                  <a:pt x="6085" y="758"/>
                  <a:pt x="6083" y="761"/>
                  <a:pt x="6079" y="764"/>
                </a:cubicBezTo>
                <a:cubicBezTo>
                  <a:pt x="6075" y="769"/>
                  <a:pt x="6071" y="771"/>
                  <a:pt x="6069" y="771"/>
                </a:cubicBezTo>
                <a:cubicBezTo>
                  <a:pt x="6067" y="771"/>
                  <a:pt x="6066" y="772"/>
                  <a:pt x="6066" y="773"/>
                </a:cubicBezTo>
                <a:cubicBezTo>
                  <a:pt x="6066" y="775"/>
                  <a:pt x="6064" y="777"/>
                  <a:pt x="6059" y="778"/>
                </a:cubicBezTo>
                <a:cubicBezTo>
                  <a:pt x="6058" y="778"/>
                  <a:pt x="6057" y="779"/>
                  <a:pt x="6055" y="779"/>
                </a:cubicBezTo>
                <a:lnTo>
                  <a:pt x="6054" y="779"/>
                </a:lnTo>
                <a:lnTo>
                  <a:pt x="6054" y="781"/>
                </a:lnTo>
                <a:cubicBezTo>
                  <a:pt x="6054" y="782"/>
                  <a:pt x="6053" y="783"/>
                  <a:pt x="6050" y="783"/>
                </a:cubicBezTo>
                <a:lnTo>
                  <a:pt x="6049" y="783"/>
                </a:lnTo>
                <a:cubicBezTo>
                  <a:pt x="6048" y="783"/>
                  <a:pt x="6048" y="783"/>
                  <a:pt x="6048" y="784"/>
                </a:cubicBezTo>
                <a:lnTo>
                  <a:pt x="6048" y="785"/>
                </a:lnTo>
                <a:cubicBezTo>
                  <a:pt x="6048" y="787"/>
                  <a:pt x="6047" y="789"/>
                  <a:pt x="6045" y="791"/>
                </a:cubicBezTo>
                <a:cubicBezTo>
                  <a:pt x="6043" y="792"/>
                  <a:pt x="6041" y="793"/>
                  <a:pt x="6041" y="793"/>
                </a:cubicBezTo>
                <a:cubicBezTo>
                  <a:pt x="6040" y="793"/>
                  <a:pt x="6040" y="793"/>
                  <a:pt x="6040" y="791"/>
                </a:cubicBezTo>
                <a:cubicBezTo>
                  <a:pt x="6039" y="790"/>
                  <a:pt x="6039" y="789"/>
                  <a:pt x="6039" y="789"/>
                </a:cubicBezTo>
                <a:cubicBezTo>
                  <a:pt x="6039" y="788"/>
                  <a:pt x="6039" y="788"/>
                  <a:pt x="6039" y="788"/>
                </a:cubicBezTo>
                <a:lnTo>
                  <a:pt x="6041" y="788"/>
                </a:lnTo>
                <a:cubicBezTo>
                  <a:pt x="6043" y="788"/>
                  <a:pt x="6044" y="788"/>
                  <a:pt x="6044" y="786"/>
                </a:cubicBezTo>
                <a:cubicBezTo>
                  <a:pt x="6044" y="785"/>
                  <a:pt x="6043" y="784"/>
                  <a:pt x="6042" y="783"/>
                </a:cubicBezTo>
                <a:cubicBezTo>
                  <a:pt x="6041" y="782"/>
                  <a:pt x="6040" y="781"/>
                  <a:pt x="6039" y="781"/>
                </a:cubicBezTo>
                <a:cubicBezTo>
                  <a:pt x="6039" y="781"/>
                  <a:pt x="6039" y="782"/>
                  <a:pt x="6039" y="783"/>
                </a:cubicBezTo>
                <a:lnTo>
                  <a:pt x="6039" y="784"/>
                </a:lnTo>
                <a:cubicBezTo>
                  <a:pt x="6039" y="785"/>
                  <a:pt x="6039" y="785"/>
                  <a:pt x="6038" y="785"/>
                </a:cubicBezTo>
                <a:cubicBezTo>
                  <a:pt x="6036" y="785"/>
                  <a:pt x="6033" y="785"/>
                  <a:pt x="6029" y="786"/>
                </a:cubicBezTo>
                <a:lnTo>
                  <a:pt x="6024" y="787"/>
                </a:lnTo>
                <a:cubicBezTo>
                  <a:pt x="6024" y="786"/>
                  <a:pt x="6025" y="786"/>
                  <a:pt x="6027" y="785"/>
                </a:cubicBezTo>
                <a:cubicBezTo>
                  <a:pt x="6028" y="784"/>
                  <a:pt x="6029" y="783"/>
                  <a:pt x="6029" y="783"/>
                </a:cubicBezTo>
                <a:cubicBezTo>
                  <a:pt x="6025" y="783"/>
                  <a:pt x="6021" y="782"/>
                  <a:pt x="6018" y="779"/>
                </a:cubicBezTo>
                <a:cubicBezTo>
                  <a:pt x="6014" y="777"/>
                  <a:pt x="6013" y="776"/>
                  <a:pt x="6011" y="776"/>
                </a:cubicBezTo>
                <a:cubicBezTo>
                  <a:pt x="6010" y="776"/>
                  <a:pt x="6009" y="777"/>
                  <a:pt x="6009" y="779"/>
                </a:cubicBezTo>
                <a:cubicBezTo>
                  <a:pt x="6009" y="780"/>
                  <a:pt x="6011" y="781"/>
                  <a:pt x="6014" y="783"/>
                </a:cubicBezTo>
                <a:cubicBezTo>
                  <a:pt x="6019" y="787"/>
                  <a:pt x="6025" y="789"/>
                  <a:pt x="6031" y="789"/>
                </a:cubicBezTo>
                <a:lnTo>
                  <a:pt x="6033" y="788"/>
                </a:lnTo>
                <a:cubicBezTo>
                  <a:pt x="6035" y="788"/>
                  <a:pt x="6036" y="789"/>
                  <a:pt x="6038" y="792"/>
                </a:cubicBezTo>
                <a:cubicBezTo>
                  <a:pt x="6039" y="794"/>
                  <a:pt x="6043" y="795"/>
                  <a:pt x="6050" y="795"/>
                </a:cubicBezTo>
                <a:lnTo>
                  <a:pt x="6054" y="795"/>
                </a:lnTo>
                <a:close/>
                <a:moveTo>
                  <a:pt x="6009" y="741"/>
                </a:moveTo>
                <a:lnTo>
                  <a:pt x="6009" y="739"/>
                </a:lnTo>
                <a:cubicBezTo>
                  <a:pt x="6009" y="738"/>
                  <a:pt x="6009" y="737"/>
                  <a:pt x="6009" y="736"/>
                </a:cubicBezTo>
                <a:lnTo>
                  <a:pt x="6008" y="735"/>
                </a:lnTo>
                <a:cubicBezTo>
                  <a:pt x="6008" y="735"/>
                  <a:pt x="6008" y="736"/>
                  <a:pt x="6007" y="737"/>
                </a:cubicBezTo>
                <a:cubicBezTo>
                  <a:pt x="6007" y="740"/>
                  <a:pt x="6008" y="741"/>
                  <a:pt x="6008" y="741"/>
                </a:cubicBezTo>
                <a:lnTo>
                  <a:pt x="6009" y="741"/>
                </a:lnTo>
                <a:close/>
                <a:moveTo>
                  <a:pt x="6207" y="453"/>
                </a:moveTo>
                <a:lnTo>
                  <a:pt x="6205" y="453"/>
                </a:lnTo>
                <a:cubicBezTo>
                  <a:pt x="6203" y="453"/>
                  <a:pt x="6202" y="453"/>
                  <a:pt x="6202" y="453"/>
                </a:cubicBezTo>
                <a:cubicBezTo>
                  <a:pt x="6202" y="452"/>
                  <a:pt x="6203" y="451"/>
                  <a:pt x="6204" y="451"/>
                </a:cubicBezTo>
                <a:cubicBezTo>
                  <a:pt x="6204" y="450"/>
                  <a:pt x="6205" y="449"/>
                  <a:pt x="6207" y="448"/>
                </a:cubicBezTo>
                <a:cubicBezTo>
                  <a:pt x="6208" y="448"/>
                  <a:pt x="6209" y="448"/>
                  <a:pt x="6210" y="448"/>
                </a:cubicBezTo>
                <a:cubicBezTo>
                  <a:pt x="6211" y="448"/>
                  <a:pt x="6211" y="448"/>
                  <a:pt x="6211" y="448"/>
                </a:cubicBezTo>
                <a:cubicBezTo>
                  <a:pt x="6211" y="451"/>
                  <a:pt x="6209" y="452"/>
                  <a:pt x="6207" y="453"/>
                </a:cubicBezTo>
                <a:close/>
                <a:moveTo>
                  <a:pt x="6088" y="754"/>
                </a:moveTo>
                <a:cubicBezTo>
                  <a:pt x="6087" y="754"/>
                  <a:pt x="6087" y="754"/>
                  <a:pt x="6087" y="754"/>
                </a:cubicBezTo>
                <a:cubicBezTo>
                  <a:pt x="6087" y="752"/>
                  <a:pt x="6091" y="748"/>
                  <a:pt x="6099" y="741"/>
                </a:cubicBezTo>
                <a:cubicBezTo>
                  <a:pt x="6108" y="732"/>
                  <a:pt x="6113" y="728"/>
                  <a:pt x="6113" y="728"/>
                </a:cubicBezTo>
                <a:cubicBezTo>
                  <a:pt x="6113" y="728"/>
                  <a:pt x="6113" y="730"/>
                  <a:pt x="6111" y="733"/>
                </a:cubicBezTo>
                <a:cubicBezTo>
                  <a:pt x="6108" y="738"/>
                  <a:pt x="6104" y="742"/>
                  <a:pt x="6100" y="746"/>
                </a:cubicBezTo>
                <a:cubicBezTo>
                  <a:pt x="6094" y="751"/>
                  <a:pt x="6090" y="754"/>
                  <a:pt x="6088" y="754"/>
                </a:cubicBezTo>
                <a:close/>
                <a:moveTo>
                  <a:pt x="6175" y="620"/>
                </a:moveTo>
                <a:lnTo>
                  <a:pt x="6175" y="620"/>
                </a:lnTo>
                <a:cubicBezTo>
                  <a:pt x="6175" y="620"/>
                  <a:pt x="6174" y="620"/>
                  <a:pt x="6174" y="619"/>
                </a:cubicBezTo>
                <a:cubicBezTo>
                  <a:pt x="6174" y="617"/>
                  <a:pt x="6175" y="616"/>
                  <a:pt x="6175" y="614"/>
                </a:cubicBezTo>
                <a:cubicBezTo>
                  <a:pt x="6176" y="613"/>
                  <a:pt x="6177" y="612"/>
                  <a:pt x="6177" y="612"/>
                </a:cubicBezTo>
                <a:cubicBezTo>
                  <a:pt x="6177" y="612"/>
                  <a:pt x="6177" y="613"/>
                  <a:pt x="6177" y="615"/>
                </a:cubicBezTo>
                <a:cubicBezTo>
                  <a:pt x="6176" y="618"/>
                  <a:pt x="6176" y="620"/>
                  <a:pt x="6175" y="620"/>
                </a:cubicBezTo>
                <a:close/>
                <a:moveTo>
                  <a:pt x="6216" y="450"/>
                </a:moveTo>
                <a:cubicBezTo>
                  <a:pt x="6214" y="450"/>
                  <a:pt x="6214" y="449"/>
                  <a:pt x="6214" y="449"/>
                </a:cubicBezTo>
                <a:cubicBezTo>
                  <a:pt x="6214" y="448"/>
                  <a:pt x="6215" y="448"/>
                  <a:pt x="6217" y="448"/>
                </a:cubicBezTo>
                <a:cubicBezTo>
                  <a:pt x="6218" y="448"/>
                  <a:pt x="6219" y="448"/>
                  <a:pt x="6219" y="449"/>
                </a:cubicBezTo>
                <a:cubicBezTo>
                  <a:pt x="6219" y="450"/>
                  <a:pt x="6218" y="450"/>
                  <a:pt x="6216" y="450"/>
                </a:cubicBezTo>
                <a:close/>
                <a:moveTo>
                  <a:pt x="6051" y="644"/>
                </a:moveTo>
                <a:cubicBezTo>
                  <a:pt x="6051" y="644"/>
                  <a:pt x="6051" y="643"/>
                  <a:pt x="6051" y="643"/>
                </a:cubicBezTo>
                <a:cubicBezTo>
                  <a:pt x="6051" y="642"/>
                  <a:pt x="6051" y="642"/>
                  <a:pt x="6052" y="640"/>
                </a:cubicBezTo>
                <a:cubicBezTo>
                  <a:pt x="6052" y="639"/>
                  <a:pt x="6053" y="638"/>
                  <a:pt x="6053" y="637"/>
                </a:cubicBezTo>
                <a:cubicBezTo>
                  <a:pt x="6054" y="636"/>
                  <a:pt x="6055" y="635"/>
                  <a:pt x="6055" y="635"/>
                </a:cubicBezTo>
                <a:cubicBezTo>
                  <a:pt x="6055" y="635"/>
                  <a:pt x="6055" y="635"/>
                  <a:pt x="6055" y="636"/>
                </a:cubicBezTo>
                <a:cubicBezTo>
                  <a:pt x="6055" y="638"/>
                  <a:pt x="6055" y="639"/>
                  <a:pt x="6053" y="641"/>
                </a:cubicBezTo>
                <a:cubicBezTo>
                  <a:pt x="6052" y="643"/>
                  <a:pt x="6052" y="644"/>
                  <a:pt x="6051" y="644"/>
                </a:cubicBezTo>
                <a:close/>
                <a:moveTo>
                  <a:pt x="6264" y="442"/>
                </a:moveTo>
                <a:cubicBezTo>
                  <a:pt x="6262" y="442"/>
                  <a:pt x="6261" y="442"/>
                  <a:pt x="6261" y="442"/>
                </a:cubicBezTo>
                <a:cubicBezTo>
                  <a:pt x="6261" y="441"/>
                  <a:pt x="6262" y="441"/>
                  <a:pt x="6266" y="441"/>
                </a:cubicBezTo>
                <a:cubicBezTo>
                  <a:pt x="6268" y="441"/>
                  <a:pt x="6269" y="441"/>
                  <a:pt x="6269" y="442"/>
                </a:cubicBezTo>
                <a:cubicBezTo>
                  <a:pt x="6269" y="442"/>
                  <a:pt x="6267" y="442"/>
                  <a:pt x="6264" y="442"/>
                </a:cubicBezTo>
                <a:close/>
                <a:moveTo>
                  <a:pt x="6319" y="461"/>
                </a:moveTo>
                <a:lnTo>
                  <a:pt x="6319" y="461"/>
                </a:lnTo>
                <a:cubicBezTo>
                  <a:pt x="6316" y="461"/>
                  <a:pt x="6314" y="461"/>
                  <a:pt x="6314" y="460"/>
                </a:cubicBezTo>
                <a:cubicBezTo>
                  <a:pt x="6314" y="460"/>
                  <a:pt x="6315" y="460"/>
                  <a:pt x="6318" y="460"/>
                </a:cubicBezTo>
                <a:cubicBezTo>
                  <a:pt x="6319" y="460"/>
                  <a:pt x="6320" y="460"/>
                  <a:pt x="6320" y="460"/>
                </a:cubicBezTo>
                <a:lnTo>
                  <a:pt x="6319" y="461"/>
                </a:lnTo>
                <a:close/>
                <a:moveTo>
                  <a:pt x="6329" y="496"/>
                </a:moveTo>
                <a:cubicBezTo>
                  <a:pt x="6328" y="496"/>
                  <a:pt x="6327" y="495"/>
                  <a:pt x="6327" y="494"/>
                </a:cubicBezTo>
                <a:cubicBezTo>
                  <a:pt x="6327" y="493"/>
                  <a:pt x="6327" y="492"/>
                  <a:pt x="6328" y="492"/>
                </a:cubicBezTo>
                <a:cubicBezTo>
                  <a:pt x="6328" y="491"/>
                  <a:pt x="6329" y="490"/>
                  <a:pt x="6330" y="490"/>
                </a:cubicBezTo>
                <a:cubicBezTo>
                  <a:pt x="6331" y="490"/>
                  <a:pt x="6331" y="491"/>
                  <a:pt x="6331" y="492"/>
                </a:cubicBezTo>
                <a:cubicBezTo>
                  <a:pt x="6331" y="495"/>
                  <a:pt x="6330" y="496"/>
                  <a:pt x="6329" y="496"/>
                </a:cubicBezTo>
                <a:close/>
                <a:moveTo>
                  <a:pt x="6286" y="442"/>
                </a:moveTo>
                <a:cubicBezTo>
                  <a:pt x="6282" y="442"/>
                  <a:pt x="6280" y="441"/>
                  <a:pt x="6280" y="440"/>
                </a:cubicBezTo>
                <a:cubicBezTo>
                  <a:pt x="6280" y="440"/>
                  <a:pt x="6281" y="439"/>
                  <a:pt x="6283" y="439"/>
                </a:cubicBezTo>
                <a:cubicBezTo>
                  <a:pt x="6288" y="439"/>
                  <a:pt x="6290" y="440"/>
                  <a:pt x="6290" y="441"/>
                </a:cubicBezTo>
                <a:lnTo>
                  <a:pt x="6290" y="441"/>
                </a:lnTo>
                <a:cubicBezTo>
                  <a:pt x="6289" y="442"/>
                  <a:pt x="6288" y="442"/>
                  <a:pt x="6286" y="442"/>
                </a:cubicBezTo>
                <a:close/>
                <a:moveTo>
                  <a:pt x="6076" y="584"/>
                </a:moveTo>
                <a:lnTo>
                  <a:pt x="6076" y="584"/>
                </a:lnTo>
                <a:cubicBezTo>
                  <a:pt x="6075" y="584"/>
                  <a:pt x="6075" y="583"/>
                  <a:pt x="6075" y="582"/>
                </a:cubicBezTo>
                <a:cubicBezTo>
                  <a:pt x="6075" y="581"/>
                  <a:pt x="6076" y="580"/>
                  <a:pt x="6076" y="579"/>
                </a:cubicBezTo>
                <a:cubicBezTo>
                  <a:pt x="6076" y="578"/>
                  <a:pt x="6077" y="578"/>
                  <a:pt x="6078" y="578"/>
                </a:cubicBezTo>
                <a:lnTo>
                  <a:pt x="6079" y="578"/>
                </a:lnTo>
                <a:cubicBezTo>
                  <a:pt x="6079" y="579"/>
                  <a:pt x="6078" y="580"/>
                  <a:pt x="6078" y="581"/>
                </a:cubicBezTo>
                <a:cubicBezTo>
                  <a:pt x="6078" y="583"/>
                  <a:pt x="6077" y="584"/>
                  <a:pt x="6076" y="584"/>
                </a:cubicBezTo>
                <a:close/>
                <a:moveTo>
                  <a:pt x="6254" y="644"/>
                </a:moveTo>
                <a:cubicBezTo>
                  <a:pt x="6254" y="644"/>
                  <a:pt x="6253" y="644"/>
                  <a:pt x="6253" y="643"/>
                </a:cubicBezTo>
                <a:cubicBezTo>
                  <a:pt x="6253" y="642"/>
                  <a:pt x="6254" y="642"/>
                  <a:pt x="6254" y="641"/>
                </a:cubicBezTo>
                <a:cubicBezTo>
                  <a:pt x="6254" y="640"/>
                  <a:pt x="6255" y="639"/>
                  <a:pt x="6256" y="638"/>
                </a:cubicBezTo>
                <a:cubicBezTo>
                  <a:pt x="6256" y="637"/>
                  <a:pt x="6256" y="637"/>
                  <a:pt x="6257" y="637"/>
                </a:cubicBezTo>
                <a:cubicBezTo>
                  <a:pt x="6257" y="637"/>
                  <a:pt x="6258" y="637"/>
                  <a:pt x="6258" y="638"/>
                </a:cubicBezTo>
                <a:cubicBezTo>
                  <a:pt x="6258" y="638"/>
                  <a:pt x="6258" y="639"/>
                  <a:pt x="6258" y="639"/>
                </a:cubicBezTo>
                <a:cubicBezTo>
                  <a:pt x="6258" y="639"/>
                  <a:pt x="6258" y="640"/>
                  <a:pt x="6257" y="641"/>
                </a:cubicBezTo>
                <a:cubicBezTo>
                  <a:pt x="6257" y="642"/>
                  <a:pt x="6256" y="642"/>
                  <a:pt x="6256" y="643"/>
                </a:cubicBezTo>
                <a:cubicBezTo>
                  <a:pt x="6256" y="644"/>
                  <a:pt x="6255" y="644"/>
                  <a:pt x="6254" y="644"/>
                </a:cubicBezTo>
                <a:close/>
                <a:moveTo>
                  <a:pt x="6244" y="674"/>
                </a:moveTo>
                <a:cubicBezTo>
                  <a:pt x="6244" y="674"/>
                  <a:pt x="6244" y="674"/>
                  <a:pt x="6244" y="674"/>
                </a:cubicBezTo>
                <a:lnTo>
                  <a:pt x="6245" y="672"/>
                </a:lnTo>
                <a:cubicBezTo>
                  <a:pt x="6246" y="671"/>
                  <a:pt x="6247" y="669"/>
                  <a:pt x="6247" y="668"/>
                </a:cubicBezTo>
                <a:lnTo>
                  <a:pt x="6247" y="663"/>
                </a:lnTo>
                <a:lnTo>
                  <a:pt x="6249" y="664"/>
                </a:lnTo>
                <a:cubicBezTo>
                  <a:pt x="6249" y="664"/>
                  <a:pt x="6250" y="662"/>
                  <a:pt x="6250" y="660"/>
                </a:cubicBezTo>
                <a:lnTo>
                  <a:pt x="6250" y="658"/>
                </a:lnTo>
                <a:cubicBezTo>
                  <a:pt x="6250" y="655"/>
                  <a:pt x="6250" y="653"/>
                  <a:pt x="6251" y="650"/>
                </a:cubicBezTo>
                <a:cubicBezTo>
                  <a:pt x="6252" y="647"/>
                  <a:pt x="6254" y="646"/>
                  <a:pt x="6255" y="646"/>
                </a:cubicBezTo>
                <a:cubicBezTo>
                  <a:pt x="6256" y="646"/>
                  <a:pt x="6256" y="647"/>
                  <a:pt x="6256" y="647"/>
                </a:cubicBezTo>
                <a:cubicBezTo>
                  <a:pt x="6256" y="648"/>
                  <a:pt x="6256" y="649"/>
                  <a:pt x="6255" y="650"/>
                </a:cubicBezTo>
                <a:cubicBezTo>
                  <a:pt x="6255" y="651"/>
                  <a:pt x="6254" y="654"/>
                  <a:pt x="6252" y="661"/>
                </a:cubicBezTo>
                <a:lnTo>
                  <a:pt x="6251" y="665"/>
                </a:lnTo>
                <a:cubicBezTo>
                  <a:pt x="6250" y="667"/>
                  <a:pt x="6249" y="669"/>
                  <a:pt x="6249" y="670"/>
                </a:cubicBezTo>
                <a:cubicBezTo>
                  <a:pt x="6249" y="671"/>
                  <a:pt x="6249" y="672"/>
                  <a:pt x="6248" y="673"/>
                </a:cubicBezTo>
                <a:cubicBezTo>
                  <a:pt x="6247" y="674"/>
                  <a:pt x="6246" y="674"/>
                  <a:pt x="6244" y="674"/>
                </a:cubicBezTo>
                <a:close/>
                <a:moveTo>
                  <a:pt x="6347" y="697"/>
                </a:moveTo>
                <a:cubicBezTo>
                  <a:pt x="6346" y="697"/>
                  <a:pt x="6346" y="697"/>
                  <a:pt x="6346" y="696"/>
                </a:cubicBezTo>
                <a:cubicBezTo>
                  <a:pt x="6346" y="696"/>
                  <a:pt x="6347" y="695"/>
                  <a:pt x="6348" y="695"/>
                </a:cubicBezTo>
                <a:cubicBezTo>
                  <a:pt x="6348" y="694"/>
                  <a:pt x="6349" y="693"/>
                  <a:pt x="6351" y="692"/>
                </a:cubicBezTo>
                <a:cubicBezTo>
                  <a:pt x="6352" y="691"/>
                  <a:pt x="6353" y="690"/>
                  <a:pt x="6353" y="690"/>
                </a:cubicBezTo>
                <a:cubicBezTo>
                  <a:pt x="6353" y="691"/>
                  <a:pt x="6353" y="691"/>
                  <a:pt x="6351" y="693"/>
                </a:cubicBezTo>
                <a:cubicBezTo>
                  <a:pt x="6349" y="696"/>
                  <a:pt x="6348" y="697"/>
                  <a:pt x="6347" y="697"/>
                </a:cubicBezTo>
                <a:close/>
                <a:moveTo>
                  <a:pt x="6082" y="569"/>
                </a:moveTo>
                <a:close/>
                <a:moveTo>
                  <a:pt x="6365" y="676"/>
                </a:moveTo>
                <a:lnTo>
                  <a:pt x="6364" y="676"/>
                </a:lnTo>
                <a:cubicBezTo>
                  <a:pt x="6364" y="674"/>
                  <a:pt x="6365" y="673"/>
                  <a:pt x="6368" y="672"/>
                </a:cubicBezTo>
                <a:cubicBezTo>
                  <a:pt x="6370" y="671"/>
                  <a:pt x="6372" y="670"/>
                  <a:pt x="6372" y="670"/>
                </a:cubicBezTo>
                <a:lnTo>
                  <a:pt x="6373" y="670"/>
                </a:lnTo>
                <a:cubicBezTo>
                  <a:pt x="6373" y="671"/>
                  <a:pt x="6372" y="671"/>
                  <a:pt x="6371" y="672"/>
                </a:cubicBezTo>
                <a:cubicBezTo>
                  <a:pt x="6370" y="673"/>
                  <a:pt x="6368" y="674"/>
                  <a:pt x="6365" y="676"/>
                </a:cubicBezTo>
                <a:close/>
                <a:moveTo>
                  <a:pt x="6058" y="625"/>
                </a:moveTo>
                <a:cubicBezTo>
                  <a:pt x="6058" y="625"/>
                  <a:pt x="6058" y="625"/>
                  <a:pt x="6058" y="625"/>
                </a:cubicBezTo>
                <a:cubicBezTo>
                  <a:pt x="6058" y="622"/>
                  <a:pt x="6058" y="620"/>
                  <a:pt x="6060" y="619"/>
                </a:cubicBezTo>
                <a:lnTo>
                  <a:pt x="6061" y="617"/>
                </a:lnTo>
                <a:cubicBezTo>
                  <a:pt x="6062" y="617"/>
                  <a:pt x="6062" y="617"/>
                  <a:pt x="6062" y="617"/>
                </a:cubicBezTo>
                <a:cubicBezTo>
                  <a:pt x="6062" y="618"/>
                  <a:pt x="6061" y="619"/>
                  <a:pt x="6061" y="620"/>
                </a:cubicBezTo>
                <a:cubicBezTo>
                  <a:pt x="6061" y="621"/>
                  <a:pt x="6060" y="622"/>
                  <a:pt x="6060" y="624"/>
                </a:cubicBezTo>
                <a:cubicBezTo>
                  <a:pt x="6059" y="625"/>
                  <a:pt x="6058" y="625"/>
                  <a:pt x="6058" y="625"/>
                </a:cubicBezTo>
                <a:close/>
                <a:moveTo>
                  <a:pt x="6062" y="613"/>
                </a:moveTo>
                <a:cubicBezTo>
                  <a:pt x="6062" y="613"/>
                  <a:pt x="6062" y="613"/>
                  <a:pt x="6062" y="613"/>
                </a:cubicBezTo>
                <a:cubicBezTo>
                  <a:pt x="6062" y="611"/>
                  <a:pt x="6063" y="609"/>
                  <a:pt x="6065" y="605"/>
                </a:cubicBezTo>
                <a:cubicBezTo>
                  <a:pt x="6067" y="602"/>
                  <a:pt x="6068" y="601"/>
                  <a:pt x="6069" y="601"/>
                </a:cubicBezTo>
                <a:lnTo>
                  <a:pt x="6069" y="601"/>
                </a:lnTo>
                <a:cubicBezTo>
                  <a:pt x="6069" y="603"/>
                  <a:pt x="6068" y="605"/>
                  <a:pt x="6065" y="609"/>
                </a:cubicBezTo>
                <a:cubicBezTo>
                  <a:pt x="6064" y="612"/>
                  <a:pt x="6063" y="613"/>
                  <a:pt x="6062" y="613"/>
                </a:cubicBezTo>
                <a:close/>
                <a:moveTo>
                  <a:pt x="6081" y="574"/>
                </a:moveTo>
                <a:cubicBezTo>
                  <a:pt x="6081" y="572"/>
                  <a:pt x="6082" y="568"/>
                  <a:pt x="6086" y="562"/>
                </a:cubicBezTo>
                <a:cubicBezTo>
                  <a:pt x="6088" y="558"/>
                  <a:pt x="6090" y="556"/>
                  <a:pt x="6090" y="556"/>
                </a:cubicBezTo>
                <a:lnTo>
                  <a:pt x="6091" y="557"/>
                </a:lnTo>
                <a:lnTo>
                  <a:pt x="6088" y="562"/>
                </a:lnTo>
                <a:cubicBezTo>
                  <a:pt x="6084" y="570"/>
                  <a:pt x="6081" y="574"/>
                  <a:pt x="6081" y="574"/>
                </a:cubicBezTo>
                <a:close/>
                <a:moveTo>
                  <a:pt x="6070" y="598"/>
                </a:moveTo>
                <a:lnTo>
                  <a:pt x="6069" y="598"/>
                </a:lnTo>
                <a:cubicBezTo>
                  <a:pt x="6069" y="598"/>
                  <a:pt x="6069" y="597"/>
                  <a:pt x="6069" y="595"/>
                </a:cubicBezTo>
                <a:cubicBezTo>
                  <a:pt x="6069" y="595"/>
                  <a:pt x="6069" y="594"/>
                  <a:pt x="6070" y="593"/>
                </a:cubicBezTo>
                <a:cubicBezTo>
                  <a:pt x="6070" y="592"/>
                  <a:pt x="6071" y="592"/>
                  <a:pt x="6071" y="592"/>
                </a:cubicBezTo>
                <a:lnTo>
                  <a:pt x="6072" y="593"/>
                </a:lnTo>
                <a:lnTo>
                  <a:pt x="6071" y="594"/>
                </a:lnTo>
                <a:cubicBezTo>
                  <a:pt x="6071" y="596"/>
                  <a:pt x="6070" y="597"/>
                  <a:pt x="6070" y="598"/>
                </a:cubicBezTo>
                <a:close/>
                <a:moveTo>
                  <a:pt x="6314" y="683"/>
                </a:moveTo>
                <a:cubicBezTo>
                  <a:pt x="6314" y="683"/>
                  <a:pt x="6314" y="683"/>
                  <a:pt x="6314" y="683"/>
                </a:cubicBezTo>
                <a:lnTo>
                  <a:pt x="6323" y="674"/>
                </a:lnTo>
                <a:lnTo>
                  <a:pt x="6329" y="669"/>
                </a:lnTo>
                <a:lnTo>
                  <a:pt x="6329" y="669"/>
                </a:lnTo>
                <a:cubicBezTo>
                  <a:pt x="6329" y="670"/>
                  <a:pt x="6326" y="673"/>
                  <a:pt x="6321" y="679"/>
                </a:cubicBezTo>
                <a:cubicBezTo>
                  <a:pt x="6317" y="681"/>
                  <a:pt x="6315" y="683"/>
                  <a:pt x="6314" y="683"/>
                </a:cubicBezTo>
                <a:close/>
                <a:moveTo>
                  <a:pt x="6416" y="627"/>
                </a:moveTo>
                <a:lnTo>
                  <a:pt x="6415" y="627"/>
                </a:lnTo>
                <a:cubicBezTo>
                  <a:pt x="6415" y="627"/>
                  <a:pt x="6414" y="627"/>
                  <a:pt x="6414" y="625"/>
                </a:cubicBezTo>
                <a:cubicBezTo>
                  <a:pt x="6415" y="623"/>
                  <a:pt x="6415" y="622"/>
                  <a:pt x="6415" y="622"/>
                </a:cubicBezTo>
                <a:lnTo>
                  <a:pt x="6416" y="623"/>
                </a:lnTo>
                <a:cubicBezTo>
                  <a:pt x="6416" y="624"/>
                  <a:pt x="6416" y="625"/>
                  <a:pt x="6416" y="625"/>
                </a:cubicBezTo>
                <a:lnTo>
                  <a:pt x="6416" y="627"/>
                </a:lnTo>
                <a:close/>
                <a:moveTo>
                  <a:pt x="6142" y="531"/>
                </a:moveTo>
                <a:cubicBezTo>
                  <a:pt x="6142" y="531"/>
                  <a:pt x="6141" y="530"/>
                  <a:pt x="6140" y="529"/>
                </a:cubicBezTo>
                <a:cubicBezTo>
                  <a:pt x="6139" y="527"/>
                  <a:pt x="6139" y="526"/>
                  <a:pt x="6139" y="525"/>
                </a:cubicBezTo>
                <a:cubicBezTo>
                  <a:pt x="6139" y="525"/>
                  <a:pt x="6139" y="525"/>
                  <a:pt x="6139" y="525"/>
                </a:cubicBezTo>
                <a:cubicBezTo>
                  <a:pt x="6140" y="525"/>
                  <a:pt x="6140" y="525"/>
                  <a:pt x="6141" y="526"/>
                </a:cubicBezTo>
                <a:cubicBezTo>
                  <a:pt x="6142" y="527"/>
                  <a:pt x="6142" y="528"/>
                  <a:pt x="6142" y="530"/>
                </a:cubicBezTo>
                <a:lnTo>
                  <a:pt x="6142" y="531"/>
                </a:lnTo>
                <a:close/>
                <a:moveTo>
                  <a:pt x="6405" y="639"/>
                </a:moveTo>
                <a:cubicBezTo>
                  <a:pt x="6405" y="639"/>
                  <a:pt x="6404" y="639"/>
                  <a:pt x="6404" y="638"/>
                </a:cubicBezTo>
                <a:cubicBezTo>
                  <a:pt x="6403" y="637"/>
                  <a:pt x="6403" y="636"/>
                  <a:pt x="6402" y="635"/>
                </a:cubicBezTo>
                <a:cubicBezTo>
                  <a:pt x="6402" y="634"/>
                  <a:pt x="6402" y="632"/>
                  <a:pt x="6402" y="631"/>
                </a:cubicBezTo>
                <a:cubicBezTo>
                  <a:pt x="6402" y="629"/>
                  <a:pt x="6402" y="628"/>
                  <a:pt x="6403" y="627"/>
                </a:cubicBezTo>
                <a:cubicBezTo>
                  <a:pt x="6403" y="625"/>
                  <a:pt x="6404" y="622"/>
                  <a:pt x="6404" y="617"/>
                </a:cubicBezTo>
                <a:lnTo>
                  <a:pt x="6402" y="599"/>
                </a:lnTo>
                <a:lnTo>
                  <a:pt x="6403" y="599"/>
                </a:lnTo>
                <a:cubicBezTo>
                  <a:pt x="6403" y="599"/>
                  <a:pt x="6403" y="599"/>
                  <a:pt x="6403" y="599"/>
                </a:cubicBezTo>
                <a:lnTo>
                  <a:pt x="6404" y="599"/>
                </a:lnTo>
                <a:cubicBezTo>
                  <a:pt x="6405" y="599"/>
                  <a:pt x="6406" y="598"/>
                  <a:pt x="6406" y="595"/>
                </a:cubicBezTo>
                <a:cubicBezTo>
                  <a:pt x="6406" y="593"/>
                  <a:pt x="6405" y="592"/>
                  <a:pt x="6405" y="592"/>
                </a:cubicBezTo>
                <a:lnTo>
                  <a:pt x="6403" y="593"/>
                </a:lnTo>
                <a:cubicBezTo>
                  <a:pt x="6403" y="593"/>
                  <a:pt x="6402" y="593"/>
                  <a:pt x="6402" y="592"/>
                </a:cubicBezTo>
                <a:cubicBezTo>
                  <a:pt x="6401" y="590"/>
                  <a:pt x="6400" y="586"/>
                  <a:pt x="6400" y="579"/>
                </a:cubicBezTo>
                <a:cubicBezTo>
                  <a:pt x="6400" y="576"/>
                  <a:pt x="6400" y="574"/>
                  <a:pt x="6401" y="573"/>
                </a:cubicBezTo>
                <a:cubicBezTo>
                  <a:pt x="6401" y="572"/>
                  <a:pt x="6401" y="572"/>
                  <a:pt x="6401" y="571"/>
                </a:cubicBezTo>
                <a:cubicBezTo>
                  <a:pt x="6401" y="571"/>
                  <a:pt x="6401" y="570"/>
                  <a:pt x="6400" y="570"/>
                </a:cubicBezTo>
                <a:lnTo>
                  <a:pt x="6399" y="571"/>
                </a:lnTo>
                <a:cubicBezTo>
                  <a:pt x="6399" y="571"/>
                  <a:pt x="6398" y="570"/>
                  <a:pt x="6398" y="569"/>
                </a:cubicBezTo>
                <a:cubicBezTo>
                  <a:pt x="6397" y="568"/>
                  <a:pt x="6396" y="566"/>
                  <a:pt x="6396" y="564"/>
                </a:cubicBezTo>
                <a:cubicBezTo>
                  <a:pt x="6395" y="562"/>
                  <a:pt x="6395" y="560"/>
                  <a:pt x="6395" y="558"/>
                </a:cubicBezTo>
                <a:cubicBezTo>
                  <a:pt x="6395" y="556"/>
                  <a:pt x="6395" y="555"/>
                  <a:pt x="6396" y="554"/>
                </a:cubicBezTo>
                <a:lnTo>
                  <a:pt x="6397" y="553"/>
                </a:lnTo>
                <a:cubicBezTo>
                  <a:pt x="6397" y="552"/>
                  <a:pt x="6397" y="552"/>
                  <a:pt x="6396" y="552"/>
                </a:cubicBezTo>
                <a:lnTo>
                  <a:pt x="6393" y="554"/>
                </a:lnTo>
                <a:cubicBezTo>
                  <a:pt x="6393" y="554"/>
                  <a:pt x="6393" y="553"/>
                  <a:pt x="6393" y="552"/>
                </a:cubicBezTo>
                <a:lnTo>
                  <a:pt x="6394" y="543"/>
                </a:lnTo>
                <a:cubicBezTo>
                  <a:pt x="6394" y="541"/>
                  <a:pt x="6393" y="541"/>
                  <a:pt x="6393" y="541"/>
                </a:cubicBezTo>
                <a:lnTo>
                  <a:pt x="6392" y="541"/>
                </a:lnTo>
                <a:cubicBezTo>
                  <a:pt x="6392" y="541"/>
                  <a:pt x="6391" y="541"/>
                  <a:pt x="6391" y="540"/>
                </a:cubicBezTo>
                <a:cubicBezTo>
                  <a:pt x="6390" y="540"/>
                  <a:pt x="6390" y="537"/>
                  <a:pt x="6390" y="532"/>
                </a:cubicBezTo>
                <a:lnTo>
                  <a:pt x="6390" y="528"/>
                </a:lnTo>
                <a:cubicBezTo>
                  <a:pt x="6390" y="527"/>
                  <a:pt x="6390" y="526"/>
                  <a:pt x="6391" y="525"/>
                </a:cubicBezTo>
                <a:cubicBezTo>
                  <a:pt x="6391" y="524"/>
                  <a:pt x="6392" y="524"/>
                  <a:pt x="6394" y="524"/>
                </a:cubicBezTo>
                <a:cubicBezTo>
                  <a:pt x="6395" y="524"/>
                  <a:pt x="6395" y="524"/>
                  <a:pt x="6395" y="524"/>
                </a:cubicBezTo>
                <a:cubicBezTo>
                  <a:pt x="6395" y="525"/>
                  <a:pt x="6394" y="525"/>
                  <a:pt x="6393" y="527"/>
                </a:cubicBezTo>
                <a:cubicBezTo>
                  <a:pt x="6392" y="528"/>
                  <a:pt x="6392" y="529"/>
                  <a:pt x="6392" y="530"/>
                </a:cubicBezTo>
                <a:cubicBezTo>
                  <a:pt x="6392" y="531"/>
                  <a:pt x="6392" y="532"/>
                  <a:pt x="6393" y="534"/>
                </a:cubicBezTo>
                <a:cubicBezTo>
                  <a:pt x="6395" y="535"/>
                  <a:pt x="6395" y="536"/>
                  <a:pt x="6396" y="536"/>
                </a:cubicBezTo>
                <a:lnTo>
                  <a:pt x="6397" y="536"/>
                </a:lnTo>
                <a:lnTo>
                  <a:pt x="6397" y="536"/>
                </a:lnTo>
                <a:cubicBezTo>
                  <a:pt x="6397" y="535"/>
                  <a:pt x="6397" y="535"/>
                  <a:pt x="6396" y="534"/>
                </a:cubicBezTo>
                <a:cubicBezTo>
                  <a:pt x="6396" y="533"/>
                  <a:pt x="6395" y="533"/>
                  <a:pt x="6395" y="532"/>
                </a:cubicBezTo>
                <a:cubicBezTo>
                  <a:pt x="6395" y="532"/>
                  <a:pt x="6394" y="531"/>
                  <a:pt x="6394" y="530"/>
                </a:cubicBezTo>
                <a:cubicBezTo>
                  <a:pt x="6394" y="527"/>
                  <a:pt x="6396" y="524"/>
                  <a:pt x="6398" y="519"/>
                </a:cubicBezTo>
                <a:cubicBezTo>
                  <a:pt x="6400" y="516"/>
                  <a:pt x="6402" y="514"/>
                  <a:pt x="6403" y="512"/>
                </a:cubicBezTo>
                <a:cubicBezTo>
                  <a:pt x="6405" y="511"/>
                  <a:pt x="6405" y="509"/>
                  <a:pt x="6406" y="509"/>
                </a:cubicBezTo>
                <a:cubicBezTo>
                  <a:pt x="6406" y="508"/>
                  <a:pt x="6407" y="507"/>
                  <a:pt x="6407" y="506"/>
                </a:cubicBezTo>
                <a:lnTo>
                  <a:pt x="6407" y="505"/>
                </a:lnTo>
                <a:cubicBezTo>
                  <a:pt x="6407" y="504"/>
                  <a:pt x="6407" y="504"/>
                  <a:pt x="6407" y="503"/>
                </a:cubicBezTo>
                <a:cubicBezTo>
                  <a:pt x="6407" y="503"/>
                  <a:pt x="6407" y="502"/>
                  <a:pt x="6408" y="502"/>
                </a:cubicBezTo>
                <a:lnTo>
                  <a:pt x="6408" y="502"/>
                </a:lnTo>
                <a:cubicBezTo>
                  <a:pt x="6408" y="502"/>
                  <a:pt x="6409" y="502"/>
                  <a:pt x="6410" y="502"/>
                </a:cubicBezTo>
                <a:cubicBezTo>
                  <a:pt x="6410" y="503"/>
                  <a:pt x="6410" y="503"/>
                  <a:pt x="6411" y="504"/>
                </a:cubicBezTo>
                <a:cubicBezTo>
                  <a:pt x="6411" y="505"/>
                  <a:pt x="6412" y="505"/>
                  <a:pt x="6412" y="506"/>
                </a:cubicBezTo>
                <a:cubicBezTo>
                  <a:pt x="6412" y="508"/>
                  <a:pt x="6411" y="509"/>
                  <a:pt x="6410" y="509"/>
                </a:cubicBezTo>
                <a:cubicBezTo>
                  <a:pt x="6409" y="510"/>
                  <a:pt x="6408" y="511"/>
                  <a:pt x="6408" y="512"/>
                </a:cubicBezTo>
                <a:cubicBezTo>
                  <a:pt x="6407" y="512"/>
                  <a:pt x="6407" y="513"/>
                  <a:pt x="6407" y="514"/>
                </a:cubicBezTo>
                <a:cubicBezTo>
                  <a:pt x="6407" y="514"/>
                  <a:pt x="6407" y="515"/>
                  <a:pt x="6407" y="515"/>
                </a:cubicBezTo>
                <a:cubicBezTo>
                  <a:pt x="6407" y="515"/>
                  <a:pt x="6406" y="515"/>
                  <a:pt x="6405" y="515"/>
                </a:cubicBezTo>
                <a:cubicBezTo>
                  <a:pt x="6404" y="515"/>
                  <a:pt x="6404" y="515"/>
                  <a:pt x="6404" y="516"/>
                </a:cubicBezTo>
                <a:cubicBezTo>
                  <a:pt x="6404" y="516"/>
                  <a:pt x="6404" y="517"/>
                  <a:pt x="6404" y="517"/>
                </a:cubicBezTo>
                <a:cubicBezTo>
                  <a:pt x="6405" y="517"/>
                  <a:pt x="6405" y="518"/>
                  <a:pt x="6405" y="519"/>
                </a:cubicBezTo>
                <a:cubicBezTo>
                  <a:pt x="6405" y="521"/>
                  <a:pt x="6404" y="522"/>
                  <a:pt x="6403" y="523"/>
                </a:cubicBezTo>
                <a:cubicBezTo>
                  <a:pt x="6403" y="524"/>
                  <a:pt x="6402" y="526"/>
                  <a:pt x="6402" y="528"/>
                </a:cubicBezTo>
                <a:cubicBezTo>
                  <a:pt x="6402" y="532"/>
                  <a:pt x="6403" y="538"/>
                  <a:pt x="6406" y="546"/>
                </a:cubicBezTo>
                <a:cubicBezTo>
                  <a:pt x="6408" y="555"/>
                  <a:pt x="6409" y="561"/>
                  <a:pt x="6409" y="565"/>
                </a:cubicBezTo>
                <a:lnTo>
                  <a:pt x="6409" y="568"/>
                </a:lnTo>
                <a:cubicBezTo>
                  <a:pt x="6409" y="570"/>
                  <a:pt x="6409" y="570"/>
                  <a:pt x="6410" y="570"/>
                </a:cubicBezTo>
                <a:cubicBezTo>
                  <a:pt x="6411" y="570"/>
                  <a:pt x="6411" y="571"/>
                  <a:pt x="6412" y="571"/>
                </a:cubicBezTo>
                <a:cubicBezTo>
                  <a:pt x="6412" y="571"/>
                  <a:pt x="6412" y="571"/>
                  <a:pt x="6412" y="572"/>
                </a:cubicBezTo>
                <a:cubicBezTo>
                  <a:pt x="6412" y="572"/>
                  <a:pt x="6412" y="573"/>
                  <a:pt x="6412" y="573"/>
                </a:cubicBezTo>
                <a:cubicBezTo>
                  <a:pt x="6411" y="574"/>
                  <a:pt x="6411" y="576"/>
                  <a:pt x="6411" y="576"/>
                </a:cubicBezTo>
                <a:cubicBezTo>
                  <a:pt x="6411" y="577"/>
                  <a:pt x="6411" y="578"/>
                  <a:pt x="6412" y="578"/>
                </a:cubicBezTo>
                <a:cubicBezTo>
                  <a:pt x="6413" y="578"/>
                  <a:pt x="6413" y="579"/>
                  <a:pt x="6413" y="580"/>
                </a:cubicBezTo>
                <a:cubicBezTo>
                  <a:pt x="6413" y="581"/>
                  <a:pt x="6413" y="582"/>
                  <a:pt x="6413" y="583"/>
                </a:cubicBezTo>
                <a:lnTo>
                  <a:pt x="6413" y="585"/>
                </a:lnTo>
                <a:cubicBezTo>
                  <a:pt x="6413" y="590"/>
                  <a:pt x="6413" y="595"/>
                  <a:pt x="6414" y="598"/>
                </a:cubicBezTo>
                <a:cubicBezTo>
                  <a:pt x="6415" y="600"/>
                  <a:pt x="6415" y="602"/>
                  <a:pt x="6415" y="603"/>
                </a:cubicBezTo>
                <a:cubicBezTo>
                  <a:pt x="6415" y="604"/>
                  <a:pt x="6414" y="605"/>
                  <a:pt x="6413" y="605"/>
                </a:cubicBezTo>
                <a:cubicBezTo>
                  <a:pt x="6412" y="605"/>
                  <a:pt x="6411" y="604"/>
                  <a:pt x="6411" y="603"/>
                </a:cubicBezTo>
                <a:lnTo>
                  <a:pt x="6412" y="600"/>
                </a:lnTo>
                <a:cubicBezTo>
                  <a:pt x="6412" y="599"/>
                  <a:pt x="6412" y="599"/>
                  <a:pt x="6412" y="598"/>
                </a:cubicBezTo>
                <a:cubicBezTo>
                  <a:pt x="6412" y="598"/>
                  <a:pt x="6411" y="598"/>
                  <a:pt x="6410" y="598"/>
                </a:cubicBezTo>
                <a:cubicBezTo>
                  <a:pt x="6409" y="598"/>
                  <a:pt x="6409" y="598"/>
                  <a:pt x="6409" y="600"/>
                </a:cubicBezTo>
                <a:cubicBezTo>
                  <a:pt x="6409" y="601"/>
                  <a:pt x="6409" y="602"/>
                  <a:pt x="6410" y="604"/>
                </a:cubicBezTo>
                <a:cubicBezTo>
                  <a:pt x="6410" y="605"/>
                  <a:pt x="6411" y="606"/>
                  <a:pt x="6412" y="607"/>
                </a:cubicBezTo>
                <a:cubicBezTo>
                  <a:pt x="6413" y="608"/>
                  <a:pt x="6414" y="608"/>
                  <a:pt x="6414" y="609"/>
                </a:cubicBezTo>
                <a:cubicBezTo>
                  <a:pt x="6414" y="609"/>
                  <a:pt x="6413" y="609"/>
                  <a:pt x="6412" y="610"/>
                </a:cubicBezTo>
                <a:cubicBezTo>
                  <a:pt x="6412" y="610"/>
                  <a:pt x="6411" y="610"/>
                  <a:pt x="6410" y="612"/>
                </a:cubicBezTo>
                <a:cubicBezTo>
                  <a:pt x="6409" y="613"/>
                  <a:pt x="6409" y="615"/>
                  <a:pt x="6409" y="616"/>
                </a:cubicBezTo>
                <a:cubicBezTo>
                  <a:pt x="6409" y="618"/>
                  <a:pt x="6410" y="620"/>
                  <a:pt x="6411" y="621"/>
                </a:cubicBezTo>
                <a:cubicBezTo>
                  <a:pt x="6412" y="622"/>
                  <a:pt x="6412" y="622"/>
                  <a:pt x="6412" y="623"/>
                </a:cubicBezTo>
                <a:cubicBezTo>
                  <a:pt x="6412" y="623"/>
                  <a:pt x="6411" y="622"/>
                  <a:pt x="6411" y="622"/>
                </a:cubicBezTo>
                <a:cubicBezTo>
                  <a:pt x="6410" y="622"/>
                  <a:pt x="6410" y="622"/>
                  <a:pt x="6409" y="622"/>
                </a:cubicBezTo>
                <a:cubicBezTo>
                  <a:pt x="6408" y="622"/>
                  <a:pt x="6408" y="623"/>
                  <a:pt x="6408" y="625"/>
                </a:cubicBezTo>
                <a:cubicBezTo>
                  <a:pt x="6408" y="628"/>
                  <a:pt x="6408" y="629"/>
                  <a:pt x="6410" y="629"/>
                </a:cubicBezTo>
                <a:lnTo>
                  <a:pt x="6412" y="628"/>
                </a:lnTo>
                <a:cubicBezTo>
                  <a:pt x="6412" y="628"/>
                  <a:pt x="6412" y="629"/>
                  <a:pt x="6412" y="629"/>
                </a:cubicBezTo>
                <a:lnTo>
                  <a:pt x="6412" y="630"/>
                </a:lnTo>
                <a:cubicBezTo>
                  <a:pt x="6411" y="631"/>
                  <a:pt x="6410" y="631"/>
                  <a:pt x="6409" y="632"/>
                </a:cubicBezTo>
                <a:cubicBezTo>
                  <a:pt x="6408" y="632"/>
                  <a:pt x="6407" y="632"/>
                  <a:pt x="6406" y="632"/>
                </a:cubicBezTo>
                <a:cubicBezTo>
                  <a:pt x="6405" y="632"/>
                  <a:pt x="6405" y="634"/>
                  <a:pt x="6405" y="636"/>
                </a:cubicBezTo>
                <a:lnTo>
                  <a:pt x="6405" y="639"/>
                </a:lnTo>
                <a:cubicBezTo>
                  <a:pt x="6405" y="639"/>
                  <a:pt x="6405" y="639"/>
                  <a:pt x="6405" y="639"/>
                </a:cubicBezTo>
                <a:close/>
                <a:moveTo>
                  <a:pt x="6409" y="595"/>
                </a:moveTo>
                <a:cubicBezTo>
                  <a:pt x="6409" y="595"/>
                  <a:pt x="6410" y="595"/>
                  <a:pt x="6410" y="593"/>
                </a:cubicBezTo>
                <a:cubicBezTo>
                  <a:pt x="6410" y="590"/>
                  <a:pt x="6409" y="589"/>
                  <a:pt x="6408" y="587"/>
                </a:cubicBezTo>
                <a:cubicBezTo>
                  <a:pt x="6407" y="585"/>
                  <a:pt x="6406" y="584"/>
                  <a:pt x="6406" y="584"/>
                </a:cubicBezTo>
                <a:cubicBezTo>
                  <a:pt x="6406" y="584"/>
                  <a:pt x="6406" y="585"/>
                  <a:pt x="6407" y="587"/>
                </a:cubicBezTo>
                <a:cubicBezTo>
                  <a:pt x="6407" y="588"/>
                  <a:pt x="6407" y="590"/>
                  <a:pt x="6407" y="591"/>
                </a:cubicBezTo>
                <a:cubicBezTo>
                  <a:pt x="6408" y="592"/>
                  <a:pt x="6408" y="593"/>
                  <a:pt x="6408" y="594"/>
                </a:cubicBezTo>
                <a:cubicBezTo>
                  <a:pt x="6408" y="595"/>
                  <a:pt x="6408" y="595"/>
                  <a:pt x="6409" y="595"/>
                </a:cubicBezTo>
                <a:close/>
                <a:moveTo>
                  <a:pt x="6405" y="572"/>
                </a:moveTo>
                <a:cubicBezTo>
                  <a:pt x="6405" y="571"/>
                  <a:pt x="6405" y="571"/>
                  <a:pt x="6405" y="570"/>
                </a:cubicBezTo>
                <a:lnTo>
                  <a:pt x="6405" y="567"/>
                </a:lnTo>
                <a:lnTo>
                  <a:pt x="6404" y="566"/>
                </a:lnTo>
                <a:cubicBezTo>
                  <a:pt x="6404" y="566"/>
                  <a:pt x="6404" y="567"/>
                  <a:pt x="6403" y="569"/>
                </a:cubicBezTo>
                <a:cubicBezTo>
                  <a:pt x="6403" y="571"/>
                  <a:pt x="6404" y="572"/>
                  <a:pt x="6404" y="572"/>
                </a:cubicBezTo>
                <a:lnTo>
                  <a:pt x="6405" y="572"/>
                </a:lnTo>
                <a:close/>
                <a:moveTo>
                  <a:pt x="6402" y="562"/>
                </a:moveTo>
                <a:cubicBezTo>
                  <a:pt x="6403" y="562"/>
                  <a:pt x="6403" y="562"/>
                  <a:pt x="6403" y="561"/>
                </a:cubicBezTo>
                <a:cubicBezTo>
                  <a:pt x="6403" y="560"/>
                  <a:pt x="6403" y="558"/>
                  <a:pt x="6402" y="556"/>
                </a:cubicBezTo>
                <a:cubicBezTo>
                  <a:pt x="6402" y="554"/>
                  <a:pt x="6401" y="551"/>
                  <a:pt x="6401" y="549"/>
                </a:cubicBezTo>
                <a:cubicBezTo>
                  <a:pt x="6401" y="547"/>
                  <a:pt x="6400" y="546"/>
                  <a:pt x="6400" y="544"/>
                </a:cubicBezTo>
                <a:cubicBezTo>
                  <a:pt x="6400" y="543"/>
                  <a:pt x="6400" y="542"/>
                  <a:pt x="6400" y="541"/>
                </a:cubicBezTo>
                <a:cubicBezTo>
                  <a:pt x="6400" y="540"/>
                  <a:pt x="6399" y="540"/>
                  <a:pt x="6398" y="540"/>
                </a:cubicBezTo>
                <a:cubicBezTo>
                  <a:pt x="6398" y="540"/>
                  <a:pt x="6398" y="541"/>
                  <a:pt x="6398" y="543"/>
                </a:cubicBezTo>
                <a:cubicBezTo>
                  <a:pt x="6398" y="545"/>
                  <a:pt x="6398" y="548"/>
                  <a:pt x="6398" y="552"/>
                </a:cubicBezTo>
                <a:cubicBezTo>
                  <a:pt x="6398" y="558"/>
                  <a:pt x="6398" y="561"/>
                  <a:pt x="6398" y="561"/>
                </a:cubicBezTo>
                <a:cubicBezTo>
                  <a:pt x="6399" y="560"/>
                  <a:pt x="6399" y="560"/>
                  <a:pt x="6400" y="560"/>
                </a:cubicBezTo>
                <a:cubicBezTo>
                  <a:pt x="6400" y="560"/>
                  <a:pt x="6401" y="560"/>
                  <a:pt x="6402" y="561"/>
                </a:cubicBezTo>
                <a:cubicBezTo>
                  <a:pt x="6402" y="562"/>
                  <a:pt x="6402" y="562"/>
                  <a:pt x="6402" y="562"/>
                </a:cubicBezTo>
                <a:close/>
                <a:moveTo>
                  <a:pt x="6333" y="487"/>
                </a:moveTo>
                <a:cubicBezTo>
                  <a:pt x="6333" y="487"/>
                  <a:pt x="6332" y="486"/>
                  <a:pt x="6331" y="485"/>
                </a:cubicBezTo>
                <a:cubicBezTo>
                  <a:pt x="6330" y="485"/>
                  <a:pt x="6329" y="484"/>
                  <a:pt x="6327" y="482"/>
                </a:cubicBezTo>
                <a:lnTo>
                  <a:pt x="6325" y="480"/>
                </a:lnTo>
                <a:lnTo>
                  <a:pt x="6326" y="481"/>
                </a:lnTo>
                <a:cubicBezTo>
                  <a:pt x="6326" y="481"/>
                  <a:pt x="6327" y="481"/>
                  <a:pt x="6328" y="481"/>
                </a:cubicBezTo>
                <a:cubicBezTo>
                  <a:pt x="6329" y="481"/>
                  <a:pt x="6329" y="481"/>
                  <a:pt x="6329" y="481"/>
                </a:cubicBezTo>
                <a:lnTo>
                  <a:pt x="6330" y="480"/>
                </a:lnTo>
                <a:cubicBezTo>
                  <a:pt x="6331" y="480"/>
                  <a:pt x="6331" y="481"/>
                  <a:pt x="6331" y="482"/>
                </a:cubicBezTo>
                <a:cubicBezTo>
                  <a:pt x="6331" y="484"/>
                  <a:pt x="6331" y="484"/>
                  <a:pt x="6331" y="484"/>
                </a:cubicBezTo>
                <a:cubicBezTo>
                  <a:pt x="6332" y="484"/>
                  <a:pt x="6333" y="484"/>
                  <a:pt x="6334" y="482"/>
                </a:cubicBezTo>
                <a:cubicBezTo>
                  <a:pt x="6334" y="481"/>
                  <a:pt x="6334" y="480"/>
                  <a:pt x="6335" y="480"/>
                </a:cubicBezTo>
                <a:cubicBezTo>
                  <a:pt x="6335" y="480"/>
                  <a:pt x="6335" y="481"/>
                  <a:pt x="6335" y="481"/>
                </a:cubicBezTo>
                <a:cubicBezTo>
                  <a:pt x="6335" y="485"/>
                  <a:pt x="6335" y="487"/>
                  <a:pt x="6333" y="487"/>
                </a:cubicBezTo>
                <a:close/>
                <a:moveTo>
                  <a:pt x="6302" y="692"/>
                </a:moveTo>
                <a:lnTo>
                  <a:pt x="6300" y="692"/>
                </a:lnTo>
                <a:cubicBezTo>
                  <a:pt x="6300" y="691"/>
                  <a:pt x="6302" y="690"/>
                  <a:pt x="6304" y="688"/>
                </a:cubicBezTo>
                <a:cubicBezTo>
                  <a:pt x="6307" y="687"/>
                  <a:pt x="6308" y="686"/>
                  <a:pt x="6309" y="686"/>
                </a:cubicBezTo>
                <a:lnTo>
                  <a:pt x="6309" y="686"/>
                </a:lnTo>
                <a:cubicBezTo>
                  <a:pt x="6309" y="687"/>
                  <a:pt x="6309" y="687"/>
                  <a:pt x="6308" y="688"/>
                </a:cubicBezTo>
                <a:cubicBezTo>
                  <a:pt x="6307" y="689"/>
                  <a:pt x="6306" y="689"/>
                  <a:pt x="6305" y="690"/>
                </a:cubicBezTo>
                <a:cubicBezTo>
                  <a:pt x="6304" y="691"/>
                  <a:pt x="6303" y="691"/>
                  <a:pt x="6302" y="692"/>
                </a:cubicBezTo>
                <a:close/>
                <a:moveTo>
                  <a:pt x="6397" y="648"/>
                </a:moveTo>
                <a:lnTo>
                  <a:pt x="6397" y="648"/>
                </a:lnTo>
                <a:cubicBezTo>
                  <a:pt x="6397" y="647"/>
                  <a:pt x="6397" y="647"/>
                  <a:pt x="6398" y="646"/>
                </a:cubicBezTo>
                <a:cubicBezTo>
                  <a:pt x="6399" y="645"/>
                  <a:pt x="6400" y="644"/>
                  <a:pt x="6400" y="643"/>
                </a:cubicBezTo>
                <a:cubicBezTo>
                  <a:pt x="6400" y="642"/>
                  <a:pt x="6400" y="640"/>
                  <a:pt x="6400" y="639"/>
                </a:cubicBezTo>
                <a:cubicBezTo>
                  <a:pt x="6399" y="639"/>
                  <a:pt x="6399" y="638"/>
                  <a:pt x="6399" y="637"/>
                </a:cubicBezTo>
                <a:lnTo>
                  <a:pt x="6399" y="637"/>
                </a:lnTo>
                <a:cubicBezTo>
                  <a:pt x="6399" y="637"/>
                  <a:pt x="6400" y="638"/>
                  <a:pt x="6402" y="640"/>
                </a:cubicBezTo>
                <a:cubicBezTo>
                  <a:pt x="6403" y="642"/>
                  <a:pt x="6403" y="644"/>
                  <a:pt x="6403" y="644"/>
                </a:cubicBezTo>
                <a:cubicBezTo>
                  <a:pt x="6403" y="646"/>
                  <a:pt x="6402" y="647"/>
                  <a:pt x="6400" y="647"/>
                </a:cubicBezTo>
                <a:cubicBezTo>
                  <a:pt x="6398" y="648"/>
                  <a:pt x="6397" y="648"/>
                  <a:pt x="6397" y="648"/>
                </a:cubicBezTo>
                <a:close/>
                <a:moveTo>
                  <a:pt x="6150" y="510"/>
                </a:moveTo>
                <a:cubicBezTo>
                  <a:pt x="6148" y="510"/>
                  <a:pt x="6148" y="509"/>
                  <a:pt x="6148" y="509"/>
                </a:cubicBezTo>
                <a:cubicBezTo>
                  <a:pt x="6148" y="509"/>
                  <a:pt x="6149" y="508"/>
                  <a:pt x="6150" y="508"/>
                </a:cubicBezTo>
                <a:cubicBezTo>
                  <a:pt x="6152" y="507"/>
                  <a:pt x="6153" y="507"/>
                  <a:pt x="6155" y="506"/>
                </a:cubicBezTo>
                <a:cubicBezTo>
                  <a:pt x="6156" y="506"/>
                  <a:pt x="6157" y="506"/>
                  <a:pt x="6158" y="506"/>
                </a:cubicBezTo>
                <a:cubicBezTo>
                  <a:pt x="6159" y="506"/>
                  <a:pt x="6160" y="506"/>
                  <a:pt x="6160" y="506"/>
                </a:cubicBezTo>
                <a:cubicBezTo>
                  <a:pt x="6160" y="506"/>
                  <a:pt x="6159" y="507"/>
                  <a:pt x="6157" y="508"/>
                </a:cubicBezTo>
                <a:cubicBezTo>
                  <a:pt x="6154" y="509"/>
                  <a:pt x="6152" y="510"/>
                  <a:pt x="6150" y="510"/>
                </a:cubicBezTo>
                <a:close/>
                <a:moveTo>
                  <a:pt x="7030" y="585"/>
                </a:moveTo>
                <a:cubicBezTo>
                  <a:pt x="7029" y="585"/>
                  <a:pt x="7028" y="585"/>
                  <a:pt x="7028" y="584"/>
                </a:cubicBezTo>
                <a:lnTo>
                  <a:pt x="7028" y="583"/>
                </a:lnTo>
                <a:cubicBezTo>
                  <a:pt x="7028" y="583"/>
                  <a:pt x="7028" y="582"/>
                  <a:pt x="7029" y="581"/>
                </a:cubicBezTo>
                <a:cubicBezTo>
                  <a:pt x="7030" y="581"/>
                  <a:pt x="7031" y="580"/>
                  <a:pt x="7031" y="580"/>
                </a:cubicBezTo>
                <a:cubicBezTo>
                  <a:pt x="7032" y="580"/>
                  <a:pt x="7032" y="580"/>
                  <a:pt x="7032" y="581"/>
                </a:cubicBezTo>
                <a:lnTo>
                  <a:pt x="7032" y="583"/>
                </a:lnTo>
                <a:cubicBezTo>
                  <a:pt x="7031" y="585"/>
                  <a:pt x="7030" y="585"/>
                  <a:pt x="7030" y="585"/>
                </a:cubicBezTo>
                <a:close/>
                <a:moveTo>
                  <a:pt x="6810" y="813"/>
                </a:moveTo>
                <a:cubicBezTo>
                  <a:pt x="6809" y="813"/>
                  <a:pt x="6808" y="812"/>
                  <a:pt x="6806" y="810"/>
                </a:cubicBezTo>
                <a:cubicBezTo>
                  <a:pt x="6805" y="809"/>
                  <a:pt x="6804" y="808"/>
                  <a:pt x="6804" y="807"/>
                </a:cubicBezTo>
                <a:cubicBezTo>
                  <a:pt x="6804" y="804"/>
                  <a:pt x="6805" y="803"/>
                  <a:pt x="6807" y="803"/>
                </a:cubicBezTo>
                <a:lnTo>
                  <a:pt x="6811" y="804"/>
                </a:lnTo>
                <a:cubicBezTo>
                  <a:pt x="6811" y="804"/>
                  <a:pt x="6811" y="804"/>
                  <a:pt x="6811" y="803"/>
                </a:cubicBezTo>
                <a:lnTo>
                  <a:pt x="6810" y="799"/>
                </a:lnTo>
                <a:cubicBezTo>
                  <a:pt x="6810" y="799"/>
                  <a:pt x="6811" y="800"/>
                  <a:pt x="6811" y="800"/>
                </a:cubicBezTo>
                <a:cubicBezTo>
                  <a:pt x="6812" y="800"/>
                  <a:pt x="6812" y="800"/>
                  <a:pt x="6813" y="800"/>
                </a:cubicBezTo>
                <a:cubicBezTo>
                  <a:pt x="6815" y="800"/>
                  <a:pt x="6818" y="800"/>
                  <a:pt x="6821" y="798"/>
                </a:cubicBezTo>
                <a:cubicBezTo>
                  <a:pt x="6824" y="797"/>
                  <a:pt x="6827" y="796"/>
                  <a:pt x="6828" y="796"/>
                </a:cubicBezTo>
                <a:cubicBezTo>
                  <a:pt x="6829" y="796"/>
                  <a:pt x="6830" y="796"/>
                  <a:pt x="6831" y="797"/>
                </a:cubicBezTo>
                <a:cubicBezTo>
                  <a:pt x="6832" y="798"/>
                  <a:pt x="6832" y="798"/>
                  <a:pt x="6833" y="798"/>
                </a:cubicBezTo>
                <a:cubicBezTo>
                  <a:pt x="6834" y="798"/>
                  <a:pt x="6836" y="798"/>
                  <a:pt x="6837" y="797"/>
                </a:cubicBezTo>
                <a:cubicBezTo>
                  <a:pt x="6839" y="796"/>
                  <a:pt x="6840" y="795"/>
                  <a:pt x="6840" y="795"/>
                </a:cubicBezTo>
                <a:lnTo>
                  <a:pt x="6835" y="796"/>
                </a:lnTo>
                <a:cubicBezTo>
                  <a:pt x="6833" y="796"/>
                  <a:pt x="6832" y="795"/>
                  <a:pt x="6832" y="794"/>
                </a:cubicBezTo>
                <a:cubicBezTo>
                  <a:pt x="6832" y="793"/>
                  <a:pt x="6833" y="792"/>
                  <a:pt x="6834" y="792"/>
                </a:cubicBezTo>
                <a:cubicBezTo>
                  <a:pt x="6835" y="791"/>
                  <a:pt x="6835" y="791"/>
                  <a:pt x="6836" y="791"/>
                </a:cubicBezTo>
                <a:cubicBezTo>
                  <a:pt x="6836" y="791"/>
                  <a:pt x="6837" y="791"/>
                  <a:pt x="6838" y="792"/>
                </a:cubicBezTo>
                <a:cubicBezTo>
                  <a:pt x="6838" y="792"/>
                  <a:pt x="6839" y="792"/>
                  <a:pt x="6839" y="793"/>
                </a:cubicBezTo>
                <a:cubicBezTo>
                  <a:pt x="6840" y="794"/>
                  <a:pt x="6841" y="794"/>
                  <a:pt x="6841" y="794"/>
                </a:cubicBezTo>
                <a:cubicBezTo>
                  <a:pt x="6842" y="794"/>
                  <a:pt x="6843" y="792"/>
                  <a:pt x="6844" y="789"/>
                </a:cubicBezTo>
                <a:cubicBezTo>
                  <a:pt x="6845" y="786"/>
                  <a:pt x="6846" y="784"/>
                  <a:pt x="6847" y="784"/>
                </a:cubicBezTo>
                <a:cubicBezTo>
                  <a:pt x="6848" y="784"/>
                  <a:pt x="6849" y="784"/>
                  <a:pt x="6849" y="785"/>
                </a:cubicBezTo>
                <a:cubicBezTo>
                  <a:pt x="6851" y="787"/>
                  <a:pt x="6852" y="788"/>
                  <a:pt x="6853" y="788"/>
                </a:cubicBezTo>
                <a:cubicBezTo>
                  <a:pt x="6854" y="788"/>
                  <a:pt x="6855" y="786"/>
                  <a:pt x="6855" y="784"/>
                </a:cubicBezTo>
                <a:cubicBezTo>
                  <a:pt x="6855" y="782"/>
                  <a:pt x="6855" y="781"/>
                  <a:pt x="6856" y="781"/>
                </a:cubicBezTo>
                <a:cubicBezTo>
                  <a:pt x="6856" y="781"/>
                  <a:pt x="6856" y="782"/>
                  <a:pt x="6857" y="783"/>
                </a:cubicBezTo>
                <a:cubicBezTo>
                  <a:pt x="6857" y="784"/>
                  <a:pt x="6858" y="785"/>
                  <a:pt x="6859" y="785"/>
                </a:cubicBezTo>
                <a:cubicBezTo>
                  <a:pt x="6859" y="785"/>
                  <a:pt x="6860" y="784"/>
                  <a:pt x="6861" y="782"/>
                </a:cubicBezTo>
                <a:cubicBezTo>
                  <a:pt x="6861" y="780"/>
                  <a:pt x="6862" y="778"/>
                  <a:pt x="6862" y="778"/>
                </a:cubicBezTo>
                <a:cubicBezTo>
                  <a:pt x="6862" y="777"/>
                  <a:pt x="6861" y="777"/>
                  <a:pt x="6861" y="777"/>
                </a:cubicBezTo>
                <a:cubicBezTo>
                  <a:pt x="6861" y="777"/>
                  <a:pt x="6860" y="777"/>
                  <a:pt x="6859" y="778"/>
                </a:cubicBezTo>
                <a:cubicBezTo>
                  <a:pt x="6858" y="778"/>
                  <a:pt x="6858" y="779"/>
                  <a:pt x="6857" y="779"/>
                </a:cubicBezTo>
                <a:lnTo>
                  <a:pt x="6857" y="778"/>
                </a:lnTo>
                <a:cubicBezTo>
                  <a:pt x="6857" y="778"/>
                  <a:pt x="6858" y="777"/>
                  <a:pt x="6859" y="776"/>
                </a:cubicBezTo>
                <a:cubicBezTo>
                  <a:pt x="6860" y="774"/>
                  <a:pt x="6861" y="773"/>
                  <a:pt x="6861" y="772"/>
                </a:cubicBezTo>
                <a:cubicBezTo>
                  <a:pt x="6861" y="772"/>
                  <a:pt x="6860" y="771"/>
                  <a:pt x="6859" y="771"/>
                </a:cubicBezTo>
                <a:cubicBezTo>
                  <a:pt x="6858" y="771"/>
                  <a:pt x="6857" y="770"/>
                  <a:pt x="6857" y="770"/>
                </a:cubicBezTo>
                <a:cubicBezTo>
                  <a:pt x="6857" y="770"/>
                  <a:pt x="6858" y="769"/>
                  <a:pt x="6859" y="769"/>
                </a:cubicBezTo>
                <a:cubicBezTo>
                  <a:pt x="6859" y="768"/>
                  <a:pt x="6860" y="768"/>
                  <a:pt x="6860" y="768"/>
                </a:cubicBezTo>
                <a:cubicBezTo>
                  <a:pt x="6861" y="768"/>
                  <a:pt x="6862" y="768"/>
                  <a:pt x="6862" y="769"/>
                </a:cubicBezTo>
                <a:cubicBezTo>
                  <a:pt x="6862" y="770"/>
                  <a:pt x="6862" y="770"/>
                  <a:pt x="6862" y="771"/>
                </a:cubicBezTo>
                <a:cubicBezTo>
                  <a:pt x="6863" y="771"/>
                  <a:pt x="6863" y="772"/>
                  <a:pt x="6864" y="772"/>
                </a:cubicBezTo>
                <a:cubicBezTo>
                  <a:pt x="6864" y="772"/>
                  <a:pt x="6865" y="771"/>
                  <a:pt x="6865" y="770"/>
                </a:cubicBezTo>
                <a:lnTo>
                  <a:pt x="6864" y="768"/>
                </a:lnTo>
                <a:cubicBezTo>
                  <a:pt x="6864" y="766"/>
                  <a:pt x="6865" y="764"/>
                  <a:pt x="6866" y="764"/>
                </a:cubicBezTo>
                <a:cubicBezTo>
                  <a:pt x="6866" y="764"/>
                  <a:pt x="6867" y="763"/>
                  <a:pt x="6867" y="763"/>
                </a:cubicBezTo>
                <a:cubicBezTo>
                  <a:pt x="6867" y="763"/>
                  <a:pt x="6867" y="764"/>
                  <a:pt x="6867" y="765"/>
                </a:cubicBezTo>
                <a:lnTo>
                  <a:pt x="6867" y="772"/>
                </a:lnTo>
                <a:cubicBezTo>
                  <a:pt x="6867" y="773"/>
                  <a:pt x="6866" y="774"/>
                  <a:pt x="6866" y="775"/>
                </a:cubicBezTo>
                <a:cubicBezTo>
                  <a:pt x="6866" y="775"/>
                  <a:pt x="6866" y="776"/>
                  <a:pt x="6865" y="776"/>
                </a:cubicBezTo>
                <a:lnTo>
                  <a:pt x="6862" y="774"/>
                </a:lnTo>
                <a:cubicBezTo>
                  <a:pt x="6862" y="776"/>
                  <a:pt x="6863" y="777"/>
                  <a:pt x="6864" y="777"/>
                </a:cubicBezTo>
                <a:cubicBezTo>
                  <a:pt x="6867" y="777"/>
                  <a:pt x="6872" y="774"/>
                  <a:pt x="6879" y="769"/>
                </a:cubicBezTo>
                <a:cubicBezTo>
                  <a:pt x="6885" y="763"/>
                  <a:pt x="6897" y="752"/>
                  <a:pt x="6914" y="737"/>
                </a:cubicBezTo>
                <a:lnTo>
                  <a:pt x="6936" y="715"/>
                </a:lnTo>
                <a:cubicBezTo>
                  <a:pt x="6943" y="709"/>
                  <a:pt x="6946" y="705"/>
                  <a:pt x="6946" y="703"/>
                </a:cubicBezTo>
                <a:cubicBezTo>
                  <a:pt x="6946" y="702"/>
                  <a:pt x="6947" y="700"/>
                  <a:pt x="6949" y="699"/>
                </a:cubicBezTo>
                <a:cubicBezTo>
                  <a:pt x="6951" y="697"/>
                  <a:pt x="6952" y="696"/>
                  <a:pt x="6952" y="695"/>
                </a:cubicBezTo>
                <a:cubicBezTo>
                  <a:pt x="6952" y="694"/>
                  <a:pt x="6951" y="694"/>
                  <a:pt x="6951" y="693"/>
                </a:cubicBezTo>
                <a:cubicBezTo>
                  <a:pt x="6951" y="692"/>
                  <a:pt x="6950" y="691"/>
                  <a:pt x="6950" y="691"/>
                </a:cubicBezTo>
                <a:cubicBezTo>
                  <a:pt x="6950" y="689"/>
                  <a:pt x="6951" y="688"/>
                  <a:pt x="6952" y="687"/>
                </a:cubicBezTo>
                <a:cubicBezTo>
                  <a:pt x="6953" y="686"/>
                  <a:pt x="6954" y="685"/>
                  <a:pt x="6955" y="685"/>
                </a:cubicBezTo>
                <a:cubicBezTo>
                  <a:pt x="6956" y="685"/>
                  <a:pt x="6956" y="685"/>
                  <a:pt x="6957" y="686"/>
                </a:cubicBezTo>
                <a:cubicBezTo>
                  <a:pt x="6957" y="686"/>
                  <a:pt x="6958" y="686"/>
                  <a:pt x="6958" y="686"/>
                </a:cubicBezTo>
                <a:cubicBezTo>
                  <a:pt x="6960" y="686"/>
                  <a:pt x="6960" y="686"/>
                  <a:pt x="6961" y="685"/>
                </a:cubicBezTo>
                <a:cubicBezTo>
                  <a:pt x="6961" y="684"/>
                  <a:pt x="6961" y="684"/>
                  <a:pt x="6961" y="683"/>
                </a:cubicBezTo>
                <a:cubicBezTo>
                  <a:pt x="6961" y="682"/>
                  <a:pt x="6960" y="681"/>
                  <a:pt x="6958" y="681"/>
                </a:cubicBezTo>
                <a:cubicBezTo>
                  <a:pt x="6956" y="681"/>
                  <a:pt x="6953" y="683"/>
                  <a:pt x="6951" y="685"/>
                </a:cubicBezTo>
                <a:cubicBezTo>
                  <a:pt x="6949" y="687"/>
                  <a:pt x="6948" y="689"/>
                  <a:pt x="6948" y="691"/>
                </a:cubicBezTo>
                <a:cubicBezTo>
                  <a:pt x="6948" y="691"/>
                  <a:pt x="6948" y="692"/>
                  <a:pt x="6949" y="693"/>
                </a:cubicBezTo>
                <a:cubicBezTo>
                  <a:pt x="6950" y="694"/>
                  <a:pt x="6950" y="694"/>
                  <a:pt x="6950" y="695"/>
                </a:cubicBezTo>
                <a:cubicBezTo>
                  <a:pt x="6950" y="696"/>
                  <a:pt x="6949" y="697"/>
                  <a:pt x="6947" y="698"/>
                </a:cubicBezTo>
                <a:cubicBezTo>
                  <a:pt x="6945" y="698"/>
                  <a:pt x="6943" y="700"/>
                  <a:pt x="6941" y="701"/>
                </a:cubicBezTo>
                <a:cubicBezTo>
                  <a:pt x="6939" y="703"/>
                  <a:pt x="6937" y="705"/>
                  <a:pt x="6935" y="706"/>
                </a:cubicBezTo>
                <a:cubicBezTo>
                  <a:pt x="6933" y="708"/>
                  <a:pt x="6933" y="709"/>
                  <a:pt x="6933" y="710"/>
                </a:cubicBezTo>
                <a:lnTo>
                  <a:pt x="6933" y="711"/>
                </a:lnTo>
                <a:cubicBezTo>
                  <a:pt x="6933" y="712"/>
                  <a:pt x="6931" y="713"/>
                  <a:pt x="6929" y="714"/>
                </a:cubicBezTo>
                <a:cubicBezTo>
                  <a:pt x="6928" y="715"/>
                  <a:pt x="6926" y="716"/>
                  <a:pt x="6924" y="718"/>
                </a:cubicBezTo>
                <a:cubicBezTo>
                  <a:pt x="6922" y="720"/>
                  <a:pt x="6920" y="722"/>
                  <a:pt x="6918" y="724"/>
                </a:cubicBezTo>
                <a:cubicBezTo>
                  <a:pt x="6916" y="726"/>
                  <a:pt x="6915" y="727"/>
                  <a:pt x="6914" y="727"/>
                </a:cubicBezTo>
                <a:cubicBezTo>
                  <a:pt x="6914" y="727"/>
                  <a:pt x="6914" y="727"/>
                  <a:pt x="6914" y="727"/>
                </a:cubicBezTo>
                <a:cubicBezTo>
                  <a:pt x="6914" y="725"/>
                  <a:pt x="6918" y="720"/>
                  <a:pt x="6925" y="712"/>
                </a:cubicBezTo>
                <a:lnTo>
                  <a:pt x="6944" y="691"/>
                </a:lnTo>
                <a:cubicBezTo>
                  <a:pt x="6959" y="673"/>
                  <a:pt x="6967" y="663"/>
                  <a:pt x="6967" y="661"/>
                </a:cubicBezTo>
                <a:cubicBezTo>
                  <a:pt x="6967" y="660"/>
                  <a:pt x="6970" y="657"/>
                  <a:pt x="6975" y="653"/>
                </a:cubicBezTo>
                <a:cubicBezTo>
                  <a:pt x="6977" y="651"/>
                  <a:pt x="6979" y="650"/>
                  <a:pt x="6980" y="650"/>
                </a:cubicBezTo>
                <a:cubicBezTo>
                  <a:pt x="6980" y="650"/>
                  <a:pt x="6981" y="649"/>
                  <a:pt x="6981" y="649"/>
                </a:cubicBezTo>
                <a:lnTo>
                  <a:pt x="6980" y="646"/>
                </a:lnTo>
                <a:cubicBezTo>
                  <a:pt x="6980" y="643"/>
                  <a:pt x="6982" y="641"/>
                  <a:pt x="6986" y="640"/>
                </a:cubicBezTo>
                <a:cubicBezTo>
                  <a:pt x="6988" y="640"/>
                  <a:pt x="6989" y="639"/>
                  <a:pt x="6989" y="637"/>
                </a:cubicBezTo>
                <a:lnTo>
                  <a:pt x="6988" y="634"/>
                </a:lnTo>
                <a:cubicBezTo>
                  <a:pt x="6988" y="632"/>
                  <a:pt x="6989" y="632"/>
                  <a:pt x="6991" y="632"/>
                </a:cubicBezTo>
                <a:cubicBezTo>
                  <a:pt x="6993" y="632"/>
                  <a:pt x="6994" y="632"/>
                  <a:pt x="6994" y="632"/>
                </a:cubicBezTo>
                <a:cubicBezTo>
                  <a:pt x="6994" y="631"/>
                  <a:pt x="6993" y="630"/>
                  <a:pt x="6992" y="630"/>
                </a:cubicBezTo>
                <a:cubicBezTo>
                  <a:pt x="6991" y="629"/>
                  <a:pt x="6990" y="628"/>
                  <a:pt x="6990" y="628"/>
                </a:cubicBezTo>
                <a:cubicBezTo>
                  <a:pt x="6990" y="627"/>
                  <a:pt x="6991" y="626"/>
                  <a:pt x="6993" y="625"/>
                </a:cubicBezTo>
                <a:cubicBezTo>
                  <a:pt x="6995" y="625"/>
                  <a:pt x="6996" y="623"/>
                  <a:pt x="6996" y="621"/>
                </a:cubicBezTo>
                <a:cubicBezTo>
                  <a:pt x="6996" y="619"/>
                  <a:pt x="6998" y="617"/>
                  <a:pt x="7000" y="616"/>
                </a:cubicBezTo>
                <a:cubicBezTo>
                  <a:pt x="7002" y="615"/>
                  <a:pt x="7002" y="615"/>
                  <a:pt x="7002" y="614"/>
                </a:cubicBezTo>
                <a:cubicBezTo>
                  <a:pt x="7002" y="613"/>
                  <a:pt x="7002" y="613"/>
                  <a:pt x="7002" y="613"/>
                </a:cubicBezTo>
                <a:cubicBezTo>
                  <a:pt x="7002" y="613"/>
                  <a:pt x="7002" y="613"/>
                  <a:pt x="7002" y="613"/>
                </a:cubicBezTo>
                <a:cubicBezTo>
                  <a:pt x="7002" y="612"/>
                  <a:pt x="7003" y="611"/>
                  <a:pt x="7005" y="607"/>
                </a:cubicBezTo>
                <a:cubicBezTo>
                  <a:pt x="7008" y="605"/>
                  <a:pt x="7009" y="602"/>
                  <a:pt x="7009" y="599"/>
                </a:cubicBezTo>
                <a:lnTo>
                  <a:pt x="7008" y="595"/>
                </a:lnTo>
                <a:cubicBezTo>
                  <a:pt x="7008" y="595"/>
                  <a:pt x="7009" y="596"/>
                  <a:pt x="7010" y="598"/>
                </a:cubicBezTo>
                <a:cubicBezTo>
                  <a:pt x="7012" y="600"/>
                  <a:pt x="7013" y="602"/>
                  <a:pt x="7013" y="602"/>
                </a:cubicBezTo>
                <a:lnTo>
                  <a:pt x="7014" y="601"/>
                </a:lnTo>
                <a:cubicBezTo>
                  <a:pt x="7014" y="600"/>
                  <a:pt x="7013" y="599"/>
                  <a:pt x="7013" y="597"/>
                </a:cubicBezTo>
                <a:cubicBezTo>
                  <a:pt x="7013" y="595"/>
                  <a:pt x="7013" y="593"/>
                  <a:pt x="7013" y="592"/>
                </a:cubicBezTo>
                <a:cubicBezTo>
                  <a:pt x="7013" y="590"/>
                  <a:pt x="7013" y="590"/>
                  <a:pt x="7015" y="590"/>
                </a:cubicBezTo>
                <a:lnTo>
                  <a:pt x="7016" y="590"/>
                </a:lnTo>
                <a:cubicBezTo>
                  <a:pt x="7018" y="590"/>
                  <a:pt x="7018" y="589"/>
                  <a:pt x="7018" y="588"/>
                </a:cubicBezTo>
                <a:cubicBezTo>
                  <a:pt x="7018" y="583"/>
                  <a:pt x="7021" y="580"/>
                  <a:pt x="7027" y="578"/>
                </a:cubicBezTo>
                <a:lnTo>
                  <a:pt x="7031" y="577"/>
                </a:lnTo>
                <a:cubicBezTo>
                  <a:pt x="7031" y="577"/>
                  <a:pt x="7030" y="578"/>
                  <a:pt x="7028" y="579"/>
                </a:cubicBezTo>
                <a:cubicBezTo>
                  <a:pt x="7026" y="581"/>
                  <a:pt x="7025" y="582"/>
                  <a:pt x="7025" y="583"/>
                </a:cubicBezTo>
                <a:cubicBezTo>
                  <a:pt x="7025" y="584"/>
                  <a:pt x="7026" y="585"/>
                  <a:pt x="7027" y="585"/>
                </a:cubicBezTo>
                <a:cubicBezTo>
                  <a:pt x="7029" y="586"/>
                  <a:pt x="7030" y="587"/>
                  <a:pt x="7030" y="587"/>
                </a:cubicBezTo>
                <a:cubicBezTo>
                  <a:pt x="7031" y="587"/>
                  <a:pt x="7032" y="586"/>
                  <a:pt x="7033" y="584"/>
                </a:cubicBezTo>
                <a:cubicBezTo>
                  <a:pt x="7034" y="583"/>
                  <a:pt x="7034" y="581"/>
                  <a:pt x="7034" y="580"/>
                </a:cubicBezTo>
                <a:cubicBezTo>
                  <a:pt x="7034" y="578"/>
                  <a:pt x="7032" y="576"/>
                  <a:pt x="7027" y="574"/>
                </a:cubicBezTo>
                <a:cubicBezTo>
                  <a:pt x="7027" y="574"/>
                  <a:pt x="7027" y="573"/>
                  <a:pt x="7027" y="573"/>
                </a:cubicBezTo>
                <a:cubicBezTo>
                  <a:pt x="7027" y="572"/>
                  <a:pt x="7027" y="571"/>
                  <a:pt x="7028" y="570"/>
                </a:cubicBezTo>
                <a:cubicBezTo>
                  <a:pt x="7029" y="569"/>
                  <a:pt x="7030" y="568"/>
                  <a:pt x="7031" y="568"/>
                </a:cubicBezTo>
                <a:cubicBezTo>
                  <a:pt x="7031" y="568"/>
                  <a:pt x="7031" y="569"/>
                  <a:pt x="7031" y="571"/>
                </a:cubicBezTo>
                <a:cubicBezTo>
                  <a:pt x="7031" y="573"/>
                  <a:pt x="7033" y="575"/>
                  <a:pt x="7035" y="575"/>
                </a:cubicBezTo>
                <a:lnTo>
                  <a:pt x="7037" y="576"/>
                </a:lnTo>
                <a:lnTo>
                  <a:pt x="7037" y="575"/>
                </a:lnTo>
                <a:cubicBezTo>
                  <a:pt x="7037" y="575"/>
                  <a:pt x="7037" y="575"/>
                  <a:pt x="7037" y="574"/>
                </a:cubicBezTo>
                <a:cubicBezTo>
                  <a:pt x="7037" y="573"/>
                  <a:pt x="7037" y="571"/>
                  <a:pt x="7039" y="569"/>
                </a:cubicBezTo>
                <a:cubicBezTo>
                  <a:pt x="7040" y="568"/>
                  <a:pt x="7041" y="566"/>
                  <a:pt x="7041" y="566"/>
                </a:cubicBezTo>
                <a:cubicBezTo>
                  <a:pt x="7041" y="566"/>
                  <a:pt x="7041" y="565"/>
                  <a:pt x="7041" y="565"/>
                </a:cubicBezTo>
                <a:cubicBezTo>
                  <a:pt x="7041" y="565"/>
                  <a:pt x="7040" y="565"/>
                  <a:pt x="7040" y="565"/>
                </a:cubicBezTo>
                <a:cubicBezTo>
                  <a:pt x="7040" y="564"/>
                  <a:pt x="7041" y="563"/>
                  <a:pt x="7042" y="562"/>
                </a:cubicBezTo>
                <a:cubicBezTo>
                  <a:pt x="7043" y="560"/>
                  <a:pt x="7044" y="559"/>
                  <a:pt x="7044" y="558"/>
                </a:cubicBezTo>
                <a:cubicBezTo>
                  <a:pt x="7044" y="557"/>
                  <a:pt x="7043" y="557"/>
                  <a:pt x="7042" y="556"/>
                </a:cubicBezTo>
                <a:cubicBezTo>
                  <a:pt x="7041" y="556"/>
                  <a:pt x="7041" y="555"/>
                  <a:pt x="7041" y="555"/>
                </a:cubicBezTo>
                <a:cubicBezTo>
                  <a:pt x="7041" y="554"/>
                  <a:pt x="7042" y="553"/>
                  <a:pt x="7043" y="553"/>
                </a:cubicBezTo>
                <a:cubicBezTo>
                  <a:pt x="7045" y="553"/>
                  <a:pt x="7046" y="552"/>
                  <a:pt x="7046" y="552"/>
                </a:cubicBezTo>
                <a:lnTo>
                  <a:pt x="7043" y="552"/>
                </a:lnTo>
                <a:cubicBezTo>
                  <a:pt x="7041" y="552"/>
                  <a:pt x="7040" y="551"/>
                  <a:pt x="7040" y="549"/>
                </a:cubicBezTo>
                <a:cubicBezTo>
                  <a:pt x="7040" y="548"/>
                  <a:pt x="7040" y="548"/>
                  <a:pt x="7041" y="548"/>
                </a:cubicBezTo>
                <a:lnTo>
                  <a:pt x="7043" y="549"/>
                </a:lnTo>
                <a:cubicBezTo>
                  <a:pt x="7045" y="549"/>
                  <a:pt x="7047" y="548"/>
                  <a:pt x="7048" y="546"/>
                </a:cubicBezTo>
                <a:lnTo>
                  <a:pt x="7051" y="545"/>
                </a:lnTo>
                <a:cubicBezTo>
                  <a:pt x="7051" y="546"/>
                  <a:pt x="7050" y="547"/>
                  <a:pt x="7050" y="548"/>
                </a:cubicBezTo>
                <a:cubicBezTo>
                  <a:pt x="7049" y="549"/>
                  <a:pt x="7048" y="551"/>
                  <a:pt x="7048" y="555"/>
                </a:cubicBezTo>
                <a:cubicBezTo>
                  <a:pt x="7047" y="558"/>
                  <a:pt x="7046" y="561"/>
                  <a:pt x="7045" y="565"/>
                </a:cubicBezTo>
                <a:cubicBezTo>
                  <a:pt x="7041" y="580"/>
                  <a:pt x="7032" y="600"/>
                  <a:pt x="7019" y="622"/>
                </a:cubicBezTo>
                <a:cubicBezTo>
                  <a:pt x="7005" y="645"/>
                  <a:pt x="6991" y="666"/>
                  <a:pt x="6975" y="685"/>
                </a:cubicBezTo>
                <a:cubicBezTo>
                  <a:pt x="6962" y="699"/>
                  <a:pt x="6948" y="714"/>
                  <a:pt x="6933" y="729"/>
                </a:cubicBezTo>
                <a:cubicBezTo>
                  <a:pt x="6918" y="744"/>
                  <a:pt x="6904" y="756"/>
                  <a:pt x="6893" y="766"/>
                </a:cubicBezTo>
                <a:cubicBezTo>
                  <a:pt x="6880" y="777"/>
                  <a:pt x="6872" y="781"/>
                  <a:pt x="6869" y="781"/>
                </a:cubicBezTo>
                <a:lnTo>
                  <a:pt x="6868" y="781"/>
                </a:lnTo>
                <a:cubicBezTo>
                  <a:pt x="6867" y="781"/>
                  <a:pt x="6867" y="781"/>
                  <a:pt x="6866" y="782"/>
                </a:cubicBezTo>
                <a:cubicBezTo>
                  <a:pt x="6865" y="783"/>
                  <a:pt x="6857" y="788"/>
                  <a:pt x="6844" y="796"/>
                </a:cubicBezTo>
                <a:cubicBezTo>
                  <a:pt x="6829" y="804"/>
                  <a:pt x="6821" y="808"/>
                  <a:pt x="6819" y="808"/>
                </a:cubicBezTo>
                <a:cubicBezTo>
                  <a:pt x="6819" y="808"/>
                  <a:pt x="6819" y="808"/>
                  <a:pt x="6819" y="807"/>
                </a:cubicBezTo>
                <a:lnTo>
                  <a:pt x="6819" y="804"/>
                </a:lnTo>
                <a:cubicBezTo>
                  <a:pt x="6819" y="804"/>
                  <a:pt x="6819" y="805"/>
                  <a:pt x="6817" y="807"/>
                </a:cubicBezTo>
                <a:cubicBezTo>
                  <a:pt x="6816" y="808"/>
                  <a:pt x="6815" y="809"/>
                  <a:pt x="6814" y="809"/>
                </a:cubicBezTo>
                <a:cubicBezTo>
                  <a:pt x="6814" y="809"/>
                  <a:pt x="6814" y="808"/>
                  <a:pt x="6813" y="808"/>
                </a:cubicBezTo>
                <a:cubicBezTo>
                  <a:pt x="6813" y="807"/>
                  <a:pt x="6812" y="806"/>
                  <a:pt x="6811" y="806"/>
                </a:cubicBezTo>
                <a:cubicBezTo>
                  <a:pt x="6811" y="806"/>
                  <a:pt x="6810" y="807"/>
                  <a:pt x="6809" y="807"/>
                </a:cubicBezTo>
                <a:cubicBezTo>
                  <a:pt x="6809" y="808"/>
                  <a:pt x="6808" y="808"/>
                  <a:pt x="6808" y="809"/>
                </a:cubicBezTo>
                <a:cubicBezTo>
                  <a:pt x="6808" y="810"/>
                  <a:pt x="6809" y="810"/>
                  <a:pt x="6810" y="811"/>
                </a:cubicBezTo>
                <a:cubicBezTo>
                  <a:pt x="6811" y="812"/>
                  <a:pt x="6811" y="812"/>
                  <a:pt x="6811" y="812"/>
                </a:cubicBezTo>
                <a:cubicBezTo>
                  <a:pt x="6811" y="813"/>
                  <a:pt x="6811" y="813"/>
                  <a:pt x="6810" y="813"/>
                </a:cubicBezTo>
                <a:close/>
                <a:moveTo>
                  <a:pt x="6824" y="804"/>
                </a:moveTo>
                <a:cubicBezTo>
                  <a:pt x="6825" y="804"/>
                  <a:pt x="6827" y="803"/>
                  <a:pt x="6829" y="801"/>
                </a:cubicBezTo>
                <a:cubicBezTo>
                  <a:pt x="6830" y="801"/>
                  <a:pt x="6831" y="800"/>
                  <a:pt x="6831" y="800"/>
                </a:cubicBezTo>
                <a:lnTo>
                  <a:pt x="6830" y="800"/>
                </a:lnTo>
                <a:cubicBezTo>
                  <a:pt x="6825" y="800"/>
                  <a:pt x="6822" y="800"/>
                  <a:pt x="6822" y="802"/>
                </a:cubicBezTo>
                <a:cubicBezTo>
                  <a:pt x="6822" y="803"/>
                  <a:pt x="6823" y="804"/>
                  <a:pt x="6824" y="804"/>
                </a:cubicBezTo>
                <a:close/>
                <a:moveTo>
                  <a:pt x="6849" y="790"/>
                </a:moveTo>
                <a:cubicBezTo>
                  <a:pt x="6850" y="790"/>
                  <a:pt x="6851" y="790"/>
                  <a:pt x="6851" y="789"/>
                </a:cubicBezTo>
                <a:cubicBezTo>
                  <a:pt x="6851" y="789"/>
                  <a:pt x="6850" y="788"/>
                  <a:pt x="6850" y="787"/>
                </a:cubicBezTo>
                <a:cubicBezTo>
                  <a:pt x="6849" y="786"/>
                  <a:pt x="6848" y="786"/>
                  <a:pt x="6847" y="786"/>
                </a:cubicBezTo>
                <a:cubicBezTo>
                  <a:pt x="6847" y="786"/>
                  <a:pt x="6846" y="787"/>
                  <a:pt x="6846" y="788"/>
                </a:cubicBezTo>
                <a:cubicBezTo>
                  <a:pt x="6846" y="789"/>
                  <a:pt x="6847" y="790"/>
                  <a:pt x="6849" y="790"/>
                </a:cubicBezTo>
                <a:close/>
                <a:moveTo>
                  <a:pt x="6960" y="676"/>
                </a:moveTo>
                <a:cubicBezTo>
                  <a:pt x="6961" y="676"/>
                  <a:pt x="6962" y="674"/>
                  <a:pt x="6964" y="671"/>
                </a:cubicBezTo>
                <a:lnTo>
                  <a:pt x="6966" y="669"/>
                </a:lnTo>
                <a:lnTo>
                  <a:pt x="6966" y="668"/>
                </a:lnTo>
                <a:lnTo>
                  <a:pt x="6964" y="670"/>
                </a:lnTo>
                <a:cubicBezTo>
                  <a:pt x="6963" y="671"/>
                  <a:pt x="6962" y="672"/>
                  <a:pt x="6961" y="673"/>
                </a:cubicBezTo>
                <a:cubicBezTo>
                  <a:pt x="6960" y="674"/>
                  <a:pt x="6959" y="674"/>
                  <a:pt x="6959" y="674"/>
                </a:cubicBezTo>
                <a:cubicBezTo>
                  <a:pt x="6959" y="675"/>
                  <a:pt x="6960" y="676"/>
                  <a:pt x="6960" y="676"/>
                </a:cubicBezTo>
                <a:close/>
                <a:moveTo>
                  <a:pt x="6965" y="684"/>
                </a:moveTo>
                <a:cubicBezTo>
                  <a:pt x="6966" y="684"/>
                  <a:pt x="6967" y="683"/>
                  <a:pt x="6968" y="681"/>
                </a:cubicBezTo>
                <a:lnTo>
                  <a:pt x="6970" y="679"/>
                </a:lnTo>
                <a:cubicBezTo>
                  <a:pt x="6972" y="677"/>
                  <a:pt x="6973" y="676"/>
                  <a:pt x="6973" y="675"/>
                </a:cubicBezTo>
                <a:cubicBezTo>
                  <a:pt x="6973" y="674"/>
                  <a:pt x="6972" y="674"/>
                  <a:pt x="6971" y="674"/>
                </a:cubicBezTo>
                <a:cubicBezTo>
                  <a:pt x="6970" y="674"/>
                  <a:pt x="6968" y="674"/>
                  <a:pt x="6968" y="675"/>
                </a:cubicBezTo>
                <a:lnTo>
                  <a:pt x="6968" y="676"/>
                </a:lnTo>
                <a:cubicBezTo>
                  <a:pt x="6968" y="678"/>
                  <a:pt x="6968" y="679"/>
                  <a:pt x="6968" y="679"/>
                </a:cubicBezTo>
                <a:cubicBezTo>
                  <a:pt x="6967" y="679"/>
                  <a:pt x="6967" y="679"/>
                  <a:pt x="6966" y="677"/>
                </a:cubicBezTo>
                <a:cubicBezTo>
                  <a:pt x="6965" y="676"/>
                  <a:pt x="6965" y="676"/>
                  <a:pt x="6965" y="676"/>
                </a:cubicBezTo>
                <a:cubicBezTo>
                  <a:pt x="6964" y="676"/>
                  <a:pt x="6964" y="677"/>
                  <a:pt x="6964" y="679"/>
                </a:cubicBezTo>
                <a:lnTo>
                  <a:pt x="6964" y="681"/>
                </a:lnTo>
                <a:cubicBezTo>
                  <a:pt x="6964" y="683"/>
                  <a:pt x="6965" y="684"/>
                  <a:pt x="6965" y="684"/>
                </a:cubicBezTo>
                <a:close/>
                <a:moveTo>
                  <a:pt x="6971" y="671"/>
                </a:moveTo>
                <a:lnTo>
                  <a:pt x="6975" y="667"/>
                </a:lnTo>
                <a:cubicBezTo>
                  <a:pt x="6976" y="666"/>
                  <a:pt x="6976" y="665"/>
                  <a:pt x="6976" y="664"/>
                </a:cubicBezTo>
                <a:cubicBezTo>
                  <a:pt x="6976" y="664"/>
                  <a:pt x="6976" y="664"/>
                  <a:pt x="6975" y="664"/>
                </a:cubicBezTo>
                <a:cubicBezTo>
                  <a:pt x="6974" y="664"/>
                  <a:pt x="6973" y="665"/>
                  <a:pt x="6972" y="666"/>
                </a:cubicBezTo>
                <a:cubicBezTo>
                  <a:pt x="6971" y="669"/>
                  <a:pt x="6971" y="670"/>
                  <a:pt x="6971" y="670"/>
                </a:cubicBezTo>
                <a:lnTo>
                  <a:pt x="6971" y="671"/>
                </a:lnTo>
                <a:close/>
                <a:moveTo>
                  <a:pt x="6990" y="647"/>
                </a:moveTo>
                <a:cubicBezTo>
                  <a:pt x="6992" y="647"/>
                  <a:pt x="6995" y="646"/>
                  <a:pt x="6997" y="643"/>
                </a:cubicBezTo>
                <a:lnTo>
                  <a:pt x="6999" y="641"/>
                </a:lnTo>
                <a:cubicBezTo>
                  <a:pt x="6998" y="641"/>
                  <a:pt x="6997" y="642"/>
                  <a:pt x="6996" y="643"/>
                </a:cubicBezTo>
                <a:cubicBezTo>
                  <a:pt x="6995" y="644"/>
                  <a:pt x="6993" y="644"/>
                  <a:pt x="6992" y="644"/>
                </a:cubicBezTo>
                <a:lnTo>
                  <a:pt x="6991" y="644"/>
                </a:lnTo>
                <a:cubicBezTo>
                  <a:pt x="6991" y="644"/>
                  <a:pt x="6990" y="644"/>
                  <a:pt x="6990" y="644"/>
                </a:cubicBezTo>
                <a:cubicBezTo>
                  <a:pt x="6989" y="645"/>
                  <a:pt x="6989" y="645"/>
                  <a:pt x="6989" y="646"/>
                </a:cubicBezTo>
                <a:cubicBezTo>
                  <a:pt x="6989" y="647"/>
                  <a:pt x="6989" y="647"/>
                  <a:pt x="6990" y="647"/>
                </a:cubicBezTo>
                <a:close/>
                <a:moveTo>
                  <a:pt x="7004" y="632"/>
                </a:moveTo>
                <a:cubicBezTo>
                  <a:pt x="7005" y="632"/>
                  <a:pt x="7005" y="631"/>
                  <a:pt x="7006" y="630"/>
                </a:cubicBezTo>
                <a:lnTo>
                  <a:pt x="7006" y="630"/>
                </a:lnTo>
                <a:cubicBezTo>
                  <a:pt x="7006" y="629"/>
                  <a:pt x="7005" y="628"/>
                  <a:pt x="7004" y="628"/>
                </a:cubicBezTo>
                <a:cubicBezTo>
                  <a:pt x="7003" y="628"/>
                  <a:pt x="7002" y="629"/>
                  <a:pt x="7002" y="630"/>
                </a:cubicBezTo>
                <a:lnTo>
                  <a:pt x="7002" y="630"/>
                </a:lnTo>
                <a:cubicBezTo>
                  <a:pt x="7003" y="631"/>
                  <a:pt x="7003" y="632"/>
                  <a:pt x="7004" y="632"/>
                </a:cubicBezTo>
                <a:close/>
                <a:moveTo>
                  <a:pt x="7010" y="622"/>
                </a:moveTo>
                <a:cubicBezTo>
                  <a:pt x="7011" y="622"/>
                  <a:pt x="7013" y="620"/>
                  <a:pt x="7015" y="617"/>
                </a:cubicBezTo>
                <a:cubicBezTo>
                  <a:pt x="7017" y="614"/>
                  <a:pt x="7018" y="612"/>
                  <a:pt x="7018" y="611"/>
                </a:cubicBezTo>
                <a:lnTo>
                  <a:pt x="7018" y="608"/>
                </a:lnTo>
                <a:cubicBezTo>
                  <a:pt x="7018" y="607"/>
                  <a:pt x="7018" y="607"/>
                  <a:pt x="7017" y="607"/>
                </a:cubicBezTo>
                <a:cubicBezTo>
                  <a:pt x="7017" y="607"/>
                  <a:pt x="7017" y="607"/>
                  <a:pt x="7016" y="607"/>
                </a:cubicBezTo>
                <a:cubicBezTo>
                  <a:pt x="7016" y="607"/>
                  <a:pt x="7015" y="608"/>
                  <a:pt x="7015" y="609"/>
                </a:cubicBezTo>
                <a:lnTo>
                  <a:pt x="7015" y="610"/>
                </a:lnTo>
                <a:cubicBezTo>
                  <a:pt x="7015" y="611"/>
                  <a:pt x="7015" y="611"/>
                  <a:pt x="7014" y="611"/>
                </a:cubicBezTo>
                <a:cubicBezTo>
                  <a:pt x="7013" y="611"/>
                  <a:pt x="7012" y="612"/>
                  <a:pt x="7012" y="612"/>
                </a:cubicBezTo>
                <a:lnTo>
                  <a:pt x="7013" y="616"/>
                </a:lnTo>
                <a:cubicBezTo>
                  <a:pt x="7013" y="618"/>
                  <a:pt x="7012" y="619"/>
                  <a:pt x="7011" y="619"/>
                </a:cubicBezTo>
                <a:cubicBezTo>
                  <a:pt x="7010" y="619"/>
                  <a:pt x="7009" y="619"/>
                  <a:pt x="7007" y="617"/>
                </a:cubicBezTo>
                <a:lnTo>
                  <a:pt x="7005" y="616"/>
                </a:lnTo>
                <a:lnTo>
                  <a:pt x="7007" y="619"/>
                </a:lnTo>
                <a:cubicBezTo>
                  <a:pt x="7009" y="621"/>
                  <a:pt x="7010" y="622"/>
                  <a:pt x="7010" y="622"/>
                </a:cubicBezTo>
                <a:close/>
                <a:moveTo>
                  <a:pt x="7022" y="604"/>
                </a:moveTo>
                <a:cubicBezTo>
                  <a:pt x="7022" y="604"/>
                  <a:pt x="7023" y="603"/>
                  <a:pt x="7023" y="602"/>
                </a:cubicBezTo>
                <a:lnTo>
                  <a:pt x="7025" y="600"/>
                </a:lnTo>
                <a:lnTo>
                  <a:pt x="7024" y="600"/>
                </a:lnTo>
                <a:lnTo>
                  <a:pt x="7023" y="600"/>
                </a:lnTo>
                <a:cubicBezTo>
                  <a:pt x="7023" y="600"/>
                  <a:pt x="7023" y="601"/>
                  <a:pt x="7022" y="601"/>
                </a:cubicBezTo>
                <a:cubicBezTo>
                  <a:pt x="7021" y="601"/>
                  <a:pt x="7020" y="600"/>
                  <a:pt x="7018" y="599"/>
                </a:cubicBezTo>
                <a:cubicBezTo>
                  <a:pt x="7017" y="598"/>
                  <a:pt x="7016" y="597"/>
                  <a:pt x="7016" y="597"/>
                </a:cubicBezTo>
                <a:lnTo>
                  <a:pt x="7016" y="598"/>
                </a:lnTo>
                <a:lnTo>
                  <a:pt x="7018" y="601"/>
                </a:lnTo>
                <a:cubicBezTo>
                  <a:pt x="7019" y="603"/>
                  <a:pt x="7021" y="604"/>
                  <a:pt x="7022" y="604"/>
                </a:cubicBezTo>
                <a:close/>
                <a:moveTo>
                  <a:pt x="7025" y="597"/>
                </a:moveTo>
                <a:cubicBezTo>
                  <a:pt x="7026" y="597"/>
                  <a:pt x="7027" y="596"/>
                  <a:pt x="7027" y="595"/>
                </a:cubicBezTo>
                <a:cubicBezTo>
                  <a:pt x="7028" y="594"/>
                  <a:pt x="7028" y="594"/>
                  <a:pt x="7028" y="593"/>
                </a:cubicBezTo>
                <a:cubicBezTo>
                  <a:pt x="7028" y="592"/>
                  <a:pt x="7027" y="591"/>
                  <a:pt x="7026" y="590"/>
                </a:cubicBezTo>
                <a:lnTo>
                  <a:pt x="7023" y="587"/>
                </a:lnTo>
                <a:lnTo>
                  <a:pt x="7023" y="588"/>
                </a:lnTo>
                <a:cubicBezTo>
                  <a:pt x="7023" y="589"/>
                  <a:pt x="7022" y="590"/>
                  <a:pt x="7020" y="592"/>
                </a:cubicBezTo>
                <a:cubicBezTo>
                  <a:pt x="7018" y="593"/>
                  <a:pt x="7017" y="594"/>
                  <a:pt x="7017" y="595"/>
                </a:cubicBezTo>
                <a:lnTo>
                  <a:pt x="7020" y="594"/>
                </a:lnTo>
                <a:cubicBezTo>
                  <a:pt x="7022" y="594"/>
                  <a:pt x="7023" y="594"/>
                  <a:pt x="7023" y="595"/>
                </a:cubicBezTo>
                <a:cubicBezTo>
                  <a:pt x="7024" y="596"/>
                  <a:pt x="7024" y="597"/>
                  <a:pt x="7025" y="597"/>
                </a:cubicBezTo>
                <a:close/>
                <a:moveTo>
                  <a:pt x="6450" y="744"/>
                </a:moveTo>
                <a:lnTo>
                  <a:pt x="6450" y="744"/>
                </a:lnTo>
                <a:cubicBezTo>
                  <a:pt x="6449" y="744"/>
                  <a:pt x="6449" y="743"/>
                  <a:pt x="6449" y="741"/>
                </a:cubicBezTo>
                <a:cubicBezTo>
                  <a:pt x="6449" y="739"/>
                  <a:pt x="6450" y="738"/>
                  <a:pt x="6450" y="738"/>
                </a:cubicBezTo>
                <a:cubicBezTo>
                  <a:pt x="6450" y="738"/>
                  <a:pt x="6451" y="739"/>
                  <a:pt x="6451" y="742"/>
                </a:cubicBezTo>
                <a:lnTo>
                  <a:pt x="6450" y="744"/>
                </a:lnTo>
                <a:close/>
                <a:moveTo>
                  <a:pt x="6533" y="558"/>
                </a:moveTo>
                <a:cubicBezTo>
                  <a:pt x="6533" y="557"/>
                  <a:pt x="6535" y="555"/>
                  <a:pt x="6540" y="550"/>
                </a:cubicBezTo>
                <a:cubicBezTo>
                  <a:pt x="6551" y="538"/>
                  <a:pt x="6558" y="532"/>
                  <a:pt x="6559" y="532"/>
                </a:cubicBezTo>
                <a:cubicBezTo>
                  <a:pt x="6559" y="533"/>
                  <a:pt x="6558" y="535"/>
                  <a:pt x="6554" y="538"/>
                </a:cubicBezTo>
                <a:cubicBezTo>
                  <a:pt x="6541" y="551"/>
                  <a:pt x="6533" y="558"/>
                  <a:pt x="6533" y="558"/>
                </a:cubicBezTo>
                <a:close/>
                <a:moveTo>
                  <a:pt x="6637" y="541"/>
                </a:moveTo>
                <a:cubicBezTo>
                  <a:pt x="6635" y="541"/>
                  <a:pt x="6634" y="540"/>
                  <a:pt x="6634" y="537"/>
                </a:cubicBezTo>
                <a:lnTo>
                  <a:pt x="6634" y="536"/>
                </a:lnTo>
                <a:cubicBezTo>
                  <a:pt x="6634" y="535"/>
                  <a:pt x="6635" y="534"/>
                  <a:pt x="6636" y="534"/>
                </a:cubicBezTo>
                <a:cubicBezTo>
                  <a:pt x="6637" y="534"/>
                  <a:pt x="6637" y="534"/>
                  <a:pt x="6638" y="535"/>
                </a:cubicBezTo>
                <a:cubicBezTo>
                  <a:pt x="6639" y="535"/>
                  <a:pt x="6640" y="535"/>
                  <a:pt x="6640" y="535"/>
                </a:cubicBezTo>
                <a:cubicBezTo>
                  <a:pt x="6641" y="535"/>
                  <a:pt x="6642" y="535"/>
                  <a:pt x="6643" y="535"/>
                </a:cubicBezTo>
                <a:cubicBezTo>
                  <a:pt x="6644" y="535"/>
                  <a:pt x="6644" y="536"/>
                  <a:pt x="6644" y="538"/>
                </a:cubicBezTo>
                <a:cubicBezTo>
                  <a:pt x="6644" y="539"/>
                  <a:pt x="6644" y="539"/>
                  <a:pt x="6644" y="539"/>
                </a:cubicBezTo>
                <a:cubicBezTo>
                  <a:pt x="6643" y="539"/>
                  <a:pt x="6642" y="538"/>
                  <a:pt x="6641" y="537"/>
                </a:cubicBezTo>
                <a:lnTo>
                  <a:pt x="6638" y="535"/>
                </a:lnTo>
                <a:lnTo>
                  <a:pt x="6638" y="536"/>
                </a:lnTo>
                <a:lnTo>
                  <a:pt x="6638" y="539"/>
                </a:lnTo>
                <a:cubicBezTo>
                  <a:pt x="6638" y="541"/>
                  <a:pt x="6638" y="541"/>
                  <a:pt x="6637" y="541"/>
                </a:cubicBezTo>
                <a:close/>
                <a:moveTo>
                  <a:pt x="6638" y="521"/>
                </a:moveTo>
                <a:cubicBezTo>
                  <a:pt x="6637" y="521"/>
                  <a:pt x="6635" y="520"/>
                  <a:pt x="6633" y="518"/>
                </a:cubicBezTo>
                <a:cubicBezTo>
                  <a:pt x="6631" y="517"/>
                  <a:pt x="6630" y="516"/>
                  <a:pt x="6630" y="515"/>
                </a:cubicBezTo>
                <a:cubicBezTo>
                  <a:pt x="6630" y="515"/>
                  <a:pt x="6631" y="515"/>
                  <a:pt x="6631" y="515"/>
                </a:cubicBezTo>
                <a:cubicBezTo>
                  <a:pt x="6632" y="515"/>
                  <a:pt x="6634" y="516"/>
                  <a:pt x="6636" y="518"/>
                </a:cubicBezTo>
                <a:cubicBezTo>
                  <a:pt x="6637" y="520"/>
                  <a:pt x="6638" y="521"/>
                  <a:pt x="6638" y="521"/>
                </a:cubicBezTo>
                <a:close/>
                <a:moveTo>
                  <a:pt x="6629" y="524"/>
                </a:moveTo>
                <a:close/>
                <a:moveTo>
                  <a:pt x="6631" y="526"/>
                </a:moveTo>
                <a:cubicBezTo>
                  <a:pt x="6630" y="526"/>
                  <a:pt x="6629" y="525"/>
                  <a:pt x="6629" y="524"/>
                </a:cubicBezTo>
                <a:cubicBezTo>
                  <a:pt x="6629" y="523"/>
                  <a:pt x="6630" y="522"/>
                  <a:pt x="6630" y="522"/>
                </a:cubicBezTo>
                <a:lnTo>
                  <a:pt x="6631" y="523"/>
                </a:lnTo>
                <a:cubicBezTo>
                  <a:pt x="6633" y="524"/>
                  <a:pt x="6634" y="525"/>
                  <a:pt x="6634" y="525"/>
                </a:cubicBezTo>
                <a:cubicBezTo>
                  <a:pt x="6634" y="526"/>
                  <a:pt x="6633" y="526"/>
                  <a:pt x="6631" y="526"/>
                </a:cubicBezTo>
                <a:close/>
                <a:moveTo>
                  <a:pt x="6648" y="535"/>
                </a:moveTo>
                <a:cubicBezTo>
                  <a:pt x="6647" y="535"/>
                  <a:pt x="6646" y="534"/>
                  <a:pt x="6645" y="533"/>
                </a:cubicBezTo>
                <a:cubicBezTo>
                  <a:pt x="6645" y="532"/>
                  <a:pt x="6645" y="531"/>
                  <a:pt x="6645" y="530"/>
                </a:cubicBezTo>
                <a:lnTo>
                  <a:pt x="6645" y="529"/>
                </a:lnTo>
                <a:lnTo>
                  <a:pt x="6646" y="529"/>
                </a:lnTo>
                <a:cubicBezTo>
                  <a:pt x="6646" y="529"/>
                  <a:pt x="6646" y="530"/>
                  <a:pt x="6647" y="531"/>
                </a:cubicBezTo>
                <a:cubicBezTo>
                  <a:pt x="6648" y="533"/>
                  <a:pt x="6648" y="534"/>
                  <a:pt x="6648" y="535"/>
                </a:cubicBezTo>
                <a:close/>
                <a:moveTo>
                  <a:pt x="6569" y="528"/>
                </a:moveTo>
                <a:lnTo>
                  <a:pt x="6569" y="528"/>
                </a:lnTo>
                <a:lnTo>
                  <a:pt x="6571" y="526"/>
                </a:lnTo>
                <a:cubicBezTo>
                  <a:pt x="6573" y="524"/>
                  <a:pt x="6574" y="523"/>
                  <a:pt x="6574" y="522"/>
                </a:cubicBezTo>
                <a:lnTo>
                  <a:pt x="6573" y="520"/>
                </a:lnTo>
                <a:lnTo>
                  <a:pt x="6573" y="520"/>
                </a:lnTo>
                <a:lnTo>
                  <a:pt x="6576" y="521"/>
                </a:lnTo>
                <a:cubicBezTo>
                  <a:pt x="6578" y="522"/>
                  <a:pt x="6579" y="522"/>
                  <a:pt x="6579" y="522"/>
                </a:cubicBezTo>
                <a:cubicBezTo>
                  <a:pt x="6579" y="523"/>
                  <a:pt x="6577" y="524"/>
                  <a:pt x="6573" y="526"/>
                </a:cubicBezTo>
                <a:lnTo>
                  <a:pt x="6569" y="528"/>
                </a:lnTo>
                <a:close/>
                <a:moveTo>
                  <a:pt x="6478" y="785"/>
                </a:moveTo>
                <a:cubicBezTo>
                  <a:pt x="6477" y="785"/>
                  <a:pt x="6477" y="785"/>
                  <a:pt x="6477" y="785"/>
                </a:cubicBezTo>
                <a:cubicBezTo>
                  <a:pt x="6477" y="784"/>
                  <a:pt x="6478" y="784"/>
                  <a:pt x="6479" y="783"/>
                </a:cubicBezTo>
                <a:cubicBezTo>
                  <a:pt x="6480" y="782"/>
                  <a:pt x="6481" y="781"/>
                  <a:pt x="6482" y="781"/>
                </a:cubicBezTo>
                <a:lnTo>
                  <a:pt x="6483" y="782"/>
                </a:lnTo>
                <a:lnTo>
                  <a:pt x="6482" y="783"/>
                </a:lnTo>
                <a:cubicBezTo>
                  <a:pt x="6482" y="784"/>
                  <a:pt x="6480" y="785"/>
                  <a:pt x="6478" y="785"/>
                </a:cubicBezTo>
                <a:close/>
                <a:moveTo>
                  <a:pt x="6474" y="788"/>
                </a:moveTo>
                <a:lnTo>
                  <a:pt x="6473" y="788"/>
                </a:lnTo>
                <a:cubicBezTo>
                  <a:pt x="6471" y="788"/>
                  <a:pt x="6471" y="787"/>
                  <a:pt x="6470" y="785"/>
                </a:cubicBezTo>
                <a:cubicBezTo>
                  <a:pt x="6470" y="784"/>
                  <a:pt x="6471" y="784"/>
                  <a:pt x="6472" y="784"/>
                </a:cubicBezTo>
                <a:cubicBezTo>
                  <a:pt x="6472" y="784"/>
                  <a:pt x="6473" y="784"/>
                  <a:pt x="6473" y="784"/>
                </a:cubicBezTo>
                <a:cubicBezTo>
                  <a:pt x="6473" y="785"/>
                  <a:pt x="6474" y="785"/>
                  <a:pt x="6474" y="786"/>
                </a:cubicBezTo>
                <a:cubicBezTo>
                  <a:pt x="6475" y="786"/>
                  <a:pt x="6475" y="786"/>
                  <a:pt x="6475" y="787"/>
                </a:cubicBezTo>
                <a:cubicBezTo>
                  <a:pt x="6475" y="787"/>
                  <a:pt x="6475" y="787"/>
                  <a:pt x="6474" y="788"/>
                </a:cubicBezTo>
                <a:close/>
                <a:moveTo>
                  <a:pt x="6470" y="785"/>
                </a:moveTo>
                <a:close/>
                <a:moveTo>
                  <a:pt x="6460" y="792"/>
                </a:moveTo>
                <a:cubicBezTo>
                  <a:pt x="6459" y="792"/>
                  <a:pt x="6457" y="791"/>
                  <a:pt x="6455" y="791"/>
                </a:cubicBezTo>
                <a:cubicBezTo>
                  <a:pt x="6453" y="790"/>
                  <a:pt x="6451" y="788"/>
                  <a:pt x="6448" y="786"/>
                </a:cubicBezTo>
                <a:cubicBezTo>
                  <a:pt x="6446" y="783"/>
                  <a:pt x="6445" y="781"/>
                  <a:pt x="6445" y="780"/>
                </a:cubicBezTo>
                <a:cubicBezTo>
                  <a:pt x="6445" y="779"/>
                  <a:pt x="6445" y="779"/>
                  <a:pt x="6445" y="779"/>
                </a:cubicBezTo>
                <a:lnTo>
                  <a:pt x="6448" y="781"/>
                </a:lnTo>
                <a:cubicBezTo>
                  <a:pt x="6448" y="781"/>
                  <a:pt x="6449" y="780"/>
                  <a:pt x="6449" y="780"/>
                </a:cubicBezTo>
                <a:cubicBezTo>
                  <a:pt x="6449" y="779"/>
                  <a:pt x="6448" y="779"/>
                  <a:pt x="6447" y="778"/>
                </a:cubicBezTo>
                <a:cubicBezTo>
                  <a:pt x="6445" y="777"/>
                  <a:pt x="6443" y="776"/>
                  <a:pt x="6441" y="775"/>
                </a:cubicBezTo>
                <a:cubicBezTo>
                  <a:pt x="6439" y="774"/>
                  <a:pt x="6437" y="773"/>
                  <a:pt x="6434" y="771"/>
                </a:cubicBezTo>
                <a:cubicBezTo>
                  <a:pt x="6432" y="769"/>
                  <a:pt x="6430" y="767"/>
                  <a:pt x="6428" y="766"/>
                </a:cubicBezTo>
                <a:cubicBezTo>
                  <a:pt x="6426" y="764"/>
                  <a:pt x="6425" y="764"/>
                  <a:pt x="6425" y="763"/>
                </a:cubicBezTo>
                <a:lnTo>
                  <a:pt x="6426" y="762"/>
                </a:lnTo>
                <a:cubicBezTo>
                  <a:pt x="6426" y="762"/>
                  <a:pt x="6425" y="757"/>
                  <a:pt x="6422" y="751"/>
                </a:cubicBezTo>
                <a:cubicBezTo>
                  <a:pt x="6420" y="747"/>
                  <a:pt x="6419" y="743"/>
                  <a:pt x="6418" y="740"/>
                </a:cubicBezTo>
                <a:cubicBezTo>
                  <a:pt x="6418" y="737"/>
                  <a:pt x="6417" y="729"/>
                  <a:pt x="6417" y="718"/>
                </a:cubicBezTo>
                <a:cubicBezTo>
                  <a:pt x="6418" y="698"/>
                  <a:pt x="6420" y="687"/>
                  <a:pt x="6421" y="685"/>
                </a:cubicBezTo>
                <a:cubicBezTo>
                  <a:pt x="6421" y="684"/>
                  <a:pt x="6422" y="683"/>
                  <a:pt x="6422" y="681"/>
                </a:cubicBezTo>
                <a:cubicBezTo>
                  <a:pt x="6422" y="679"/>
                  <a:pt x="6422" y="676"/>
                  <a:pt x="6423" y="675"/>
                </a:cubicBezTo>
                <a:cubicBezTo>
                  <a:pt x="6424" y="673"/>
                  <a:pt x="6425" y="669"/>
                  <a:pt x="6426" y="664"/>
                </a:cubicBezTo>
                <a:cubicBezTo>
                  <a:pt x="6431" y="640"/>
                  <a:pt x="6442" y="612"/>
                  <a:pt x="6460" y="581"/>
                </a:cubicBezTo>
                <a:cubicBezTo>
                  <a:pt x="6478" y="550"/>
                  <a:pt x="6495" y="527"/>
                  <a:pt x="6511" y="514"/>
                </a:cubicBezTo>
                <a:cubicBezTo>
                  <a:pt x="6515" y="510"/>
                  <a:pt x="6517" y="509"/>
                  <a:pt x="6517" y="509"/>
                </a:cubicBezTo>
                <a:lnTo>
                  <a:pt x="6517" y="509"/>
                </a:lnTo>
                <a:cubicBezTo>
                  <a:pt x="6517" y="509"/>
                  <a:pt x="6516" y="512"/>
                  <a:pt x="6513" y="515"/>
                </a:cubicBezTo>
                <a:cubicBezTo>
                  <a:pt x="6510" y="519"/>
                  <a:pt x="6508" y="520"/>
                  <a:pt x="6508" y="521"/>
                </a:cubicBezTo>
                <a:cubicBezTo>
                  <a:pt x="6509" y="521"/>
                  <a:pt x="6512" y="518"/>
                  <a:pt x="6517" y="514"/>
                </a:cubicBezTo>
                <a:cubicBezTo>
                  <a:pt x="6524" y="508"/>
                  <a:pt x="6527" y="505"/>
                  <a:pt x="6527" y="504"/>
                </a:cubicBezTo>
                <a:lnTo>
                  <a:pt x="6521" y="508"/>
                </a:lnTo>
                <a:lnTo>
                  <a:pt x="6523" y="505"/>
                </a:lnTo>
                <a:cubicBezTo>
                  <a:pt x="6524" y="503"/>
                  <a:pt x="6526" y="501"/>
                  <a:pt x="6528" y="500"/>
                </a:cubicBezTo>
                <a:cubicBezTo>
                  <a:pt x="6530" y="498"/>
                  <a:pt x="6532" y="496"/>
                  <a:pt x="6535" y="495"/>
                </a:cubicBezTo>
                <a:cubicBezTo>
                  <a:pt x="6537" y="494"/>
                  <a:pt x="6538" y="493"/>
                  <a:pt x="6539" y="493"/>
                </a:cubicBezTo>
                <a:cubicBezTo>
                  <a:pt x="6539" y="493"/>
                  <a:pt x="6540" y="493"/>
                  <a:pt x="6540" y="494"/>
                </a:cubicBezTo>
                <a:lnTo>
                  <a:pt x="6539" y="495"/>
                </a:lnTo>
                <a:cubicBezTo>
                  <a:pt x="6539" y="496"/>
                  <a:pt x="6540" y="497"/>
                  <a:pt x="6541" y="497"/>
                </a:cubicBezTo>
                <a:cubicBezTo>
                  <a:pt x="6544" y="497"/>
                  <a:pt x="6549" y="496"/>
                  <a:pt x="6556" y="494"/>
                </a:cubicBezTo>
                <a:cubicBezTo>
                  <a:pt x="6562" y="492"/>
                  <a:pt x="6569" y="491"/>
                  <a:pt x="6574" y="491"/>
                </a:cubicBezTo>
                <a:cubicBezTo>
                  <a:pt x="6590" y="491"/>
                  <a:pt x="6604" y="499"/>
                  <a:pt x="6615" y="514"/>
                </a:cubicBezTo>
                <a:cubicBezTo>
                  <a:pt x="6617" y="516"/>
                  <a:pt x="6619" y="518"/>
                  <a:pt x="6621" y="520"/>
                </a:cubicBezTo>
                <a:lnTo>
                  <a:pt x="6625" y="522"/>
                </a:lnTo>
                <a:cubicBezTo>
                  <a:pt x="6626" y="522"/>
                  <a:pt x="6627" y="524"/>
                  <a:pt x="6627" y="526"/>
                </a:cubicBezTo>
                <a:cubicBezTo>
                  <a:pt x="6627" y="529"/>
                  <a:pt x="6628" y="530"/>
                  <a:pt x="6628" y="530"/>
                </a:cubicBezTo>
                <a:lnTo>
                  <a:pt x="6631" y="529"/>
                </a:lnTo>
                <a:cubicBezTo>
                  <a:pt x="6631" y="529"/>
                  <a:pt x="6631" y="530"/>
                  <a:pt x="6630" y="531"/>
                </a:cubicBezTo>
                <a:cubicBezTo>
                  <a:pt x="6629" y="532"/>
                  <a:pt x="6628" y="533"/>
                  <a:pt x="6628" y="534"/>
                </a:cubicBezTo>
                <a:cubicBezTo>
                  <a:pt x="6628" y="536"/>
                  <a:pt x="6629" y="539"/>
                  <a:pt x="6631" y="542"/>
                </a:cubicBezTo>
                <a:cubicBezTo>
                  <a:pt x="6632" y="545"/>
                  <a:pt x="6634" y="552"/>
                  <a:pt x="6636" y="561"/>
                </a:cubicBezTo>
                <a:cubicBezTo>
                  <a:pt x="6636" y="567"/>
                  <a:pt x="6637" y="570"/>
                  <a:pt x="6638" y="570"/>
                </a:cubicBezTo>
                <a:cubicBezTo>
                  <a:pt x="6638" y="570"/>
                  <a:pt x="6639" y="570"/>
                  <a:pt x="6639" y="568"/>
                </a:cubicBezTo>
                <a:cubicBezTo>
                  <a:pt x="6640" y="566"/>
                  <a:pt x="6641" y="564"/>
                  <a:pt x="6642" y="564"/>
                </a:cubicBezTo>
                <a:lnTo>
                  <a:pt x="6642" y="564"/>
                </a:lnTo>
                <a:cubicBezTo>
                  <a:pt x="6644" y="564"/>
                  <a:pt x="6644" y="563"/>
                  <a:pt x="6644" y="562"/>
                </a:cubicBezTo>
                <a:cubicBezTo>
                  <a:pt x="6644" y="560"/>
                  <a:pt x="6645" y="558"/>
                  <a:pt x="6647" y="558"/>
                </a:cubicBezTo>
                <a:cubicBezTo>
                  <a:pt x="6648" y="558"/>
                  <a:pt x="6649" y="557"/>
                  <a:pt x="6649" y="556"/>
                </a:cubicBezTo>
                <a:cubicBezTo>
                  <a:pt x="6649" y="555"/>
                  <a:pt x="6648" y="553"/>
                  <a:pt x="6647" y="551"/>
                </a:cubicBezTo>
                <a:cubicBezTo>
                  <a:pt x="6646" y="549"/>
                  <a:pt x="6646" y="547"/>
                  <a:pt x="6646" y="546"/>
                </a:cubicBezTo>
                <a:cubicBezTo>
                  <a:pt x="6646" y="545"/>
                  <a:pt x="6646" y="544"/>
                  <a:pt x="6647" y="544"/>
                </a:cubicBezTo>
                <a:cubicBezTo>
                  <a:pt x="6648" y="544"/>
                  <a:pt x="6649" y="546"/>
                  <a:pt x="6649" y="548"/>
                </a:cubicBezTo>
                <a:cubicBezTo>
                  <a:pt x="6649" y="551"/>
                  <a:pt x="6649" y="552"/>
                  <a:pt x="6650" y="552"/>
                </a:cubicBezTo>
                <a:cubicBezTo>
                  <a:pt x="6652" y="552"/>
                  <a:pt x="6656" y="548"/>
                  <a:pt x="6661" y="539"/>
                </a:cubicBezTo>
                <a:cubicBezTo>
                  <a:pt x="6665" y="533"/>
                  <a:pt x="6671" y="526"/>
                  <a:pt x="6677" y="517"/>
                </a:cubicBezTo>
                <a:cubicBezTo>
                  <a:pt x="6683" y="511"/>
                  <a:pt x="6686" y="507"/>
                  <a:pt x="6686" y="505"/>
                </a:cubicBezTo>
                <a:lnTo>
                  <a:pt x="6686" y="505"/>
                </a:lnTo>
                <a:cubicBezTo>
                  <a:pt x="6686" y="504"/>
                  <a:pt x="6687" y="502"/>
                  <a:pt x="6689" y="501"/>
                </a:cubicBezTo>
                <a:cubicBezTo>
                  <a:pt x="6695" y="496"/>
                  <a:pt x="6699" y="493"/>
                  <a:pt x="6701" y="493"/>
                </a:cubicBezTo>
                <a:lnTo>
                  <a:pt x="6703" y="494"/>
                </a:lnTo>
                <a:cubicBezTo>
                  <a:pt x="6703" y="494"/>
                  <a:pt x="6703" y="493"/>
                  <a:pt x="6703" y="492"/>
                </a:cubicBezTo>
                <a:cubicBezTo>
                  <a:pt x="6702" y="492"/>
                  <a:pt x="6702" y="492"/>
                  <a:pt x="6702" y="491"/>
                </a:cubicBezTo>
                <a:cubicBezTo>
                  <a:pt x="6701" y="490"/>
                  <a:pt x="6701" y="490"/>
                  <a:pt x="6701" y="489"/>
                </a:cubicBezTo>
                <a:cubicBezTo>
                  <a:pt x="6701" y="486"/>
                  <a:pt x="6704" y="483"/>
                  <a:pt x="6710" y="479"/>
                </a:cubicBezTo>
                <a:lnTo>
                  <a:pt x="6712" y="478"/>
                </a:lnTo>
                <a:cubicBezTo>
                  <a:pt x="6712" y="479"/>
                  <a:pt x="6711" y="480"/>
                  <a:pt x="6710" y="482"/>
                </a:cubicBezTo>
                <a:cubicBezTo>
                  <a:pt x="6708" y="484"/>
                  <a:pt x="6707" y="486"/>
                  <a:pt x="6707" y="488"/>
                </a:cubicBezTo>
                <a:cubicBezTo>
                  <a:pt x="6706" y="490"/>
                  <a:pt x="6704" y="494"/>
                  <a:pt x="6701" y="501"/>
                </a:cubicBezTo>
                <a:cubicBezTo>
                  <a:pt x="6699" y="507"/>
                  <a:pt x="6698" y="511"/>
                  <a:pt x="6698" y="514"/>
                </a:cubicBezTo>
                <a:lnTo>
                  <a:pt x="6698" y="517"/>
                </a:lnTo>
                <a:lnTo>
                  <a:pt x="6697" y="516"/>
                </a:lnTo>
                <a:cubicBezTo>
                  <a:pt x="6695" y="514"/>
                  <a:pt x="6693" y="513"/>
                  <a:pt x="6691" y="513"/>
                </a:cubicBezTo>
                <a:cubicBezTo>
                  <a:pt x="6689" y="513"/>
                  <a:pt x="6688" y="513"/>
                  <a:pt x="6688" y="514"/>
                </a:cubicBezTo>
                <a:lnTo>
                  <a:pt x="6689" y="514"/>
                </a:lnTo>
                <a:cubicBezTo>
                  <a:pt x="6690" y="515"/>
                  <a:pt x="6690" y="516"/>
                  <a:pt x="6691" y="517"/>
                </a:cubicBezTo>
                <a:cubicBezTo>
                  <a:pt x="6692" y="518"/>
                  <a:pt x="6692" y="519"/>
                  <a:pt x="6692" y="519"/>
                </a:cubicBezTo>
                <a:cubicBezTo>
                  <a:pt x="6692" y="521"/>
                  <a:pt x="6691" y="521"/>
                  <a:pt x="6690" y="522"/>
                </a:cubicBezTo>
                <a:cubicBezTo>
                  <a:pt x="6689" y="522"/>
                  <a:pt x="6688" y="522"/>
                  <a:pt x="6688" y="522"/>
                </a:cubicBezTo>
                <a:cubicBezTo>
                  <a:pt x="6688" y="523"/>
                  <a:pt x="6689" y="523"/>
                  <a:pt x="6690" y="524"/>
                </a:cubicBezTo>
                <a:cubicBezTo>
                  <a:pt x="6692" y="525"/>
                  <a:pt x="6692" y="526"/>
                  <a:pt x="6692" y="526"/>
                </a:cubicBezTo>
                <a:cubicBezTo>
                  <a:pt x="6692" y="526"/>
                  <a:pt x="6691" y="526"/>
                  <a:pt x="6689" y="526"/>
                </a:cubicBezTo>
                <a:cubicBezTo>
                  <a:pt x="6687" y="526"/>
                  <a:pt x="6686" y="528"/>
                  <a:pt x="6684" y="532"/>
                </a:cubicBezTo>
                <a:cubicBezTo>
                  <a:pt x="6683" y="537"/>
                  <a:pt x="6677" y="547"/>
                  <a:pt x="6668" y="563"/>
                </a:cubicBezTo>
                <a:cubicBezTo>
                  <a:pt x="6659" y="577"/>
                  <a:pt x="6653" y="585"/>
                  <a:pt x="6650" y="588"/>
                </a:cubicBezTo>
                <a:lnTo>
                  <a:pt x="6650" y="590"/>
                </a:lnTo>
                <a:cubicBezTo>
                  <a:pt x="6650" y="591"/>
                  <a:pt x="6650" y="592"/>
                  <a:pt x="6650" y="593"/>
                </a:cubicBezTo>
                <a:cubicBezTo>
                  <a:pt x="6650" y="594"/>
                  <a:pt x="6650" y="594"/>
                  <a:pt x="6650" y="595"/>
                </a:cubicBezTo>
                <a:lnTo>
                  <a:pt x="6647" y="593"/>
                </a:lnTo>
                <a:cubicBezTo>
                  <a:pt x="6647" y="593"/>
                  <a:pt x="6647" y="593"/>
                  <a:pt x="6647" y="593"/>
                </a:cubicBezTo>
                <a:cubicBezTo>
                  <a:pt x="6647" y="594"/>
                  <a:pt x="6647" y="595"/>
                  <a:pt x="6648" y="597"/>
                </a:cubicBezTo>
                <a:lnTo>
                  <a:pt x="6648" y="600"/>
                </a:lnTo>
                <a:cubicBezTo>
                  <a:pt x="6648" y="600"/>
                  <a:pt x="6648" y="599"/>
                  <a:pt x="6648" y="599"/>
                </a:cubicBezTo>
                <a:lnTo>
                  <a:pt x="6647" y="599"/>
                </a:lnTo>
                <a:cubicBezTo>
                  <a:pt x="6645" y="599"/>
                  <a:pt x="6641" y="603"/>
                  <a:pt x="6633" y="613"/>
                </a:cubicBezTo>
                <a:cubicBezTo>
                  <a:pt x="6633" y="614"/>
                  <a:pt x="6632" y="615"/>
                  <a:pt x="6632" y="616"/>
                </a:cubicBezTo>
                <a:cubicBezTo>
                  <a:pt x="6632" y="617"/>
                  <a:pt x="6633" y="617"/>
                  <a:pt x="6633" y="618"/>
                </a:cubicBezTo>
                <a:cubicBezTo>
                  <a:pt x="6633" y="619"/>
                  <a:pt x="6633" y="620"/>
                  <a:pt x="6633" y="620"/>
                </a:cubicBezTo>
                <a:lnTo>
                  <a:pt x="6631" y="619"/>
                </a:lnTo>
                <a:cubicBezTo>
                  <a:pt x="6630" y="619"/>
                  <a:pt x="6628" y="620"/>
                  <a:pt x="6626" y="623"/>
                </a:cubicBezTo>
                <a:lnTo>
                  <a:pt x="6624" y="627"/>
                </a:lnTo>
                <a:lnTo>
                  <a:pt x="6624" y="627"/>
                </a:lnTo>
                <a:cubicBezTo>
                  <a:pt x="6624" y="628"/>
                  <a:pt x="6623" y="630"/>
                  <a:pt x="6622" y="632"/>
                </a:cubicBezTo>
                <a:cubicBezTo>
                  <a:pt x="6621" y="634"/>
                  <a:pt x="6620" y="636"/>
                  <a:pt x="6620" y="637"/>
                </a:cubicBezTo>
                <a:cubicBezTo>
                  <a:pt x="6620" y="638"/>
                  <a:pt x="6621" y="639"/>
                  <a:pt x="6622" y="640"/>
                </a:cubicBezTo>
                <a:cubicBezTo>
                  <a:pt x="6624" y="641"/>
                  <a:pt x="6624" y="642"/>
                  <a:pt x="6624" y="642"/>
                </a:cubicBezTo>
                <a:cubicBezTo>
                  <a:pt x="6624" y="642"/>
                  <a:pt x="6624" y="643"/>
                  <a:pt x="6624" y="643"/>
                </a:cubicBezTo>
                <a:lnTo>
                  <a:pt x="6618" y="642"/>
                </a:lnTo>
                <a:lnTo>
                  <a:pt x="6618" y="644"/>
                </a:lnTo>
                <a:cubicBezTo>
                  <a:pt x="6618" y="645"/>
                  <a:pt x="6616" y="647"/>
                  <a:pt x="6614" y="651"/>
                </a:cubicBezTo>
                <a:cubicBezTo>
                  <a:pt x="6612" y="655"/>
                  <a:pt x="6611" y="657"/>
                  <a:pt x="6611" y="658"/>
                </a:cubicBezTo>
                <a:cubicBezTo>
                  <a:pt x="6611" y="660"/>
                  <a:pt x="6611" y="661"/>
                  <a:pt x="6613" y="661"/>
                </a:cubicBezTo>
                <a:cubicBezTo>
                  <a:pt x="6615" y="662"/>
                  <a:pt x="6616" y="663"/>
                  <a:pt x="6616" y="663"/>
                </a:cubicBezTo>
                <a:cubicBezTo>
                  <a:pt x="6616" y="664"/>
                  <a:pt x="6615" y="665"/>
                  <a:pt x="6613" y="665"/>
                </a:cubicBezTo>
                <a:cubicBezTo>
                  <a:pt x="6608" y="668"/>
                  <a:pt x="6604" y="671"/>
                  <a:pt x="6604" y="674"/>
                </a:cubicBezTo>
                <a:cubicBezTo>
                  <a:pt x="6603" y="675"/>
                  <a:pt x="6603" y="677"/>
                  <a:pt x="6601" y="680"/>
                </a:cubicBezTo>
                <a:cubicBezTo>
                  <a:pt x="6600" y="683"/>
                  <a:pt x="6599" y="686"/>
                  <a:pt x="6598" y="689"/>
                </a:cubicBezTo>
                <a:cubicBezTo>
                  <a:pt x="6596" y="692"/>
                  <a:pt x="6595" y="694"/>
                  <a:pt x="6594" y="694"/>
                </a:cubicBezTo>
                <a:cubicBezTo>
                  <a:pt x="6594" y="694"/>
                  <a:pt x="6593" y="693"/>
                  <a:pt x="6591" y="692"/>
                </a:cubicBezTo>
                <a:cubicBezTo>
                  <a:pt x="6590" y="691"/>
                  <a:pt x="6589" y="691"/>
                  <a:pt x="6589" y="690"/>
                </a:cubicBezTo>
                <a:cubicBezTo>
                  <a:pt x="6588" y="689"/>
                  <a:pt x="6587" y="688"/>
                  <a:pt x="6587" y="686"/>
                </a:cubicBezTo>
                <a:lnTo>
                  <a:pt x="6588" y="686"/>
                </a:lnTo>
                <a:lnTo>
                  <a:pt x="6587" y="686"/>
                </a:lnTo>
                <a:cubicBezTo>
                  <a:pt x="6587" y="686"/>
                  <a:pt x="6586" y="686"/>
                  <a:pt x="6584" y="688"/>
                </a:cubicBezTo>
                <a:cubicBezTo>
                  <a:pt x="6582" y="689"/>
                  <a:pt x="6581" y="690"/>
                  <a:pt x="6581" y="690"/>
                </a:cubicBezTo>
                <a:lnTo>
                  <a:pt x="6581" y="688"/>
                </a:lnTo>
                <a:cubicBezTo>
                  <a:pt x="6582" y="688"/>
                  <a:pt x="6583" y="687"/>
                  <a:pt x="6583" y="685"/>
                </a:cubicBezTo>
                <a:cubicBezTo>
                  <a:pt x="6583" y="684"/>
                  <a:pt x="6583" y="682"/>
                  <a:pt x="6583" y="681"/>
                </a:cubicBezTo>
                <a:cubicBezTo>
                  <a:pt x="6583" y="680"/>
                  <a:pt x="6583" y="679"/>
                  <a:pt x="6583" y="679"/>
                </a:cubicBezTo>
                <a:cubicBezTo>
                  <a:pt x="6582" y="679"/>
                  <a:pt x="6582" y="679"/>
                  <a:pt x="6581" y="679"/>
                </a:cubicBezTo>
                <a:cubicBezTo>
                  <a:pt x="6580" y="679"/>
                  <a:pt x="6580" y="680"/>
                  <a:pt x="6580" y="681"/>
                </a:cubicBezTo>
                <a:lnTo>
                  <a:pt x="6581" y="683"/>
                </a:lnTo>
                <a:cubicBezTo>
                  <a:pt x="6581" y="684"/>
                  <a:pt x="6579" y="686"/>
                  <a:pt x="6576" y="688"/>
                </a:cubicBezTo>
                <a:cubicBezTo>
                  <a:pt x="6573" y="692"/>
                  <a:pt x="6571" y="694"/>
                  <a:pt x="6571" y="695"/>
                </a:cubicBezTo>
                <a:cubicBezTo>
                  <a:pt x="6571" y="696"/>
                  <a:pt x="6570" y="697"/>
                  <a:pt x="6570" y="697"/>
                </a:cubicBezTo>
                <a:cubicBezTo>
                  <a:pt x="6569" y="698"/>
                  <a:pt x="6568" y="698"/>
                  <a:pt x="6568" y="698"/>
                </a:cubicBezTo>
                <a:cubicBezTo>
                  <a:pt x="6567" y="698"/>
                  <a:pt x="6566" y="698"/>
                  <a:pt x="6565" y="699"/>
                </a:cubicBezTo>
                <a:cubicBezTo>
                  <a:pt x="6561" y="702"/>
                  <a:pt x="6559" y="703"/>
                  <a:pt x="6559" y="705"/>
                </a:cubicBezTo>
                <a:cubicBezTo>
                  <a:pt x="6559" y="705"/>
                  <a:pt x="6560" y="705"/>
                  <a:pt x="6560" y="705"/>
                </a:cubicBezTo>
                <a:lnTo>
                  <a:pt x="6564" y="703"/>
                </a:lnTo>
                <a:cubicBezTo>
                  <a:pt x="6564" y="704"/>
                  <a:pt x="6563" y="706"/>
                  <a:pt x="6560" y="708"/>
                </a:cubicBezTo>
                <a:lnTo>
                  <a:pt x="6557" y="709"/>
                </a:lnTo>
                <a:lnTo>
                  <a:pt x="6557" y="708"/>
                </a:lnTo>
                <a:cubicBezTo>
                  <a:pt x="6556" y="708"/>
                  <a:pt x="6554" y="710"/>
                  <a:pt x="6552" y="712"/>
                </a:cubicBezTo>
                <a:cubicBezTo>
                  <a:pt x="6550" y="715"/>
                  <a:pt x="6549" y="716"/>
                  <a:pt x="6549" y="716"/>
                </a:cubicBezTo>
                <a:cubicBezTo>
                  <a:pt x="6549" y="716"/>
                  <a:pt x="6551" y="715"/>
                  <a:pt x="6552" y="714"/>
                </a:cubicBezTo>
                <a:cubicBezTo>
                  <a:pt x="6554" y="713"/>
                  <a:pt x="6555" y="712"/>
                  <a:pt x="6556" y="712"/>
                </a:cubicBezTo>
                <a:cubicBezTo>
                  <a:pt x="6556" y="712"/>
                  <a:pt x="6554" y="713"/>
                  <a:pt x="6552" y="716"/>
                </a:cubicBezTo>
                <a:cubicBezTo>
                  <a:pt x="6551" y="719"/>
                  <a:pt x="6549" y="720"/>
                  <a:pt x="6547" y="720"/>
                </a:cubicBezTo>
                <a:lnTo>
                  <a:pt x="6546" y="719"/>
                </a:lnTo>
                <a:lnTo>
                  <a:pt x="6545" y="719"/>
                </a:lnTo>
                <a:lnTo>
                  <a:pt x="6545" y="721"/>
                </a:lnTo>
                <a:cubicBezTo>
                  <a:pt x="6545" y="722"/>
                  <a:pt x="6544" y="723"/>
                  <a:pt x="6543" y="725"/>
                </a:cubicBezTo>
                <a:cubicBezTo>
                  <a:pt x="6542" y="727"/>
                  <a:pt x="6541" y="728"/>
                  <a:pt x="6540" y="730"/>
                </a:cubicBezTo>
                <a:cubicBezTo>
                  <a:pt x="6538" y="731"/>
                  <a:pt x="6537" y="732"/>
                  <a:pt x="6536" y="732"/>
                </a:cubicBezTo>
                <a:lnTo>
                  <a:pt x="6534" y="731"/>
                </a:lnTo>
                <a:lnTo>
                  <a:pt x="6535" y="732"/>
                </a:lnTo>
                <a:cubicBezTo>
                  <a:pt x="6535" y="732"/>
                  <a:pt x="6535" y="732"/>
                  <a:pt x="6535" y="732"/>
                </a:cubicBezTo>
                <a:cubicBezTo>
                  <a:pt x="6535" y="734"/>
                  <a:pt x="6531" y="738"/>
                  <a:pt x="6522" y="746"/>
                </a:cubicBezTo>
                <a:lnTo>
                  <a:pt x="6518" y="750"/>
                </a:lnTo>
                <a:cubicBezTo>
                  <a:pt x="6495" y="770"/>
                  <a:pt x="6475" y="781"/>
                  <a:pt x="6460" y="783"/>
                </a:cubicBezTo>
                <a:cubicBezTo>
                  <a:pt x="6459" y="783"/>
                  <a:pt x="6459" y="783"/>
                  <a:pt x="6459" y="784"/>
                </a:cubicBezTo>
                <a:cubicBezTo>
                  <a:pt x="6459" y="784"/>
                  <a:pt x="6459" y="784"/>
                  <a:pt x="6459" y="785"/>
                </a:cubicBezTo>
                <a:cubicBezTo>
                  <a:pt x="6459" y="785"/>
                  <a:pt x="6459" y="786"/>
                  <a:pt x="6460" y="786"/>
                </a:cubicBezTo>
                <a:cubicBezTo>
                  <a:pt x="6462" y="787"/>
                  <a:pt x="6463" y="788"/>
                  <a:pt x="6465" y="788"/>
                </a:cubicBezTo>
                <a:cubicBezTo>
                  <a:pt x="6467" y="788"/>
                  <a:pt x="6469" y="788"/>
                  <a:pt x="6469" y="788"/>
                </a:cubicBezTo>
                <a:cubicBezTo>
                  <a:pt x="6469" y="789"/>
                  <a:pt x="6467" y="789"/>
                  <a:pt x="6465" y="790"/>
                </a:cubicBezTo>
                <a:cubicBezTo>
                  <a:pt x="6463" y="791"/>
                  <a:pt x="6461" y="792"/>
                  <a:pt x="6460" y="792"/>
                </a:cubicBezTo>
                <a:close/>
                <a:moveTo>
                  <a:pt x="6457" y="764"/>
                </a:moveTo>
                <a:cubicBezTo>
                  <a:pt x="6459" y="764"/>
                  <a:pt x="6463" y="763"/>
                  <a:pt x="6469" y="760"/>
                </a:cubicBezTo>
                <a:cubicBezTo>
                  <a:pt x="6471" y="759"/>
                  <a:pt x="6473" y="757"/>
                  <a:pt x="6475" y="756"/>
                </a:cubicBezTo>
                <a:cubicBezTo>
                  <a:pt x="6477" y="754"/>
                  <a:pt x="6479" y="753"/>
                  <a:pt x="6479" y="752"/>
                </a:cubicBezTo>
                <a:cubicBezTo>
                  <a:pt x="6478" y="752"/>
                  <a:pt x="6475" y="753"/>
                  <a:pt x="6472" y="755"/>
                </a:cubicBezTo>
                <a:cubicBezTo>
                  <a:pt x="6470" y="757"/>
                  <a:pt x="6467" y="758"/>
                  <a:pt x="6465" y="759"/>
                </a:cubicBezTo>
                <a:cubicBezTo>
                  <a:pt x="6462" y="761"/>
                  <a:pt x="6460" y="762"/>
                  <a:pt x="6458" y="762"/>
                </a:cubicBezTo>
                <a:cubicBezTo>
                  <a:pt x="6456" y="763"/>
                  <a:pt x="6455" y="764"/>
                  <a:pt x="6455" y="764"/>
                </a:cubicBezTo>
                <a:lnTo>
                  <a:pt x="6457" y="764"/>
                </a:lnTo>
                <a:close/>
                <a:moveTo>
                  <a:pt x="6472" y="772"/>
                </a:moveTo>
                <a:cubicBezTo>
                  <a:pt x="6474" y="772"/>
                  <a:pt x="6476" y="770"/>
                  <a:pt x="6479" y="768"/>
                </a:cubicBezTo>
                <a:lnTo>
                  <a:pt x="6481" y="765"/>
                </a:lnTo>
                <a:lnTo>
                  <a:pt x="6477" y="767"/>
                </a:lnTo>
                <a:cubicBezTo>
                  <a:pt x="6473" y="769"/>
                  <a:pt x="6471" y="771"/>
                  <a:pt x="6471" y="771"/>
                </a:cubicBezTo>
                <a:cubicBezTo>
                  <a:pt x="6471" y="771"/>
                  <a:pt x="6471" y="772"/>
                  <a:pt x="6472" y="772"/>
                </a:cubicBezTo>
                <a:close/>
                <a:moveTo>
                  <a:pt x="6486" y="762"/>
                </a:moveTo>
                <a:cubicBezTo>
                  <a:pt x="6487" y="762"/>
                  <a:pt x="6487" y="762"/>
                  <a:pt x="6489" y="761"/>
                </a:cubicBezTo>
                <a:cubicBezTo>
                  <a:pt x="6490" y="760"/>
                  <a:pt x="6492" y="759"/>
                  <a:pt x="6493" y="757"/>
                </a:cubicBezTo>
                <a:cubicBezTo>
                  <a:pt x="6495" y="756"/>
                  <a:pt x="6496" y="755"/>
                  <a:pt x="6497" y="754"/>
                </a:cubicBezTo>
                <a:lnTo>
                  <a:pt x="6498" y="753"/>
                </a:lnTo>
                <a:lnTo>
                  <a:pt x="6497" y="753"/>
                </a:lnTo>
                <a:cubicBezTo>
                  <a:pt x="6497" y="753"/>
                  <a:pt x="6495" y="754"/>
                  <a:pt x="6493" y="755"/>
                </a:cubicBezTo>
                <a:cubicBezTo>
                  <a:pt x="6491" y="757"/>
                  <a:pt x="6489" y="758"/>
                  <a:pt x="6488" y="759"/>
                </a:cubicBezTo>
                <a:cubicBezTo>
                  <a:pt x="6487" y="761"/>
                  <a:pt x="6486" y="762"/>
                  <a:pt x="6486" y="762"/>
                </a:cubicBezTo>
                <a:close/>
                <a:moveTo>
                  <a:pt x="6502" y="750"/>
                </a:moveTo>
                <a:cubicBezTo>
                  <a:pt x="6503" y="750"/>
                  <a:pt x="6503" y="750"/>
                  <a:pt x="6504" y="750"/>
                </a:cubicBezTo>
                <a:cubicBezTo>
                  <a:pt x="6504" y="749"/>
                  <a:pt x="6505" y="749"/>
                  <a:pt x="6506" y="748"/>
                </a:cubicBezTo>
                <a:cubicBezTo>
                  <a:pt x="6508" y="747"/>
                  <a:pt x="6509" y="746"/>
                  <a:pt x="6509" y="744"/>
                </a:cubicBezTo>
                <a:lnTo>
                  <a:pt x="6511" y="740"/>
                </a:lnTo>
                <a:cubicBezTo>
                  <a:pt x="6511" y="740"/>
                  <a:pt x="6509" y="742"/>
                  <a:pt x="6505" y="745"/>
                </a:cubicBezTo>
                <a:cubicBezTo>
                  <a:pt x="6503" y="747"/>
                  <a:pt x="6502" y="749"/>
                  <a:pt x="6502" y="750"/>
                </a:cubicBezTo>
                <a:close/>
                <a:moveTo>
                  <a:pt x="6484" y="748"/>
                </a:moveTo>
                <a:cubicBezTo>
                  <a:pt x="6484" y="748"/>
                  <a:pt x="6485" y="748"/>
                  <a:pt x="6488" y="747"/>
                </a:cubicBezTo>
                <a:cubicBezTo>
                  <a:pt x="6490" y="745"/>
                  <a:pt x="6495" y="740"/>
                  <a:pt x="6504" y="732"/>
                </a:cubicBezTo>
                <a:lnTo>
                  <a:pt x="6514" y="722"/>
                </a:lnTo>
                <a:lnTo>
                  <a:pt x="6501" y="733"/>
                </a:lnTo>
                <a:cubicBezTo>
                  <a:pt x="6490" y="743"/>
                  <a:pt x="6484" y="748"/>
                  <a:pt x="6484" y="748"/>
                </a:cubicBezTo>
                <a:close/>
                <a:moveTo>
                  <a:pt x="6530" y="723"/>
                </a:moveTo>
                <a:cubicBezTo>
                  <a:pt x="6531" y="723"/>
                  <a:pt x="6532" y="722"/>
                  <a:pt x="6534" y="719"/>
                </a:cubicBezTo>
                <a:lnTo>
                  <a:pt x="6536" y="717"/>
                </a:lnTo>
                <a:lnTo>
                  <a:pt x="6536" y="716"/>
                </a:lnTo>
                <a:lnTo>
                  <a:pt x="6533" y="718"/>
                </a:lnTo>
                <a:cubicBezTo>
                  <a:pt x="6531" y="720"/>
                  <a:pt x="6529" y="722"/>
                  <a:pt x="6529" y="723"/>
                </a:cubicBezTo>
                <a:cubicBezTo>
                  <a:pt x="6529" y="723"/>
                  <a:pt x="6529" y="723"/>
                  <a:pt x="6530" y="723"/>
                </a:cubicBezTo>
                <a:close/>
                <a:moveTo>
                  <a:pt x="6538" y="714"/>
                </a:moveTo>
                <a:cubicBezTo>
                  <a:pt x="6539" y="714"/>
                  <a:pt x="6541" y="713"/>
                  <a:pt x="6543" y="710"/>
                </a:cubicBezTo>
                <a:cubicBezTo>
                  <a:pt x="6546" y="708"/>
                  <a:pt x="6547" y="706"/>
                  <a:pt x="6547" y="706"/>
                </a:cubicBezTo>
                <a:lnTo>
                  <a:pt x="6546" y="705"/>
                </a:lnTo>
                <a:cubicBezTo>
                  <a:pt x="6545" y="705"/>
                  <a:pt x="6544" y="707"/>
                  <a:pt x="6542" y="709"/>
                </a:cubicBezTo>
                <a:cubicBezTo>
                  <a:pt x="6539" y="712"/>
                  <a:pt x="6538" y="714"/>
                  <a:pt x="6538" y="714"/>
                </a:cubicBezTo>
                <a:close/>
                <a:moveTo>
                  <a:pt x="6549" y="703"/>
                </a:moveTo>
                <a:cubicBezTo>
                  <a:pt x="6550" y="703"/>
                  <a:pt x="6552" y="701"/>
                  <a:pt x="6554" y="698"/>
                </a:cubicBezTo>
                <a:cubicBezTo>
                  <a:pt x="6556" y="696"/>
                  <a:pt x="6557" y="694"/>
                  <a:pt x="6557" y="694"/>
                </a:cubicBezTo>
                <a:cubicBezTo>
                  <a:pt x="6556" y="694"/>
                  <a:pt x="6554" y="695"/>
                  <a:pt x="6552" y="698"/>
                </a:cubicBezTo>
                <a:cubicBezTo>
                  <a:pt x="6550" y="700"/>
                  <a:pt x="6549" y="702"/>
                  <a:pt x="6549" y="702"/>
                </a:cubicBezTo>
                <a:lnTo>
                  <a:pt x="6549" y="703"/>
                </a:lnTo>
                <a:close/>
                <a:moveTo>
                  <a:pt x="6576" y="652"/>
                </a:moveTo>
                <a:cubicBezTo>
                  <a:pt x="6576" y="652"/>
                  <a:pt x="6577" y="652"/>
                  <a:pt x="6578" y="650"/>
                </a:cubicBezTo>
                <a:lnTo>
                  <a:pt x="6579" y="649"/>
                </a:lnTo>
                <a:cubicBezTo>
                  <a:pt x="6579" y="648"/>
                  <a:pt x="6578" y="648"/>
                  <a:pt x="6577" y="648"/>
                </a:cubicBezTo>
                <a:cubicBezTo>
                  <a:pt x="6576" y="648"/>
                  <a:pt x="6575" y="649"/>
                  <a:pt x="6575" y="650"/>
                </a:cubicBezTo>
                <a:cubicBezTo>
                  <a:pt x="6575" y="652"/>
                  <a:pt x="6575" y="652"/>
                  <a:pt x="6576" y="652"/>
                </a:cubicBezTo>
                <a:close/>
                <a:moveTo>
                  <a:pt x="6591" y="682"/>
                </a:moveTo>
                <a:cubicBezTo>
                  <a:pt x="6591" y="682"/>
                  <a:pt x="6592" y="681"/>
                  <a:pt x="6593" y="679"/>
                </a:cubicBezTo>
                <a:lnTo>
                  <a:pt x="6593" y="677"/>
                </a:lnTo>
                <a:cubicBezTo>
                  <a:pt x="6593" y="677"/>
                  <a:pt x="6593" y="676"/>
                  <a:pt x="6593" y="676"/>
                </a:cubicBezTo>
                <a:cubicBezTo>
                  <a:pt x="6593" y="676"/>
                  <a:pt x="6592" y="676"/>
                  <a:pt x="6592" y="677"/>
                </a:cubicBezTo>
                <a:cubicBezTo>
                  <a:pt x="6591" y="677"/>
                  <a:pt x="6591" y="678"/>
                  <a:pt x="6591" y="678"/>
                </a:cubicBezTo>
                <a:cubicBezTo>
                  <a:pt x="6590" y="679"/>
                  <a:pt x="6590" y="679"/>
                  <a:pt x="6590" y="680"/>
                </a:cubicBezTo>
                <a:cubicBezTo>
                  <a:pt x="6590" y="681"/>
                  <a:pt x="6590" y="682"/>
                  <a:pt x="6591" y="682"/>
                </a:cubicBezTo>
                <a:close/>
                <a:moveTo>
                  <a:pt x="6530" y="505"/>
                </a:moveTo>
                <a:cubicBezTo>
                  <a:pt x="6531" y="505"/>
                  <a:pt x="6531" y="504"/>
                  <a:pt x="6532" y="502"/>
                </a:cubicBezTo>
                <a:cubicBezTo>
                  <a:pt x="6533" y="501"/>
                  <a:pt x="6534" y="500"/>
                  <a:pt x="6536" y="500"/>
                </a:cubicBezTo>
                <a:lnTo>
                  <a:pt x="6537" y="501"/>
                </a:lnTo>
                <a:cubicBezTo>
                  <a:pt x="6537" y="499"/>
                  <a:pt x="6537" y="498"/>
                  <a:pt x="6535" y="498"/>
                </a:cubicBezTo>
                <a:cubicBezTo>
                  <a:pt x="6534" y="498"/>
                  <a:pt x="6533" y="499"/>
                  <a:pt x="6532" y="500"/>
                </a:cubicBezTo>
                <a:cubicBezTo>
                  <a:pt x="6529" y="500"/>
                  <a:pt x="6528" y="502"/>
                  <a:pt x="6528" y="503"/>
                </a:cubicBezTo>
                <a:cubicBezTo>
                  <a:pt x="6529" y="504"/>
                  <a:pt x="6529" y="505"/>
                  <a:pt x="6530" y="505"/>
                </a:cubicBezTo>
                <a:close/>
                <a:moveTo>
                  <a:pt x="6449" y="758"/>
                </a:moveTo>
                <a:cubicBezTo>
                  <a:pt x="6452" y="758"/>
                  <a:pt x="6457" y="756"/>
                  <a:pt x="6464" y="752"/>
                </a:cubicBezTo>
                <a:cubicBezTo>
                  <a:pt x="6478" y="745"/>
                  <a:pt x="6497" y="730"/>
                  <a:pt x="6519" y="708"/>
                </a:cubicBezTo>
                <a:cubicBezTo>
                  <a:pt x="6524" y="703"/>
                  <a:pt x="6529" y="698"/>
                  <a:pt x="6533" y="695"/>
                </a:cubicBezTo>
                <a:lnTo>
                  <a:pt x="6541" y="691"/>
                </a:lnTo>
                <a:lnTo>
                  <a:pt x="6542" y="691"/>
                </a:lnTo>
                <a:lnTo>
                  <a:pt x="6541" y="689"/>
                </a:lnTo>
                <a:cubicBezTo>
                  <a:pt x="6541" y="688"/>
                  <a:pt x="6542" y="687"/>
                  <a:pt x="6544" y="683"/>
                </a:cubicBezTo>
                <a:cubicBezTo>
                  <a:pt x="6546" y="681"/>
                  <a:pt x="6549" y="677"/>
                  <a:pt x="6552" y="674"/>
                </a:cubicBezTo>
                <a:lnTo>
                  <a:pt x="6572" y="651"/>
                </a:lnTo>
                <a:cubicBezTo>
                  <a:pt x="6576" y="645"/>
                  <a:pt x="6579" y="643"/>
                  <a:pt x="6581" y="643"/>
                </a:cubicBezTo>
                <a:lnTo>
                  <a:pt x="6583" y="643"/>
                </a:lnTo>
                <a:cubicBezTo>
                  <a:pt x="6583" y="643"/>
                  <a:pt x="6583" y="643"/>
                  <a:pt x="6583" y="643"/>
                </a:cubicBezTo>
                <a:lnTo>
                  <a:pt x="6583" y="641"/>
                </a:lnTo>
                <a:cubicBezTo>
                  <a:pt x="6583" y="639"/>
                  <a:pt x="6585" y="636"/>
                  <a:pt x="6590" y="630"/>
                </a:cubicBezTo>
                <a:cubicBezTo>
                  <a:pt x="6593" y="627"/>
                  <a:pt x="6595" y="625"/>
                  <a:pt x="6595" y="625"/>
                </a:cubicBezTo>
                <a:lnTo>
                  <a:pt x="6593" y="630"/>
                </a:lnTo>
                <a:lnTo>
                  <a:pt x="6596" y="626"/>
                </a:lnTo>
                <a:cubicBezTo>
                  <a:pt x="6599" y="624"/>
                  <a:pt x="6600" y="622"/>
                  <a:pt x="6600" y="619"/>
                </a:cubicBezTo>
                <a:cubicBezTo>
                  <a:pt x="6600" y="617"/>
                  <a:pt x="6601" y="615"/>
                  <a:pt x="6603" y="615"/>
                </a:cubicBezTo>
                <a:cubicBezTo>
                  <a:pt x="6604" y="615"/>
                  <a:pt x="6605" y="615"/>
                  <a:pt x="6605" y="613"/>
                </a:cubicBezTo>
                <a:cubicBezTo>
                  <a:pt x="6605" y="612"/>
                  <a:pt x="6606" y="610"/>
                  <a:pt x="6607" y="606"/>
                </a:cubicBezTo>
                <a:cubicBezTo>
                  <a:pt x="6613" y="591"/>
                  <a:pt x="6616" y="573"/>
                  <a:pt x="6616" y="553"/>
                </a:cubicBezTo>
                <a:cubicBezTo>
                  <a:pt x="6616" y="544"/>
                  <a:pt x="6615" y="538"/>
                  <a:pt x="6613" y="533"/>
                </a:cubicBezTo>
                <a:cubicBezTo>
                  <a:pt x="6611" y="529"/>
                  <a:pt x="6609" y="525"/>
                  <a:pt x="6606" y="522"/>
                </a:cubicBezTo>
                <a:cubicBezTo>
                  <a:pt x="6603" y="520"/>
                  <a:pt x="6600" y="519"/>
                  <a:pt x="6598" y="519"/>
                </a:cubicBezTo>
                <a:cubicBezTo>
                  <a:pt x="6596" y="519"/>
                  <a:pt x="6596" y="519"/>
                  <a:pt x="6595" y="520"/>
                </a:cubicBezTo>
                <a:cubicBezTo>
                  <a:pt x="6594" y="520"/>
                  <a:pt x="6594" y="521"/>
                  <a:pt x="6593" y="521"/>
                </a:cubicBezTo>
                <a:cubicBezTo>
                  <a:pt x="6592" y="521"/>
                  <a:pt x="6592" y="520"/>
                  <a:pt x="6591" y="518"/>
                </a:cubicBezTo>
                <a:cubicBezTo>
                  <a:pt x="6590" y="516"/>
                  <a:pt x="6588" y="515"/>
                  <a:pt x="6585" y="515"/>
                </a:cubicBezTo>
                <a:cubicBezTo>
                  <a:pt x="6583" y="515"/>
                  <a:pt x="6582" y="516"/>
                  <a:pt x="6581" y="517"/>
                </a:cubicBezTo>
                <a:cubicBezTo>
                  <a:pt x="6580" y="518"/>
                  <a:pt x="6579" y="518"/>
                  <a:pt x="6577" y="518"/>
                </a:cubicBezTo>
                <a:lnTo>
                  <a:pt x="6576" y="518"/>
                </a:lnTo>
                <a:cubicBezTo>
                  <a:pt x="6575" y="518"/>
                  <a:pt x="6574" y="518"/>
                  <a:pt x="6573" y="519"/>
                </a:cubicBezTo>
                <a:cubicBezTo>
                  <a:pt x="6569" y="522"/>
                  <a:pt x="6567" y="523"/>
                  <a:pt x="6566" y="523"/>
                </a:cubicBezTo>
                <a:cubicBezTo>
                  <a:pt x="6566" y="523"/>
                  <a:pt x="6566" y="523"/>
                  <a:pt x="6566" y="523"/>
                </a:cubicBezTo>
                <a:cubicBezTo>
                  <a:pt x="6566" y="523"/>
                  <a:pt x="6564" y="524"/>
                  <a:pt x="6561" y="527"/>
                </a:cubicBezTo>
                <a:cubicBezTo>
                  <a:pt x="6559" y="529"/>
                  <a:pt x="6557" y="531"/>
                  <a:pt x="6555" y="531"/>
                </a:cubicBezTo>
                <a:cubicBezTo>
                  <a:pt x="6554" y="531"/>
                  <a:pt x="6549" y="534"/>
                  <a:pt x="6543" y="541"/>
                </a:cubicBezTo>
                <a:cubicBezTo>
                  <a:pt x="6527" y="556"/>
                  <a:pt x="6514" y="572"/>
                  <a:pt x="6504" y="586"/>
                </a:cubicBezTo>
                <a:cubicBezTo>
                  <a:pt x="6500" y="591"/>
                  <a:pt x="6496" y="598"/>
                  <a:pt x="6490" y="608"/>
                </a:cubicBezTo>
                <a:cubicBezTo>
                  <a:pt x="6475" y="635"/>
                  <a:pt x="6468" y="650"/>
                  <a:pt x="6468" y="653"/>
                </a:cubicBezTo>
                <a:cubicBezTo>
                  <a:pt x="6468" y="654"/>
                  <a:pt x="6467" y="655"/>
                  <a:pt x="6466" y="655"/>
                </a:cubicBezTo>
                <a:cubicBezTo>
                  <a:pt x="6465" y="655"/>
                  <a:pt x="6465" y="655"/>
                  <a:pt x="6465" y="656"/>
                </a:cubicBezTo>
                <a:lnTo>
                  <a:pt x="6465" y="657"/>
                </a:lnTo>
                <a:cubicBezTo>
                  <a:pt x="6465" y="658"/>
                  <a:pt x="6465" y="659"/>
                  <a:pt x="6464" y="660"/>
                </a:cubicBezTo>
                <a:cubicBezTo>
                  <a:pt x="6463" y="661"/>
                  <a:pt x="6462" y="663"/>
                  <a:pt x="6462" y="666"/>
                </a:cubicBezTo>
                <a:cubicBezTo>
                  <a:pt x="6462" y="669"/>
                  <a:pt x="6461" y="671"/>
                  <a:pt x="6460" y="671"/>
                </a:cubicBezTo>
                <a:cubicBezTo>
                  <a:pt x="6459" y="671"/>
                  <a:pt x="6459" y="671"/>
                  <a:pt x="6459" y="673"/>
                </a:cubicBezTo>
                <a:cubicBezTo>
                  <a:pt x="6457" y="677"/>
                  <a:pt x="6456" y="681"/>
                  <a:pt x="6455" y="683"/>
                </a:cubicBezTo>
                <a:cubicBezTo>
                  <a:pt x="6454" y="686"/>
                  <a:pt x="6454" y="688"/>
                  <a:pt x="6453" y="689"/>
                </a:cubicBezTo>
                <a:cubicBezTo>
                  <a:pt x="6452" y="691"/>
                  <a:pt x="6450" y="696"/>
                  <a:pt x="6449" y="703"/>
                </a:cubicBezTo>
                <a:cubicBezTo>
                  <a:pt x="6444" y="723"/>
                  <a:pt x="6442" y="736"/>
                  <a:pt x="6442" y="741"/>
                </a:cubicBezTo>
                <a:cubicBezTo>
                  <a:pt x="6442" y="752"/>
                  <a:pt x="6444" y="758"/>
                  <a:pt x="6448" y="758"/>
                </a:cubicBezTo>
                <a:lnTo>
                  <a:pt x="6449" y="758"/>
                </a:lnTo>
                <a:close/>
                <a:moveTo>
                  <a:pt x="6517" y="577"/>
                </a:moveTo>
                <a:lnTo>
                  <a:pt x="6516" y="576"/>
                </a:lnTo>
                <a:cubicBezTo>
                  <a:pt x="6516" y="576"/>
                  <a:pt x="6517" y="574"/>
                  <a:pt x="6520" y="572"/>
                </a:cubicBezTo>
                <a:cubicBezTo>
                  <a:pt x="6522" y="569"/>
                  <a:pt x="6524" y="568"/>
                  <a:pt x="6524" y="568"/>
                </a:cubicBezTo>
                <a:cubicBezTo>
                  <a:pt x="6524" y="568"/>
                  <a:pt x="6524" y="570"/>
                  <a:pt x="6522" y="572"/>
                </a:cubicBezTo>
                <a:cubicBezTo>
                  <a:pt x="6519" y="576"/>
                  <a:pt x="6518" y="577"/>
                  <a:pt x="6517" y="577"/>
                </a:cubicBezTo>
                <a:close/>
                <a:moveTo>
                  <a:pt x="6536" y="750"/>
                </a:moveTo>
                <a:lnTo>
                  <a:pt x="6536" y="750"/>
                </a:lnTo>
                <a:cubicBezTo>
                  <a:pt x="6536" y="748"/>
                  <a:pt x="6543" y="739"/>
                  <a:pt x="6559" y="723"/>
                </a:cubicBezTo>
                <a:cubicBezTo>
                  <a:pt x="6575" y="705"/>
                  <a:pt x="6584" y="696"/>
                  <a:pt x="6585" y="696"/>
                </a:cubicBezTo>
                <a:lnTo>
                  <a:pt x="6585" y="696"/>
                </a:lnTo>
                <a:cubicBezTo>
                  <a:pt x="6585" y="697"/>
                  <a:pt x="6583" y="700"/>
                  <a:pt x="6578" y="706"/>
                </a:cubicBezTo>
                <a:cubicBezTo>
                  <a:pt x="6573" y="712"/>
                  <a:pt x="6571" y="715"/>
                  <a:pt x="6571" y="717"/>
                </a:cubicBezTo>
                <a:cubicBezTo>
                  <a:pt x="6571" y="718"/>
                  <a:pt x="6570" y="718"/>
                  <a:pt x="6569" y="718"/>
                </a:cubicBezTo>
                <a:lnTo>
                  <a:pt x="6569" y="718"/>
                </a:lnTo>
                <a:cubicBezTo>
                  <a:pt x="6567" y="718"/>
                  <a:pt x="6565" y="720"/>
                  <a:pt x="6563" y="723"/>
                </a:cubicBezTo>
                <a:cubicBezTo>
                  <a:pt x="6560" y="725"/>
                  <a:pt x="6559" y="727"/>
                  <a:pt x="6559" y="728"/>
                </a:cubicBezTo>
                <a:lnTo>
                  <a:pt x="6559" y="728"/>
                </a:lnTo>
                <a:cubicBezTo>
                  <a:pt x="6559" y="729"/>
                  <a:pt x="6558" y="730"/>
                  <a:pt x="6556" y="732"/>
                </a:cubicBezTo>
                <a:cubicBezTo>
                  <a:pt x="6553" y="734"/>
                  <a:pt x="6552" y="736"/>
                  <a:pt x="6552" y="737"/>
                </a:cubicBezTo>
                <a:lnTo>
                  <a:pt x="6552" y="738"/>
                </a:lnTo>
                <a:cubicBezTo>
                  <a:pt x="6552" y="739"/>
                  <a:pt x="6551" y="740"/>
                  <a:pt x="6549" y="742"/>
                </a:cubicBezTo>
                <a:cubicBezTo>
                  <a:pt x="6547" y="745"/>
                  <a:pt x="6546" y="746"/>
                  <a:pt x="6545" y="746"/>
                </a:cubicBezTo>
                <a:cubicBezTo>
                  <a:pt x="6545" y="746"/>
                  <a:pt x="6545" y="745"/>
                  <a:pt x="6545" y="745"/>
                </a:cubicBezTo>
                <a:cubicBezTo>
                  <a:pt x="6545" y="745"/>
                  <a:pt x="6544" y="745"/>
                  <a:pt x="6544" y="745"/>
                </a:cubicBezTo>
                <a:cubicBezTo>
                  <a:pt x="6544" y="745"/>
                  <a:pt x="6542" y="746"/>
                  <a:pt x="6541" y="747"/>
                </a:cubicBezTo>
                <a:cubicBezTo>
                  <a:pt x="6539" y="749"/>
                  <a:pt x="6537" y="750"/>
                  <a:pt x="6536" y="750"/>
                </a:cubicBezTo>
                <a:close/>
                <a:moveTo>
                  <a:pt x="6545" y="743"/>
                </a:moveTo>
                <a:cubicBezTo>
                  <a:pt x="6546" y="743"/>
                  <a:pt x="6547" y="742"/>
                  <a:pt x="6548" y="742"/>
                </a:cubicBezTo>
                <a:cubicBezTo>
                  <a:pt x="6549" y="740"/>
                  <a:pt x="6550" y="739"/>
                  <a:pt x="6550" y="738"/>
                </a:cubicBezTo>
                <a:lnTo>
                  <a:pt x="6549" y="737"/>
                </a:lnTo>
                <a:cubicBezTo>
                  <a:pt x="6548" y="737"/>
                  <a:pt x="6547" y="738"/>
                  <a:pt x="6546" y="739"/>
                </a:cubicBezTo>
                <a:cubicBezTo>
                  <a:pt x="6545" y="740"/>
                  <a:pt x="6545" y="741"/>
                  <a:pt x="6545" y="742"/>
                </a:cubicBezTo>
                <a:cubicBezTo>
                  <a:pt x="6545" y="743"/>
                  <a:pt x="6545" y="743"/>
                  <a:pt x="6545" y="743"/>
                </a:cubicBezTo>
                <a:close/>
                <a:moveTo>
                  <a:pt x="6470" y="797"/>
                </a:moveTo>
                <a:cubicBezTo>
                  <a:pt x="6468" y="797"/>
                  <a:pt x="6466" y="796"/>
                  <a:pt x="6466" y="795"/>
                </a:cubicBezTo>
                <a:lnTo>
                  <a:pt x="6465" y="794"/>
                </a:lnTo>
                <a:cubicBezTo>
                  <a:pt x="6465" y="794"/>
                  <a:pt x="6466" y="794"/>
                  <a:pt x="6467" y="793"/>
                </a:cubicBezTo>
                <a:cubicBezTo>
                  <a:pt x="6468" y="792"/>
                  <a:pt x="6470" y="792"/>
                  <a:pt x="6472" y="792"/>
                </a:cubicBezTo>
                <a:cubicBezTo>
                  <a:pt x="6474" y="792"/>
                  <a:pt x="6475" y="792"/>
                  <a:pt x="6475" y="793"/>
                </a:cubicBezTo>
                <a:cubicBezTo>
                  <a:pt x="6475" y="794"/>
                  <a:pt x="6475" y="794"/>
                  <a:pt x="6476" y="794"/>
                </a:cubicBezTo>
                <a:lnTo>
                  <a:pt x="6477" y="792"/>
                </a:lnTo>
                <a:cubicBezTo>
                  <a:pt x="6478" y="791"/>
                  <a:pt x="6479" y="791"/>
                  <a:pt x="6480" y="791"/>
                </a:cubicBezTo>
                <a:lnTo>
                  <a:pt x="6482" y="791"/>
                </a:lnTo>
                <a:cubicBezTo>
                  <a:pt x="6483" y="791"/>
                  <a:pt x="6484" y="791"/>
                  <a:pt x="6484" y="789"/>
                </a:cubicBezTo>
                <a:cubicBezTo>
                  <a:pt x="6484" y="788"/>
                  <a:pt x="6485" y="787"/>
                  <a:pt x="6489" y="786"/>
                </a:cubicBezTo>
                <a:cubicBezTo>
                  <a:pt x="6492" y="784"/>
                  <a:pt x="6494" y="783"/>
                  <a:pt x="6494" y="781"/>
                </a:cubicBezTo>
                <a:lnTo>
                  <a:pt x="6493" y="779"/>
                </a:lnTo>
                <a:cubicBezTo>
                  <a:pt x="6493" y="779"/>
                  <a:pt x="6493" y="779"/>
                  <a:pt x="6493" y="779"/>
                </a:cubicBezTo>
                <a:cubicBezTo>
                  <a:pt x="6494" y="779"/>
                  <a:pt x="6495" y="780"/>
                  <a:pt x="6497" y="783"/>
                </a:cubicBezTo>
                <a:cubicBezTo>
                  <a:pt x="6497" y="784"/>
                  <a:pt x="6498" y="785"/>
                  <a:pt x="6498" y="786"/>
                </a:cubicBezTo>
                <a:cubicBezTo>
                  <a:pt x="6498" y="788"/>
                  <a:pt x="6496" y="789"/>
                  <a:pt x="6493" y="791"/>
                </a:cubicBezTo>
                <a:cubicBezTo>
                  <a:pt x="6489" y="793"/>
                  <a:pt x="6485" y="794"/>
                  <a:pt x="6481" y="795"/>
                </a:cubicBezTo>
                <a:cubicBezTo>
                  <a:pt x="6477" y="796"/>
                  <a:pt x="6473" y="797"/>
                  <a:pt x="6470" y="797"/>
                </a:cubicBezTo>
                <a:close/>
                <a:moveTo>
                  <a:pt x="6486" y="792"/>
                </a:moveTo>
                <a:lnTo>
                  <a:pt x="6490" y="790"/>
                </a:lnTo>
                <a:cubicBezTo>
                  <a:pt x="6495" y="787"/>
                  <a:pt x="6497" y="786"/>
                  <a:pt x="6497" y="785"/>
                </a:cubicBezTo>
                <a:lnTo>
                  <a:pt x="6497" y="785"/>
                </a:lnTo>
                <a:cubicBezTo>
                  <a:pt x="6495" y="785"/>
                  <a:pt x="6492" y="786"/>
                  <a:pt x="6489" y="789"/>
                </a:cubicBezTo>
                <a:cubicBezTo>
                  <a:pt x="6487" y="791"/>
                  <a:pt x="6486" y="791"/>
                  <a:pt x="6486" y="792"/>
                </a:cubicBezTo>
                <a:close/>
                <a:moveTo>
                  <a:pt x="6558" y="716"/>
                </a:moveTo>
                <a:lnTo>
                  <a:pt x="6557" y="716"/>
                </a:lnTo>
                <a:cubicBezTo>
                  <a:pt x="6557" y="715"/>
                  <a:pt x="6559" y="714"/>
                  <a:pt x="6561" y="711"/>
                </a:cubicBezTo>
                <a:cubicBezTo>
                  <a:pt x="6563" y="709"/>
                  <a:pt x="6565" y="707"/>
                  <a:pt x="6566" y="707"/>
                </a:cubicBezTo>
                <a:cubicBezTo>
                  <a:pt x="6566" y="708"/>
                  <a:pt x="6565" y="710"/>
                  <a:pt x="6563" y="712"/>
                </a:cubicBezTo>
                <a:cubicBezTo>
                  <a:pt x="6561" y="715"/>
                  <a:pt x="6559" y="716"/>
                  <a:pt x="6558" y="716"/>
                </a:cubicBezTo>
                <a:close/>
                <a:moveTo>
                  <a:pt x="6502" y="784"/>
                </a:moveTo>
                <a:lnTo>
                  <a:pt x="6503" y="782"/>
                </a:lnTo>
                <a:cubicBezTo>
                  <a:pt x="6504" y="780"/>
                  <a:pt x="6505" y="779"/>
                  <a:pt x="6505" y="779"/>
                </a:cubicBezTo>
                <a:lnTo>
                  <a:pt x="6505" y="779"/>
                </a:lnTo>
                <a:lnTo>
                  <a:pt x="6500" y="780"/>
                </a:lnTo>
                <a:lnTo>
                  <a:pt x="6500" y="780"/>
                </a:lnTo>
                <a:lnTo>
                  <a:pt x="6500" y="779"/>
                </a:lnTo>
                <a:cubicBezTo>
                  <a:pt x="6519" y="761"/>
                  <a:pt x="6529" y="752"/>
                  <a:pt x="6531" y="752"/>
                </a:cubicBezTo>
                <a:lnTo>
                  <a:pt x="6531" y="753"/>
                </a:lnTo>
                <a:cubicBezTo>
                  <a:pt x="6531" y="754"/>
                  <a:pt x="6531" y="756"/>
                  <a:pt x="6529" y="757"/>
                </a:cubicBezTo>
                <a:cubicBezTo>
                  <a:pt x="6528" y="757"/>
                  <a:pt x="6528" y="758"/>
                  <a:pt x="6528" y="759"/>
                </a:cubicBezTo>
                <a:lnTo>
                  <a:pt x="6528" y="760"/>
                </a:lnTo>
                <a:cubicBezTo>
                  <a:pt x="6528" y="762"/>
                  <a:pt x="6527" y="764"/>
                  <a:pt x="6524" y="767"/>
                </a:cubicBezTo>
                <a:cubicBezTo>
                  <a:pt x="6522" y="769"/>
                  <a:pt x="6520" y="770"/>
                  <a:pt x="6519" y="770"/>
                </a:cubicBezTo>
                <a:cubicBezTo>
                  <a:pt x="6519" y="770"/>
                  <a:pt x="6518" y="770"/>
                  <a:pt x="6518" y="769"/>
                </a:cubicBezTo>
                <a:cubicBezTo>
                  <a:pt x="6518" y="768"/>
                  <a:pt x="6518" y="767"/>
                  <a:pt x="6518" y="767"/>
                </a:cubicBezTo>
                <a:lnTo>
                  <a:pt x="6517" y="768"/>
                </a:lnTo>
                <a:cubicBezTo>
                  <a:pt x="6516" y="769"/>
                  <a:pt x="6515" y="771"/>
                  <a:pt x="6515" y="772"/>
                </a:cubicBezTo>
                <a:cubicBezTo>
                  <a:pt x="6515" y="773"/>
                  <a:pt x="6512" y="776"/>
                  <a:pt x="6508" y="781"/>
                </a:cubicBezTo>
                <a:cubicBezTo>
                  <a:pt x="6505" y="783"/>
                  <a:pt x="6503" y="784"/>
                  <a:pt x="6502" y="784"/>
                </a:cubicBezTo>
                <a:close/>
                <a:moveTo>
                  <a:pt x="6507" y="779"/>
                </a:moveTo>
                <a:cubicBezTo>
                  <a:pt x="6509" y="779"/>
                  <a:pt x="6511" y="777"/>
                  <a:pt x="6512" y="774"/>
                </a:cubicBezTo>
                <a:cubicBezTo>
                  <a:pt x="6513" y="773"/>
                  <a:pt x="6514" y="772"/>
                  <a:pt x="6514" y="772"/>
                </a:cubicBezTo>
                <a:lnTo>
                  <a:pt x="6514" y="772"/>
                </a:lnTo>
                <a:lnTo>
                  <a:pt x="6510" y="774"/>
                </a:lnTo>
                <a:cubicBezTo>
                  <a:pt x="6507" y="776"/>
                  <a:pt x="6505" y="777"/>
                  <a:pt x="6505" y="778"/>
                </a:cubicBezTo>
                <a:cubicBezTo>
                  <a:pt x="6505" y="778"/>
                  <a:pt x="6506" y="779"/>
                  <a:pt x="6507" y="779"/>
                </a:cubicBezTo>
                <a:close/>
                <a:moveTo>
                  <a:pt x="6520" y="767"/>
                </a:moveTo>
                <a:cubicBezTo>
                  <a:pt x="6522" y="767"/>
                  <a:pt x="6523" y="766"/>
                  <a:pt x="6525" y="763"/>
                </a:cubicBezTo>
                <a:lnTo>
                  <a:pt x="6527" y="761"/>
                </a:lnTo>
                <a:lnTo>
                  <a:pt x="6527" y="760"/>
                </a:lnTo>
                <a:cubicBezTo>
                  <a:pt x="6527" y="760"/>
                  <a:pt x="6525" y="761"/>
                  <a:pt x="6522" y="762"/>
                </a:cubicBezTo>
                <a:cubicBezTo>
                  <a:pt x="6520" y="764"/>
                  <a:pt x="6518" y="765"/>
                  <a:pt x="6518" y="767"/>
                </a:cubicBezTo>
                <a:cubicBezTo>
                  <a:pt x="6518" y="767"/>
                  <a:pt x="6519" y="767"/>
                  <a:pt x="6520" y="767"/>
                </a:cubicBezTo>
                <a:close/>
                <a:moveTo>
                  <a:pt x="6728" y="469"/>
                </a:moveTo>
                <a:lnTo>
                  <a:pt x="6728" y="468"/>
                </a:lnTo>
                <a:cubicBezTo>
                  <a:pt x="6728" y="467"/>
                  <a:pt x="6730" y="464"/>
                  <a:pt x="6733" y="460"/>
                </a:cubicBezTo>
                <a:cubicBezTo>
                  <a:pt x="6737" y="454"/>
                  <a:pt x="6739" y="451"/>
                  <a:pt x="6739" y="451"/>
                </a:cubicBezTo>
                <a:cubicBezTo>
                  <a:pt x="6739" y="452"/>
                  <a:pt x="6738" y="455"/>
                  <a:pt x="6735" y="460"/>
                </a:cubicBezTo>
                <a:cubicBezTo>
                  <a:pt x="6732" y="466"/>
                  <a:pt x="6729" y="469"/>
                  <a:pt x="6728" y="469"/>
                </a:cubicBezTo>
                <a:close/>
                <a:moveTo>
                  <a:pt x="6730" y="551"/>
                </a:moveTo>
                <a:lnTo>
                  <a:pt x="6730" y="551"/>
                </a:lnTo>
                <a:cubicBezTo>
                  <a:pt x="6730" y="551"/>
                  <a:pt x="6730" y="551"/>
                  <a:pt x="6730" y="550"/>
                </a:cubicBezTo>
                <a:lnTo>
                  <a:pt x="6730" y="548"/>
                </a:lnTo>
                <a:cubicBezTo>
                  <a:pt x="6730" y="546"/>
                  <a:pt x="6730" y="546"/>
                  <a:pt x="6730" y="546"/>
                </a:cubicBezTo>
                <a:lnTo>
                  <a:pt x="6730" y="546"/>
                </a:lnTo>
                <a:cubicBezTo>
                  <a:pt x="6731" y="547"/>
                  <a:pt x="6731" y="548"/>
                  <a:pt x="6731" y="549"/>
                </a:cubicBezTo>
                <a:cubicBezTo>
                  <a:pt x="6731" y="549"/>
                  <a:pt x="6731" y="550"/>
                  <a:pt x="6730" y="551"/>
                </a:cubicBezTo>
                <a:close/>
                <a:moveTo>
                  <a:pt x="6613" y="679"/>
                </a:moveTo>
                <a:cubicBezTo>
                  <a:pt x="6612" y="679"/>
                  <a:pt x="6611" y="679"/>
                  <a:pt x="6611" y="678"/>
                </a:cubicBezTo>
                <a:cubicBezTo>
                  <a:pt x="6611" y="677"/>
                  <a:pt x="6611" y="676"/>
                  <a:pt x="6612" y="674"/>
                </a:cubicBezTo>
                <a:cubicBezTo>
                  <a:pt x="6614" y="671"/>
                  <a:pt x="6615" y="669"/>
                  <a:pt x="6616" y="669"/>
                </a:cubicBezTo>
                <a:cubicBezTo>
                  <a:pt x="6616" y="669"/>
                  <a:pt x="6616" y="670"/>
                  <a:pt x="6617" y="671"/>
                </a:cubicBezTo>
                <a:cubicBezTo>
                  <a:pt x="6617" y="673"/>
                  <a:pt x="6618" y="674"/>
                  <a:pt x="6618" y="674"/>
                </a:cubicBezTo>
                <a:cubicBezTo>
                  <a:pt x="6618" y="674"/>
                  <a:pt x="6617" y="674"/>
                  <a:pt x="6617" y="674"/>
                </a:cubicBezTo>
                <a:lnTo>
                  <a:pt x="6614" y="674"/>
                </a:lnTo>
                <a:cubicBezTo>
                  <a:pt x="6614" y="674"/>
                  <a:pt x="6614" y="674"/>
                  <a:pt x="6614" y="674"/>
                </a:cubicBezTo>
                <a:lnTo>
                  <a:pt x="6614" y="677"/>
                </a:lnTo>
                <a:cubicBezTo>
                  <a:pt x="6614" y="679"/>
                  <a:pt x="6614" y="679"/>
                  <a:pt x="6613" y="679"/>
                </a:cubicBezTo>
                <a:close/>
                <a:moveTo>
                  <a:pt x="6726" y="562"/>
                </a:moveTo>
                <a:lnTo>
                  <a:pt x="6726" y="561"/>
                </a:lnTo>
                <a:lnTo>
                  <a:pt x="6726" y="558"/>
                </a:lnTo>
                <a:cubicBezTo>
                  <a:pt x="6727" y="556"/>
                  <a:pt x="6727" y="555"/>
                  <a:pt x="6728" y="555"/>
                </a:cubicBezTo>
                <a:cubicBezTo>
                  <a:pt x="6728" y="555"/>
                  <a:pt x="6728" y="556"/>
                  <a:pt x="6728" y="557"/>
                </a:cubicBezTo>
                <a:cubicBezTo>
                  <a:pt x="6728" y="558"/>
                  <a:pt x="6728" y="560"/>
                  <a:pt x="6728" y="561"/>
                </a:cubicBezTo>
                <a:cubicBezTo>
                  <a:pt x="6727" y="562"/>
                  <a:pt x="6727" y="562"/>
                  <a:pt x="6726" y="562"/>
                </a:cubicBezTo>
                <a:close/>
                <a:moveTo>
                  <a:pt x="6732" y="542"/>
                </a:moveTo>
                <a:cubicBezTo>
                  <a:pt x="6732" y="542"/>
                  <a:pt x="6732" y="541"/>
                  <a:pt x="6732" y="539"/>
                </a:cubicBezTo>
                <a:cubicBezTo>
                  <a:pt x="6732" y="537"/>
                  <a:pt x="6732" y="536"/>
                  <a:pt x="6732" y="536"/>
                </a:cubicBezTo>
                <a:cubicBezTo>
                  <a:pt x="6733" y="536"/>
                  <a:pt x="6733" y="538"/>
                  <a:pt x="6733" y="540"/>
                </a:cubicBezTo>
                <a:cubicBezTo>
                  <a:pt x="6733" y="541"/>
                  <a:pt x="6733" y="542"/>
                  <a:pt x="6732" y="542"/>
                </a:cubicBezTo>
                <a:close/>
                <a:moveTo>
                  <a:pt x="6710" y="525"/>
                </a:moveTo>
                <a:lnTo>
                  <a:pt x="6710" y="525"/>
                </a:lnTo>
                <a:cubicBezTo>
                  <a:pt x="6710" y="523"/>
                  <a:pt x="6712" y="520"/>
                  <a:pt x="6715" y="514"/>
                </a:cubicBezTo>
                <a:cubicBezTo>
                  <a:pt x="6723" y="503"/>
                  <a:pt x="6727" y="497"/>
                  <a:pt x="6728" y="497"/>
                </a:cubicBezTo>
                <a:lnTo>
                  <a:pt x="6725" y="502"/>
                </a:lnTo>
                <a:cubicBezTo>
                  <a:pt x="6722" y="507"/>
                  <a:pt x="6720" y="511"/>
                  <a:pt x="6720" y="512"/>
                </a:cubicBezTo>
                <a:cubicBezTo>
                  <a:pt x="6720" y="514"/>
                  <a:pt x="6720" y="515"/>
                  <a:pt x="6719" y="515"/>
                </a:cubicBezTo>
                <a:cubicBezTo>
                  <a:pt x="6718" y="515"/>
                  <a:pt x="6718" y="515"/>
                  <a:pt x="6717" y="516"/>
                </a:cubicBezTo>
                <a:cubicBezTo>
                  <a:pt x="6716" y="517"/>
                  <a:pt x="6715" y="518"/>
                  <a:pt x="6715" y="519"/>
                </a:cubicBezTo>
                <a:cubicBezTo>
                  <a:pt x="6714" y="522"/>
                  <a:pt x="6712" y="524"/>
                  <a:pt x="6710" y="525"/>
                </a:cubicBezTo>
                <a:close/>
                <a:moveTo>
                  <a:pt x="6735" y="650"/>
                </a:moveTo>
                <a:cubicBezTo>
                  <a:pt x="6734" y="650"/>
                  <a:pt x="6734" y="650"/>
                  <a:pt x="6734" y="650"/>
                </a:cubicBezTo>
                <a:cubicBezTo>
                  <a:pt x="6734" y="649"/>
                  <a:pt x="6734" y="648"/>
                  <a:pt x="6735" y="648"/>
                </a:cubicBezTo>
                <a:cubicBezTo>
                  <a:pt x="6736" y="646"/>
                  <a:pt x="6737" y="644"/>
                  <a:pt x="6737" y="642"/>
                </a:cubicBezTo>
                <a:lnTo>
                  <a:pt x="6736" y="634"/>
                </a:lnTo>
                <a:cubicBezTo>
                  <a:pt x="6736" y="632"/>
                  <a:pt x="6736" y="632"/>
                  <a:pt x="6737" y="632"/>
                </a:cubicBezTo>
                <a:lnTo>
                  <a:pt x="6738" y="632"/>
                </a:lnTo>
                <a:cubicBezTo>
                  <a:pt x="6739" y="634"/>
                  <a:pt x="6740" y="637"/>
                  <a:pt x="6740" y="639"/>
                </a:cubicBezTo>
                <a:cubicBezTo>
                  <a:pt x="6740" y="642"/>
                  <a:pt x="6740" y="644"/>
                  <a:pt x="6739" y="647"/>
                </a:cubicBezTo>
                <a:cubicBezTo>
                  <a:pt x="6738" y="649"/>
                  <a:pt x="6736" y="650"/>
                  <a:pt x="6735" y="650"/>
                </a:cubicBezTo>
                <a:close/>
                <a:moveTo>
                  <a:pt x="6704" y="506"/>
                </a:moveTo>
                <a:cubicBezTo>
                  <a:pt x="6704" y="505"/>
                  <a:pt x="6707" y="499"/>
                  <a:pt x="6714" y="488"/>
                </a:cubicBezTo>
                <a:lnTo>
                  <a:pt x="6722" y="476"/>
                </a:lnTo>
                <a:lnTo>
                  <a:pt x="6726" y="471"/>
                </a:lnTo>
                <a:cubicBezTo>
                  <a:pt x="6726" y="472"/>
                  <a:pt x="6723" y="478"/>
                  <a:pt x="6716" y="489"/>
                </a:cubicBezTo>
                <a:cubicBezTo>
                  <a:pt x="6709" y="500"/>
                  <a:pt x="6705" y="506"/>
                  <a:pt x="6704" y="506"/>
                </a:cubicBezTo>
                <a:close/>
                <a:moveTo>
                  <a:pt x="6657" y="602"/>
                </a:moveTo>
                <a:cubicBezTo>
                  <a:pt x="6656" y="602"/>
                  <a:pt x="6656" y="602"/>
                  <a:pt x="6656" y="602"/>
                </a:cubicBezTo>
                <a:cubicBezTo>
                  <a:pt x="6656" y="601"/>
                  <a:pt x="6657" y="600"/>
                  <a:pt x="6658" y="599"/>
                </a:cubicBezTo>
                <a:cubicBezTo>
                  <a:pt x="6658" y="598"/>
                  <a:pt x="6659" y="597"/>
                  <a:pt x="6659" y="596"/>
                </a:cubicBezTo>
                <a:cubicBezTo>
                  <a:pt x="6659" y="595"/>
                  <a:pt x="6658" y="595"/>
                  <a:pt x="6658" y="595"/>
                </a:cubicBezTo>
                <a:lnTo>
                  <a:pt x="6658" y="595"/>
                </a:lnTo>
                <a:cubicBezTo>
                  <a:pt x="6658" y="594"/>
                  <a:pt x="6658" y="593"/>
                  <a:pt x="6660" y="593"/>
                </a:cubicBezTo>
                <a:cubicBezTo>
                  <a:pt x="6662" y="592"/>
                  <a:pt x="6663" y="590"/>
                  <a:pt x="6663" y="589"/>
                </a:cubicBezTo>
                <a:lnTo>
                  <a:pt x="6662" y="588"/>
                </a:lnTo>
                <a:cubicBezTo>
                  <a:pt x="6662" y="587"/>
                  <a:pt x="6663" y="587"/>
                  <a:pt x="6663" y="587"/>
                </a:cubicBezTo>
                <a:lnTo>
                  <a:pt x="6667" y="588"/>
                </a:lnTo>
                <a:cubicBezTo>
                  <a:pt x="6668" y="588"/>
                  <a:pt x="6668" y="588"/>
                  <a:pt x="6668" y="588"/>
                </a:cubicBezTo>
                <a:lnTo>
                  <a:pt x="6667" y="585"/>
                </a:lnTo>
                <a:cubicBezTo>
                  <a:pt x="6667" y="584"/>
                  <a:pt x="6668" y="583"/>
                  <a:pt x="6668" y="582"/>
                </a:cubicBezTo>
                <a:cubicBezTo>
                  <a:pt x="6669" y="582"/>
                  <a:pt x="6670" y="581"/>
                  <a:pt x="6670" y="580"/>
                </a:cubicBezTo>
                <a:lnTo>
                  <a:pt x="6670" y="579"/>
                </a:lnTo>
                <a:cubicBezTo>
                  <a:pt x="6670" y="578"/>
                  <a:pt x="6672" y="577"/>
                  <a:pt x="6676" y="577"/>
                </a:cubicBezTo>
                <a:lnTo>
                  <a:pt x="6677" y="577"/>
                </a:lnTo>
                <a:cubicBezTo>
                  <a:pt x="6677" y="578"/>
                  <a:pt x="6676" y="579"/>
                  <a:pt x="6674" y="580"/>
                </a:cubicBezTo>
                <a:cubicBezTo>
                  <a:pt x="6671" y="583"/>
                  <a:pt x="6669" y="585"/>
                  <a:pt x="6669" y="586"/>
                </a:cubicBezTo>
                <a:cubicBezTo>
                  <a:pt x="6669" y="588"/>
                  <a:pt x="6668" y="589"/>
                  <a:pt x="6666" y="591"/>
                </a:cubicBezTo>
                <a:cubicBezTo>
                  <a:pt x="6663" y="593"/>
                  <a:pt x="6662" y="594"/>
                  <a:pt x="6662" y="595"/>
                </a:cubicBezTo>
                <a:cubicBezTo>
                  <a:pt x="6662" y="595"/>
                  <a:pt x="6663" y="595"/>
                  <a:pt x="6663" y="595"/>
                </a:cubicBezTo>
                <a:cubicBezTo>
                  <a:pt x="6663" y="595"/>
                  <a:pt x="6663" y="595"/>
                  <a:pt x="6663" y="595"/>
                </a:cubicBezTo>
                <a:cubicBezTo>
                  <a:pt x="6663" y="596"/>
                  <a:pt x="6663" y="598"/>
                  <a:pt x="6661" y="599"/>
                </a:cubicBezTo>
                <a:cubicBezTo>
                  <a:pt x="6660" y="601"/>
                  <a:pt x="6659" y="602"/>
                  <a:pt x="6657" y="602"/>
                </a:cubicBezTo>
                <a:close/>
                <a:moveTo>
                  <a:pt x="6646" y="617"/>
                </a:moveTo>
                <a:lnTo>
                  <a:pt x="6644" y="617"/>
                </a:lnTo>
                <a:cubicBezTo>
                  <a:pt x="6643" y="617"/>
                  <a:pt x="6642" y="617"/>
                  <a:pt x="6642" y="616"/>
                </a:cubicBezTo>
                <a:cubicBezTo>
                  <a:pt x="6642" y="614"/>
                  <a:pt x="6643" y="613"/>
                  <a:pt x="6644" y="613"/>
                </a:cubicBezTo>
                <a:lnTo>
                  <a:pt x="6648" y="613"/>
                </a:lnTo>
                <a:cubicBezTo>
                  <a:pt x="6649" y="613"/>
                  <a:pt x="6650" y="614"/>
                  <a:pt x="6650" y="614"/>
                </a:cubicBezTo>
                <a:cubicBezTo>
                  <a:pt x="6650" y="616"/>
                  <a:pt x="6648" y="617"/>
                  <a:pt x="6646" y="617"/>
                </a:cubicBezTo>
                <a:close/>
                <a:moveTo>
                  <a:pt x="6744" y="458"/>
                </a:moveTo>
                <a:cubicBezTo>
                  <a:pt x="6743" y="458"/>
                  <a:pt x="6742" y="457"/>
                  <a:pt x="6742" y="455"/>
                </a:cubicBezTo>
                <a:cubicBezTo>
                  <a:pt x="6742" y="454"/>
                  <a:pt x="6743" y="453"/>
                  <a:pt x="6744" y="453"/>
                </a:cubicBezTo>
                <a:cubicBezTo>
                  <a:pt x="6746" y="453"/>
                  <a:pt x="6747" y="454"/>
                  <a:pt x="6747" y="455"/>
                </a:cubicBezTo>
                <a:cubicBezTo>
                  <a:pt x="6747" y="457"/>
                  <a:pt x="6746" y="458"/>
                  <a:pt x="6744" y="458"/>
                </a:cubicBezTo>
                <a:close/>
                <a:moveTo>
                  <a:pt x="6632" y="645"/>
                </a:moveTo>
                <a:cubicBezTo>
                  <a:pt x="6631" y="645"/>
                  <a:pt x="6629" y="644"/>
                  <a:pt x="6626" y="641"/>
                </a:cubicBezTo>
                <a:cubicBezTo>
                  <a:pt x="6625" y="639"/>
                  <a:pt x="6624" y="638"/>
                  <a:pt x="6624" y="637"/>
                </a:cubicBezTo>
                <a:cubicBezTo>
                  <a:pt x="6624" y="636"/>
                  <a:pt x="6625" y="633"/>
                  <a:pt x="6627" y="630"/>
                </a:cubicBezTo>
                <a:cubicBezTo>
                  <a:pt x="6629" y="627"/>
                  <a:pt x="6630" y="625"/>
                  <a:pt x="6631" y="625"/>
                </a:cubicBezTo>
                <a:lnTo>
                  <a:pt x="6631" y="626"/>
                </a:lnTo>
                <a:cubicBezTo>
                  <a:pt x="6631" y="627"/>
                  <a:pt x="6631" y="629"/>
                  <a:pt x="6629" y="632"/>
                </a:cubicBezTo>
                <a:cubicBezTo>
                  <a:pt x="6629" y="633"/>
                  <a:pt x="6628" y="634"/>
                  <a:pt x="6628" y="635"/>
                </a:cubicBezTo>
                <a:cubicBezTo>
                  <a:pt x="6628" y="637"/>
                  <a:pt x="6629" y="637"/>
                  <a:pt x="6630" y="638"/>
                </a:cubicBezTo>
                <a:cubicBezTo>
                  <a:pt x="6631" y="639"/>
                  <a:pt x="6632" y="639"/>
                  <a:pt x="6632" y="639"/>
                </a:cubicBezTo>
                <a:cubicBezTo>
                  <a:pt x="6633" y="639"/>
                  <a:pt x="6633" y="639"/>
                  <a:pt x="6633" y="637"/>
                </a:cubicBezTo>
                <a:cubicBezTo>
                  <a:pt x="6633" y="636"/>
                  <a:pt x="6632" y="635"/>
                  <a:pt x="6631" y="635"/>
                </a:cubicBezTo>
                <a:lnTo>
                  <a:pt x="6630" y="636"/>
                </a:lnTo>
                <a:lnTo>
                  <a:pt x="6629" y="635"/>
                </a:lnTo>
                <a:lnTo>
                  <a:pt x="6630" y="634"/>
                </a:lnTo>
                <a:cubicBezTo>
                  <a:pt x="6631" y="633"/>
                  <a:pt x="6632" y="632"/>
                  <a:pt x="6632" y="632"/>
                </a:cubicBezTo>
                <a:cubicBezTo>
                  <a:pt x="6634" y="632"/>
                  <a:pt x="6635" y="634"/>
                  <a:pt x="6635" y="637"/>
                </a:cubicBezTo>
                <a:cubicBezTo>
                  <a:pt x="6635" y="637"/>
                  <a:pt x="6635" y="638"/>
                  <a:pt x="6634" y="639"/>
                </a:cubicBezTo>
                <a:cubicBezTo>
                  <a:pt x="6634" y="639"/>
                  <a:pt x="6634" y="641"/>
                  <a:pt x="6634" y="642"/>
                </a:cubicBezTo>
                <a:cubicBezTo>
                  <a:pt x="6634" y="642"/>
                  <a:pt x="6634" y="643"/>
                  <a:pt x="6633" y="644"/>
                </a:cubicBezTo>
                <a:cubicBezTo>
                  <a:pt x="6633" y="645"/>
                  <a:pt x="6633" y="645"/>
                  <a:pt x="6632" y="645"/>
                </a:cubicBezTo>
                <a:close/>
                <a:moveTo>
                  <a:pt x="6653" y="609"/>
                </a:moveTo>
                <a:cubicBezTo>
                  <a:pt x="6652" y="609"/>
                  <a:pt x="6651" y="608"/>
                  <a:pt x="6650" y="607"/>
                </a:cubicBezTo>
                <a:lnTo>
                  <a:pt x="6650" y="606"/>
                </a:lnTo>
                <a:cubicBezTo>
                  <a:pt x="6650" y="605"/>
                  <a:pt x="6650" y="605"/>
                  <a:pt x="6650" y="604"/>
                </a:cubicBezTo>
                <a:cubicBezTo>
                  <a:pt x="6650" y="604"/>
                  <a:pt x="6651" y="604"/>
                  <a:pt x="6651" y="603"/>
                </a:cubicBezTo>
                <a:lnTo>
                  <a:pt x="6652" y="602"/>
                </a:lnTo>
                <a:lnTo>
                  <a:pt x="6653" y="603"/>
                </a:lnTo>
                <a:lnTo>
                  <a:pt x="6652" y="604"/>
                </a:lnTo>
                <a:cubicBezTo>
                  <a:pt x="6652" y="605"/>
                  <a:pt x="6651" y="605"/>
                  <a:pt x="6651" y="606"/>
                </a:cubicBezTo>
                <a:cubicBezTo>
                  <a:pt x="6651" y="607"/>
                  <a:pt x="6652" y="607"/>
                  <a:pt x="6652" y="607"/>
                </a:cubicBezTo>
                <a:lnTo>
                  <a:pt x="6656" y="605"/>
                </a:lnTo>
                <a:lnTo>
                  <a:pt x="6657" y="606"/>
                </a:lnTo>
                <a:cubicBezTo>
                  <a:pt x="6657" y="606"/>
                  <a:pt x="6656" y="607"/>
                  <a:pt x="6656" y="607"/>
                </a:cubicBezTo>
                <a:cubicBezTo>
                  <a:pt x="6655" y="608"/>
                  <a:pt x="6654" y="609"/>
                  <a:pt x="6653" y="609"/>
                </a:cubicBezTo>
                <a:close/>
                <a:moveTo>
                  <a:pt x="6640" y="634"/>
                </a:moveTo>
                <a:cubicBezTo>
                  <a:pt x="6639" y="634"/>
                  <a:pt x="6639" y="634"/>
                  <a:pt x="6638" y="633"/>
                </a:cubicBezTo>
                <a:cubicBezTo>
                  <a:pt x="6637" y="632"/>
                  <a:pt x="6636" y="631"/>
                  <a:pt x="6635" y="630"/>
                </a:cubicBezTo>
                <a:cubicBezTo>
                  <a:pt x="6634" y="630"/>
                  <a:pt x="6634" y="628"/>
                  <a:pt x="6634" y="627"/>
                </a:cubicBezTo>
                <a:cubicBezTo>
                  <a:pt x="6634" y="626"/>
                  <a:pt x="6634" y="625"/>
                  <a:pt x="6635" y="624"/>
                </a:cubicBezTo>
                <a:cubicBezTo>
                  <a:pt x="6636" y="623"/>
                  <a:pt x="6637" y="623"/>
                  <a:pt x="6638" y="623"/>
                </a:cubicBezTo>
                <a:cubicBezTo>
                  <a:pt x="6641" y="623"/>
                  <a:pt x="6642" y="624"/>
                  <a:pt x="6642" y="626"/>
                </a:cubicBezTo>
                <a:cubicBezTo>
                  <a:pt x="6642" y="628"/>
                  <a:pt x="6642" y="629"/>
                  <a:pt x="6640" y="629"/>
                </a:cubicBezTo>
                <a:lnTo>
                  <a:pt x="6636" y="628"/>
                </a:lnTo>
                <a:cubicBezTo>
                  <a:pt x="6636" y="628"/>
                  <a:pt x="6637" y="629"/>
                  <a:pt x="6638" y="631"/>
                </a:cubicBezTo>
                <a:cubicBezTo>
                  <a:pt x="6639" y="632"/>
                  <a:pt x="6640" y="633"/>
                  <a:pt x="6640" y="634"/>
                </a:cubicBezTo>
                <a:close/>
                <a:moveTo>
                  <a:pt x="6740" y="630"/>
                </a:moveTo>
                <a:cubicBezTo>
                  <a:pt x="6740" y="630"/>
                  <a:pt x="6740" y="630"/>
                  <a:pt x="6740" y="629"/>
                </a:cubicBezTo>
                <a:cubicBezTo>
                  <a:pt x="6739" y="626"/>
                  <a:pt x="6738" y="623"/>
                  <a:pt x="6738" y="621"/>
                </a:cubicBezTo>
                <a:cubicBezTo>
                  <a:pt x="6738" y="620"/>
                  <a:pt x="6738" y="619"/>
                  <a:pt x="6739" y="619"/>
                </a:cubicBezTo>
                <a:lnTo>
                  <a:pt x="6741" y="620"/>
                </a:lnTo>
                <a:cubicBezTo>
                  <a:pt x="6741" y="620"/>
                  <a:pt x="6742" y="619"/>
                  <a:pt x="6742" y="618"/>
                </a:cubicBezTo>
                <a:lnTo>
                  <a:pt x="6740" y="610"/>
                </a:lnTo>
                <a:cubicBezTo>
                  <a:pt x="6740" y="607"/>
                  <a:pt x="6741" y="606"/>
                  <a:pt x="6742" y="605"/>
                </a:cubicBezTo>
                <a:cubicBezTo>
                  <a:pt x="6743" y="605"/>
                  <a:pt x="6743" y="604"/>
                  <a:pt x="6743" y="603"/>
                </a:cubicBezTo>
                <a:lnTo>
                  <a:pt x="6743" y="600"/>
                </a:lnTo>
                <a:cubicBezTo>
                  <a:pt x="6743" y="598"/>
                  <a:pt x="6743" y="597"/>
                  <a:pt x="6744" y="596"/>
                </a:cubicBezTo>
                <a:cubicBezTo>
                  <a:pt x="6745" y="595"/>
                  <a:pt x="6745" y="594"/>
                  <a:pt x="6745" y="592"/>
                </a:cubicBezTo>
                <a:lnTo>
                  <a:pt x="6745" y="584"/>
                </a:lnTo>
                <a:cubicBezTo>
                  <a:pt x="6745" y="584"/>
                  <a:pt x="6746" y="585"/>
                  <a:pt x="6747" y="588"/>
                </a:cubicBezTo>
                <a:cubicBezTo>
                  <a:pt x="6747" y="590"/>
                  <a:pt x="6748" y="593"/>
                  <a:pt x="6748" y="595"/>
                </a:cubicBezTo>
                <a:cubicBezTo>
                  <a:pt x="6748" y="599"/>
                  <a:pt x="6747" y="601"/>
                  <a:pt x="6747" y="604"/>
                </a:cubicBezTo>
                <a:cubicBezTo>
                  <a:pt x="6747" y="607"/>
                  <a:pt x="6746" y="608"/>
                  <a:pt x="6745" y="608"/>
                </a:cubicBezTo>
                <a:lnTo>
                  <a:pt x="6743" y="607"/>
                </a:lnTo>
                <a:cubicBezTo>
                  <a:pt x="6743" y="607"/>
                  <a:pt x="6742" y="607"/>
                  <a:pt x="6742" y="608"/>
                </a:cubicBezTo>
                <a:cubicBezTo>
                  <a:pt x="6742" y="609"/>
                  <a:pt x="6743" y="610"/>
                  <a:pt x="6743" y="611"/>
                </a:cubicBezTo>
                <a:cubicBezTo>
                  <a:pt x="6743" y="613"/>
                  <a:pt x="6743" y="614"/>
                  <a:pt x="6743" y="616"/>
                </a:cubicBezTo>
                <a:cubicBezTo>
                  <a:pt x="6743" y="618"/>
                  <a:pt x="6743" y="620"/>
                  <a:pt x="6743" y="622"/>
                </a:cubicBezTo>
                <a:cubicBezTo>
                  <a:pt x="6743" y="625"/>
                  <a:pt x="6742" y="627"/>
                  <a:pt x="6742" y="628"/>
                </a:cubicBezTo>
                <a:cubicBezTo>
                  <a:pt x="6741" y="630"/>
                  <a:pt x="6741" y="630"/>
                  <a:pt x="6740" y="630"/>
                </a:cubicBezTo>
                <a:close/>
                <a:moveTo>
                  <a:pt x="6746" y="451"/>
                </a:moveTo>
                <a:cubicBezTo>
                  <a:pt x="6745" y="451"/>
                  <a:pt x="6745" y="450"/>
                  <a:pt x="6745" y="450"/>
                </a:cubicBezTo>
                <a:cubicBezTo>
                  <a:pt x="6745" y="449"/>
                  <a:pt x="6745" y="448"/>
                  <a:pt x="6747" y="447"/>
                </a:cubicBezTo>
                <a:cubicBezTo>
                  <a:pt x="6747" y="446"/>
                  <a:pt x="6748" y="445"/>
                  <a:pt x="6748" y="444"/>
                </a:cubicBezTo>
                <a:cubicBezTo>
                  <a:pt x="6748" y="444"/>
                  <a:pt x="6747" y="443"/>
                  <a:pt x="6747" y="443"/>
                </a:cubicBezTo>
                <a:cubicBezTo>
                  <a:pt x="6746" y="443"/>
                  <a:pt x="6744" y="444"/>
                  <a:pt x="6742" y="446"/>
                </a:cubicBezTo>
                <a:lnTo>
                  <a:pt x="6742" y="447"/>
                </a:lnTo>
                <a:cubicBezTo>
                  <a:pt x="6742" y="446"/>
                  <a:pt x="6742" y="445"/>
                  <a:pt x="6743" y="443"/>
                </a:cubicBezTo>
                <a:cubicBezTo>
                  <a:pt x="6744" y="442"/>
                  <a:pt x="6745" y="440"/>
                  <a:pt x="6746" y="439"/>
                </a:cubicBezTo>
                <a:cubicBezTo>
                  <a:pt x="6747" y="438"/>
                  <a:pt x="6748" y="438"/>
                  <a:pt x="6748" y="438"/>
                </a:cubicBezTo>
                <a:lnTo>
                  <a:pt x="6749" y="438"/>
                </a:lnTo>
                <a:cubicBezTo>
                  <a:pt x="6750" y="438"/>
                  <a:pt x="6750" y="437"/>
                  <a:pt x="6750" y="436"/>
                </a:cubicBezTo>
                <a:cubicBezTo>
                  <a:pt x="6750" y="429"/>
                  <a:pt x="6751" y="426"/>
                  <a:pt x="6754" y="425"/>
                </a:cubicBezTo>
                <a:cubicBezTo>
                  <a:pt x="6754" y="425"/>
                  <a:pt x="6754" y="426"/>
                  <a:pt x="6754" y="427"/>
                </a:cubicBezTo>
                <a:lnTo>
                  <a:pt x="6754" y="431"/>
                </a:lnTo>
                <a:cubicBezTo>
                  <a:pt x="6754" y="432"/>
                  <a:pt x="6754" y="432"/>
                  <a:pt x="6755" y="432"/>
                </a:cubicBezTo>
                <a:cubicBezTo>
                  <a:pt x="6757" y="432"/>
                  <a:pt x="6758" y="431"/>
                  <a:pt x="6758" y="428"/>
                </a:cubicBezTo>
                <a:cubicBezTo>
                  <a:pt x="6758" y="427"/>
                  <a:pt x="6757" y="425"/>
                  <a:pt x="6756" y="424"/>
                </a:cubicBezTo>
                <a:cubicBezTo>
                  <a:pt x="6754" y="424"/>
                  <a:pt x="6753" y="423"/>
                  <a:pt x="6753" y="423"/>
                </a:cubicBezTo>
                <a:cubicBezTo>
                  <a:pt x="6753" y="422"/>
                  <a:pt x="6754" y="421"/>
                  <a:pt x="6756" y="419"/>
                </a:cubicBezTo>
                <a:cubicBezTo>
                  <a:pt x="6759" y="418"/>
                  <a:pt x="6760" y="416"/>
                  <a:pt x="6760" y="414"/>
                </a:cubicBezTo>
                <a:cubicBezTo>
                  <a:pt x="6760" y="412"/>
                  <a:pt x="6759" y="411"/>
                  <a:pt x="6757" y="410"/>
                </a:cubicBezTo>
                <a:cubicBezTo>
                  <a:pt x="6755" y="409"/>
                  <a:pt x="6754" y="408"/>
                  <a:pt x="6754" y="408"/>
                </a:cubicBezTo>
                <a:cubicBezTo>
                  <a:pt x="6754" y="407"/>
                  <a:pt x="6755" y="407"/>
                  <a:pt x="6757" y="407"/>
                </a:cubicBezTo>
                <a:cubicBezTo>
                  <a:pt x="6760" y="407"/>
                  <a:pt x="6761" y="408"/>
                  <a:pt x="6761" y="409"/>
                </a:cubicBezTo>
                <a:lnTo>
                  <a:pt x="6761" y="410"/>
                </a:lnTo>
                <a:cubicBezTo>
                  <a:pt x="6761" y="411"/>
                  <a:pt x="6761" y="412"/>
                  <a:pt x="6762" y="413"/>
                </a:cubicBezTo>
                <a:cubicBezTo>
                  <a:pt x="6763" y="413"/>
                  <a:pt x="6763" y="414"/>
                  <a:pt x="6763" y="415"/>
                </a:cubicBezTo>
                <a:cubicBezTo>
                  <a:pt x="6763" y="415"/>
                  <a:pt x="6762" y="416"/>
                  <a:pt x="6762" y="418"/>
                </a:cubicBezTo>
                <a:cubicBezTo>
                  <a:pt x="6761" y="419"/>
                  <a:pt x="6760" y="421"/>
                  <a:pt x="6760" y="422"/>
                </a:cubicBezTo>
                <a:lnTo>
                  <a:pt x="6760" y="424"/>
                </a:lnTo>
                <a:cubicBezTo>
                  <a:pt x="6760" y="426"/>
                  <a:pt x="6758" y="431"/>
                  <a:pt x="6755" y="437"/>
                </a:cubicBezTo>
                <a:cubicBezTo>
                  <a:pt x="6751" y="444"/>
                  <a:pt x="6749" y="448"/>
                  <a:pt x="6749" y="449"/>
                </a:cubicBezTo>
                <a:cubicBezTo>
                  <a:pt x="6749" y="450"/>
                  <a:pt x="6748" y="451"/>
                  <a:pt x="6746" y="451"/>
                </a:cubicBezTo>
                <a:close/>
                <a:moveTo>
                  <a:pt x="6678" y="574"/>
                </a:moveTo>
                <a:cubicBezTo>
                  <a:pt x="6678" y="574"/>
                  <a:pt x="6677" y="573"/>
                  <a:pt x="6677" y="573"/>
                </a:cubicBezTo>
                <a:lnTo>
                  <a:pt x="6677" y="572"/>
                </a:lnTo>
                <a:cubicBezTo>
                  <a:pt x="6679" y="568"/>
                  <a:pt x="6685" y="560"/>
                  <a:pt x="6693" y="547"/>
                </a:cubicBezTo>
                <a:cubicBezTo>
                  <a:pt x="6702" y="535"/>
                  <a:pt x="6707" y="529"/>
                  <a:pt x="6708" y="529"/>
                </a:cubicBezTo>
                <a:cubicBezTo>
                  <a:pt x="6709" y="529"/>
                  <a:pt x="6709" y="529"/>
                  <a:pt x="6709" y="529"/>
                </a:cubicBezTo>
                <a:cubicBezTo>
                  <a:pt x="6709" y="530"/>
                  <a:pt x="6708" y="530"/>
                  <a:pt x="6707" y="531"/>
                </a:cubicBezTo>
                <a:cubicBezTo>
                  <a:pt x="6705" y="533"/>
                  <a:pt x="6703" y="535"/>
                  <a:pt x="6703" y="537"/>
                </a:cubicBezTo>
                <a:cubicBezTo>
                  <a:pt x="6703" y="539"/>
                  <a:pt x="6702" y="540"/>
                  <a:pt x="6701" y="540"/>
                </a:cubicBezTo>
                <a:cubicBezTo>
                  <a:pt x="6700" y="540"/>
                  <a:pt x="6699" y="541"/>
                  <a:pt x="6699" y="544"/>
                </a:cubicBezTo>
                <a:cubicBezTo>
                  <a:pt x="6699" y="546"/>
                  <a:pt x="6698" y="547"/>
                  <a:pt x="6697" y="547"/>
                </a:cubicBezTo>
                <a:cubicBezTo>
                  <a:pt x="6695" y="547"/>
                  <a:pt x="6695" y="548"/>
                  <a:pt x="6695" y="551"/>
                </a:cubicBezTo>
                <a:cubicBezTo>
                  <a:pt x="6695" y="553"/>
                  <a:pt x="6693" y="555"/>
                  <a:pt x="6691" y="556"/>
                </a:cubicBezTo>
                <a:cubicBezTo>
                  <a:pt x="6689" y="556"/>
                  <a:pt x="6688" y="558"/>
                  <a:pt x="6688" y="560"/>
                </a:cubicBezTo>
                <a:cubicBezTo>
                  <a:pt x="6688" y="562"/>
                  <a:pt x="6687" y="563"/>
                  <a:pt x="6685" y="564"/>
                </a:cubicBezTo>
                <a:cubicBezTo>
                  <a:pt x="6682" y="566"/>
                  <a:pt x="6681" y="568"/>
                  <a:pt x="6681" y="569"/>
                </a:cubicBezTo>
                <a:cubicBezTo>
                  <a:pt x="6681" y="571"/>
                  <a:pt x="6680" y="573"/>
                  <a:pt x="6679" y="573"/>
                </a:cubicBezTo>
                <a:lnTo>
                  <a:pt x="6678" y="574"/>
                </a:lnTo>
                <a:close/>
                <a:moveTo>
                  <a:pt x="6730" y="493"/>
                </a:moveTo>
                <a:cubicBezTo>
                  <a:pt x="6730" y="493"/>
                  <a:pt x="6731" y="490"/>
                  <a:pt x="6734" y="485"/>
                </a:cubicBezTo>
                <a:lnTo>
                  <a:pt x="6738" y="479"/>
                </a:lnTo>
                <a:lnTo>
                  <a:pt x="6741" y="476"/>
                </a:lnTo>
                <a:cubicBezTo>
                  <a:pt x="6741" y="476"/>
                  <a:pt x="6742" y="476"/>
                  <a:pt x="6742" y="476"/>
                </a:cubicBezTo>
                <a:cubicBezTo>
                  <a:pt x="6742" y="477"/>
                  <a:pt x="6741" y="478"/>
                  <a:pt x="6740" y="479"/>
                </a:cubicBezTo>
                <a:cubicBezTo>
                  <a:pt x="6739" y="481"/>
                  <a:pt x="6738" y="482"/>
                  <a:pt x="6738" y="482"/>
                </a:cubicBezTo>
                <a:lnTo>
                  <a:pt x="6738" y="483"/>
                </a:lnTo>
                <a:cubicBezTo>
                  <a:pt x="6738" y="484"/>
                  <a:pt x="6738" y="485"/>
                  <a:pt x="6737" y="485"/>
                </a:cubicBezTo>
                <a:cubicBezTo>
                  <a:pt x="6733" y="491"/>
                  <a:pt x="6731" y="493"/>
                  <a:pt x="6730" y="493"/>
                </a:cubicBezTo>
                <a:close/>
                <a:moveTo>
                  <a:pt x="6735" y="659"/>
                </a:moveTo>
                <a:cubicBezTo>
                  <a:pt x="6734" y="659"/>
                  <a:pt x="6733" y="659"/>
                  <a:pt x="6733" y="657"/>
                </a:cubicBezTo>
                <a:cubicBezTo>
                  <a:pt x="6733" y="656"/>
                  <a:pt x="6733" y="656"/>
                  <a:pt x="6734" y="655"/>
                </a:cubicBezTo>
                <a:cubicBezTo>
                  <a:pt x="6735" y="654"/>
                  <a:pt x="6735" y="654"/>
                  <a:pt x="6736" y="654"/>
                </a:cubicBezTo>
                <a:cubicBezTo>
                  <a:pt x="6737" y="654"/>
                  <a:pt x="6737" y="654"/>
                  <a:pt x="6737" y="656"/>
                </a:cubicBezTo>
                <a:cubicBezTo>
                  <a:pt x="6737" y="658"/>
                  <a:pt x="6737" y="659"/>
                  <a:pt x="6735" y="659"/>
                </a:cubicBezTo>
                <a:close/>
                <a:moveTo>
                  <a:pt x="6790" y="311"/>
                </a:moveTo>
                <a:cubicBezTo>
                  <a:pt x="6790" y="311"/>
                  <a:pt x="6790" y="310"/>
                  <a:pt x="6790" y="308"/>
                </a:cubicBezTo>
                <a:cubicBezTo>
                  <a:pt x="6790" y="308"/>
                  <a:pt x="6791" y="306"/>
                  <a:pt x="6792" y="305"/>
                </a:cubicBezTo>
                <a:lnTo>
                  <a:pt x="6793" y="305"/>
                </a:lnTo>
                <a:cubicBezTo>
                  <a:pt x="6793" y="305"/>
                  <a:pt x="6793" y="305"/>
                  <a:pt x="6793" y="306"/>
                </a:cubicBezTo>
                <a:lnTo>
                  <a:pt x="6793" y="307"/>
                </a:lnTo>
                <a:cubicBezTo>
                  <a:pt x="6792" y="309"/>
                  <a:pt x="6791" y="311"/>
                  <a:pt x="6790" y="311"/>
                </a:cubicBezTo>
                <a:close/>
                <a:moveTo>
                  <a:pt x="6734" y="685"/>
                </a:moveTo>
                <a:cubicBezTo>
                  <a:pt x="6732" y="685"/>
                  <a:pt x="6732" y="683"/>
                  <a:pt x="6732" y="681"/>
                </a:cubicBezTo>
                <a:cubicBezTo>
                  <a:pt x="6732" y="679"/>
                  <a:pt x="6732" y="677"/>
                  <a:pt x="6734" y="677"/>
                </a:cubicBezTo>
                <a:cubicBezTo>
                  <a:pt x="6735" y="677"/>
                  <a:pt x="6736" y="679"/>
                  <a:pt x="6736" y="681"/>
                </a:cubicBezTo>
                <a:cubicBezTo>
                  <a:pt x="6736" y="683"/>
                  <a:pt x="6735" y="685"/>
                  <a:pt x="6734" y="685"/>
                </a:cubicBezTo>
                <a:close/>
                <a:moveTo>
                  <a:pt x="6733" y="668"/>
                </a:moveTo>
                <a:cubicBezTo>
                  <a:pt x="6732" y="668"/>
                  <a:pt x="6732" y="668"/>
                  <a:pt x="6732" y="666"/>
                </a:cubicBezTo>
                <a:cubicBezTo>
                  <a:pt x="6732" y="666"/>
                  <a:pt x="6732" y="665"/>
                  <a:pt x="6732" y="664"/>
                </a:cubicBezTo>
                <a:cubicBezTo>
                  <a:pt x="6733" y="663"/>
                  <a:pt x="6733" y="662"/>
                  <a:pt x="6734" y="662"/>
                </a:cubicBezTo>
                <a:cubicBezTo>
                  <a:pt x="6735" y="662"/>
                  <a:pt x="6736" y="663"/>
                  <a:pt x="6736" y="665"/>
                </a:cubicBezTo>
                <a:cubicBezTo>
                  <a:pt x="6736" y="667"/>
                  <a:pt x="6735" y="668"/>
                  <a:pt x="6733" y="668"/>
                </a:cubicBezTo>
                <a:close/>
                <a:moveTo>
                  <a:pt x="6730" y="657"/>
                </a:moveTo>
                <a:cubicBezTo>
                  <a:pt x="6730" y="657"/>
                  <a:pt x="6729" y="656"/>
                  <a:pt x="6728" y="654"/>
                </a:cubicBezTo>
                <a:lnTo>
                  <a:pt x="6728" y="652"/>
                </a:lnTo>
                <a:cubicBezTo>
                  <a:pt x="6728" y="650"/>
                  <a:pt x="6728" y="649"/>
                  <a:pt x="6730" y="648"/>
                </a:cubicBezTo>
                <a:lnTo>
                  <a:pt x="6730" y="646"/>
                </a:lnTo>
                <a:cubicBezTo>
                  <a:pt x="6731" y="646"/>
                  <a:pt x="6732" y="648"/>
                  <a:pt x="6732" y="651"/>
                </a:cubicBezTo>
                <a:cubicBezTo>
                  <a:pt x="6732" y="655"/>
                  <a:pt x="6731" y="657"/>
                  <a:pt x="6730" y="657"/>
                </a:cubicBezTo>
                <a:close/>
                <a:moveTo>
                  <a:pt x="6795" y="301"/>
                </a:moveTo>
                <a:lnTo>
                  <a:pt x="6795" y="301"/>
                </a:lnTo>
                <a:cubicBezTo>
                  <a:pt x="6795" y="300"/>
                  <a:pt x="6796" y="297"/>
                  <a:pt x="6798" y="293"/>
                </a:cubicBezTo>
                <a:cubicBezTo>
                  <a:pt x="6800" y="289"/>
                  <a:pt x="6802" y="286"/>
                  <a:pt x="6802" y="286"/>
                </a:cubicBezTo>
                <a:lnTo>
                  <a:pt x="6802" y="287"/>
                </a:lnTo>
                <a:cubicBezTo>
                  <a:pt x="6802" y="288"/>
                  <a:pt x="6801" y="291"/>
                  <a:pt x="6799" y="295"/>
                </a:cubicBezTo>
                <a:cubicBezTo>
                  <a:pt x="6797" y="299"/>
                  <a:pt x="6796" y="301"/>
                  <a:pt x="6795" y="301"/>
                </a:cubicBezTo>
                <a:close/>
                <a:moveTo>
                  <a:pt x="6793" y="322"/>
                </a:moveTo>
                <a:cubicBezTo>
                  <a:pt x="6792" y="322"/>
                  <a:pt x="6791" y="322"/>
                  <a:pt x="6791" y="321"/>
                </a:cubicBezTo>
                <a:lnTo>
                  <a:pt x="6794" y="320"/>
                </a:lnTo>
                <a:cubicBezTo>
                  <a:pt x="6795" y="320"/>
                  <a:pt x="6795" y="320"/>
                  <a:pt x="6796" y="320"/>
                </a:cubicBezTo>
                <a:cubicBezTo>
                  <a:pt x="6796" y="321"/>
                  <a:pt x="6796" y="321"/>
                  <a:pt x="6796" y="321"/>
                </a:cubicBezTo>
                <a:cubicBezTo>
                  <a:pt x="6796" y="322"/>
                  <a:pt x="6795" y="322"/>
                  <a:pt x="6793" y="322"/>
                </a:cubicBezTo>
                <a:close/>
                <a:moveTo>
                  <a:pt x="6784" y="327"/>
                </a:moveTo>
                <a:cubicBezTo>
                  <a:pt x="6784" y="327"/>
                  <a:pt x="6784" y="326"/>
                  <a:pt x="6784" y="325"/>
                </a:cubicBezTo>
                <a:cubicBezTo>
                  <a:pt x="6784" y="324"/>
                  <a:pt x="6784" y="323"/>
                  <a:pt x="6784" y="322"/>
                </a:cubicBezTo>
                <a:cubicBezTo>
                  <a:pt x="6785" y="321"/>
                  <a:pt x="6785" y="321"/>
                  <a:pt x="6787" y="321"/>
                </a:cubicBezTo>
                <a:lnTo>
                  <a:pt x="6787" y="322"/>
                </a:lnTo>
                <a:lnTo>
                  <a:pt x="6787" y="323"/>
                </a:lnTo>
                <a:cubicBezTo>
                  <a:pt x="6785" y="326"/>
                  <a:pt x="6785" y="327"/>
                  <a:pt x="6784" y="327"/>
                </a:cubicBezTo>
                <a:close/>
                <a:moveTo>
                  <a:pt x="7038" y="561"/>
                </a:moveTo>
                <a:cubicBezTo>
                  <a:pt x="7037" y="561"/>
                  <a:pt x="7037" y="561"/>
                  <a:pt x="7036" y="560"/>
                </a:cubicBezTo>
                <a:cubicBezTo>
                  <a:pt x="7035" y="559"/>
                  <a:pt x="7035" y="559"/>
                  <a:pt x="7035" y="558"/>
                </a:cubicBezTo>
                <a:lnTo>
                  <a:pt x="7034" y="558"/>
                </a:lnTo>
                <a:cubicBezTo>
                  <a:pt x="7034" y="557"/>
                  <a:pt x="7034" y="557"/>
                  <a:pt x="7035" y="557"/>
                </a:cubicBezTo>
                <a:lnTo>
                  <a:pt x="7037" y="558"/>
                </a:lnTo>
                <a:cubicBezTo>
                  <a:pt x="7039" y="558"/>
                  <a:pt x="7040" y="559"/>
                  <a:pt x="7040" y="560"/>
                </a:cubicBezTo>
                <a:cubicBezTo>
                  <a:pt x="7040" y="561"/>
                  <a:pt x="7039" y="561"/>
                  <a:pt x="7038" y="561"/>
                </a:cubicBezTo>
                <a:close/>
                <a:moveTo>
                  <a:pt x="7033" y="570"/>
                </a:moveTo>
                <a:cubicBezTo>
                  <a:pt x="7033" y="570"/>
                  <a:pt x="7033" y="569"/>
                  <a:pt x="7033" y="567"/>
                </a:cubicBezTo>
                <a:cubicBezTo>
                  <a:pt x="7033" y="564"/>
                  <a:pt x="7033" y="563"/>
                  <a:pt x="7031" y="563"/>
                </a:cubicBezTo>
                <a:cubicBezTo>
                  <a:pt x="7030" y="563"/>
                  <a:pt x="7029" y="563"/>
                  <a:pt x="7029" y="562"/>
                </a:cubicBezTo>
                <a:lnTo>
                  <a:pt x="7029" y="562"/>
                </a:lnTo>
                <a:cubicBezTo>
                  <a:pt x="7030" y="561"/>
                  <a:pt x="7030" y="561"/>
                  <a:pt x="7031" y="561"/>
                </a:cubicBezTo>
                <a:cubicBezTo>
                  <a:pt x="7033" y="561"/>
                  <a:pt x="7034" y="561"/>
                  <a:pt x="7035" y="563"/>
                </a:cubicBezTo>
                <a:cubicBezTo>
                  <a:pt x="7035" y="564"/>
                  <a:pt x="7036" y="565"/>
                  <a:pt x="7036" y="566"/>
                </a:cubicBezTo>
                <a:cubicBezTo>
                  <a:pt x="7036" y="566"/>
                  <a:pt x="7036" y="567"/>
                  <a:pt x="7035" y="568"/>
                </a:cubicBezTo>
                <a:cubicBezTo>
                  <a:pt x="7034" y="569"/>
                  <a:pt x="7034" y="570"/>
                  <a:pt x="7033" y="570"/>
                </a:cubicBezTo>
                <a:close/>
                <a:moveTo>
                  <a:pt x="6871" y="763"/>
                </a:moveTo>
                <a:cubicBezTo>
                  <a:pt x="6871" y="763"/>
                  <a:pt x="6870" y="763"/>
                  <a:pt x="6870" y="762"/>
                </a:cubicBezTo>
                <a:cubicBezTo>
                  <a:pt x="6870" y="761"/>
                  <a:pt x="6872" y="759"/>
                  <a:pt x="6877" y="756"/>
                </a:cubicBezTo>
                <a:lnTo>
                  <a:pt x="6882" y="752"/>
                </a:lnTo>
                <a:lnTo>
                  <a:pt x="6882" y="754"/>
                </a:lnTo>
                <a:cubicBezTo>
                  <a:pt x="6882" y="755"/>
                  <a:pt x="6882" y="756"/>
                  <a:pt x="6883" y="756"/>
                </a:cubicBezTo>
                <a:cubicBezTo>
                  <a:pt x="6884" y="756"/>
                  <a:pt x="6885" y="756"/>
                  <a:pt x="6885" y="757"/>
                </a:cubicBezTo>
                <a:cubicBezTo>
                  <a:pt x="6885" y="757"/>
                  <a:pt x="6884" y="758"/>
                  <a:pt x="6884" y="758"/>
                </a:cubicBezTo>
                <a:cubicBezTo>
                  <a:pt x="6884" y="759"/>
                  <a:pt x="6883" y="759"/>
                  <a:pt x="6883" y="759"/>
                </a:cubicBezTo>
                <a:cubicBezTo>
                  <a:pt x="6883" y="759"/>
                  <a:pt x="6882" y="759"/>
                  <a:pt x="6882" y="758"/>
                </a:cubicBezTo>
                <a:cubicBezTo>
                  <a:pt x="6881" y="757"/>
                  <a:pt x="6881" y="757"/>
                  <a:pt x="6880" y="757"/>
                </a:cubicBezTo>
                <a:cubicBezTo>
                  <a:pt x="6879" y="757"/>
                  <a:pt x="6878" y="757"/>
                  <a:pt x="6877" y="759"/>
                </a:cubicBezTo>
                <a:cubicBezTo>
                  <a:pt x="6876" y="760"/>
                  <a:pt x="6875" y="761"/>
                  <a:pt x="6874" y="762"/>
                </a:cubicBezTo>
                <a:cubicBezTo>
                  <a:pt x="6873" y="762"/>
                  <a:pt x="6872" y="763"/>
                  <a:pt x="6871" y="763"/>
                </a:cubicBezTo>
                <a:close/>
                <a:moveTo>
                  <a:pt x="6729" y="643"/>
                </a:moveTo>
                <a:lnTo>
                  <a:pt x="6727" y="643"/>
                </a:lnTo>
                <a:cubicBezTo>
                  <a:pt x="6727" y="642"/>
                  <a:pt x="6727" y="642"/>
                  <a:pt x="6728" y="642"/>
                </a:cubicBezTo>
                <a:cubicBezTo>
                  <a:pt x="6729" y="641"/>
                  <a:pt x="6729" y="640"/>
                  <a:pt x="6730" y="638"/>
                </a:cubicBezTo>
                <a:cubicBezTo>
                  <a:pt x="6730" y="636"/>
                  <a:pt x="6730" y="634"/>
                  <a:pt x="6731" y="632"/>
                </a:cubicBezTo>
                <a:cubicBezTo>
                  <a:pt x="6731" y="630"/>
                  <a:pt x="6732" y="626"/>
                  <a:pt x="6732" y="620"/>
                </a:cubicBezTo>
                <a:cubicBezTo>
                  <a:pt x="6733" y="614"/>
                  <a:pt x="6734" y="607"/>
                  <a:pt x="6736" y="600"/>
                </a:cubicBezTo>
                <a:cubicBezTo>
                  <a:pt x="6737" y="593"/>
                  <a:pt x="6738" y="587"/>
                  <a:pt x="6740" y="582"/>
                </a:cubicBezTo>
                <a:cubicBezTo>
                  <a:pt x="6741" y="577"/>
                  <a:pt x="6742" y="575"/>
                  <a:pt x="6742" y="574"/>
                </a:cubicBezTo>
                <a:cubicBezTo>
                  <a:pt x="6743" y="573"/>
                  <a:pt x="6743" y="572"/>
                  <a:pt x="6743" y="571"/>
                </a:cubicBezTo>
                <a:cubicBezTo>
                  <a:pt x="6743" y="570"/>
                  <a:pt x="6743" y="568"/>
                  <a:pt x="6742" y="567"/>
                </a:cubicBezTo>
                <a:cubicBezTo>
                  <a:pt x="6741" y="566"/>
                  <a:pt x="6740" y="564"/>
                  <a:pt x="6740" y="564"/>
                </a:cubicBezTo>
                <a:lnTo>
                  <a:pt x="6743" y="565"/>
                </a:lnTo>
                <a:cubicBezTo>
                  <a:pt x="6744" y="565"/>
                  <a:pt x="6744" y="564"/>
                  <a:pt x="6744" y="563"/>
                </a:cubicBezTo>
                <a:lnTo>
                  <a:pt x="6744" y="560"/>
                </a:lnTo>
                <a:cubicBezTo>
                  <a:pt x="6744" y="556"/>
                  <a:pt x="6744" y="554"/>
                  <a:pt x="6745" y="554"/>
                </a:cubicBezTo>
                <a:cubicBezTo>
                  <a:pt x="6746" y="554"/>
                  <a:pt x="6746" y="553"/>
                  <a:pt x="6746" y="552"/>
                </a:cubicBezTo>
                <a:lnTo>
                  <a:pt x="6746" y="547"/>
                </a:lnTo>
                <a:cubicBezTo>
                  <a:pt x="6746" y="545"/>
                  <a:pt x="6746" y="544"/>
                  <a:pt x="6748" y="543"/>
                </a:cubicBezTo>
                <a:cubicBezTo>
                  <a:pt x="6748" y="541"/>
                  <a:pt x="6747" y="540"/>
                  <a:pt x="6747" y="539"/>
                </a:cubicBezTo>
                <a:cubicBezTo>
                  <a:pt x="6747" y="536"/>
                  <a:pt x="6748" y="535"/>
                  <a:pt x="6749" y="535"/>
                </a:cubicBezTo>
                <a:cubicBezTo>
                  <a:pt x="6750" y="535"/>
                  <a:pt x="6750" y="535"/>
                  <a:pt x="6750" y="534"/>
                </a:cubicBezTo>
                <a:lnTo>
                  <a:pt x="6750" y="531"/>
                </a:lnTo>
                <a:cubicBezTo>
                  <a:pt x="6750" y="528"/>
                  <a:pt x="6750" y="527"/>
                  <a:pt x="6751" y="527"/>
                </a:cubicBezTo>
                <a:cubicBezTo>
                  <a:pt x="6752" y="526"/>
                  <a:pt x="6752" y="525"/>
                  <a:pt x="6752" y="523"/>
                </a:cubicBezTo>
                <a:lnTo>
                  <a:pt x="6752" y="521"/>
                </a:lnTo>
                <a:cubicBezTo>
                  <a:pt x="6752" y="520"/>
                  <a:pt x="6752" y="519"/>
                  <a:pt x="6753" y="518"/>
                </a:cubicBezTo>
                <a:cubicBezTo>
                  <a:pt x="6754" y="517"/>
                  <a:pt x="6754" y="516"/>
                  <a:pt x="6754" y="514"/>
                </a:cubicBezTo>
                <a:lnTo>
                  <a:pt x="6754" y="512"/>
                </a:lnTo>
                <a:cubicBezTo>
                  <a:pt x="6754" y="511"/>
                  <a:pt x="6754" y="510"/>
                  <a:pt x="6755" y="509"/>
                </a:cubicBezTo>
                <a:cubicBezTo>
                  <a:pt x="6756" y="508"/>
                  <a:pt x="6757" y="507"/>
                  <a:pt x="6757" y="506"/>
                </a:cubicBezTo>
                <a:cubicBezTo>
                  <a:pt x="6757" y="504"/>
                  <a:pt x="6759" y="499"/>
                  <a:pt x="6762" y="490"/>
                </a:cubicBezTo>
                <a:cubicBezTo>
                  <a:pt x="6763" y="487"/>
                  <a:pt x="6763" y="485"/>
                  <a:pt x="6763" y="483"/>
                </a:cubicBezTo>
                <a:lnTo>
                  <a:pt x="6762" y="482"/>
                </a:lnTo>
                <a:cubicBezTo>
                  <a:pt x="6762" y="481"/>
                  <a:pt x="6763" y="480"/>
                  <a:pt x="6764" y="479"/>
                </a:cubicBezTo>
                <a:cubicBezTo>
                  <a:pt x="6765" y="478"/>
                  <a:pt x="6765" y="477"/>
                  <a:pt x="6765" y="476"/>
                </a:cubicBezTo>
                <a:cubicBezTo>
                  <a:pt x="6765" y="474"/>
                  <a:pt x="6765" y="473"/>
                  <a:pt x="6766" y="472"/>
                </a:cubicBezTo>
                <a:cubicBezTo>
                  <a:pt x="6767" y="471"/>
                  <a:pt x="6768" y="469"/>
                  <a:pt x="6768" y="466"/>
                </a:cubicBezTo>
                <a:cubicBezTo>
                  <a:pt x="6768" y="464"/>
                  <a:pt x="6769" y="462"/>
                  <a:pt x="6770" y="462"/>
                </a:cubicBezTo>
                <a:lnTo>
                  <a:pt x="6772" y="461"/>
                </a:lnTo>
                <a:lnTo>
                  <a:pt x="6772" y="460"/>
                </a:lnTo>
                <a:cubicBezTo>
                  <a:pt x="6772" y="459"/>
                  <a:pt x="6772" y="458"/>
                  <a:pt x="6773" y="458"/>
                </a:cubicBezTo>
                <a:cubicBezTo>
                  <a:pt x="6773" y="456"/>
                  <a:pt x="6774" y="452"/>
                  <a:pt x="6775" y="446"/>
                </a:cubicBezTo>
                <a:cubicBezTo>
                  <a:pt x="6779" y="436"/>
                  <a:pt x="6781" y="430"/>
                  <a:pt x="6781" y="429"/>
                </a:cubicBezTo>
                <a:cubicBezTo>
                  <a:pt x="6781" y="428"/>
                  <a:pt x="6782" y="425"/>
                  <a:pt x="6785" y="421"/>
                </a:cubicBezTo>
                <a:cubicBezTo>
                  <a:pt x="6786" y="418"/>
                  <a:pt x="6787" y="416"/>
                  <a:pt x="6787" y="415"/>
                </a:cubicBezTo>
                <a:cubicBezTo>
                  <a:pt x="6787" y="414"/>
                  <a:pt x="6787" y="414"/>
                  <a:pt x="6786" y="414"/>
                </a:cubicBezTo>
                <a:cubicBezTo>
                  <a:pt x="6785" y="414"/>
                  <a:pt x="6784" y="415"/>
                  <a:pt x="6782" y="417"/>
                </a:cubicBezTo>
                <a:cubicBezTo>
                  <a:pt x="6781" y="419"/>
                  <a:pt x="6780" y="422"/>
                  <a:pt x="6779" y="425"/>
                </a:cubicBezTo>
                <a:cubicBezTo>
                  <a:pt x="6777" y="431"/>
                  <a:pt x="6775" y="435"/>
                  <a:pt x="6773" y="438"/>
                </a:cubicBezTo>
                <a:cubicBezTo>
                  <a:pt x="6770" y="440"/>
                  <a:pt x="6769" y="443"/>
                  <a:pt x="6769" y="446"/>
                </a:cubicBezTo>
                <a:lnTo>
                  <a:pt x="6770" y="449"/>
                </a:lnTo>
                <a:cubicBezTo>
                  <a:pt x="6770" y="450"/>
                  <a:pt x="6770" y="450"/>
                  <a:pt x="6769" y="450"/>
                </a:cubicBezTo>
                <a:lnTo>
                  <a:pt x="6769" y="450"/>
                </a:lnTo>
                <a:cubicBezTo>
                  <a:pt x="6768" y="450"/>
                  <a:pt x="6766" y="454"/>
                  <a:pt x="6764" y="462"/>
                </a:cubicBezTo>
                <a:cubicBezTo>
                  <a:pt x="6755" y="488"/>
                  <a:pt x="6749" y="507"/>
                  <a:pt x="6746" y="519"/>
                </a:cubicBezTo>
                <a:cubicBezTo>
                  <a:pt x="6746" y="522"/>
                  <a:pt x="6745" y="524"/>
                  <a:pt x="6745" y="526"/>
                </a:cubicBezTo>
                <a:cubicBezTo>
                  <a:pt x="6744" y="527"/>
                  <a:pt x="6743" y="528"/>
                  <a:pt x="6743" y="528"/>
                </a:cubicBezTo>
                <a:lnTo>
                  <a:pt x="6743" y="527"/>
                </a:lnTo>
                <a:cubicBezTo>
                  <a:pt x="6743" y="526"/>
                  <a:pt x="6744" y="520"/>
                  <a:pt x="6747" y="509"/>
                </a:cubicBezTo>
                <a:cubicBezTo>
                  <a:pt x="6752" y="486"/>
                  <a:pt x="6755" y="473"/>
                  <a:pt x="6755" y="471"/>
                </a:cubicBezTo>
                <a:cubicBezTo>
                  <a:pt x="6755" y="470"/>
                  <a:pt x="6755" y="470"/>
                  <a:pt x="6754" y="470"/>
                </a:cubicBezTo>
                <a:cubicBezTo>
                  <a:pt x="6753" y="470"/>
                  <a:pt x="6748" y="483"/>
                  <a:pt x="6741" y="511"/>
                </a:cubicBezTo>
                <a:cubicBezTo>
                  <a:pt x="6737" y="525"/>
                  <a:pt x="6735" y="532"/>
                  <a:pt x="6734" y="532"/>
                </a:cubicBezTo>
                <a:lnTo>
                  <a:pt x="6734" y="531"/>
                </a:lnTo>
                <a:cubicBezTo>
                  <a:pt x="6734" y="527"/>
                  <a:pt x="6738" y="511"/>
                  <a:pt x="6745" y="483"/>
                </a:cubicBezTo>
                <a:lnTo>
                  <a:pt x="6750" y="466"/>
                </a:lnTo>
                <a:cubicBezTo>
                  <a:pt x="6750" y="465"/>
                  <a:pt x="6750" y="465"/>
                  <a:pt x="6750" y="465"/>
                </a:cubicBezTo>
                <a:lnTo>
                  <a:pt x="6745" y="471"/>
                </a:lnTo>
                <a:lnTo>
                  <a:pt x="6745" y="471"/>
                </a:lnTo>
                <a:lnTo>
                  <a:pt x="6749" y="464"/>
                </a:lnTo>
                <a:cubicBezTo>
                  <a:pt x="6752" y="457"/>
                  <a:pt x="6755" y="450"/>
                  <a:pt x="6758" y="442"/>
                </a:cubicBezTo>
                <a:cubicBezTo>
                  <a:pt x="6761" y="435"/>
                  <a:pt x="6762" y="429"/>
                  <a:pt x="6762" y="425"/>
                </a:cubicBezTo>
                <a:lnTo>
                  <a:pt x="6762" y="425"/>
                </a:lnTo>
                <a:cubicBezTo>
                  <a:pt x="6762" y="423"/>
                  <a:pt x="6763" y="422"/>
                  <a:pt x="6764" y="422"/>
                </a:cubicBezTo>
                <a:lnTo>
                  <a:pt x="6766" y="423"/>
                </a:lnTo>
                <a:lnTo>
                  <a:pt x="6765" y="422"/>
                </a:lnTo>
                <a:cubicBezTo>
                  <a:pt x="6765" y="422"/>
                  <a:pt x="6765" y="421"/>
                  <a:pt x="6765" y="420"/>
                </a:cubicBezTo>
                <a:cubicBezTo>
                  <a:pt x="6765" y="419"/>
                  <a:pt x="6765" y="418"/>
                  <a:pt x="6766" y="416"/>
                </a:cubicBezTo>
                <a:cubicBezTo>
                  <a:pt x="6767" y="415"/>
                  <a:pt x="6767" y="414"/>
                  <a:pt x="6767" y="413"/>
                </a:cubicBezTo>
                <a:cubicBezTo>
                  <a:pt x="6767" y="412"/>
                  <a:pt x="6767" y="411"/>
                  <a:pt x="6767" y="411"/>
                </a:cubicBezTo>
                <a:cubicBezTo>
                  <a:pt x="6766" y="411"/>
                  <a:pt x="6765" y="410"/>
                  <a:pt x="6765" y="407"/>
                </a:cubicBezTo>
                <a:lnTo>
                  <a:pt x="6766" y="404"/>
                </a:lnTo>
                <a:cubicBezTo>
                  <a:pt x="6766" y="404"/>
                  <a:pt x="6765" y="403"/>
                  <a:pt x="6764" y="403"/>
                </a:cubicBezTo>
                <a:lnTo>
                  <a:pt x="6755" y="404"/>
                </a:lnTo>
                <a:cubicBezTo>
                  <a:pt x="6755" y="404"/>
                  <a:pt x="6757" y="403"/>
                  <a:pt x="6759" y="400"/>
                </a:cubicBezTo>
                <a:lnTo>
                  <a:pt x="6762" y="397"/>
                </a:lnTo>
                <a:cubicBezTo>
                  <a:pt x="6762" y="397"/>
                  <a:pt x="6762" y="397"/>
                  <a:pt x="6762" y="397"/>
                </a:cubicBezTo>
                <a:lnTo>
                  <a:pt x="6762" y="397"/>
                </a:lnTo>
                <a:cubicBezTo>
                  <a:pt x="6762" y="396"/>
                  <a:pt x="6762" y="395"/>
                  <a:pt x="6762" y="394"/>
                </a:cubicBezTo>
                <a:cubicBezTo>
                  <a:pt x="6763" y="394"/>
                  <a:pt x="6764" y="392"/>
                  <a:pt x="6764" y="391"/>
                </a:cubicBezTo>
                <a:cubicBezTo>
                  <a:pt x="6766" y="389"/>
                  <a:pt x="6767" y="388"/>
                  <a:pt x="6767" y="387"/>
                </a:cubicBezTo>
                <a:cubicBezTo>
                  <a:pt x="6767" y="387"/>
                  <a:pt x="6767" y="386"/>
                  <a:pt x="6767" y="386"/>
                </a:cubicBezTo>
                <a:cubicBezTo>
                  <a:pt x="6767" y="386"/>
                  <a:pt x="6766" y="386"/>
                  <a:pt x="6766" y="386"/>
                </a:cubicBezTo>
                <a:lnTo>
                  <a:pt x="6767" y="385"/>
                </a:lnTo>
                <a:cubicBezTo>
                  <a:pt x="6767" y="384"/>
                  <a:pt x="6768" y="384"/>
                  <a:pt x="6769" y="383"/>
                </a:cubicBezTo>
                <a:cubicBezTo>
                  <a:pt x="6769" y="382"/>
                  <a:pt x="6769" y="381"/>
                  <a:pt x="6769" y="380"/>
                </a:cubicBezTo>
                <a:cubicBezTo>
                  <a:pt x="6769" y="380"/>
                  <a:pt x="6769" y="379"/>
                  <a:pt x="6769" y="379"/>
                </a:cubicBezTo>
                <a:lnTo>
                  <a:pt x="6769" y="378"/>
                </a:lnTo>
                <a:cubicBezTo>
                  <a:pt x="6769" y="377"/>
                  <a:pt x="6770" y="377"/>
                  <a:pt x="6771" y="377"/>
                </a:cubicBezTo>
                <a:cubicBezTo>
                  <a:pt x="6772" y="377"/>
                  <a:pt x="6772" y="377"/>
                  <a:pt x="6772" y="376"/>
                </a:cubicBezTo>
                <a:lnTo>
                  <a:pt x="6772" y="376"/>
                </a:lnTo>
                <a:cubicBezTo>
                  <a:pt x="6772" y="374"/>
                  <a:pt x="6772" y="372"/>
                  <a:pt x="6773" y="371"/>
                </a:cubicBezTo>
                <a:cubicBezTo>
                  <a:pt x="6773" y="370"/>
                  <a:pt x="6774" y="369"/>
                  <a:pt x="6774" y="369"/>
                </a:cubicBezTo>
                <a:cubicBezTo>
                  <a:pt x="6775" y="364"/>
                  <a:pt x="6776" y="360"/>
                  <a:pt x="6777" y="358"/>
                </a:cubicBezTo>
                <a:cubicBezTo>
                  <a:pt x="6778" y="356"/>
                  <a:pt x="6779" y="355"/>
                  <a:pt x="6779" y="355"/>
                </a:cubicBezTo>
                <a:lnTo>
                  <a:pt x="6780" y="356"/>
                </a:lnTo>
                <a:cubicBezTo>
                  <a:pt x="6780" y="356"/>
                  <a:pt x="6780" y="355"/>
                  <a:pt x="6780" y="353"/>
                </a:cubicBezTo>
                <a:cubicBezTo>
                  <a:pt x="6780" y="353"/>
                  <a:pt x="6780" y="353"/>
                  <a:pt x="6780" y="352"/>
                </a:cubicBezTo>
                <a:cubicBezTo>
                  <a:pt x="6780" y="350"/>
                  <a:pt x="6780" y="349"/>
                  <a:pt x="6782" y="347"/>
                </a:cubicBezTo>
                <a:cubicBezTo>
                  <a:pt x="6783" y="345"/>
                  <a:pt x="6784" y="343"/>
                  <a:pt x="6784" y="342"/>
                </a:cubicBezTo>
                <a:cubicBezTo>
                  <a:pt x="6784" y="342"/>
                  <a:pt x="6784" y="342"/>
                  <a:pt x="6784" y="341"/>
                </a:cubicBezTo>
                <a:cubicBezTo>
                  <a:pt x="6784" y="341"/>
                  <a:pt x="6784" y="341"/>
                  <a:pt x="6786" y="341"/>
                </a:cubicBezTo>
                <a:cubicBezTo>
                  <a:pt x="6788" y="341"/>
                  <a:pt x="6789" y="343"/>
                  <a:pt x="6789" y="346"/>
                </a:cubicBezTo>
                <a:cubicBezTo>
                  <a:pt x="6789" y="348"/>
                  <a:pt x="6789" y="351"/>
                  <a:pt x="6788" y="355"/>
                </a:cubicBezTo>
                <a:cubicBezTo>
                  <a:pt x="6788" y="356"/>
                  <a:pt x="6788" y="356"/>
                  <a:pt x="6787" y="356"/>
                </a:cubicBezTo>
                <a:cubicBezTo>
                  <a:pt x="6786" y="356"/>
                  <a:pt x="6786" y="356"/>
                  <a:pt x="6785" y="355"/>
                </a:cubicBezTo>
                <a:cubicBezTo>
                  <a:pt x="6784" y="355"/>
                  <a:pt x="6784" y="355"/>
                  <a:pt x="6784" y="355"/>
                </a:cubicBezTo>
                <a:lnTo>
                  <a:pt x="6785" y="357"/>
                </a:lnTo>
                <a:cubicBezTo>
                  <a:pt x="6785" y="358"/>
                  <a:pt x="6784" y="359"/>
                  <a:pt x="6782" y="360"/>
                </a:cubicBezTo>
                <a:cubicBezTo>
                  <a:pt x="6780" y="360"/>
                  <a:pt x="6780" y="361"/>
                  <a:pt x="6780" y="362"/>
                </a:cubicBezTo>
                <a:cubicBezTo>
                  <a:pt x="6780" y="363"/>
                  <a:pt x="6780" y="364"/>
                  <a:pt x="6781" y="365"/>
                </a:cubicBezTo>
                <a:cubicBezTo>
                  <a:pt x="6782" y="366"/>
                  <a:pt x="6783" y="367"/>
                  <a:pt x="6783" y="368"/>
                </a:cubicBezTo>
                <a:cubicBezTo>
                  <a:pt x="6783" y="368"/>
                  <a:pt x="6782" y="369"/>
                  <a:pt x="6780" y="369"/>
                </a:cubicBezTo>
                <a:cubicBezTo>
                  <a:pt x="6779" y="370"/>
                  <a:pt x="6778" y="371"/>
                  <a:pt x="6778" y="372"/>
                </a:cubicBezTo>
                <a:lnTo>
                  <a:pt x="6778" y="374"/>
                </a:lnTo>
                <a:cubicBezTo>
                  <a:pt x="6778" y="375"/>
                  <a:pt x="6778" y="375"/>
                  <a:pt x="6777" y="375"/>
                </a:cubicBezTo>
                <a:cubicBezTo>
                  <a:pt x="6776" y="375"/>
                  <a:pt x="6775" y="376"/>
                  <a:pt x="6775" y="378"/>
                </a:cubicBezTo>
                <a:lnTo>
                  <a:pt x="6776" y="380"/>
                </a:lnTo>
                <a:cubicBezTo>
                  <a:pt x="6776" y="381"/>
                  <a:pt x="6776" y="382"/>
                  <a:pt x="6775" y="382"/>
                </a:cubicBezTo>
                <a:cubicBezTo>
                  <a:pt x="6774" y="382"/>
                  <a:pt x="6773" y="382"/>
                  <a:pt x="6772" y="384"/>
                </a:cubicBezTo>
                <a:cubicBezTo>
                  <a:pt x="6772" y="385"/>
                  <a:pt x="6771" y="387"/>
                  <a:pt x="6771" y="389"/>
                </a:cubicBezTo>
                <a:cubicBezTo>
                  <a:pt x="6771" y="391"/>
                  <a:pt x="6772" y="392"/>
                  <a:pt x="6773" y="392"/>
                </a:cubicBezTo>
                <a:cubicBezTo>
                  <a:pt x="6774" y="392"/>
                  <a:pt x="6776" y="390"/>
                  <a:pt x="6778" y="386"/>
                </a:cubicBezTo>
                <a:cubicBezTo>
                  <a:pt x="6782" y="377"/>
                  <a:pt x="6784" y="371"/>
                  <a:pt x="6784" y="368"/>
                </a:cubicBezTo>
                <a:cubicBezTo>
                  <a:pt x="6784" y="366"/>
                  <a:pt x="6784" y="365"/>
                  <a:pt x="6784" y="365"/>
                </a:cubicBezTo>
                <a:cubicBezTo>
                  <a:pt x="6783" y="364"/>
                  <a:pt x="6783" y="364"/>
                  <a:pt x="6783" y="364"/>
                </a:cubicBezTo>
                <a:cubicBezTo>
                  <a:pt x="6783" y="363"/>
                  <a:pt x="6783" y="362"/>
                  <a:pt x="6784" y="361"/>
                </a:cubicBezTo>
                <a:cubicBezTo>
                  <a:pt x="6785" y="360"/>
                  <a:pt x="6786" y="359"/>
                  <a:pt x="6787" y="358"/>
                </a:cubicBezTo>
                <a:cubicBezTo>
                  <a:pt x="6789" y="358"/>
                  <a:pt x="6790" y="357"/>
                  <a:pt x="6791" y="357"/>
                </a:cubicBezTo>
                <a:cubicBezTo>
                  <a:pt x="6792" y="357"/>
                  <a:pt x="6792" y="357"/>
                  <a:pt x="6792" y="358"/>
                </a:cubicBezTo>
                <a:cubicBezTo>
                  <a:pt x="6793" y="358"/>
                  <a:pt x="6793" y="358"/>
                  <a:pt x="6794" y="359"/>
                </a:cubicBezTo>
                <a:lnTo>
                  <a:pt x="6793" y="357"/>
                </a:lnTo>
                <a:cubicBezTo>
                  <a:pt x="6792" y="355"/>
                  <a:pt x="6791" y="354"/>
                  <a:pt x="6791" y="353"/>
                </a:cubicBezTo>
                <a:cubicBezTo>
                  <a:pt x="6791" y="352"/>
                  <a:pt x="6792" y="350"/>
                  <a:pt x="6794" y="348"/>
                </a:cubicBezTo>
                <a:cubicBezTo>
                  <a:pt x="6795" y="346"/>
                  <a:pt x="6795" y="345"/>
                  <a:pt x="6795" y="344"/>
                </a:cubicBezTo>
                <a:cubicBezTo>
                  <a:pt x="6795" y="343"/>
                  <a:pt x="6795" y="343"/>
                  <a:pt x="6795" y="343"/>
                </a:cubicBezTo>
                <a:cubicBezTo>
                  <a:pt x="6795" y="343"/>
                  <a:pt x="6794" y="343"/>
                  <a:pt x="6793" y="342"/>
                </a:cubicBezTo>
                <a:cubicBezTo>
                  <a:pt x="6791" y="341"/>
                  <a:pt x="6790" y="340"/>
                  <a:pt x="6789" y="339"/>
                </a:cubicBezTo>
                <a:cubicBezTo>
                  <a:pt x="6787" y="338"/>
                  <a:pt x="6787" y="336"/>
                  <a:pt x="6787" y="334"/>
                </a:cubicBezTo>
                <a:cubicBezTo>
                  <a:pt x="6787" y="332"/>
                  <a:pt x="6788" y="330"/>
                  <a:pt x="6790" y="327"/>
                </a:cubicBezTo>
                <a:cubicBezTo>
                  <a:pt x="6792" y="325"/>
                  <a:pt x="6794" y="324"/>
                  <a:pt x="6797" y="324"/>
                </a:cubicBezTo>
                <a:cubicBezTo>
                  <a:pt x="6799" y="324"/>
                  <a:pt x="6800" y="324"/>
                  <a:pt x="6800" y="323"/>
                </a:cubicBezTo>
                <a:cubicBezTo>
                  <a:pt x="6800" y="322"/>
                  <a:pt x="6800" y="322"/>
                  <a:pt x="6799" y="321"/>
                </a:cubicBezTo>
                <a:cubicBezTo>
                  <a:pt x="6799" y="321"/>
                  <a:pt x="6799" y="321"/>
                  <a:pt x="6799" y="320"/>
                </a:cubicBezTo>
                <a:cubicBezTo>
                  <a:pt x="6799" y="319"/>
                  <a:pt x="6800" y="319"/>
                  <a:pt x="6803" y="319"/>
                </a:cubicBezTo>
                <a:lnTo>
                  <a:pt x="6807" y="320"/>
                </a:lnTo>
                <a:cubicBezTo>
                  <a:pt x="6807" y="320"/>
                  <a:pt x="6806" y="319"/>
                  <a:pt x="6804" y="317"/>
                </a:cubicBezTo>
                <a:cubicBezTo>
                  <a:pt x="6802" y="316"/>
                  <a:pt x="6801" y="315"/>
                  <a:pt x="6800" y="315"/>
                </a:cubicBezTo>
                <a:cubicBezTo>
                  <a:pt x="6800" y="315"/>
                  <a:pt x="6799" y="315"/>
                  <a:pt x="6799" y="316"/>
                </a:cubicBezTo>
                <a:cubicBezTo>
                  <a:pt x="6798" y="317"/>
                  <a:pt x="6797" y="318"/>
                  <a:pt x="6796" y="318"/>
                </a:cubicBezTo>
                <a:cubicBezTo>
                  <a:pt x="6796" y="318"/>
                  <a:pt x="6795" y="317"/>
                  <a:pt x="6795" y="317"/>
                </a:cubicBezTo>
                <a:cubicBezTo>
                  <a:pt x="6795" y="316"/>
                  <a:pt x="6797" y="312"/>
                  <a:pt x="6800" y="306"/>
                </a:cubicBezTo>
                <a:cubicBezTo>
                  <a:pt x="6804" y="299"/>
                  <a:pt x="6806" y="295"/>
                  <a:pt x="6807" y="295"/>
                </a:cubicBezTo>
                <a:cubicBezTo>
                  <a:pt x="6807" y="295"/>
                  <a:pt x="6807" y="295"/>
                  <a:pt x="6807" y="295"/>
                </a:cubicBezTo>
                <a:cubicBezTo>
                  <a:pt x="6807" y="296"/>
                  <a:pt x="6807" y="296"/>
                  <a:pt x="6806" y="297"/>
                </a:cubicBezTo>
                <a:cubicBezTo>
                  <a:pt x="6806" y="299"/>
                  <a:pt x="6807" y="301"/>
                  <a:pt x="6808" y="303"/>
                </a:cubicBezTo>
                <a:cubicBezTo>
                  <a:pt x="6809" y="305"/>
                  <a:pt x="6809" y="306"/>
                  <a:pt x="6809" y="308"/>
                </a:cubicBezTo>
                <a:cubicBezTo>
                  <a:pt x="6809" y="309"/>
                  <a:pt x="6809" y="311"/>
                  <a:pt x="6807" y="312"/>
                </a:cubicBezTo>
                <a:lnTo>
                  <a:pt x="6806" y="315"/>
                </a:lnTo>
                <a:cubicBezTo>
                  <a:pt x="6808" y="315"/>
                  <a:pt x="6812" y="308"/>
                  <a:pt x="6817" y="295"/>
                </a:cubicBezTo>
                <a:cubicBezTo>
                  <a:pt x="6819" y="293"/>
                  <a:pt x="6819" y="292"/>
                  <a:pt x="6819" y="290"/>
                </a:cubicBezTo>
                <a:cubicBezTo>
                  <a:pt x="6819" y="289"/>
                  <a:pt x="6819" y="289"/>
                  <a:pt x="6818" y="289"/>
                </a:cubicBezTo>
                <a:cubicBezTo>
                  <a:pt x="6816" y="289"/>
                  <a:pt x="6814" y="289"/>
                  <a:pt x="6812" y="290"/>
                </a:cubicBezTo>
                <a:lnTo>
                  <a:pt x="6812" y="290"/>
                </a:lnTo>
                <a:cubicBezTo>
                  <a:pt x="6812" y="291"/>
                  <a:pt x="6812" y="291"/>
                  <a:pt x="6812" y="291"/>
                </a:cubicBezTo>
                <a:cubicBezTo>
                  <a:pt x="6813" y="292"/>
                  <a:pt x="6813" y="293"/>
                  <a:pt x="6814" y="293"/>
                </a:cubicBezTo>
                <a:cubicBezTo>
                  <a:pt x="6814" y="294"/>
                  <a:pt x="6815" y="295"/>
                  <a:pt x="6815" y="296"/>
                </a:cubicBezTo>
                <a:cubicBezTo>
                  <a:pt x="6815" y="297"/>
                  <a:pt x="6814" y="299"/>
                  <a:pt x="6813" y="300"/>
                </a:cubicBezTo>
                <a:cubicBezTo>
                  <a:pt x="6812" y="301"/>
                  <a:pt x="6811" y="302"/>
                  <a:pt x="6810" y="302"/>
                </a:cubicBezTo>
                <a:cubicBezTo>
                  <a:pt x="6810" y="302"/>
                  <a:pt x="6809" y="302"/>
                  <a:pt x="6809" y="300"/>
                </a:cubicBezTo>
                <a:cubicBezTo>
                  <a:pt x="6809" y="298"/>
                  <a:pt x="6809" y="297"/>
                  <a:pt x="6810" y="297"/>
                </a:cubicBezTo>
                <a:cubicBezTo>
                  <a:pt x="6811" y="297"/>
                  <a:pt x="6811" y="297"/>
                  <a:pt x="6811" y="296"/>
                </a:cubicBezTo>
                <a:cubicBezTo>
                  <a:pt x="6811" y="296"/>
                  <a:pt x="6811" y="296"/>
                  <a:pt x="6810" y="295"/>
                </a:cubicBezTo>
                <a:cubicBezTo>
                  <a:pt x="6809" y="294"/>
                  <a:pt x="6808" y="293"/>
                  <a:pt x="6807" y="291"/>
                </a:cubicBezTo>
                <a:cubicBezTo>
                  <a:pt x="6806" y="290"/>
                  <a:pt x="6806" y="289"/>
                  <a:pt x="6806" y="287"/>
                </a:cubicBezTo>
                <a:cubicBezTo>
                  <a:pt x="6806" y="286"/>
                  <a:pt x="6806" y="286"/>
                  <a:pt x="6807" y="286"/>
                </a:cubicBezTo>
                <a:lnTo>
                  <a:pt x="6809" y="286"/>
                </a:lnTo>
                <a:cubicBezTo>
                  <a:pt x="6812" y="286"/>
                  <a:pt x="6813" y="285"/>
                  <a:pt x="6813" y="282"/>
                </a:cubicBezTo>
                <a:cubicBezTo>
                  <a:pt x="6813" y="280"/>
                  <a:pt x="6812" y="279"/>
                  <a:pt x="6809" y="278"/>
                </a:cubicBezTo>
                <a:lnTo>
                  <a:pt x="6807" y="279"/>
                </a:lnTo>
                <a:cubicBezTo>
                  <a:pt x="6806" y="279"/>
                  <a:pt x="6806" y="278"/>
                  <a:pt x="6806" y="277"/>
                </a:cubicBezTo>
                <a:cubicBezTo>
                  <a:pt x="6806" y="277"/>
                  <a:pt x="6806" y="276"/>
                  <a:pt x="6807" y="274"/>
                </a:cubicBezTo>
                <a:cubicBezTo>
                  <a:pt x="6807" y="273"/>
                  <a:pt x="6808" y="273"/>
                  <a:pt x="6808" y="273"/>
                </a:cubicBezTo>
                <a:cubicBezTo>
                  <a:pt x="6808" y="273"/>
                  <a:pt x="6809" y="273"/>
                  <a:pt x="6809" y="274"/>
                </a:cubicBezTo>
                <a:cubicBezTo>
                  <a:pt x="6809" y="275"/>
                  <a:pt x="6810" y="275"/>
                  <a:pt x="6810" y="276"/>
                </a:cubicBezTo>
                <a:cubicBezTo>
                  <a:pt x="6811" y="276"/>
                  <a:pt x="6812" y="277"/>
                  <a:pt x="6812" y="277"/>
                </a:cubicBezTo>
                <a:cubicBezTo>
                  <a:pt x="6813" y="277"/>
                  <a:pt x="6814" y="276"/>
                  <a:pt x="6814" y="275"/>
                </a:cubicBezTo>
                <a:lnTo>
                  <a:pt x="6813" y="272"/>
                </a:lnTo>
                <a:cubicBezTo>
                  <a:pt x="6813" y="269"/>
                  <a:pt x="6814" y="269"/>
                  <a:pt x="6814" y="269"/>
                </a:cubicBezTo>
                <a:cubicBezTo>
                  <a:pt x="6815" y="269"/>
                  <a:pt x="6816" y="269"/>
                  <a:pt x="6817" y="271"/>
                </a:cubicBezTo>
                <a:lnTo>
                  <a:pt x="6818" y="274"/>
                </a:lnTo>
                <a:cubicBezTo>
                  <a:pt x="6818" y="274"/>
                  <a:pt x="6818" y="273"/>
                  <a:pt x="6818" y="273"/>
                </a:cubicBezTo>
                <a:lnTo>
                  <a:pt x="6818" y="269"/>
                </a:lnTo>
                <a:cubicBezTo>
                  <a:pt x="6817" y="266"/>
                  <a:pt x="6816" y="264"/>
                  <a:pt x="6815" y="264"/>
                </a:cubicBezTo>
                <a:cubicBezTo>
                  <a:pt x="6813" y="264"/>
                  <a:pt x="6813" y="264"/>
                  <a:pt x="6812" y="264"/>
                </a:cubicBezTo>
                <a:lnTo>
                  <a:pt x="6814" y="260"/>
                </a:lnTo>
                <a:cubicBezTo>
                  <a:pt x="6815" y="257"/>
                  <a:pt x="6816" y="256"/>
                  <a:pt x="6817" y="256"/>
                </a:cubicBezTo>
                <a:cubicBezTo>
                  <a:pt x="6817" y="256"/>
                  <a:pt x="6818" y="256"/>
                  <a:pt x="6818" y="257"/>
                </a:cubicBezTo>
                <a:cubicBezTo>
                  <a:pt x="6818" y="257"/>
                  <a:pt x="6817" y="258"/>
                  <a:pt x="6817" y="259"/>
                </a:cubicBezTo>
                <a:lnTo>
                  <a:pt x="6816" y="262"/>
                </a:lnTo>
                <a:cubicBezTo>
                  <a:pt x="6817" y="262"/>
                  <a:pt x="6818" y="262"/>
                  <a:pt x="6819" y="260"/>
                </a:cubicBezTo>
                <a:cubicBezTo>
                  <a:pt x="6821" y="258"/>
                  <a:pt x="6822" y="256"/>
                  <a:pt x="6823" y="252"/>
                </a:cubicBezTo>
                <a:cubicBezTo>
                  <a:pt x="6824" y="249"/>
                  <a:pt x="6825" y="248"/>
                  <a:pt x="6826" y="248"/>
                </a:cubicBezTo>
                <a:cubicBezTo>
                  <a:pt x="6826" y="248"/>
                  <a:pt x="6827" y="248"/>
                  <a:pt x="6828" y="249"/>
                </a:cubicBezTo>
                <a:lnTo>
                  <a:pt x="6829" y="251"/>
                </a:lnTo>
                <a:lnTo>
                  <a:pt x="6828" y="248"/>
                </a:lnTo>
                <a:cubicBezTo>
                  <a:pt x="6828" y="245"/>
                  <a:pt x="6831" y="237"/>
                  <a:pt x="6837" y="227"/>
                </a:cubicBezTo>
                <a:cubicBezTo>
                  <a:pt x="6852" y="202"/>
                  <a:pt x="6866" y="182"/>
                  <a:pt x="6879" y="167"/>
                </a:cubicBezTo>
                <a:cubicBezTo>
                  <a:pt x="6881" y="166"/>
                  <a:pt x="6882" y="164"/>
                  <a:pt x="6883" y="164"/>
                </a:cubicBezTo>
                <a:cubicBezTo>
                  <a:pt x="6884" y="163"/>
                  <a:pt x="6886" y="162"/>
                  <a:pt x="6887" y="162"/>
                </a:cubicBezTo>
                <a:cubicBezTo>
                  <a:pt x="6888" y="162"/>
                  <a:pt x="6889" y="163"/>
                  <a:pt x="6891" y="164"/>
                </a:cubicBezTo>
                <a:cubicBezTo>
                  <a:pt x="6893" y="165"/>
                  <a:pt x="6894" y="166"/>
                  <a:pt x="6895" y="167"/>
                </a:cubicBezTo>
                <a:cubicBezTo>
                  <a:pt x="6896" y="169"/>
                  <a:pt x="6897" y="170"/>
                  <a:pt x="6897" y="171"/>
                </a:cubicBezTo>
                <a:cubicBezTo>
                  <a:pt x="6897" y="171"/>
                  <a:pt x="6897" y="172"/>
                  <a:pt x="6898" y="173"/>
                </a:cubicBezTo>
                <a:cubicBezTo>
                  <a:pt x="6898" y="173"/>
                  <a:pt x="6899" y="172"/>
                  <a:pt x="6901" y="171"/>
                </a:cubicBezTo>
                <a:cubicBezTo>
                  <a:pt x="6902" y="170"/>
                  <a:pt x="6903" y="169"/>
                  <a:pt x="6904" y="169"/>
                </a:cubicBezTo>
                <a:cubicBezTo>
                  <a:pt x="6905" y="169"/>
                  <a:pt x="6906" y="170"/>
                  <a:pt x="6907" y="172"/>
                </a:cubicBezTo>
                <a:cubicBezTo>
                  <a:pt x="6907" y="174"/>
                  <a:pt x="6909" y="175"/>
                  <a:pt x="6913" y="175"/>
                </a:cubicBezTo>
                <a:cubicBezTo>
                  <a:pt x="6916" y="175"/>
                  <a:pt x="6918" y="175"/>
                  <a:pt x="6919" y="176"/>
                </a:cubicBezTo>
                <a:cubicBezTo>
                  <a:pt x="6919" y="177"/>
                  <a:pt x="6920" y="178"/>
                  <a:pt x="6920" y="180"/>
                </a:cubicBezTo>
                <a:cubicBezTo>
                  <a:pt x="6920" y="185"/>
                  <a:pt x="6918" y="191"/>
                  <a:pt x="6915" y="196"/>
                </a:cubicBezTo>
                <a:cubicBezTo>
                  <a:pt x="6913" y="198"/>
                  <a:pt x="6913" y="199"/>
                  <a:pt x="6912" y="199"/>
                </a:cubicBezTo>
                <a:lnTo>
                  <a:pt x="6911" y="199"/>
                </a:lnTo>
                <a:cubicBezTo>
                  <a:pt x="6911" y="199"/>
                  <a:pt x="6911" y="200"/>
                  <a:pt x="6911" y="201"/>
                </a:cubicBezTo>
                <a:cubicBezTo>
                  <a:pt x="6911" y="204"/>
                  <a:pt x="6910" y="208"/>
                  <a:pt x="6908" y="212"/>
                </a:cubicBezTo>
                <a:cubicBezTo>
                  <a:pt x="6906" y="215"/>
                  <a:pt x="6904" y="219"/>
                  <a:pt x="6901" y="222"/>
                </a:cubicBezTo>
                <a:cubicBezTo>
                  <a:pt x="6899" y="225"/>
                  <a:pt x="6897" y="227"/>
                  <a:pt x="6895" y="227"/>
                </a:cubicBezTo>
                <a:lnTo>
                  <a:pt x="6892" y="226"/>
                </a:lnTo>
                <a:cubicBezTo>
                  <a:pt x="6892" y="226"/>
                  <a:pt x="6893" y="227"/>
                  <a:pt x="6894" y="228"/>
                </a:cubicBezTo>
                <a:cubicBezTo>
                  <a:pt x="6896" y="228"/>
                  <a:pt x="6896" y="229"/>
                  <a:pt x="6896" y="231"/>
                </a:cubicBezTo>
                <a:cubicBezTo>
                  <a:pt x="6896" y="232"/>
                  <a:pt x="6895" y="234"/>
                  <a:pt x="6894" y="236"/>
                </a:cubicBezTo>
                <a:cubicBezTo>
                  <a:pt x="6892" y="239"/>
                  <a:pt x="6891" y="241"/>
                  <a:pt x="6891" y="244"/>
                </a:cubicBezTo>
                <a:lnTo>
                  <a:pt x="6891" y="245"/>
                </a:lnTo>
                <a:cubicBezTo>
                  <a:pt x="6891" y="245"/>
                  <a:pt x="6889" y="245"/>
                  <a:pt x="6887" y="245"/>
                </a:cubicBezTo>
                <a:lnTo>
                  <a:pt x="6884" y="245"/>
                </a:lnTo>
                <a:cubicBezTo>
                  <a:pt x="6882" y="245"/>
                  <a:pt x="6881" y="246"/>
                  <a:pt x="6881" y="247"/>
                </a:cubicBezTo>
                <a:cubicBezTo>
                  <a:pt x="6881" y="249"/>
                  <a:pt x="6881" y="250"/>
                  <a:pt x="6880" y="250"/>
                </a:cubicBezTo>
                <a:lnTo>
                  <a:pt x="6879" y="250"/>
                </a:lnTo>
                <a:cubicBezTo>
                  <a:pt x="6878" y="250"/>
                  <a:pt x="6878" y="250"/>
                  <a:pt x="6878" y="250"/>
                </a:cubicBezTo>
                <a:cubicBezTo>
                  <a:pt x="6878" y="251"/>
                  <a:pt x="6878" y="252"/>
                  <a:pt x="6879" y="253"/>
                </a:cubicBezTo>
                <a:cubicBezTo>
                  <a:pt x="6879" y="254"/>
                  <a:pt x="6879" y="255"/>
                  <a:pt x="6880" y="255"/>
                </a:cubicBezTo>
                <a:cubicBezTo>
                  <a:pt x="6881" y="255"/>
                  <a:pt x="6881" y="254"/>
                  <a:pt x="6883" y="252"/>
                </a:cubicBezTo>
                <a:lnTo>
                  <a:pt x="6884" y="250"/>
                </a:lnTo>
                <a:lnTo>
                  <a:pt x="6882" y="254"/>
                </a:lnTo>
                <a:cubicBezTo>
                  <a:pt x="6881" y="256"/>
                  <a:pt x="6880" y="259"/>
                  <a:pt x="6880" y="262"/>
                </a:cubicBezTo>
                <a:cubicBezTo>
                  <a:pt x="6880" y="263"/>
                  <a:pt x="6879" y="264"/>
                  <a:pt x="6876" y="264"/>
                </a:cubicBezTo>
                <a:cubicBezTo>
                  <a:pt x="6874" y="264"/>
                  <a:pt x="6873" y="264"/>
                  <a:pt x="6873" y="264"/>
                </a:cubicBezTo>
                <a:cubicBezTo>
                  <a:pt x="6873" y="264"/>
                  <a:pt x="6874" y="263"/>
                  <a:pt x="6875" y="262"/>
                </a:cubicBezTo>
                <a:cubicBezTo>
                  <a:pt x="6876" y="262"/>
                  <a:pt x="6876" y="261"/>
                  <a:pt x="6876" y="261"/>
                </a:cubicBezTo>
                <a:cubicBezTo>
                  <a:pt x="6876" y="261"/>
                  <a:pt x="6876" y="260"/>
                  <a:pt x="6874" y="260"/>
                </a:cubicBezTo>
                <a:cubicBezTo>
                  <a:pt x="6873" y="260"/>
                  <a:pt x="6872" y="261"/>
                  <a:pt x="6872" y="261"/>
                </a:cubicBezTo>
                <a:cubicBezTo>
                  <a:pt x="6871" y="262"/>
                  <a:pt x="6870" y="263"/>
                  <a:pt x="6870" y="264"/>
                </a:cubicBezTo>
                <a:cubicBezTo>
                  <a:pt x="6870" y="264"/>
                  <a:pt x="6870" y="265"/>
                  <a:pt x="6870" y="266"/>
                </a:cubicBezTo>
                <a:cubicBezTo>
                  <a:pt x="6869" y="267"/>
                  <a:pt x="6869" y="268"/>
                  <a:pt x="6868" y="268"/>
                </a:cubicBezTo>
                <a:lnTo>
                  <a:pt x="6867" y="269"/>
                </a:lnTo>
                <a:cubicBezTo>
                  <a:pt x="6867" y="269"/>
                  <a:pt x="6867" y="269"/>
                  <a:pt x="6867" y="269"/>
                </a:cubicBezTo>
                <a:lnTo>
                  <a:pt x="6870" y="269"/>
                </a:lnTo>
                <a:cubicBezTo>
                  <a:pt x="6872" y="269"/>
                  <a:pt x="6874" y="269"/>
                  <a:pt x="6874" y="269"/>
                </a:cubicBezTo>
                <a:cubicBezTo>
                  <a:pt x="6874" y="270"/>
                  <a:pt x="6873" y="271"/>
                  <a:pt x="6872" y="273"/>
                </a:cubicBezTo>
                <a:cubicBezTo>
                  <a:pt x="6872" y="274"/>
                  <a:pt x="6870" y="275"/>
                  <a:pt x="6868" y="275"/>
                </a:cubicBezTo>
                <a:lnTo>
                  <a:pt x="6863" y="274"/>
                </a:lnTo>
                <a:cubicBezTo>
                  <a:pt x="6862" y="274"/>
                  <a:pt x="6862" y="274"/>
                  <a:pt x="6862" y="275"/>
                </a:cubicBezTo>
                <a:lnTo>
                  <a:pt x="6862" y="277"/>
                </a:lnTo>
                <a:lnTo>
                  <a:pt x="6862" y="279"/>
                </a:lnTo>
                <a:lnTo>
                  <a:pt x="6857" y="281"/>
                </a:lnTo>
                <a:cubicBezTo>
                  <a:pt x="6857" y="282"/>
                  <a:pt x="6858" y="283"/>
                  <a:pt x="6860" y="284"/>
                </a:cubicBezTo>
                <a:cubicBezTo>
                  <a:pt x="6862" y="285"/>
                  <a:pt x="6862" y="286"/>
                  <a:pt x="6862" y="287"/>
                </a:cubicBezTo>
                <a:cubicBezTo>
                  <a:pt x="6862" y="289"/>
                  <a:pt x="6862" y="290"/>
                  <a:pt x="6861" y="291"/>
                </a:cubicBezTo>
                <a:cubicBezTo>
                  <a:pt x="6860" y="292"/>
                  <a:pt x="6859" y="293"/>
                  <a:pt x="6857" y="293"/>
                </a:cubicBezTo>
                <a:cubicBezTo>
                  <a:pt x="6856" y="293"/>
                  <a:pt x="6856" y="293"/>
                  <a:pt x="6855" y="292"/>
                </a:cubicBezTo>
                <a:cubicBezTo>
                  <a:pt x="6854" y="291"/>
                  <a:pt x="6853" y="291"/>
                  <a:pt x="6852" y="291"/>
                </a:cubicBezTo>
                <a:cubicBezTo>
                  <a:pt x="6852" y="291"/>
                  <a:pt x="6851" y="292"/>
                  <a:pt x="6850" y="293"/>
                </a:cubicBezTo>
                <a:lnTo>
                  <a:pt x="6850" y="294"/>
                </a:lnTo>
                <a:cubicBezTo>
                  <a:pt x="6850" y="296"/>
                  <a:pt x="6851" y="296"/>
                  <a:pt x="6853" y="296"/>
                </a:cubicBezTo>
                <a:cubicBezTo>
                  <a:pt x="6854" y="296"/>
                  <a:pt x="6855" y="297"/>
                  <a:pt x="6855" y="299"/>
                </a:cubicBezTo>
                <a:cubicBezTo>
                  <a:pt x="6855" y="299"/>
                  <a:pt x="6853" y="300"/>
                  <a:pt x="6850" y="300"/>
                </a:cubicBezTo>
                <a:lnTo>
                  <a:pt x="6846" y="299"/>
                </a:lnTo>
                <a:cubicBezTo>
                  <a:pt x="6846" y="300"/>
                  <a:pt x="6847" y="301"/>
                  <a:pt x="6850" y="302"/>
                </a:cubicBezTo>
                <a:cubicBezTo>
                  <a:pt x="6852" y="304"/>
                  <a:pt x="6853" y="305"/>
                  <a:pt x="6853" y="306"/>
                </a:cubicBezTo>
                <a:cubicBezTo>
                  <a:pt x="6853" y="306"/>
                  <a:pt x="6852" y="307"/>
                  <a:pt x="6851" y="308"/>
                </a:cubicBezTo>
                <a:cubicBezTo>
                  <a:pt x="6849" y="308"/>
                  <a:pt x="6848" y="310"/>
                  <a:pt x="6848" y="311"/>
                </a:cubicBezTo>
                <a:lnTo>
                  <a:pt x="6848" y="313"/>
                </a:lnTo>
                <a:lnTo>
                  <a:pt x="6846" y="311"/>
                </a:lnTo>
                <a:cubicBezTo>
                  <a:pt x="6844" y="311"/>
                  <a:pt x="6844" y="313"/>
                  <a:pt x="6844" y="316"/>
                </a:cubicBezTo>
                <a:lnTo>
                  <a:pt x="6844" y="319"/>
                </a:lnTo>
                <a:lnTo>
                  <a:pt x="6841" y="318"/>
                </a:lnTo>
                <a:cubicBezTo>
                  <a:pt x="6840" y="318"/>
                  <a:pt x="6840" y="318"/>
                  <a:pt x="6840" y="318"/>
                </a:cubicBezTo>
                <a:lnTo>
                  <a:pt x="6841" y="323"/>
                </a:lnTo>
                <a:cubicBezTo>
                  <a:pt x="6841" y="325"/>
                  <a:pt x="6840" y="327"/>
                  <a:pt x="6838" y="327"/>
                </a:cubicBezTo>
                <a:lnTo>
                  <a:pt x="6840" y="323"/>
                </a:lnTo>
                <a:cubicBezTo>
                  <a:pt x="6840" y="323"/>
                  <a:pt x="6839" y="323"/>
                  <a:pt x="6839" y="323"/>
                </a:cubicBezTo>
                <a:lnTo>
                  <a:pt x="6838" y="324"/>
                </a:lnTo>
                <a:cubicBezTo>
                  <a:pt x="6837" y="324"/>
                  <a:pt x="6836" y="326"/>
                  <a:pt x="6836" y="328"/>
                </a:cubicBezTo>
                <a:cubicBezTo>
                  <a:pt x="6836" y="331"/>
                  <a:pt x="6835" y="333"/>
                  <a:pt x="6832" y="335"/>
                </a:cubicBezTo>
                <a:cubicBezTo>
                  <a:pt x="6831" y="336"/>
                  <a:pt x="6831" y="337"/>
                  <a:pt x="6831" y="337"/>
                </a:cubicBezTo>
                <a:lnTo>
                  <a:pt x="6832" y="337"/>
                </a:lnTo>
                <a:lnTo>
                  <a:pt x="6832" y="337"/>
                </a:lnTo>
                <a:lnTo>
                  <a:pt x="6832" y="337"/>
                </a:lnTo>
                <a:lnTo>
                  <a:pt x="6829" y="340"/>
                </a:lnTo>
                <a:cubicBezTo>
                  <a:pt x="6827" y="343"/>
                  <a:pt x="6826" y="344"/>
                  <a:pt x="6826" y="344"/>
                </a:cubicBezTo>
                <a:lnTo>
                  <a:pt x="6828" y="343"/>
                </a:lnTo>
                <a:lnTo>
                  <a:pt x="6828" y="344"/>
                </a:lnTo>
                <a:cubicBezTo>
                  <a:pt x="6828" y="344"/>
                  <a:pt x="6827" y="345"/>
                  <a:pt x="6826" y="346"/>
                </a:cubicBezTo>
                <a:cubicBezTo>
                  <a:pt x="6825" y="347"/>
                  <a:pt x="6824" y="348"/>
                  <a:pt x="6824" y="349"/>
                </a:cubicBezTo>
                <a:cubicBezTo>
                  <a:pt x="6823" y="350"/>
                  <a:pt x="6822" y="350"/>
                  <a:pt x="6822" y="351"/>
                </a:cubicBezTo>
                <a:cubicBezTo>
                  <a:pt x="6822" y="352"/>
                  <a:pt x="6821" y="354"/>
                  <a:pt x="6819" y="356"/>
                </a:cubicBezTo>
                <a:lnTo>
                  <a:pt x="6817" y="358"/>
                </a:lnTo>
                <a:lnTo>
                  <a:pt x="6819" y="357"/>
                </a:lnTo>
                <a:cubicBezTo>
                  <a:pt x="6819" y="357"/>
                  <a:pt x="6819" y="358"/>
                  <a:pt x="6819" y="359"/>
                </a:cubicBezTo>
                <a:cubicBezTo>
                  <a:pt x="6819" y="360"/>
                  <a:pt x="6819" y="361"/>
                  <a:pt x="6818" y="363"/>
                </a:cubicBezTo>
                <a:cubicBezTo>
                  <a:pt x="6817" y="365"/>
                  <a:pt x="6815" y="366"/>
                  <a:pt x="6814" y="368"/>
                </a:cubicBezTo>
                <a:lnTo>
                  <a:pt x="6812" y="370"/>
                </a:lnTo>
                <a:lnTo>
                  <a:pt x="6814" y="369"/>
                </a:lnTo>
                <a:cubicBezTo>
                  <a:pt x="6814" y="369"/>
                  <a:pt x="6814" y="370"/>
                  <a:pt x="6814" y="370"/>
                </a:cubicBezTo>
                <a:cubicBezTo>
                  <a:pt x="6814" y="372"/>
                  <a:pt x="6813" y="378"/>
                  <a:pt x="6809" y="387"/>
                </a:cubicBezTo>
                <a:lnTo>
                  <a:pt x="6800" y="411"/>
                </a:lnTo>
                <a:cubicBezTo>
                  <a:pt x="6796" y="422"/>
                  <a:pt x="6792" y="429"/>
                  <a:pt x="6790" y="432"/>
                </a:cubicBezTo>
                <a:lnTo>
                  <a:pt x="6789" y="434"/>
                </a:lnTo>
                <a:lnTo>
                  <a:pt x="6791" y="433"/>
                </a:lnTo>
                <a:cubicBezTo>
                  <a:pt x="6792" y="433"/>
                  <a:pt x="6792" y="433"/>
                  <a:pt x="6792" y="433"/>
                </a:cubicBezTo>
                <a:cubicBezTo>
                  <a:pt x="6792" y="435"/>
                  <a:pt x="6791" y="438"/>
                  <a:pt x="6789" y="445"/>
                </a:cubicBezTo>
                <a:cubicBezTo>
                  <a:pt x="6787" y="451"/>
                  <a:pt x="6785" y="455"/>
                  <a:pt x="6784" y="455"/>
                </a:cubicBezTo>
                <a:cubicBezTo>
                  <a:pt x="6783" y="455"/>
                  <a:pt x="6782" y="457"/>
                  <a:pt x="6782" y="462"/>
                </a:cubicBezTo>
                <a:cubicBezTo>
                  <a:pt x="6782" y="467"/>
                  <a:pt x="6782" y="470"/>
                  <a:pt x="6780" y="471"/>
                </a:cubicBezTo>
                <a:cubicBezTo>
                  <a:pt x="6779" y="472"/>
                  <a:pt x="6778" y="474"/>
                  <a:pt x="6777" y="477"/>
                </a:cubicBezTo>
                <a:cubicBezTo>
                  <a:pt x="6775" y="491"/>
                  <a:pt x="6773" y="498"/>
                  <a:pt x="6771" y="498"/>
                </a:cubicBezTo>
                <a:lnTo>
                  <a:pt x="6770" y="498"/>
                </a:lnTo>
                <a:cubicBezTo>
                  <a:pt x="6770" y="498"/>
                  <a:pt x="6770" y="499"/>
                  <a:pt x="6770" y="500"/>
                </a:cubicBezTo>
                <a:lnTo>
                  <a:pt x="6770" y="502"/>
                </a:lnTo>
                <a:cubicBezTo>
                  <a:pt x="6770" y="506"/>
                  <a:pt x="6770" y="508"/>
                  <a:pt x="6769" y="508"/>
                </a:cubicBezTo>
                <a:lnTo>
                  <a:pt x="6767" y="507"/>
                </a:lnTo>
                <a:cubicBezTo>
                  <a:pt x="6767" y="507"/>
                  <a:pt x="6767" y="507"/>
                  <a:pt x="6767" y="508"/>
                </a:cubicBezTo>
                <a:lnTo>
                  <a:pt x="6768" y="515"/>
                </a:lnTo>
                <a:lnTo>
                  <a:pt x="6767" y="517"/>
                </a:lnTo>
                <a:lnTo>
                  <a:pt x="6766" y="517"/>
                </a:lnTo>
                <a:cubicBezTo>
                  <a:pt x="6765" y="517"/>
                  <a:pt x="6765" y="519"/>
                  <a:pt x="6765" y="523"/>
                </a:cubicBezTo>
                <a:cubicBezTo>
                  <a:pt x="6765" y="526"/>
                  <a:pt x="6765" y="528"/>
                  <a:pt x="6764" y="529"/>
                </a:cubicBezTo>
                <a:cubicBezTo>
                  <a:pt x="6763" y="531"/>
                  <a:pt x="6763" y="533"/>
                  <a:pt x="6762" y="533"/>
                </a:cubicBezTo>
                <a:cubicBezTo>
                  <a:pt x="6761" y="533"/>
                  <a:pt x="6761" y="534"/>
                  <a:pt x="6761" y="535"/>
                </a:cubicBezTo>
                <a:lnTo>
                  <a:pt x="6761" y="535"/>
                </a:lnTo>
                <a:cubicBezTo>
                  <a:pt x="6761" y="536"/>
                  <a:pt x="6761" y="536"/>
                  <a:pt x="6761" y="538"/>
                </a:cubicBezTo>
                <a:cubicBezTo>
                  <a:pt x="6761" y="540"/>
                  <a:pt x="6761" y="543"/>
                  <a:pt x="6760" y="546"/>
                </a:cubicBezTo>
                <a:cubicBezTo>
                  <a:pt x="6759" y="549"/>
                  <a:pt x="6758" y="552"/>
                  <a:pt x="6757" y="555"/>
                </a:cubicBezTo>
                <a:cubicBezTo>
                  <a:pt x="6756" y="558"/>
                  <a:pt x="6755" y="559"/>
                  <a:pt x="6755" y="559"/>
                </a:cubicBezTo>
                <a:lnTo>
                  <a:pt x="6754" y="559"/>
                </a:lnTo>
                <a:cubicBezTo>
                  <a:pt x="6754" y="559"/>
                  <a:pt x="6754" y="559"/>
                  <a:pt x="6754" y="560"/>
                </a:cubicBezTo>
                <a:lnTo>
                  <a:pt x="6755" y="564"/>
                </a:lnTo>
                <a:cubicBezTo>
                  <a:pt x="6755" y="566"/>
                  <a:pt x="6754" y="567"/>
                  <a:pt x="6753" y="568"/>
                </a:cubicBezTo>
                <a:cubicBezTo>
                  <a:pt x="6752" y="568"/>
                  <a:pt x="6751" y="569"/>
                  <a:pt x="6751" y="569"/>
                </a:cubicBezTo>
                <a:cubicBezTo>
                  <a:pt x="6751" y="570"/>
                  <a:pt x="6752" y="570"/>
                  <a:pt x="6752" y="570"/>
                </a:cubicBezTo>
                <a:cubicBezTo>
                  <a:pt x="6753" y="570"/>
                  <a:pt x="6754" y="571"/>
                  <a:pt x="6754" y="574"/>
                </a:cubicBezTo>
                <a:cubicBezTo>
                  <a:pt x="6753" y="577"/>
                  <a:pt x="6752" y="578"/>
                  <a:pt x="6752" y="578"/>
                </a:cubicBezTo>
                <a:lnTo>
                  <a:pt x="6751" y="578"/>
                </a:lnTo>
                <a:cubicBezTo>
                  <a:pt x="6750" y="578"/>
                  <a:pt x="6750" y="580"/>
                  <a:pt x="6750" y="583"/>
                </a:cubicBezTo>
                <a:lnTo>
                  <a:pt x="6750" y="588"/>
                </a:lnTo>
                <a:cubicBezTo>
                  <a:pt x="6750" y="588"/>
                  <a:pt x="6750" y="587"/>
                  <a:pt x="6749" y="586"/>
                </a:cubicBezTo>
                <a:cubicBezTo>
                  <a:pt x="6748" y="585"/>
                  <a:pt x="6748" y="583"/>
                  <a:pt x="6748" y="580"/>
                </a:cubicBezTo>
                <a:cubicBezTo>
                  <a:pt x="6748" y="576"/>
                  <a:pt x="6748" y="571"/>
                  <a:pt x="6750" y="564"/>
                </a:cubicBezTo>
                <a:lnTo>
                  <a:pt x="6755" y="541"/>
                </a:lnTo>
                <a:cubicBezTo>
                  <a:pt x="6753" y="541"/>
                  <a:pt x="6749" y="555"/>
                  <a:pt x="6743" y="583"/>
                </a:cubicBezTo>
                <a:cubicBezTo>
                  <a:pt x="6742" y="592"/>
                  <a:pt x="6741" y="598"/>
                  <a:pt x="6741" y="601"/>
                </a:cubicBezTo>
                <a:cubicBezTo>
                  <a:pt x="6741" y="603"/>
                  <a:pt x="6741" y="604"/>
                  <a:pt x="6740" y="605"/>
                </a:cubicBezTo>
                <a:cubicBezTo>
                  <a:pt x="6739" y="605"/>
                  <a:pt x="6737" y="611"/>
                  <a:pt x="6735" y="623"/>
                </a:cubicBezTo>
                <a:cubicBezTo>
                  <a:pt x="6733" y="635"/>
                  <a:pt x="6731" y="642"/>
                  <a:pt x="6729" y="643"/>
                </a:cubicBezTo>
                <a:close/>
                <a:moveTo>
                  <a:pt x="6801" y="311"/>
                </a:moveTo>
                <a:cubicBezTo>
                  <a:pt x="6802" y="311"/>
                  <a:pt x="6802" y="310"/>
                  <a:pt x="6803" y="309"/>
                </a:cubicBezTo>
                <a:cubicBezTo>
                  <a:pt x="6805" y="308"/>
                  <a:pt x="6805" y="307"/>
                  <a:pt x="6805" y="306"/>
                </a:cubicBezTo>
                <a:cubicBezTo>
                  <a:pt x="6805" y="305"/>
                  <a:pt x="6805" y="305"/>
                  <a:pt x="6804" y="305"/>
                </a:cubicBezTo>
                <a:cubicBezTo>
                  <a:pt x="6804" y="305"/>
                  <a:pt x="6803" y="306"/>
                  <a:pt x="6802" y="308"/>
                </a:cubicBezTo>
                <a:lnTo>
                  <a:pt x="6801" y="311"/>
                </a:lnTo>
                <a:close/>
                <a:moveTo>
                  <a:pt x="6756" y="467"/>
                </a:moveTo>
                <a:lnTo>
                  <a:pt x="6757" y="465"/>
                </a:lnTo>
                <a:cubicBezTo>
                  <a:pt x="6759" y="462"/>
                  <a:pt x="6760" y="460"/>
                  <a:pt x="6760" y="458"/>
                </a:cubicBezTo>
                <a:cubicBezTo>
                  <a:pt x="6760" y="456"/>
                  <a:pt x="6759" y="455"/>
                  <a:pt x="6759" y="455"/>
                </a:cubicBezTo>
                <a:cubicBezTo>
                  <a:pt x="6759" y="455"/>
                  <a:pt x="6758" y="456"/>
                  <a:pt x="6757" y="458"/>
                </a:cubicBezTo>
                <a:cubicBezTo>
                  <a:pt x="6756" y="460"/>
                  <a:pt x="6755" y="463"/>
                  <a:pt x="6755" y="465"/>
                </a:cubicBezTo>
                <a:cubicBezTo>
                  <a:pt x="6755" y="466"/>
                  <a:pt x="6755" y="467"/>
                  <a:pt x="6756" y="467"/>
                </a:cubicBezTo>
                <a:close/>
                <a:moveTo>
                  <a:pt x="6769" y="409"/>
                </a:moveTo>
                <a:cubicBezTo>
                  <a:pt x="6770" y="409"/>
                  <a:pt x="6771" y="409"/>
                  <a:pt x="6772" y="407"/>
                </a:cubicBezTo>
                <a:lnTo>
                  <a:pt x="6772" y="406"/>
                </a:lnTo>
                <a:cubicBezTo>
                  <a:pt x="6772" y="405"/>
                  <a:pt x="6771" y="405"/>
                  <a:pt x="6771" y="405"/>
                </a:cubicBezTo>
                <a:cubicBezTo>
                  <a:pt x="6769" y="405"/>
                  <a:pt x="6768" y="406"/>
                  <a:pt x="6768" y="407"/>
                </a:cubicBezTo>
                <a:cubicBezTo>
                  <a:pt x="6768" y="409"/>
                  <a:pt x="6769" y="409"/>
                  <a:pt x="6769" y="409"/>
                </a:cubicBezTo>
                <a:close/>
                <a:moveTo>
                  <a:pt x="6768" y="402"/>
                </a:moveTo>
                <a:cubicBezTo>
                  <a:pt x="6770" y="402"/>
                  <a:pt x="6770" y="401"/>
                  <a:pt x="6771" y="399"/>
                </a:cubicBezTo>
                <a:lnTo>
                  <a:pt x="6772" y="395"/>
                </a:lnTo>
                <a:cubicBezTo>
                  <a:pt x="6772" y="393"/>
                  <a:pt x="6771" y="392"/>
                  <a:pt x="6770" y="392"/>
                </a:cubicBezTo>
                <a:cubicBezTo>
                  <a:pt x="6769" y="392"/>
                  <a:pt x="6768" y="393"/>
                  <a:pt x="6767" y="395"/>
                </a:cubicBezTo>
                <a:cubicBezTo>
                  <a:pt x="6765" y="397"/>
                  <a:pt x="6765" y="398"/>
                  <a:pt x="6765" y="399"/>
                </a:cubicBezTo>
                <a:cubicBezTo>
                  <a:pt x="6765" y="402"/>
                  <a:pt x="6766" y="402"/>
                  <a:pt x="6768" y="402"/>
                </a:cubicBezTo>
                <a:close/>
                <a:moveTo>
                  <a:pt x="6773" y="433"/>
                </a:moveTo>
                <a:cubicBezTo>
                  <a:pt x="6773" y="433"/>
                  <a:pt x="6774" y="433"/>
                  <a:pt x="6775" y="432"/>
                </a:cubicBezTo>
                <a:cubicBezTo>
                  <a:pt x="6775" y="431"/>
                  <a:pt x="6776" y="430"/>
                  <a:pt x="6776" y="428"/>
                </a:cubicBezTo>
                <a:cubicBezTo>
                  <a:pt x="6777" y="427"/>
                  <a:pt x="6777" y="426"/>
                  <a:pt x="6777" y="424"/>
                </a:cubicBezTo>
                <a:cubicBezTo>
                  <a:pt x="6777" y="424"/>
                  <a:pt x="6777" y="424"/>
                  <a:pt x="6776" y="424"/>
                </a:cubicBezTo>
                <a:cubicBezTo>
                  <a:pt x="6776" y="424"/>
                  <a:pt x="6776" y="424"/>
                  <a:pt x="6775" y="425"/>
                </a:cubicBezTo>
                <a:cubicBezTo>
                  <a:pt x="6774" y="426"/>
                  <a:pt x="6774" y="427"/>
                  <a:pt x="6773" y="429"/>
                </a:cubicBezTo>
                <a:cubicBezTo>
                  <a:pt x="6773" y="430"/>
                  <a:pt x="6773" y="431"/>
                  <a:pt x="6773" y="432"/>
                </a:cubicBezTo>
                <a:cubicBezTo>
                  <a:pt x="6773" y="433"/>
                  <a:pt x="6773" y="433"/>
                  <a:pt x="6773" y="433"/>
                </a:cubicBezTo>
                <a:close/>
                <a:moveTo>
                  <a:pt x="6759" y="541"/>
                </a:moveTo>
                <a:lnTo>
                  <a:pt x="6760" y="541"/>
                </a:lnTo>
                <a:lnTo>
                  <a:pt x="6759" y="538"/>
                </a:lnTo>
                <a:cubicBezTo>
                  <a:pt x="6758" y="536"/>
                  <a:pt x="6757" y="535"/>
                  <a:pt x="6755" y="535"/>
                </a:cubicBezTo>
                <a:cubicBezTo>
                  <a:pt x="6755" y="535"/>
                  <a:pt x="6754" y="536"/>
                  <a:pt x="6754" y="536"/>
                </a:cubicBezTo>
                <a:cubicBezTo>
                  <a:pt x="6754" y="537"/>
                  <a:pt x="6755" y="538"/>
                  <a:pt x="6756" y="539"/>
                </a:cubicBezTo>
                <a:cubicBezTo>
                  <a:pt x="6757" y="541"/>
                  <a:pt x="6759" y="541"/>
                  <a:pt x="6759" y="541"/>
                </a:cubicBezTo>
                <a:close/>
                <a:moveTo>
                  <a:pt x="6761" y="531"/>
                </a:moveTo>
                <a:lnTo>
                  <a:pt x="6762" y="530"/>
                </a:lnTo>
                <a:lnTo>
                  <a:pt x="6761" y="529"/>
                </a:lnTo>
                <a:cubicBezTo>
                  <a:pt x="6760" y="527"/>
                  <a:pt x="6758" y="526"/>
                  <a:pt x="6757" y="526"/>
                </a:cubicBezTo>
                <a:cubicBezTo>
                  <a:pt x="6756" y="526"/>
                  <a:pt x="6756" y="527"/>
                  <a:pt x="6756" y="527"/>
                </a:cubicBezTo>
                <a:cubicBezTo>
                  <a:pt x="6756" y="528"/>
                  <a:pt x="6756" y="528"/>
                  <a:pt x="6757" y="529"/>
                </a:cubicBezTo>
                <a:lnTo>
                  <a:pt x="6761" y="531"/>
                </a:lnTo>
                <a:close/>
                <a:moveTo>
                  <a:pt x="6761" y="517"/>
                </a:moveTo>
                <a:cubicBezTo>
                  <a:pt x="6761" y="516"/>
                  <a:pt x="6762" y="515"/>
                  <a:pt x="6762" y="514"/>
                </a:cubicBezTo>
                <a:lnTo>
                  <a:pt x="6761" y="512"/>
                </a:lnTo>
                <a:cubicBezTo>
                  <a:pt x="6761" y="512"/>
                  <a:pt x="6760" y="511"/>
                  <a:pt x="6760" y="511"/>
                </a:cubicBezTo>
                <a:cubicBezTo>
                  <a:pt x="6760" y="511"/>
                  <a:pt x="6760" y="512"/>
                  <a:pt x="6760" y="514"/>
                </a:cubicBezTo>
                <a:cubicBezTo>
                  <a:pt x="6760" y="516"/>
                  <a:pt x="6760" y="517"/>
                  <a:pt x="6761" y="517"/>
                </a:cubicBezTo>
                <a:close/>
                <a:moveTo>
                  <a:pt x="6762" y="508"/>
                </a:moveTo>
                <a:lnTo>
                  <a:pt x="6763" y="507"/>
                </a:lnTo>
                <a:cubicBezTo>
                  <a:pt x="6764" y="507"/>
                  <a:pt x="6764" y="506"/>
                  <a:pt x="6764" y="506"/>
                </a:cubicBezTo>
                <a:lnTo>
                  <a:pt x="6763" y="503"/>
                </a:lnTo>
                <a:lnTo>
                  <a:pt x="6762" y="502"/>
                </a:lnTo>
                <a:cubicBezTo>
                  <a:pt x="6762" y="502"/>
                  <a:pt x="6762" y="503"/>
                  <a:pt x="6762" y="506"/>
                </a:cubicBezTo>
                <a:cubicBezTo>
                  <a:pt x="6762" y="507"/>
                  <a:pt x="6762" y="507"/>
                  <a:pt x="6762" y="508"/>
                </a:cubicBezTo>
                <a:close/>
                <a:moveTo>
                  <a:pt x="6767" y="490"/>
                </a:moveTo>
                <a:cubicBezTo>
                  <a:pt x="6767" y="490"/>
                  <a:pt x="6768" y="488"/>
                  <a:pt x="6769" y="486"/>
                </a:cubicBezTo>
                <a:lnTo>
                  <a:pt x="6769" y="484"/>
                </a:lnTo>
                <a:cubicBezTo>
                  <a:pt x="6769" y="484"/>
                  <a:pt x="6769" y="484"/>
                  <a:pt x="6769" y="484"/>
                </a:cubicBezTo>
                <a:lnTo>
                  <a:pt x="6768" y="484"/>
                </a:lnTo>
                <a:cubicBezTo>
                  <a:pt x="6767" y="485"/>
                  <a:pt x="6767" y="485"/>
                  <a:pt x="6767" y="485"/>
                </a:cubicBezTo>
                <a:cubicBezTo>
                  <a:pt x="6766" y="486"/>
                  <a:pt x="6766" y="487"/>
                  <a:pt x="6766" y="487"/>
                </a:cubicBezTo>
                <a:cubicBezTo>
                  <a:pt x="6766" y="489"/>
                  <a:pt x="6766" y="490"/>
                  <a:pt x="6767" y="490"/>
                </a:cubicBezTo>
                <a:close/>
                <a:moveTo>
                  <a:pt x="6769" y="480"/>
                </a:moveTo>
                <a:lnTo>
                  <a:pt x="6771" y="479"/>
                </a:lnTo>
                <a:cubicBezTo>
                  <a:pt x="6772" y="478"/>
                  <a:pt x="6772" y="476"/>
                  <a:pt x="6772" y="475"/>
                </a:cubicBezTo>
                <a:cubicBezTo>
                  <a:pt x="6772" y="475"/>
                  <a:pt x="6772" y="474"/>
                  <a:pt x="6772" y="474"/>
                </a:cubicBezTo>
                <a:cubicBezTo>
                  <a:pt x="6771" y="474"/>
                  <a:pt x="6771" y="475"/>
                  <a:pt x="6770" y="476"/>
                </a:cubicBezTo>
                <a:cubicBezTo>
                  <a:pt x="6769" y="477"/>
                  <a:pt x="6769" y="478"/>
                  <a:pt x="6769" y="480"/>
                </a:cubicBezTo>
                <a:cubicBezTo>
                  <a:pt x="6769" y="480"/>
                  <a:pt x="6769" y="480"/>
                  <a:pt x="6769" y="480"/>
                </a:cubicBezTo>
                <a:close/>
                <a:moveTo>
                  <a:pt x="6774" y="469"/>
                </a:moveTo>
                <a:cubicBezTo>
                  <a:pt x="6774" y="469"/>
                  <a:pt x="6775" y="468"/>
                  <a:pt x="6775" y="466"/>
                </a:cubicBezTo>
                <a:lnTo>
                  <a:pt x="6776" y="464"/>
                </a:lnTo>
                <a:cubicBezTo>
                  <a:pt x="6776" y="463"/>
                  <a:pt x="6776" y="463"/>
                  <a:pt x="6775" y="463"/>
                </a:cubicBezTo>
                <a:lnTo>
                  <a:pt x="6775" y="463"/>
                </a:lnTo>
                <a:cubicBezTo>
                  <a:pt x="6773" y="465"/>
                  <a:pt x="6773" y="466"/>
                  <a:pt x="6773" y="467"/>
                </a:cubicBezTo>
                <a:cubicBezTo>
                  <a:pt x="6773" y="468"/>
                  <a:pt x="6773" y="469"/>
                  <a:pt x="6773" y="469"/>
                </a:cubicBezTo>
                <a:lnTo>
                  <a:pt x="6774" y="469"/>
                </a:lnTo>
                <a:close/>
                <a:moveTo>
                  <a:pt x="6794" y="341"/>
                </a:moveTo>
                <a:cubicBezTo>
                  <a:pt x="6795" y="341"/>
                  <a:pt x="6797" y="339"/>
                  <a:pt x="6799" y="334"/>
                </a:cubicBezTo>
                <a:cubicBezTo>
                  <a:pt x="6801" y="332"/>
                  <a:pt x="6801" y="330"/>
                  <a:pt x="6801" y="329"/>
                </a:cubicBezTo>
                <a:cubicBezTo>
                  <a:pt x="6801" y="328"/>
                  <a:pt x="6800" y="328"/>
                  <a:pt x="6799" y="328"/>
                </a:cubicBezTo>
                <a:cubicBezTo>
                  <a:pt x="6795" y="328"/>
                  <a:pt x="6793" y="328"/>
                  <a:pt x="6793" y="329"/>
                </a:cubicBezTo>
                <a:lnTo>
                  <a:pt x="6794" y="330"/>
                </a:lnTo>
                <a:cubicBezTo>
                  <a:pt x="6794" y="331"/>
                  <a:pt x="6794" y="331"/>
                  <a:pt x="6795" y="331"/>
                </a:cubicBezTo>
                <a:cubicBezTo>
                  <a:pt x="6796" y="331"/>
                  <a:pt x="6796" y="331"/>
                  <a:pt x="6797" y="330"/>
                </a:cubicBezTo>
                <a:cubicBezTo>
                  <a:pt x="6797" y="330"/>
                  <a:pt x="6798" y="330"/>
                  <a:pt x="6798" y="330"/>
                </a:cubicBezTo>
                <a:cubicBezTo>
                  <a:pt x="6798" y="330"/>
                  <a:pt x="6799" y="330"/>
                  <a:pt x="6799" y="330"/>
                </a:cubicBezTo>
                <a:cubicBezTo>
                  <a:pt x="6799" y="331"/>
                  <a:pt x="6798" y="333"/>
                  <a:pt x="6797" y="334"/>
                </a:cubicBezTo>
                <a:cubicBezTo>
                  <a:pt x="6797" y="336"/>
                  <a:pt x="6796" y="337"/>
                  <a:pt x="6795" y="337"/>
                </a:cubicBezTo>
                <a:lnTo>
                  <a:pt x="6794" y="337"/>
                </a:lnTo>
                <a:cubicBezTo>
                  <a:pt x="6793" y="337"/>
                  <a:pt x="6792" y="337"/>
                  <a:pt x="6792" y="338"/>
                </a:cubicBezTo>
                <a:cubicBezTo>
                  <a:pt x="6792" y="340"/>
                  <a:pt x="6793" y="341"/>
                  <a:pt x="6794" y="341"/>
                </a:cubicBezTo>
                <a:close/>
                <a:moveTo>
                  <a:pt x="6794" y="389"/>
                </a:moveTo>
                <a:cubicBezTo>
                  <a:pt x="6796" y="389"/>
                  <a:pt x="6797" y="388"/>
                  <a:pt x="6797" y="386"/>
                </a:cubicBezTo>
                <a:cubicBezTo>
                  <a:pt x="6797" y="385"/>
                  <a:pt x="6796" y="384"/>
                  <a:pt x="6795" y="384"/>
                </a:cubicBezTo>
                <a:cubicBezTo>
                  <a:pt x="6795" y="384"/>
                  <a:pt x="6794" y="385"/>
                  <a:pt x="6794" y="386"/>
                </a:cubicBezTo>
                <a:cubicBezTo>
                  <a:pt x="6793" y="387"/>
                  <a:pt x="6793" y="387"/>
                  <a:pt x="6793" y="388"/>
                </a:cubicBezTo>
                <a:cubicBezTo>
                  <a:pt x="6793" y="389"/>
                  <a:pt x="6793" y="389"/>
                  <a:pt x="6794" y="389"/>
                </a:cubicBezTo>
                <a:close/>
                <a:moveTo>
                  <a:pt x="6797" y="382"/>
                </a:moveTo>
                <a:cubicBezTo>
                  <a:pt x="6798" y="382"/>
                  <a:pt x="6799" y="381"/>
                  <a:pt x="6800" y="378"/>
                </a:cubicBezTo>
                <a:cubicBezTo>
                  <a:pt x="6802" y="376"/>
                  <a:pt x="6803" y="374"/>
                  <a:pt x="6803" y="372"/>
                </a:cubicBezTo>
                <a:cubicBezTo>
                  <a:pt x="6803" y="371"/>
                  <a:pt x="6802" y="371"/>
                  <a:pt x="6802" y="371"/>
                </a:cubicBezTo>
                <a:cubicBezTo>
                  <a:pt x="6802" y="371"/>
                  <a:pt x="6802" y="371"/>
                  <a:pt x="6801" y="372"/>
                </a:cubicBezTo>
                <a:cubicBezTo>
                  <a:pt x="6800" y="373"/>
                  <a:pt x="6799" y="374"/>
                  <a:pt x="6799" y="375"/>
                </a:cubicBezTo>
                <a:cubicBezTo>
                  <a:pt x="6798" y="377"/>
                  <a:pt x="6797" y="378"/>
                  <a:pt x="6797" y="379"/>
                </a:cubicBezTo>
                <a:lnTo>
                  <a:pt x="6797" y="382"/>
                </a:lnTo>
                <a:close/>
                <a:moveTo>
                  <a:pt x="6799" y="393"/>
                </a:moveTo>
                <a:lnTo>
                  <a:pt x="6801" y="392"/>
                </a:lnTo>
                <a:cubicBezTo>
                  <a:pt x="6803" y="392"/>
                  <a:pt x="6804" y="391"/>
                  <a:pt x="6804" y="390"/>
                </a:cubicBezTo>
                <a:cubicBezTo>
                  <a:pt x="6804" y="389"/>
                  <a:pt x="6804" y="389"/>
                  <a:pt x="6803" y="389"/>
                </a:cubicBezTo>
                <a:cubicBezTo>
                  <a:pt x="6802" y="389"/>
                  <a:pt x="6801" y="389"/>
                  <a:pt x="6800" y="391"/>
                </a:cubicBezTo>
                <a:lnTo>
                  <a:pt x="6799" y="392"/>
                </a:lnTo>
                <a:lnTo>
                  <a:pt x="6799" y="393"/>
                </a:lnTo>
                <a:close/>
                <a:moveTo>
                  <a:pt x="6809" y="379"/>
                </a:moveTo>
                <a:cubicBezTo>
                  <a:pt x="6809" y="379"/>
                  <a:pt x="6809" y="379"/>
                  <a:pt x="6809" y="378"/>
                </a:cubicBezTo>
                <a:cubicBezTo>
                  <a:pt x="6809" y="377"/>
                  <a:pt x="6808" y="376"/>
                  <a:pt x="6806" y="376"/>
                </a:cubicBezTo>
                <a:cubicBezTo>
                  <a:pt x="6805" y="376"/>
                  <a:pt x="6804" y="377"/>
                  <a:pt x="6804" y="377"/>
                </a:cubicBezTo>
                <a:lnTo>
                  <a:pt x="6804" y="377"/>
                </a:lnTo>
                <a:cubicBezTo>
                  <a:pt x="6804" y="378"/>
                  <a:pt x="6805" y="379"/>
                  <a:pt x="6806" y="379"/>
                </a:cubicBezTo>
                <a:lnTo>
                  <a:pt x="6809" y="379"/>
                </a:lnTo>
                <a:close/>
                <a:moveTo>
                  <a:pt x="6821" y="286"/>
                </a:moveTo>
                <a:cubicBezTo>
                  <a:pt x="6822" y="286"/>
                  <a:pt x="6825" y="281"/>
                  <a:pt x="6829" y="272"/>
                </a:cubicBezTo>
                <a:cubicBezTo>
                  <a:pt x="6833" y="264"/>
                  <a:pt x="6836" y="259"/>
                  <a:pt x="6837" y="259"/>
                </a:cubicBezTo>
                <a:lnTo>
                  <a:pt x="6838" y="259"/>
                </a:lnTo>
                <a:cubicBezTo>
                  <a:pt x="6839" y="259"/>
                  <a:pt x="6839" y="259"/>
                  <a:pt x="6839" y="259"/>
                </a:cubicBezTo>
                <a:lnTo>
                  <a:pt x="6838" y="255"/>
                </a:lnTo>
                <a:cubicBezTo>
                  <a:pt x="6838" y="254"/>
                  <a:pt x="6838" y="254"/>
                  <a:pt x="6838" y="254"/>
                </a:cubicBezTo>
                <a:lnTo>
                  <a:pt x="6841" y="255"/>
                </a:lnTo>
                <a:cubicBezTo>
                  <a:pt x="6841" y="255"/>
                  <a:pt x="6841" y="255"/>
                  <a:pt x="6841" y="255"/>
                </a:cubicBezTo>
                <a:lnTo>
                  <a:pt x="6840" y="250"/>
                </a:lnTo>
                <a:cubicBezTo>
                  <a:pt x="6840" y="250"/>
                  <a:pt x="6840" y="249"/>
                  <a:pt x="6841" y="249"/>
                </a:cubicBezTo>
                <a:lnTo>
                  <a:pt x="6842" y="250"/>
                </a:lnTo>
                <a:cubicBezTo>
                  <a:pt x="6845" y="250"/>
                  <a:pt x="6846" y="249"/>
                  <a:pt x="6846" y="247"/>
                </a:cubicBezTo>
                <a:lnTo>
                  <a:pt x="6846" y="247"/>
                </a:lnTo>
                <a:lnTo>
                  <a:pt x="6843" y="248"/>
                </a:lnTo>
                <a:cubicBezTo>
                  <a:pt x="6843" y="248"/>
                  <a:pt x="6842" y="248"/>
                  <a:pt x="6842" y="247"/>
                </a:cubicBezTo>
                <a:cubicBezTo>
                  <a:pt x="6842" y="247"/>
                  <a:pt x="6842" y="247"/>
                  <a:pt x="6843" y="246"/>
                </a:cubicBezTo>
                <a:cubicBezTo>
                  <a:pt x="6843" y="246"/>
                  <a:pt x="6843" y="245"/>
                  <a:pt x="6844" y="245"/>
                </a:cubicBezTo>
                <a:cubicBezTo>
                  <a:pt x="6845" y="244"/>
                  <a:pt x="6845" y="244"/>
                  <a:pt x="6845" y="244"/>
                </a:cubicBezTo>
                <a:lnTo>
                  <a:pt x="6846" y="244"/>
                </a:lnTo>
                <a:cubicBezTo>
                  <a:pt x="6847" y="244"/>
                  <a:pt x="6847" y="243"/>
                  <a:pt x="6847" y="242"/>
                </a:cubicBezTo>
                <a:lnTo>
                  <a:pt x="6847" y="239"/>
                </a:lnTo>
                <a:cubicBezTo>
                  <a:pt x="6847" y="238"/>
                  <a:pt x="6847" y="238"/>
                  <a:pt x="6849" y="238"/>
                </a:cubicBezTo>
                <a:lnTo>
                  <a:pt x="6850" y="238"/>
                </a:lnTo>
                <a:cubicBezTo>
                  <a:pt x="6851" y="238"/>
                  <a:pt x="6851" y="237"/>
                  <a:pt x="6851" y="236"/>
                </a:cubicBezTo>
                <a:lnTo>
                  <a:pt x="6851" y="234"/>
                </a:lnTo>
                <a:cubicBezTo>
                  <a:pt x="6851" y="232"/>
                  <a:pt x="6852" y="231"/>
                  <a:pt x="6853" y="231"/>
                </a:cubicBezTo>
                <a:lnTo>
                  <a:pt x="6854" y="231"/>
                </a:lnTo>
                <a:cubicBezTo>
                  <a:pt x="6855" y="231"/>
                  <a:pt x="6856" y="230"/>
                  <a:pt x="6856" y="229"/>
                </a:cubicBezTo>
                <a:lnTo>
                  <a:pt x="6856" y="227"/>
                </a:lnTo>
                <a:cubicBezTo>
                  <a:pt x="6856" y="225"/>
                  <a:pt x="6856" y="225"/>
                  <a:pt x="6856" y="225"/>
                </a:cubicBezTo>
                <a:lnTo>
                  <a:pt x="6857" y="225"/>
                </a:lnTo>
                <a:cubicBezTo>
                  <a:pt x="6858" y="225"/>
                  <a:pt x="6859" y="224"/>
                  <a:pt x="6859" y="222"/>
                </a:cubicBezTo>
                <a:lnTo>
                  <a:pt x="6859" y="221"/>
                </a:lnTo>
                <a:cubicBezTo>
                  <a:pt x="6859" y="219"/>
                  <a:pt x="6859" y="218"/>
                  <a:pt x="6860" y="218"/>
                </a:cubicBezTo>
                <a:lnTo>
                  <a:pt x="6861" y="218"/>
                </a:lnTo>
                <a:cubicBezTo>
                  <a:pt x="6862" y="218"/>
                  <a:pt x="6863" y="217"/>
                  <a:pt x="6863" y="215"/>
                </a:cubicBezTo>
                <a:lnTo>
                  <a:pt x="6863" y="214"/>
                </a:lnTo>
                <a:cubicBezTo>
                  <a:pt x="6863" y="212"/>
                  <a:pt x="6864" y="211"/>
                  <a:pt x="6866" y="211"/>
                </a:cubicBezTo>
                <a:cubicBezTo>
                  <a:pt x="6867" y="211"/>
                  <a:pt x="6869" y="209"/>
                  <a:pt x="6872" y="206"/>
                </a:cubicBezTo>
                <a:lnTo>
                  <a:pt x="6874" y="201"/>
                </a:lnTo>
                <a:lnTo>
                  <a:pt x="6874" y="201"/>
                </a:lnTo>
                <a:lnTo>
                  <a:pt x="6871" y="202"/>
                </a:lnTo>
                <a:lnTo>
                  <a:pt x="6873" y="200"/>
                </a:lnTo>
                <a:cubicBezTo>
                  <a:pt x="6874" y="199"/>
                  <a:pt x="6876" y="197"/>
                  <a:pt x="6878" y="193"/>
                </a:cubicBezTo>
                <a:cubicBezTo>
                  <a:pt x="6880" y="191"/>
                  <a:pt x="6882" y="188"/>
                  <a:pt x="6883" y="184"/>
                </a:cubicBezTo>
                <a:cubicBezTo>
                  <a:pt x="6885" y="181"/>
                  <a:pt x="6886" y="179"/>
                  <a:pt x="6886" y="179"/>
                </a:cubicBezTo>
                <a:cubicBezTo>
                  <a:pt x="6886" y="178"/>
                  <a:pt x="6885" y="178"/>
                  <a:pt x="6885" y="178"/>
                </a:cubicBezTo>
                <a:cubicBezTo>
                  <a:pt x="6884" y="178"/>
                  <a:pt x="6880" y="183"/>
                  <a:pt x="6872" y="194"/>
                </a:cubicBezTo>
                <a:cubicBezTo>
                  <a:pt x="6865" y="205"/>
                  <a:pt x="6857" y="217"/>
                  <a:pt x="6849" y="230"/>
                </a:cubicBezTo>
                <a:cubicBezTo>
                  <a:pt x="6841" y="244"/>
                  <a:pt x="6834" y="255"/>
                  <a:pt x="6829" y="266"/>
                </a:cubicBezTo>
                <a:cubicBezTo>
                  <a:pt x="6827" y="269"/>
                  <a:pt x="6826" y="271"/>
                  <a:pt x="6825" y="271"/>
                </a:cubicBezTo>
                <a:lnTo>
                  <a:pt x="6823" y="270"/>
                </a:lnTo>
                <a:cubicBezTo>
                  <a:pt x="6823" y="270"/>
                  <a:pt x="6823" y="271"/>
                  <a:pt x="6824" y="271"/>
                </a:cubicBezTo>
                <a:cubicBezTo>
                  <a:pt x="6824" y="272"/>
                  <a:pt x="6824" y="273"/>
                  <a:pt x="6824" y="274"/>
                </a:cubicBezTo>
                <a:cubicBezTo>
                  <a:pt x="6824" y="275"/>
                  <a:pt x="6823" y="277"/>
                  <a:pt x="6822" y="280"/>
                </a:cubicBezTo>
                <a:cubicBezTo>
                  <a:pt x="6822" y="283"/>
                  <a:pt x="6821" y="284"/>
                  <a:pt x="6821" y="285"/>
                </a:cubicBezTo>
                <a:lnTo>
                  <a:pt x="6821" y="286"/>
                </a:lnTo>
                <a:close/>
                <a:moveTo>
                  <a:pt x="6887" y="244"/>
                </a:moveTo>
                <a:cubicBezTo>
                  <a:pt x="6887" y="244"/>
                  <a:pt x="6888" y="243"/>
                  <a:pt x="6889" y="241"/>
                </a:cubicBezTo>
                <a:lnTo>
                  <a:pt x="6889" y="239"/>
                </a:lnTo>
                <a:cubicBezTo>
                  <a:pt x="6889" y="238"/>
                  <a:pt x="6888" y="237"/>
                  <a:pt x="6888" y="237"/>
                </a:cubicBezTo>
                <a:cubicBezTo>
                  <a:pt x="6887" y="237"/>
                  <a:pt x="6887" y="237"/>
                  <a:pt x="6886" y="238"/>
                </a:cubicBezTo>
                <a:cubicBezTo>
                  <a:pt x="6886" y="239"/>
                  <a:pt x="6886" y="240"/>
                  <a:pt x="6886" y="241"/>
                </a:cubicBezTo>
                <a:cubicBezTo>
                  <a:pt x="6886" y="243"/>
                  <a:pt x="6886" y="244"/>
                  <a:pt x="6887" y="244"/>
                </a:cubicBezTo>
                <a:close/>
                <a:moveTo>
                  <a:pt x="6887" y="751"/>
                </a:moveTo>
                <a:cubicBezTo>
                  <a:pt x="6886" y="751"/>
                  <a:pt x="6886" y="750"/>
                  <a:pt x="6886" y="750"/>
                </a:cubicBezTo>
                <a:cubicBezTo>
                  <a:pt x="6886" y="750"/>
                  <a:pt x="6887" y="749"/>
                  <a:pt x="6889" y="746"/>
                </a:cubicBezTo>
                <a:cubicBezTo>
                  <a:pt x="6901" y="735"/>
                  <a:pt x="6908" y="729"/>
                  <a:pt x="6909" y="729"/>
                </a:cubicBezTo>
                <a:lnTo>
                  <a:pt x="6909" y="729"/>
                </a:lnTo>
                <a:lnTo>
                  <a:pt x="6908" y="732"/>
                </a:lnTo>
                <a:cubicBezTo>
                  <a:pt x="6906" y="736"/>
                  <a:pt x="6904" y="739"/>
                  <a:pt x="6903" y="739"/>
                </a:cubicBezTo>
                <a:cubicBezTo>
                  <a:pt x="6901" y="739"/>
                  <a:pt x="6901" y="739"/>
                  <a:pt x="6900" y="741"/>
                </a:cubicBezTo>
                <a:cubicBezTo>
                  <a:pt x="6900" y="742"/>
                  <a:pt x="6899" y="743"/>
                  <a:pt x="6897" y="745"/>
                </a:cubicBezTo>
                <a:cubicBezTo>
                  <a:pt x="6893" y="749"/>
                  <a:pt x="6889" y="751"/>
                  <a:pt x="6887" y="751"/>
                </a:cubicBezTo>
                <a:close/>
                <a:moveTo>
                  <a:pt x="6890" y="749"/>
                </a:moveTo>
                <a:cubicBezTo>
                  <a:pt x="6891" y="749"/>
                  <a:pt x="6893" y="747"/>
                  <a:pt x="6895" y="745"/>
                </a:cubicBezTo>
                <a:lnTo>
                  <a:pt x="6897" y="742"/>
                </a:lnTo>
                <a:lnTo>
                  <a:pt x="6896" y="742"/>
                </a:lnTo>
                <a:lnTo>
                  <a:pt x="6894" y="744"/>
                </a:lnTo>
                <a:cubicBezTo>
                  <a:pt x="6891" y="746"/>
                  <a:pt x="6890" y="747"/>
                  <a:pt x="6890" y="748"/>
                </a:cubicBezTo>
                <a:cubicBezTo>
                  <a:pt x="6890" y="748"/>
                  <a:pt x="6890" y="749"/>
                  <a:pt x="6890" y="749"/>
                </a:cubicBezTo>
                <a:close/>
                <a:moveTo>
                  <a:pt x="6621" y="667"/>
                </a:moveTo>
                <a:cubicBezTo>
                  <a:pt x="6621" y="667"/>
                  <a:pt x="6620" y="667"/>
                  <a:pt x="6620" y="665"/>
                </a:cubicBezTo>
                <a:lnTo>
                  <a:pt x="6619" y="663"/>
                </a:lnTo>
                <a:cubicBezTo>
                  <a:pt x="6619" y="662"/>
                  <a:pt x="6619" y="661"/>
                  <a:pt x="6620" y="660"/>
                </a:cubicBezTo>
                <a:cubicBezTo>
                  <a:pt x="6621" y="660"/>
                  <a:pt x="6621" y="660"/>
                  <a:pt x="6622" y="660"/>
                </a:cubicBezTo>
                <a:cubicBezTo>
                  <a:pt x="6623" y="660"/>
                  <a:pt x="6624" y="661"/>
                  <a:pt x="6624" y="663"/>
                </a:cubicBezTo>
                <a:cubicBezTo>
                  <a:pt x="6624" y="664"/>
                  <a:pt x="6623" y="665"/>
                  <a:pt x="6623" y="666"/>
                </a:cubicBezTo>
                <a:cubicBezTo>
                  <a:pt x="6622" y="667"/>
                  <a:pt x="6621" y="667"/>
                  <a:pt x="6621" y="667"/>
                </a:cubicBezTo>
                <a:close/>
                <a:moveTo>
                  <a:pt x="6622" y="657"/>
                </a:moveTo>
                <a:lnTo>
                  <a:pt x="6619" y="655"/>
                </a:lnTo>
                <a:cubicBezTo>
                  <a:pt x="6618" y="654"/>
                  <a:pt x="6617" y="654"/>
                  <a:pt x="6617" y="653"/>
                </a:cubicBezTo>
                <a:cubicBezTo>
                  <a:pt x="6617" y="652"/>
                  <a:pt x="6618" y="652"/>
                  <a:pt x="6619" y="651"/>
                </a:cubicBezTo>
                <a:cubicBezTo>
                  <a:pt x="6622" y="648"/>
                  <a:pt x="6624" y="647"/>
                  <a:pt x="6625" y="647"/>
                </a:cubicBezTo>
                <a:cubicBezTo>
                  <a:pt x="6626" y="647"/>
                  <a:pt x="6626" y="647"/>
                  <a:pt x="6626" y="649"/>
                </a:cubicBezTo>
                <a:cubicBezTo>
                  <a:pt x="6626" y="651"/>
                  <a:pt x="6626" y="652"/>
                  <a:pt x="6624" y="652"/>
                </a:cubicBezTo>
                <a:lnTo>
                  <a:pt x="6624" y="652"/>
                </a:lnTo>
                <a:cubicBezTo>
                  <a:pt x="6623" y="652"/>
                  <a:pt x="6622" y="652"/>
                  <a:pt x="6622" y="654"/>
                </a:cubicBezTo>
                <a:lnTo>
                  <a:pt x="6622" y="656"/>
                </a:lnTo>
                <a:cubicBezTo>
                  <a:pt x="6622" y="656"/>
                  <a:pt x="6622" y="657"/>
                  <a:pt x="6622" y="657"/>
                </a:cubicBezTo>
                <a:close/>
                <a:moveTo>
                  <a:pt x="6847" y="781"/>
                </a:moveTo>
                <a:cubicBezTo>
                  <a:pt x="6847" y="781"/>
                  <a:pt x="6846" y="780"/>
                  <a:pt x="6846" y="779"/>
                </a:cubicBezTo>
                <a:cubicBezTo>
                  <a:pt x="6846" y="778"/>
                  <a:pt x="6847" y="778"/>
                  <a:pt x="6848" y="777"/>
                </a:cubicBezTo>
                <a:cubicBezTo>
                  <a:pt x="6849" y="776"/>
                  <a:pt x="6850" y="775"/>
                  <a:pt x="6852" y="774"/>
                </a:cubicBezTo>
                <a:cubicBezTo>
                  <a:pt x="6854" y="773"/>
                  <a:pt x="6855" y="772"/>
                  <a:pt x="6855" y="772"/>
                </a:cubicBezTo>
                <a:lnTo>
                  <a:pt x="6856" y="772"/>
                </a:lnTo>
                <a:cubicBezTo>
                  <a:pt x="6856" y="772"/>
                  <a:pt x="6854" y="774"/>
                  <a:pt x="6852" y="777"/>
                </a:cubicBezTo>
                <a:cubicBezTo>
                  <a:pt x="6849" y="779"/>
                  <a:pt x="6848" y="781"/>
                  <a:pt x="6847" y="781"/>
                </a:cubicBezTo>
                <a:close/>
                <a:moveTo>
                  <a:pt x="6780" y="819"/>
                </a:moveTo>
                <a:cubicBezTo>
                  <a:pt x="6769" y="819"/>
                  <a:pt x="6757" y="818"/>
                  <a:pt x="6745" y="814"/>
                </a:cubicBezTo>
                <a:cubicBezTo>
                  <a:pt x="6734" y="811"/>
                  <a:pt x="6726" y="808"/>
                  <a:pt x="6722" y="805"/>
                </a:cubicBezTo>
                <a:cubicBezTo>
                  <a:pt x="6720" y="804"/>
                  <a:pt x="6717" y="801"/>
                  <a:pt x="6714" y="797"/>
                </a:cubicBezTo>
                <a:cubicBezTo>
                  <a:pt x="6707" y="787"/>
                  <a:pt x="6703" y="780"/>
                  <a:pt x="6703" y="776"/>
                </a:cubicBezTo>
                <a:cubicBezTo>
                  <a:pt x="6703" y="773"/>
                  <a:pt x="6703" y="772"/>
                  <a:pt x="6701" y="772"/>
                </a:cubicBezTo>
                <a:cubicBezTo>
                  <a:pt x="6700" y="771"/>
                  <a:pt x="6699" y="769"/>
                  <a:pt x="6698" y="767"/>
                </a:cubicBezTo>
                <a:cubicBezTo>
                  <a:pt x="6698" y="764"/>
                  <a:pt x="6697" y="763"/>
                  <a:pt x="6696" y="761"/>
                </a:cubicBezTo>
                <a:cubicBezTo>
                  <a:pt x="6694" y="758"/>
                  <a:pt x="6693" y="750"/>
                  <a:pt x="6692" y="739"/>
                </a:cubicBezTo>
                <a:cubicBezTo>
                  <a:pt x="6690" y="727"/>
                  <a:pt x="6690" y="715"/>
                  <a:pt x="6690" y="704"/>
                </a:cubicBezTo>
                <a:cubicBezTo>
                  <a:pt x="6690" y="683"/>
                  <a:pt x="6691" y="662"/>
                  <a:pt x="6693" y="644"/>
                </a:cubicBezTo>
                <a:cubicBezTo>
                  <a:pt x="6695" y="625"/>
                  <a:pt x="6699" y="603"/>
                  <a:pt x="6704" y="575"/>
                </a:cubicBezTo>
                <a:cubicBezTo>
                  <a:pt x="6708" y="556"/>
                  <a:pt x="6712" y="546"/>
                  <a:pt x="6715" y="546"/>
                </a:cubicBezTo>
                <a:lnTo>
                  <a:pt x="6717" y="546"/>
                </a:lnTo>
                <a:cubicBezTo>
                  <a:pt x="6717" y="546"/>
                  <a:pt x="6718" y="546"/>
                  <a:pt x="6718" y="546"/>
                </a:cubicBezTo>
                <a:lnTo>
                  <a:pt x="6717" y="544"/>
                </a:lnTo>
                <a:cubicBezTo>
                  <a:pt x="6717" y="541"/>
                  <a:pt x="6718" y="539"/>
                  <a:pt x="6719" y="537"/>
                </a:cubicBezTo>
                <a:lnTo>
                  <a:pt x="6722" y="535"/>
                </a:lnTo>
                <a:cubicBezTo>
                  <a:pt x="6722" y="536"/>
                  <a:pt x="6722" y="537"/>
                  <a:pt x="6721" y="539"/>
                </a:cubicBezTo>
                <a:cubicBezTo>
                  <a:pt x="6720" y="541"/>
                  <a:pt x="6720" y="543"/>
                  <a:pt x="6720" y="546"/>
                </a:cubicBezTo>
                <a:cubicBezTo>
                  <a:pt x="6720" y="549"/>
                  <a:pt x="6719" y="551"/>
                  <a:pt x="6718" y="551"/>
                </a:cubicBezTo>
                <a:cubicBezTo>
                  <a:pt x="6717" y="552"/>
                  <a:pt x="6717" y="552"/>
                  <a:pt x="6717" y="552"/>
                </a:cubicBezTo>
                <a:cubicBezTo>
                  <a:pt x="6717" y="553"/>
                  <a:pt x="6717" y="554"/>
                  <a:pt x="6718" y="555"/>
                </a:cubicBezTo>
                <a:cubicBezTo>
                  <a:pt x="6719" y="556"/>
                  <a:pt x="6720" y="557"/>
                  <a:pt x="6720" y="558"/>
                </a:cubicBezTo>
                <a:cubicBezTo>
                  <a:pt x="6720" y="558"/>
                  <a:pt x="6719" y="559"/>
                  <a:pt x="6718" y="560"/>
                </a:cubicBezTo>
                <a:cubicBezTo>
                  <a:pt x="6716" y="561"/>
                  <a:pt x="6715" y="561"/>
                  <a:pt x="6715" y="562"/>
                </a:cubicBezTo>
                <a:cubicBezTo>
                  <a:pt x="6715" y="563"/>
                  <a:pt x="6715" y="563"/>
                  <a:pt x="6716" y="564"/>
                </a:cubicBezTo>
                <a:cubicBezTo>
                  <a:pt x="6717" y="565"/>
                  <a:pt x="6717" y="568"/>
                  <a:pt x="6717" y="571"/>
                </a:cubicBezTo>
                <a:lnTo>
                  <a:pt x="6716" y="577"/>
                </a:lnTo>
                <a:cubicBezTo>
                  <a:pt x="6715" y="584"/>
                  <a:pt x="6714" y="591"/>
                  <a:pt x="6713" y="600"/>
                </a:cubicBezTo>
                <a:cubicBezTo>
                  <a:pt x="6712" y="603"/>
                  <a:pt x="6711" y="613"/>
                  <a:pt x="6709" y="630"/>
                </a:cubicBezTo>
                <a:cubicBezTo>
                  <a:pt x="6709" y="636"/>
                  <a:pt x="6709" y="642"/>
                  <a:pt x="6708" y="648"/>
                </a:cubicBezTo>
                <a:cubicBezTo>
                  <a:pt x="6707" y="653"/>
                  <a:pt x="6707" y="658"/>
                  <a:pt x="6707" y="661"/>
                </a:cubicBezTo>
                <a:cubicBezTo>
                  <a:pt x="6705" y="666"/>
                  <a:pt x="6704" y="679"/>
                  <a:pt x="6704" y="701"/>
                </a:cubicBezTo>
                <a:cubicBezTo>
                  <a:pt x="6704" y="718"/>
                  <a:pt x="6705" y="733"/>
                  <a:pt x="6707" y="747"/>
                </a:cubicBezTo>
                <a:cubicBezTo>
                  <a:pt x="6710" y="776"/>
                  <a:pt x="6716" y="790"/>
                  <a:pt x="6724" y="790"/>
                </a:cubicBezTo>
                <a:cubicBezTo>
                  <a:pt x="6725" y="790"/>
                  <a:pt x="6726" y="791"/>
                  <a:pt x="6726" y="791"/>
                </a:cubicBezTo>
                <a:lnTo>
                  <a:pt x="6726" y="794"/>
                </a:lnTo>
                <a:cubicBezTo>
                  <a:pt x="6726" y="795"/>
                  <a:pt x="6727" y="797"/>
                  <a:pt x="6730" y="800"/>
                </a:cubicBezTo>
                <a:cubicBezTo>
                  <a:pt x="6732" y="802"/>
                  <a:pt x="6734" y="803"/>
                  <a:pt x="6735" y="803"/>
                </a:cubicBezTo>
                <a:cubicBezTo>
                  <a:pt x="6735" y="803"/>
                  <a:pt x="6735" y="803"/>
                  <a:pt x="6735" y="802"/>
                </a:cubicBezTo>
                <a:cubicBezTo>
                  <a:pt x="6735" y="800"/>
                  <a:pt x="6734" y="797"/>
                  <a:pt x="6731" y="792"/>
                </a:cubicBezTo>
                <a:cubicBezTo>
                  <a:pt x="6728" y="784"/>
                  <a:pt x="6725" y="773"/>
                  <a:pt x="6723" y="759"/>
                </a:cubicBezTo>
                <a:cubicBezTo>
                  <a:pt x="6721" y="745"/>
                  <a:pt x="6720" y="731"/>
                  <a:pt x="6720" y="719"/>
                </a:cubicBezTo>
                <a:cubicBezTo>
                  <a:pt x="6720" y="708"/>
                  <a:pt x="6721" y="700"/>
                  <a:pt x="6723" y="696"/>
                </a:cubicBezTo>
                <a:lnTo>
                  <a:pt x="6724" y="694"/>
                </a:lnTo>
                <a:lnTo>
                  <a:pt x="6723" y="695"/>
                </a:lnTo>
                <a:cubicBezTo>
                  <a:pt x="6722" y="695"/>
                  <a:pt x="6721" y="694"/>
                  <a:pt x="6721" y="692"/>
                </a:cubicBezTo>
                <a:cubicBezTo>
                  <a:pt x="6721" y="688"/>
                  <a:pt x="6722" y="686"/>
                  <a:pt x="6724" y="684"/>
                </a:cubicBezTo>
                <a:cubicBezTo>
                  <a:pt x="6726" y="683"/>
                  <a:pt x="6727" y="681"/>
                  <a:pt x="6727" y="678"/>
                </a:cubicBezTo>
                <a:cubicBezTo>
                  <a:pt x="6727" y="676"/>
                  <a:pt x="6727" y="676"/>
                  <a:pt x="6727" y="676"/>
                </a:cubicBezTo>
                <a:cubicBezTo>
                  <a:pt x="6726" y="676"/>
                  <a:pt x="6726" y="676"/>
                  <a:pt x="6725" y="677"/>
                </a:cubicBezTo>
                <a:cubicBezTo>
                  <a:pt x="6724" y="679"/>
                  <a:pt x="6723" y="679"/>
                  <a:pt x="6723" y="679"/>
                </a:cubicBezTo>
                <a:cubicBezTo>
                  <a:pt x="6723" y="679"/>
                  <a:pt x="6723" y="679"/>
                  <a:pt x="6723" y="676"/>
                </a:cubicBezTo>
                <a:cubicBezTo>
                  <a:pt x="6723" y="675"/>
                  <a:pt x="6723" y="674"/>
                  <a:pt x="6724" y="672"/>
                </a:cubicBezTo>
                <a:cubicBezTo>
                  <a:pt x="6724" y="670"/>
                  <a:pt x="6725" y="669"/>
                  <a:pt x="6726" y="667"/>
                </a:cubicBezTo>
                <a:cubicBezTo>
                  <a:pt x="6727" y="666"/>
                  <a:pt x="6728" y="665"/>
                  <a:pt x="6728" y="665"/>
                </a:cubicBezTo>
                <a:cubicBezTo>
                  <a:pt x="6729" y="665"/>
                  <a:pt x="6729" y="666"/>
                  <a:pt x="6729" y="668"/>
                </a:cubicBezTo>
                <a:cubicBezTo>
                  <a:pt x="6729" y="677"/>
                  <a:pt x="6729" y="682"/>
                  <a:pt x="6728" y="683"/>
                </a:cubicBezTo>
                <a:cubicBezTo>
                  <a:pt x="6727" y="683"/>
                  <a:pt x="6727" y="688"/>
                  <a:pt x="6727" y="695"/>
                </a:cubicBezTo>
                <a:lnTo>
                  <a:pt x="6727" y="710"/>
                </a:lnTo>
                <a:cubicBezTo>
                  <a:pt x="6727" y="718"/>
                  <a:pt x="6726" y="721"/>
                  <a:pt x="6726" y="721"/>
                </a:cubicBezTo>
                <a:cubicBezTo>
                  <a:pt x="6725" y="721"/>
                  <a:pt x="6724" y="722"/>
                  <a:pt x="6724" y="723"/>
                </a:cubicBezTo>
                <a:cubicBezTo>
                  <a:pt x="6723" y="724"/>
                  <a:pt x="6723" y="725"/>
                  <a:pt x="6723" y="727"/>
                </a:cubicBezTo>
                <a:cubicBezTo>
                  <a:pt x="6723" y="728"/>
                  <a:pt x="6723" y="729"/>
                  <a:pt x="6724" y="730"/>
                </a:cubicBezTo>
                <a:cubicBezTo>
                  <a:pt x="6724" y="730"/>
                  <a:pt x="6725" y="731"/>
                  <a:pt x="6726" y="732"/>
                </a:cubicBezTo>
                <a:lnTo>
                  <a:pt x="6726" y="732"/>
                </a:lnTo>
                <a:cubicBezTo>
                  <a:pt x="6727" y="732"/>
                  <a:pt x="6728" y="734"/>
                  <a:pt x="6728" y="737"/>
                </a:cubicBezTo>
                <a:cubicBezTo>
                  <a:pt x="6728" y="739"/>
                  <a:pt x="6728" y="741"/>
                  <a:pt x="6727" y="742"/>
                </a:cubicBezTo>
                <a:cubicBezTo>
                  <a:pt x="6727" y="744"/>
                  <a:pt x="6726" y="744"/>
                  <a:pt x="6725" y="744"/>
                </a:cubicBezTo>
                <a:cubicBezTo>
                  <a:pt x="6724" y="744"/>
                  <a:pt x="6724" y="745"/>
                  <a:pt x="6724" y="747"/>
                </a:cubicBezTo>
                <a:cubicBezTo>
                  <a:pt x="6724" y="748"/>
                  <a:pt x="6724" y="750"/>
                  <a:pt x="6725" y="752"/>
                </a:cubicBezTo>
                <a:cubicBezTo>
                  <a:pt x="6725" y="754"/>
                  <a:pt x="6726" y="755"/>
                  <a:pt x="6726" y="757"/>
                </a:cubicBezTo>
                <a:lnTo>
                  <a:pt x="6725" y="758"/>
                </a:lnTo>
                <a:cubicBezTo>
                  <a:pt x="6725" y="759"/>
                  <a:pt x="6725" y="759"/>
                  <a:pt x="6727" y="760"/>
                </a:cubicBezTo>
                <a:cubicBezTo>
                  <a:pt x="6728" y="761"/>
                  <a:pt x="6729" y="762"/>
                  <a:pt x="6729" y="762"/>
                </a:cubicBezTo>
                <a:cubicBezTo>
                  <a:pt x="6729" y="762"/>
                  <a:pt x="6728" y="762"/>
                  <a:pt x="6727" y="762"/>
                </a:cubicBezTo>
                <a:cubicBezTo>
                  <a:pt x="6726" y="762"/>
                  <a:pt x="6726" y="763"/>
                  <a:pt x="6726" y="763"/>
                </a:cubicBezTo>
                <a:cubicBezTo>
                  <a:pt x="6726" y="764"/>
                  <a:pt x="6726" y="766"/>
                  <a:pt x="6727" y="767"/>
                </a:cubicBezTo>
                <a:cubicBezTo>
                  <a:pt x="6729" y="771"/>
                  <a:pt x="6730" y="774"/>
                  <a:pt x="6730" y="777"/>
                </a:cubicBezTo>
                <a:cubicBezTo>
                  <a:pt x="6730" y="779"/>
                  <a:pt x="6730" y="780"/>
                  <a:pt x="6730" y="780"/>
                </a:cubicBezTo>
                <a:lnTo>
                  <a:pt x="6732" y="779"/>
                </a:lnTo>
                <a:cubicBezTo>
                  <a:pt x="6733" y="779"/>
                  <a:pt x="6733" y="779"/>
                  <a:pt x="6733" y="780"/>
                </a:cubicBezTo>
                <a:lnTo>
                  <a:pt x="6732" y="785"/>
                </a:lnTo>
                <a:cubicBezTo>
                  <a:pt x="6732" y="786"/>
                  <a:pt x="6732" y="787"/>
                  <a:pt x="6733" y="787"/>
                </a:cubicBezTo>
                <a:cubicBezTo>
                  <a:pt x="6733" y="787"/>
                  <a:pt x="6734" y="786"/>
                  <a:pt x="6735" y="786"/>
                </a:cubicBezTo>
                <a:cubicBezTo>
                  <a:pt x="6736" y="785"/>
                  <a:pt x="6737" y="785"/>
                  <a:pt x="6738" y="785"/>
                </a:cubicBezTo>
                <a:lnTo>
                  <a:pt x="6738" y="786"/>
                </a:lnTo>
                <a:cubicBezTo>
                  <a:pt x="6738" y="786"/>
                  <a:pt x="6737" y="787"/>
                  <a:pt x="6736" y="788"/>
                </a:cubicBezTo>
                <a:cubicBezTo>
                  <a:pt x="6735" y="790"/>
                  <a:pt x="6735" y="791"/>
                  <a:pt x="6735" y="791"/>
                </a:cubicBezTo>
                <a:cubicBezTo>
                  <a:pt x="6735" y="792"/>
                  <a:pt x="6736" y="793"/>
                  <a:pt x="6738" y="794"/>
                </a:cubicBezTo>
                <a:cubicBezTo>
                  <a:pt x="6740" y="794"/>
                  <a:pt x="6742" y="795"/>
                  <a:pt x="6742" y="796"/>
                </a:cubicBezTo>
                <a:lnTo>
                  <a:pt x="6741" y="797"/>
                </a:lnTo>
                <a:cubicBezTo>
                  <a:pt x="6741" y="797"/>
                  <a:pt x="6740" y="798"/>
                  <a:pt x="6740" y="799"/>
                </a:cubicBezTo>
                <a:cubicBezTo>
                  <a:pt x="6740" y="800"/>
                  <a:pt x="6742" y="802"/>
                  <a:pt x="6745" y="803"/>
                </a:cubicBezTo>
                <a:cubicBezTo>
                  <a:pt x="6748" y="804"/>
                  <a:pt x="6751" y="804"/>
                  <a:pt x="6755" y="804"/>
                </a:cubicBezTo>
                <a:cubicBezTo>
                  <a:pt x="6760" y="804"/>
                  <a:pt x="6765" y="804"/>
                  <a:pt x="6769" y="803"/>
                </a:cubicBezTo>
                <a:cubicBezTo>
                  <a:pt x="6781" y="800"/>
                  <a:pt x="6791" y="796"/>
                  <a:pt x="6799" y="792"/>
                </a:cubicBezTo>
                <a:cubicBezTo>
                  <a:pt x="6808" y="788"/>
                  <a:pt x="6813" y="786"/>
                  <a:pt x="6815" y="786"/>
                </a:cubicBezTo>
                <a:cubicBezTo>
                  <a:pt x="6816" y="786"/>
                  <a:pt x="6816" y="785"/>
                  <a:pt x="6817" y="785"/>
                </a:cubicBezTo>
                <a:cubicBezTo>
                  <a:pt x="6818" y="784"/>
                  <a:pt x="6818" y="784"/>
                  <a:pt x="6818" y="784"/>
                </a:cubicBezTo>
                <a:cubicBezTo>
                  <a:pt x="6818" y="783"/>
                  <a:pt x="6819" y="782"/>
                  <a:pt x="6820" y="781"/>
                </a:cubicBezTo>
                <a:cubicBezTo>
                  <a:pt x="6822" y="780"/>
                  <a:pt x="6825" y="779"/>
                  <a:pt x="6827" y="779"/>
                </a:cubicBezTo>
                <a:cubicBezTo>
                  <a:pt x="6827" y="779"/>
                  <a:pt x="6828" y="780"/>
                  <a:pt x="6828" y="780"/>
                </a:cubicBezTo>
                <a:cubicBezTo>
                  <a:pt x="6828" y="780"/>
                  <a:pt x="6827" y="782"/>
                  <a:pt x="6824" y="785"/>
                </a:cubicBezTo>
                <a:cubicBezTo>
                  <a:pt x="6823" y="786"/>
                  <a:pt x="6822" y="788"/>
                  <a:pt x="6820" y="789"/>
                </a:cubicBezTo>
                <a:cubicBezTo>
                  <a:pt x="6818" y="790"/>
                  <a:pt x="6817" y="790"/>
                  <a:pt x="6816" y="790"/>
                </a:cubicBezTo>
                <a:cubicBezTo>
                  <a:pt x="6814" y="790"/>
                  <a:pt x="6812" y="791"/>
                  <a:pt x="6812" y="793"/>
                </a:cubicBezTo>
                <a:cubicBezTo>
                  <a:pt x="6812" y="794"/>
                  <a:pt x="6802" y="799"/>
                  <a:pt x="6781" y="807"/>
                </a:cubicBezTo>
                <a:lnTo>
                  <a:pt x="6778" y="808"/>
                </a:lnTo>
                <a:cubicBezTo>
                  <a:pt x="6778" y="809"/>
                  <a:pt x="6777" y="809"/>
                  <a:pt x="6776" y="809"/>
                </a:cubicBezTo>
                <a:cubicBezTo>
                  <a:pt x="6775" y="810"/>
                  <a:pt x="6774" y="810"/>
                  <a:pt x="6773" y="811"/>
                </a:cubicBezTo>
                <a:cubicBezTo>
                  <a:pt x="6772" y="811"/>
                  <a:pt x="6771" y="811"/>
                  <a:pt x="6771" y="811"/>
                </a:cubicBezTo>
                <a:cubicBezTo>
                  <a:pt x="6770" y="811"/>
                  <a:pt x="6770" y="812"/>
                  <a:pt x="6770" y="812"/>
                </a:cubicBezTo>
                <a:cubicBezTo>
                  <a:pt x="6770" y="812"/>
                  <a:pt x="6771" y="813"/>
                  <a:pt x="6773" y="813"/>
                </a:cubicBezTo>
                <a:cubicBezTo>
                  <a:pt x="6777" y="813"/>
                  <a:pt x="6779" y="814"/>
                  <a:pt x="6780" y="815"/>
                </a:cubicBezTo>
                <a:cubicBezTo>
                  <a:pt x="6781" y="817"/>
                  <a:pt x="6782" y="818"/>
                  <a:pt x="6784" y="818"/>
                </a:cubicBezTo>
                <a:cubicBezTo>
                  <a:pt x="6785" y="818"/>
                  <a:pt x="6785" y="817"/>
                  <a:pt x="6785" y="817"/>
                </a:cubicBezTo>
                <a:cubicBezTo>
                  <a:pt x="6785" y="817"/>
                  <a:pt x="6784" y="816"/>
                  <a:pt x="6783" y="815"/>
                </a:cubicBezTo>
                <a:cubicBezTo>
                  <a:pt x="6781" y="813"/>
                  <a:pt x="6779" y="812"/>
                  <a:pt x="6779" y="811"/>
                </a:cubicBezTo>
                <a:cubicBezTo>
                  <a:pt x="6779" y="809"/>
                  <a:pt x="6784" y="808"/>
                  <a:pt x="6795" y="807"/>
                </a:cubicBezTo>
                <a:cubicBezTo>
                  <a:pt x="6797" y="807"/>
                  <a:pt x="6799" y="807"/>
                  <a:pt x="6799" y="806"/>
                </a:cubicBezTo>
                <a:cubicBezTo>
                  <a:pt x="6799" y="804"/>
                  <a:pt x="6799" y="804"/>
                  <a:pt x="6801" y="804"/>
                </a:cubicBezTo>
                <a:cubicBezTo>
                  <a:pt x="6802" y="804"/>
                  <a:pt x="6802" y="804"/>
                  <a:pt x="6802" y="805"/>
                </a:cubicBezTo>
                <a:lnTo>
                  <a:pt x="6801" y="807"/>
                </a:lnTo>
                <a:cubicBezTo>
                  <a:pt x="6801" y="810"/>
                  <a:pt x="6802" y="812"/>
                  <a:pt x="6803" y="813"/>
                </a:cubicBezTo>
                <a:cubicBezTo>
                  <a:pt x="6804" y="813"/>
                  <a:pt x="6804" y="814"/>
                  <a:pt x="6804" y="814"/>
                </a:cubicBezTo>
                <a:cubicBezTo>
                  <a:pt x="6804" y="815"/>
                  <a:pt x="6802" y="816"/>
                  <a:pt x="6797" y="816"/>
                </a:cubicBezTo>
                <a:lnTo>
                  <a:pt x="6792" y="816"/>
                </a:lnTo>
                <a:cubicBezTo>
                  <a:pt x="6789" y="816"/>
                  <a:pt x="6788" y="816"/>
                  <a:pt x="6788" y="818"/>
                </a:cubicBezTo>
                <a:cubicBezTo>
                  <a:pt x="6788" y="819"/>
                  <a:pt x="6785" y="819"/>
                  <a:pt x="6780" y="819"/>
                </a:cubicBezTo>
                <a:close/>
                <a:moveTo>
                  <a:pt x="6695" y="723"/>
                </a:moveTo>
                <a:lnTo>
                  <a:pt x="6696" y="722"/>
                </a:lnTo>
                <a:lnTo>
                  <a:pt x="6697" y="719"/>
                </a:lnTo>
                <a:lnTo>
                  <a:pt x="6696" y="716"/>
                </a:lnTo>
                <a:lnTo>
                  <a:pt x="6695" y="715"/>
                </a:lnTo>
                <a:cubicBezTo>
                  <a:pt x="6695" y="715"/>
                  <a:pt x="6695" y="717"/>
                  <a:pt x="6695" y="719"/>
                </a:cubicBezTo>
                <a:cubicBezTo>
                  <a:pt x="6695" y="721"/>
                  <a:pt x="6695" y="723"/>
                  <a:pt x="6695" y="723"/>
                </a:cubicBezTo>
                <a:close/>
                <a:moveTo>
                  <a:pt x="6832" y="781"/>
                </a:moveTo>
                <a:cubicBezTo>
                  <a:pt x="6831" y="781"/>
                  <a:pt x="6831" y="780"/>
                  <a:pt x="6831" y="779"/>
                </a:cubicBezTo>
                <a:cubicBezTo>
                  <a:pt x="6831" y="777"/>
                  <a:pt x="6832" y="776"/>
                  <a:pt x="6833" y="776"/>
                </a:cubicBezTo>
                <a:cubicBezTo>
                  <a:pt x="6834" y="776"/>
                  <a:pt x="6835" y="776"/>
                  <a:pt x="6835" y="777"/>
                </a:cubicBezTo>
                <a:cubicBezTo>
                  <a:pt x="6835" y="777"/>
                  <a:pt x="6835" y="778"/>
                  <a:pt x="6834" y="779"/>
                </a:cubicBezTo>
                <a:cubicBezTo>
                  <a:pt x="6834" y="780"/>
                  <a:pt x="6833" y="781"/>
                  <a:pt x="6832" y="781"/>
                </a:cubicBezTo>
                <a:close/>
                <a:moveTo>
                  <a:pt x="6836" y="788"/>
                </a:moveTo>
                <a:lnTo>
                  <a:pt x="6837" y="785"/>
                </a:lnTo>
                <a:cubicBezTo>
                  <a:pt x="6837" y="783"/>
                  <a:pt x="6838" y="782"/>
                  <a:pt x="6839" y="781"/>
                </a:cubicBezTo>
                <a:cubicBezTo>
                  <a:pt x="6839" y="781"/>
                  <a:pt x="6840" y="782"/>
                  <a:pt x="6840" y="783"/>
                </a:cubicBezTo>
                <a:cubicBezTo>
                  <a:pt x="6840" y="784"/>
                  <a:pt x="6839" y="785"/>
                  <a:pt x="6838" y="786"/>
                </a:cubicBezTo>
                <a:cubicBezTo>
                  <a:pt x="6837" y="787"/>
                  <a:pt x="6837" y="788"/>
                  <a:pt x="6836" y="788"/>
                </a:cubicBezTo>
                <a:close/>
                <a:moveTo>
                  <a:pt x="6732" y="732"/>
                </a:moveTo>
                <a:cubicBezTo>
                  <a:pt x="6732" y="732"/>
                  <a:pt x="6732" y="731"/>
                  <a:pt x="6732" y="728"/>
                </a:cubicBezTo>
                <a:cubicBezTo>
                  <a:pt x="6732" y="726"/>
                  <a:pt x="6732" y="723"/>
                  <a:pt x="6731" y="718"/>
                </a:cubicBezTo>
                <a:cubicBezTo>
                  <a:pt x="6731" y="714"/>
                  <a:pt x="6731" y="710"/>
                  <a:pt x="6731" y="705"/>
                </a:cubicBezTo>
                <a:cubicBezTo>
                  <a:pt x="6730" y="701"/>
                  <a:pt x="6730" y="698"/>
                  <a:pt x="6730" y="695"/>
                </a:cubicBezTo>
                <a:lnTo>
                  <a:pt x="6730" y="693"/>
                </a:lnTo>
                <a:cubicBezTo>
                  <a:pt x="6730" y="688"/>
                  <a:pt x="6731" y="686"/>
                  <a:pt x="6732" y="686"/>
                </a:cubicBezTo>
                <a:cubicBezTo>
                  <a:pt x="6733" y="686"/>
                  <a:pt x="6733" y="694"/>
                  <a:pt x="6733" y="710"/>
                </a:cubicBezTo>
                <a:cubicBezTo>
                  <a:pt x="6733" y="725"/>
                  <a:pt x="6733" y="732"/>
                  <a:pt x="6732" y="732"/>
                </a:cubicBezTo>
                <a:close/>
                <a:moveTo>
                  <a:pt x="7145" y="692"/>
                </a:moveTo>
                <a:cubicBezTo>
                  <a:pt x="7145" y="692"/>
                  <a:pt x="7145" y="691"/>
                  <a:pt x="7145" y="691"/>
                </a:cubicBezTo>
                <a:cubicBezTo>
                  <a:pt x="7145" y="690"/>
                  <a:pt x="7146" y="688"/>
                  <a:pt x="7148" y="687"/>
                </a:cubicBezTo>
                <a:lnTo>
                  <a:pt x="7151" y="685"/>
                </a:lnTo>
                <a:cubicBezTo>
                  <a:pt x="7151" y="685"/>
                  <a:pt x="7150" y="686"/>
                  <a:pt x="7149" y="688"/>
                </a:cubicBezTo>
                <a:cubicBezTo>
                  <a:pt x="7147" y="691"/>
                  <a:pt x="7146" y="692"/>
                  <a:pt x="7145" y="692"/>
                </a:cubicBezTo>
                <a:close/>
                <a:moveTo>
                  <a:pt x="7145" y="691"/>
                </a:moveTo>
                <a:close/>
                <a:moveTo>
                  <a:pt x="7153" y="694"/>
                </a:moveTo>
                <a:cubicBezTo>
                  <a:pt x="7152" y="694"/>
                  <a:pt x="7152" y="693"/>
                  <a:pt x="7152" y="693"/>
                </a:cubicBezTo>
                <a:lnTo>
                  <a:pt x="7152" y="692"/>
                </a:lnTo>
                <a:cubicBezTo>
                  <a:pt x="7153" y="690"/>
                  <a:pt x="7154" y="689"/>
                  <a:pt x="7154" y="689"/>
                </a:cubicBezTo>
                <a:cubicBezTo>
                  <a:pt x="7155" y="689"/>
                  <a:pt x="7155" y="690"/>
                  <a:pt x="7155" y="692"/>
                </a:cubicBezTo>
                <a:cubicBezTo>
                  <a:pt x="7155" y="693"/>
                  <a:pt x="7155" y="694"/>
                  <a:pt x="7153" y="694"/>
                </a:cubicBezTo>
                <a:close/>
                <a:moveTo>
                  <a:pt x="7164" y="801"/>
                </a:moveTo>
                <a:cubicBezTo>
                  <a:pt x="7164" y="801"/>
                  <a:pt x="7165" y="800"/>
                  <a:pt x="7166" y="799"/>
                </a:cubicBezTo>
                <a:cubicBezTo>
                  <a:pt x="7167" y="798"/>
                  <a:pt x="7168" y="797"/>
                  <a:pt x="7169" y="797"/>
                </a:cubicBezTo>
                <a:cubicBezTo>
                  <a:pt x="7169" y="797"/>
                  <a:pt x="7170" y="797"/>
                  <a:pt x="7170" y="798"/>
                </a:cubicBezTo>
                <a:cubicBezTo>
                  <a:pt x="7170" y="799"/>
                  <a:pt x="7169" y="799"/>
                  <a:pt x="7167" y="800"/>
                </a:cubicBezTo>
                <a:lnTo>
                  <a:pt x="7164" y="801"/>
                </a:lnTo>
                <a:close/>
                <a:moveTo>
                  <a:pt x="7161" y="797"/>
                </a:moveTo>
                <a:cubicBezTo>
                  <a:pt x="7160" y="797"/>
                  <a:pt x="7160" y="796"/>
                  <a:pt x="7160" y="796"/>
                </a:cubicBezTo>
                <a:cubicBezTo>
                  <a:pt x="7160" y="796"/>
                  <a:pt x="7160" y="795"/>
                  <a:pt x="7160" y="795"/>
                </a:cubicBezTo>
                <a:cubicBezTo>
                  <a:pt x="7161" y="795"/>
                  <a:pt x="7162" y="794"/>
                  <a:pt x="7164" y="794"/>
                </a:cubicBezTo>
                <a:lnTo>
                  <a:pt x="7165" y="793"/>
                </a:lnTo>
                <a:cubicBezTo>
                  <a:pt x="7165" y="793"/>
                  <a:pt x="7166" y="794"/>
                  <a:pt x="7166" y="794"/>
                </a:cubicBezTo>
                <a:cubicBezTo>
                  <a:pt x="7166" y="794"/>
                  <a:pt x="7165" y="794"/>
                  <a:pt x="7165" y="795"/>
                </a:cubicBezTo>
                <a:cubicBezTo>
                  <a:pt x="7165" y="796"/>
                  <a:pt x="7164" y="796"/>
                  <a:pt x="7163" y="796"/>
                </a:cubicBezTo>
                <a:cubicBezTo>
                  <a:pt x="7162" y="797"/>
                  <a:pt x="7162" y="797"/>
                  <a:pt x="7161" y="797"/>
                </a:cubicBezTo>
                <a:close/>
                <a:moveTo>
                  <a:pt x="7174" y="797"/>
                </a:moveTo>
                <a:lnTo>
                  <a:pt x="7174" y="797"/>
                </a:lnTo>
                <a:cubicBezTo>
                  <a:pt x="7174" y="796"/>
                  <a:pt x="7174" y="796"/>
                  <a:pt x="7176" y="795"/>
                </a:cubicBezTo>
                <a:cubicBezTo>
                  <a:pt x="7179" y="792"/>
                  <a:pt x="7182" y="791"/>
                  <a:pt x="7186" y="789"/>
                </a:cubicBezTo>
                <a:lnTo>
                  <a:pt x="7189" y="788"/>
                </a:lnTo>
                <a:cubicBezTo>
                  <a:pt x="7189" y="788"/>
                  <a:pt x="7187" y="790"/>
                  <a:pt x="7183" y="793"/>
                </a:cubicBezTo>
                <a:cubicBezTo>
                  <a:pt x="7179" y="795"/>
                  <a:pt x="7176" y="797"/>
                  <a:pt x="7174" y="797"/>
                </a:cubicBezTo>
                <a:close/>
                <a:moveTo>
                  <a:pt x="7028" y="886"/>
                </a:moveTo>
                <a:cubicBezTo>
                  <a:pt x="7028" y="886"/>
                  <a:pt x="7027" y="885"/>
                  <a:pt x="7027" y="884"/>
                </a:cubicBezTo>
                <a:cubicBezTo>
                  <a:pt x="7027" y="882"/>
                  <a:pt x="7027" y="882"/>
                  <a:pt x="7027" y="882"/>
                </a:cubicBezTo>
                <a:cubicBezTo>
                  <a:pt x="7027" y="882"/>
                  <a:pt x="7026" y="882"/>
                  <a:pt x="7025" y="884"/>
                </a:cubicBezTo>
                <a:cubicBezTo>
                  <a:pt x="7025" y="885"/>
                  <a:pt x="7024" y="886"/>
                  <a:pt x="7024" y="886"/>
                </a:cubicBezTo>
                <a:cubicBezTo>
                  <a:pt x="7023" y="886"/>
                  <a:pt x="7023" y="885"/>
                  <a:pt x="7023" y="884"/>
                </a:cubicBezTo>
                <a:cubicBezTo>
                  <a:pt x="7023" y="883"/>
                  <a:pt x="7023" y="883"/>
                  <a:pt x="7022" y="883"/>
                </a:cubicBezTo>
                <a:lnTo>
                  <a:pt x="7020" y="883"/>
                </a:lnTo>
                <a:cubicBezTo>
                  <a:pt x="7019" y="883"/>
                  <a:pt x="7019" y="883"/>
                  <a:pt x="7019" y="881"/>
                </a:cubicBezTo>
                <a:cubicBezTo>
                  <a:pt x="7019" y="880"/>
                  <a:pt x="7019" y="879"/>
                  <a:pt x="7018" y="879"/>
                </a:cubicBezTo>
                <a:cubicBezTo>
                  <a:pt x="7018" y="879"/>
                  <a:pt x="7017" y="880"/>
                  <a:pt x="7017" y="881"/>
                </a:cubicBezTo>
                <a:cubicBezTo>
                  <a:pt x="7016" y="883"/>
                  <a:pt x="7015" y="883"/>
                  <a:pt x="7013" y="883"/>
                </a:cubicBezTo>
                <a:cubicBezTo>
                  <a:pt x="7011" y="883"/>
                  <a:pt x="7009" y="883"/>
                  <a:pt x="7008" y="882"/>
                </a:cubicBezTo>
                <a:cubicBezTo>
                  <a:pt x="7006" y="881"/>
                  <a:pt x="7005" y="879"/>
                  <a:pt x="7005" y="878"/>
                </a:cubicBezTo>
                <a:cubicBezTo>
                  <a:pt x="7005" y="877"/>
                  <a:pt x="7005" y="876"/>
                  <a:pt x="7005" y="876"/>
                </a:cubicBezTo>
                <a:lnTo>
                  <a:pt x="7002" y="877"/>
                </a:lnTo>
                <a:cubicBezTo>
                  <a:pt x="7002" y="877"/>
                  <a:pt x="7001" y="876"/>
                  <a:pt x="7001" y="875"/>
                </a:cubicBezTo>
                <a:cubicBezTo>
                  <a:pt x="7001" y="874"/>
                  <a:pt x="6998" y="872"/>
                  <a:pt x="6991" y="870"/>
                </a:cubicBezTo>
                <a:cubicBezTo>
                  <a:pt x="6981" y="867"/>
                  <a:pt x="6976" y="862"/>
                  <a:pt x="6976" y="854"/>
                </a:cubicBezTo>
                <a:lnTo>
                  <a:pt x="6977" y="847"/>
                </a:lnTo>
                <a:cubicBezTo>
                  <a:pt x="6977" y="845"/>
                  <a:pt x="6976" y="845"/>
                  <a:pt x="6976" y="845"/>
                </a:cubicBezTo>
                <a:cubicBezTo>
                  <a:pt x="6975" y="845"/>
                  <a:pt x="6974" y="844"/>
                  <a:pt x="6973" y="843"/>
                </a:cubicBezTo>
                <a:cubicBezTo>
                  <a:pt x="6973" y="842"/>
                  <a:pt x="6972" y="840"/>
                  <a:pt x="6972" y="838"/>
                </a:cubicBezTo>
                <a:cubicBezTo>
                  <a:pt x="6972" y="835"/>
                  <a:pt x="6973" y="833"/>
                  <a:pt x="6975" y="832"/>
                </a:cubicBezTo>
                <a:cubicBezTo>
                  <a:pt x="6977" y="830"/>
                  <a:pt x="6979" y="829"/>
                  <a:pt x="6982" y="829"/>
                </a:cubicBezTo>
                <a:lnTo>
                  <a:pt x="6986" y="829"/>
                </a:lnTo>
                <a:cubicBezTo>
                  <a:pt x="6986" y="829"/>
                  <a:pt x="6985" y="830"/>
                  <a:pt x="6983" y="831"/>
                </a:cubicBezTo>
                <a:cubicBezTo>
                  <a:pt x="6979" y="833"/>
                  <a:pt x="6977" y="835"/>
                  <a:pt x="6977" y="836"/>
                </a:cubicBezTo>
                <a:cubicBezTo>
                  <a:pt x="6977" y="837"/>
                  <a:pt x="6978" y="838"/>
                  <a:pt x="6979" y="839"/>
                </a:cubicBezTo>
                <a:cubicBezTo>
                  <a:pt x="6981" y="840"/>
                  <a:pt x="6983" y="841"/>
                  <a:pt x="6985" y="841"/>
                </a:cubicBezTo>
                <a:cubicBezTo>
                  <a:pt x="6988" y="842"/>
                  <a:pt x="6990" y="842"/>
                  <a:pt x="6993" y="842"/>
                </a:cubicBezTo>
                <a:cubicBezTo>
                  <a:pt x="6996" y="842"/>
                  <a:pt x="6998" y="841"/>
                  <a:pt x="7000" y="840"/>
                </a:cubicBezTo>
                <a:cubicBezTo>
                  <a:pt x="7001" y="840"/>
                  <a:pt x="7002" y="839"/>
                  <a:pt x="7003" y="839"/>
                </a:cubicBezTo>
                <a:cubicBezTo>
                  <a:pt x="7004" y="839"/>
                  <a:pt x="7004" y="840"/>
                  <a:pt x="7004" y="840"/>
                </a:cubicBezTo>
                <a:cubicBezTo>
                  <a:pt x="7005" y="840"/>
                  <a:pt x="7006" y="841"/>
                  <a:pt x="7008" y="841"/>
                </a:cubicBezTo>
                <a:cubicBezTo>
                  <a:pt x="7017" y="841"/>
                  <a:pt x="7034" y="837"/>
                  <a:pt x="7062" y="829"/>
                </a:cubicBezTo>
                <a:cubicBezTo>
                  <a:pt x="7089" y="822"/>
                  <a:pt x="7114" y="813"/>
                  <a:pt x="7137" y="805"/>
                </a:cubicBezTo>
                <a:cubicBezTo>
                  <a:pt x="7146" y="801"/>
                  <a:pt x="7151" y="800"/>
                  <a:pt x="7152" y="800"/>
                </a:cubicBezTo>
                <a:cubicBezTo>
                  <a:pt x="7152" y="800"/>
                  <a:pt x="7152" y="800"/>
                  <a:pt x="7152" y="800"/>
                </a:cubicBezTo>
                <a:cubicBezTo>
                  <a:pt x="7152" y="803"/>
                  <a:pt x="7136" y="809"/>
                  <a:pt x="7102" y="821"/>
                </a:cubicBezTo>
                <a:cubicBezTo>
                  <a:pt x="7069" y="832"/>
                  <a:pt x="7043" y="839"/>
                  <a:pt x="7027" y="842"/>
                </a:cubicBezTo>
                <a:lnTo>
                  <a:pt x="7025" y="842"/>
                </a:lnTo>
                <a:cubicBezTo>
                  <a:pt x="7021" y="843"/>
                  <a:pt x="7018" y="844"/>
                  <a:pt x="7016" y="845"/>
                </a:cubicBezTo>
                <a:cubicBezTo>
                  <a:pt x="7014" y="845"/>
                  <a:pt x="7012" y="846"/>
                  <a:pt x="7010" y="846"/>
                </a:cubicBezTo>
                <a:lnTo>
                  <a:pt x="7008" y="846"/>
                </a:lnTo>
                <a:cubicBezTo>
                  <a:pt x="7005" y="846"/>
                  <a:pt x="7004" y="846"/>
                  <a:pt x="7004" y="846"/>
                </a:cubicBezTo>
                <a:cubicBezTo>
                  <a:pt x="7004" y="847"/>
                  <a:pt x="7005" y="847"/>
                  <a:pt x="7006" y="848"/>
                </a:cubicBezTo>
                <a:cubicBezTo>
                  <a:pt x="7007" y="849"/>
                  <a:pt x="7008" y="850"/>
                  <a:pt x="7009" y="851"/>
                </a:cubicBezTo>
                <a:cubicBezTo>
                  <a:pt x="7010" y="853"/>
                  <a:pt x="7010" y="854"/>
                  <a:pt x="7010" y="855"/>
                </a:cubicBezTo>
                <a:cubicBezTo>
                  <a:pt x="7010" y="856"/>
                  <a:pt x="7010" y="857"/>
                  <a:pt x="7010" y="857"/>
                </a:cubicBezTo>
                <a:cubicBezTo>
                  <a:pt x="7010" y="857"/>
                  <a:pt x="7011" y="858"/>
                  <a:pt x="7013" y="858"/>
                </a:cubicBezTo>
                <a:cubicBezTo>
                  <a:pt x="7015" y="858"/>
                  <a:pt x="7021" y="857"/>
                  <a:pt x="7031" y="855"/>
                </a:cubicBezTo>
                <a:cubicBezTo>
                  <a:pt x="7044" y="853"/>
                  <a:pt x="7072" y="846"/>
                  <a:pt x="7114" y="833"/>
                </a:cubicBezTo>
                <a:cubicBezTo>
                  <a:pt x="7183" y="811"/>
                  <a:pt x="7220" y="786"/>
                  <a:pt x="7226" y="760"/>
                </a:cubicBezTo>
                <a:lnTo>
                  <a:pt x="7227" y="756"/>
                </a:lnTo>
                <a:lnTo>
                  <a:pt x="7226" y="755"/>
                </a:lnTo>
                <a:lnTo>
                  <a:pt x="7225" y="757"/>
                </a:lnTo>
                <a:cubicBezTo>
                  <a:pt x="7225" y="758"/>
                  <a:pt x="7224" y="759"/>
                  <a:pt x="7222" y="761"/>
                </a:cubicBezTo>
                <a:cubicBezTo>
                  <a:pt x="7220" y="763"/>
                  <a:pt x="7218" y="765"/>
                  <a:pt x="7215" y="767"/>
                </a:cubicBezTo>
                <a:cubicBezTo>
                  <a:pt x="7213" y="769"/>
                  <a:pt x="7211" y="769"/>
                  <a:pt x="7210" y="769"/>
                </a:cubicBezTo>
                <a:lnTo>
                  <a:pt x="7210" y="769"/>
                </a:lnTo>
                <a:cubicBezTo>
                  <a:pt x="7210" y="768"/>
                  <a:pt x="7211" y="767"/>
                  <a:pt x="7213" y="765"/>
                </a:cubicBezTo>
                <a:cubicBezTo>
                  <a:pt x="7220" y="759"/>
                  <a:pt x="7224" y="754"/>
                  <a:pt x="7224" y="750"/>
                </a:cubicBezTo>
                <a:cubicBezTo>
                  <a:pt x="7224" y="748"/>
                  <a:pt x="7223" y="747"/>
                  <a:pt x="7222" y="747"/>
                </a:cubicBezTo>
                <a:cubicBezTo>
                  <a:pt x="7220" y="747"/>
                  <a:pt x="7219" y="746"/>
                  <a:pt x="7219" y="745"/>
                </a:cubicBezTo>
                <a:lnTo>
                  <a:pt x="7220" y="743"/>
                </a:lnTo>
                <a:cubicBezTo>
                  <a:pt x="7220" y="742"/>
                  <a:pt x="7219" y="742"/>
                  <a:pt x="7219" y="742"/>
                </a:cubicBezTo>
                <a:cubicBezTo>
                  <a:pt x="7216" y="741"/>
                  <a:pt x="7211" y="740"/>
                  <a:pt x="7206" y="737"/>
                </a:cubicBezTo>
                <a:cubicBezTo>
                  <a:pt x="7195" y="732"/>
                  <a:pt x="7179" y="725"/>
                  <a:pt x="7160" y="718"/>
                </a:cubicBezTo>
                <a:cubicBezTo>
                  <a:pt x="7142" y="712"/>
                  <a:pt x="7128" y="706"/>
                  <a:pt x="7119" y="701"/>
                </a:cubicBezTo>
                <a:lnTo>
                  <a:pt x="7101" y="694"/>
                </a:lnTo>
                <a:cubicBezTo>
                  <a:pt x="7101" y="694"/>
                  <a:pt x="7100" y="693"/>
                  <a:pt x="7099" y="692"/>
                </a:cubicBezTo>
                <a:cubicBezTo>
                  <a:pt x="7097" y="690"/>
                  <a:pt x="7094" y="688"/>
                  <a:pt x="7088" y="685"/>
                </a:cubicBezTo>
                <a:cubicBezTo>
                  <a:pt x="7076" y="678"/>
                  <a:pt x="7064" y="667"/>
                  <a:pt x="7051" y="654"/>
                </a:cubicBezTo>
                <a:cubicBezTo>
                  <a:pt x="7038" y="640"/>
                  <a:pt x="7029" y="627"/>
                  <a:pt x="7024" y="616"/>
                </a:cubicBezTo>
                <a:cubicBezTo>
                  <a:pt x="7020" y="607"/>
                  <a:pt x="7019" y="597"/>
                  <a:pt x="7019" y="586"/>
                </a:cubicBezTo>
                <a:cubicBezTo>
                  <a:pt x="7019" y="574"/>
                  <a:pt x="7021" y="562"/>
                  <a:pt x="7026" y="551"/>
                </a:cubicBezTo>
                <a:cubicBezTo>
                  <a:pt x="7030" y="543"/>
                  <a:pt x="7032" y="539"/>
                  <a:pt x="7034" y="539"/>
                </a:cubicBezTo>
                <a:lnTo>
                  <a:pt x="7035" y="539"/>
                </a:lnTo>
                <a:cubicBezTo>
                  <a:pt x="7035" y="539"/>
                  <a:pt x="7036" y="539"/>
                  <a:pt x="7036" y="539"/>
                </a:cubicBezTo>
                <a:lnTo>
                  <a:pt x="7035" y="536"/>
                </a:lnTo>
                <a:cubicBezTo>
                  <a:pt x="7035" y="534"/>
                  <a:pt x="7035" y="532"/>
                  <a:pt x="7037" y="529"/>
                </a:cubicBezTo>
                <a:cubicBezTo>
                  <a:pt x="7039" y="525"/>
                  <a:pt x="7041" y="523"/>
                  <a:pt x="7043" y="520"/>
                </a:cubicBezTo>
                <a:cubicBezTo>
                  <a:pt x="7045" y="517"/>
                  <a:pt x="7047" y="516"/>
                  <a:pt x="7048" y="516"/>
                </a:cubicBezTo>
                <a:lnTo>
                  <a:pt x="7050" y="516"/>
                </a:lnTo>
                <a:cubicBezTo>
                  <a:pt x="7050" y="516"/>
                  <a:pt x="7051" y="516"/>
                  <a:pt x="7052" y="515"/>
                </a:cubicBezTo>
                <a:cubicBezTo>
                  <a:pt x="7052" y="515"/>
                  <a:pt x="7053" y="514"/>
                  <a:pt x="7054" y="513"/>
                </a:cubicBezTo>
                <a:cubicBezTo>
                  <a:pt x="7055" y="512"/>
                  <a:pt x="7055" y="511"/>
                  <a:pt x="7055" y="511"/>
                </a:cubicBezTo>
                <a:lnTo>
                  <a:pt x="7053" y="512"/>
                </a:lnTo>
                <a:cubicBezTo>
                  <a:pt x="7052" y="512"/>
                  <a:pt x="7052" y="510"/>
                  <a:pt x="7052" y="508"/>
                </a:cubicBezTo>
                <a:cubicBezTo>
                  <a:pt x="7052" y="505"/>
                  <a:pt x="7052" y="504"/>
                  <a:pt x="7052" y="504"/>
                </a:cubicBezTo>
                <a:lnTo>
                  <a:pt x="7053" y="504"/>
                </a:lnTo>
                <a:cubicBezTo>
                  <a:pt x="7055" y="504"/>
                  <a:pt x="7059" y="501"/>
                  <a:pt x="7065" y="495"/>
                </a:cubicBezTo>
                <a:cubicBezTo>
                  <a:pt x="7071" y="488"/>
                  <a:pt x="7075" y="485"/>
                  <a:pt x="7076" y="485"/>
                </a:cubicBezTo>
                <a:cubicBezTo>
                  <a:pt x="7077" y="485"/>
                  <a:pt x="7077" y="485"/>
                  <a:pt x="7077" y="485"/>
                </a:cubicBezTo>
                <a:cubicBezTo>
                  <a:pt x="7077" y="486"/>
                  <a:pt x="7076" y="487"/>
                  <a:pt x="7074" y="490"/>
                </a:cubicBezTo>
                <a:lnTo>
                  <a:pt x="7070" y="494"/>
                </a:lnTo>
                <a:cubicBezTo>
                  <a:pt x="7071" y="494"/>
                  <a:pt x="7072" y="493"/>
                  <a:pt x="7075" y="490"/>
                </a:cubicBezTo>
                <a:cubicBezTo>
                  <a:pt x="7077" y="488"/>
                  <a:pt x="7078" y="486"/>
                  <a:pt x="7078" y="485"/>
                </a:cubicBezTo>
                <a:lnTo>
                  <a:pt x="7078" y="484"/>
                </a:lnTo>
                <a:cubicBezTo>
                  <a:pt x="7078" y="483"/>
                  <a:pt x="7080" y="481"/>
                  <a:pt x="7084" y="477"/>
                </a:cubicBezTo>
                <a:lnTo>
                  <a:pt x="7090" y="473"/>
                </a:lnTo>
                <a:cubicBezTo>
                  <a:pt x="7095" y="468"/>
                  <a:pt x="7104" y="461"/>
                  <a:pt x="7115" y="454"/>
                </a:cubicBezTo>
                <a:cubicBezTo>
                  <a:pt x="7124" y="448"/>
                  <a:pt x="7129" y="445"/>
                  <a:pt x="7129" y="444"/>
                </a:cubicBezTo>
                <a:cubicBezTo>
                  <a:pt x="7128" y="444"/>
                  <a:pt x="7125" y="446"/>
                  <a:pt x="7119" y="448"/>
                </a:cubicBezTo>
                <a:cubicBezTo>
                  <a:pt x="7114" y="451"/>
                  <a:pt x="7110" y="453"/>
                  <a:pt x="7109" y="453"/>
                </a:cubicBezTo>
                <a:cubicBezTo>
                  <a:pt x="7109" y="453"/>
                  <a:pt x="7109" y="453"/>
                  <a:pt x="7109" y="453"/>
                </a:cubicBezTo>
                <a:lnTo>
                  <a:pt x="7109" y="452"/>
                </a:lnTo>
                <a:cubicBezTo>
                  <a:pt x="7109" y="451"/>
                  <a:pt x="7112" y="448"/>
                  <a:pt x="7120" y="444"/>
                </a:cubicBezTo>
                <a:cubicBezTo>
                  <a:pt x="7127" y="441"/>
                  <a:pt x="7136" y="437"/>
                  <a:pt x="7146" y="434"/>
                </a:cubicBezTo>
                <a:cubicBezTo>
                  <a:pt x="7155" y="431"/>
                  <a:pt x="7162" y="430"/>
                  <a:pt x="7167" y="430"/>
                </a:cubicBezTo>
                <a:cubicBezTo>
                  <a:pt x="7171" y="430"/>
                  <a:pt x="7177" y="431"/>
                  <a:pt x="7183" y="433"/>
                </a:cubicBezTo>
                <a:cubicBezTo>
                  <a:pt x="7189" y="436"/>
                  <a:pt x="7194" y="438"/>
                  <a:pt x="7199" y="441"/>
                </a:cubicBezTo>
                <a:cubicBezTo>
                  <a:pt x="7204" y="445"/>
                  <a:pt x="7206" y="447"/>
                  <a:pt x="7206" y="449"/>
                </a:cubicBezTo>
                <a:cubicBezTo>
                  <a:pt x="7206" y="451"/>
                  <a:pt x="7209" y="453"/>
                  <a:pt x="7215" y="455"/>
                </a:cubicBezTo>
                <a:cubicBezTo>
                  <a:pt x="7231" y="460"/>
                  <a:pt x="7239" y="471"/>
                  <a:pt x="7239" y="487"/>
                </a:cubicBezTo>
                <a:cubicBezTo>
                  <a:pt x="7239" y="504"/>
                  <a:pt x="7231" y="523"/>
                  <a:pt x="7216" y="546"/>
                </a:cubicBezTo>
                <a:cubicBezTo>
                  <a:pt x="7211" y="552"/>
                  <a:pt x="7208" y="555"/>
                  <a:pt x="7206" y="557"/>
                </a:cubicBezTo>
                <a:cubicBezTo>
                  <a:pt x="7204" y="558"/>
                  <a:pt x="7203" y="560"/>
                  <a:pt x="7203" y="561"/>
                </a:cubicBezTo>
                <a:cubicBezTo>
                  <a:pt x="7203" y="563"/>
                  <a:pt x="7201" y="566"/>
                  <a:pt x="7196" y="570"/>
                </a:cubicBezTo>
                <a:cubicBezTo>
                  <a:pt x="7193" y="573"/>
                  <a:pt x="7192" y="575"/>
                  <a:pt x="7192" y="575"/>
                </a:cubicBezTo>
                <a:lnTo>
                  <a:pt x="7193" y="575"/>
                </a:lnTo>
                <a:cubicBezTo>
                  <a:pt x="7193" y="576"/>
                  <a:pt x="7191" y="578"/>
                  <a:pt x="7188" y="582"/>
                </a:cubicBezTo>
                <a:cubicBezTo>
                  <a:pt x="7184" y="586"/>
                  <a:pt x="7182" y="588"/>
                  <a:pt x="7182" y="588"/>
                </a:cubicBezTo>
                <a:lnTo>
                  <a:pt x="7186" y="586"/>
                </a:lnTo>
                <a:cubicBezTo>
                  <a:pt x="7186" y="586"/>
                  <a:pt x="7185" y="588"/>
                  <a:pt x="7183" y="590"/>
                </a:cubicBezTo>
                <a:cubicBezTo>
                  <a:pt x="7180" y="593"/>
                  <a:pt x="7179" y="594"/>
                  <a:pt x="7178" y="594"/>
                </a:cubicBezTo>
                <a:lnTo>
                  <a:pt x="7177" y="594"/>
                </a:lnTo>
                <a:cubicBezTo>
                  <a:pt x="7176" y="594"/>
                  <a:pt x="7174" y="596"/>
                  <a:pt x="7169" y="599"/>
                </a:cubicBezTo>
                <a:cubicBezTo>
                  <a:pt x="7165" y="603"/>
                  <a:pt x="7161" y="607"/>
                  <a:pt x="7156" y="611"/>
                </a:cubicBezTo>
                <a:cubicBezTo>
                  <a:pt x="7154" y="614"/>
                  <a:pt x="7152" y="615"/>
                  <a:pt x="7152" y="615"/>
                </a:cubicBezTo>
                <a:lnTo>
                  <a:pt x="7151" y="614"/>
                </a:lnTo>
                <a:cubicBezTo>
                  <a:pt x="7150" y="614"/>
                  <a:pt x="7148" y="616"/>
                  <a:pt x="7144" y="620"/>
                </a:cubicBezTo>
                <a:cubicBezTo>
                  <a:pt x="7138" y="625"/>
                  <a:pt x="7133" y="628"/>
                  <a:pt x="7129" y="628"/>
                </a:cubicBezTo>
                <a:cubicBezTo>
                  <a:pt x="7127" y="628"/>
                  <a:pt x="7125" y="627"/>
                  <a:pt x="7125" y="624"/>
                </a:cubicBezTo>
                <a:lnTo>
                  <a:pt x="7125" y="621"/>
                </a:lnTo>
                <a:cubicBezTo>
                  <a:pt x="7125" y="619"/>
                  <a:pt x="7124" y="618"/>
                  <a:pt x="7123" y="618"/>
                </a:cubicBezTo>
                <a:lnTo>
                  <a:pt x="7115" y="619"/>
                </a:lnTo>
                <a:cubicBezTo>
                  <a:pt x="7112" y="619"/>
                  <a:pt x="7111" y="618"/>
                  <a:pt x="7111" y="617"/>
                </a:cubicBezTo>
                <a:cubicBezTo>
                  <a:pt x="7111" y="616"/>
                  <a:pt x="7111" y="616"/>
                  <a:pt x="7112" y="616"/>
                </a:cubicBezTo>
                <a:cubicBezTo>
                  <a:pt x="7112" y="616"/>
                  <a:pt x="7113" y="615"/>
                  <a:pt x="7114" y="615"/>
                </a:cubicBezTo>
                <a:cubicBezTo>
                  <a:pt x="7115" y="614"/>
                  <a:pt x="7116" y="612"/>
                  <a:pt x="7117" y="611"/>
                </a:cubicBezTo>
                <a:cubicBezTo>
                  <a:pt x="7117" y="610"/>
                  <a:pt x="7117" y="608"/>
                  <a:pt x="7117" y="608"/>
                </a:cubicBezTo>
                <a:cubicBezTo>
                  <a:pt x="7117" y="607"/>
                  <a:pt x="7117" y="607"/>
                  <a:pt x="7117" y="607"/>
                </a:cubicBezTo>
                <a:lnTo>
                  <a:pt x="7114" y="607"/>
                </a:lnTo>
                <a:cubicBezTo>
                  <a:pt x="7112" y="607"/>
                  <a:pt x="7111" y="607"/>
                  <a:pt x="7111" y="605"/>
                </a:cubicBezTo>
                <a:lnTo>
                  <a:pt x="7112" y="602"/>
                </a:lnTo>
                <a:lnTo>
                  <a:pt x="7109" y="604"/>
                </a:lnTo>
                <a:cubicBezTo>
                  <a:pt x="7108" y="606"/>
                  <a:pt x="7106" y="606"/>
                  <a:pt x="7104" y="606"/>
                </a:cubicBezTo>
                <a:cubicBezTo>
                  <a:pt x="7101" y="606"/>
                  <a:pt x="7100" y="606"/>
                  <a:pt x="7099" y="606"/>
                </a:cubicBezTo>
                <a:cubicBezTo>
                  <a:pt x="7099" y="605"/>
                  <a:pt x="7101" y="603"/>
                  <a:pt x="7104" y="601"/>
                </a:cubicBezTo>
                <a:cubicBezTo>
                  <a:pt x="7107" y="598"/>
                  <a:pt x="7109" y="596"/>
                  <a:pt x="7109" y="595"/>
                </a:cubicBezTo>
                <a:lnTo>
                  <a:pt x="7109" y="594"/>
                </a:lnTo>
                <a:cubicBezTo>
                  <a:pt x="7109" y="592"/>
                  <a:pt x="7112" y="588"/>
                  <a:pt x="7120" y="582"/>
                </a:cubicBezTo>
                <a:cubicBezTo>
                  <a:pt x="7127" y="576"/>
                  <a:pt x="7131" y="572"/>
                  <a:pt x="7131" y="570"/>
                </a:cubicBezTo>
                <a:lnTo>
                  <a:pt x="7131" y="569"/>
                </a:lnTo>
                <a:cubicBezTo>
                  <a:pt x="7131" y="568"/>
                  <a:pt x="7132" y="566"/>
                  <a:pt x="7136" y="563"/>
                </a:cubicBezTo>
                <a:cubicBezTo>
                  <a:pt x="7140" y="560"/>
                  <a:pt x="7141" y="558"/>
                  <a:pt x="7141" y="557"/>
                </a:cubicBezTo>
                <a:lnTo>
                  <a:pt x="7141" y="556"/>
                </a:lnTo>
                <a:cubicBezTo>
                  <a:pt x="7141" y="555"/>
                  <a:pt x="7142" y="553"/>
                  <a:pt x="7144" y="551"/>
                </a:cubicBezTo>
                <a:cubicBezTo>
                  <a:pt x="7146" y="550"/>
                  <a:pt x="7147" y="549"/>
                  <a:pt x="7147" y="549"/>
                </a:cubicBezTo>
                <a:lnTo>
                  <a:pt x="7145" y="554"/>
                </a:lnTo>
                <a:cubicBezTo>
                  <a:pt x="7146" y="553"/>
                  <a:pt x="7148" y="550"/>
                  <a:pt x="7153" y="544"/>
                </a:cubicBezTo>
                <a:cubicBezTo>
                  <a:pt x="7179" y="510"/>
                  <a:pt x="7192" y="489"/>
                  <a:pt x="7192" y="480"/>
                </a:cubicBezTo>
                <a:cubicBezTo>
                  <a:pt x="7192" y="477"/>
                  <a:pt x="7191" y="475"/>
                  <a:pt x="7187" y="475"/>
                </a:cubicBezTo>
                <a:lnTo>
                  <a:pt x="7185" y="475"/>
                </a:lnTo>
                <a:cubicBezTo>
                  <a:pt x="7174" y="477"/>
                  <a:pt x="7159" y="482"/>
                  <a:pt x="7142" y="491"/>
                </a:cubicBezTo>
                <a:cubicBezTo>
                  <a:pt x="7135" y="495"/>
                  <a:pt x="7131" y="498"/>
                  <a:pt x="7130" y="500"/>
                </a:cubicBezTo>
                <a:cubicBezTo>
                  <a:pt x="7128" y="502"/>
                  <a:pt x="7126" y="504"/>
                  <a:pt x="7124" y="504"/>
                </a:cubicBezTo>
                <a:cubicBezTo>
                  <a:pt x="7122" y="504"/>
                  <a:pt x="7120" y="505"/>
                  <a:pt x="7118" y="509"/>
                </a:cubicBezTo>
                <a:cubicBezTo>
                  <a:pt x="7116" y="512"/>
                  <a:pt x="7114" y="514"/>
                  <a:pt x="7113" y="514"/>
                </a:cubicBezTo>
                <a:lnTo>
                  <a:pt x="7112" y="514"/>
                </a:lnTo>
                <a:cubicBezTo>
                  <a:pt x="7110" y="514"/>
                  <a:pt x="7107" y="517"/>
                  <a:pt x="7102" y="522"/>
                </a:cubicBezTo>
                <a:cubicBezTo>
                  <a:pt x="7097" y="529"/>
                  <a:pt x="7091" y="535"/>
                  <a:pt x="7086" y="543"/>
                </a:cubicBezTo>
                <a:cubicBezTo>
                  <a:pt x="7080" y="551"/>
                  <a:pt x="7076" y="558"/>
                  <a:pt x="7073" y="565"/>
                </a:cubicBezTo>
                <a:cubicBezTo>
                  <a:pt x="7069" y="572"/>
                  <a:pt x="7067" y="580"/>
                  <a:pt x="7065" y="588"/>
                </a:cubicBezTo>
                <a:cubicBezTo>
                  <a:pt x="7063" y="597"/>
                  <a:pt x="7062" y="605"/>
                  <a:pt x="7062" y="611"/>
                </a:cubicBezTo>
                <a:cubicBezTo>
                  <a:pt x="7062" y="616"/>
                  <a:pt x="7062" y="620"/>
                  <a:pt x="7064" y="621"/>
                </a:cubicBezTo>
                <a:cubicBezTo>
                  <a:pt x="7065" y="622"/>
                  <a:pt x="7066" y="624"/>
                  <a:pt x="7066" y="626"/>
                </a:cubicBezTo>
                <a:cubicBezTo>
                  <a:pt x="7066" y="628"/>
                  <a:pt x="7067" y="630"/>
                  <a:pt x="7067" y="630"/>
                </a:cubicBezTo>
                <a:cubicBezTo>
                  <a:pt x="7068" y="631"/>
                  <a:pt x="7069" y="632"/>
                  <a:pt x="7069" y="632"/>
                </a:cubicBezTo>
                <a:cubicBezTo>
                  <a:pt x="7071" y="633"/>
                  <a:pt x="7072" y="634"/>
                  <a:pt x="7072" y="637"/>
                </a:cubicBezTo>
                <a:cubicBezTo>
                  <a:pt x="7072" y="641"/>
                  <a:pt x="7074" y="643"/>
                  <a:pt x="7076" y="645"/>
                </a:cubicBezTo>
                <a:cubicBezTo>
                  <a:pt x="7079" y="647"/>
                  <a:pt x="7081" y="649"/>
                  <a:pt x="7083" y="653"/>
                </a:cubicBezTo>
                <a:cubicBezTo>
                  <a:pt x="7085" y="656"/>
                  <a:pt x="7090" y="660"/>
                  <a:pt x="7099" y="665"/>
                </a:cubicBezTo>
                <a:cubicBezTo>
                  <a:pt x="7106" y="669"/>
                  <a:pt x="7110" y="671"/>
                  <a:pt x="7110" y="673"/>
                </a:cubicBezTo>
                <a:lnTo>
                  <a:pt x="7110" y="674"/>
                </a:lnTo>
                <a:cubicBezTo>
                  <a:pt x="7110" y="674"/>
                  <a:pt x="7112" y="674"/>
                  <a:pt x="7117" y="674"/>
                </a:cubicBezTo>
                <a:cubicBezTo>
                  <a:pt x="7124" y="674"/>
                  <a:pt x="7127" y="675"/>
                  <a:pt x="7127" y="677"/>
                </a:cubicBezTo>
                <a:cubicBezTo>
                  <a:pt x="7127" y="679"/>
                  <a:pt x="7127" y="680"/>
                  <a:pt x="7126" y="681"/>
                </a:cubicBezTo>
                <a:cubicBezTo>
                  <a:pt x="7125" y="681"/>
                  <a:pt x="7124" y="682"/>
                  <a:pt x="7124" y="683"/>
                </a:cubicBezTo>
                <a:cubicBezTo>
                  <a:pt x="7124" y="684"/>
                  <a:pt x="7125" y="685"/>
                  <a:pt x="7126" y="686"/>
                </a:cubicBezTo>
                <a:cubicBezTo>
                  <a:pt x="7126" y="686"/>
                  <a:pt x="7127" y="686"/>
                  <a:pt x="7129" y="686"/>
                </a:cubicBezTo>
                <a:cubicBezTo>
                  <a:pt x="7130" y="686"/>
                  <a:pt x="7131" y="686"/>
                  <a:pt x="7132" y="685"/>
                </a:cubicBezTo>
                <a:cubicBezTo>
                  <a:pt x="7132" y="684"/>
                  <a:pt x="7133" y="684"/>
                  <a:pt x="7133" y="683"/>
                </a:cubicBezTo>
                <a:cubicBezTo>
                  <a:pt x="7133" y="683"/>
                  <a:pt x="7132" y="683"/>
                  <a:pt x="7132" y="683"/>
                </a:cubicBezTo>
                <a:lnTo>
                  <a:pt x="7128" y="683"/>
                </a:lnTo>
                <a:lnTo>
                  <a:pt x="7129" y="683"/>
                </a:lnTo>
                <a:cubicBezTo>
                  <a:pt x="7130" y="683"/>
                  <a:pt x="7130" y="682"/>
                  <a:pt x="7131" y="681"/>
                </a:cubicBezTo>
                <a:cubicBezTo>
                  <a:pt x="7132" y="680"/>
                  <a:pt x="7132" y="680"/>
                  <a:pt x="7132" y="679"/>
                </a:cubicBezTo>
                <a:cubicBezTo>
                  <a:pt x="7132" y="679"/>
                  <a:pt x="7132" y="679"/>
                  <a:pt x="7132" y="679"/>
                </a:cubicBezTo>
                <a:cubicBezTo>
                  <a:pt x="7133" y="679"/>
                  <a:pt x="7134" y="679"/>
                  <a:pt x="7136" y="681"/>
                </a:cubicBezTo>
                <a:cubicBezTo>
                  <a:pt x="7138" y="683"/>
                  <a:pt x="7140" y="683"/>
                  <a:pt x="7141" y="683"/>
                </a:cubicBezTo>
                <a:lnTo>
                  <a:pt x="7144" y="683"/>
                </a:lnTo>
                <a:cubicBezTo>
                  <a:pt x="7144" y="683"/>
                  <a:pt x="7144" y="683"/>
                  <a:pt x="7144" y="683"/>
                </a:cubicBezTo>
                <a:lnTo>
                  <a:pt x="7144" y="685"/>
                </a:lnTo>
                <a:cubicBezTo>
                  <a:pt x="7143" y="687"/>
                  <a:pt x="7142" y="688"/>
                  <a:pt x="7140" y="688"/>
                </a:cubicBezTo>
                <a:lnTo>
                  <a:pt x="7138" y="688"/>
                </a:lnTo>
                <a:cubicBezTo>
                  <a:pt x="7136" y="688"/>
                  <a:pt x="7136" y="688"/>
                  <a:pt x="7136" y="688"/>
                </a:cubicBezTo>
                <a:cubicBezTo>
                  <a:pt x="7136" y="690"/>
                  <a:pt x="7147" y="695"/>
                  <a:pt x="7169" y="703"/>
                </a:cubicBezTo>
                <a:cubicBezTo>
                  <a:pt x="7179" y="707"/>
                  <a:pt x="7185" y="709"/>
                  <a:pt x="7186" y="709"/>
                </a:cubicBezTo>
                <a:cubicBezTo>
                  <a:pt x="7188" y="709"/>
                  <a:pt x="7189" y="708"/>
                  <a:pt x="7189" y="706"/>
                </a:cubicBezTo>
                <a:cubicBezTo>
                  <a:pt x="7189" y="705"/>
                  <a:pt x="7189" y="704"/>
                  <a:pt x="7190" y="704"/>
                </a:cubicBezTo>
                <a:lnTo>
                  <a:pt x="7190" y="707"/>
                </a:lnTo>
                <a:cubicBezTo>
                  <a:pt x="7190" y="709"/>
                  <a:pt x="7191" y="710"/>
                  <a:pt x="7193" y="712"/>
                </a:cubicBezTo>
                <a:cubicBezTo>
                  <a:pt x="7194" y="713"/>
                  <a:pt x="7196" y="713"/>
                  <a:pt x="7198" y="713"/>
                </a:cubicBezTo>
                <a:cubicBezTo>
                  <a:pt x="7200" y="713"/>
                  <a:pt x="7201" y="713"/>
                  <a:pt x="7203" y="712"/>
                </a:cubicBezTo>
                <a:cubicBezTo>
                  <a:pt x="7204" y="710"/>
                  <a:pt x="7205" y="710"/>
                  <a:pt x="7205" y="710"/>
                </a:cubicBezTo>
                <a:cubicBezTo>
                  <a:pt x="7206" y="710"/>
                  <a:pt x="7206" y="710"/>
                  <a:pt x="7206" y="710"/>
                </a:cubicBezTo>
                <a:lnTo>
                  <a:pt x="7204" y="715"/>
                </a:lnTo>
                <a:cubicBezTo>
                  <a:pt x="7204" y="716"/>
                  <a:pt x="7204" y="716"/>
                  <a:pt x="7204" y="716"/>
                </a:cubicBezTo>
                <a:cubicBezTo>
                  <a:pt x="7204" y="716"/>
                  <a:pt x="7205" y="715"/>
                  <a:pt x="7207" y="714"/>
                </a:cubicBezTo>
                <a:cubicBezTo>
                  <a:pt x="7208" y="713"/>
                  <a:pt x="7209" y="713"/>
                  <a:pt x="7209" y="713"/>
                </a:cubicBezTo>
                <a:cubicBezTo>
                  <a:pt x="7210" y="713"/>
                  <a:pt x="7210" y="713"/>
                  <a:pt x="7210" y="714"/>
                </a:cubicBezTo>
                <a:cubicBezTo>
                  <a:pt x="7210" y="715"/>
                  <a:pt x="7215" y="719"/>
                  <a:pt x="7224" y="726"/>
                </a:cubicBezTo>
                <a:cubicBezTo>
                  <a:pt x="7242" y="738"/>
                  <a:pt x="7251" y="745"/>
                  <a:pt x="7251" y="749"/>
                </a:cubicBezTo>
                <a:cubicBezTo>
                  <a:pt x="7251" y="750"/>
                  <a:pt x="7253" y="754"/>
                  <a:pt x="7256" y="760"/>
                </a:cubicBezTo>
                <a:cubicBezTo>
                  <a:pt x="7260" y="765"/>
                  <a:pt x="7261" y="770"/>
                  <a:pt x="7261" y="777"/>
                </a:cubicBezTo>
                <a:cubicBezTo>
                  <a:pt x="7261" y="793"/>
                  <a:pt x="7249" y="810"/>
                  <a:pt x="7224" y="828"/>
                </a:cubicBezTo>
                <a:cubicBezTo>
                  <a:pt x="7221" y="830"/>
                  <a:pt x="7218" y="832"/>
                  <a:pt x="7216" y="835"/>
                </a:cubicBezTo>
                <a:cubicBezTo>
                  <a:pt x="7214" y="837"/>
                  <a:pt x="7206" y="841"/>
                  <a:pt x="7193" y="846"/>
                </a:cubicBezTo>
                <a:cubicBezTo>
                  <a:pt x="7161" y="860"/>
                  <a:pt x="7132" y="869"/>
                  <a:pt x="7106" y="874"/>
                </a:cubicBezTo>
                <a:cubicBezTo>
                  <a:pt x="7080" y="879"/>
                  <a:pt x="7060" y="882"/>
                  <a:pt x="7045" y="883"/>
                </a:cubicBezTo>
                <a:cubicBezTo>
                  <a:pt x="7038" y="883"/>
                  <a:pt x="7035" y="884"/>
                  <a:pt x="7033" y="885"/>
                </a:cubicBezTo>
                <a:lnTo>
                  <a:pt x="7032" y="886"/>
                </a:lnTo>
                <a:cubicBezTo>
                  <a:pt x="7032" y="886"/>
                  <a:pt x="7032" y="885"/>
                  <a:pt x="7032" y="884"/>
                </a:cubicBezTo>
                <a:cubicBezTo>
                  <a:pt x="7032" y="882"/>
                  <a:pt x="7032" y="882"/>
                  <a:pt x="7031" y="882"/>
                </a:cubicBezTo>
                <a:cubicBezTo>
                  <a:pt x="7031" y="882"/>
                  <a:pt x="7030" y="882"/>
                  <a:pt x="7029" y="884"/>
                </a:cubicBezTo>
                <a:lnTo>
                  <a:pt x="7028" y="886"/>
                </a:lnTo>
                <a:close/>
                <a:moveTo>
                  <a:pt x="7119" y="600"/>
                </a:moveTo>
                <a:cubicBezTo>
                  <a:pt x="7119" y="599"/>
                  <a:pt x="7121" y="597"/>
                  <a:pt x="7123" y="594"/>
                </a:cubicBezTo>
                <a:lnTo>
                  <a:pt x="7125" y="590"/>
                </a:lnTo>
                <a:cubicBezTo>
                  <a:pt x="7125" y="590"/>
                  <a:pt x="7124" y="591"/>
                  <a:pt x="7122" y="593"/>
                </a:cubicBezTo>
                <a:cubicBezTo>
                  <a:pt x="7120" y="595"/>
                  <a:pt x="7119" y="596"/>
                  <a:pt x="7119" y="598"/>
                </a:cubicBezTo>
                <a:cubicBezTo>
                  <a:pt x="7119" y="599"/>
                  <a:pt x="7119" y="600"/>
                  <a:pt x="7119" y="600"/>
                </a:cubicBezTo>
                <a:close/>
                <a:moveTo>
                  <a:pt x="7129" y="586"/>
                </a:moveTo>
                <a:cubicBezTo>
                  <a:pt x="7131" y="586"/>
                  <a:pt x="7136" y="580"/>
                  <a:pt x="7145" y="569"/>
                </a:cubicBezTo>
                <a:lnTo>
                  <a:pt x="7153" y="559"/>
                </a:lnTo>
                <a:cubicBezTo>
                  <a:pt x="7153" y="559"/>
                  <a:pt x="7149" y="562"/>
                  <a:pt x="7143" y="569"/>
                </a:cubicBezTo>
                <a:cubicBezTo>
                  <a:pt x="7134" y="579"/>
                  <a:pt x="7129" y="585"/>
                  <a:pt x="7129" y="585"/>
                </a:cubicBezTo>
                <a:lnTo>
                  <a:pt x="7129" y="586"/>
                </a:lnTo>
                <a:close/>
                <a:moveTo>
                  <a:pt x="7127" y="579"/>
                </a:moveTo>
                <a:cubicBezTo>
                  <a:pt x="7128" y="579"/>
                  <a:pt x="7131" y="577"/>
                  <a:pt x="7135" y="572"/>
                </a:cubicBezTo>
                <a:cubicBezTo>
                  <a:pt x="7137" y="569"/>
                  <a:pt x="7139" y="568"/>
                  <a:pt x="7139" y="567"/>
                </a:cubicBezTo>
                <a:cubicBezTo>
                  <a:pt x="7139" y="566"/>
                  <a:pt x="7138" y="566"/>
                  <a:pt x="7138" y="566"/>
                </a:cubicBezTo>
                <a:cubicBezTo>
                  <a:pt x="7136" y="566"/>
                  <a:pt x="7134" y="567"/>
                  <a:pt x="7134" y="568"/>
                </a:cubicBezTo>
                <a:lnTo>
                  <a:pt x="7134" y="568"/>
                </a:lnTo>
                <a:cubicBezTo>
                  <a:pt x="7134" y="569"/>
                  <a:pt x="7134" y="571"/>
                  <a:pt x="7132" y="573"/>
                </a:cubicBezTo>
                <a:lnTo>
                  <a:pt x="7131" y="574"/>
                </a:lnTo>
                <a:cubicBezTo>
                  <a:pt x="7129" y="577"/>
                  <a:pt x="7127" y="579"/>
                  <a:pt x="7127" y="579"/>
                </a:cubicBezTo>
                <a:close/>
                <a:moveTo>
                  <a:pt x="7129" y="603"/>
                </a:moveTo>
                <a:cubicBezTo>
                  <a:pt x="7129" y="603"/>
                  <a:pt x="7131" y="601"/>
                  <a:pt x="7133" y="599"/>
                </a:cubicBezTo>
                <a:cubicBezTo>
                  <a:pt x="7137" y="595"/>
                  <a:pt x="7139" y="593"/>
                  <a:pt x="7139" y="592"/>
                </a:cubicBezTo>
                <a:lnTo>
                  <a:pt x="7139" y="590"/>
                </a:lnTo>
                <a:cubicBezTo>
                  <a:pt x="7139" y="590"/>
                  <a:pt x="7139" y="589"/>
                  <a:pt x="7140" y="588"/>
                </a:cubicBezTo>
                <a:cubicBezTo>
                  <a:pt x="7140" y="587"/>
                  <a:pt x="7141" y="586"/>
                  <a:pt x="7141" y="585"/>
                </a:cubicBezTo>
                <a:lnTo>
                  <a:pt x="7143" y="584"/>
                </a:lnTo>
                <a:lnTo>
                  <a:pt x="7142" y="583"/>
                </a:lnTo>
                <a:cubicBezTo>
                  <a:pt x="7142" y="583"/>
                  <a:pt x="7141" y="585"/>
                  <a:pt x="7138" y="587"/>
                </a:cubicBezTo>
                <a:cubicBezTo>
                  <a:pt x="7136" y="590"/>
                  <a:pt x="7134" y="592"/>
                  <a:pt x="7133" y="593"/>
                </a:cubicBezTo>
                <a:cubicBezTo>
                  <a:pt x="7131" y="595"/>
                  <a:pt x="7131" y="596"/>
                  <a:pt x="7131" y="597"/>
                </a:cubicBezTo>
                <a:lnTo>
                  <a:pt x="7131" y="598"/>
                </a:lnTo>
                <a:cubicBezTo>
                  <a:pt x="7131" y="598"/>
                  <a:pt x="7130" y="600"/>
                  <a:pt x="7129" y="602"/>
                </a:cubicBezTo>
                <a:lnTo>
                  <a:pt x="7129" y="603"/>
                </a:lnTo>
                <a:close/>
                <a:moveTo>
                  <a:pt x="7143" y="595"/>
                </a:moveTo>
                <a:cubicBezTo>
                  <a:pt x="7144" y="595"/>
                  <a:pt x="7144" y="595"/>
                  <a:pt x="7145" y="593"/>
                </a:cubicBezTo>
                <a:cubicBezTo>
                  <a:pt x="7146" y="593"/>
                  <a:pt x="7147" y="592"/>
                  <a:pt x="7147" y="591"/>
                </a:cubicBezTo>
                <a:lnTo>
                  <a:pt x="7149" y="588"/>
                </a:lnTo>
                <a:lnTo>
                  <a:pt x="7149" y="588"/>
                </a:lnTo>
                <a:lnTo>
                  <a:pt x="7146" y="590"/>
                </a:lnTo>
                <a:cubicBezTo>
                  <a:pt x="7144" y="592"/>
                  <a:pt x="7142" y="594"/>
                  <a:pt x="7142" y="595"/>
                </a:cubicBezTo>
                <a:cubicBezTo>
                  <a:pt x="7142" y="595"/>
                  <a:pt x="7143" y="595"/>
                  <a:pt x="7143" y="595"/>
                </a:cubicBezTo>
                <a:close/>
                <a:moveTo>
                  <a:pt x="7150" y="585"/>
                </a:moveTo>
                <a:cubicBezTo>
                  <a:pt x="7151" y="585"/>
                  <a:pt x="7153" y="583"/>
                  <a:pt x="7157" y="578"/>
                </a:cubicBezTo>
                <a:lnTo>
                  <a:pt x="7162" y="573"/>
                </a:lnTo>
                <a:cubicBezTo>
                  <a:pt x="7161" y="573"/>
                  <a:pt x="7159" y="574"/>
                  <a:pt x="7156" y="577"/>
                </a:cubicBezTo>
                <a:cubicBezTo>
                  <a:pt x="7152" y="581"/>
                  <a:pt x="7149" y="583"/>
                  <a:pt x="7149" y="584"/>
                </a:cubicBezTo>
                <a:cubicBezTo>
                  <a:pt x="7149" y="585"/>
                  <a:pt x="7149" y="585"/>
                  <a:pt x="7150" y="585"/>
                </a:cubicBezTo>
                <a:close/>
                <a:moveTo>
                  <a:pt x="7196" y="451"/>
                </a:moveTo>
                <a:cubicBezTo>
                  <a:pt x="7197" y="451"/>
                  <a:pt x="7197" y="450"/>
                  <a:pt x="7197" y="448"/>
                </a:cubicBezTo>
                <a:cubicBezTo>
                  <a:pt x="7197" y="447"/>
                  <a:pt x="7196" y="446"/>
                  <a:pt x="7195" y="446"/>
                </a:cubicBezTo>
                <a:cubicBezTo>
                  <a:pt x="7194" y="446"/>
                  <a:pt x="7193" y="446"/>
                  <a:pt x="7193" y="447"/>
                </a:cubicBezTo>
                <a:cubicBezTo>
                  <a:pt x="7193" y="447"/>
                  <a:pt x="7193" y="448"/>
                  <a:pt x="7194" y="449"/>
                </a:cubicBezTo>
                <a:cubicBezTo>
                  <a:pt x="7194" y="450"/>
                  <a:pt x="7195" y="451"/>
                  <a:pt x="7196" y="451"/>
                </a:cubicBezTo>
                <a:close/>
                <a:moveTo>
                  <a:pt x="7183" y="444"/>
                </a:moveTo>
                <a:cubicBezTo>
                  <a:pt x="7183" y="444"/>
                  <a:pt x="7184" y="443"/>
                  <a:pt x="7185" y="441"/>
                </a:cubicBezTo>
                <a:lnTo>
                  <a:pt x="7185" y="441"/>
                </a:lnTo>
                <a:cubicBezTo>
                  <a:pt x="7185" y="440"/>
                  <a:pt x="7185" y="439"/>
                  <a:pt x="7184" y="439"/>
                </a:cubicBezTo>
                <a:cubicBezTo>
                  <a:pt x="7182" y="439"/>
                  <a:pt x="7182" y="440"/>
                  <a:pt x="7182" y="441"/>
                </a:cubicBezTo>
                <a:cubicBezTo>
                  <a:pt x="7182" y="443"/>
                  <a:pt x="7182" y="444"/>
                  <a:pt x="7183" y="444"/>
                </a:cubicBezTo>
                <a:close/>
                <a:moveTo>
                  <a:pt x="7163" y="439"/>
                </a:moveTo>
                <a:cubicBezTo>
                  <a:pt x="7165" y="439"/>
                  <a:pt x="7166" y="438"/>
                  <a:pt x="7166" y="438"/>
                </a:cubicBezTo>
                <a:cubicBezTo>
                  <a:pt x="7165" y="437"/>
                  <a:pt x="7164" y="437"/>
                  <a:pt x="7164" y="437"/>
                </a:cubicBezTo>
                <a:lnTo>
                  <a:pt x="7162" y="437"/>
                </a:lnTo>
                <a:lnTo>
                  <a:pt x="7161" y="438"/>
                </a:lnTo>
                <a:cubicBezTo>
                  <a:pt x="7161" y="439"/>
                  <a:pt x="7161" y="439"/>
                  <a:pt x="7163" y="439"/>
                </a:cubicBezTo>
                <a:close/>
                <a:moveTo>
                  <a:pt x="7153" y="464"/>
                </a:moveTo>
                <a:cubicBezTo>
                  <a:pt x="7154" y="464"/>
                  <a:pt x="7156" y="464"/>
                  <a:pt x="7157" y="462"/>
                </a:cubicBezTo>
                <a:lnTo>
                  <a:pt x="7157" y="462"/>
                </a:lnTo>
                <a:cubicBezTo>
                  <a:pt x="7157" y="461"/>
                  <a:pt x="7157" y="460"/>
                  <a:pt x="7156" y="460"/>
                </a:cubicBezTo>
                <a:lnTo>
                  <a:pt x="7154" y="461"/>
                </a:lnTo>
                <a:cubicBezTo>
                  <a:pt x="7152" y="462"/>
                  <a:pt x="7152" y="463"/>
                  <a:pt x="7152" y="464"/>
                </a:cubicBezTo>
                <a:cubicBezTo>
                  <a:pt x="7152" y="464"/>
                  <a:pt x="7152" y="464"/>
                  <a:pt x="7153" y="464"/>
                </a:cubicBezTo>
                <a:close/>
                <a:moveTo>
                  <a:pt x="7144" y="467"/>
                </a:moveTo>
                <a:cubicBezTo>
                  <a:pt x="7146" y="467"/>
                  <a:pt x="7147" y="466"/>
                  <a:pt x="7148" y="464"/>
                </a:cubicBezTo>
                <a:lnTo>
                  <a:pt x="7148" y="464"/>
                </a:lnTo>
                <a:cubicBezTo>
                  <a:pt x="7148" y="463"/>
                  <a:pt x="7148" y="463"/>
                  <a:pt x="7148" y="463"/>
                </a:cubicBezTo>
                <a:lnTo>
                  <a:pt x="7146" y="464"/>
                </a:lnTo>
                <a:cubicBezTo>
                  <a:pt x="7144" y="465"/>
                  <a:pt x="7142" y="465"/>
                  <a:pt x="7142" y="466"/>
                </a:cubicBezTo>
                <a:cubicBezTo>
                  <a:pt x="7142" y="466"/>
                  <a:pt x="7143" y="467"/>
                  <a:pt x="7144" y="467"/>
                </a:cubicBezTo>
                <a:close/>
                <a:moveTo>
                  <a:pt x="7133" y="443"/>
                </a:moveTo>
                <a:cubicBezTo>
                  <a:pt x="7134" y="443"/>
                  <a:pt x="7134" y="443"/>
                  <a:pt x="7135" y="443"/>
                </a:cubicBezTo>
                <a:cubicBezTo>
                  <a:pt x="7136" y="443"/>
                  <a:pt x="7137" y="442"/>
                  <a:pt x="7138" y="441"/>
                </a:cubicBezTo>
                <a:cubicBezTo>
                  <a:pt x="7139" y="441"/>
                  <a:pt x="7140" y="440"/>
                  <a:pt x="7140" y="440"/>
                </a:cubicBezTo>
                <a:cubicBezTo>
                  <a:pt x="7140" y="440"/>
                  <a:pt x="7140" y="439"/>
                  <a:pt x="7139" y="439"/>
                </a:cubicBezTo>
                <a:cubicBezTo>
                  <a:pt x="7138" y="439"/>
                  <a:pt x="7136" y="440"/>
                  <a:pt x="7134" y="441"/>
                </a:cubicBezTo>
                <a:cubicBezTo>
                  <a:pt x="7132" y="442"/>
                  <a:pt x="7132" y="443"/>
                  <a:pt x="7132" y="443"/>
                </a:cubicBezTo>
                <a:cubicBezTo>
                  <a:pt x="7132" y="443"/>
                  <a:pt x="7132" y="443"/>
                  <a:pt x="7133" y="443"/>
                </a:cubicBezTo>
                <a:close/>
                <a:moveTo>
                  <a:pt x="7127" y="478"/>
                </a:moveTo>
                <a:cubicBezTo>
                  <a:pt x="7128" y="478"/>
                  <a:pt x="7129" y="477"/>
                  <a:pt x="7130" y="476"/>
                </a:cubicBezTo>
                <a:cubicBezTo>
                  <a:pt x="7131" y="475"/>
                  <a:pt x="7132" y="474"/>
                  <a:pt x="7133" y="472"/>
                </a:cubicBezTo>
                <a:cubicBezTo>
                  <a:pt x="7134" y="471"/>
                  <a:pt x="7135" y="470"/>
                  <a:pt x="7136" y="469"/>
                </a:cubicBezTo>
                <a:cubicBezTo>
                  <a:pt x="7137" y="468"/>
                  <a:pt x="7138" y="468"/>
                  <a:pt x="7138" y="467"/>
                </a:cubicBezTo>
                <a:cubicBezTo>
                  <a:pt x="7137" y="467"/>
                  <a:pt x="7136" y="468"/>
                  <a:pt x="7134" y="469"/>
                </a:cubicBezTo>
                <a:cubicBezTo>
                  <a:pt x="7132" y="470"/>
                  <a:pt x="7131" y="471"/>
                  <a:pt x="7130" y="473"/>
                </a:cubicBezTo>
                <a:cubicBezTo>
                  <a:pt x="7129" y="474"/>
                  <a:pt x="7128" y="475"/>
                  <a:pt x="7127" y="476"/>
                </a:cubicBezTo>
                <a:lnTo>
                  <a:pt x="7127" y="478"/>
                </a:lnTo>
                <a:close/>
                <a:moveTo>
                  <a:pt x="7115" y="487"/>
                </a:moveTo>
                <a:lnTo>
                  <a:pt x="7115" y="487"/>
                </a:lnTo>
                <a:cubicBezTo>
                  <a:pt x="7116" y="487"/>
                  <a:pt x="7117" y="486"/>
                  <a:pt x="7117" y="485"/>
                </a:cubicBezTo>
                <a:lnTo>
                  <a:pt x="7118" y="483"/>
                </a:lnTo>
                <a:cubicBezTo>
                  <a:pt x="7118" y="483"/>
                  <a:pt x="7118" y="482"/>
                  <a:pt x="7117" y="482"/>
                </a:cubicBezTo>
                <a:cubicBezTo>
                  <a:pt x="7116" y="482"/>
                  <a:pt x="7115" y="482"/>
                  <a:pt x="7115" y="484"/>
                </a:cubicBezTo>
                <a:cubicBezTo>
                  <a:pt x="7115" y="486"/>
                  <a:pt x="7115" y="487"/>
                  <a:pt x="7115" y="487"/>
                </a:cubicBezTo>
                <a:close/>
                <a:moveTo>
                  <a:pt x="7109" y="492"/>
                </a:moveTo>
                <a:cubicBezTo>
                  <a:pt x="7110" y="492"/>
                  <a:pt x="7110" y="491"/>
                  <a:pt x="7111" y="490"/>
                </a:cubicBezTo>
                <a:lnTo>
                  <a:pt x="7111" y="490"/>
                </a:lnTo>
                <a:cubicBezTo>
                  <a:pt x="7111" y="488"/>
                  <a:pt x="7110" y="488"/>
                  <a:pt x="7109" y="488"/>
                </a:cubicBezTo>
                <a:cubicBezTo>
                  <a:pt x="7107" y="488"/>
                  <a:pt x="7107" y="488"/>
                  <a:pt x="7107" y="489"/>
                </a:cubicBezTo>
                <a:lnTo>
                  <a:pt x="7107" y="490"/>
                </a:lnTo>
                <a:cubicBezTo>
                  <a:pt x="7108" y="491"/>
                  <a:pt x="7108" y="492"/>
                  <a:pt x="7109" y="492"/>
                </a:cubicBezTo>
                <a:close/>
                <a:moveTo>
                  <a:pt x="7100" y="499"/>
                </a:moveTo>
                <a:cubicBezTo>
                  <a:pt x="7101" y="499"/>
                  <a:pt x="7102" y="497"/>
                  <a:pt x="7104" y="495"/>
                </a:cubicBezTo>
                <a:cubicBezTo>
                  <a:pt x="7105" y="493"/>
                  <a:pt x="7105" y="492"/>
                  <a:pt x="7105" y="492"/>
                </a:cubicBezTo>
                <a:cubicBezTo>
                  <a:pt x="7105" y="492"/>
                  <a:pt x="7104" y="492"/>
                  <a:pt x="7103" y="494"/>
                </a:cubicBezTo>
                <a:cubicBezTo>
                  <a:pt x="7100" y="496"/>
                  <a:pt x="7099" y="497"/>
                  <a:pt x="7099" y="498"/>
                </a:cubicBezTo>
                <a:cubicBezTo>
                  <a:pt x="7099" y="498"/>
                  <a:pt x="7099" y="499"/>
                  <a:pt x="7100" y="499"/>
                </a:cubicBezTo>
                <a:close/>
                <a:moveTo>
                  <a:pt x="7084" y="512"/>
                </a:moveTo>
                <a:cubicBezTo>
                  <a:pt x="7085" y="512"/>
                  <a:pt x="7087" y="509"/>
                  <a:pt x="7091" y="505"/>
                </a:cubicBezTo>
                <a:cubicBezTo>
                  <a:pt x="7095" y="502"/>
                  <a:pt x="7097" y="499"/>
                  <a:pt x="7097" y="498"/>
                </a:cubicBezTo>
                <a:cubicBezTo>
                  <a:pt x="7096" y="498"/>
                  <a:pt x="7094" y="501"/>
                  <a:pt x="7089" y="506"/>
                </a:cubicBezTo>
                <a:lnTo>
                  <a:pt x="7084" y="512"/>
                </a:lnTo>
                <a:close/>
                <a:moveTo>
                  <a:pt x="7070" y="538"/>
                </a:moveTo>
                <a:cubicBezTo>
                  <a:pt x="7071" y="538"/>
                  <a:pt x="7072" y="537"/>
                  <a:pt x="7074" y="536"/>
                </a:cubicBezTo>
                <a:cubicBezTo>
                  <a:pt x="7075" y="534"/>
                  <a:pt x="7076" y="534"/>
                  <a:pt x="7077" y="534"/>
                </a:cubicBezTo>
                <a:cubicBezTo>
                  <a:pt x="7077" y="534"/>
                  <a:pt x="7077" y="534"/>
                  <a:pt x="7077" y="534"/>
                </a:cubicBezTo>
                <a:cubicBezTo>
                  <a:pt x="7077" y="535"/>
                  <a:pt x="7077" y="535"/>
                  <a:pt x="7078" y="535"/>
                </a:cubicBezTo>
                <a:cubicBezTo>
                  <a:pt x="7079" y="535"/>
                  <a:pt x="7080" y="534"/>
                  <a:pt x="7082" y="532"/>
                </a:cubicBezTo>
                <a:cubicBezTo>
                  <a:pt x="7084" y="530"/>
                  <a:pt x="7085" y="528"/>
                  <a:pt x="7085" y="527"/>
                </a:cubicBezTo>
                <a:lnTo>
                  <a:pt x="7085" y="526"/>
                </a:lnTo>
                <a:cubicBezTo>
                  <a:pt x="7085" y="525"/>
                  <a:pt x="7085" y="524"/>
                  <a:pt x="7086" y="522"/>
                </a:cubicBezTo>
                <a:cubicBezTo>
                  <a:pt x="7087" y="520"/>
                  <a:pt x="7089" y="518"/>
                  <a:pt x="7090" y="516"/>
                </a:cubicBezTo>
                <a:cubicBezTo>
                  <a:pt x="7092" y="514"/>
                  <a:pt x="7093" y="514"/>
                  <a:pt x="7093" y="513"/>
                </a:cubicBezTo>
                <a:lnTo>
                  <a:pt x="7092" y="513"/>
                </a:lnTo>
                <a:cubicBezTo>
                  <a:pt x="7092" y="513"/>
                  <a:pt x="7089" y="516"/>
                  <a:pt x="7084" y="521"/>
                </a:cubicBezTo>
                <a:cubicBezTo>
                  <a:pt x="7075" y="531"/>
                  <a:pt x="7070" y="537"/>
                  <a:pt x="7070" y="538"/>
                </a:cubicBezTo>
                <a:close/>
                <a:moveTo>
                  <a:pt x="7067" y="508"/>
                </a:moveTo>
                <a:lnTo>
                  <a:pt x="7068" y="507"/>
                </a:lnTo>
                <a:cubicBezTo>
                  <a:pt x="7069" y="506"/>
                  <a:pt x="7070" y="505"/>
                  <a:pt x="7071" y="504"/>
                </a:cubicBezTo>
                <a:cubicBezTo>
                  <a:pt x="7072" y="503"/>
                  <a:pt x="7074" y="502"/>
                  <a:pt x="7076" y="500"/>
                </a:cubicBezTo>
                <a:cubicBezTo>
                  <a:pt x="7077" y="498"/>
                  <a:pt x="7079" y="496"/>
                  <a:pt x="7080" y="495"/>
                </a:cubicBezTo>
                <a:cubicBezTo>
                  <a:pt x="7081" y="493"/>
                  <a:pt x="7082" y="492"/>
                  <a:pt x="7082" y="492"/>
                </a:cubicBezTo>
                <a:cubicBezTo>
                  <a:pt x="7081" y="492"/>
                  <a:pt x="7078" y="495"/>
                  <a:pt x="7073" y="500"/>
                </a:cubicBezTo>
                <a:cubicBezTo>
                  <a:pt x="7069" y="505"/>
                  <a:pt x="7067" y="507"/>
                  <a:pt x="7067" y="508"/>
                </a:cubicBezTo>
                <a:close/>
                <a:moveTo>
                  <a:pt x="7062" y="535"/>
                </a:moveTo>
                <a:cubicBezTo>
                  <a:pt x="7063" y="535"/>
                  <a:pt x="7065" y="534"/>
                  <a:pt x="7067" y="531"/>
                </a:cubicBezTo>
                <a:cubicBezTo>
                  <a:pt x="7069" y="528"/>
                  <a:pt x="7070" y="527"/>
                  <a:pt x="7070" y="526"/>
                </a:cubicBezTo>
                <a:cubicBezTo>
                  <a:pt x="7070" y="526"/>
                  <a:pt x="7068" y="528"/>
                  <a:pt x="7065" y="531"/>
                </a:cubicBezTo>
                <a:cubicBezTo>
                  <a:pt x="7063" y="534"/>
                  <a:pt x="7062" y="535"/>
                  <a:pt x="7062" y="535"/>
                </a:cubicBezTo>
                <a:close/>
                <a:moveTo>
                  <a:pt x="7119" y="682"/>
                </a:moveTo>
                <a:cubicBezTo>
                  <a:pt x="7120" y="682"/>
                  <a:pt x="7121" y="681"/>
                  <a:pt x="7122" y="680"/>
                </a:cubicBezTo>
                <a:lnTo>
                  <a:pt x="7122" y="679"/>
                </a:lnTo>
                <a:cubicBezTo>
                  <a:pt x="7122" y="678"/>
                  <a:pt x="7122" y="677"/>
                  <a:pt x="7120" y="677"/>
                </a:cubicBezTo>
                <a:cubicBezTo>
                  <a:pt x="7118" y="677"/>
                  <a:pt x="7117" y="678"/>
                  <a:pt x="7117" y="680"/>
                </a:cubicBezTo>
                <a:cubicBezTo>
                  <a:pt x="7117" y="681"/>
                  <a:pt x="7117" y="682"/>
                  <a:pt x="7119" y="682"/>
                </a:cubicBezTo>
                <a:close/>
                <a:moveTo>
                  <a:pt x="6990" y="856"/>
                </a:moveTo>
                <a:cubicBezTo>
                  <a:pt x="6991" y="856"/>
                  <a:pt x="6993" y="855"/>
                  <a:pt x="6993" y="853"/>
                </a:cubicBezTo>
                <a:lnTo>
                  <a:pt x="6995" y="849"/>
                </a:lnTo>
                <a:cubicBezTo>
                  <a:pt x="6995" y="848"/>
                  <a:pt x="6994" y="847"/>
                  <a:pt x="6991" y="847"/>
                </a:cubicBezTo>
                <a:cubicBezTo>
                  <a:pt x="6990" y="847"/>
                  <a:pt x="6989" y="848"/>
                  <a:pt x="6988" y="849"/>
                </a:cubicBezTo>
                <a:cubicBezTo>
                  <a:pt x="6987" y="850"/>
                  <a:pt x="6987" y="850"/>
                  <a:pt x="6987" y="852"/>
                </a:cubicBezTo>
                <a:cubicBezTo>
                  <a:pt x="6987" y="853"/>
                  <a:pt x="6987" y="853"/>
                  <a:pt x="6988" y="855"/>
                </a:cubicBezTo>
                <a:cubicBezTo>
                  <a:pt x="6988" y="856"/>
                  <a:pt x="6989" y="856"/>
                  <a:pt x="6990" y="856"/>
                </a:cubicBezTo>
                <a:close/>
                <a:moveTo>
                  <a:pt x="7070" y="865"/>
                </a:moveTo>
                <a:cubicBezTo>
                  <a:pt x="7072" y="865"/>
                  <a:pt x="7072" y="865"/>
                  <a:pt x="7072" y="865"/>
                </a:cubicBezTo>
                <a:lnTo>
                  <a:pt x="7072" y="864"/>
                </a:lnTo>
                <a:lnTo>
                  <a:pt x="7070" y="863"/>
                </a:lnTo>
                <a:cubicBezTo>
                  <a:pt x="7068" y="863"/>
                  <a:pt x="7067" y="864"/>
                  <a:pt x="7067" y="865"/>
                </a:cubicBezTo>
                <a:cubicBezTo>
                  <a:pt x="7067" y="865"/>
                  <a:pt x="7068" y="865"/>
                  <a:pt x="7070" y="865"/>
                </a:cubicBezTo>
                <a:close/>
                <a:moveTo>
                  <a:pt x="7083" y="863"/>
                </a:moveTo>
                <a:lnTo>
                  <a:pt x="7084" y="862"/>
                </a:lnTo>
                <a:lnTo>
                  <a:pt x="7083" y="862"/>
                </a:lnTo>
                <a:cubicBezTo>
                  <a:pt x="7083" y="861"/>
                  <a:pt x="7082" y="861"/>
                  <a:pt x="7082" y="861"/>
                </a:cubicBezTo>
                <a:cubicBezTo>
                  <a:pt x="7081" y="861"/>
                  <a:pt x="7080" y="861"/>
                  <a:pt x="7079" y="862"/>
                </a:cubicBezTo>
                <a:lnTo>
                  <a:pt x="7078" y="862"/>
                </a:lnTo>
                <a:lnTo>
                  <a:pt x="7083" y="863"/>
                </a:lnTo>
                <a:close/>
                <a:moveTo>
                  <a:pt x="7090" y="860"/>
                </a:moveTo>
                <a:cubicBezTo>
                  <a:pt x="7092" y="860"/>
                  <a:pt x="7094" y="860"/>
                  <a:pt x="7094" y="860"/>
                </a:cubicBezTo>
                <a:cubicBezTo>
                  <a:pt x="7094" y="860"/>
                  <a:pt x="7093" y="860"/>
                  <a:pt x="7093" y="860"/>
                </a:cubicBezTo>
                <a:lnTo>
                  <a:pt x="7091" y="859"/>
                </a:lnTo>
                <a:cubicBezTo>
                  <a:pt x="7089" y="859"/>
                  <a:pt x="7087" y="859"/>
                  <a:pt x="7087" y="860"/>
                </a:cubicBezTo>
                <a:lnTo>
                  <a:pt x="7090" y="860"/>
                </a:lnTo>
                <a:close/>
                <a:moveTo>
                  <a:pt x="7100" y="858"/>
                </a:moveTo>
                <a:lnTo>
                  <a:pt x="7103" y="858"/>
                </a:lnTo>
                <a:lnTo>
                  <a:pt x="7103" y="857"/>
                </a:lnTo>
                <a:cubicBezTo>
                  <a:pt x="7102" y="857"/>
                  <a:pt x="7102" y="856"/>
                  <a:pt x="7101" y="856"/>
                </a:cubicBezTo>
                <a:cubicBezTo>
                  <a:pt x="7100" y="856"/>
                  <a:pt x="7100" y="857"/>
                  <a:pt x="7099" y="857"/>
                </a:cubicBezTo>
                <a:lnTo>
                  <a:pt x="7098" y="858"/>
                </a:lnTo>
                <a:lnTo>
                  <a:pt x="7100" y="858"/>
                </a:lnTo>
                <a:close/>
                <a:moveTo>
                  <a:pt x="7111" y="856"/>
                </a:moveTo>
                <a:cubicBezTo>
                  <a:pt x="7112" y="856"/>
                  <a:pt x="7112" y="856"/>
                  <a:pt x="7112" y="855"/>
                </a:cubicBezTo>
                <a:lnTo>
                  <a:pt x="7111" y="855"/>
                </a:lnTo>
                <a:lnTo>
                  <a:pt x="7110" y="854"/>
                </a:lnTo>
                <a:cubicBezTo>
                  <a:pt x="7108" y="854"/>
                  <a:pt x="7107" y="855"/>
                  <a:pt x="7107" y="855"/>
                </a:cubicBezTo>
                <a:cubicBezTo>
                  <a:pt x="7107" y="856"/>
                  <a:pt x="7107" y="856"/>
                  <a:pt x="7109" y="856"/>
                </a:cubicBezTo>
                <a:lnTo>
                  <a:pt x="7111" y="856"/>
                </a:lnTo>
                <a:close/>
                <a:moveTo>
                  <a:pt x="7230" y="763"/>
                </a:moveTo>
                <a:cubicBezTo>
                  <a:pt x="7231" y="763"/>
                  <a:pt x="7231" y="762"/>
                  <a:pt x="7231" y="760"/>
                </a:cubicBezTo>
                <a:lnTo>
                  <a:pt x="7231" y="757"/>
                </a:lnTo>
                <a:lnTo>
                  <a:pt x="7230" y="757"/>
                </a:lnTo>
                <a:cubicBezTo>
                  <a:pt x="7230" y="757"/>
                  <a:pt x="7229" y="758"/>
                  <a:pt x="7229" y="760"/>
                </a:cubicBezTo>
                <a:cubicBezTo>
                  <a:pt x="7229" y="762"/>
                  <a:pt x="7230" y="763"/>
                  <a:pt x="7230" y="763"/>
                </a:cubicBezTo>
                <a:close/>
                <a:moveTo>
                  <a:pt x="7195" y="808"/>
                </a:moveTo>
                <a:lnTo>
                  <a:pt x="7203" y="804"/>
                </a:lnTo>
                <a:cubicBezTo>
                  <a:pt x="7211" y="800"/>
                  <a:pt x="7218" y="795"/>
                  <a:pt x="7225" y="787"/>
                </a:cubicBezTo>
                <a:cubicBezTo>
                  <a:pt x="7232" y="780"/>
                  <a:pt x="7236" y="775"/>
                  <a:pt x="7236" y="772"/>
                </a:cubicBezTo>
                <a:cubicBezTo>
                  <a:pt x="7236" y="770"/>
                  <a:pt x="7236" y="769"/>
                  <a:pt x="7235" y="769"/>
                </a:cubicBezTo>
                <a:cubicBezTo>
                  <a:pt x="7234" y="769"/>
                  <a:pt x="7230" y="773"/>
                  <a:pt x="7224" y="781"/>
                </a:cubicBezTo>
                <a:cubicBezTo>
                  <a:pt x="7216" y="789"/>
                  <a:pt x="7212" y="793"/>
                  <a:pt x="7210" y="793"/>
                </a:cubicBezTo>
                <a:lnTo>
                  <a:pt x="7209" y="793"/>
                </a:lnTo>
                <a:cubicBezTo>
                  <a:pt x="7208" y="793"/>
                  <a:pt x="7206" y="794"/>
                  <a:pt x="7205" y="797"/>
                </a:cubicBezTo>
                <a:cubicBezTo>
                  <a:pt x="7204" y="799"/>
                  <a:pt x="7203" y="800"/>
                  <a:pt x="7201" y="800"/>
                </a:cubicBezTo>
                <a:lnTo>
                  <a:pt x="7200" y="800"/>
                </a:lnTo>
                <a:cubicBezTo>
                  <a:pt x="7200" y="800"/>
                  <a:pt x="7199" y="800"/>
                  <a:pt x="7199" y="801"/>
                </a:cubicBezTo>
                <a:lnTo>
                  <a:pt x="7199" y="802"/>
                </a:lnTo>
                <a:cubicBezTo>
                  <a:pt x="7199" y="803"/>
                  <a:pt x="7198" y="805"/>
                  <a:pt x="7196" y="807"/>
                </a:cubicBezTo>
                <a:lnTo>
                  <a:pt x="7195" y="808"/>
                </a:lnTo>
                <a:close/>
                <a:moveTo>
                  <a:pt x="7117" y="854"/>
                </a:moveTo>
                <a:lnTo>
                  <a:pt x="7124" y="852"/>
                </a:lnTo>
                <a:lnTo>
                  <a:pt x="7127" y="850"/>
                </a:lnTo>
                <a:cubicBezTo>
                  <a:pt x="7127" y="850"/>
                  <a:pt x="7126" y="850"/>
                  <a:pt x="7125" y="850"/>
                </a:cubicBezTo>
                <a:cubicBezTo>
                  <a:pt x="7124" y="850"/>
                  <a:pt x="7123" y="850"/>
                  <a:pt x="7122" y="850"/>
                </a:cubicBezTo>
                <a:cubicBezTo>
                  <a:pt x="7120" y="851"/>
                  <a:pt x="7119" y="851"/>
                  <a:pt x="7119" y="852"/>
                </a:cubicBezTo>
                <a:cubicBezTo>
                  <a:pt x="7118" y="853"/>
                  <a:pt x="7117" y="853"/>
                  <a:pt x="7117" y="853"/>
                </a:cubicBezTo>
                <a:cubicBezTo>
                  <a:pt x="7117" y="854"/>
                  <a:pt x="7117" y="854"/>
                  <a:pt x="7117" y="854"/>
                </a:cubicBezTo>
                <a:close/>
                <a:moveTo>
                  <a:pt x="7130" y="849"/>
                </a:moveTo>
                <a:lnTo>
                  <a:pt x="7134" y="848"/>
                </a:lnTo>
                <a:cubicBezTo>
                  <a:pt x="7148" y="844"/>
                  <a:pt x="7163" y="838"/>
                  <a:pt x="7179" y="831"/>
                </a:cubicBezTo>
                <a:cubicBezTo>
                  <a:pt x="7192" y="826"/>
                  <a:pt x="7201" y="821"/>
                  <a:pt x="7206" y="817"/>
                </a:cubicBezTo>
                <a:cubicBezTo>
                  <a:pt x="7208" y="815"/>
                  <a:pt x="7211" y="813"/>
                  <a:pt x="7215" y="812"/>
                </a:cubicBezTo>
                <a:cubicBezTo>
                  <a:pt x="7219" y="810"/>
                  <a:pt x="7222" y="808"/>
                  <a:pt x="7225" y="806"/>
                </a:cubicBezTo>
                <a:cubicBezTo>
                  <a:pt x="7234" y="799"/>
                  <a:pt x="7240" y="791"/>
                  <a:pt x="7244" y="784"/>
                </a:cubicBezTo>
                <a:lnTo>
                  <a:pt x="7245" y="781"/>
                </a:lnTo>
                <a:cubicBezTo>
                  <a:pt x="7244" y="781"/>
                  <a:pt x="7239" y="785"/>
                  <a:pt x="7232" y="793"/>
                </a:cubicBezTo>
                <a:cubicBezTo>
                  <a:pt x="7211" y="813"/>
                  <a:pt x="7181" y="830"/>
                  <a:pt x="7142" y="844"/>
                </a:cubicBezTo>
                <a:cubicBezTo>
                  <a:pt x="7134" y="846"/>
                  <a:pt x="7129" y="848"/>
                  <a:pt x="7129" y="849"/>
                </a:cubicBezTo>
                <a:cubicBezTo>
                  <a:pt x="7129" y="849"/>
                  <a:pt x="7130" y="849"/>
                  <a:pt x="7130" y="849"/>
                </a:cubicBezTo>
                <a:close/>
                <a:moveTo>
                  <a:pt x="7221" y="807"/>
                </a:moveTo>
                <a:close/>
                <a:moveTo>
                  <a:pt x="7221" y="808"/>
                </a:moveTo>
                <a:cubicBezTo>
                  <a:pt x="7221" y="808"/>
                  <a:pt x="7221" y="808"/>
                  <a:pt x="7221" y="807"/>
                </a:cubicBezTo>
                <a:lnTo>
                  <a:pt x="7221" y="806"/>
                </a:lnTo>
                <a:cubicBezTo>
                  <a:pt x="7224" y="803"/>
                  <a:pt x="7226" y="801"/>
                  <a:pt x="7227" y="801"/>
                </a:cubicBezTo>
                <a:lnTo>
                  <a:pt x="7227" y="802"/>
                </a:lnTo>
                <a:lnTo>
                  <a:pt x="7225" y="805"/>
                </a:lnTo>
                <a:cubicBezTo>
                  <a:pt x="7223" y="807"/>
                  <a:pt x="7222" y="808"/>
                  <a:pt x="7221" y="808"/>
                </a:cubicBezTo>
                <a:close/>
                <a:moveTo>
                  <a:pt x="7194" y="788"/>
                </a:moveTo>
                <a:cubicBezTo>
                  <a:pt x="7193" y="788"/>
                  <a:pt x="7193" y="787"/>
                  <a:pt x="7192" y="786"/>
                </a:cubicBezTo>
                <a:cubicBezTo>
                  <a:pt x="7192" y="786"/>
                  <a:pt x="7191" y="785"/>
                  <a:pt x="7191" y="785"/>
                </a:cubicBezTo>
                <a:cubicBezTo>
                  <a:pt x="7191" y="784"/>
                  <a:pt x="7192" y="783"/>
                  <a:pt x="7192" y="783"/>
                </a:cubicBezTo>
                <a:cubicBezTo>
                  <a:pt x="7194" y="783"/>
                  <a:pt x="7195" y="784"/>
                  <a:pt x="7195" y="786"/>
                </a:cubicBezTo>
                <a:cubicBezTo>
                  <a:pt x="7195" y="787"/>
                  <a:pt x="7194" y="788"/>
                  <a:pt x="7194" y="788"/>
                </a:cubicBezTo>
                <a:close/>
                <a:moveTo>
                  <a:pt x="7184" y="705"/>
                </a:moveTo>
                <a:cubicBezTo>
                  <a:pt x="7182" y="705"/>
                  <a:pt x="7182" y="704"/>
                  <a:pt x="7182" y="703"/>
                </a:cubicBezTo>
                <a:cubicBezTo>
                  <a:pt x="7182" y="702"/>
                  <a:pt x="7182" y="701"/>
                  <a:pt x="7183" y="701"/>
                </a:cubicBezTo>
                <a:lnTo>
                  <a:pt x="7184" y="702"/>
                </a:lnTo>
                <a:cubicBezTo>
                  <a:pt x="7185" y="703"/>
                  <a:pt x="7186" y="703"/>
                  <a:pt x="7186" y="704"/>
                </a:cubicBezTo>
                <a:cubicBezTo>
                  <a:pt x="7186" y="705"/>
                  <a:pt x="7185" y="705"/>
                  <a:pt x="7184" y="705"/>
                </a:cubicBezTo>
                <a:close/>
                <a:moveTo>
                  <a:pt x="7200" y="712"/>
                </a:moveTo>
                <a:cubicBezTo>
                  <a:pt x="7199" y="712"/>
                  <a:pt x="7197" y="711"/>
                  <a:pt x="7195" y="710"/>
                </a:cubicBezTo>
                <a:cubicBezTo>
                  <a:pt x="7194" y="710"/>
                  <a:pt x="7193" y="708"/>
                  <a:pt x="7193" y="707"/>
                </a:cubicBezTo>
                <a:cubicBezTo>
                  <a:pt x="7193" y="706"/>
                  <a:pt x="7193" y="706"/>
                  <a:pt x="7193" y="706"/>
                </a:cubicBezTo>
                <a:cubicBezTo>
                  <a:pt x="7194" y="706"/>
                  <a:pt x="7195" y="706"/>
                  <a:pt x="7196" y="707"/>
                </a:cubicBezTo>
                <a:cubicBezTo>
                  <a:pt x="7196" y="708"/>
                  <a:pt x="7198" y="709"/>
                  <a:pt x="7198" y="709"/>
                </a:cubicBezTo>
                <a:cubicBezTo>
                  <a:pt x="7199" y="709"/>
                  <a:pt x="7200" y="709"/>
                  <a:pt x="7200" y="708"/>
                </a:cubicBezTo>
                <a:lnTo>
                  <a:pt x="7200" y="708"/>
                </a:lnTo>
                <a:cubicBezTo>
                  <a:pt x="7201" y="708"/>
                  <a:pt x="7201" y="708"/>
                  <a:pt x="7201" y="709"/>
                </a:cubicBezTo>
                <a:cubicBezTo>
                  <a:pt x="7201" y="711"/>
                  <a:pt x="7201" y="712"/>
                  <a:pt x="7200" y="712"/>
                </a:cubicBezTo>
                <a:close/>
                <a:moveTo>
                  <a:pt x="7172" y="703"/>
                </a:moveTo>
                <a:cubicBezTo>
                  <a:pt x="7171" y="703"/>
                  <a:pt x="7171" y="702"/>
                  <a:pt x="7171" y="699"/>
                </a:cubicBezTo>
                <a:cubicBezTo>
                  <a:pt x="7171" y="698"/>
                  <a:pt x="7171" y="697"/>
                  <a:pt x="7172" y="697"/>
                </a:cubicBezTo>
                <a:cubicBezTo>
                  <a:pt x="7172" y="697"/>
                  <a:pt x="7173" y="697"/>
                  <a:pt x="7173" y="698"/>
                </a:cubicBezTo>
                <a:cubicBezTo>
                  <a:pt x="7174" y="698"/>
                  <a:pt x="7174" y="699"/>
                  <a:pt x="7174" y="700"/>
                </a:cubicBezTo>
                <a:cubicBezTo>
                  <a:pt x="7174" y="700"/>
                  <a:pt x="7174" y="701"/>
                  <a:pt x="7173" y="701"/>
                </a:cubicBezTo>
                <a:cubicBezTo>
                  <a:pt x="7173" y="702"/>
                  <a:pt x="7172" y="703"/>
                  <a:pt x="7172" y="703"/>
                </a:cubicBezTo>
                <a:close/>
                <a:moveTo>
                  <a:pt x="7058" y="499"/>
                </a:moveTo>
                <a:cubicBezTo>
                  <a:pt x="7058" y="498"/>
                  <a:pt x="7060" y="495"/>
                  <a:pt x="7063" y="491"/>
                </a:cubicBezTo>
                <a:cubicBezTo>
                  <a:pt x="7065" y="489"/>
                  <a:pt x="7067" y="486"/>
                  <a:pt x="7070" y="484"/>
                </a:cubicBezTo>
                <a:cubicBezTo>
                  <a:pt x="7072" y="481"/>
                  <a:pt x="7075" y="479"/>
                  <a:pt x="7077" y="477"/>
                </a:cubicBezTo>
                <a:cubicBezTo>
                  <a:pt x="7079" y="475"/>
                  <a:pt x="7080" y="474"/>
                  <a:pt x="7081" y="474"/>
                </a:cubicBezTo>
                <a:lnTo>
                  <a:pt x="7081" y="475"/>
                </a:lnTo>
                <a:cubicBezTo>
                  <a:pt x="7081" y="475"/>
                  <a:pt x="7078" y="479"/>
                  <a:pt x="7072" y="485"/>
                </a:cubicBezTo>
                <a:cubicBezTo>
                  <a:pt x="7064" y="494"/>
                  <a:pt x="7059" y="499"/>
                  <a:pt x="7058" y="499"/>
                </a:cubicBezTo>
                <a:close/>
                <a:moveTo>
                  <a:pt x="7097" y="462"/>
                </a:moveTo>
                <a:cubicBezTo>
                  <a:pt x="7096" y="462"/>
                  <a:pt x="7095" y="462"/>
                  <a:pt x="7095" y="461"/>
                </a:cubicBezTo>
                <a:cubicBezTo>
                  <a:pt x="7095" y="461"/>
                  <a:pt x="7096" y="460"/>
                  <a:pt x="7096" y="459"/>
                </a:cubicBezTo>
                <a:cubicBezTo>
                  <a:pt x="7097" y="458"/>
                  <a:pt x="7097" y="458"/>
                  <a:pt x="7098" y="458"/>
                </a:cubicBezTo>
                <a:cubicBezTo>
                  <a:pt x="7099" y="458"/>
                  <a:pt x="7099" y="458"/>
                  <a:pt x="7099" y="460"/>
                </a:cubicBezTo>
                <a:cubicBezTo>
                  <a:pt x="7099" y="462"/>
                  <a:pt x="7098" y="462"/>
                  <a:pt x="7097" y="462"/>
                </a:cubicBezTo>
                <a:close/>
                <a:moveTo>
                  <a:pt x="7103" y="458"/>
                </a:moveTo>
                <a:cubicBezTo>
                  <a:pt x="7102" y="458"/>
                  <a:pt x="7102" y="457"/>
                  <a:pt x="7102" y="457"/>
                </a:cubicBezTo>
                <a:lnTo>
                  <a:pt x="7102" y="456"/>
                </a:lnTo>
                <a:cubicBezTo>
                  <a:pt x="7104" y="454"/>
                  <a:pt x="7104" y="453"/>
                  <a:pt x="7105" y="453"/>
                </a:cubicBezTo>
                <a:cubicBezTo>
                  <a:pt x="7105" y="453"/>
                  <a:pt x="7105" y="454"/>
                  <a:pt x="7105" y="456"/>
                </a:cubicBezTo>
                <a:cubicBezTo>
                  <a:pt x="7105" y="457"/>
                  <a:pt x="7105" y="458"/>
                  <a:pt x="7103" y="458"/>
                </a:cubicBezTo>
                <a:close/>
                <a:moveTo>
                  <a:pt x="7198" y="783"/>
                </a:moveTo>
                <a:cubicBezTo>
                  <a:pt x="7197" y="783"/>
                  <a:pt x="7196" y="782"/>
                  <a:pt x="7196" y="780"/>
                </a:cubicBezTo>
                <a:lnTo>
                  <a:pt x="7195" y="779"/>
                </a:lnTo>
                <a:lnTo>
                  <a:pt x="7197" y="779"/>
                </a:lnTo>
                <a:cubicBezTo>
                  <a:pt x="7198" y="779"/>
                  <a:pt x="7199" y="779"/>
                  <a:pt x="7200" y="777"/>
                </a:cubicBezTo>
                <a:cubicBezTo>
                  <a:pt x="7202" y="775"/>
                  <a:pt x="7203" y="774"/>
                  <a:pt x="7203" y="774"/>
                </a:cubicBezTo>
                <a:lnTo>
                  <a:pt x="7201" y="778"/>
                </a:lnTo>
                <a:cubicBezTo>
                  <a:pt x="7200" y="781"/>
                  <a:pt x="7199" y="783"/>
                  <a:pt x="7198" y="783"/>
                </a:cubicBezTo>
                <a:close/>
                <a:moveTo>
                  <a:pt x="7077" y="532"/>
                </a:moveTo>
                <a:close/>
                <a:moveTo>
                  <a:pt x="7078" y="534"/>
                </a:moveTo>
                <a:cubicBezTo>
                  <a:pt x="7077" y="534"/>
                  <a:pt x="7077" y="533"/>
                  <a:pt x="7077" y="532"/>
                </a:cubicBezTo>
                <a:cubicBezTo>
                  <a:pt x="7077" y="532"/>
                  <a:pt x="7078" y="531"/>
                  <a:pt x="7079" y="531"/>
                </a:cubicBezTo>
                <a:cubicBezTo>
                  <a:pt x="7079" y="530"/>
                  <a:pt x="7080" y="529"/>
                  <a:pt x="7082" y="528"/>
                </a:cubicBezTo>
                <a:lnTo>
                  <a:pt x="7084" y="526"/>
                </a:lnTo>
                <a:lnTo>
                  <a:pt x="7084" y="526"/>
                </a:lnTo>
                <a:lnTo>
                  <a:pt x="7082" y="529"/>
                </a:lnTo>
                <a:cubicBezTo>
                  <a:pt x="7080" y="532"/>
                  <a:pt x="7079" y="534"/>
                  <a:pt x="7078" y="534"/>
                </a:cubicBezTo>
                <a:close/>
                <a:moveTo>
                  <a:pt x="7139" y="633"/>
                </a:moveTo>
                <a:cubicBezTo>
                  <a:pt x="7138" y="633"/>
                  <a:pt x="7138" y="633"/>
                  <a:pt x="7138" y="632"/>
                </a:cubicBezTo>
                <a:cubicBezTo>
                  <a:pt x="7138" y="632"/>
                  <a:pt x="7140" y="630"/>
                  <a:pt x="7144" y="627"/>
                </a:cubicBezTo>
                <a:cubicBezTo>
                  <a:pt x="7147" y="625"/>
                  <a:pt x="7153" y="620"/>
                  <a:pt x="7161" y="613"/>
                </a:cubicBezTo>
                <a:lnTo>
                  <a:pt x="7169" y="606"/>
                </a:lnTo>
                <a:cubicBezTo>
                  <a:pt x="7169" y="607"/>
                  <a:pt x="7167" y="608"/>
                  <a:pt x="7165" y="611"/>
                </a:cubicBezTo>
                <a:cubicBezTo>
                  <a:pt x="7162" y="615"/>
                  <a:pt x="7159" y="618"/>
                  <a:pt x="7155" y="621"/>
                </a:cubicBezTo>
                <a:cubicBezTo>
                  <a:pt x="7152" y="624"/>
                  <a:pt x="7148" y="627"/>
                  <a:pt x="7145" y="630"/>
                </a:cubicBezTo>
                <a:cubicBezTo>
                  <a:pt x="7142" y="632"/>
                  <a:pt x="7139" y="633"/>
                  <a:pt x="7139" y="633"/>
                </a:cubicBezTo>
                <a:close/>
                <a:moveTo>
                  <a:pt x="7165" y="701"/>
                </a:moveTo>
                <a:cubicBezTo>
                  <a:pt x="7165" y="701"/>
                  <a:pt x="7164" y="700"/>
                  <a:pt x="7164" y="697"/>
                </a:cubicBezTo>
                <a:cubicBezTo>
                  <a:pt x="7164" y="695"/>
                  <a:pt x="7165" y="694"/>
                  <a:pt x="7166" y="694"/>
                </a:cubicBezTo>
                <a:cubicBezTo>
                  <a:pt x="7167" y="694"/>
                  <a:pt x="7167" y="694"/>
                  <a:pt x="7167" y="696"/>
                </a:cubicBezTo>
                <a:cubicBezTo>
                  <a:pt x="7167" y="696"/>
                  <a:pt x="7167" y="696"/>
                  <a:pt x="7167" y="697"/>
                </a:cubicBezTo>
                <a:cubicBezTo>
                  <a:pt x="7167" y="698"/>
                  <a:pt x="7166" y="699"/>
                  <a:pt x="7166" y="700"/>
                </a:cubicBezTo>
                <a:cubicBezTo>
                  <a:pt x="7166" y="701"/>
                  <a:pt x="7165" y="701"/>
                  <a:pt x="7165" y="701"/>
                </a:cubicBezTo>
                <a:close/>
                <a:moveTo>
                  <a:pt x="7160" y="696"/>
                </a:moveTo>
                <a:cubicBezTo>
                  <a:pt x="7159" y="696"/>
                  <a:pt x="7159" y="696"/>
                  <a:pt x="7159" y="695"/>
                </a:cubicBezTo>
                <a:lnTo>
                  <a:pt x="7159" y="694"/>
                </a:lnTo>
                <a:cubicBezTo>
                  <a:pt x="7160" y="692"/>
                  <a:pt x="7161" y="692"/>
                  <a:pt x="7161" y="692"/>
                </a:cubicBezTo>
                <a:cubicBezTo>
                  <a:pt x="7162" y="692"/>
                  <a:pt x="7162" y="692"/>
                  <a:pt x="7162" y="694"/>
                </a:cubicBezTo>
                <a:cubicBezTo>
                  <a:pt x="7162" y="695"/>
                  <a:pt x="7161" y="696"/>
                  <a:pt x="7160" y="696"/>
                </a:cubicBezTo>
                <a:close/>
                <a:moveTo>
                  <a:pt x="7132" y="597"/>
                </a:moveTo>
                <a:close/>
                <a:moveTo>
                  <a:pt x="7132" y="598"/>
                </a:moveTo>
                <a:cubicBezTo>
                  <a:pt x="7132" y="598"/>
                  <a:pt x="7132" y="597"/>
                  <a:pt x="7132" y="597"/>
                </a:cubicBezTo>
                <a:cubicBezTo>
                  <a:pt x="7132" y="596"/>
                  <a:pt x="7133" y="594"/>
                  <a:pt x="7135" y="593"/>
                </a:cubicBezTo>
                <a:cubicBezTo>
                  <a:pt x="7137" y="591"/>
                  <a:pt x="7138" y="590"/>
                  <a:pt x="7138" y="590"/>
                </a:cubicBezTo>
                <a:cubicBezTo>
                  <a:pt x="7138" y="591"/>
                  <a:pt x="7137" y="592"/>
                  <a:pt x="7136" y="594"/>
                </a:cubicBezTo>
                <a:cubicBezTo>
                  <a:pt x="7134" y="596"/>
                  <a:pt x="7133" y="598"/>
                  <a:pt x="7132" y="598"/>
                </a:cubicBezTo>
                <a:close/>
              </a:path>
            </a:pathLst>
          </a:custGeom>
          <a:solidFill>
            <a:schemeClr val="accent3"/>
          </a:solidFill>
          <a:ln w="3175">
            <a:solidFill>
              <a:schemeClr val="accent3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3959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940" r:id="rId2"/>
    <p:sldLayoutId id="2147483906" r:id="rId3"/>
    <p:sldLayoutId id="2147483858" r:id="rId4"/>
    <p:sldLayoutId id="2147483859" r:id="rId5"/>
    <p:sldLayoutId id="2147483941" r:id="rId6"/>
    <p:sldLayoutId id="2147483943" r:id="rId7"/>
    <p:sldLayoutId id="2147483946" r:id="rId8"/>
    <p:sldLayoutId id="2147483949" r:id="rId9"/>
    <p:sldLayoutId id="2147483947" r:id="rId10"/>
    <p:sldLayoutId id="2147483950" r:id="rId11"/>
    <p:sldLayoutId id="2147483945" r:id="rId12"/>
    <p:sldLayoutId id="2147483948" r:id="rId13"/>
    <p:sldLayoutId id="2147483942" r:id="rId14"/>
    <p:sldLayoutId id="2147483837" r:id="rId15"/>
    <p:sldLayoutId id="2147483944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 cap="all" baseline="0">
          <a:solidFill>
            <a:srgbClr val="7B858D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18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176213" indent="-176213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1746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725" indent="-185738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89013" indent="-185738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2" pos="7680">
          <p15:clr>
            <a:srgbClr val="F26B43"/>
          </p15:clr>
        </p15:guide>
        <p15:guide id="3" pos="136">
          <p15:clr>
            <a:srgbClr val="F26B43"/>
          </p15:clr>
        </p15:guide>
        <p15:guide id="4" pos="7543">
          <p15:clr>
            <a:srgbClr val="F26B43"/>
          </p15:clr>
        </p15:guide>
        <p15:guide id="5" orient="horz">
          <p15:clr>
            <a:srgbClr val="F26B43"/>
          </p15:clr>
        </p15:guide>
        <p15:guide id="6" orient="horz" pos="4320">
          <p15:clr>
            <a:srgbClr val="F26B43"/>
          </p15:clr>
        </p15:guide>
        <p15:guide id="7" orient="horz" pos="861">
          <p15:clr>
            <a:srgbClr val="F26B43"/>
          </p15:clr>
        </p15:guide>
        <p15:guide id="8" orient="horz" pos="397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5" Type="http://schemas.microsoft.com/office/2007/relationships/hdphoto" Target="../media/hdphoto2.wdp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8AD6BA-CD75-D75B-37B6-57E5AECFD1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200" dirty="0"/>
              <a:t>FULL YEAR RESULTS  </a:t>
            </a:r>
            <a:br>
              <a:rPr lang="en-US" sz="3200" dirty="0"/>
            </a:br>
            <a:r>
              <a:rPr lang="en-US" sz="3200" dirty="0"/>
              <a:t>31 DECEMBER 2022</a:t>
            </a:r>
            <a:endParaRPr lang="en-GB" sz="3200" dirty="0"/>
          </a:p>
        </p:txBody>
      </p:sp>
      <p:sp>
        <p:nvSpPr>
          <p:cNvPr id="21" name="Subtitle 20">
            <a:extLst>
              <a:ext uri="{FF2B5EF4-FFF2-40B4-BE49-F238E27FC236}">
                <a16:creationId xmlns:a16="http://schemas.microsoft.com/office/drawing/2014/main" id="{BC9955B5-E10D-AF18-1C48-85C617C9E7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March 8, 2023</a:t>
            </a:r>
          </a:p>
        </p:txBody>
      </p:sp>
      <p:pic>
        <p:nvPicPr>
          <p:cNvPr id="28" name="Picture Placeholder 27">
            <a:extLst>
              <a:ext uri="{FF2B5EF4-FFF2-40B4-BE49-F238E27FC236}">
                <a16:creationId xmlns:a16="http://schemas.microsoft.com/office/drawing/2014/main" id="{B9B9E2F6-3350-916C-5F47-FFAE1536C16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124" b="124"/>
          <a:stretch>
            <a:fillRect/>
          </a:stretch>
        </p:blipFill>
        <p:spPr/>
      </p:pic>
      <p:pic>
        <p:nvPicPr>
          <p:cNvPr id="51" name="Picture Placeholder 50">
            <a:extLst>
              <a:ext uri="{FF2B5EF4-FFF2-40B4-BE49-F238E27FC236}">
                <a16:creationId xmlns:a16="http://schemas.microsoft.com/office/drawing/2014/main" id="{B1768327-9171-FD22-AD71-5B7091900D9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 t="124" b="124"/>
          <a:stretch>
            <a:fillRect/>
          </a:stretch>
        </p:blipFill>
        <p:spPr/>
      </p:pic>
      <p:pic>
        <p:nvPicPr>
          <p:cNvPr id="82" name="Picture Placeholder 81">
            <a:extLst>
              <a:ext uri="{FF2B5EF4-FFF2-40B4-BE49-F238E27FC236}">
                <a16:creationId xmlns:a16="http://schemas.microsoft.com/office/drawing/2014/main" id="{79624735-252F-D517-3B29-59068742DED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/>
          <a:srcRect l="100" r="100"/>
          <a:stretch>
            <a:fillRect/>
          </a:stretch>
        </p:blipFill>
        <p:spPr/>
      </p:pic>
      <p:pic>
        <p:nvPicPr>
          <p:cNvPr id="39" name="Picture Placeholder 38">
            <a:extLst>
              <a:ext uri="{FF2B5EF4-FFF2-40B4-BE49-F238E27FC236}">
                <a16:creationId xmlns:a16="http://schemas.microsoft.com/office/drawing/2014/main" id="{BD999028-0E13-1F6F-7EB0-26954E93010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5"/>
          <a:srcRect l="100" r="10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7527382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AutoShape 3">
            <a:extLst>
              <a:ext uri="{FF2B5EF4-FFF2-40B4-BE49-F238E27FC236}">
                <a16:creationId xmlns:a16="http://schemas.microsoft.com/office/drawing/2014/main" id="{05939D08-2921-191D-2242-6B8CFD42303C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4114800" y="2011363"/>
            <a:ext cx="17335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2F64D80E-375F-8ED7-A68E-BD50E120544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41" b="41"/>
          <a:stretch>
            <a:fillRect/>
          </a:stretch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B8EBEBF-DDA1-FB58-CF9B-934DEAD54E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ooking </a:t>
            </a:r>
            <a:br>
              <a:rPr lang="en-GB" dirty="0"/>
            </a:br>
            <a:r>
              <a:rPr lang="en-GB" dirty="0"/>
              <a:t>ahead</a:t>
            </a:r>
          </a:p>
        </p:txBody>
      </p:sp>
      <p:pic>
        <p:nvPicPr>
          <p:cNvPr id="23" name="Picture Placeholder 22">
            <a:extLst>
              <a:ext uri="{FF2B5EF4-FFF2-40B4-BE49-F238E27FC236}">
                <a16:creationId xmlns:a16="http://schemas.microsoft.com/office/drawing/2014/main" id="{A7343381-7633-8B11-E3DA-7DE10987214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/>
          <a:stretch>
            <a:fillRect/>
          </a:stretch>
        </p:blipFill>
        <p:spPr>
          <a:xfrm rot="377467">
            <a:off x="927541" y="3304610"/>
            <a:ext cx="2722560" cy="2722560"/>
          </a:xfr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CFCD3434-D957-E89A-9E9B-916ECD61DA32}"/>
              </a:ext>
            </a:extLst>
          </p:cNvPr>
          <p:cNvGrpSpPr/>
          <p:nvPr/>
        </p:nvGrpSpPr>
        <p:grpSpPr>
          <a:xfrm>
            <a:off x="1828800" y="2854910"/>
            <a:ext cx="6341468" cy="3173650"/>
            <a:chOff x="3048000" y="2617550"/>
            <a:chExt cx="7917518" cy="3962400"/>
          </a:xfrm>
          <a:solidFill>
            <a:srgbClr val="FFFFFF">
              <a:alpha val="50196"/>
            </a:srgbClr>
          </a:solidFill>
        </p:grpSpPr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FF5C2B39-C379-0898-0934-6A8AC0AAE6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3690" y="4382500"/>
              <a:ext cx="2597913" cy="2197450"/>
            </a:xfrm>
            <a:custGeom>
              <a:avLst/>
              <a:gdLst>
                <a:gd name="T0" fmla="*/ 5715 w 7856"/>
                <a:gd name="T1" fmla="*/ 363 h 6643"/>
                <a:gd name="T2" fmla="*/ 1841 w 7856"/>
                <a:gd name="T3" fmla="*/ 1263 h 6643"/>
                <a:gd name="T4" fmla="*/ 1046 w 7856"/>
                <a:gd name="T5" fmla="*/ 6643 h 6643"/>
                <a:gd name="T6" fmla="*/ 2414 w 7856"/>
                <a:gd name="T7" fmla="*/ 6643 h 6643"/>
                <a:gd name="T8" fmla="*/ 1541 w 7856"/>
                <a:gd name="T9" fmla="*/ 4801 h 6643"/>
                <a:gd name="T10" fmla="*/ 5501 w 7856"/>
                <a:gd name="T11" fmla="*/ 819 h 6643"/>
                <a:gd name="T12" fmla="*/ 6192 w 7856"/>
                <a:gd name="T13" fmla="*/ 2676 h 6643"/>
                <a:gd name="T14" fmla="*/ 4593 w 7856"/>
                <a:gd name="T15" fmla="*/ 3100 h 6643"/>
                <a:gd name="T16" fmla="*/ 5460 w 7856"/>
                <a:gd name="T17" fmla="*/ 3953 h 6643"/>
                <a:gd name="T18" fmla="*/ 7240 w 7856"/>
                <a:gd name="T19" fmla="*/ 2910 h 6643"/>
                <a:gd name="T20" fmla="*/ 5715 w 7856"/>
                <a:gd name="T21" fmla="*/ 363 h 6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856" h="6643">
                  <a:moveTo>
                    <a:pt x="5715" y="363"/>
                  </a:moveTo>
                  <a:cubicBezTo>
                    <a:pt x="4064" y="0"/>
                    <a:pt x="2671" y="589"/>
                    <a:pt x="1841" y="1263"/>
                  </a:cubicBezTo>
                  <a:cubicBezTo>
                    <a:pt x="57" y="2712"/>
                    <a:pt x="0" y="4898"/>
                    <a:pt x="1046" y="6643"/>
                  </a:cubicBezTo>
                  <a:lnTo>
                    <a:pt x="2414" y="6643"/>
                  </a:lnTo>
                  <a:cubicBezTo>
                    <a:pt x="2067" y="6203"/>
                    <a:pt x="1687" y="5572"/>
                    <a:pt x="1541" y="4801"/>
                  </a:cubicBezTo>
                  <a:cubicBezTo>
                    <a:pt x="1014" y="2036"/>
                    <a:pt x="3424" y="438"/>
                    <a:pt x="5501" y="819"/>
                  </a:cubicBezTo>
                  <a:cubicBezTo>
                    <a:pt x="6686" y="1036"/>
                    <a:pt x="6776" y="2152"/>
                    <a:pt x="6192" y="2676"/>
                  </a:cubicBezTo>
                  <a:cubicBezTo>
                    <a:pt x="5662" y="3149"/>
                    <a:pt x="4954" y="3142"/>
                    <a:pt x="4593" y="3100"/>
                  </a:cubicBezTo>
                  <a:cubicBezTo>
                    <a:pt x="4904" y="3280"/>
                    <a:pt x="5213" y="3572"/>
                    <a:pt x="5460" y="3953"/>
                  </a:cubicBezTo>
                  <a:cubicBezTo>
                    <a:pt x="5460" y="3953"/>
                    <a:pt x="6583" y="3827"/>
                    <a:pt x="7240" y="2910"/>
                  </a:cubicBezTo>
                  <a:cubicBezTo>
                    <a:pt x="7856" y="2052"/>
                    <a:pt x="7363" y="725"/>
                    <a:pt x="5715" y="3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59C3297B-A7DD-2456-8A12-C396EA36A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8000" y="2617550"/>
              <a:ext cx="7917518" cy="3962400"/>
            </a:xfrm>
            <a:custGeom>
              <a:avLst/>
              <a:gdLst>
                <a:gd name="T0" fmla="*/ 23949 w 23949"/>
                <a:gd name="T1" fmla="*/ 11464 h 11980"/>
                <a:gd name="T2" fmla="*/ 22494 w 23949"/>
                <a:gd name="T3" fmla="*/ 10819 h 11980"/>
                <a:gd name="T4" fmla="*/ 15834 w 23949"/>
                <a:gd name="T5" fmla="*/ 2827 h 11980"/>
                <a:gd name="T6" fmla="*/ 7611 w 23949"/>
                <a:gd name="T7" fmla="*/ 1097 h 11980"/>
                <a:gd name="T8" fmla="*/ 5202 w 23949"/>
                <a:gd name="T9" fmla="*/ 9514 h 11980"/>
                <a:gd name="T10" fmla="*/ 3946 w 23949"/>
                <a:gd name="T11" fmla="*/ 5020 h 11980"/>
                <a:gd name="T12" fmla="*/ 3575 w 23949"/>
                <a:gd name="T13" fmla="*/ 5124 h 11980"/>
                <a:gd name="T14" fmla="*/ 5 w 23949"/>
                <a:gd name="T15" fmla="*/ 4187 h 11980"/>
                <a:gd name="T16" fmla="*/ 10 w 23949"/>
                <a:gd name="T17" fmla="*/ 4235 h 11980"/>
                <a:gd name="T18" fmla="*/ 2628 w 23949"/>
                <a:gd name="T19" fmla="*/ 5915 h 11980"/>
                <a:gd name="T20" fmla="*/ 6475 w 23949"/>
                <a:gd name="T21" fmla="*/ 10224 h 11980"/>
                <a:gd name="T22" fmla="*/ 5965 w 23949"/>
                <a:gd name="T23" fmla="*/ 5977 h 11980"/>
                <a:gd name="T24" fmla="*/ 10769 w 23949"/>
                <a:gd name="T25" fmla="*/ 1291 h 11980"/>
                <a:gd name="T26" fmla="*/ 17039 w 23949"/>
                <a:gd name="T27" fmla="*/ 6163 h 11980"/>
                <a:gd name="T28" fmla="*/ 23412 w 23949"/>
                <a:gd name="T29" fmla="*/ 11832 h 11980"/>
                <a:gd name="T30" fmla="*/ 23923 w 23949"/>
                <a:gd name="T31" fmla="*/ 11980 h 11980"/>
                <a:gd name="T32" fmla="*/ 23949 w 23949"/>
                <a:gd name="T33" fmla="*/ 11980 h 11980"/>
                <a:gd name="T34" fmla="*/ 23949 w 23949"/>
                <a:gd name="T35" fmla="*/ 11464 h 119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3949" h="11980">
                  <a:moveTo>
                    <a:pt x="23949" y="11464"/>
                  </a:moveTo>
                  <a:cubicBezTo>
                    <a:pt x="23366" y="11292"/>
                    <a:pt x="22833" y="11046"/>
                    <a:pt x="22494" y="10819"/>
                  </a:cubicBezTo>
                  <a:cubicBezTo>
                    <a:pt x="19416" y="8749"/>
                    <a:pt x="17585" y="4813"/>
                    <a:pt x="15834" y="2827"/>
                  </a:cubicBezTo>
                  <a:cubicBezTo>
                    <a:pt x="13391" y="58"/>
                    <a:pt x="9802" y="0"/>
                    <a:pt x="7611" y="1097"/>
                  </a:cubicBezTo>
                  <a:cubicBezTo>
                    <a:pt x="4876" y="2469"/>
                    <a:pt x="4208" y="6296"/>
                    <a:pt x="5202" y="9514"/>
                  </a:cubicBezTo>
                  <a:cubicBezTo>
                    <a:pt x="3880" y="9118"/>
                    <a:pt x="3314" y="6534"/>
                    <a:pt x="3946" y="5020"/>
                  </a:cubicBezTo>
                  <a:cubicBezTo>
                    <a:pt x="3826" y="5059"/>
                    <a:pt x="3702" y="5094"/>
                    <a:pt x="3575" y="5124"/>
                  </a:cubicBezTo>
                  <a:cubicBezTo>
                    <a:pt x="2168" y="5450"/>
                    <a:pt x="789" y="5046"/>
                    <a:pt x="5" y="4187"/>
                  </a:cubicBezTo>
                  <a:cubicBezTo>
                    <a:pt x="0" y="4203"/>
                    <a:pt x="2" y="4219"/>
                    <a:pt x="10" y="4235"/>
                  </a:cubicBezTo>
                  <a:cubicBezTo>
                    <a:pt x="448" y="5248"/>
                    <a:pt x="1347" y="5889"/>
                    <a:pt x="2628" y="5915"/>
                  </a:cubicBezTo>
                  <a:cubicBezTo>
                    <a:pt x="2546" y="9338"/>
                    <a:pt x="4456" y="10391"/>
                    <a:pt x="6475" y="10224"/>
                  </a:cubicBezTo>
                  <a:cubicBezTo>
                    <a:pt x="5921" y="9178"/>
                    <a:pt x="5776" y="7348"/>
                    <a:pt x="5965" y="5977"/>
                  </a:cubicBezTo>
                  <a:cubicBezTo>
                    <a:pt x="6141" y="4696"/>
                    <a:pt x="7263" y="1392"/>
                    <a:pt x="10769" y="1291"/>
                  </a:cubicBezTo>
                  <a:cubicBezTo>
                    <a:pt x="14142" y="1193"/>
                    <a:pt x="15406" y="4103"/>
                    <a:pt x="17039" y="6163"/>
                  </a:cubicBezTo>
                  <a:cubicBezTo>
                    <a:pt x="18446" y="7942"/>
                    <a:pt x="20683" y="10910"/>
                    <a:pt x="23412" y="11832"/>
                  </a:cubicBezTo>
                  <a:cubicBezTo>
                    <a:pt x="23575" y="11887"/>
                    <a:pt x="23746" y="11936"/>
                    <a:pt x="23923" y="11980"/>
                  </a:cubicBezTo>
                  <a:lnTo>
                    <a:pt x="23949" y="11980"/>
                  </a:lnTo>
                  <a:lnTo>
                    <a:pt x="23949" y="114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7" name="AutoShape 7">
            <a:extLst>
              <a:ext uri="{FF2B5EF4-FFF2-40B4-BE49-F238E27FC236}">
                <a16:creationId xmlns:a16="http://schemas.microsoft.com/office/drawing/2014/main" id="{C1D20A7E-868E-671E-B773-2D2398D13F7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 rot="439683">
            <a:off x="2155252" y="2968792"/>
            <a:ext cx="1124417" cy="411514"/>
          </a:xfrm>
          <a:prstGeom prst="rect">
            <a:avLst/>
          </a:prstGeom>
          <a:solidFill>
            <a:srgbClr val="BDAC9A">
              <a:alpha val="69804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68839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470FA3-A7BF-44EE-AB8E-C4D9270353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mitted to optimising Stakeholder VALUE</a:t>
            </a:r>
            <a:endParaRPr lang="en-US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9931B5E-D4D4-B2A5-8FD1-828100D932B2}"/>
              </a:ext>
            </a:extLst>
          </p:cNvPr>
          <p:cNvGrpSpPr/>
          <p:nvPr/>
        </p:nvGrpSpPr>
        <p:grpSpPr>
          <a:xfrm>
            <a:off x="0" y="1449492"/>
            <a:ext cx="12192000" cy="4770723"/>
            <a:chOff x="1" y="1459722"/>
            <a:chExt cx="12192000" cy="4770723"/>
          </a:xfrm>
          <a:solidFill>
            <a:schemeClr val="tx2"/>
          </a:solidFill>
        </p:grpSpPr>
        <p:sp>
          <p:nvSpPr>
            <p:cNvPr id="4" name="Freeform 2">
              <a:extLst>
                <a:ext uri="{FF2B5EF4-FFF2-40B4-BE49-F238E27FC236}">
                  <a16:creationId xmlns:a16="http://schemas.microsoft.com/office/drawing/2014/main" id="{2852D158-1C22-DEFF-70B5-528722B9C7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" y="1459722"/>
              <a:ext cx="6262242" cy="1733811"/>
            </a:xfrm>
            <a:custGeom>
              <a:avLst/>
              <a:gdLst>
                <a:gd name="T0" fmla="*/ 8657 w 10050"/>
                <a:gd name="T1" fmla="*/ 0 h 2788"/>
                <a:gd name="T2" fmla="*/ 7263 w 10050"/>
                <a:gd name="T3" fmla="*/ 1394 h 2788"/>
                <a:gd name="T4" fmla="*/ 6917 w 10050"/>
                <a:gd name="T5" fmla="*/ 1740 h 2788"/>
                <a:gd name="T6" fmla="*/ 0 w 10050"/>
                <a:gd name="T7" fmla="*/ 1740 h 2788"/>
                <a:gd name="T8" fmla="*/ 0 w 10050"/>
                <a:gd name="T9" fmla="*/ 2086 h 2788"/>
                <a:gd name="T10" fmla="*/ 6917 w 10050"/>
                <a:gd name="T11" fmla="*/ 2086 h 2788"/>
                <a:gd name="T12" fmla="*/ 7609 w 10050"/>
                <a:gd name="T13" fmla="*/ 1394 h 2788"/>
                <a:gd name="T14" fmla="*/ 8657 w 10050"/>
                <a:gd name="T15" fmla="*/ 346 h 2788"/>
                <a:gd name="T16" fmla="*/ 9704 w 10050"/>
                <a:gd name="T17" fmla="*/ 1394 h 2788"/>
                <a:gd name="T18" fmla="*/ 8657 w 10050"/>
                <a:gd name="T19" fmla="*/ 2441 h 2788"/>
                <a:gd name="T20" fmla="*/ 8657 w 10050"/>
                <a:gd name="T21" fmla="*/ 2787 h 2788"/>
                <a:gd name="T22" fmla="*/ 10049 w 10050"/>
                <a:gd name="T23" fmla="*/ 1394 h 2788"/>
                <a:gd name="T24" fmla="*/ 8657 w 10050"/>
                <a:gd name="T25" fmla="*/ 0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50" h="2788">
                  <a:moveTo>
                    <a:pt x="8657" y="0"/>
                  </a:moveTo>
                  <a:cubicBezTo>
                    <a:pt x="7888" y="0"/>
                    <a:pt x="7263" y="625"/>
                    <a:pt x="7263" y="1394"/>
                  </a:cubicBezTo>
                  <a:cubicBezTo>
                    <a:pt x="7263" y="1584"/>
                    <a:pt x="7108" y="1740"/>
                    <a:pt x="6917" y="1740"/>
                  </a:cubicBezTo>
                  <a:lnTo>
                    <a:pt x="0" y="1740"/>
                  </a:lnTo>
                  <a:lnTo>
                    <a:pt x="0" y="2086"/>
                  </a:lnTo>
                  <a:lnTo>
                    <a:pt x="6917" y="2086"/>
                  </a:lnTo>
                  <a:cubicBezTo>
                    <a:pt x="7299" y="2086"/>
                    <a:pt x="7609" y="1775"/>
                    <a:pt x="7609" y="1394"/>
                  </a:cubicBezTo>
                  <a:cubicBezTo>
                    <a:pt x="7609" y="816"/>
                    <a:pt x="8079" y="346"/>
                    <a:pt x="8657" y="346"/>
                  </a:cubicBezTo>
                  <a:cubicBezTo>
                    <a:pt x="9234" y="346"/>
                    <a:pt x="9704" y="816"/>
                    <a:pt x="9704" y="1394"/>
                  </a:cubicBezTo>
                  <a:cubicBezTo>
                    <a:pt x="9704" y="1971"/>
                    <a:pt x="9234" y="2441"/>
                    <a:pt x="8657" y="2441"/>
                  </a:cubicBezTo>
                  <a:lnTo>
                    <a:pt x="8657" y="2787"/>
                  </a:lnTo>
                  <a:cubicBezTo>
                    <a:pt x="9425" y="2787"/>
                    <a:pt x="10049" y="2162"/>
                    <a:pt x="10049" y="1394"/>
                  </a:cubicBezTo>
                  <a:cubicBezTo>
                    <a:pt x="10049" y="625"/>
                    <a:pt x="9425" y="0"/>
                    <a:pt x="8657" y="0"/>
                  </a:cubicBezTo>
                </a:path>
              </a:pathLst>
            </a:custGeom>
            <a:grpFill/>
            <a:ln>
              <a:solidFill>
                <a:schemeClr val="tx2"/>
              </a:solidFill>
            </a:ln>
            <a:effectLst/>
          </p:spPr>
          <p:txBody>
            <a:bodyPr wrap="none" anchor="ctr"/>
            <a:lstStyle/>
            <a:p>
              <a:pPr marL="0" marR="0" lvl="0" indent="0" algn="l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endParaRPr>
            </a:p>
          </p:txBody>
        </p:sp>
        <p:sp>
          <p:nvSpPr>
            <p:cNvPr id="6" name="Freeform 73">
              <a:extLst>
                <a:ext uri="{FF2B5EF4-FFF2-40B4-BE49-F238E27FC236}">
                  <a16:creationId xmlns:a16="http://schemas.microsoft.com/office/drawing/2014/main" id="{10ECEB88-D06B-BD56-8ADE-BABD428974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5632" y="2979549"/>
              <a:ext cx="1736611" cy="1733811"/>
            </a:xfrm>
            <a:custGeom>
              <a:avLst/>
              <a:gdLst>
                <a:gd name="T0" fmla="*/ 1394 w 2788"/>
                <a:gd name="T1" fmla="*/ 2786 h 2787"/>
                <a:gd name="T2" fmla="*/ 0 w 2788"/>
                <a:gd name="T3" fmla="*/ 1393 h 2787"/>
                <a:gd name="T4" fmla="*/ 1394 w 2788"/>
                <a:gd name="T5" fmla="*/ 0 h 2787"/>
                <a:gd name="T6" fmla="*/ 1394 w 2788"/>
                <a:gd name="T7" fmla="*/ 346 h 2787"/>
                <a:gd name="T8" fmla="*/ 346 w 2788"/>
                <a:gd name="T9" fmla="*/ 1393 h 2787"/>
                <a:gd name="T10" fmla="*/ 1394 w 2788"/>
                <a:gd name="T11" fmla="*/ 2440 h 2787"/>
                <a:gd name="T12" fmla="*/ 2441 w 2788"/>
                <a:gd name="T13" fmla="*/ 1393 h 2787"/>
                <a:gd name="T14" fmla="*/ 2787 w 2788"/>
                <a:gd name="T15" fmla="*/ 1393 h 2787"/>
                <a:gd name="T16" fmla="*/ 1394 w 2788"/>
                <a:gd name="T17" fmla="*/ 2786 h 2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88" h="2787">
                  <a:moveTo>
                    <a:pt x="1394" y="2786"/>
                  </a:moveTo>
                  <a:cubicBezTo>
                    <a:pt x="625" y="2786"/>
                    <a:pt x="0" y="2162"/>
                    <a:pt x="0" y="1393"/>
                  </a:cubicBezTo>
                  <a:cubicBezTo>
                    <a:pt x="0" y="625"/>
                    <a:pt x="625" y="0"/>
                    <a:pt x="1394" y="0"/>
                  </a:cubicBezTo>
                  <a:lnTo>
                    <a:pt x="1394" y="346"/>
                  </a:lnTo>
                  <a:cubicBezTo>
                    <a:pt x="816" y="346"/>
                    <a:pt x="346" y="815"/>
                    <a:pt x="346" y="1393"/>
                  </a:cubicBezTo>
                  <a:cubicBezTo>
                    <a:pt x="346" y="1970"/>
                    <a:pt x="816" y="2440"/>
                    <a:pt x="1394" y="2440"/>
                  </a:cubicBezTo>
                  <a:cubicBezTo>
                    <a:pt x="1971" y="2440"/>
                    <a:pt x="2441" y="1970"/>
                    <a:pt x="2441" y="1393"/>
                  </a:cubicBezTo>
                  <a:lnTo>
                    <a:pt x="2787" y="1393"/>
                  </a:lnTo>
                  <a:cubicBezTo>
                    <a:pt x="2787" y="2162"/>
                    <a:pt x="2162" y="2786"/>
                    <a:pt x="1394" y="2786"/>
                  </a:cubicBezTo>
                </a:path>
              </a:pathLst>
            </a:custGeom>
            <a:grpFill/>
            <a:ln>
              <a:solidFill>
                <a:schemeClr val="tx2"/>
              </a:solidFill>
            </a:ln>
            <a:effectLst/>
          </p:spPr>
          <p:txBody>
            <a:bodyPr wrap="none" anchor="ctr"/>
            <a:lstStyle/>
            <a:p>
              <a:pPr marL="0" marR="0" lvl="0" indent="0" algn="l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endParaRPr>
            </a:p>
          </p:txBody>
        </p:sp>
        <p:sp>
          <p:nvSpPr>
            <p:cNvPr id="7" name="Freeform 74">
              <a:extLst>
                <a:ext uri="{FF2B5EF4-FFF2-40B4-BE49-F238E27FC236}">
                  <a16:creationId xmlns:a16="http://schemas.microsoft.com/office/drawing/2014/main" id="{719478C4-A0C2-FA86-0C5C-E66D021A4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5168" y="2979549"/>
              <a:ext cx="1736611" cy="1733811"/>
            </a:xfrm>
            <a:custGeom>
              <a:avLst/>
              <a:gdLst>
                <a:gd name="T0" fmla="*/ 1393 w 2788"/>
                <a:gd name="T1" fmla="*/ 2786 h 2787"/>
                <a:gd name="T2" fmla="*/ 1393 w 2788"/>
                <a:gd name="T3" fmla="*/ 2440 h 2787"/>
                <a:gd name="T4" fmla="*/ 2441 w 2788"/>
                <a:gd name="T5" fmla="*/ 1393 h 2787"/>
                <a:gd name="T6" fmla="*/ 1393 w 2788"/>
                <a:gd name="T7" fmla="*/ 346 h 2787"/>
                <a:gd name="T8" fmla="*/ 346 w 2788"/>
                <a:gd name="T9" fmla="*/ 1393 h 2787"/>
                <a:gd name="T10" fmla="*/ 0 w 2788"/>
                <a:gd name="T11" fmla="*/ 1393 h 2787"/>
                <a:gd name="T12" fmla="*/ 1393 w 2788"/>
                <a:gd name="T13" fmla="*/ 0 h 2787"/>
                <a:gd name="T14" fmla="*/ 2787 w 2788"/>
                <a:gd name="T15" fmla="*/ 1393 h 2787"/>
                <a:gd name="T16" fmla="*/ 1393 w 2788"/>
                <a:gd name="T17" fmla="*/ 2786 h 2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88" h="2787">
                  <a:moveTo>
                    <a:pt x="1393" y="2786"/>
                  </a:moveTo>
                  <a:lnTo>
                    <a:pt x="1393" y="2440"/>
                  </a:lnTo>
                  <a:cubicBezTo>
                    <a:pt x="1971" y="2440"/>
                    <a:pt x="2441" y="1970"/>
                    <a:pt x="2441" y="1393"/>
                  </a:cubicBezTo>
                  <a:cubicBezTo>
                    <a:pt x="2441" y="815"/>
                    <a:pt x="1971" y="346"/>
                    <a:pt x="1393" y="346"/>
                  </a:cubicBezTo>
                  <a:cubicBezTo>
                    <a:pt x="816" y="346"/>
                    <a:pt x="346" y="815"/>
                    <a:pt x="346" y="1393"/>
                  </a:cubicBezTo>
                  <a:lnTo>
                    <a:pt x="0" y="1393"/>
                  </a:lnTo>
                  <a:cubicBezTo>
                    <a:pt x="0" y="625"/>
                    <a:pt x="625" y="0"/>
                    <a:pt x="1393" y="0"/>
                  </a:cubicBezTo>
                  <a:cubicBezTo>
                    <a:pt x="2162" y="0"/>
                    <a:pt x="2787" y="625"/>
                    <a:pt x="2787" y="1393"/>
                  </a:cubicBezTo>
                  <a:cubicBezTo>
                    <a:pt x="2787" y="2162"/>
                    <a:pt x="2162" y="2786"/>
                    <a:pt x="1393" y="2786"/>
                  </a:cubicBezTo>
                </a:path>
              </a:pathLst>
            </a:custGeom>
            <a:grpFill/>
            <a:ln>
              <a:solidFill>
                <a:schemeClr val="tx2"/>
              </a:solidFill>
            </a:ln>
            <a:effectLst/>
          </p:spPr>
          <p:txBody>
            <a:bodyPr wrap="none" anchor="ctr"/>
            <a:lstStyle/>
            <a:p>
              <a:pPr marL="0" marR="0" lvl="0" indent="0" algn="l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endParaRPr>
            </a:p>
          </p:txBody>
        </p:sp>
        <p:sp>
          <p:nvSpPr>
            <p:cNvPr id="8" name="Freeform 378">
              <a:extLst>
                <a:ext uri="{FF2B5EF4-FFF2-40B4-BE49-F238E27FC236}">
                  <a16:creationId xmlns:a16="http://schemas.microsoft.com/office/drawing/2014/main" id="{E917AACF-D524-142A-62C6-7F943F15D9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5168" y="4496634"/>
              <a:ext cx="6146833" cy="1733811"/>
            </a:xfrm>
            <a:custGeom>
              <a:avLst/>
              <a:gdLst>
                <a:gd name="T0" fmla="*/ 3133 w 9866"/>
                <a:gd name="T1" fmla="*/ 701 h 2788"/>
                <a:gd name="T2" fmla="*/ 2441 w 9866"/>
                <a:gd name="T3" fmla="*/ 1394 h 2788"/>
                <a:gd name="T4" fmla="*/ 1393 w 9866"/>
                <a:gd name="T5" fmla="*/ 2441 h 2788"/>
                <a:gd name="T6" fmla="*/ 346 w 9866"/>
                <a:gd name="T7" fmla="*/ 1394 h 2788"/>
                <a:gd name="T8" fmla="*/ 1393 w 9866"/>
                <a:gd name="T9" fmla="*/ 346 h 2788"/>
                <a:gd name="T10" fmla="*/ 1393 w 9866"/>
                <a:gd name="T11" fmla="*/ 0 h 2788"/>
                <a:gd name="T12" fmla="*/ 0 w 9866"/>
                <a:gd name="T13" fmla="*/ 1394 h 2788"/>
                <a:gd name="T14" fmla="*/ 1393 w 9866"/>
                <a:gd name="T15" fmla="*/ 2787 h 2788"/>
                <a:gd name="T16" fmla="*/ 2787 w 9866"/>
                <a:gd name="T17" fmla="*/ 1394 h 2788"/>
                <a:gd name="T18" fmla="*/ 3133 w 9866"/>
                <a:gd name="T19" fmla="*/ 1047 h 2788"/>
                <a:gd name="T20" fmla="*/ 9865 w 9866"/>
                <a:gd name="T21" fmla="*/ 1047 h 2788"/>
                <a:gd name="T22" fmla="*/ 9865 w 9866"/>
                <a:gd name="T23" fmla="*/ 701 h 2788"/>
                <a:gd name="T24" fmla="*/ 3133 w 9866"/>
                <a:gd name="T25" fmla="*/ 701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866" h="2788">
                  <a:moveTo>
                    <a:pt x="3133" y="701"/>
                  </a:moveTo>
                  <a:cubicBezTo>
                    <a:pt x="2751" y="701"/>
                    <a:pt x="2441" y="1012"/>
                    <a:pt x="2441" y="1394"/>
                  </a:cubicBezTo>
                  <a:cubicBezTo>
                    <a:pt x="2441" y="1971"/>
                    <a:pt x="1970" y="2441"/>
                    <a:pt x="1393" y="2441"/>
                  </a:cubicBezTo>
                  <a:cubicBezTo>
                    <a:pt x="816" y="2441"/>
                    <a:pt x="346" y="1971"/>
                    <a:pt x="346" y="1394"/>
                  </a:cubicBezTo>
                  <a:cubicBezTo>
                    <a:pt x="346" y="816"/>
                    <a:pt x="816" y="346"/>
                    <a:pt x="1393" y="346"/>
                  </a:cubicBezTo>
                  <a:lnTo>
                    <a:pt x="1393" y="0"/>
                  </a:lnTo>
                  <a:cubicBezTo>
                    <a:pt x="625" y="0"/>
                    <a:pt x="0" y="626"/>
                    <a:pt x="0" y="1394"/>
                  </a:cubicBezTo>
                  <a:cubicBezTo>
                    <a:pt x="0" y="2162"/>
                    <a:pt x="625" y="2787"/>
                    <a:pt x="1393" y="2787"/>
                  </a:cubicBezTo>
                  <a:cubicBezTo>
                    <a:pt x="2162" y="2787"/>
                    <a:pt x="2787" y="2162"/>
                    <a:pt x="2787" y="1394"/>
                  </a:cubicBezTo>
                  <a:cubicBezTo>
                    <a:pt x="2787" y="1203"/>
                    <a:pt x="2942" y="1047"/>
                    <a:pt x="3133" y="1047"/>
                  </a:cubicBezTo>
                  <a:lnTo>
                    <a:pt x="9865" y="1047"/>
                  </a:lnTo>
                  <a:lnTo>
                    <a:pt x="9865" y="701"/>
                  </a:lnTo>
                  <a:lnTo>
                    <a:pt x="3133" y="701"/>
                  </a:lnTo>
                </a:path>
              </a:pathLst>
            </a:custGeom>
            <a:grpFill/>
            <a:ln>
              <a:solidFill>
                <a:schemeClr val="tx2"/>
              </a:solidFill>
            </a:ln>
            <a:effectLst/>
          </p:spPr>
          <p:txBody>
            <a:bodyPr wrap="none" anchor="ctr"/>
            <a:lstStyle/>
            <a:p>
              <a:pPr marL="0" marR="0" lvl="0" indent="0" algn="l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endParaRPr>
            </a:p>
          </p:txBody>
        </p:sp>
      </p:grp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5C715EDE-B438-965F-7E63-0AE18C1D8F8E}"/>
              </a:ext>
            </a:extLst>
          </p:cNvPr>
          <p:cNvSpPr>
            <a:spLocks/>
          </p:cNvSpPr>
          <p:nvPr/>
        </p:nvSpPr>
        <p:spPr bwMode="auto">
          <a:xfrm>
            <a:off x="6562838" y="5176260"/>
            <a:ext cx="754447" cy="572655"/>
          </a:xfrm>
          <a:custGeom>
            <a:avLst/>
            <a:gdLst>
              <a:gd name="connsiteX0" fmla="*/ 37270 w 948673"/>
              <a:gd name="connsiteY0" fmla="*/ 198678 h 720080"/>
              <a:gd name="connsiteX1" fmla="*/ 130446 w 948673"/>
              <a:gd name="connsiteY1" fmla="*/ 198678 h 720080"/>
              <a:gd name="connsiteX2" fmla="*/ 121676 w 948673"/>
              <a:gd name="connsiteY2" fmla="*/ 215121 h 720080"/>
              <a:gd name="connsiteX3" fmla="*/ 118388 w 948673"/>
              <a:gd name="connsiteY3" fmla="*/ 235948 h 720080"/>
              <a:gd name="connsiteX4" fmla="*/ 118388 w 948673"/>
              <a:gd name="connsiteY4" fmla="*/ 374067 h 720080"/>
              <a:gd name="connsiteX5" fmla="*/ 121676 w 948673"/>
              <a:gd name="connsiteY5" fmla="*/ 393798 h 720080"/>
              <a:gd name="connsiteX6" fmla="*/ 130446 w 948673"/>
              <a:gd name="connsiteY6" fmla="*/ 411337 h 720080"/>
              <a:gd name="connsiteX7" fmla="*/ 143600 w 948673"/>
              <a:gd name="connsiteY7" fmla="*/ 423395 h 720080"/>
              <a:gd name="connsiteX8" fmla="*/ 143600 w 948673"/>
              <a:gd name="connsiteY8" fmla="*/ 518763 h 720080"/>
              <a:gd name="connsiteX9" fmla="*/ 141407 w 948673"/>
              <a:gd name="connsiteY9" fmla="*/ 528628 h 720080"/>
              <a:gd name="connsiteX10" fmla="*/ 135926 w 948673"/>
              <a:gd name="connsiteY10" fmla="*/ 538494 h 720080"/>
              <a:gd name="connsiteX11" fmla="*/ 126061 w 948673"/>
              <a:gd name="connsiteY11" fmla="*/ 546167 h 720080"/>
              <a:gd name="connsiteX12" fmla="*/ 115099 w 948673"/>
              <a:gd name="connsiteY12" fmla="*/ 547263 h 720080"/>
              <a:gd name="connsiteX13" fmla="*/ 101945 w 948673"/>
              <a:gd name="connsiteY13" fmla="*/ 545071 h 720080"/>
              <a:gd name="connsiteX14" fmla="*/ 92079 w 948673"/>
              <a:gd name="connsiteY14" fmla="*/ 536301 h 720080"/>
              <a:gd name="connsiteX15" fmla="*/ 86598 w 948673"/>
              <a:gd name="connsiteY15" fmla="*/ 524243 h 720080"/>
              <a:gd name="connsiteX16" fmla="*/ 80021 w 948673"/>
              <a:gd name="connsiteY16" fmla="*/ 536301 h 720080"/>
              <a:gd name="connsiteX17" fmla="*/ 71252 w 948673"/>
              <a:gd name="connsiteY17" fmla="*/ 545071 h 720080"/>
              <a:gd name="connsiteX18" fmla="*/ 58097 w 948673"/>
              <a:gd name="connsiteY18" fmla="*/ 547263 h 720080"/>
              <a:gd name="connsiteX19" fmla="*/ 47136 w 948673"/>
              <a:gd name="connsiteY19" fmla="*/ 546167 h 720080"/>
              <a:gd name="connsiteX20" fmla="*/ 37270 w 948673"/>
              <a:gd name="connsiteY20" fmla="*/ 538494 h 720080"/>
              <a:gd name="connsiteX21" fmla="*/ 30693 w 948673"/>
              <a:gd name="connsiteY21" fmla="*/ 528628 h 720080"/>
              <a:gd name="connsiteX22" fmla="*/ 28501 w 948673"/>
              <a:gd name="connsiteY22" fmla="*/ 518763 h 720080"/>
              <a:gd name="connsiteX23" fmla="*/ 28501 w 948673"/>
              <a:gd name="connsiteY23" fmla="*/ 382836 h 720080"/>
              <a:gd name="connsiteX24" fmla="*/ 17539 w 948673"/>
              <a:gd name="connsiteY24" fmla="*/ 377355 h 720080"/>
              <a:gd name="connsiteX25" fmla="*/ 7673 w 948673"/>
              <a:gd name="connsiteY25" fmla="*/ 369682 h 720080"/>
              <a:gd name="connsiteX26" fmla="*/ 2192 w 948673"/>
              <a:gd name="connsiteY26" fmla="*/ 358720 h 720080"/>
              <a:gd name="connsiteX27" fmla="*/ 0 w 948673"/>
              <a:gd name="connsiteY27" fmla="*/ 345566 h 720080"/>
              <a:gd name="connsiteX28" fmla="*/ 0 w 948673"/>
              <a:gd name="connsiteY28" fmla="*/ 237044 h 720080"/>
              <a:gd name="connsiteX29" fmla="*/ 2192 w 948673"/>
              <a:gd name="connsiteY29" fmla="*/ 222794 h 720080"/>
              <a:gd name="connsiteX30" fmla="*/ 10962 w 948673"/>
              <a:gd name="connsiteY30" fmla="*/ 210736 h 720080"/>
              <a:gd name="connsiteX31" fmla="*/ 21923 w 948673"/>
              <a:gd name="connsiteY31" fmla="*/ 201967 h 720080"/>
              <a:gd name="connsiteX32" fmla="*/ 818227 w 948673"/>
              <a:gd name="connsiteY32" fmla="*/ 188885 h 720080"/>
              <a:gd name="connsiteX33" fmla="*/ 911403 w 948673"/>
              <a:gd name="connsiteY33" fmla="*/ 188885 h 720080"/>
              <a:gd name="connsiteX34" fmla="*/ 926749 w 948673"/>
              <a:gd name="connsiteY34" fmla="*/ 192174 h 720080"/>
              <a:gd name="connsiteX35" fmla="*/ 937711 w 948673"/>
              <a:gd name="connsiteY35" fmla="*/ 200943 h 720080"/>
              <a:gd name="connsiteX36" fmla="*/ 946481 w 948673"/>
              <a:gd name="connsiteY36" fmla="*/ 213001 h 720080"/>
              <a:gd name="connsiteX37" fmla="*/ 948673 w 948673"/>
              <a:gd name="connsiteY37" fmla="*/ 227251 h 720080"/>
              <a:gd name="connsiteX38" fmla="*/ 948673 w 948673"/>
              <a:gd name="connsiteY38" fmla="*/ 335773 h 720080"/>
              <a:gd name="connsiteX39" fmla="*/ 946481 w 948673"/>
              <a:gd name="connsiteY39" fmla="*/ 348927 h 720080"/>
              <a:gd name="connsiteX40" fmla="*/ 941000 w 948673"/>
              <a:gd name="connsiteY40" fmla="*/ 359889 h 720080"/>
              <a:gd name="connsiteX41" fmla="*/ 931134 w 948673"/>
              <a:gd name="connsiteY41" fmla="*/ 367562 h 720080"/>
              <a:gd name="connsiteX42" fmla="*/ 920172 w 948673"/>
              <a:gd name="connsiteY42" fmla="*/ 373043 h 720080"/>
              <a:gd name="connsiteX43" fmla="*/ 920172 w 948673"/>
              <a:gd name="connsiteY43" fmla="*/ 508970 h 720080"/>
              <a:gd name="connsiteX44" fmla="*/ 917980 w 948673"/>
              <a:gd name="connsiteY44" fmla="*/ 518835 h 720080"/>
              <a:gd name="connsiteX45" fmla="*/ 911403 w 948673"/>
              <a:gd name="connsiteY45" fmla="*/ 528701 h 720080"/>
              <a:gd name="connsiteX46" fmla="*/ 901537 w 948673"/>
              <a:gd name="connsiteY46" fmla="*/ 536374 h 720080"/>
              <a:gd name="connsiteX47" fmla="*/ 890575 w 948673"/>
              <a:gd name="connsiteY47" fmla="*/ 537470 h 720080"/>
              <a:gd name="connsiteX48" fmla="*/ 877421 w 948673"/>
              <a:gd name="connsiteY48" fmla="*/ 535278 h 720080"/>
              <a:gd name="connsiteX49" fmla="*/ 868652 w 948673"/>
              <a:gd name="connsiteY49" fmla="*/ 526508 h 720080"/>
              <a:gd name="connsiteX50" fmla="*/ 862075 w 948673"/>
              <a:gd name="connsiteY50" fmla="*/ 514450 h 720080"/>
              <a:gd name="connsiteX51" fmla="*/ 856594 w 948673"/>
              <a:gd name="connsiteY51" fmla="*/ 526508 h 720080"/>
              <a:gd name="connsiteX52" fmla="*/ 846728 w 948673"/>
              <a:gd name="connsiteY52" fmla="*/ 535278 h 720080"/>
              <a:gd name="connsiteX53" fmla="*/ 833574 w 948673"/>
              <a:gd name="connsiteY53" fmla="*/ 537470 h 720080"/>
              <a:gd name="connsiteX54" fmla="*/ 822612 w 948673"/>
              <a:gd name="connsiteY54" fmla="*/ 536374 h 720080"/>
              <a:gd name="connsiteX55" fmla="*/ 812746 w 948673"/>
              <a:gd name="connsiteY55" fmla="*/ 528701 h 720080"/>
              <a:gd name="connsiteX56" fmla="*/ 807265 w 948673"/>
              <a:gd name="connsiteY56" fmla="*/ 518835 h 720080"/>
              <a:gd name="connsiteX57" fmla="*/ 805073 w 948673"/>
              <a:gd name="connsiteY57" fmla="*/ 508970 h 720080"/>
              <a:gd name="connsiteX58" fmla="*/ 805073 w 948673"/>
              <a:gd name="connsiteY58" fmla="*/ 413602 h 720080"/>
              <a:gd name="connsiteX59" fmla="*/ 818227 w 948673"/>
              <a:gd name="connsiteY59" fmla="*/ 401544 h 720080"/>
              <a:gd name="connsiteX60" fmla="*/ 826997 w 948673"/>
              <a:gd name="connsiteY60" fmla="*/ 384005 h 720080"/>
              <a:gd name="connsiteX61" fmla="*/ 830285 w 948673"/>
              <a:gd name="connsiteY61" fmla="*/ 364274 h 720080"/>
              <a:gd name="connsiteX62" fmla="*/ 830285 w 948673"/>
              <a:gd name="connsiteY62" fmla="*/ 226155 h 720080"/>
              <a:gd name="connsiteX63" fmla="*/ 826997 w 948673"/>
              <a:gd name="connsiteY63" fmla="*/ 205328 h 720080"/>
              <a:gd name="connsiteX64" fmla="*/ 650557 w 948673"/>
              <a:gd name="connsiteY64" fmla="*/ 186486 h 720080"/>
              <a:gd name="connsiteX65" fmla="*/ 768983 w 948673"/>
              <a:gd name="connsiteY65" fmla="*/ 186486 h 720080"/>
              <a:gd name="connsiteX66" fmla="*/ 788040 w 948673"/>
              <a:gd name="connsiteY66" fmla="*/ 190570 h 720080"/>
              <a:gd name="connsiteX67" fmla="*/ 803013 w 948673"/>
              <a:gd name="connsiteY67" fmla="*/ 201459 h 720080"/>
              <a:gd name="connsiteX68" fmla="*/ 811180 w 948673"/>
              <a:gd name="connsiteY68" fmla="*/ 216433 h 720080"/>
              <a:gd name="connsiteX69" fmla="*/ 815264 w 948673"/>
              <a:gd name="connsiteY69" fmla="*/ 234129 h 720080"/>
              <a:gd name="connsiteX70" fmla="*/ 815264 w 948673"/>
              <a:gd name="connsiteY70" fmla="*/ 368888 h 720080"/>
              <a:gd name="connsiteX71" fmla="*/ 812542 w 948673"/>
              <a:gd name="connsiteY71" fmla="*/ 385223 h 720080"/>
              <a:gd name="connsiteX72" fmla="*/ 805736 w 948673"/>
              <a:gd name="connsiteY72" fmla="*/ 398835 h 720080"/>
              <a:gd name="connsiteX73" fmla="*/ 793485 w 948673"/>
              <a:gd name="connsiteY73" fmla="*/ 408363 h 720080"/>
              <a:gd name="connsiteX74" fmla="*/ 778511 w 948673"/>
              <a:gd name="connsiteY74" fmla="*/ 415170 h 720080"/>
              <a:gd name="connsiteX75" fmla="*/ 778511 w 948673"/>
              <a:gd name="connsiteY75" fmla="*/ 583960 h 720080"/>
              <a:gd name="connsiteX76" fmla="*/ 775789 w 948673"/>
              <a:gd name="connsiteY76" fmla="*/ 596211 h 720080"/>
              <a:gd name="connsiteX77" fmla="*/ 768983 w 948673"/>
              <a:gd name="connsiteY77" fmla="*/ 608462 h 720080"/>
              <a:gd name="connsiteX78" fmla="*/ 756732 w 948673"/>
              <a:gd name="connsiteY78" fmla="*/ 617990 h 720080"/>
              <a:gd name="connsiteX79" fmla="*/ 743120 w 948673"/>
              <a:gd name="connsiteY79" fmla="*/ 619351 h 720080"/>
              <a:gd name="connsiteX80" fmla="*/ 728146 w 948673"/>
              <a:gd name="connsiteY80" fmla="*/ 616629 h 720080"/>
              <a:gd name="connsiteX81" fmla="*/ 714534 w 948673"/>
              <a:gd name="connsiteY81" fmla="*/ 605739 h 720080"/>
              <a:gd name="connsiteX82" fmla="*/ 707728 w 948673"/>
              <a:gd name="connsiteY82" fmla="*/ 590766 h 720080"/>
              <a:gd name="connsiteX83" fmla="*/ 700922 w 948673"/>
              <a:gd name="connsiteY83" fmla="*/ 605739 h 720080"/>
              <a:gd name="connsiteX84" fmla="*/ 688671 w 948673"/>
              <a:gd name="connsiteY84" fmla="*/ 616629 h 720080"/>
              <a:gd name="connsiteX85" fmla="*/ 673698 w 948673"/>
              <a:gd name="connsiteY85" fmla="*/ 619351 h 720080"/>
              <a:gd name="connsiteX86" fmla="*/ 658724 w 948673"/>
              <a:gd name="connsiteY86" fmla="*/ 617990 h 720080"/>
              <a:gd name="connsiteX87" fmla="*/ 646473 w 948673"/>
              <a:gd name="connsiteY87" fmla="*/ 608462 h 720080"/>
              <a:gd name="connsiteX88" fmla="*/ 639667 w 948673"/>
              <a:gd name="connsiteY88" fmla="*/ 596211 h 720080"/>
              <a:gd name="connsiteX89" fmla="*/ 636945 w 948673"/>
              <a:gd name="connsiteY89" fmla="*/ 583960 h 720080"/>
              <a:gd name="connsiteX90" fmla="*/ 636945 w 948673"/>
              <a:gd name="connsiteY90" fmla="*/ 464173 h 720080"/>
              <a:gd name="connsiteX91" fmla="*/ 651918 w 948673"/>
              <a:gd name="connsiteY91" fmla="*/ 447839 h 720080"/>
              <a:gd name="connsiteX92" fmla="*/ 662808 w 948673"/>
              <a:gd name="connsiteY92" fmla="*/ 427420 h 720080"/>
              <a:gd name="connsiteX93" fmla="*/ 665530 w 948673"/>
              <a:gd name="connsiteY93" fmla="*/ 404280 h 720080"/>
              <a:gd name="connsiteX94" fmla="*/ 665530 w 948673"/>
              <a:gd name="connsiteY94" fmla="*/ 232767 h 720080"/>
              <a:gd name="connsiteX95" fmla="*/ 662808 w 948673"/>
              <a:gd name="connsiteY95" fmla="*/ 206904 h 720080"/>
              <a:gd name="connsiteX96" fmla="*/ 187746 w 948673"/>
              <a:gd name="connsiteY96" fmla="*/ 186486 h 720080"/>
              <a:gd name="connsiteX97" fmla="*/ 303449 w 948673"/>
              <a:gd name="connsiteY97" fmla="*/ 186486 h 720080"/>
              <a:gd name="connsiteX98" fmla="*/ 292559 w 948673"/>
              <a:gd name="connsiteY98" fmla="*/ 206904 h 720080"/>
              <a:gd name="connsiteX99" fmla="*/ 288476 w 948673"/>
              <a:gd name="connsiteY99" fmla="*/ 232767 h 720080"/>
              <a:gd name="connsiteX100" fmla="*/ 288476 w 948673"/>
              <a:gd name="connsiteY100" fmla="*/ 404280 h 720080"/>
              <a:gd name="connsiteX101" fmla="*/ 292559 w 948673"/>
              <a:gd name="connsiteY101" fmla="*/ 428782 h 720080"/>
              <a:gd name="connsiteX102" fmla="*/ 303449 w 948673"/>
              <a:gd name="connsiteY102" fmla="*/ 450561 h 720080"/>
              <a:gd name="connsiteX103" fmla="*/ 319784 w 948673"/>
              <a:gd name="connsiteY103" fmla="*/ 465534 h 720080"/>
              <a:gd name="connsiteX104" fmla="*/ 319784 w 948673"/>
              <a:gd name="connsiteY104" fmla="*/ 583960 h 720080"/>
              <a:gd name="connsiteX105" fmla="*/ 317061 w 948673"/>
              <a:gd name="connsiteY105" fmla="*/ 596211 h 720080"/>
              <a:gd name="connsiteX106" fmla="*/ 310255 w 948673"/>
              <a:gd name="connsiteY106" fmla="*/ 608462 h 720080"/>
              <a:gd name="connsiteX107" fmla="*/ 298004 w 948673"/>
              <a:gd name="connsiteY107" fmla="*/ 617990 h 720080"/>
              <a:gd name="connsiteX108" fmla="*/ 284392 w 948673"/>
              <a:gd name="connsiteY108" fmla="*/ 619351 h 720080"/>
              <a:gd name="connsiteX109" fmla="*/ 268058 w 948673"/>
              <a:gd name="connsiteY109" fmla="*/ 616629 h 720080"/>
              <a:gd name="connsiteX110" fmla="*/ 255807 w 948673"/>
              <a:gd name="connsiteY110" fmla="*/ 605739 h 720080"/>
              <a:gd name="connsiteX111" fmla="*/ 249001 w 948673"/>
              <a:gd name="connsiteY111" fmla="*/ 590766 h 720080"/>
              <a:gd name="connsiteX112" fmla="*/ 240833 w 948673"/>
              <a:gd name="connsiteY112" fmla="*/ 605739 h 720080"/>
              <a:gd name="connsiteX113" fmla="*/ 229944 w 948673"/>
              <a:gd name="connsiteY113" fmla="*/ 616629 h 720080"/>
              <a:gd name="connsiteX114" fmla="*/ 213609 w 948673"/>
              <a:gd name="connsiteY114" fmla="*/ 619351 h 720080"/>
              <a:gd name="connsiteX115" fmla="*/ 199997 w 948673"/>
              <a:gd name="connsiteY115" fmla="*/ 617990 h 720080"/>
              <a:gd name="connsiteX116" fmla="*/ 187746 w 948673"/>
              <a:gd name="connsiteY116" fmla="*/ 608462 h 720080"/>
              <a:gd name="connsiteX117" fmla="*/ 179579 w 948673"/>
              <a:gd name="connsiteY117" fmla="*/ 596211 h 720080"/>
              <a:gd name="connsiteX118" fmla="*/ 176856 w 948673"/>
              <a:gd name="connsiteY118" fmla="*/ 583960 h 720080"/>
              <a:gd name="connsiteX119" fmla="*/ 176856 w 948673"/>
              <a:gd name="connsiteY119" fmla="*/ 415170 h 720080"/>
              <a:gd name="connsiteX120" fmla="*/ 163244 w 948673"/>
              <a:gd name="connsiteY120" fmla="*/ 408363 h 720080"/>
              <a:gd name="connsiteX121" fmla="*/ 150993 w 948673"/>
              <a:gd name="connsiteY121" fmla="*/ 398835 h 720080"/>
              <a:gd name="connsiteX122" fmla="*/ 144187 w 948673"/>
              <a:gd name="connsiteY122" fmla="*/ 385223 h 720080"/>
              <a:gd name="connsiteX123" fmla="*/ 141465 w 948673"/>
              <a:gd name="connsiteY123" fmla="*/ 368888 h 720080"/>
              <a:gd name="connsiteX124" fmla="*/ 141465 w 948673"/>
              <a:gd name="connsiteY124" fmla="*/ 234129 h 720080"/>
              <a:gd name="connsiteX125" fmla="*/ 144187 w 948673"/>
              <a:gd name="connsiteY125" fmla="*/ 216433 h 720080"/>
              <a:gd name="connsiteX126" fmla="*/ 155077 w 948673"/>
              <a:gd name="connsiteY126" fmla="*/ 201459 h 720080"/>
              <a:gd name="connsiteX127" fmla="*/ 168689 w 948673"/>
              <a:gd name="connsiteY127" fmla="*/ 190570 h 720080"/>
              <a:gd name="connsiteX128" fmla="*/ 371509 w 948673"/>
              <a:gd name="connsiteY128" fmla="*/ 185124 h 720080"/>
              <a:gd name="connsiteX129" fmla="*/ 430041 w 948673"/>
              <a:gd name="connsiteY129" fmla="*/ 185124 h 720080"/>
              <a:gd name="connsiteX130" fmla="*/ 477684 w 948673"/>
              <a:gd name="connsiteY130" fmla="*/ 243656 h 720080"/>
              <a:gd name="connsiteX131" fmla="*/ 522604 w 948673"/>
              <a:gd name="connsiteY131" fmla="*/ 185124 h 720080"/>
              <a:gd name="connsiteX132" fmla="*/ 582497 w 948673"/>
              <a:gd name="connsiteY132" fmla="*/ 185124 h 720080"/>
              <a:gd name="connsiteX133" fmla="*/ 601554 w 948673"/>
              <a:gd name="connsiteY133" fmla="*/ 187847 h 720080"/>
              <a:gd name="connsiteX134" fmla="*/ 615166 w 948673"/>
              <a:gd name="connsiteY134" fmla="*/ 198736 h 720080"/>
              <a:gd name="connsiteX135" fmla="*/ 626056 w 948673"/>
              <a:gd name="connsiteY135" fmla="*/ 213710 h 720080"/>
              <a:gd name="connsiteX136" fmla="*/ 628778 w 948673"/>
              <a:gd name="connsiteY136" fmla="*/ 232767 h 720080"/>
              <a:gd name="connsiteX137" fmla="*/ 628778 w 948673"/>
              <a:gd name="connsiteY137" fmla="*/ 404279 h 720080"/>
              <a:gd name="connsiteX138" fmla="*/ 626056 w 948673"/>
              <a:gd name="connsiteY138" fmla="*/ 421975 h 720080"/>
              <a:gd name="connsiteX139" fmla="*/ 615166 w 948673"/>
              <a:gd name="connsiteY139" fmla="*/ 438309 h 720080"/>
              <a:gd name="connsiteX140" fmla="*/ 601554 w 948673"/>
              <a:gd name="connsiteY140" fmla="*/ 446477 h 720080"/>
              <a:gd name="connsiteX141" fmla="*/ 582497 w 948673"/>
              <a:gd name="connsiteY141" fmla="*/ 451922 h 720080"/>
              <a:gd name="connsiteX142" fmla="*/ 567524 w 948673"/>
              <a:gd name="connsiteY142" fmla="*/ 451922 h 720080"/>
              <a:gd name="connsiteX143" fmla="*/ 567524 w 948673"/>
              <a:gd name="connsiteY143" fmla="*/ 470979 h 720080"/>
              <a:gd name="connsiteX144" fmla="*/ 567524 w 948673"/>
              <a:gd name="connsiteY144" fmla="*/ 475062 h 720080"/>
              <a:gd name="connsiteX145" fmla="*/ 567524 w 948673"/>
              <a:gd name="connsiteY145" fmla="*/ 483229 h 720080"/>
              <a:gd name="connsiteX146" fmla="*/ 567524 w 948673"/>
              <a:gd name="connsiteY146" fmla="*/ 488674 h 720080"/>
              <a:gd name="connsiteX147" fmla="*/ 567524 w 948673"/>
              <a:gd name="connsiteY147" fmla="*/ 496842 h 720080"/>
              <a:gd name="connsiteX148" fmla="*/ 567524 w 948673"/>
              <a:gd name="connsiteY148" fmla="*/ 507731 h 720080"/>
              <a:gd name="connsiteX149" fmla="*/ 567524 w 948673"/>
              <a:gd name="connsiteY149" fmla="*/ 513176 h 720080"/>
              <a:gd name="connsiteX150" fmla="*/ 567524 w 948673"/>
              <a:gd name="connsiteY150" fmla="*/ 530872 h 720080"/>
              <a:gd name="connsiteX151" fmla="*/ 567524 w 948673"/>
              <a:gd name="connsiteY151" fmla="*/ 534956 h 720080"/>
              <a:gd name="connsiteX152" fmla="*/ 567524 w 948673"/>
              <a:gd name="connsiteY152" fmla="*/ 551290 h 720080"/>
              <a:gd name="connsiteX153" fmla="*/ 567524 w 948673"/>
              <a:gd name="connsiteY153" fmla="*/ 571708 h 720080"/>
              <a:gd name="connsiteX154" fmla="*/ 567524 w 948673"/>
              <a:gd name="connsiteY154" fmla="*/ 586682 h 720080"/>
              <a:gd name="connsiteX155" fmla="*/ 567524 w 948673"/>
              <a:gd name="connsiteY155" fmla="*/ 604377 h 720080"/>
              <a:gd name="connsiteX156" fmla="*/ 567524 w 948673"/>
              <a:gd name="connsiteY156" fmla="*/ 612545 h 720080"/>
              <a:gd name="connsiteX157" fmla="*/ 567524 w 948673"/>
              <a:gd name="connsiteY157" fmla="*/ 617989 h 720080"/>
              <a:gd name="connsiteX158" fmla="*/ 567524 w 948673"/>
              <a:gd name="connsiteY158" fmla="*/ 620712 h 720080"/>
              <a:gd name="connsiteX159" fmla="*/ 567524 w 948673"/>
              <a:gd name="connsiteY159" fmla="*/ 631602 h 720080"/>
              <a:gd name="connsiteX160" fmla="*/ 567524 w 948673"/>
              <a:gd name="connsiteY160" fmla="*/ 632963 h 720080"/>
              <a:gd name="connsiteX161" fmla="*/ 567524 w 948673"/>
              <a:gd name="connsiteY161" fmla="*/ 642491 h 720080"/>
              <a:gd name="connsiteX162" fmla="*/ 567524 w 948673"/>
              <a:gd name="connsiteY162" fmla="*/ 643852 h 720080"/>
              <a:gd name="connsiteX163" fmla="*/ 567524 w 948673"/>
              <a:gd name="connsiteY163" fmla="*/ 647936 h 720080"/>
              <a:gd name="connsiteX164" fmla="*/ 567524 w 948673"/>
              <a:gd name="connsiteY164" fmla="*/ 673799 h 720080"/>
              <a:gd name="connsiteX165" fmla="*/ 564801 w 948673"/>
              <a:gd name="connsiteY165" fmla="*/ 692856 h 720080"/>
              <a:gd name="connsiteX166" fmla="*/ 553911 w 948673"/>
              <a:gd name="connsiteY166" fmla="*/ 706468 h 720080"/>
              <a:gd name="connsiteX167" fmla="*/ 538938 w 948673"/>
              <a:gd name="connsiteY167" fmla="*/ 717358 h 720080"/>
              <a:gd name="connsiteX168" fmla="*/ 519881 w 948673"/>
              <a:gd name="connsiteY168" fmla="*/ 720080 h 720080"/>
              <a:gd name="connsiteX169" fmla="*/ 502185 w 948673"/>
              <a:gd name="connsiteY169" fmla="*/ 717358 h 720080"/>
              <a:gd name="connsiteX170" fmla="*/ 485851 w 948673"/>
              <a:gd name="connsiteY170" fmla="*/ 705107 h 720080"/>
              <a:gd name="connsiteX171" fmla="*/ 477684 w 948673"/>
              <a:gd name="connsiteY171" fmla="*/ 691495 h 720080"/>
              <a:gd name="connsiteX172" fmla="*/ 466794 w 948673"/>
              <a:gd name="connsiteY172" fmla="*/ 705107 h 720080"/>
              <a:gd name="connsiteX173" fmla="*/ 453182 w 948673"/>
              <a:gd name="connsiteY173" fmla="*/ 717358 h 720080"/>
              <a:gd name="connsiteX174" fmla="*/ 434125 w 948673"/>
              <a:gd name="connsiteY174" fmla="*/ 720080 h 720080"/>
              <a:gd name="connsiteX175" fmla="*/ 416429 w 948673"/>
              <a:gd name="connsiteY175" fmla="*/ 717358 h 720080"/>
              <a:gd name="connsiteX176" fmla="*/ 401456 w 948673"/>
              <a:gd name="connsiteY176" fmla="*/ 706468 h 720080"/>
              <a:gd name="connsiteX177" fmla="*/ 390566 w 948673"/>
              <a:gd name="connsiteY177" fmla="*/ 692856 h 720080"/>
              <a:gd name="connsiteX178" fmla="*/ 386482 w 948673"/>
              <a:gd name="connsiteY178" fmla="*/ 673799 h 720080"/>
              <a:gd name="connsiteX179" fmla="*/ 386482 w 948673"/>
              <a:gd name="connsiteY179" fmla="*/ 649297 h 720080"/>
              <a:gd name="connsiteX180" fmla="*/ 386482 w 948673"/>
              <a:gd name="connsiteY180" fmla="*/ 617989 h 720080"/>
              <a:gd name="connsiteX181" fmla="*/ 386482 w 948673"/>
              <a:gd name="connsiteY181" fmla="*/ 570347 h 720080"/>
              <a:gd name="connsiteX182" fmla="*/ 386482 w 948673"/>
              <a:gd name="connsiteY182" fmla="*/ 554012 h 720080"/>
              <a:gd name="connsiteX183" fmla="*/ 386482 w 948673"/>
              <a:gd name="connsiteY183" fmla="*/ 507731 h 720080"/>
              <a:gd name="connsiteX184" fmla="*/ 386482 w 948673"/>
              <a:gd name="connsiteY184" fmla="*/ 481868 h 720080"/>
              <a:gd name="connsiteX185" fmla="*/ 386482 w 948673"/>
              <a:gd name="connsiteY185" fmla="*/ 476423 h 720080"/>
              <a:gd name="connsiteX186" fmla="*/ 386482 w 948673"/>
              <a:gd name="connsiteY186" fmla="*/ 475062 h 720080"/>
              <a:gd name="connsiteX187" fmla="*/ 386482 w 948673"/>
              <a:gd name="connsiteY187" fmla="*/ 451922 h 720080"/>
              <a:gd name="connsiteX188" fmla="*/ 371509 w 948673"/>
              <a:gd name="connsiteY188" fmla="*/ 451922 h 720080"/>
              <a:gd name="connsiteX189" fmla="*/ 353813 w 948673"/>
              <a:gd name="connsiteY189" fmla="*/ 446477 h 720080"/>
              <a:gd name="connsiteX190" fmla="*/ 340202 w 948673"/>
              <a:gd name="connsiteY190" fmla="*/ 438309 h 720080"/>
              <a:gd name="connsiteX191" fmla="*/ 329312 w 948673"/>
              <a:gd name="connsiteY191" fmla="*/ 421975 h 720080"/>
              <a:gd name="connsiteX192" fmla="*/ 325228 w 948673"/>
              <a:gd name="connsiteY192" fmla="*/ 404279 h 720080"/>
              <a:gd name="connsiteX193" fmla="*/ 325228 w 948673"/>
              <a:gd name="connsiteY193" fmla="*/ 232767 h 720080"/>
              <a:gd name="connsiteX194" fmla="*/ 329312 w 948673"/>
              <a:gd name="connsiteY194" fmla="*/ 213710 h 720080"/>
              <a:gd name="connsiteX195" fmla="*/ 340202 w 948673"/>
              <a:gd name="connsiteY195" fmla="*/ 198736 h 720080"/>
              <a:gd name="connsiteX196" fmla="*/ 353813 w 948673"/>
              <a:gd name="connsiteY196" fmla="*/ 187847 h 720080"/>
              <a:gd name="connsiteX197" fmla="*/ 86598 w 948673"/>
              <a:gd name="connsiteY197" fmla="*/ 79195 h 720080"/>
              <a:gd name="connsiteX198" fmla="*/ 101945 w 948673"/>
              <a:gd name="connsiteY198" fmla="*/ 81387 h 720080"/>
              <a:gd name="connsiteX199" fmla="*/ 116195 w 948673"/>
              <a:gd name="connsiteY199" fmla="*/ 89061 h 720080"/>
              <a:gd name="connsiteX200" fmla="*/ 126061 w 948673"/>
              <a:gd name="connsiteY200" fmla="*/ 100022 h 720080"/>
              <a:gd name="connsiteX201" fmla="*/ 133734 w 948673"/>
              <a:gd name="connsiteY201" fmla="*/ 112080 h 720080"/>
              <a:gd name="connsiteX202" fmla="*/ 135927 w 948673"/>
              <a:gd name="connsiteY202" fmla="*/ 129619 h 720080"/>
              <a:gd name="connsiteX203" fmla="*/ 133734 w 948673"/>
              <a:gd name="connsiteY203" fmla="*/ 144966 h 720080"/>
              <a:gd name="connsiteX204" fmla="*/ 126061 w 948673"/>
              <a:gd name="connsiteY204" fmla="*/ 159217 h 720080"/>
              <a:gd name="connsiteX205" fmla="*/ 116195 w 948673"/>
              <a:gd name="connsiteY205" fmla="*/ 169082 h 720080"/>
              <a:gd name="connsiteX206" fmla="*/ 101945 w 948673"/>
              <a:gd name="connsiteY206" fmla="*/ 176755 h 720080"/>
              <a:gd name="connsiteX207" fmla="*/ 86598 w 948673"/>
              <a:gd name="connsiteY207" fmla="*/ 178948 h 720080"/>
              <a:gd name="connsiteX208" fmla="*/ 71252 w 948673"/>
              <a:gd name="connsiteY208" fmla="*/ 176755 h 720080"/>
              <a:gd name="connsiteX209" fmla="*/ 57001 w 948673"/>
              <a:gd name="connsiteY209" fmla="*/ 169082 h 720080"/>
              <a:gd name="connsiteX210" fmla="*/ 46039 w 948673"/>
              <a:gd name="connsiteY210" fmla="*/ 159217 h 720080"/>
              <a:gd name="connsiteX211" fmla="*/ 38366 w 948673"/>
              <a:gd name="connsiteY211" fmla="*/ 144966 h 720080"/>
              <a:gd name="connsiteX212" fmla="*/ 36174 w 948673"/>
              <a:gd name="connsiteY212" fmla="*/ 129619 h 720080"/>
              <a:gd name="connsiteX213" fmla="*/ 38366 w 948673"/>
              <a:gd name="connsiteY213" fmla="*/ 112080 h 720080"/>
              <a:gd name="connsiteX214" fmla="*/ 46039 w 948673"/>
              <a:gd name="connsiteY214" fmla="*/ 100022 h 720080"/>
              <a:gd name="connsiteX215" fmla="*/ 57001 w 948673"/>
              <a:gd name="connsiteY215" fmla="*/ 89061 h 720080"/>
              <a:gd name="connsiteX216" fmla="*/ 71252 w 948673"/>
              <a:gd name="connsiteY216" fmla="*/ 81387 h 720080"/>
              <a:gd name="connsiteX217" fmla="*/ 862074 w 948673"/>
              <a:gd name="connsiteY217" fmla="*/ 69401 h 720080"/>
              <a:gd name="connsiteX218" fmla="*/ 877421 w 948673"/>
              <a:gd name="connsiteY218" fmla="*/ 71593 h 720080"/>
              <a:gd name="connsiteX219" fmla="*/ 891671 w 948673"/>
              <a:gd name="connsiteY219" fmla="*/ 79267 h 720080"/>
              <a:gd name="connsiteX220" fmla="*/ 902633 w 948673"/>
              <a:gd name="connsiteY220" fmla="*/ 90228 h 720080"/>
              <a:gd name="connsiteX221" fmla="*/ 910307 w 948673"/>
              <a:gd name="connsiteY221" fmla="*/ 102286 h 720080"/>
              <a:gd name="connsiteX222" fmla="*/ 912499 w 948673"/>
              <a:gd name="connsiteY222" fmla="*/ 119825 h 720080"/>
              <a:gd name="connsiteX223" fmla="*/ 910307 w 948673"/>
              <a:gd name="connsiteY223" fmla="*/ 135172 h 720080"/>
              <a:gd name="connsiteX224" fmla="*/ 902633 w 948673"/>
              <a:gd name="connsiteY224" fmla="*/ 149423 h 720080"/>
              <a:gd name="connsiteX225" fmla="*/ 891671 w 948673"/>
              <a:gd name="connsiteY225" fmla="*/ 159288 h 720080"/>
              <a:gd name="connsiteX226" fmla="*/ 877421 w 948673"/>
              <a:gd name="connsiteY226" fmla="*/ 166961 h 720080"/>
              <a:gd name="connsiteX227" fmla="*/ 862074 w 948673"/>
              <a:gd name="connsiteY227" fmla="*/ 169154 h 720080"/>
              <a:gd name="connsiteX228" fmla="*/ 846728 w 948673"/>
              <a:gd name="connsiteY228" fmla="*/ 166961 h 720080"/>
              <a:gd name="connsiteX229" fmla="*/ 832477 w 948673"/>
              <a:gd name="connsiteY229" fmla="*/ 159288 h 720080"/>
              <a:gd name="connsiteX230" fmla="*/ 822612 w 948673"/>
              <a:gd name="connsiteY230" fmla="*/ 149423 h 720080"/>
              <a:gd name="connsiteX231" fmla="*/ 814938 w 948673"/>
              <a:gd name="connsiteY231" fmla="*/ 135172 h 720080"/>
              <a:gd name="connsiteX232" fmla="*/ 812746 w 948673"/>
              <a:gd name="connsiteY232" fmla="*/ 119825 h 720080"/>
              <a:gd name="connsiteX233" fmla="*/ 814938 w 948673"/>
              <a:gd name="connsiteY233" fmla="*/ 102286 h 720080"/>
              <a:gd name="connsiteX234" fmla="*/ 822612 w 948673"/>
              <a:gd name="connsiteY234" fmla="*/ 90228 h 720080"/>
              <a:gd name="connsiteX235" fmla="*/ 832477 w 948673"/>
              <a:gd name="connsiteY235" fmla="*/ 79267 h 720080"/>
              <a:gd name="connsiteX236" fmla="*/ 846728 w 948673"/>
              <a:gd name="connsiteY236" fmla="*/ 71593 h 720080"/>
              <a:gd name="connsiteX237" fmla="*/ 707727 w 948673"/>
              <a:gd name="connsiteY237" fmla="*/ 38114 h 720080"/>
              <a:gd name="connsiteX238" fmla="*/ 728146 w 948673"/>
              <a:gd name="connsiteY238" fmla="*/ 40836 h 720080"/>
              <a:gd name="connsiteX239" fmla="*/ 744480 w 948673"/>
              <a:gd name="connsiteY239" fmla="*/ 50365 h 720080"/>
              <a:gd name="connsiteX240" fmla="*/ 758092 w 948673"/>
              <a:gd name="connsiteY240" fmla="*/ 63977 h 720080"/>
              <a:gd name="connsiteX241" fmla="*/ 767621 w 948673"/>
              <a:gd name="connsiteY241" fmla="*/ 78950 h 720080"/>
              <a:gd name="connsiteX242" fmla="*/ 770343 w 948673"/>
              <a:gd name="connsiteY242" fmla="*/ 100730 h 720080"/>
              <a:gd name="connsiteX243" fmla="*/ 767621 w 948673"/>
              <a:gd name="connsiteY243" fmla="*/ 119787 h 720080"/>
              <a:gd name="connsiteX244" fmla="*/ 758092 w 948673"/>
              <a:gd name="connsiteY244" fmla="*/ 137483 h 720080"/>
              <a:gd name="connsiteX245" fmla="*/ 744480 w 948673"/>
              <a:gd name="connsiteY245" fmla="*/ 149734 h 720080"/>
              <a:gd name="connsiteX246" fmla="*/ 728146 w 948673"/>
              <a:gd name="connsiteY246" fmla="*/ 159262 h 720080"/>
              <a:gd name="connsiteX247" fmla="*/ 707727 w 948673"/>
              <a:gd name="connsiteY247" fmla="*/ 161985 h 720080"/>
              <a:gd name="connsiteX248" fmla="*/ 687309 w 948673"/>
              <a:gd name="connsiteY248" fmla="*/ 159262 h 720080"/>
              <a:gd name="connsiteX249" fmla="*/ 670975 w 948673"/>
              <a:gd name="connsiteY249" fmla="*/ 149734 h 720080"/>
              <a:gd name="connsiteX250" fmla="*/ 658724 w 948673"/>
              <a:gd name="connsiteY250" fmla="*/ 137483 h 720080"/>
              <a:gd name="connsiteX251" fmla="*/ 649195 w 948673"/>
              <a:gd name="connsiteY251" fmla="*/ 119787 h 720080"/>
              <a:gd name="connsiteX252" fmla="*/ 646473 w 948673"/>
              <a:gd name="connsiteY252" fmla="*/ 100730 h 720080"/>
              <a:gd name="connsiteX253" fmla="*/ 649195 w 948673"/>
              <a:gd name="connsiteY253" fmla="*/ 78950 h 720080"/>
              <a:gd name="connsiteX254" fmla="*/ 658724 w 948673"/>
              <a:gd name="connsiteY254" fmla="*/ 63977 h 720080"/>
              <a:gd name="connsiteX255" fmla="*/ 670975 w 948673"/>
              <a:gd name="connsiteY255" fmla="*/ 50365 h 720080"/>
              <a:gd name="connsiteX256" fmla="*/ 687309 w 948673"/>
              <a:gd name="connsiteY256" fmla="*/ 40836 h 720080"/>
              <a:gd name="connsiteX257" fmla="*/ 249000 w 948673"/>
              <a:gd name="connsiteY257" fmla="*/ 38114 h 720080"/>
              <a:gd name="connsiteX258" fmla="*/ 268057 w 948673"/>
              <a:gd name="connsiteY258" fmla="*/ 40836 h 720080"/>
              <a:gd name="connsiteX259" fmla="*/ 285753 w 948673"/>
              <a:gd name="connsiteY259" fmla="*/ 50365 h 720080"/>
              <a:gd name="connsiteX260" fmla="*/ 298004 w 948673"/>
              <a:gd name="connsiteY260" fmla="*/ 63977 h 720080"/>
              <a:gd name="connsiteX261" fmla="*/ 307532 w 948673"/>
              <a:gd name="connsiteY261" fmla="*/ 78950 h 720080"/>
              <a:gd name="connsiteX262" fmla="*/ 310255 w 948673"/>
              <a:gd name="connsiteY262" fmla="*/ 100730 h 720080"/>
              <a:gd name="connsiteX263" fmla="*/ 307532 w 948673"/>
              <a:gd name="connsiteY263" fmla="*/ 119787 h 720080"/>
              <a:gd name="connsiteX264" fmla="*/ 298004 w 948673"/>
              <a:gd name="connsiteY264" fmla="*/ 137483 h 720080"/>
              <a:gd name="connsiteX265" fmla="*/ 285753 w 948673"/>
              <a:gd name="connsiteY265" fmla="*/ 149734 h 720080"/>
              <a:gd name="connsiteX266" fmla="*/ 268057 w 948673"/>
              <a:gd name="connsiteY266" fmla="*/ 159262 h 720080"/>
              <a:gd name="connsiteX267" fmla="*/ 249000 w 948673"/>
              <a:gd name="connsiteY267" fmla="*/ 161985 h 720080"/>
              <a:gd name="connsiteX268" fmla="*/ 229943 w 948673"/>
              <a:gd name="connsiteY268" fmla="*/ 159262 h 720080"/>
              <a:gd name="connsiteX269" fmla="*/ 212248 w 948673"/>
              <a:gd name="connsiteY269" fmla="*/ 149734 h 720080"/>
              <a:gd name="connsiteX270" fmla="*/ 198636 w 948673"/>
              <a:gd name="connsiteY270" fmla="*/ 137483 h 720080"/>
              <a:gd name="connsiteX271" fmla="*/ 189107 w 948673"/>
              <a:gd name="connsiteY271" fmla="*/ 119787 h 720080"/>
              <a:gd name="connsiteX272" fmla="*/ 186385 w 948673"/>
              <a:gd name="connsiteY272" fmla="*/ 100730 h 720080"/>
              <a:gd name="connsiteX273" fmla="*/ 189107 w 948673"/>
              <a:gd name="connsiteY273" fmla="*/ 78950 h 720080"/>
              <a:gd name="connsiteX274" fmla="*/ 198636 w 948673"/>
              <a:gd name="connsiteY274" fmla="*/ 63977 h 720080"/>
              <a:gd name="connsiteX275" fmla="*/ 212248 w 948673"/>
              <a:gd name="connsiteY275" fmla="*/ 50365 h 720080"/>
              <a:gd name="connsiteX276" fmla="*/ 229943 w 948673"/>
              <a:gd name="connsiteY276" fmla="*/ 40836 h 720080"/>
              <a:gd name="connsiteX277" fmla="*/ 477684 w 948673"/>
              <a:gd name="connsiteY277" fmla="*/ 0 h 720080"/>
              <a:gd name="connsiteX278" fmla="*/ 500824 w 948673"/>
              <a:gd name="connsiteY278" fmla="*/ 4083 h 720080"/>
              <a:gd name="connsiteX279" fmla="*/ 521242 w 948673"/>
              <a:gd name="connsiteY279" fmla="*/ 14973 h 720080"/>
              <a:gd name="connsiteX280" fmla="*/ 538938 w 948673"/>
              <a:gd name="connsiteY280" fmla="*/ 32669 h 720080"/>
              <a:gd name="connsiteX281" fmla="*/ 549827 w 948673"/>
              <a:gd name="connsiteY281" fmla="*/ 53087 h 720080"/>
              <a:gd name="connsiteX282" fmla="*/ 553911 w 948673"/>
              <a:gd name="connsiteY282" fmla="*/ 76227 h 720080"/>
              <a:gd name="connsiteX283" fmla="*/ 549827 w 948673"/>
              <a:gd name="connsiteY283" fmla="*/ 102090 h 720080"/>
              <a:gd name="connsiteX284" fmla="*/ 537577 w 948673"/>
              <a:gd name="connsiteY284" fmla="*/ 123870 h 720080"/>
              <a:gd name="connsiteX285" fmla="*/ 521242 w 948673"/>
              <a:gd name="connsiteY285" fmla="*/ 140204 h 720080"/>
              <a:gd name="connsiteX286" fmla="*/ 499463 w 948673"/>
              <a:gd name="connsiteY286" fmla="*/ 149732 h 720080"/>
              <a:gd name="connsiteX287" fmla="*/ 477684 w 948673"/>
              <a:gd name="connsiteY287" fmla="*/ 152455 h 720080"/>
              <a:gd name="connsiteX288" fmla="*/ 454543 w 948673"/>
              <a:gd name="connsiteY288" fmla="*/ 149732 h 720080"/>
              <a:gd name="connsiteX289" fmla="*/ 434125 w 948673"/>
              <a:gd name="connsiteY289" fmla="*/ 140204 h 720080"/>
              <a:gd name="connsiteX290" fmla="*/ 416429 w 948673"/>
              <a:gd name="connsiteY290" fmla="*/ 123870 h 720080"/>
              <a:gd name="connsiteX291" fmla="*/ 404178 w 948673"/>
              <a:gd name="connsiteY291" fmla="*/ 102090 h 720080"/>
              <a:gd name="connsiteX292" fmla="*/ 401456 w 948673"/>
              <a:gd name="connsiteY292" fmla="*/ 76227 h 720080"/>
              <a:gd name="connsiteX293" fmla="*/ 404178 w 948673"/>
              <a:gd name="connsiteY293" fmla="*/ 53087 h 720080"/>
              <a:gd name="connsiteX294" fmla="*/ 416429 w 948673"/>
              <a:gd name="connsiteY294" fmla="*/ 32669 h 720080"/>
              <a:gd name="connsiteX295" fmla="*/ 432764 w 948673"/>
              <a:gd name="connsiteY295" fmla="*/ 14973 h 720080"/>
              <a:gd name="connsiteX296" fmla="*/ 453182 w 948673"/>
              <a:gd name="connsiteY296" fmla="*/ 4083 h 720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</a:cxnLst>
            <a:rect l="l" t="t" r="r" b="b"/>
            <a:pathLst>
              <a:path w="948673" h="720080">
                <a:moveTo>
                  <a:pt x="37270" y="198678"/>
                </a:moveTo>
                <a:lnTo>
                  <a:pt x="130446" y="198678"/>
                </a:lnTo>
                <a:lnTo>
                  <a:pt x="121676" y="215121"/>
                </a:lnTo>
                <a:lnTo>
                  <a:pt x="118388" y="235948"/>
                </a:lnTo>
                <a:lnTo>
                  <a:pt x="118388" y="374067"/>
                </a:lnTo>
                <a:lnTo>
                  <a:pt x="121676" y="393798"/>
                </a:lnTo>
                <a:lnTo>
                  <a:pt x="130446" y="411337"/>
                </a:lnTo>
                <a:lnTo>
                  <a:pt x="143600" y="423395"/>
                </a:lnTo>
                <a:lnTo>
                  <a:pt x="143600" y="518763"/>
                </a:lnTo>
                <a:lnTo>
                  <a:pt x="141407" y="528628"/>
                </a:lnTo>
                <a:lnTo>
                  <a:pt x="135926" y="538494"/>
                </a:lnTo>
                <a:lnTo>
                  <a:pt x="126061" y="546167"/>
                </a:lnTo>
                <a:lnTo>
                  <a:pt x="115099" y="547263"/>
                </a:lnTo>
                <a:lnTo>
                  <a:pt x="101945" y="545071"/>
                </a:lnTo>
                <a:lnTo>
                  <a:pt x="92079" y="536301"/>
                </a:lnTo>
                <a:lnTo>
                  <a:pt x="86598" y="524243"/>
                </a:lnTo>
                <a:lnTo>
                  <a:pt x="80021" y="536301"/>
                </a:lnTo>
                <a:lnTo>
                  <a:pt x="71252" y="545071"/>
                </a:lnTo>
                <a:lnTo>
                  <a:pt x="58097" y="547263"/>
                </a:lnTo>
                <a:lnTo>
                  <a:pt x="47136" y="546167"/>
                </a:lnTo>
                <a:lnTo>
                  <a:pt x="37270" y="538494"/>
                </a:lnTo>
                <a:lnTo>
                  <a:pt x="30693" y="528628"/>
                </a:lnTo>
                <a:lnTo>
                  <a:pt x="28501" y="518763"/>
                </a:lnTo>
                <a:lnTo>
                  <a:pt x="28501" y="382836"/>
                </a:lnTo>
                <a:lnTo>
                  <a:pt x="17539" y="377355"/>
                </a:lnTo>
                <a:lnTo>
                  <a:pt x="7673" y="369682"/>
                </a:lnTo>
                <a:lnTo>
                  <a:pt x="2192" y="358720"/>
                </a:lnTo>
                <a:lnTo>
                  <a:pt x="0" y="345566"/>
                </a:lnTo>
                <a:lnTo>
                  <a:pt x="0" y="237044"/>
                </a:lnTo>
                <a:lnTo>
                  <a:pt x="2192" y="222794"/>
                </a:lnTo>
                <a:lnTo>
                  <a:pt x="10962" y="210736"/>
                </a:lnTo>
                <a:lnTo>
                  <a:pt x="21923" y="201967"/>
                </a:lnTo>
                <a:close/>
                <a:moveTo>
                  <a:pt x="818227" y="188885"/>
                </a:moveTo>
                <a:lnTo>
                  <a:pt x="911403" y="188885"/>
                </a:lnTo>
                <a:lnTo>
                  <a:pt x="926749" y="192174"/>
                </a:lnTo>
                <a:lnTo>
                  <a:pt x="937711" y="200943"/>
                </a:lnTo>
                <a:lnTo>
                  <a:pt x="946481" y="213001"/>
                </a:lnTo>
                <a:lnTo>
                  <a:pt x="948673" y="227251"/>
                </a:lnTo>
                <a:lnTo>
                  <a:pt x="948673" y="335773"/>
                </a:lnTo>
                <a:lnTo>
                  <a:pt x="946481" y="348927"/>
                </a:lnTo>
                <a:lnTo>
                  <a:pt x="941000" y="359889"/>
                </a:lnTo>
                <a:lnTo>
                  <a:pt x="931134" y="367562"/>
                </a:lnTo>
                <a:lnTo>
                  <a:pt x="920172" y="373043"/>
                </a:lnTo>
                <a:lnTo>
                  <a:pt x="920172" y="508970"/>
                </a:lnTo>
                <a:lnTo>
                  <a:pt x="917980" y="518835"/>
                </a:lnTo>
                <a:lnTo>
                  <a:pt x="911403" y="528701"/>
                </a:lnTo>
                <a:lnTo>
                  <a:pt x="901537" y="536374"/>
                </a:lnTo>
                <a:lnTo>
                  <a:pt x="890575" y="537470"/>
                </a:lnTo>
                <a:lnTo>
                  <a:pt x="877421" y="535278"/>
                </a:lnTo>
                <a:lnTo>
                  <a:pt x="868652" y="526508"/>
                </a:lnTo>
                <a:lnTo>
                  <a:pt x="862075" y="514450"/>
                </a:lnTo>
                <a:lnTo>
                  <a:pt x="856594" y="526508"/>
                </a:lnTo>
                <a:lnTo>
                  <a:pt x="846728" y="535278"/>
                </a:lnTo>
                <a:lnTo>
                  <a:pt x="833574" y="537470"/>
                </a:lnTo>
                <a:lnTo>
                  <a:pt x="822612" y="536374"/>
                </a:lnTo>
                <a:lnTo>
                  <a:pt x="812746" y="528701"/>
                </a:lnTo>
                <a:lnTo>
                  <a:pt x="807265" y="518835"/>
                </a:lnTo>
                <a:lnTo>
                  <a:pt x="805073" y="508970"/>
                </a:lnTo>
                <a:lnTo>
                  <a:pt x="805073" y="413602"/>
                </a:lnTo>
                <a:lnTo>
                  <a:pt x="818227" y="401544"/>
                </a:lnTo>
                <a:lnTo>
                  <a:pt x="826997" y="384005"/>
                </a:lnTo>
                <a:lnTo>
                  <a:pt x="830285" y="364274"/>
                </a:lnTo>
                <a:lnTo>
                  <a:pt x="830285" y="226155"/>
                </a:lnTo>
                <a:lnTo>
                  <a:pt x="826997" y="205328"/>
                </a:lnTo>
                <a:close/>
                <a:moveTo>
                  <a:pt x="650557" y="186486"/>
                </a:moveTo>
                <a:lnTo>
                  <a:pt x="768983" y="186486"/>
                </a:lnTo>
                <a:lnTo>
                  <a:pt x="788040" y="190570"/>
                </a:lnTo>
                <a:lnTo>
                  <a:pt x="803013" y="201459"/>
                </a:lnTo>
                <a:lnTo>
                  <a:pt x="811180" y="216433"/>
                </a:lnTo>
                <a:lnTo>
                  <a:pt x="815264" y="234129"/>
                </a:lnTo>
                <a:lnTo>
                  <a:pt x="815264" y="368888"/>
                </a:lnTo>
                <a:lnTo>
                  <a:pt x="812542" y="385223"/>
                </a:lnTo>
                <a:lnTo>
                  <a:pt x="805736" y="398835"/>
                </a:lnTo>
                <a:lnTo>
                  <a:pt x="793485" y="408363"/>
                </a:lnTo>
                <a:lnTo>
                  <a:pt x="778511" y="415170"/>
                </a:lnTo>
                <a:lnTo>
                  <a:pt x="778511" y="583960"/>
                </a:lnTo>
                <a:lnTo>
                  <a:pt x="775789" y="596211"/>
                </a:lnTo>
                <a:lnTo>
                  <a:pt x="768983" y="608462"/>
                </a:lnTo>
                <a:lnTo>
                  <a:pt x="756732" y="617990"/>
                </a:lnTo>
                <a:lnTo>
                  <a:pt x="743120" y="619351"/>
                </a:lnTo>
                <a:lnTo>
                  <a:pt x="728146" y="616629"/>
                </a:lnTo>
                <a:lnTo>
                  <a:pt x="714534" y="605739"/>
                </a:lnTo>
                <a:lnTo>
                  <a:pt x="707728" y="590766"/>
                </a:lnTo>
                <a:lnTo>
                  <a:pt x="700922" y="605739"/>
                </a:lnTo>
                <a:lnTo>
                  <a:pt x="688671" y="616629"/>
                </a:lnTo>
                <a:lnTo>
                  <a:pt x="673698" y="619351"/>
                </a:lnTo>
                <a:lnTo>
                  <a:pt x="658724" y="617990"/>
                </a:lnTo>
                <a:lnTo>
                  <a:pt x="646473" y="608462"/>
                </a:lnTo>
                <a:lnTo>
                  <a:pt x="639667" y="596211"/>
                </a:lnTo>
                <a:lnTo>
                  <a:pt x="636945" y="583960"/>
                </a:lnTo>
                <a:lnTo>
                  <a:pt x="636945" y="464173"/>
                </a:lnTo>
                <a:lnTo>
                  <a:pt x="651918" y="447839"/>
                </a:lnTo>
                <a:lnTo>
                  <a:pt x="662808" y="427420"/>
                </a:lnTo>
                <a:lnTo>
                  <a:pt x="665530" y="404280"/>
                </a:lnTo>
                <a:lnTo>
                  <a:pt x="665530" y="232767"/>
                </a:lnTo>
                <a:lnTo>
                  <a:pt x="662808" y="206904"/>
                </a:lnTo>
                <a:close/>
                <a:moveTo>
                  <a:pt x="187746" y="186486"/>
                </a:moveTo>
                <a:lnTo>
                  <a:pt x="303449" y="186486"/>
                </a:lnTo>
                <a:lnTo>
                  <a:pt x="292559" y="206904"/>
                </a:lnTo>
                <a:lnTo>
                  <a:pt x="288476" y="232767"/>
                </a:lnTo>
                <a:lnTo>
                  <a:pt x="288476" y="404280"/>
                </a:lnTo>
                <a:lnTo>
                  <a:pt x="292559" y="428782"/>
                </a:lnTo>
                <a:lnTo>
                  <a:pt x="303449" y="450561"/>
                </a:lnTo>
                <a:lnTo>
                  <a:pt x="319784" y="465534"/>
                </a:lnTo>
                <a:lnTo>
                  <a:pt x="319784" y="583960"/>
                </a:lnTo>
                <a:lnTo>
                  <a:pt x="317061" y="596211"/>
                </a:lnTo>
                <a:lnTo>
                  <a:pt x="310255" y="608462"/>
                </a:lnTo>
                <a:lnTo>
                  <a:pt x="298004" y="617990"/>
                </a:lnTo>
                <a:lnTo>
                  <a:pt x="284392" y="619351"/>
                </a:lnTo>
                <a:lnTo>
                  <a:pt x="268058" y="616629"/>
                </a:lnTo>
                <a:lnTo>
                  <a:pt x="255807" y="605739"/>
                </a:lnTo>
                <a:lnTo>
                  <a:pt x="249001" y="590766"/>
                </a:lnTo>
                <a:lnTo>
                  <a:pt x="240833" y="605739"/>
                </a:lnTo>
                <a:lnTo>
                  <a:pt x="229944" y="616629"/>
                </a:lnTo>
                <a:lnTo>
                  <a:pt x="213609" y="619351"/>
                </a:lnTo>
                <a:lnTo>
                  <a:pt x="199997" y="617990"/>
                </a:lnTo>
                <a:lnTo>
                  <a:pt x="187746" y="608462"/>
                </a:lnTo>
                <a:lnTo>
                  <a:pt x="179579" y="596211"/>
                </a:lnTo>
                <a:lnTo>
                  <a:pt x="176856" y="583960"/>
                </a:lnTo>
                <a:lnTo>
                  <a:pt x="176856" y="415170"/>
                </a:lnTo>
                <a:lnTo>
                  <a:pt x="163244" y="408363"/>
                </a:lnTo>
                <a:lnTo>
                  <a:pt x="150993" y="398835"/>
                </a:lnTo>
                <a:lnTo>
                  <a:pt x="144187" y="385223"/>
                </a:lnTo>
                <a:lnTo>
                  <a:pt x="141465" y="368888"/>
                </a:lnTo>
                <a:lnTo>
                  <a:pt x="141465" y="234129"/>
                </a:lnTo>
                <a:lnTo>
                  <a:pt x="144187" y="216433"/>
                </a:lnTo>
                <a:lnTo>
                  <a:pt x="155077" y="201459"/>
                </a:lnTo>
                <a:lnTo>
                  <a:pt x="168689" y="190570"/>
                </a:lnTo>
                <a:close/>
                <a:moveTo>
                  <a:pt x="371509" y="185124"/>
                </a:moveTo>
                <a:lnTo>
                  <a:pt x="430041" y="185124"/>
                </a:lnTo>
                <a:lnTo>
                  <a:pt x="477684" y="243656"/>
                </a:lnTo>
                <a:lnTo>
                  <a:pt x="522604" y="185124"/>
                </a:lnTo>
                <a:lnTo>
                  <a:pt x="582497" y="185124"/>
                </a:lnTo>
                <a:lnTo>
                  <a:pt x="601554" y="187847"/>
                </a:lnTo>
                <a:lnTo>
                  <a:pt x="615166" y="198736"/>
                </a:lnTo>
                <a:lnTo>
                  <a:pt x="626056" y="213710"/>
                </a:lnTo>
                <a:lnTo>
                  <a:pt x="628778" y="232767"/>
                </a:lnTo>
                <a:lnTo>
                  <a:pt x="628778" y="404279"/>
                </a:lnTo>
                <a:lnTo>
                  <a:pt x="626056" y="421975"/>
                </a:lnTo>
                <a:lnTo>
                  <a:pt x="615166" y="438309"/>
                </a:lnTo>
                <a:lnTo>
                  <a:pt x="601554" y="446477"/>
                </a:lnTo>
                <a:lnTo>
                  <a:pt x="582497" y="451922"/>
                </a:lnTo>
                <a:lnTo>
                  <a:pt x="567524" y="451922"/>
                </a:lnTo>
                <a:lnTo>
                  <a:pt x="567524" y="470979"/>
                </a:lnTo>
                <a:lnTo>
                  <a:pt x="567524" y="475062"/>
                </a:lnTo>
                <a:lnTo>
                  <a:pt x="567524" y="483229"/>
                </a:lnTo>
                <a:lnTo>
                  <a:pt x="567524" y="488674"/>
                </a:lnTo>
                <a:lnTo>
                  <a:pt x="567524" y="496842"/>
                </a:lnTo>
                <a:lnTo>
                  <a:pt x="567524" y="507731"/>
                </a:lnTo>
                <a:lnTo>
                  <a:pt x="567524" y="513176"/>
                </a:lnTo>
                <a:lnTo>
                  <a:pt x="567524" y="530872"/>
                </a:lnTo>
                <a:lnTo>
                  <a:pt x="567524" y="534956"/>
                </a:lnTo>
                <a:lnTo>
                  <a:pt x="567524" y="551290"/>
                </a:lnTo>
                <a:lnTo>
                  <a:pt x="567524" y="571708"/>
                </a:lnTo>
                <a:lnTo>
                  <a:pt x="567524" y="586682"/>
                </a:lnTo>
                <a:lnTo>
                  <a:pt x="567524" y="604377"/>
                </a:lnTo>
                <a:lnTo>
                  <a:pt x="567524" y="612545"/>
                </a:lnTo>
                <a:lnTo>
                  <a:pt x="567524" y="617989"/>
                </a:lnTo>
                <a:lnTo>
                  <a:pt x="567524" y="620712"/>
                </a:lnTo>
                <a:lnTo>
                  <a:pt x="567524" y="631602"/>
                </a:lnTo>
                <a:lnTo>
                  <a:pt x="567524" y="632963"/>
                </a:lnTo>
                <a:lnTo>
                  <a:pt x="567524" y="642491"/>
                </a:lnTo>
                <a:lnTo>
                  <a:pt x="567524" y="643852"/>
                </a:lnTo>
                <a:lnTo>
                  <a:pt x="567524" y="647936"/>
                </a:lnTo>
                <a:lnTo>
                  <a:pt x="567524" y="673799"/>
                </a:lnTo>
                <a:lnTo>
                  <a:pt x="564801" y="692856"/>
                </a:lnTo>
                <a:lnTo>
                  <a:pt x="553911" y="706468"/>
                </a:lnTo>
                <a:lnTo>
                  <a:pt x="538938" y="717358"/>
                </a:lnTo>
                <a:lnTo>
                  <a:pt x="519881" y="720080"/>
                </a:lnTo>
                <a:lnTo>
                  <a:pt x="502185" y="717358"/>
                </a:lnTo>
                <a:lnTo>
                  <a:pt x="485851" y="705107"/>
                </a:lnTo>
                <a:lnTo>
                  <a:pt x="477684" y="691495"/>
                </a:lnTo>
                <a:lnTo>
                  <a:pt x="466794" y="705107"/>
                </a:lnTo>
                <a:lnTo>
                  <a:pt x="453182" y="717358"/>
                </a:lnTo>
                <a:lnTo>
                  <a:pt x="434125" y="720080"/>
                </a:lnTo>
                <a:lnTo>
                  <a:pt x="416429" y="717358"/>
                </a:lnTo>
                <a:lnTo>
                  <a:pt x="401456" y="706468"/>
                </a:lnTo>
                <a:lnTo>
                  <a:pt x="390566" y="692856"/>
                </a:lnTo>
                <a:lnTo>
                  <a:pt x="386482" y="673799"/>
                </a:lnTo>
                <a:lnTo>
                  <a:pt x="386482" y="649297"/>
                </a:lnTo>
                <a:lnTo>
                  <a:pt x="386482" y="617989"/>
                </a:lnTo>
                <a:lnTo>
                  <a:pt x="386482" y="570347"/>
                </a:lnTo>
                <a:lnTo>
                  <a:pt x="386482" y="554012"/>
                </a:lnTo>
                <a:lnTo>
                  <a:pt x="386482" y="507731"/>
                </a:lnTo>
                <a:lnTo>
                  <a:pt x="386482" y="481868"/>
                </a:lnTo>
                <a:lnTo>
                  <a:pt x="386482" y="476423"/>
                </a:lnTo>
                <a:lnTo>
                  <a:pt x="386482" y="475062"/>
                </a:lnTo>
                <a:lnTo>
                  <a:pt x="386482" y="451922"/>
                </a:lnTo>
                <a:lnTo>
                  <a:pt x="371509" y="451922"/>
                </a:lnTo>
                <a:lnTo>
                  <a:pt x="353813" y="446477"/>
                </a:lnTo>
                <a:lnTo>
                  <a:pt x="340202" y="438309"/>
                </a:lnTo>
                <a:lnTo>
                  <a:pt x="329312" y="421975"/>
                </a:lnTo>
                <a:lnTo>
                  <a:pt x="325228" y="404279"/>
                </a:lnTo>
                <a:lnTo>
                  <a:pt x="325228" y="232767"/>
                </a:lnTo>
                <a:lnTo>
                  <a:pt x="329312" y="213710"/>
                </a:lnTo>
                <a:lnTo>
                  <a:pt x="340202" y="198736"/>
                </a:lnTo>
                <a:lnTo>
                  <a:pt x="353813" y="187847"/>
                </a:lnTo>
                <a:close/>
                <a:moveTo>
                  <a:pt x="86598" y="79195"/>
                </a:moveTo>
                <a:lnTo>
                  <a:pt x="101945" y="81387"/>
                </a:lnTo>
                <a:lnTo>
                  <a:pt x="116195" y="89061"/>
                </a:lnTo>
                <a:lnTo>
                  <a:pt x="126061" y="100022"/>
                </a:lnTo>
                <a:lnTo>
                  <a:pt x="133734" y="112080"/>
                </a:lnTo>
                <a:lnTo>
                  <a:pt x="135927" y="129619"/>
                </a:lnTo>
                <a:lnTo>
                  <a:pt x="133734" y="144966"/>
                </a:lnTo>
                <a:lnTo>
                  <a:pt x="126061" y="159217"/>
                </a:lnTo>
                <a:lnTo>
                  <a:pt x="116195" y="169082"/>
                </a:lnTo>
                <a:lnTo>
                  <a:pt x="101945" y="176755"/>
                </a:lnTo>
                <a:lnTo>
                  <a:pt x="86598" y="178948"/>
                </a:lnTo>
                <a:lnTo>
                  <a:pt x="71252" y="176755"/>
                </a:lnTo>
                <a:lnTo>
                  <a:pt x="57001" y="169082"/>
                </a:lnTo>
                <a:lnTo>
                  <a:pt x="46039" y="159217"/>
                </a:lnTo>
                <a:lnTo>
                  <a:pt x="38366" y="144966"/>
                </a:lnTo>
                <a:lnTo>
                  <a:pt x="36174" y="129619"/>
                </a:lnTo>
                <a:lnTo>
                  <a:pt x="38366" y="112080"/>
                </a:lnTo>
                <a:lnTo>
                  <a:pt x="46039" y="100022"/>
                </a:lnTo>
                <a:lnTo>
                  <a:pt x="57001" y="89061"/>
                </a:lnTo>
                <a:lnTo>
                  <a:pt x="71252" y="81387"/>
                </a:lnTo>
                <a:close/>
                <a:moveTo>
                  <a:pt x="862074" y="69401"/>
                </a:moveTo>
                <a:lnTo>
                  <a:pt x="877421" y="71593"/>
                </a:lnTo>
                <a:lnTo>
                  <a:pt x="891671" y="79267"/>
                </a:lnTo>
                <a:lnTo>
                  <a:pt x="902633" y="90228"/>
                </a:lnTo>
                <a:lnTo>
                  <a:pt x="910307" y="102286"/>
                </a:lnTo>
                <a:lnTo>
                  <a:pt x="912499" y="119825"/>
                </a:lnTo>
                <a:lnTo>
                  <a:pt x="910307" y="135172"/>
                </a:lnTo>
                <a:lnTo>
                  <a:pt x="902633" y="149423"/>
                </a:lnTo>
                <a:lnTo>
                  <a:pt x="891671" y="159288"/>
                </a:lnTo>
                <a:lnTo>
                  <a:pt x="877421" y="166961"/>
                </a:lnTo>
                <a:lnTo>
                  <a:pt x="862074" y="169154"/>
                </a:lnTo>
                <a:lnTo>
                  <a:pt x="846728" y="166961"/>
                </a:lnTo>
                <a:lnTo>
                  <a:pt x="832477" y="159288"/>
                </a:lnTo>
                <a:lnTo>
                  <a:pt x="822612" y="149423"/>
                </a:lnTo>
                <a:lnTo>
                  <a:pt x="814938" y="135172"/>
                </a:lnTo>
                <a:lnTo>
                  <a:pt x="812746" y="119825"/>
                </a:lnTo>
                <a:lnTo>
                  <a:pt x="814938" y="102286"/>
                </a:lnTo>
                <a:lnTo>
                  <a:pt x="822612" y="90228"/>
                </a:lnTo>
                <a:lnTo>
                  <a:pt x="832477" y="79267"/>
                </a:lnTo>
                <a:lnTo>
                  <a:pt x="846728" y="71593"/>
                </a:lnTo>
                <a:close/>
                <a:moveTo>
                  <a:pt x="707727" y="38114"/>
                </a:moveTo>
                <a:lnTo>
                  <a:pt x="728146" y="40836"/>
                </a:lnTo>
                <a:lnTo>
                  <a:pt x="744480" y="50365"/>
                </a:lnTo>
                <a:lnTo>
                  <a:pt x="758092" y="63977"/>
                </a:lnTo>
                <a:lnTo>
                  <a:pt x="767621" y="78950"/>
                </a:lnTo>
                <a:lnTo>
                  <a:pt x="770343" y="100730"/>
                </a:lnTo>
                <a:lnTo>
                  <a:pt x="767621" y="119787"/>
                </a:lnTo>
                <a:lnTo>
                  <a:pt x="758092" y="137483"/>
                </a:lnTo>
                <a:lnTo>
                  <a:pt x="744480" y="149734"/>
                </a:lnTo>
                <a:lnTo>
                  <a:pt x="728146" y="159262"/>
                </a:lnTo>
                <a:lnTo>
                  <a:pt x="707727" y="161985"/>
                </a:lnTo>
                <a:lnTo>
                  <a:pt x="687309" y="159262"/>
                </a:lnTo>
                <a:lnTo>
                  <a:pt x="670975" y="149734"/>
                </a:lnTo>
                <a:lnTo>
                  <a:pt x="658724" y="137483"/>
                </a:lnTo>
                <a:lnTo>
                  <a:pt x="649195" y="119787"/>
                </a:lnTo>
                <a:lnTo>
                  <a:pt x="646473" y="100730"/>
                </a:lnTo>
                <a:lnTo>
                  <a:pt x="649195" y="78950"/>
                </a:lnTo>
                <a:lnTo>
                  <a:pt x="658724" y="63977"/>
                </a:lnTo>
                <a:lnTo>
                  <a:pt x="670975" y="50365"/>
                </a:lnTo>
                <a:lnTo>
                  <a:pt x="687309" y="40836"/>
                </a:lnTo>
                <a:close/>
                <a:moveTo>
                  <a:pt x="249000" y="38114"/>
                </a:moveTo>
                <a:lnTo>
                  <a:pt x="268057" y="40836"/>
                </a:lnTo>
                <a:lnTo>
                  <a:pt x="285753" y="50365"/>
                </a:lnTo>
                <a:lnTo>
                  <a:pt x="298004" y="63977"/>
                </a:lnTo>
                <a:lnTo>
                  <a:pt x="307532" y="78950"/>
                </a:lnTo>
                <a:lnTo>
                  <a:pt x="310255" y="100730"/>
                </a:lnTo>
                <a:lnTo>
                  <a:pt x="307532" y="119787"/>
                </a:lnTo>
                <a:lnTo>
                  <a:pt x="298004" y="137483"/>
                </a:lnTo>
                <a:lnTo>
                  <a:pt x="285753" y="149734"/>
                </a:lnTo>
                <a:lnTo>
                  <a:pt x="268057" y="159262"/>
                </a:lnTo>
                <a:lnTo>
                  <a:pt x="249000" y="161985"/>
                </a:lnTo>
                <a:lnTo>
                  <a:pt x="229943" y="159262"/>
                </a:lnTo>
                <a:lnTo>
                  <a:pt x="212248" y="149734"/>
                </a:lnTo>
                <a:lnTo>
                  <a:pt x="198636" y="137483"/>
                </a:lnTo>
                <a:lnTo>
                  <a:pt x="189107" y="119787"/>
                </a:lnTo>
                <a:lnTo>
                  <a:pt x="186385" y="100730"/>
                </a:lnTo>
                <a:lnTo>
                  <a:pt x="189107" y="78950"/>
                </a:lnTo>
                <a:lnTo>
                  <a:pt x="198636" y="63977"/>
                </a:lnTo>
                <a:lnTo>
                  <a:pt x="212248" y="50365"/>
                </a:lnTo>
                <a:lnTo>
                  <a:pt x="229943" y="40836"/>
                </a:lnTo>
                <a:close/>
                <a:moveTo>
                  <a:pt x="477684" y="0"/>
                </a:moveTo>
                <a:lnTo>
                  <a:pt x="500824" y="4083"/>
                </a:lnTo>
                <a:lnTo>
                  <a:pt x="521242" y="14973"/>
                </a:lnTo>
                <a:lnTo>
                  <a:pt x="538938" y="32669"/>
                </a:lnTo>
                <a:lnTo>
                  <a:pt x="549827" y="53087"/>
                </a:lnTo>
                <a:lnTo>
                  <a:pt x="553911" y="76227"/>
                </a:lnTo>
                <a:lnTo>
                  <a:pt x="549827" y="102090"/>
                </a:lnTo>
                <a:lnTo>
                  <a:pt x="537577" y="123870"/>
                </a:lnTo>
                <a:lnTo>
                  <a:pt x="521242" y="140204"/>
                </a:lnTo>
                <a:lnTo>
                  <a:pt x="499463" y="149732"/>
                </a:lnTo>
                <a:lnTo>
                  <a:pt x="477684" y="152455"/>
                </a:lnTo>
                <a:lnTo>
                  <a:pt x="454543" y="149732"/>
                </a:lnTo>
                <a:lnTo>
                  <a:pt x="434125" y="140204"/>
                </a:lnTo>
                <a:lnTo>
                  <a:pt x="416429" y="123870"/>
                </a:lnTo>
                <a:lnTo>
                  <a:pt x="404178" y="102090"/>
                </a:lnTo>
                <a:lnTo>
                  <a:pt x="401456" y="76227"/>
                </a:lnTo>
                <a:lnTo>
                  <a:pt x="404178" y="53087"/>
                </a:lnTo>
                <a:lnTo>
                  <a:pt x="416429" y="32669"/>
                </a:lnTo>
                <a:lnTo>
                  <a:pt x="432764" y="14973"/>
                </a:lnTo>
                <a:lnTo>
                  <a:pt x="453182" y="4083"/>
                </a:lnTo>
                <a:close/>
              </a:path>
            </a:pathLst>
          </a:custGeom>
          <a:noFill/>
          <a:ln w="12700">
            <a:solidFill>
              <a:schemeClr val="accent3"/>
            </a:solidFill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70542DE-F5EF-4290-9A0B-31B0E6346B6B}"/>
              </a:ext>
            </a:extLst>
          </p:cNvPr>
          <p:cNvSpPr/>
          <p:nvPr/>
        </p:nvSpPr>
        <p:spPr>
          <a:xfrm>
            <a:off x="4977792" y="1981632"/>
            <a:ext cx="722460" cy="569566"/>
          </a:xfrm>
          <a:custGeom>
            <a:avLst/>
            <a:gdLst>
              <a:gd name="connsiteX0" fmla="*/ 379599 w 430212"/>
              <a:gd name="connsiteY0" fmla="*/ 0 h 430212"/>
              <a:gd name="connsiteX1" fmla="*/ 423885 w 430212"/>
              <a:gd name="connsiteY1" fmla="*/ 76129 h 430212"/>
              <a:gd name="connsiteX2" fmla="*/ 381769 w 430212"/>
              <a:gd name="connsiteY2" fmla="*/ 65000 h 430212"/>
              <a:gd name="connsiteX3" fmla="*/ 72357 w 430212"/>
              <a:gd name="connsiteY3" fmla="*/ 358981 h 430212"/>
              <a:gd name="connsiteX4" fmla="*/ 69593 w 430212"/>
              <a:gd name="connsiteY4" fmla="*/ 358981 h 430212"/>
              <a:gd name="connsiteX5" fmla="*/ 69593 w 430212"/>
              <a:gd name="connsiteY5" fmla="*/ 321021 h 430212"/>
              <a:gd name="connsiteX6" fmla="*/ 72357 w 430212"/>
              <a:gd name="connsiteY6" fmla="*/ 321021 h 430212"/>
              <a:gd name="connsiteX7" fmla="*/ 345068 w 430212"/>
              <a:gd name="connsiteY7" fmla="*/ 55282 h 430212"/>
              <a:gd name="connsiteX8" fmla="*/ 303451 w 430212"/>
              <a:gd name="connsiteY8" fmla="*/ 44287 h 430212"/>
              <a:gd name="connsiteX9" fmla="*/ 0 w 430212"/>
              <a:gd name="connsiteY9" fmla="*/ 0 h 430212"/>
              <a:gd name="connsiteX10" fmla="*/ 37960 w 430212"/>
              <a:gd name="connsiteY10" fmla="*/ 0 h 430212"/>
              <a:gd name="connsiteX11" fmla="*/ 37960 w 430212"/>
              <a:gd name="connsiteY11" fmla="*/ 392252 h 430212"/>
              <a:gd name="connsiteX12" fmla="*/ 430212 w 430212"/>
              <a:gd name="connsiteY12" fmla="*/ 392252 h 430212"/>
              <a:gd name="connsiteX13" fmla="*/ 430212 w 430212"/>
              <a:gd name="connsiteY13" fmla="*/ 430212 h 430212"/>
              <a:gd name="connsiteX14" fmla="*/ 0 w 430212"/>
              <a:gd name="connsiteY14" fmla="*/ 430212 h 430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30212" h="430212">
                <a:moveTo>
                  <a:pt x="379599" y="0"/>
                </a:moveTo>
                <a:lnTo>
                  <a:pt x="423885" y="76129"/>
                </a:lnTo>
                <a:lnTo>
                  <a:pt x="381769" y="65000"/>
                </a:lnTo>
                <a:cubicBezTo>
                  <a:pt x="314207" y="336079"/>
                  <a:pt x="191931" y="358981"/>
                  <a:pt x="72357" y="358981"/>
                </a:cubicBezTo>
                <a:lnTo>
                  <a:pt x="69593" y="358981"/>
                </a:lnTo>
                <a:lnTo>
                  <a:pt x="69593" y="321021"/>
                </a:lnTo>
                <a:lnTo>
                  <a:pt x="72357" y="321021"/>
                </a:lnTo>
                <a:cubicBezTo>
                  <a:pt x="159659" y="321021"/>
                  <a:pt x="278941" y="320970"/>
                  <a:pt x="345068" y="55282"/>
                </a:cubicBezTo>
                <a:lnTo>
                  <a:pt x="303451" y="44287"/>
                </a:lnTo>
                <a:close/>
                <a:moveTo>
                  <a:pt x="0" y="0"/>
                </a:moveTo>
                <a:lnTo>
                  <a:pt x="37960" y="0"/>
                </a:lnTo>
                <a:lnTo>
                  <a:pt x="37960" y="392252"/>
                </a:lnTo>
                <a:lnTo>
                  <a:pt x="430212" y="392252"/>
                </a:lnTo>
                <a:lnTo>
                  <a:pt x="430212" y="430212"/>
                </a:lnTo>
                <a:lnTo>
                  <a:pt x="0" y="430212"/>
                </a:lnTo>
                <a:close/>
              </a:path>
            </a:pathLst>
          </a:custGeom>
          <a:noFill/>
          <a:ln w="12700" cap="flat">
            <a:solidFill>
              <a:schemeClr val="accent3"/>
            </a:solidFill>
            <a:prstDash val="solid"/>
            <a:miter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744837B-A882-611E-A414-2D037F1C74B7}"/>
              </a:ext>
            </a:extLst>
          </p:cNvPr>
          <p:cNvSpPr txBox="1">
            <a:spLocks/>
          </p:cNvSpPr>
          <p:nvPr/>
        </p:nvSpPr>
        <p:spPr>
          <a:xfrm>
            <a:off x="226130" y="1366838"/>
            <a:ext cx="4171335" cy="1071562"/>
          </a:xfrm>
          <a:prstGeom prst="rect">
            <a:avLst/>
          </a:prstGeom>
          <a:noFill/>
        </p:spPr>
        <p:txBody>
          <a:bodyPr lIns="36000" tIns="36000" rIns="36000" bIns="3600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76213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2913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725" indent="-1857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9013" indent="-1857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indent="-177800">
              <a:spcBef>
                <a:spcPts val="200"/>
              </a:spcBef>
              <a:spcAft>
                <a:spcPts val="200"/>
              </a:spcAft>
            </a:pPr>
            <a:r>
              <a:rPr lang="en-GB" sz="1500" dirty="0">
                <a:solidFill>
                  <a:schemeClr val="tx2"/>
                </a:solidFill>
              </a:rPr>
              <a:t>Optimum capital allocation and maximisation of returns</a:t>
            </a:r>
          </a:p>
          <a:p>
            <a:pPr marL="177800" lvl="2" indent="-177800">
              <a:spcBef>
                <a:spcPts val="200"/>
              </a:spcBef>
              <a:spcAft>
                <a:spcPts val="200"/>
              </a:spcAft>
            </a:pPr>
            <a:r>
              <a:rPr lang="en-GB" sz="1500" dirty="0">
                <a:solidFill>
                  <a:schemeClr val="tx2"/>
                </a:solidFill>
              </a:rPr>
              <a:t>Strong governance and prudent risk management</a:t>
            </a:r>
          </a:p>
          <a:p>
            <a:pPr marL="177800" lvl="2" indent="-177800">
              <a:spcBef>
                <a:spcPts val="200"/>
              </a:spcBef>
              <a:spcAft>
                <a:spcPts val="200"/>
              </a:spcAft>
            </a:pPr>
            <a:r>
              <a:rPr lang="en-GB" sz="1500" dirty="0">
                <a:solidFill>
                  <a:schemeClr val="tx2"/>
                </a:solidFill>
              </a:rPr>
              <a:t>Social responsibility in our communiti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AD41C82-4C66-DEE0-6A30-1625CC5C7521}"/>
              </a:ext>
            </a:extLst>
          </p:cNvPr>
          <p:cNvSpPr/>
          <p:nvPr/>
        </p:nvSpPr>
        <p:spPr>
          <a:xfrm>
            <a:off x="6400800" y="1880085"/>
            <a:ext cx="3200400" cy="6288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accent5"/>
                </a:solidFill>
              </a:rPr>
              <a:t>Profitable growth; all segments</a:t>
            </a:r>
            <a:endParaRPr lang="en-BW" sz="1600" dirty="0">
              <a:solidFill>
                <a:schemeClr val="accent5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93D0F41-392D-EA30-0318-214F991C46D3}"/>
              </a:ext>
            </a:extLst>
          </p:cNvPr>
          <p:cNvSpPr/>
          <p:nvPr/>
        </p:nvSpPr>
        <p:spPr>
          <a:xfrm>
            <a:off x="381000" y="3549224"/>
            <a:ext cx="4023138" cy="6288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en-US" sz="1600" dirty="0">
                <a:solidFill>
                  <a:schemeClr val="accent5"/>
                </a:solidFill>
              </a:rPr>
              <a:t>Retaining clients and ensuring value add to their lives</a:t>
            </a:r>
            <a:endParaRPr lang="en-BW" sz="1600" dirty="0">
              <a:solidFill>
                <a:schemeClr val="accent5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EDC2122-BB59-DA23-F080-8BD4538B7B0D}"/>
              </a:ext>
            </a:extLst>
          </p:cNvPr>
          <p:cNvSpPr/>
          <p:nvPr/>
        </p:nvSpPr>
        <p:spPr>
          <a:xfrm>
            <a:off x="7924800" y="3283141"/>
            <a:ext cx="4049712" cy="6288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accent5"/>
                </a:solidFill>
                <a:latin typeface="+mj-lt"/>
              </a:rPr>
              <a:t>L</a:t>
            </a:r>
            <a:r>
              <a:rPr lang="en-US" sz="1600" dirty="0">
                <a:solidFill>
                  <a:schemeClr val="accent5"/>
                </a:solidFill>
                <a:effectLst/>
                <a:latin typeface="+mj-lt"/>
              </a:rPr>
              <a:t>everage off technology </a:t>
            </a:r>
            <a:r>
              <a:rPr lang="en-US" sz="1600" dirty="0">
                <a:solidFill>
                  <a:schemeClr val="accent5"/>
                </a:solidFill>
                <a:latin typeface="+mj-lt"/>
              </a:rPr>
              <a:t>for efficiencies</a:t>
            </a:r>
            <a:endParaRPr lang="en-BW" sz="16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55445F-5A62-171C-9FF3-2A3A128AE883}"/>
              </a:ext>
            </a:extLst>
          </p:cNvPr>
          <p:cNvSpPr/>
          <p:nvPr/>
        </p:nvSpPr>
        <p:spPr>
          <a:xfrm>
            <a:off x="7837899" y="5327571"/>
            <a:ext cx="4354513" cy="6288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accent5"/>
                </a:solidFill>
                <a:effectLst/>
                <a:latin typeface="+mj-lt"/>
              </a:rPr>
              <a:t>Client centric high-performance culture </a:t>
            </a:r>
          </a:p>
          <a:p>
            <a:endParaRPr lang="en-BW" sz="1600" dirty="0">
              <a:solidFill>
                <a:schemeClr val="accent5"/>
              </a:solidFill>
              <a:latin typeface="+mj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61A5BAD-7938-2513-A412-1C870AEC5B82}"/>
              </a:ext>
            </a:extLst>
          </p:cNvPr>
          <p:cNvGrpSpPr/>
          <p:nvPr/>
        </p:nvGrpSpPr>
        <p:grpSpPr>
          <a:xfrm>
            <a:off x="4998135" y="3513210"/>
            <a:ext cx="681774" cy="557816"/>
            <a:chOff x="3367088" y="5292726"/>
            <a:chExt cx="314325" cy="257175"/>
          </a:xfrm>
          <a:solidFill>
            <a:schemeClr val="accent3"/>
          </a:solidFill>
        </p:grpSpPr>
        <p:sp>
          <p:nvSpPr>
            <p:cNvPr id="17" name="Freeform 39">
              <a:extLst>
                <a:ext uri="{FF2B5EF4-FFF2-40B4-BE49-F238E27FC236}">
                  <a16:creationId xmlns:a16="http://schemas.microsoft.com/office/drawing/2014/main" id="{5E34F739-5243-4E2E-3AB5-DEC699145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7088" y="5403851"/>
              <a:ext cx="60325" cy="134938"/>
            </a:xfrm>
            <a:custGeom>
              <a:avLst/>
              <a:gdLst>
                <a:gd name="T0" fmla="*/ 125 w 167"/>
                <a:gd name="T1" fmla="*/ 0 h 368"/>
                <a:gd name="T2" fmla="*/ 167 w 167"/>
                <a:gd name="T3" fmla="*/ 41 h 368"/>
                <a:gd name="T4" fmla="*/ 167 w 167"/>
                <a:gd name="T5" fmla="*/ 326 h 368"/>
                <a:gd name="T6" fmla="*/ 125 w 167"/>
                <a:gd name="T7" fmla="*/ 368 h 368"/>
                <a:gd name="T8" fmla="*/ 0 w 167"/>
                <a:gd name="T9" fmla="*/ 368 h 368"/>
                <a:gd name="T10" fmla="*/ 0 w 167"/>
                <a:gd name="T11" fmla="*/ 342 h 368"/>
                <a:gd name="T12" fmla="*/ 114 w 167"/>
                <a:gd name="T13" fmla="*/ 342 h 368"/>
                <a:gd name="T14" fmla="*/ 141 w 167"/>
                <a:gd name="T15" fmla="*/ 316 h 368"/>
                <a:gd name="T16" fmla="*/ 141 w 167"/>
                <a:gd name="T17" fmla="*/ 52 h 368"/>
                <a:gd name="T18" fmla="*/ 114 w 167"/>
                <a:gd name="T19" fmla="*/ 26 h 368"/>
                <a:gd name="T20" fmla="*/ 0 w 167"/>
                <a:gd name="T21" fmla="*/ 26 h 368"/>
                <a:gd name="T22" fmla="*/ 0 w 167"/>
                <a:gd name="T23" fmla="*/ 0 h 368"/>
                <a:gd name="T24" fmla="*/ 125 w 167"/>
                <a:gd name="T25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7" h="368">
                  <a:moveTo>
                    <a:pt x="125" y="0"/>
                  </a:moveTo>
                  <a:lnTo>
                    <a:pt x="167" y="41"/>
                  </a:lnTo>
                  <a:lnTo>
                    <a:pt x="167" y="326"/>
                  </a:lnTo>
                  <a:lnTo>
                    <a:pt x="125" y="368"/>
                  </a:lnTo>
                  <a:lnTo>
                    <a:pt x="0" y="368"/>
                  </a:lnTo>
                  <a:lnTo>
                    <a:pt x="0" y="342"/>
                  </a:lnTo>
                  <a:lnTo>
                    <a:pt x="114" y="342"/>
                  </a:lnTo>
                  <a:lnTo>
                    <a:pt x="141" y="316"/>
                  </a:lnTo>
                  <a:lnTo>
                    <a:pt x="141" y="52"/>
                  </a:lnTo>
                  <a:lnTo>
                    <a:pt x="114" y="26"/>
                  </a:lnTo>
                  <a:lnTo>
                    <a:pt x="0" y="26"/>
                  </a:lnTo>
                  <a:lnTo>
                    <a:pt x="0" y="0"/>
                  </a:lnTo>
                  <a:lnTo>
                    <a:pt x="1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40">
              <a:extLst>
                <a:ext uri="{FF2B5EF4-FFF2-40B4-BE49-F238E27FC236}">
                  <a16:creationId xmlns:a16="http://schemas.microsoft.com/office/drawing/2014/main" id="{EA99159D-03E5-39DF-6E66-D567304D2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0113" y="5421313"/>
              <a:ext cx="203200" cy="128588"/>
            </a:xfrm>
            <a:custGeom>
              <a:avLst/>
              <a:gdLst>
                <a:gd name="T0" fmla="*/ 526 w 560"/>
                <a:gd name="T1" fmla="*/ 224 h 352"/>
                <a:gd name="T2" fmla="*/ 560 w 560"/>
                <a:gd name="T3" fmla="*/ 257 h 352"/>
                <a:gd name="T4" fmla="*/ 560 w 560"/>
                <a:gd name="T5" fmla="*/ 318 h 352"/>
                <a:gd name="T6" fmla="*/ 527 w 560"/>
                <a:gd name="T7" fmla="*/ 352 h 352"/>
                <a:gd name="T8" fmla="*/ 166 w 560"/>
                <a:gd name="T9" fmla="*/ 352 h 352"/>
                <a:gd name="T10" fmla="*/ 49 w 560"/>
                <a:gd name="T11" fmla="*/ 235 h 352"/>
                <a:gd name="T12" fmla="*/ 0 w 560"/>
                <a:gd name="T13" fmla="*/ 235 h 352"/>
                <a:gd name="T14" fmla="*/ 0 w 560"/>
                <a:gd name="T15" fmla="*/ 209 h 352"/>
                <a:gd name="T16" fmla="*/ 60 w 560"/>
                <a:gd name="T17" fmla="*/ 209 h 352"/>
                <a:gd name="T18" fmla="*/ 177 w 560"/>
                <a:gd name="T19" fmla="*/ 326 h 352"/>
                <a:gd name="T20" fmla="*/ 515 w 560"/>
                <a:gd name="T21" fmla="*/ 326 h 352"/>
                <a:gd name="T22" fmla="*/ 534 w 560"/>
                <a:gd name="T23" fmla="*/ 308 h 352"/>
                <a:gd name="T24" fmla="*/ 534 w 560"/>
                <a:gd name="T25" fmla="*/ 268 h 352"/>
                <a:gd name="T26" fmla="*/ 515 w 560"/>
                <a:gd name="T27" fmla="*/ 250 h 352"/>
                <a:gd name="T28" fmla="*/ 279 w 560"/>
                <a:gd name="T29" fmla="*/ 250 h 352"/>
                <a:gd name="T30" fmla="*/ 175 w 560"/>
                <a:gd name="T31" fmla="*/ 145 h 352"/>
                <a:gd name="T32" fmla="*/ 193 w 560"/>
                <a:gd name="T33" fmla="*/ 127 h 352"/>
                <a:gd name="T34" fmla="*/ 290 w 560"/>
                <a:gd name="T35" fmla="*/ 224 h 352"/>
                <a:gd name="T36" fmla="*/ 316 w 560"/>
                <a:gd name="T37" fmla="*/ 224 h 352"/>
                <a:gd name="T38" fmla="*/ 344 w 560"/>
                <a:gd name="T39" fmla="*/ 195 h 352"/>
                <a:gd name="T40" fmla="*/ 344 w 560"/>
                <a:gd name="T41" fmla="*/ 169 h 352"/>
                <a:gd name="T42" fmla="*/ 200 w 560"/>
                <a:gd name="T43" fmla="*/ 26 h 352"/>
                <a:gd name="T44" fmla="*/ 0 w 560"/>
                <a:gd name="T45" fmla="*/ 26 h 352"/>
                <a:gd name="T46" fmla="*/ 0 w 560"/>
                <a:gd name="T47" fmla="*/ 0 h 352"/>
                <a:gd name="T48" fmla="*/ 211 w 560"/>
                <a:gd name="T49" fmla="*/ 0 h 352"/>
                <a:gd name="T50" fmla="*/ 370 w 560"/>
                <a:gd name="T51" fmla="*/ 159 h 352"/>
                <a:gd name="T52" fmla="*/ 370 w 560"/>
                <a:gd name="T53" fmla="*/ 206 h 352"/>
                <a:gd name="T54" fmla="*/ 353 w 560"/>
                <a:gd name="T55" fmla="*/ 224 h 352"/>
                <a:gd name="T56" fmla="*/ 526 w 560"/>
                <a:gd name="T57" fmla="*/ 224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60" h="352">
                  <a:moveTo>
                    <a:pt x="526" y="224"/>
                  </a:moveTo>
                  <a:lnTo>
                    <a:pt x="560" y="257"/>
                  </a:lnTo>
                  <a:lnTo>
                    <a:pt x="560" y="318"/>
                  </a:lnTo>
                  <a:lnTo>
                    <a:pt x="527" y="352"/>
                  </a:lnTo>
                  <a:lnTo>
                    <a:pt x="166" y="352"/>
                  </a:lnTo>
                  <a:lnTo>
                    <a:pt x="49" y="235"/>
                  </a:lnTo>
                  <a:lnTo>
                    <a:pt x="0" y="235"/>
                  </a:lnTo>
                  <a:lnTo>
                    <a:pt x="0" y="209"/>
                  </a:lnTo>
                  <a:lnTo>
                    <a:pt x="60" y="209"/>
                  </a:lnTo>
                  <a:lnTo>
                    <a:pt x="177" y="326"/>
                  </a:lnTo>
                  <a:lnTo>
                    <a:pt x="515" y="326"/>
                  </a:lnTo>
                  <a:lnTo>
                    <a:pt x="534" y="308"/>
                  </a:lnTo>
                  <a:lnTo>
                    <a:pt x="534" y="268"/>
                  </a:lnTo>
                  <a:lnTo>
                    <a:pt x="515" y="250"/>
                  </a:lnTo>
                  <a:lnTo>
                    <a:pt x="279" y="250"/>
                  </a:lnTo>
                  <a:lnTo>
                    <a:pt x="175" y="145"/>
                  </a:lnTo>
                  <a:lnTo>
                    <a:pt x="193" y="127"/>
                  </a:lnTo>
                  <a:lnTo>
                    <a:pt x="290" y="224"/>
                  </a:lnTo>
                  <a:lnTo>
                    <a:pt x="316" y="224"/>
                  </a:lnTo>
                  <a:lnTo>
                    <a:pt x="344" y="195"/>
                  </a:lnTo>
                  <a:lnTo>
                    <a:pt x="344" y="169"/>
                  </a:lnTo>
                  <a:lnTo>
                    <a:pt x="200" y="26"/>
                  </a:lnTo>
                  <a:lnTo>
                    <a:pt x="0" y="26"/>
                  </a:lnTo>
                  <a:lnTo>
                    <a:pt x="0" y="0"/>
                  </a:lnTo>
                  <a:lnTo>
                    <a:pt x="211" y="0"/>
                  </a:lnTo>
                  <a:lnTo>
                    <a:pt x="370" y="159"/>
                  </a:lnTo>
                  <a:lnTo>
                    <a:pt x="370" y="206"/>
                  </a:lnTo>
                  <a:lnTo>
                    <a:pt x="353" y="224"/>
                  </a:lnTo>
                  <a:lnTo>
                    <a:pt x="526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41">
              <a:extLst>
                <a:ext uri="{FF2B5EF4-FFF2-40B4-BE49-F238E27FC236}">
                  <a16:creationId xmlns:a16="http://schemas.microsoft.com/office/drawing/2014/main" id="{B64893E7-C0CD-8928-A4A5-19D4D2C774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9650" y="5292726"/>
              <a:ext cx="131763" cy="174625"/>
            </a:xfrm>
            <a:custGeom>
              <a:avLst/>
              <a:gdLst>
                <a:gd name="T0" fmla="*/ 0 w 363"/>
                <a:gd name="T1" fmla="*/ 472 h 477"/>
                <a:gd name="T2" fmla="*/ 66 w 363"/>
                <a:gd name="T3" fmla="*/ 368 h 477"/>
                <a:gd name="T4" fmla="*/ 182 w 363"/>
                <a:gd name="T5" fmla="*/ 330 h 477"/>
                <a:gd name="T6" fmla="*/ 298 w 363"/>
                <a:gd name="T7" fmla="*/ 368 h 477"/>
                <a:gd name="T8" fmla="*/ 363 w 363"/>
                <a:gd name="T9" fmla="*/ 472 h 477"/>
                <a:gd name="T10" fmla="*/ 341 w 363"/>
                <a:gd name="T11" fmla="*/ 477 h 477"/>
                <a:gd name="T12" fmla="*/ 182 w 363"/>
                <a:gd name="T13" fmla="*/ 354 h 477"/>
                <a:gd name="T14" fmla="*/ 23 w 363"/>
                <a:gd name="T15" fmla="*/ 477 h 477"/>
                <a:gd name="T16" fmla="*/ 0 w 363"/>
                <a:gd name="T17" fmla="*/ 472 h 477"/>
                <a:gd name="T18" fmla="*/ 182 w 363"/>
                <a:gd name="T19" fmla="*/ 286 h 477"/>
                <a:gd name="T20" fmla="*/ 81 w 363"/>
                <a:gd name="T21" fmla="*/ 244 h 477"/>
                <a:gd name="T22" fmla="*/ 39 w 363"/>
                <a:gd name="T23" fmla="*/ 143 h 477"/>
                <a:gd name="T24" fmla="*/ 81 w 363"/>
                <a:gd name="T25" fmla="*/ 42 h 477"/>
                <a:gd name="T26" fmla="*/ 182 w 363"/>
                <a:gd name="T27" fmla="*/ 0 h 477"/>
                <a:gd name="T28" fmla="*/ 284 w 363"/>
                <a:gd name="T29" fmla="*/ 42 h 477"/>
                <a:gd name="T30" fmla="*/ 325 w 363"/>
                <a:gd name="T31" fmla="*/ 143 h 477"/>
                <a:gd name="T32" fmla="*/ 284 w 363"/>
                <a:gd name="T33" fmla="*/ 244 h 477"/>
                <a:gd name="T34" fmla="*/ 182 w 363"/>
                <a:gd name="T35" fmla="*/ 286 h 477"/>
                <a:gd name="T36" fmla="*/ 182 w 363"/>
                <a:gd name="T37" fmla="*/ 23 h 477"/>
                <a:gd name="T38" fmla="*/ 62 w 363"/>
                <a:gd name="T39" fmla="*/ 143 h 477"/>
                <a:gd name="T40" fmla="*/ 182 w 363"/>
                <a:gd name="T41" fmla="*/ 263 h 477"/>
                <a:gd name="T42" fmla="*/ 302 w 363"/>
                <a:gd name="T43" fmla="*/ 143 h 477"/>
                <a:gd name="T44" fmla="*/ 182 w 363"/>
                <a:gd name="T45" fmla="*/ 23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3" h="477">
                  <a:moveTo>
                    <a:pt x="0" y="472"/>
                  </a:moveTo>
                  <a:cubicBezTo>
                    <a:pt x="10" y="429"/>
                    <a:pt x="32" y="393"/>
                    <a:pt x="66" y="368"/>
                  </a:cubicBezTo>
                  <a:cubicBezTo>
                    <a:pt x="98" y="343"/>
                    <a:pt x="139" y="330"/>
                    <a:pt x="182" y="330"/>
                  </a:cubicBezTo>
                  <a:cubicBezTo>
                    <a:pt x="225" y="330"/>
                    <a:pt x="266" y="343"/>
                    <a:pt x="298" y="368"/>
                  </a:cubicBezTo>
                  <a:cubicBezTo>
                    <a:pt x="331" y="393"/>
                    <a:pt x="353" y="429"/>
                    <a:pt x="363" y="472"/>
                  </a:cubicBezTo>
                  <a:lnTo>
                    <a:pt x="341" y="477"/>
                  </a:lnTo>
                  <a:cubicBezTo>
                    <a:pt x="321" y="392"/>
                    <a:pt x="248" y="354"/>
                    <a:pt x="182" y="354"/>
                  </a:cubicBezTo>
                  <a:cubicBezTo>
                    <a:pt x="117" y="354"/>
                    <a:pt x="44" y="392"/>
                    <a:pt x="23" y="477"/>
                  </a:cubicBezTo>
                  <a:lnTo>
                    <a:pt x="0" y="472"/>
                  </a:lnTo>
                  <a:close/>
                  <a:moveTo>
                    <a:pt x="182" y="286"/>
                  </a:moveTo>
                  <a:cubicBezTo>
                    <a:pt x="144" y="286"/>
                    <a:pt x="108" y="271"/>
                    <a:pt x="81" y="244"/>
                  </a:cubicBezTo>
                  <a:cubicBezTo>
                    <a:pt x="54" y="218"/>
                    <a:pt x="39" y="182"/>
                    <a:pt x="39" y="143"/>
                  </a:cubicBezTo>
                  <a:cubicBezTo>
                    <a:pt x="39" y="105"/>
                    <a:pt x="54" y="69"/>
                    <a:pt x="81" y="42"/>
                  </a:cubicBezTo>
                  <a:cubicBezTo>
                    <a:pt x="108" y="15"/>
                    <a:pt x="144" y="0"/>
                    <a:pt x="182" y="0"/>
                  </a:cubicBezTo>
                  <a:cubicBezTo>
                    <a:pt x="221" y="0"/>
                    <a:pt x="257" y="15"/>
                    <a:pt x="284" y="42"/>
                  </a:cubicBezTo>
                  <a:cubicBezTo>
                    <a:pt x="310" y="69"/>
                    <a:pt x="325" y="105"/>
                    <a:pt x="325" y="143"/>
                  </a:cubicBezTo>
                  <a:cubicBezTo>
                    <a:pt x="325" y="182"/>
                    <a:pt x="310" y="218"/>
                    <a:pt x="284" y="244"/>
                  </a:cubicBezTo>
                  <a:cubicBezTo>
                    <a:pt x="257" y="271"/>
                    <a:pt x="221" y="286"/>
                    <a:pt x="182" y="286"/>
                  </a:cubicBezTo>
                  <a:close/>
                  <a:moveTo>
                    <a:pt x="182" y="23"/>
                  </a:moveTo>
                  <a:cubicBezTo>
                    <a:pt x="115" y="23"/>
                    <a:pt x="62" y="76"/>
                    <a:pt x="62" y="143"/>
                  </a:cubicBezTo>
                  <a:cubicBezTo>
                    <a:pt x="62" y="210"/>
                    <a:pt x="115" y="263"/>
                    <a:pt x="182" y="263"/>
                  </a:cubicBezTo>
                  <a:cubicBezTo>
                    <a:pt x="250" y="263"/>
                    <a:pt x="302" y="210"/>
                    <a:pt x="302" y="143"/>
                  </a:cubicBezTo>
                  <a:cubicBezTo>
                    <a:pt x="302" y="76"/>
                    <a:pt x="250" y="23"/>
                    <a:pt x="18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3" name="Graphic 20" descr="Internet Of Things outline">
            <a:extLst>
              <a:ext uri="{FF2B5EF4-FFF2-40B4-BE49-F238E27FC236}">
                <a16:creationId xmlns:a16="http://schemas.microsoft.com/office/drawing/2014/main" id="{DC804839-5C60-8078-9ED8-0782DE5BD108}"/>
              </a:ext>
            </a:extLst>
          </p:cNvPr>
          <p:cNvGrpSpPr/>
          <p:nvPr/>
        </p:nvGrpSpPr>
        <p:grpSpPr>
          <a:xfrm>
            <a:off x="6511437" y="3406203"/>
            <a:ext cx="857248" cy="771829"/>
            <a:chOff x="5667365" y="3038323"/>
            <a:chExt cx="857248" cy="771829"/>
          </a:xfrm>
          <a:solidFill>
            <a:schemeClr val="accent3"/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EE61F55-B3B2-4FAB-DFBB-7BD881BFA968}"/>
                </a:ext>
              </a:extLst>
            </p:cNvPr>
            <p:cNvSpPr/>
            <p:nvPr/>
          </p:nvSpPr>
          <p:spPr>
            <a:xfrm>
              <a:off x="5743566" y="3152899"/>
              <a:ext cx="171458" cy="185060"/>
            </a:xfrm>
            <a:custGeom>
              <a:avLst/>
              <a:gdLst>
                <a:gd name="connsiteX0" fmla="*/ 38109 w 171458"/>
                <a:gd name="connsiteY0" fmla="*/ 76076 h 185060"/>
                <a:gd name="connsiteX1" fmla="*/ 74856 w 171458"/>
                <a:gd name="connsiteY1" fmla="*/ 47501 h 185060"/>
                <a:gd name="connsiteX2" fmla="*/ 123834 w 171458"/>
                <a:gd name="connsiteY2" fmla="*/ 47501 h 185060"/>
                <a:gd name="connsiteX3" fmla="*/ 152409 w 171458"/>
                <a:gd name="connsiteY3" fmla="*/ 76076 h 185060"/>
                <a:gd name="connsiteX4" fmla="*/ 152409 w 171458"/>
                <a:gd name="connsiteY4" fmla="*/ 185061 h 185060"/>
                <a:gd name="connsiteX5" fmla="*/ 165287 w 171458"/>
                <a:gd name="connsiteY5" fmla="*/ 181756 h 185060"/>
                <a:gd name="connsiteX6" fmla="*/ 171459 w 171458"/>
                <a:gd name="connsiteY6" fmla="*/ 165668 h 185060"/>
                <a:gd name="connsiteX7" fmla="*/ 171459 w 171458"/>
                <a:gd name="connsiteY7" fmla="*/ 76076 h 185060"/>
                <a:gd name="connsiteX8" fmla="*/ 123834 w 171458"/>
                <a:gd name="connsiteY8" fmla="*/ 28451 h 185060"/>
                <a:gd name="connsiteX9" fmla="*/ 74847 w 171458"/>
                <a:gd name="connsiteY9" fmla="*/ 28451 h 185060"/>
                <a:gd name="connsiteX10" fmla="*/ 28451 w 171458"/>
                <a:gd name="connsiteY10" fmla="*/ 1239 h 185060"/>
                <a:gd name="connsiteX11" fmla="*/ 1238 w 171458"/>
                <a:gd name="connsiteY11" fmla="*/ 47634 h 185060"/>
                <a:gd name="connsiteX12" fmla="*/ 38109 w 171458"/>
                <a:gd name="connsiteY12" fmla="*/ 76076 h 185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1458" h="185060">
                  <a:moveTo>
                    <a:pt x="38109" y="76076"/>
                  </a:moveTo>
                  <a:cubicBezTo>
                    <a:pt x="55429" y="76011"/>
                    <a:pt x="70526" y="64271"/>
                    <a:pt x="74856" y="47501"/>
                  </a:cubicBezTo>
                  <a:lnTo>
                    <a:pt x="123834" y="47501"/>
                  </a:lnTo>
                  <a:cubicBezTo>
                    <a:pt x="139616" y="47501"/>
                    <a:pt x="152409" y="60294"/>
                    <a:pt x="152409" y="76076"/>
                  </a:cubicBezTo>
                  <a:lnTo>
                    <a:pt x="152409" y="185061"/>
                  </a:lnTo>
                  <a:cubicBezTo>
                    <a:pt x="156638" y="183765"/>
                    <a:pt x="160924" y="182641"/>
                    <a:pt x="165287" y="181756"/>
                  </a:cubicBezTo>
                  <a:cubicBezTo>
                    <a:pt x="167038" y="176281"/>
                    <a:pt x="169098" y="170910"/>
                    <a:pt x="171459" y="165668"/>
                  </a:cubicBezTo>
                  <a:lnTo>
                    <a:pt x="171459" y="76076"/>
                  </a:lnTo>
                  <a:cubicBezTo>
                    <a:pt x="171427" y="49786"/>
                    <a:pt x="150124" y="28482"/>
                    <a:pt x="123834" y="28451"/>
                  </a:cubicBezTo>
                  <a:lnTo>
                    <a:pt x="74847" y="28451"/>
                  </a:lnTo>
                  <a:cubicBezTo>
                    <a:pt x="69549" y="8124"/>
                    <a:pt x="48778" y="-4059"/>
                    <a:pt x="28451" y="1239"/>
                  </a:cubicBezTo>
                  <a:cubicBezTo>
                    <a:pt x="8125" y="6536"/>
                    <a:pt x="-4058" y="27308"/>
                    <a:pt x="1238" y="47634"/>
                  </a:cubicBezTo>
                  <a:cubicBezTo>
                    <a:pt x="5610" y="64410"/>
                    <a:pt x="20773" y="76106"/>
                    <a:pt x="38109" y="76076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18B7700-E835-437A-C139-93C00FE50A6F}"/>
                </a:ext>
              </a:extLst>
            </p:cNvPr>
            <p:cNvSpPr/>
            <p:nvPr/>
          </p:nvSpPr>
          <p:spPr>
            <a:xfrm>
              <a:off x="5667365" y="3362173"/>
              <a:ext cx="157752" cy="181126"/>
            </a:xfrm>
            <a:custGeom>
              <a:avLst/>
              <a:gdLst>
                <a:gd name="connsiteX0" fmla="*/ 146399 w 157752"/>
                <a:gd name="connsiteY0" fmla="*/ 162077 h 181126"/>
                <a:gd name="connsiteX1" fmla="*/ 76209 w 157752"/>
                <a:gd name="connsiteY1" fmla="*/ 162077 h 181126"/>
                <a:gd name="connsiteX2" fmla="*/ 47634 w 157752"/>
                <a:gd name="connsiteY2" fmla="*/ 133502 h 181126"/>
                <a:gd name="connsiteX3" fmla="*/ 47634 w 157752"/>
                <a:gd name="connsiteY3" fmla="*/ 74999 h 181126"/>
                <a:gd name="connsiteX4" fmla="*/ 75000 w 157752"/>
                <a:gd name="connsiteY4" fmla="*/ 28584 h 181126"/>
                <a:gd name="connsiteX5" fmla="*/ 28584 w 157752"/>
                <a:gd name="connsiteY5" fmla="*/ 1219 h 181126"/>
                <a:gd name="connsiteX6" fmla="*/ 1219 w 157752"/>
                <a:gd name="connsiteY6" fmla="*/ 47634 h 181126"/>
                <a:gd name="connsiteX7" fmla="*/ 28584 w 157752"/>
                <a:gd name="connsiteY7" fmla="*/ 74999 h 181126"/>
                <a:gd name="connsiteX8" fmla="*/ 28584 w 157752"/>
                <a:gd name="connsiteY8" fmla="*/ 133502 h 181126"/>
                <a:gd name="connsiteX9" fmla="*/ 76209 w 157752"/>
                <a:gd name="connsiteY9" fmla="*/ 181127 h 181126"/>
                <a:gd name="connsiteX10" fmla="*/ 157753 w 157752"/>
                <a:gd name="connsiteY10" fmla="*/ 181127 h 181126"/>
                <a:gd name="connsiteX11" fmla="*/ 146399 w 157752"/>
                <a:gd name="connsiteY11" fmla="*/ 162077 h 181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7752" h="181126">
                  <a:moveTo>
                    <a:pt x="146399" y="162077"/>
                  </a:moveTo>
                  <a:lnTo>
                    <a:pt x="76209" y="162077"/>
                  </a:lnTo>
                  <a:cubicBezTo>
                    <a:pt x="60428" y="162077"/>
                    <a:pt x="47634" y="149284"/>
                    <a:pt x="47634" y="133502"/>
                  </a:cubicBezTo>
                  <a:lnTo>
                    <a:pt x="47634" y="74999"/>
                  </a:lnTo>
                  <a:cubicBezTo>
                    <a:pt x="68008" y="69739"/>
                    <a:pt x="80260" y="48958"/>
                    <a:pt x="75000" y="28584"/>
                  </a:cubicBezTo>
                  <a:cubicBezTo>
                    <a:pt x="69739" y="8210"/>
                    <a:pt x="48958" y="-4041"/>
                    <a:pt x="28584" y="1219"/>
                  </a:cubicBezTo>
                  <a:cubicBezTo>
                    <a:pt x="8210" y="6479"/>
                    <a:pt x="-4041" y="27260"/>
                    <a:pt x="1219" y="47634"/>
                  </a:cubicBezTo>
                  <a:cubicBezTo>
                    <a:pt x="4684" y="61055"/>
                    <a:pt x="15164" y="71534"/>
                    <a:pt x="28584" y="74999"/>
                  </a:cubicBezTo>
                  <a:lnTo>
                    <a:pt x="28584" y="133502"/>
                  </a:lnTo>
                  <a:cubicBezTo>
                    <a:pt x="28616" y="159792"/>
                    <a:pt x="49920" y="181096"/>
                    <a:pt x="76209" y="181127"/>
                  </a:cubicBezTo>
                  <a:lnTo>
                    <a:pt x="157753" y="181127"/>
                  </a:lnTo>
                  <a:cubicBezTo>
                    <a:pt x="153447" y="175102"/>
                    <a:pt x="149650" y="168730"/>
                    <a:pt x="146399" y="162077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CD029B8-6B1A-3657-BF6C-C19FB25E2858}"/>
                </a:ext>
              </a:extLst>
            </p:cNvPr>
            <p:cNvSpPr/>
            <p:nvPr/>
          </p:nvSpPr>
          <p:spPr>
            <a:xfrm>
              <a:off x="6038840" y="3038323"/>
              <a:ext cx="76218" cy="193947"/>
            </a:xfrm>
            <a:custGeom>
              <a:avLst/>
              <a:gdLst>
                <a:gd name="connsiteX0" fmla="*/ 28584 w 76218"/>
                <a:gd name="connsiteY0" fmla="*/ 74999 h 193947"/>
                <a:gd name="connsiteX1" fmla="*/ 28584 w 76218"/>
                <a:gd name="connsiteY1" fmla="*/ 191328 h 193947"/>
                <a:gd name="connsiteX2" fmla="*/ 47634 w 76218"/>
                <a:gd name="connsiteY2" fmla="*/ 193948 h 193947"/>
                <a:gd name="connsiteX3" fmla="*/ 47634 w 76218"/>
                <a:gd name="connsiteY3" fmla="*/ 74999 h 193947"/>
                <a:gd name="connsiteX4" fmla="*/ 75000 w 76218"/>
                <a:gd name="connsiteY4" fmla="*/ 28584 h 193947"/>
                <a:gd name="connsiteX5" fmla="*/ 28584 w 76218"/>
                <a:gd name="connsiteY5" fmla="*/ 1219 h 193947"/>
                <a:gd name="connsiteX6" fmla="*/ 1219 w 76218"/>
                <a:gd name="connsiteY6" fmla="*/ 47634 h 193947"/>
                <a:gd name="connsiteX7" fmla="*/ 28584 w 76218"/>
                <a:gd name="connsiteY7" fmla="*/ 74999 h 193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218" h="193947">
                  <a:moveTo>
                    <a:pt x="28584" y="74999"/>
                  </a:moveTo>
                  <a:lnTo>
                    <a:pt x="28584" y="191328"/>
                  </a:lnTo>
                  <a:cubicBezTo>
                    <a:pt x="34983" y="191803"/>
                    <a:pt x="41345" y="192677"/>
                    <a:pt x="47634" y="193948"/>
                  </a:cubicBezTo>
                  <a:lnTo>
                    <a:pt x="47634" y="74999"/>
                  </a:lnTo>
                  <a:cubicBezTo>
                    <a:pt x="68008" y="69739"/>
                    <a:pt x="80260" y="48958"/>
                    <a:pt x="75000" y="28584"/>
                  </a:cubicBezTo>
                  <a:cubicBezTo>
                    <a:pt x="69739" y="8210"/>
                    <a:pt x="48958" y="-4041"/>
                    <a:pt x="28584" y="1219"/>
                  </a:cubicBezTo>
                  <a:cubicBezTo>
                    <a:pt x="8210" y="6480"/>
                    <a:pt x="-4042" y="27260"/>
                    <a:pt x="1219" y="47634"/>
                  </a:cubicBezTo>
                  <a:cubicBezTo>
                    <a:pt x="4684" y="61055"/>
                    <a:pt x="15164" y="71534"/>
                    <a:pt x="28584" y="74999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FD38E24-5699-C4DD-A5C0-D3B52EA61A31}"/>
                </a:ext>
              </a:extLst>
            </p:cNvPr>
            <p:cNvSpPr/>
            <p:nvPr/>
          </p:nvSpPr>
          <p:spPr>
            <a:xfrm>
              <a:off x="6229350" y="3114522"/>
              <a:ext cx="180984" cy="185889"/>
            </a:xfrm>
            <a:custGeom>
              <a:avLst/>
              <a:gdLst>
                <a:gd name="connsiteX0" fmla="*/ 19050 w 180984"/>
                <a:gd name="connsiteY0" fmla="*/ 171602 h 185889"/>
                <a:gd name="connsiteX1" fmla="*/ 47625 w 180984"/>
                <a:gd name="connsiteY1" fmla="*/ 143027 h 185889"/>
                <a:gd name="connsiteX2" fmla="*/ 104775 w 180984"/>
                <a:gd name="connsiteY2" fmla="*/ 143027 h 185889"/>
                <a:gd name="connsiteX3" fmla="*/ 152400 w 180984"/>
                <a:gd name="connsiteY3" fmla="*/ 95402 h 185889"/>
                <a:gd name="connsiteX4" fmla="*/ 152400 w 180984"/>
                <a:gd name="connsiteY4" fmla="*/ 75000 h 185889"/>
                <a:gd name="connsiteX5" fmla="*/ 179765 w 180984"/>
                <a:gd name="connsiteY5" fmla="*/ 28584 h 185889"/>
                <a:gd name="connsiteX6" fmla="*/ 133350 w 180984"/>
                <a:gd name="connsiteY6" fmla="*/ 1219 h 185889"/>
                <a:gd name="connsiteX7" fmla="*/ 105985 w 180984"/>
                <a:gd name="connsiteY7" fmla="*/ 47634 h 185889"/>
                <a:gd name="connsiteX8" fmla="*/ 133350 w 180984"/>
                <a:gd name="connsiteY8" fmla="*/ 75000 h 185889"/>
                <a:gd name="connsiteX9" fmla="*/ 133350 w 180984"/>
                <a:gd name="connsiteY9" fmla="*/ 95402 h 185889"/>
                <a:gd name="connsiteX10" fmla="*/ 104775 w 180984"/>
                <a:gd name="connsiteY10" fmla="*/ 123977 h 185889"/>
                <a:gd name="connsiteX11" fmla="*/ 47625 w 180984"/>
                <a:gd name="connsiteY11" fmla="*/ 123977 h 185889"/>
                <a:gd name="connsiteX12" fmla="*/ 0 w 180984"/>
                <a:gd name="connsiteY12" fmla="*/ 171602 h 185889"/>
                <a:gd name="connsiteX13" fmla="*/ 0 w 180984"/>
                <a:gd name="connsiteY13" fmla="*/ 176155 h 185889"/>
                <a:gd name="connsiteX14" fmla="*/ 19050 w 180984"/>
                <a:gd name="connsiteY14" fmla="*/ 185890 h 185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0984" h="185889">
                  <a:moveTo>
                    <a:pt x="19050" y="171602"/>
                  </a:moveTo>
                  <a:cubicBezTo>
                    <a:pt x="19050" y="155820"/>
                    <a:pt x="31843" y="143027"/>
                    <a:pt x="47625" y="143027"/>
                  </a:cubicBezTo>
                  <a:lnTo>
                    <a:pt x="104775" y="143027"/>
                  </a:lnTo>
                  <a:cubicBezTo>
                    <a:pt x="131065" y="142996"/>
                    <a:pt x="152369" y="121692"/>
                    <a:pt x="152400" y="95402"/>
                  </a:cubicBezTo>
                  <a:lnTo>
                    <a:pt x="152400" y="75000"/>
                  </a:lnTo>
                  <a:cubicBezTo>
                    <a:pt x="172774" y="69739"/>
                    <a:pt x="185026" y="48958"/>
                    <a:pt x="179765" y="28584"/>
                  </a:cubicBezTo>
                  <a:cubicBezTo>
                    <a:pt x="174505" y="8210"/>
                    <a:pt x="153724" y="-4042"/>
                    <a:pt x="133350" y="1219"/>
                  </a:cubicBezTo>
                  <a:cubicBezTo>
                    <a:pt x="112976" y="6480"/>
                    <a:pt x="100724" y="27260"/>
                    <a:pt x="105985" y="47634"/>
                  </a:cubicBezTo>
                  <a:cubicBezTo>
                    <a:pt x="109450" y="61055"/>
                    <a:pt x="119929" y="71535"/>
                    <a:pt x="133350" y="75000"/>
                  </a:cubicBezTo>
                  <a:lnTo>
                    <a:pt x="133350" y="95402"/>
                  </a:lnTo>
                  <a:cubicBezTo>
                    <a:pt x="133350" y="111184"/>
                    <a:pt x="120557" y="123977"/>
                    <a:pt x="104775" y="123977"/>
                  </a:cubicBezTo>
                  <a:lnTo>
                    <a:pt x="47625" y="123977"/>
                  </a:lnTo>
                  <a:cubicBezTo>
                    <a:pt x="21335" y="124009"/>
                    <a:pt x="31" y="145312"/>
                    <a:pt x="0" y="171602"/>
                  </a:cubicBezTo>
                  <a:lnTo>
                    <a:pt x="0" y="176155"/>
                  </a:lnTo>
                  <a:cubicBezTo>
                    <a:pt x="6595" y="178898"/>
                    <a:pt x="12964" y="182152"/>
                    <a:pt x="19050" y="185890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F349D2C-06DE-D59C-B5E0-8D59BE72BE82}"/>
                </a:ext>
              </a:extLst>
            </p:cNvPr>
            <p:cNvSpPr/>
            <p:nvPr/>
          </p:nvSpPr>
          <p:spPr>
            <a:xfrm>
              <a:off x="6086465" y="3600450"/>
              <a:ext cx="76218" cy="209702"/>
            </a:xfrm>
            <a:custGeom>
              <a:avLst/>
              <a:gdLst>
                <a:gd name="connsiteX0" fmla="*/ 47634 w 76218"/>
                <a:gd name="connsiteY0" fmla="*/ 134703 h 209702"/>
                <a:gd name="connsiteX1" fmla="*/ 47634 w 76218"/>
                <a:gd name="connsiteY1" fmla="*/ 0 h 209702"/>
                <a:gd name="connsiteX2" fmla="*/ 28584 w 76218"/>
                <a:gd name="connsiteY2" fmla="*/ 0 h 209702"/>
                <a:gd name="connsiteX3" fmla="*/ 28584 w 76218"/>
                <a:gd name="connsiteY3" fmla="*/ 134703 h 209702"/>
                <a:gd name="connsiteX4" fmla="*/ 1219 w 76218"/>
                <a:gd name="connsiteY4" fmla="*/ 181118 h 209702"/>
                <a:gd name="connsiteX5" fmla="*/ 47634 w 76218"/>
                <a:gd name="connsiteY5" fmla="*/ 208483 h 209702"/>
                <a:gd name="connsiteX6" fmla="*/ 75000 w 76218"/>
                <a:gd name="connsiteY6" fmla="*/ 162068 h 209702"/>
                <a:gd name="connsiteX7" fmla="*/ 47634 w 76218"/>
                <a:gd name="connsiteY7" fmla="*/ 134703 h 209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218" h="209702">
                  <a:moveTo>
                    <a:pt x="47634" y="134703"/>
                  </a:moveTo>
                  <a:lnTo>
                    <a:pt x="47634" y="0"/>
                  </a:lnTo>
                  <a:lnTo>
                    <a:pt x="28584" y="0"/>
                  </a:lnTo>
                  <a:lnTo>
                    <a:pt x="28584" y="134703"/>
                  </a:lnTo>
                  <a:cubicBezTo>
                    <a:pt x="8210" y="139963"/>
                    <a:pt x="-4042" y="160744"/>
                    <a:pt x="1219" y="181118"/>
                  </a:cubicBezTo>
                  <a:cubicBezTo>
                    <a:pt x="6480" y="201492"/>
                    <a:pt x="27260" y="213744"/>
                    <a:pt x="47634" y="208483"/>
                  </a:cubicBezTo>
                  <a:cubicBezTo>
                    <a:pt x="68008" y="203223"/>
                    <a:pt x="80260" y="182442"/>
                    <a:pt x="75000" y="162068"/>
                  </a:cubicBezTo>
                  <a:cubicBezTo>
                    <a:pt x="71535" y="148647"/>
                    <a:pt x="61055" y="138168"/>
                    <a:pt x="47634" y="134703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63352E3-2E09-18A0-DD25-9496268410ED}"/>
                </a:ext>
              </a:extLst>
            </p:cNvPr>
            <p:cNvSpPr/>
            <p:nvPr/>
          </p:nvSpPr>
          <p:spPr>
            <a:xfrm>
              <a:off x="5810240" y="3600450"/>
              <a:ext cx="180984" cy="181127"/>
            </a:xfrm>
            <a:custGeom>
              <a:avLst/>
              <a:gdLst>
                <a:gd name="connsiteX0" fmla="*/ 161934 w 180984"/>
                <a:gd name="connsiteY0" fmla="*/ 9525 h 181127"/>
                <a:gd name="connsiteX1" fmla="*/ 133359 w 180984"/>
                <a:gd name="connsiteY1" fmla="*/ 38100 h 181127"/>
                <a:gd name="connsiteX2" fmla="*/ 76209 w 180984"/>
                <a:gd name="connsiteY2" fmla="*/ 38100 h 181127"/>
                <a:gd name="connsiteX3" fmla="*/ 28584 w 180984"/>
                <a:gd name="connsiteY3" fmla="*/ 85725 h 181127"/>
                <a:gd name="connsiteX4" fmla="*/ 28584 w 180984"/>
                <a:gd name="connsiteY4" fmla="*/ 106128 h 181127"/>
                <a:gd name="connsiteX5" fmla="*/ 1219 w 180984"/>
                <a:gd name="connsiteY5" fmla="*/ 152543 h 181127"/>
                <a:gd name="connsiteX6" fmla="*/ 47634 w 180984"/>
                <a:gd name="connsiteY6" fmla="*/ 179908 h 181127"/>
                <a:gd name="connsiteX7" fmla="*/ 75000 w 180984"/>
                <a:gd name="connsiteY7" fmla="*/ 133493 h 181127"/>
                <a:gd name="connsiteX8" fmla="*/ 47634 w 180984"/>
                <a:gd name="connsiteY8" fmla="*/ 106128 h 181127"/>
                <a:gd name="connsiteX9" fmla="*/ 47634 w 180984"/>
                <a:gd name="connsiteY9" fmla="*/ 85725 h 181127"/>
                <a:gd name="connsiteX10" fmla="*/ 76209 w 180984"/>
                <a:gd name="connsiteY10" fmla="*/ 57150 h 181127"/>
                <a:gd name="connsiteX11" fmla="*/ 133359 w 180984"/>
                <a:gd name="connsiteY11" fmla="*/ 57150 h 181127"/>
                <a:gd name="connsiteX12" fmla="*/ 180984 w 180984"/>
                <a:gd name="connsiteY12" fmla="*/ 9525 h 181127"/>
                <a:gd name="connsiteX13" fmla="*/ 180984 w 180984"/>
                <a:gd name="connsiteY13" fmla="*/ 0 h 181127"/>
                <a:gd name="connsiteX14" fmla="*/ 161934 w 180984"/>
                <a:gd name="connsiteY14" fmla="*/ 0 h 181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0984" h="181127">
                  <a:moveTo>
                    <a:pt x="161934" y="9525"/>
                  </a:moveTo>
                  <a:cubicBezTo>
                    <a:pt x="161934" y="25307"/>
                    <a:pt x="149141" y="38100"/>
                    <a:pt x="133359" y="38100"/>
                  </a:cubicBezTo>
                  <a:lnTo>
                    <a:pt x="76209" y="38100"/>
                  </a:lnTo>
                  <a:cubicBezTo>
                    <a:pt x="49919" y="38131"/>
                    <a:pt x="28616" y="59435"/>
                    <a:pt x="28584" y="85725"/>
                  </a:cubicBezTo>
                  <a:lnTo>
                    <a:pt x="28584" y="106128"/>
                  </a:lnTo>
                  <a:cubicBezTo>
                    <a:pt x="8210" y="111388"/>
                    <a:pt x="-4042" y="132169"/>
                    <a:pt x="1219" y="152543"/>
                  </a:cubicBezTo>
                  <a:cubicBezTo>
                    <a:pt x="6480" y="172917"/>
                    <a:pt x="27260" y="185169"/>
                    <a:pt x="47634" y="179908"/>
                  </a:cubicBezTo>
                  <a:cubicBezTo>
                    <a:pt x="68008" y="174648"/>
                    <a:pt x="80260" y="153867"/>
                    <a:pt x="75000" y="133493"/>
                  </a:cubicBezTo>
                  <a:cubicBezTo>
                    <a:pt x="71535" y="120072"/>
                    <a:pt x="61055" y="109593"/>
                    <a:pt x="47634" y="106128"/>
                  </a:cubicBezTo>
                  <a:lnTo>
                    <a:pt x="47634" y="85725"/>
                  </a:lnTo>
                  <a:cubicBezTo>
                    <a:pt x="47634" y="69943"/>
                    <a:pt x="60427" y="57150"/>
                    <a:pt x="76209" y="57150"/>
                  </a:cubicBezTo>
                  <a:lnTo>
                    <a:pt x="133359" y="57150"/>
                  </a:lnTo>
                  <a:cubicBezTo>
                    <a:pt x="159649" y="57119"/>
                    <a:pt x="180953" y="35815"/>
                    <a:pt x="180984" y="9525"/>
                  </a:cubicBezTo>
                  <a:lnTo>
                    <a:pt x="180984" y="0"/>
                  </a:lnTo>
                  <a:lnTo>
                    <a:pt x="161934" y="0"/>
                  </a:ln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970DBA40-266A-CF05-C5DC-D48730546707}"/>
                </a:ext>
              </a:extLst>
            </p:cNvPr>
            <p:cNvSpPr/>
            <p:nvPr/>
          </p:nvSpPr>
          <p:spPr>
            <a:xfrm>
              <a:off x="6368891" y="3390899"/>
              <a:ext cx="155723" cy="76075"/>
            </a:xfrm>
            <a:custGeom>
              <a:avLst/>
              <a:gdLst>
                <a:gd name="connsiteX0" fmla="*/ 117634 w 155723"/>
                <a:gd name="connsiteY0" fmla="*/ 0 h 76075"/>
                <a:gd name="connsiteX1" fmla="*/ 80886 w 155723"/>
                <a:gd name="connsiteY1" fmla="*/ 28575 h 76075"/>
                <a:gd name="connsiteX2" fmla="*/ 0 w 155723"/>
                <a:gd name="connsiteY2" fmla="*/ 28575 h 76075"/>
                <a:gd name="connsiteX3" fmla="*/ 10316 w 155723"/>
                <a:gd name="connsiteY3" fmla="*/ 47625 h 76075"/>
                <a:gd name="connsiteX4" fmla="*/ 80877 w 155723"/>
                <a:gd name="connsiteY4" fmla="*/ 47625 h 76075"/>
                <a:gd name="connsiteX5" fmla="*/ 127272 w 155723"/>
                <a:gd name="connsiteY5" fmla="*/ 74837 h 76075"/>
                <a:gd name="connsiteX6" fmla="*/ 154485 w 155723"/>
                <a:gd name="connsiteY6" fmla="*/ 28442 h 76075"/>
                <a:gd name="connsiteX7" fmla="*/ 117634 w 155723"/>
                <a:gd name="connsiteY7" fmla="*/ 0 h 7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5723" h="76075">
                  <a:moveTo>
                    <a:pt x="117634" y="0"/>
                  </a:moveTo>
                  <a:cubicBezTo>
                    <a:pt x="100314" y="65"/>
                    <a:pt x="85216" y="11804"/>
                    <a:pt x="80886" y="28575"/>
                  </a:cubicBezTo>
                  <a:lnTo>
                    <a:pt x="0" y="28575"/>
                  </a:lnTo>
                  <a:cubicBezTo>
                    <a:pt x="4019" y="34594"/>
                    <a:pt x="7471" y="40971"/>
                    <a:pt x="10316" y="47625"/>
                  </a:cubicBezTo>
                  <a:lnTo>
                    <a:pt x="80877" y="47625"/>
                  </a:lnTo>
                  <a:cubicBezTo>
                    <a:pt x="86175" y="67951"/>
                    <a:pt x="106946" y="80135"/>
                    <a:pt x="127272" y="74837"/>
                  </a:cubicBezTo>
                  <a:cubicBezTo>
                    <a:pt x="147598" y="69540"/>
                    <a:pt x="159782" y="48768"/>
                    <a:pt x="154485" y="28442"/>
                  </a:cubicBezTo>
                  <a:cubicBezTo>
                    <a:pt x="150115" y="11673"/>
                    <a:pt x="134963" y="-21"/>
                    <a:pt x="117634" y="0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1054443E-4CB9-85E2-F05B-0AE6B4A958E5}"/>
                </a:ext>
              </a:extLst>
            </p:cNvPr>
            <p:cNvSpPr/>
            <p:nvPr/>
          </p:nvSpPr>
          <p:spPr>
            <a:xfrm>
              <a:off x="6267450" y="3599268"/>
              <a:ext cx="171449" cy="124881"/>
            </a:xfrm>
            <a:custGeom>
              <a:avLst/>
              <a:gdLst>
                <a:gd name="connsiteX0" fmla="*/ 133350 w 171449"/>
                <a:gd name="connsiteY0" fmla="*/ 48806 h 124881"/>
                <a:gd name="connsiteX1" fmla="*/ 96603 w 171449"/>
                <a:gd name="connsiteY1" fmla="*/ 77381 h 124881"/>
                <a:gd name="connsiteX2" fmla="*/ 47625 w 171449"/>
                <a:gd name="connsiteY2" fmla="*/ 77381 h 124881"/>
                <a:gd name="connsiteX3" fmla="*/ 19050 w 171449"/>
                <a:gd name="connsiteY3" fmla="*/ 48806 h 124881"/>
                <a:gd name="connsiteX4" fmla="*/ 19050 w 171449"/>
                <a:gd name="connsiteY4" fmla="*/ 0 h 124881"/>
                <a:gd name="connsiteX5" fmla="*/ 3238 w 171449"/>
                <a:gd name="connsiteY5" fmla="*/ 1181 h 124881"/>
                <a:gd name="connsiteX6" fmla="*/ 0 w 171449"/>
                <a:gd name="connsiteY6" fmla="*/ 1181 h 124881"/>
                <a:gd name="connsiteX7" fmla="*/ 0 w 171449"/>
                <a:gd name="connsiteY7" fmla="*/ 48806 h 124881"/>
                <a:gd name="connsiteX8" fmla="*/ 47625 w 171449"/>
                <a:gd name="connsiteY8" fmla="*/ 96431 h 124881"/>
                <a:gd name="connsiteX9" fmla="*/ 96603 w 171449"/>
                <a:gd name="connsiteY9" fmla="*/ 96431 h 124881"/>
                <a:gd name="connsiteX10" fmla="*/ 142998 w 171449"/>
                <a:gd name="connsiteY10" fmla="*/ 123643 h 124881"/>
                <a:gd name="connsiteX11" fmla="*/ 170211 w 171449"/>
                <a:gd name="connsiteY11" fmla="*/ 77248 h 124881"/>
                <a:gd name="connsiteX12" fmla="*/ 133350 w 171449"/>
                <a:gd name="connsiteY12" fmla="*/ 48806 h 124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1449" h="124881">
                  <a:moveTo>
                    <a:pt x="133350" y="48806"/>
                  </a:moveTo>
                  <a:cubicBezTo>
                    <a:pt x="116030" y="48871"/>
                    <a:pt x="100933" y="60610"/>
                    <a:pt x="96603" y="77381"/>
                  </a:cubicBezTo>
                  <a:lnTo>
                    <a:pt x="47625" y="77381"/>
                  </a:lnTo>
                  <a:cubicBezTo>
                    <a:pt x="31843" y="77381"/>
                    <a:pt x="19050" y="64588"/>
                    <a:pt x="19050" y="48806"/>
                  </a:cubicBezTo>
                  <a:lnTo>
                    <a:pt x="19050" y="0"/>
                  </a:lnTo>
                  <a:cubicBezTo>
                    <a:pt x="13812" y="746"/>
                    <a:pt x="8530" y="1141"/>
                    <a:pt x="3238" y="1181"/>
                  </a:cubicBezTo>
                  <a:lnTo>
                    <a:pt x="0" y="1181"/>
                  </a:lnTo>
                  <a:lnTo>
                    <a:pt x="0" y="48806"/>
                  </a:lnTo>
                  <a:cubicBezTo>
                    <a:pt x="31" y="75096"/>
                    <a:pt x="21335" y="96400"/>
                    <a:pt x="47625" y="96431"/>
                  </a:cubicBezTo>
                  <a:lnTo>
                    <a:pt x="96603" y="96431"/>
                  </a:lnTo>
                  <a:cubicBezTo>
                    <a:pt x="101900" y="116757"/>
                    <a:pt x="122672" y="128941"/>
                    <a:pt x="142998" y="123643"/>
                  </a:cubicBezTo>
                  <a:cubicBezTo>
                    <a:pt x="163324" y="118346"/>
                    <a:pt x="175508" y="97574"/>
                    <a:pt x="170211" y="77248"/>
                  </a:cubicBezTo>
                  <a:cubicBezTo>
                    <a:pt x="165840" y="60476"/>
                    <a:pt x="150682" y="48780"/>
                    <a:pt x="133350" y="48806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E4AC050-A049-862D-3CB0-DA4E013C209C}"/>
                </a:ext>
              </a:extLst>
            </p:cNvPr>
            <p:cNvSpPr/>
            <p:nvPr/>
          </p:nvSpPr>
          <p:spPr>
            <a:xfrm>
              <a:off x="5828912" y="3257549"/>
              <a:ext cx="530900" cy="314311"/>
            </a:xfrm>
            <a:custGeom>
              <a:avLst/>
              <a:gdLst>
                <a:gd name="connsiteX0" fmla="*/ 21419 w 530900"/>
                <a:gd name="connsiteY0" fmla="*/ 145172 h 314311"/>
                <a:gd name="connsiteX1" fmla="*/ 10360 w 530900"/>
                <a:gd name="connsiteY1" fmla="*/ 253833 h 314311"/>
                <a:gd name="connsiteX2" fmla="*/ 102153 w 530900"/>
                <a:gd name="connsiteY2" fmla="*/ 314021 h 314311"/>
                <a:gd name="connsiteX3" fmla="*/ 102762 w 530900"/>
                <a:gd name="connsiteY3" fmla="*/ 314021 h 314311"/>
                <a:gd name="connsiteX4" fmla="*/ 130775 w 530900"/>
                <a:gd name="connsiteY4" fmla="*/ 314307 h 314311"/>
                <a:gd name="connsiteX5" fmla="*/ 441767 w 530900"/>
                <a:gd name="connsiteY5" fmla="*/ 314307 h 314311"/>
                <a:gd name="connsiteX6" fmla="*/ 530896 w 530900"/>
                <a:gd name="connsiteY6" fmla="*/ 227025 h 314311"/>
                <a:gd name="connsiteX7" fmla="*/ 453320 w 530900"/>
                <a:gd name="connsiteY7" fmla="*/ 138533 h 314311"/>
                <a:gd name="connsiteX8" fmla="*/ 409791 w 530900"/>
                <a:gd name="connsiteY8" fmla="*/ 70600 h 314311"/>
                <a:gd name="connsiteX9" fmla="*/ 348298 w 530900"/>
                <a:gd name="connsiteY9" fmla="*/ 51303 h 314311"/>
                <a:gd name="connsiteX10" fmla="*/ 327981 w 530900"/>
                <a:gd name="connsiteY10" fmla="*/ 53208 h 314311"/>
                <a:gd name="connsiteX11" fmla="*/ 225654 w 530900"/>
                <a:gd name="connsiteY11" fmla="*/ 1 h 314311"/>
                <a:gd name="connsiteX12" fmla="*/ 196765 w 530900"/>
                <a:gd name="connsiteY12" fmla="*/ 3373 h 314311"/>
                <a:gd name="connsiteX13" fmla="*/ 103039 w 530900"/>
                <a:gd name="connsiteY13" fmla="*/ 103061 h 314311"/>
                <a:gd name="connsiteX14" fmla="*/ 21419 w 530900"/>
                <a:gd name="connsiteY14" fmla="*/ 145172 h 314311"/>
                <a:gd name="connsiteX15" fmla="*/ 106706 w 530900"/>
                <a:gd name="connsiteY15" fmla="*/ 122045 h 314311"/>
                <a:gd name="connsiteX16" fmla="*/ 120374 w 530900"/>
                <a:gd name="connsiteY16" fmla="*/ 123112 h 314311"/>
                <a:gd name="connsiteX17" fmla="*/ 120477 w 530900"/>
                <a:gd name="connsiteY17" fmla="*/ 123047 h 314311"/>
                <a:gd name="connsiteX18" fmla="*/ 120479 w 530900"/>
                <a:gd name="connsiteY18" fmla="*/ 123026 h 314311"/>
                <a:gd name="connsiteX19" fmla="*/ 120479 w 530900"/>
                <a:gd name="connsiteY19" fmla="*/ 120035 h 314311"/>
                <a:gd name="connsiteX20" fmla="*/ 201108 w 530900"/>
                <a:gd name="connsiteY20" fmla="*/ 21928 h 314311"/>
                <a:gd name="connsiteX21" fmla="*/ 319018 w 530900"/>
                <a:gd name="connsiteY21" fmla="*/ 75268 h 314311"/>
                <a:gd name="connsiteX22" fmla="*/ 319132 w 530900"/>
                <a:gd name="connsiteY22" fmla="*/ 75268 h 314311"/>
                <a:gd name="connsiteX23" fmla="*/ 398847 w 530900"/>
                <a:gd name="connsiteY23" fmla="*/ 86221 h 314311"/>
                <a:gd name="connsiteX24" fmla="*/ 435909 w 530900"/>
                <a:gd name="connsiteY24" fmla="*/ 155258 h 314311"/>
                <a:gd name="connsiteX25" fmla="*/ 435909 w 530900"/>
                <a:gd name="connsiteY25" fmla="*/ 157049 h 314311"/>
                <a:gd name="connsiteX26" fmla="*/ 436014 w 530900"/>
                <a:gd name="connsiteY26" fmla="*/ 157125 h 314311"/>
                <a:gd name="connsiteX27" fmla="*/ 441729 w 530900"/>
                <a:gd name="connsiteY27" fmla="*/ 156859 h 314311"/>
                <a:gd name="connsiteX28" fmla="*/ 511744 w 530900"/>
                <a:gd name="connsiteY28" fmla="*/ 225251 h 314311"/>
                <a:gd name="connsiteX29" fmla="*/ 443353 w 530900"/>
                <a:gd name="connsiteY29" fmla="*/ 295266 h 314311"/>
                <a:gd name="connsiteX30" fmla="*/ 441729 w 530900"/>
                <a:gd name="connsiteY30" fmla="*/ 295266 h 314311"/>
                <a:gd name="connsiteX31" fmla="*/ 130966 w 530900"/>
                <a:gd name="connsiteY31" fmla="*/ 295266 h 314311"/>
                <a:gd name="connsiteX32" fmla="*/ 102962 w 530900"/>
                <a:gd name="connsiteY32" fmla="*/ 294981 h 314311"/>
                <a:gd name="connsiteX33" fmla="*/ 27534 w 530900"/>
                <a:gd name="connsiteY33" fmla="*/ 245584 h 314311"/>
                <a:gd name="connsiteX34" fmla="*/ 36583 w 530900"/>
                <a:gd name="connsiteY34" fmla="*/ 156687 h 314311"/>
                <a:gd name="connsiteX35" fmla="*/ 106706 w 530900"/>
                <a:gd name="connsiteY35" fmla="*/ 122045 h 314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30900" h="314311">
                  <a:moveTo>
                    <a:pt x="21419" y="145172"/>
                  </a:moveTo>
                  <a:cubicBezTo>
                    <a:pt x="-2443" y="176416"/>
                    <a:pt x="-6718" y="218422"/>
                    <a:pt x="10360" y="253833"/>
                  </a:cubicBezTo>
                  <a:cubicBezTo>
                    <a:pt x="27461" y="289337"/>
                    <a:pt x="62774" y="312492"/>
                    <a:pt x="102153" y="314021"/>
                  </a:cubicBezTo>
                  <a:lnTo>
                    <a:pt x="102762" y="314021"/>
                  </a:lnTo>
                  <a:lnTo>
                    <a:pt x="130775" y="314307"/>
                  </a:lnTo>
                  <a:lnTo>
                    <a:pt x="441767" y="314307"/>
                  </a:lnTo>
                  <a:cubicBezTo>
                    <a:pt x="490481" y="314818"/>
                    <a:pt x="530386" y="275739"/>
                    <a:pt x="530896" y="227025"/>
                  </a:cubicBezTo>
                  <a:cubicBezTo>
                    <a:pt x="531367" y="182068"/>
                    <a:pt x="497952" y="143950"/>
                    <a:pt x="453320" y="138533"/>
                  </a:cubicBezTo>
                  <a:cubicBezTo>
                    <a:pt x="448384" y="111016"/>
                    <a:pt x="432727" y="86583"/>
                    <a:pt x="409791" y="70600"/>
                  </a:cubicBezTo>
                  <a:cubicBezTo>
                    <a:pt x="391767" y="57994"/>
                    <a:pt x="370293" y="51255"/>
                    <a:pt x="348298" y="51303"/>
                  </a:cubicBezTo>
                  <a:cubicBezTo>
                    <a:pt x="341481" y="51296"/>
                    <a:pt x="334678" y="51933"/>
                    <a:pt x="327981" y="53208"/>
                  </a:cubicBezTo>
                  <a:cubicBezTo>
                    <a:pt x="304691" y="19731"/>
                    <a:pt x="266435" y="-161"/>
                    <a:pt x="225654" y="1"/>
                  </a:cubicBezTo>
                  <a:cubicBezTo>
                    <a:pt x="215926" y="5"/>
                    <a:pt x="206231" y="1136"/>
                    <a:pt x="196765" y="3373"/>
                  </a:cubicBezTo>
                  <a:cubicBezTo>
                    <a:pt x="148229" y="14575"/>
                    <a:pt x="111230" y="53928"/>
                    <a:pt x="103039" y="103061"/>
                  </a:cubicBezTo>
                  <a:cubicBezTo>
                    <a:pt x="70908" y="104204"/>
                    <a:pt x="40971" y="119649"/>
                    <a:pt x="21419" y="145172"/>
                  </a:cubicBezTo>
                  <a:close/>
                  <a:moveTo>
                    <a:pt x="106706" y="122045"/>
                  </a:moveTo>
                  <a:cubicBezTo>
                    <a:pt x="111282" y="122046"/>
                    <a:pt x="115853" y="122403"/>
                    <a:pt x="120374" y="123112"/>
                  </a:cubicBezTo>
                  <a:cubicBezTo>
                    <a:pt x="120420" y="123122"/>
                    <a:pt x="120466" y="123094"/>
                    <a:pt x="120477" y="123047"/>
                  </a:cubicBezTo>
                  <a:cubicBezTo>
                    <a:pt x="120478" y="123040"/>
                    <a:pt x="120479" y="123033"/>
                    <a:pt x="120479" y="123026"/>
                  </a:cubicBezTo>
                  <a:cubicBezTo>
                    <a:pt x="120479" y="122512"/>
                    <a:pt x="120479" y="120711"/>
                    <a:pt x="120479" y="120035"/>
                  </a:cubicBezTo>
                  <a:cubicBezTo>
                    <a:pt x="121996" y="72832"/>
                    <a:pt x="155093" y="32561"/>
                    <a:pt x="201108" y="21928"/>
                  </a:cubicBezTo>
                  <a:cubicBezTo>
                    <a:pt x="247971" y="10792"/>
                    <a:pt x="296441" y="32718"/>
                    <a:pt x="319018" y="75268"/>
                  </a:cubicBezTo>
                  <a:cubicBezTo>
                    <a:pt x="319052" y="75293"/>
                    <a:pt x="319098" y="75293"/>
                    <a:pt x="319132" y="75268"/>
                  </a:cubicBezTo>
                  <a:cubicBezTo>
                    <a:pt x="345926" y="65953"/>
                    <a:pt x="375559" y="70025"/>
                    <a:pt x="398847" y="86221"/>
                  </a:cubicBezTo>
                  <a:cubicBezTo>
                    <a:pt x="421551" y="101965"/>
                    <a:pt x="435332" y="127637"/>
                    <a:pt x="435909" y="155258"/>
                  </a:cubicBezTo>
                  <a:cubicBezTo>
                    <a:pt x="435909" y="155573"/>
                    <a:pt x="435909" y="156706"/>
                    <a:pt x="435909" y="157049"/>
                  </a:cubicBezTo>
                  <a:cubicBezTo>
                    <a:pt x="435909" y="157106"/>
                    <a:pt x="435909" y="157135"/>
                    <a:pt x="436014" y="157125"/>
                  </a:cubicBezTo>
                  <a:cubicBezTo>
                    <a:pt x="437910" y="156903"/>
                    <a:pt x="439820" y="156814"/>
                    <a:pt x="441729" y="156859"/>
                  </a:cubicBezTo>
                  <a:cubicBezTo>
                    <a:pt x="479949" y="156410"/>
                    <a:pt x="511296" y="187030"/>
                    <a:pt x="511744" y="225251"/>
                  </a:cubicBezTo>
                  <a:cubicBezTo>
                    <a:pt x="512193" y="263471"/>
                    <a:pt x="481573" y="294818"/>
                    <a:pt x="443353" y="295266"/>
                  </a:cubicBezTo>
                  <a:cubicBezTo>
                    <a:pt x="442812" y="295273"/>
                    <a:pt x="442270" y="295273"/>
                    <a:pt x="441729" y="295266"/>
                  </a:cubicBezTo>
                  <a:lnTo>
                    <a:pt x="130966" y="295266"/>
                  </a:lnTo>
                  <a:lnTo>
                    <a:pt x="102962" y="294981"/>
                  </a:lnTo>
                  <a:cubicBezTo>
                    <a:pt x="70628" y="293705"/>
                    <a:pt x="41627" y="274713"/>
                    <a:pt x="27534" y="245584"/>
                  </a:cubicBezTo>
                  <a:cubicBezTo>
                    <a:pt x="13613" y="216604"/>
                    <a:pt x="17109" y="182268"/>
                    <a:pt x="36583" y="156687"/>
                  </a:cubicBezTo>
                  <a:cubicBezTo>
                    <a:pt x="53260" y="134818"/>
                    <a:pt x="79202" y="122001"/>
                    <a:pt x="106706" y="122045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5311893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28E742E3-4C18-D2A2-B594-F1FECBC6306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41" b="41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ED2A4DD-F037-895D-ADE4-E9F9B690B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inancial </a:t>
            </a:r>
            <a:br>
              <a:rPr lang="en-GB" dirty="0"/>
            </a:br>
            <a:r>
              <a:rPr lang="en-GB" dirty="0"/>
              <a:t>performance</a:t>
            </a: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D3940B30-2195-1470-930F-19D68A265EC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/>
          <a:stretch>
            <a:fillRect/>
          </a:stretch>
        </p:blipFill>
        <p:spPr>
          <a:xfrm rot="282412">
            <a:off x="8735804" y="3085991"/>
            <a:ext cx="2722560" cy="2722560"/>
          </a:xfrm>
        </p:spPr>
      </p:pic>
      <p:sp>
        <p:nvSpPr>
          <p:cNvPr id="28" name="AutoShape 3">
            <a:extLst>
              <a:ext uri="{FF2B5EF4-FFF2-40B4-BE49-F238E27FC236}">
                <a16:creationId xmlns:a16="http://schemas.microsoft.com/office/drawing/2014/main" id="{05939D08-2921-191D-2242-6B8CFD42303C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4114800" y="2011363"/>
            <a:ext cx="17335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1" name="AutoShape 7">
            <a:extLst>
              <a:ext uri="{FF2B5EF4-FFF2-40B4-BE49-F238E27FC236}">
                <a16:creationId xmlns:a16="http://schemas.microsoft.com/office/drawing/2014/main" id="{BADF3CC5-AE12-8A81-7223-0E3D197C4B9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 rot="247725">
            <a:off x="9614555" y="2773120"/>
            <a:ext cx="1124417" cy="411514"/>
          </a:xfrm>
          <a:prstGeom prst="rect">
            <a:avLst/>
          </a:prstGeom>
          <a:solidFill>
            <a:srgbClr val="BDAC9A">
              <a:alpha val="69804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FCD3434-D957-E89A-9E9B-916ECD61DA32}"/>
              </a:ext>
            </a:extLst>
          </p:cNvPr>
          <p:cNvGrpSpPr/>
          <p:nvPr/>
        </p:nvGrpSpPr>
        <p:grpSpPr>
          <a:xfrm>
            <a:off x="1828800" y="2854910"/>
            <a:ext cx="6341468" cy="3173650"/>
            <a:chOff x="3048000" y="2617550"/>
            <a:chExt cx="7917518" cy="3962400"/>
          </a:xfrm>
          <a:solidFill>
            <a:srgbClr val="FFFFFF">
              <a:alpha val="50196"/>
            </a:srgbClr>
          </a:solidFill>
        </p:grpSpPr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FF5C2B39-C379-0898-0934-6A8AC0AAE6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3690" y="4382500"/>
              <a:ext cx="2597913" cy="2197450"/>
            </a:xfrm>
            <a:custGeom>
              <a:avLst/>
              <a:gdLst>
                <a:gd name="T0" fmla="*/ 5715 w 7856"/>
                <a:gd name="T1" fmla="*/ 363 h 6643"/>
                <a:gd name="T2" fmla="*/ 1841 w 7856"/>
                <a:gd name="T3" fmla="*/ 1263 h 6643"/>
                <a:gd name="T4" fmla="*/ 1046 w 7856"/>
                <a:gd name="T5" fmla="*/ 6643 h 6643"/>
                <a:gd name="T6" fmla="*/ 2414 w 7856"/>
                <a:gd name="T7" fmla="*/ 6643 h 6643"/>
                <a:gd name="T8" fmla="*/ 1541 w 7856"/>
                <a:gd name="T9" fmla="*/ 4801 h 6643"/>
                <a:gd name="T10" fmla="*/ 5501 w 7856"/>
                <a:gd name="T11" fmla="*/ 819 h 6643"/>
                <a:gd name="T12" fmla="*/ 6192 w 7856"/>
                <a:gd name="T13" fmla="*/ 2676 h 6643"/>
                <a:gd name="T14" fmla="*/ 4593 w 7856"/>
                <a:gd name="T15" fmla="*/ 3100 h 6643"/>
                <a:gd name="T16" fmla="*/ 5460 w 7856"/>
                <a:gd name="T17" fmla="*/ 3953 h 6643"/>
                <a:gd name="T18" fmla="*/ 7240 w 7856"/>
                <a:gd name="T19" fmla="*/ 2910 h 6643"/>
                <a:gd name="T20" fmla="*/ 5715 w 7856"/>
                <a:gd name="T21" fmla="*/ 363 h 6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856" h="6643">
                  <a:moveTo>
                    <a:pt x="5715" y="363"/>
                  </a:moveTo>
                  <a:cubicBezTo>
                    <a:pt x="4064" y="0"/>
                    <a:pt x="2671" y="589"/>
                    <a:pt x="1841" y="1263"/>
                  </a:cubicBezTo>
                  <a:cubicBezTo>
                    <a:pt x="57" y="2712"/>
                    <a:pt x="0" y="4898"/>
                    <a:pt x="1046" y="6643"/>
                  </a:cubicBezTo>
                  <a:lnTo>
                    <a:pt x="2414" y="6643"/>
                  </a:lnTo>
                  <a:cubicBezTo>
                    <a:pt x="2067" y="6203"/>
                    <a:pt x="1687" y="5572"/>
                    <a:pt x="1541" y="4801"/>
                  </a:cubicBezTo>
                  <a:cubicBezTo>
                    <a:pt x="1014" y="2036"/>
                    <a:pt x="3424" y="438"/>
                    <a:pt x="5501" y="819"/>
                  </a:cubicBezTo>
                  <a:cubicBezTo>
                    <a:pt x="6686" y="1036"/>
                    <a:pt x="6776" y="2152"/>
                    <a:pt x="6192" y="2676"/>
                  </a:cubicBezTo>
                  <a:cubicBezTo>
                    <a:pt x="5662" y="3149"/>
                    <a:pt x="4954" y="3142"/>
                    <a:pt x="4593" y="3100"/>
                  </a:cubicBezTo>
                  <a:cubicBezTo>
                    <a:pt x="4904" y="3280"/>
                    <a:pt x="5213" y="3572"/>
                    <a:pt x="5460" y="3953"/>
                  </a:cubicBezTo>
                  <a:cubicBezTo>
                    <a:pt x="5460" y="3953"/>
                    <a:pt x="6583" y="3827"/>
                    <a:pt x="7240" y="2910"/>
                  </a:cubicBezTo>
                  <a:cubicBezTo>
                    <a:pt x="7856" y="2052"/>
                    <a:pt x="7363" y="725"/>
                    <a:pt x="5715" y="3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59C3297B-A7DD-2456-8A12-C396EA36A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8000" y="2617550"/>
              <a:ext cx="7917518" cy="3962400"/>
            </a:xfrm>
            <a:custGeom>
              <a:avLst/>
              <a:gdLst>
                <a:gd name="T0" fmla="*/ 23949 w 23949"/>
                <a:gd name="T1" fmla="*/ 11464 h 11980"/>
                <a:gd name="T2" fmla="*/ 22494 w 23949"/>
                <a:gd name="T3" fmla="*/ 10819 h 11980"/>
                <a:gd name="T4" fmla="*/ 15834 w 23949"/>
                <a:gd name="T5" fmla="*/ 2827 h 11980"/>
                <a:gd name="T6" fmla="*/ 7611 w 23949"/>
                <a:gd name="T7" fmla="*/ 1097 h 11980"/>
                <a:gd name="T8" fmla="*/ 5202 w 23949"/>
                <a:gd name="T9" fmla="*/ 9514 h 11980"/>
                <a:gd name="T10" fmla="*/ 3946 w 23949"/>
                <a:gd name="T11" fmla="*/ 5020 h 11980"/>
                <a:gd name="T12" fmla="*/ 3575 w 23949"/>
                <a:gd name="T13" fmla="*/ 5124 h 11980"/>
                <a:gd name="T14" fmla="*/ 5 w 23949"/>
                <a:gd name="T15" fmla="*/ 4187 h 11980"/>
                <a:gd name="T16" fmla="*/ 10 w 23949"/>
                <a:gd name="T17" fmla="*/ 4235 h 11980"/>
                <a:gd name="T18" fmla="*/ 2628 w 23949"/>
                <a:gd name="T19" fmla="*/ 5915 h 11980"/>
                <a:gd name="T20" fmla="*/ 6475 w 23949"/>
                <a:gd name="T21" fmla="*/ 10224 h 11980"/>
                <a:gd name="T22" fmla="*/ 5965 w 23949"/>
                <a:gd name="T23" fmla="*/ 5977 h 11980"/>
                <a:gd name="T24" fmla="*/ 10769 w 23949"/>
                <a:gd name="T25" fmla="*/ 1291 h 11980"/>
                <a:gd name="T26" fmla="*/ 17039 w 23949"/>
                <a:gd name="T27" fmla="*/ 6163 h 11980"/>
                <a:gd name="T28" fmla="*/ 23412 w 23949"/>
                <a:gd name="T29" fmla="*/ 11832 h 11980"/>
                <a:gd name="T30" fmla="*/ 23923 w 23949"/>
                <a:gd name="T31" fmla="*/ 11980 h 11980"/>
                <a:gd name="T32" fmla="*/ 23949 w 23949"/>
                <a:gd name="T33" fmla="*/ 11980 h 11980"/>
                <a:gd name="T34" fmla="*/ 23949 w 23949"/>
                <a:gd name="T35" fmla="*/ 11464 h 119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3949" h="11980">
                  <a:moveTo>
                    <a:pt x="23949" y="11464"/>
                  </a:moveTo>
                  <a:cubicBezTo>
                    <a:pt x="23366" y="11292"/>
                    <a:pt x="22833" y="11046"/>
                    <a:pt x="22494" y="10819"/>
                  </a:cubicBezTo>
                  <a:cubicBezTo>
                    <a:pt x="19416" y="8749"/>
                    <a:pt x="17585" y="4813"/>
                    <a:pt x="15834" y="2827"/>
                  </a:cubicBezTo>
                  <a:cubicBezTo>
                    <a:pt x="13391" y="58"/>
                    <a:pt x="9802" y="0"/>
                    <a:pt x="7611" y="1097"/>
                  </a:cubicBezTo>
                  <a:cubicBezTo>
                    <a:pt x="4876" y="2469"/>
                    <a:pt x="4208" y="6296"/>
                    <a:pt x="5202" y="9514"/>
                  </a:cubicBezTo>
                  <a:cubicBezTo>
                    <a:pt x="3880" y="9118"/>
                    <a:pt x="3314" y="6534"/>
                    <a:pt x="3946" y="5020"/>
                  </a:cubicBezTo>
                  <a:cubicBezTo>
                    <a:pt x="3826" y="5059"/>
                    <a:pt x="3702" y="5094"/>
                    <a:pt x="3575" y="5124"/>
                  </a:cubicBezTo>
                  <a:cubicBezTo>
                    <a:pt x="2168" y="5450"/>
                    <a:pt x="789" y="5046"/>
                    <a:pt x="5" y="4187"/>
                  </a:cubicBezTo>
                  <a:cubicBezTo>
                    <a:pt x="0" y="4203"/>
                    <a:pt x="2" y="4219"/>
                    <a:pt x="10" y="4235"/>
                  </a:cubicBezTo>
                  <a:cubicBezTo>
                    <a:pt x="448" y="5248"/>
                    <a:pt x="1347" y="5889"/>
                    <a:pt x="2628" y="5915"/>
                  </a:cubicBezTo>
                  <a:cubicBezTo>
                    <a:pt x="2546" y="9338"/>
                    <a:pt x="4456" y="10391"/>
                    <a:pt x="6475" y="10224"/>
                  </a:cubicBezTo>
                  <a:cubicBezTo>
                    <a:pt x="5921" y="9178"/>
                    <a:pt x="5776" y="7348"/>
                    <a:pt x="5965" y="5977"/>
                  </a:cubicBezTo>
                  <a:cubicBezTo>
                    <a:pt x="6141" y="4696"/>
                    <a:pt x="7263" y="1392"/>
                    <a:pt x="10769" y="1291"/>
                  </a:cubicBezTo>
                  <a:cubicBezTo>
                    <a:pt x="14142" y="1193"/>
                    <a:pt x="15406" y="4103"/>
                    <a:pt x="17039" y="6163"/>
                  </a:cubicBezTo>
                  <a:cubicBezTo>
                    <a:pt x="18446" y="7942"/>
                    <a:pt x="20683" y="10910"/>
                    <a:pt x="23412" y="11832"/>
                  </a:cubicBezTo>
                  <a:cubicBezTo>
                    <a:pt x="23575" y="11887"/>
                    <a:pt x="23746" y="11936"/>
                    <a:pt x="23923" y="11980"/>
                  </a:cubicBezTo>
                  <a:lnTo>
                    <a:pt x="23949" y="11980"/>
                  </a:lnTo>
                  <a:lnTo>
                    <a:pt x="23949" y="114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5188779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venue</a:t>
            </a:r>
          </a:p>
        </p:txBody>
      </p:sp>
      <p:graphicFrame>
        <p:nvGraphicFramePr>
          <p:cNvPr id="9" name="Chart Placeholder 7">
            <a:extLst>
              <a:ext uri="{FF2B5EF4-FFF2-40B4-BE49-F238E27FC236}">
                <a16:creationId xmlns:a16="http://schemas.microsoft.com/office/drawing/2014/main" id="{70C026A9-ACDB-4EDC-820D-C2C603B808D2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3816986281"/>
              </p:ext>
            </p:extLst>
          </p:nvPr>
        </p:nvGraphicFramePr>
        <p:xfrm>
          <a:off x="215900" y="1366838"/>
          <a:ext cx="11758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BF290C-9DD7-49B4-B859-671E3D8287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BWP million</a:t>
            </a:r>
          </a:p>
        </p:txBody>
      </p:sp>
    </p:spTree>
    <p:extLst>
      <p:ext uri="{BB962C8B-B14F-4D97-AF65-F5344CB8AC3E}">
        <p14:creationId xmlns:p14="http://schemas.microsoft.com/office/powerpoint/2010/main" val="5957292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Chart Placeholder 7">
            <a:extLst>
              <a:ext uri="{FF2B5EF4-FFF2-40B4-BE49-F238E27FC236}">
                <a16:creationId xmlns:a16="http://schemas.microsoft.com/office/drawing/2014/main" id="{41D8CA0A-C40C-4066-8909-537857C54B2B}"/>
              </a:ext>
            </a:extLst>
          </p:cNvPr>
          <p:cNvGraphicFramePr>
            <a:graphicFrameLocks noGrp="1"/>
          </p:cNvGraphicFramePr>
          <p:nvPr>
            <p:ph type="chart" sz="quarter" idx="15"/>
            <p:extLst>
              <p:ext uri="{D42A27DB-BD31-4B8C-83A1-F6EECF244321}">
                <p14:modId xmlns:p14="http://schemas.microsoft.com/office/powerpoint/2010/main" val="1043992800"/>
              </p:ext>
            </p:extLst>
          </p:nvPr>
        </p:nvGraphicFramePr>
        <p:xfrm>
          <a:off x="6186487" y="1371600"/>
          <a:ext cx="5789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VENUE CONTRIBUTION</a:t>
            </a:r>
          </a:p>
        </p:txBody>
      </p:sp>
      <p:graphicFrame>
        <p:nvGraphicFramePr>
          <p:cNvPr id="11" name="Chart Placeholder 7">
            <a:extLst>
              <a:ext uri="{FF2B5EF4-FFF2-40B4-BE49-F238E27FC236}">
                <a16:creationId xmlns:a16="http://schemas.microsoft.com/office/drawing/2014/main" id="{AE5F8C58-2F78-431B-8D7E-47762C27BE37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890335177"/>
              </p:ext>
            </p:extLst>
          </p:nvPr>
        </p:nvGraphicFramePr>
        <p:xfrm>
          <a:off x="215900" y="1366838"/>
          <a:ext cx="5789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9B7F0C3E-3B6C-4355-B806-9D959DE12A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nb-NO" dirty="0"/>
              <a:t>Dec 2022</a:t>
            </a:r>
            <a:endParaRPr lang="en-GB" dirty="0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45C685-1439-4F8E-BC9E-65E2F61B23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 dirty="0"/>
              <a:t>Dec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76036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penses</a:t>
            </a:r>
          </a:p>
        </p:txBody>
      </p:sp>
      <p:graphicFrame>
        <p:nvGraphicFramePr>
          <p:cNvPr id="9" name="Chart Placeholder 7">
            <a:extLst>
              <a:ext uri="{FF2B5EF4-FFF2-40B4-BE49-F238E27FC236}">
                <a16:creationId xmlns:a16="http://schemas.microsoft.com/office/drawing/2014/main" id="{70C026A9-ACDB-4EDC-820D-C2C603B808D2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1120294394"/>
              </p:ext>
            </p:extLst>
          </p:nvPr>
        </p:nvGraphicFramePr>
        <p:xfrm>
          <a:off x="215900" y="1366838"/>
          <a:ext cx="11758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BF290C-9DD7-49B4-B859-671E3D8287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BWP million</a:t>
            </a:r>
          </a:p>
        </p:txBody>
      </p:sp>
    </p:spTree>
    <p:extLst>
      <p:ext uri="{BB962C8B-B14F-4D97-AF65-F5344CB8AC3E}">
        <p14:creationId xmlns:p14="http://schemas.microsoft.com/office/powerpoint/2010/main" val="33287926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stainability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BF290C-9DD7-49B4-B859-671E3D8287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BWP million</a:t>
            </a:r>
          </a:p>
        </p:txBody>
      </p:sp>
      <p:graphicFrame>
        <p:nvGraphicFramePr>
          <p:cNvPr id="13" name="Chart Placeholder 7">
            <a:extLst>
              <a:ext uri="{FF2B5EF4-FFF2-40B4-BE49-F238E27FC236}">
                <a16:creationId xmlns:a16="http://schemas.microsoft.com/office/drawing/2014/main" id="{5DAAADAF-96F4-45DD-BE36-AA1C178F7B63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4267360275"/>
              </p:ext>
            </p:extLst>
          </p:nvPr>
        </p:nvGraphicFramePr>
        <p:xfrm>
          <a:off x="215900" y="1366838"/>
          <a:ext cx="11758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387633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0" y="1"/>
            <a:ext cx="11747500" cy="820131"/>
          </a:xfrm>
        </p:spPr>
        <p:txBody>
          <a:bodyPr/>
          <a:lstStyle/>
          <a:p>
            <a:r>
              <a:rPr lang="en-GB" dirty="0"/>
              <a:t>profitability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BF290C-9DD7-49B4-B859-671E3D8287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BWP million</a:t>
            </a:r>
          </a:p>
        </p:txBody>
      </p:sp>
      <p:graphicFrame>
        <p:nvGraphicFramePr>
          <p:cNvPr id="8" name="Chart Placeholder 7">
            <a:extLst>
              <a:ext uri="{FF2B5EF4-FFF2-40B4-BE49-F238E27FC236}">
                <a16:creationId xmlns:a16="http://schemas.microsoft.com/office/drawing/2014/main" id="{5EC208F1-E633-489A-A778-F290F3CAAB10}"/>
              </a:ext>
            </a:extLst>
          </p:cNvPr>
          <p:cNvGraphicFramePr>
            <a:graphicFrameLocks noGrp="1"/>
          </p:cNvGraphicFramePr>
          <p:nvPr>
            <p:ph type="chart" sz="quarter" idx="13"/>
          </p:nvPr>
        </p:nvGraphicFramePr>
        <p:xfrm>
          <a:off x="215900" y="1366838"/>
          <a:ext cx="11758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347293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Chart Placeholder 7">
            <a:extLst>
              <a:ext uri="{FF2B5EF4-FFF2-40B4-BE49-F238E27FC236}">
                <a16:creationId xmlns:a16="http://schemas.microsoft.com/office/drawing/2014/main" id="{D0A1ADA0-A42D-420D-9FDE-0D8FA6EBB446}"/>
              </a:ext>
            </a:extLst>
          </p:cNvPr>
          <p:cNvGraphicFramePr>
            <a:graphicFrameLocks noGrp="1"/>
          </p:cNvGraphicFramePr>
          <p:nvPr>
            <p:ph type="chart" sz="quarter" idx="15"/>
            <p:extLst>
              <p:ext uri="{D42A27DB-BD31-4B8C-83A1-F6EECF244321}">
                <p14:modId xmlns:p14="http://schemas.microsoft.com/office/powerpoint/2010/main" val="1152324259"/>
              </p:ext>
            </p:extLst>
          </p:nvPr>
        </p:nvGraphicFramePr>
        <p:xfrm>
          <a:off x="6184900" y="1366838"/>
          <a:ext cx="5789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urces of profits</a:t>
            </a:r>
          </a:p>
        </p:txBody>
      </p:sp>
      <p:graphicFrame>
        <p:nvGraphicFramePr>
          <p:cNvPr id="11" name="Chart Placeholder 7">
            <a:extLst>
              <a:ext uri="{FF2B5EF4-FFF2-40B4-BE49-F238E27FC236}">
                <a16:creationId xmlns:a16="http://schemas.microsoft.com/office/drawing/2014/main" id="{AE5F8C58-2F78-431B-8D7E-47762C27BE37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4185238666"/>
              </p:ext>
            </p:extLst>
          </p:nvPr>
        </p:nvGraphicFramePr>
        <p:xfrm>
          <a:off x="215900" y="1366838"/>
          <a:ext cx="5789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9B7F0C3E-3B6C-4355-B806-9D959DE12A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nb-NO" dirty="0"/>
              <a:t>Dec 2022</a:t>
            </a:r>
            <a:endParaRPr lang="en-GB" dirty="0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45C685-1439-4F8E-BC9E-65E2F61B23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 dirty="0"/>
              <a:t>Dec 2021</a:t>
            </a:r>
          </a:p>
        </p:txBody>
      </p:sp>
    </p:spTree>
    <p:extLst>
      <p:ext uri="{BB962C8B-B14F-4D97-AF65-F5344CB8AC3E}">
        <p14:creationId xmlns:p14="http://schemas.microsoft.com/office/powerpoint/2010/main" val="4614086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bsidiaries contribution to OP</a:t>
            </a:r>
          </a:p>
        </p:txBody>
      </p:sp>
      <p:graphicFrame>
        <p:nvGraphicFramePr>
          <p:cNvPr id="11" name="Chart Placeholder 7">
            <a:extLst>
              <a:ext uri="{FF2B5EF4-FFF2-40B4-BE49-F238E27FC236}">
                <a16:creationId xmlns:a16="http://schemas.microsoft.com/office/drawing/2014/main" id="{AE5F8C58-2F78-431B-8D7E-47762C27BE37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4182855090"/>
              </p:ext>
            </p:extLst>
          </p:nvPr>
        </p:nvGraphicFramePr>
        <p:xfrm>
          <a:off x="215900" y="1366838"/>
          <a:ext cx="5789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6" name="Chart Placeholder 7">
            <a:extLst>
              <a:ext uri="{FF2B5EF4-FFF2-40B4-BE49-F238E27FC236}">
                <a16:creationId xmlns:a16="http://schemas.microsoft.com/office/drawing/2014/main" id="{D0A1ADA0-A42D-420D-9FDE-0D8FA6EBB446}"/>
              </a:ext>
            </a:extLst>
          </p:cNvPr>
          <p:cNvGraphicFramePr>
            <a:graphicFrameLocks noGrp="1"/>
          </p:cNvGraphicFramePr>
          <p:nvPr>
            <p:ph type="chart" sz="quarter" idx="15"/>
            <p:extLst>
              <p:ext uri="{D42A27DB-BD31-4B8C-83A1-F6EECF244321}">
                <p14:modId xmlns:p14="http://schemas.microsoft.com/office/powerpoint/2010/main" val="2034221059"/>
              </p:ext>
            </p:extLst>
          </p:nvPr>
        </p:nvGraphicFramePr>
        <p:xfrm>
          <a:off x="6184900" y="1366838"/>
          <a:ext cx="5789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9B7F0C3E-3B6C-4355-B806-9D959DE12A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nb-NO" dirty="0"/>
              <a:t>Dec 2022</a:t>
            </a:r>
            <a:endParaRPr lang="en-GB" dirty="0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45C685-1439-4F8E-BC9E-65E2F61B23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 dirty="0"/>
              <a:t>Dec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56885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8AD6BA-CD75-D75B-37B6-57E5AECFD1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agenda</a:t>
            </a:r>
            <a:endParaRPr lang="en-GB" dirty="0"/>
          </a:p>
        </p:txBody>
      </p:sp>
      <p:sp>
        <p:nvSpPr>
          <p:cNvPr id="21" name="Subtitle 20">
            <a:extLst>
              <a:ext uri="{FF2B5EF4-FFF2-40B4-BE49-F238E27FC236}">
                <a16:creationId xmlns:a16="http://schemas.microsoft.com/office/drawing/2014/main" id="{BC9955B5-E10D-AF18-1C48-85C617C9E7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b="1" dirty="0"/>
          </a:p>
          <a:p>
            <a:r>
              <a:rPr lang="en-GB" b="1" dirty="0"/>
              <a:t>Welcome Remarks </a:t>
            </a:r>
            <a:endParaRPr lang="en-GB" b="1" dirty="0">
              <a:solidFill>
                <a:schemeClr val="tx1"/>
              </a:solidFill>
            </a:endParaRPr>
          </a:p>
          <a:p>
            <a:r>
              <a:rPr lang="en-GB" dirty="0">
                <a:solidFill>
                  <a:schemeClr val="bg1"/>
                </a:solidFill>
              </a:rPr>
              <a:t>BIHL Group Acting Chairman </a:t>
            </a:r>
          </a:p>
          <a:p>
            <a:endParaRPr lang="en-GB" dirty="0"/>
          </a:p>
          <a:p>
            <a:r>
              <a:rPr lang="en-GB" b="1" dirty="0"/>
              <a:t>Operational Overview </a:t>
            </a:r>
          </a:p>
          <a:p>
            <a:r>
              <a:rPr lang="en-GB" dirty="0"/>
              <a:t>BIHL Group Chief Executive Officer</a:t>
            </a:r>
          </a:p>
          <a:p>
            <a:endParaRPr lang="en-GB" dirty="0"/>
          </a:p>
          <a:p>
            <a:r>
              <a:rPr lang="en-GB" b="1" dirty="0"/>
              <a:t>Financial Performance</a:t>
            </a:r>
          </a:p>
          <a:p>
            <a:r>
              <a:rPr lang="en-GB" dirty="0"/>
              <a:t>BIHL Group Chief Financial Officer</a:t>
            </a:r>
          </a:p>
        </p:txBody>
      </p:sp>
      <p:pic>
        <p:nvPicPr>
          <p:cNvPr id="28" name="Picture Placeholder 27">
            <a:extLst>
              <a:ext uri="{FF2B5EF4-FFF2-40B4-BE49-F238E27FC236}">
                <a16:creationId xmlns:a16="http://schemas.microsoft.com/office/drawing/2014/main" id="{B9B9E2F6-3350-916C-5F47-FFAE1536C16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 t="124" b="124"/>
          <a:stretch/>
        </p:blipFill>
        <p:spPr/>
      </p:pic>
      <p:pic>
        <p:nvPicPr>
          <p:cNvPr id="51" name="Picture Placeholder 50">
            <a:extLst>
              <a:ext uri="{FF2B5EF4-FFF2-40B4-BE49-F238E27FC236}">
                <a16:creationId xmlns:a16="http://schemas.microsoft.com/office/drawing/2014/main" id="{B1768327-9171-FD22-AD71-5B7091900D9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/>
          <a:srcRect t="124" b="124"/>
          <a:stretch/>
        </p:blipFill>
        <p:spPr/>
      </p:pic>
      <p:pic>
        <p:nvPicPr>
          <p:cNvPr id="82" name="Picture Placeholder 81">
            <a:extLst>
              <a:ext uri="{FF2B5EF4-FFF2-40B4-BE49-F238E27FC236}">
                <a16:creationId xmlns:a16="http://schemas.microsoft.com/office/drawing/2014/main" id="{79624735-252F-D517-3B29-59068742DED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4"/>
          <a:srcRect l="100" r="100"/>
          <a:stretch/>
        </p:blipFill>
        <p:spPr/>
      </p:pic>
      <p:pic>
        <p:nvPicPr>
          <p:cNvPr id="39" name="Picture Placeholder 38">
            <a:extLst>
              <a:ext uri="{FF2B5EF4-FFF2-40B4-BE49-F238E27FC236}">
                <a16:creationId xmlns:a16="http://schemas.microsoft.com/office/drawing/2014/main" id="{BD999028-0E13-1F6F-7EB0-26954E93010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5"/>
          <a:srcRect l="100" r="100"/>
          <a:stretch/>
        </p:blipFill>
        <p:spPr/>
      </p:pic>
    </p:spTree>
    <p:extLst>
      <p:ext uri="{BB962C8B-B14F-4D97-AF65-F5344CB8AC3E}">
        <p14:creationId xmlns:p14="http://schemas.microsoft.com/office/powerpoint/2010/main" val="31234014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Placeholder 7">
            <a:extLst>
              <a:ext uri="{FF2B5EF4-FFF2-40B4-BE49-F238E27FC236}">
                <a16:creationId xmlns:a16="http://schemas.microsoft.com/office/drawing/2014/main" id="{4315FD68-AC94-4771-9D38-226A74CCD1F6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3331876179"/>
              </p:ext>
            </p:extLst>
          </p:nvPr>
        </p:nvGraphicFramePr>
        <p:xfrm>
          <a:off x="215900" y="1366838"/>
          <a:ext cx="5789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SSOCIATES contribution to OP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9B7F0C3E-3B6C-4355-B806-9D959DE12A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nb-NO" dirty="0"/>
              <a:t>Dec 2022</a:t>
            </a:r>
            <a:endParaRPr lang="en-GB" dirty="0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45C685-1439-4F8E-BC9E-65E2F61B23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 dirty="0"/>
              <a:t>Dec 2021</a:t>
            </a:r>
            <a:endParaRPr lang="en-GB" dirty="0"/>
          </a:p>
        </p:txBody>
      </p:sp>
      <p:graphicFrame>
        <p:nvGraphicFramePr>
          <p:cNvPr id="5" name="Chart Placeholder 7">
            <a:extLst>
              <a:ext uri="{FF2B5EF4-FFF2-40B4-BE49-F238E27FC236}">
                <a16:creationId xmlns:a16="http://schemas.microsoft.com/office/drawing/2014/main" id="{459D51E2-D092-55E6-DBFB-1A13EADB96D4}"/>
              </a:ext>
            </a:extLst>
          </p:cNvPr>
          <p:cNvGraphicFramePr>
            <a:graphicFrameLocks noGrp="1"/>
          </p:cNvGraphicFramePr>
          <p:nvPr>
            <p:ph type="chart" sz="quarter" idx="15"/>
            <p:extLst>
              <p:ext uri="{D42A27DB-BD31-4B8C-83A1-F6EECF244321}">
                <p14:modId xmlns:p14="http://schemas.microsoft.com/office/powerpoint/2010/main" val="2616326850"/>
              </p:ext>
            </p:extLst>
          </p:nvPr>
        </p:nvGraphicFramePr>
        <p:xfrm>
          <a:off x="6184900" y="1366838"/>
          <a:ext cx="5789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1784599F-359E-D37E-729D-AB4463C63E29}"/>
              </a:ext>
            </a:extLst>
          </p:cNvPr>
          <p:cNvSpPr/>
          <p:nvPr/>
        </p:nvSpPr>
        <p:spPr>
          <a:xfrm>
            <a:off x="381000" y="6248400"/>
            <a:ext cx="3180892" cy="3095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*FSG is being accounted for 6 months</a:t>
            </a:r>
            <a:endParaRPr lang="en-BW" sz="1200" dirty="0"/>
          </a:p>
        </p:txBody>
      </p:sp>
    </p:spTree>
    <p:extLst>
      <p:ext uri="{BB962C8B-B14F-4D97-AF65-F5344CB8AC3E}">
        <p14:creationId xmlns:p14="http://schemas.microsoft.com/office/powerpoint/2010/main" val="37094549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Placeholder 7">
            <a:extLst>
              <a:ext uri="{FF2B5EF4-FFF2-40B4-BE49-F238E27FC236}">
                <a16:creationId xmlns:a16="http://schemas.microsoft.com/office/drawing/2014/main" id="{5EC208F1-E633-489A-A778-F290F3CAAB10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201744124"/>
              </p:ext>
            </p:extLst>
          </p:nvPr>
        </p:nvGraphicFramePr>
        <p:xfrm>
          <a:off x="215900" y="1366838"/>
          <a:ext cx="11758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fit </a:t>
            </a:r>
            <a:r>
              <a:rPr lang="en-GB" dirty="0" err="1"/>
              <a:t>aftertax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BF290C-9DD7-49B4-B859-671E3D8287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BWP mill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5D94779-9661-F261-B157-B813B0D4466F}"/>
              </a:ext>
            </a:extLst>
          </p:cNvPr>
          <p:cNvSpPr/>
          <p:nvPr/>
        </p:nvSpPr>
        <p:spPr>
          <a:xfrm>
            <a:off x="248108" y="6017419"/>
            <a:ext cx="3180892" cy="3095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*FSG is being accounted for 6 months</a:t>
            </a:r>
            <a:endParaRPr lang="en-BW" sz="1200" dirty="0"/>
          </a:p>
        </p:txBody>
      </p:sp>
    </p:spTree>
    <p:extLst>
      <p:ext uri="{BB962C8B-B14F-4D97-AF65-F5344CB8AC3E}">
        <p14:creationId xmlns:p14="http://schemas.microsoft.com/office/powerpoint/2010/main" val="19926167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vidends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209AFD7F-1F81-484A-8250-8326E0F3C4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Delivering on our promises</a:t>
            </a:r>
          </a:p>
        </p:txBody>
      </p:sp>
      <p:graphicFrame>
        <p:nvGraphicFramePr>
          <p:cNvPr id="8" name="Chart Placeholder 7">
            <a:extLst>
              <a:ext uri="{FF2B5EF4-FFF2-40B4-BE49-F238E27FC236}">
                <a16:creationId xmlns:a16="http://schemas.microsoft.com/office/drawing/2014/main" id="{5EC208F1-E633-489A-A778-F290F3CAAB10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1955533919"/>
              </p:ext>
            </p:extLst>
          </p:nvPr>
        </p:nvGraphicFramePr>
        <p:xfrm>
          <a:off x="-533400" y="1828800"/>
          <a:ext cx="11506200" cy="4450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BF290C-9DD7-49B4-B859-671E3D8287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 rot="5400000">
            <a:off x="807473" y="1721873"/>
            <a:ext cx="309562" cy="1428292"/>
          </a:xfrm>
        </p:spPr>
        <p:txBody>
          <a:bodyPr/>
          <a:lstStyle/>
          <a:p>
            <a:pPr algn="l"/>
            <a:r>
              <a:rPr lang="en-GB" dirty="0"/>
              <a:t>Thebe </a:t>
            </a:r>
            <a:br>
              <a:rPr lang="en-GB" dirty="0"/>
            </a:br>
            <a:r>
              <a:rPr lang="en-GB" dirty="0"/>
              <a:t>per shar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BE2BC2E-7687-911F-658B-51801C166EAE}"/>
              </a:ext>
            </a:extLst>
          </p:cNvPr>
          <p:cNvSpPr/>
          <p:nvPr/>
        </p:nvSpPr>
        <p:spPr>
          <a:xfrm>
            <a:off x="3232150" y="452437"/>
            <a:ext cx="5715000" cy="771524"/>
          </a:xfrm>
          <a:prstGeom prst="rect">
            <a:avLst/>
          </a:prstGeom>
          <a:noFill/>
          <a:ln>
            <a:noFill/>
          </a:ln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216000" tIns="36000" rIns="36000" bIns="36000" rtlCol="0" anchor="ctr"/>
          <a:lstStyle/>
          <a:p>
            <a:r>
              <a:rPr lang="en-GB" sz="1400" b="0" dirty="0">
                <a:solidFill>
                  <a:schemeClr val="accent5"/>
                </a:solidFill>
                <a:sym typeface="Wingdings" panose="05000000000000000000" pitchFamily="2" charset="2"/>
              </a:rPr>
              <a:t> </a:t>
            </a:r>
            <a:r>
              <a:rPr lang="en-US" sz="1500" b="1" dirty="0">
                <a:solidFill>
                  <a:schemeClr val="accent5"/>
                </a:solidFill>
              </a:rPr>
              <a:t>High dividend payout ratio </a:t>
            </a:r>
          </a:p>
          <a:p>
            <a:r>
              <a:rPr lang="en-GB" sz="1400" b="0" dirty="0">
                <a:solidFill>
                  <a:schemeClr val="accent5"/>
                </a:solidFill>
                <a:sym typeface="Wingdings" panose="05000000000000000000" pitchFamily="2" charset="2"/>
              </a:rPr>
              <a:t> </a:t>
            </a:r>
            <a:r>
              <a:rPr lang="en-US" sz="1500" b="1" dirty="0">
                <a:solidFill>
                  <a:schemeClr val="accent5"/>
                </a:solidFill>
              </a:rPr>
              <a:t>Healthy dividend per share</a:t>
            </a:r>
          </a:p>
          <a:p>
            <a:r>
              <a:rPr lang="en-GB" sz="1400" b="0" dirty="0">
                <a:solidFill>
                  <a:schemeClr val="accent5"/>
                </a:solidFill>
                <a:sym typeface="Wingdings" panose="05000000000000000000" pitchFamily="2" charset="2"/>
              </a:rPr>
              <a:t> </a:t>
            </a:r>
            <a:r>
              <a:rPr lang="en-US" sz="1500" b="1" dirty="0">
                <a:solidFill>
                  <a:schemeClr val="accent5"/>
                </a:solidFill>
              </a:rPr>
              <a:t>Unwinding of excess capital through special dividend</a:t>
            </a:r>
            <a:endParaRPr lang="en-BW" sz="15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9013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alue of new business</a:t>
            </a:r>
          </a:p>
        </p:txBody>
      </p:sp>
      <p:graphicFrame>
        <p:nvGraphicFramePr>
          <p:cNvPr id="8" name="Chart Placeholder 7">
            <a:extLst>
              <a:ext uri="{FF2B5EF4-FFF2-40B4-BE49-F238E27FC236}">
                <a16:creationId xmlns:a16="http://schemas.microsoft.com/office/drawing/2014/main" id="{5EC208F1-E633-489A-A778-F290F3CAAB10}"/>
              </a:ext>
            </a:extLst>
          </p:cNvPr>
          <p:cNvGraphicFramePr>
            <a:graphicFrameLocks noGrp="1"/>
          </p:cNvGraphicFramePr>
          <p:nvPr>
            <p:ph type="chart" sz="quarter" idx="13"/>
          </p:nvPr>
        </p:nvGraphicFramePr>
        <p:xfrm>
          <a:off x="215900" y="1366838"/>
          <a:ext cx="11758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BF290C-9DD7-49B4-B859-671E3D8287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BWP million</a:t>
            </a:r>
          </a:p>
        </p:txBody>
      </p:sp>
    </p:spTree>
    <p:extLst>
      <p:ext uri="{BB962C8B-B14F-4D97-AF65-F5344CB8AC3E}">
        <p14:creationId xmlns:p14="http://schemas.microsoft.com/office/powerpoint/2010/main" val="4883605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mbedded value</a:t>
            </a:r>
          </a:p>
        </p:txBody>
      </p:sp>
      <p:graphicFrame>
        <p:nvGraphicFramePr>
          <p:cNvPr id="8" name="Chart Placeholder 7">
            <a:extLst>
              <a:ext uri="{FF2B5EF4-FFF2-40B4-BE49-F238E27FC236}">
                <a16:creationId xmlns:a16="http://schemas.microsoft.com/office/drawing/2014/main" id="{5EC208F1-E633-489A-A778-F290F3CAAB10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3207682173"/>
              </p:ext>
            </p:extLst>
          </p:nvPr>
        </p:nvGraphicFramePr>
        <p:xfrm>
          <a:off x="215900" y="1524000"/>
          <a:ext cx="11758613" cy="4792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BF290C-9DD7-49B4-B859-671E3D8287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BWP mill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F115D0B-BE6A-A9E0-925A-0E3E3DCA90D2}"/>
              </a:ext>
            </a:extLst>
          </p:cNvPr>
          <p:cNvSpPr/>
          <p:nvPr/>
        </p:nvSpPr>
        <p:spPr>
          <a:xfrm>
            <a:off x="121666" y="891666"/>
            <a:ext cx="5943600" cy="6355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/share P20.40 (Dec 2021 P18.74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ket price/share P17.71 (Dec 2021 17.50)</a:t>
            </a:r>
            <a:endParaRPr kumimoji="0" lang="en-BW" sz="1400" b="0" i="0" u="none" strike="noStrike" kern="1200" cap="none" spc="0" normalizeH="0" baseline="0" noProof="0" dirty="0">
              <a:ln>
                <a:noFill/>
              </a:ln>
              <a:solidFill>
                <a:srgbClr val="221F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54210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hart Placeholder 7">
            <a:extLst>
              <a:ext uri="{FF2B5EF4-FFF2-40B4-BE49-F238E27FC236}">
                <a16:creationId xmlns:a16="http://schemas.microsoft.com/office/drawing/2014/main" id="{E7AFC294-882C-4D12-B9FC-D11322B3BCBE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1970343659"/>
              </p:ext>
            </p:extLst>
          </p:nvPr>
        </p:nvGraphicFramePr>
        <p:xfrm>
          <a:off x="215900" y="1366838"/>
          <a:ext cx="11758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inancial positio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BF290C-9DD7-49B4-B859-671E3D8287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BWP million</a:t>
            </a:r>
          </a:p>
        </p:txBody>
      </p:sp>
    </p:spTree>
    <p:extLst>
      <p:ext uri="{BB962C8B-B14F-4D97-AF65-F5344CB8AC3E}">
        <p14:creationId xmlns:p14="http://schemas.microsoft.com/office/powerpoint/2010/main" val="19389301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mbedded Value earning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5DC9ED-7004-4B9E-843F-DB72C3F448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GEV movemen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BF290C-9DD7-49B4-B859-671E3D8287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Pm</a:t>
            </a:r>
            <a:endParaRPr lang="en-GB" dirty="0"/>
          </a:p>
        </p:txBody>
      </p:sp>
      <p:graphicFrame>
        <p:nvGraphicFramePr>
          <p:cNvPr id="6" name="Chart Placeholder 5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 noGrp="1"/>
          </p:cNvGraphicFramePr>
          <p:nvPr>
            <p:ph type="chart" sz="quarter" idx="13"/>
          </p:nvPr>
        </p:nvGraphicFramePr>
        <p:xfrm>
          <a:off x="209550" y="1366838"/>
          <a:ext cx="11758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64511EF4-8B2B-8F86-9898-89722F356C65}"/>
              </a:ext>
            </a:extLst>
          </p:cNvPr>
          <p:cNvSpPr/>
          <p:nvPr/>
        </p:nvSpPr>
        <p:spPr>
          <a:xfrm>
            <a:off x="3890076" y="2438400"/>
            <a:ext cx="636722" cy="2856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49160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Placeholder 7">
            <a:extLst>
              <a:ext uri="{FF2B5EF4-FFF2-40B4-BE49-F238E27FC236}">
                <a16:creationId xmlns:a16="http://schemas.microsoft.com/office/drawing/2014/main" id="{2B8C79D1-E2AE-4CDA-8B71-1EDD01A56CFE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1977477257"/>
              </p:ext>
            </p:extLst>
          </p:nvPr>
        </p:nvGraphicFramePr>
        <p:xfrm>
          <a:off x="215900" y="1366838"/>
          <a:ext cx="11445057" cy="49345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turn on Embedded Valu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C57A32-EB7C-74FC-C3C1-F9C17587FE87}"/>
              </a:ext>
            </a:extLst>
          </p:cNvPr>
          <p:cNvSpPr txBox="1"/>
          <p:nvPr/>
        </p:nvSpPr>
        <p:spPr>
          <a:xfrm>
            <a:off x="8738647" y="1602557"/>
            <a:ext cx="29223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rgbClr val="221F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W" sz="1800" b="0" i="1" u="none" strike="noStrike" kern="1200" cap="none" spc="0" normalizeH="0" baseline="0" noProof="0" dirty="0">
              <a:ln>
                <a:noFill/>
              </a:ln>
              <a:solidFill>
                <a:srgbClr val="221F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BC101ED-4576-BF8C-428E-464BD4E758D9}"/>
              </a:ext>
            </a:extLst>
          </p:cNvPr>
          <p:cNvSpPr/>
          <p:nvPr/>
        </p:nvSpPr>
        <p:spPr>
          <a:xfrm>
            <a:off x="1103376" y="6301408"/>
            <a:ext cx="4038600" cy="25179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300" dirty="0"/>
              <a:t>The Group has disinvested in FSG</a:t>
            </a:r>
            <a:endParaRPr lang="en-BW" sz="1300" dirty="0"/>
          </a:p>
        </p:txBody>
      </p:sp>
    </p:spTree>
    <p:extLst>
      <p:ext uri="{BB962C8B-B14F-4D97-AF65-F5344CB8AC3E}">
        <p14:creationId xmlns:p14="http://schemas.microsoft.com/office/powerpoint/2010/main" val="3175927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8AD6BA-CD75-D75B-37B6-57E5AECFD1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200" dirty="0"/>
              <a:t>QUESTIONS</a:t>
            </a:r>
            <a:endParaRPr lang="en-GB" sz="3200" dirty="0"/>
          </a:p>
        </p:txBody>
      </p:sp>
      <p:sp>
        <p:nvSpPr>
          <p:cNvPr id="21" name="Subtitle 20">
            <a:extLst>
              <a:ext uri="{FF2B5EF4-FFF2-40B4-BE49-F238E27FC236}">
                <a16:creationId xmlns:a16="http://schemas.microsoft.com/office/drawing/2014/main" id="{BC9955B5-E10D-AF18-1C48-85C617C9E7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pic>
        <p:nvPicPr>
          <p:cNvPr id="28" name="Picture Placeholder 27">
            <a:extLst>
              <a:ext uri="{FF2B5EF4-FFF2-40B4-BE49-F238E27FC236}">
                <a16:creationId xmlns:a16="http://schemas.microsoft.com/office/drawing/2014/main" id="{B9B9E2F6-3350-916C-5F47-FFAE1536C16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124" b="124"/>
          <a:stretch>
            <a:fillRect/>
          </a:stretch>
        </p:blipFill>
        <p:spPr/>
      </p:pic>
      <p:pic>
        <p:nvPicPr>
          <p:cNvPr id="51" name="Picture Placeholder 50">
            <a:extLst>
              <a:ext uri="{FF2B5EF4-FFF2-40B4-BE49-F238E27FC236}">
                <a16:creationId xmlns:a16="http://schemas.microsoft.com/office/drawing/2014/main" id="{B1768327-9171-FD22-AD71-5B7091900D9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 t="124" b="124"/>
          <a:stretch>
            <a:fillRect/>
          </a:stretch>
        </p:blipFill>
        <p:spPr/>
      </p:pic>
      <p:pic>
        <p:nvPicPr>
          <p:cNvPr id="82" name="Picture Placeholder 81">
            <a:extLst>
              <a:ext uri="{FF2B5EF4-FFF2-40B4-BE49-F238E27FC236}">
                <a16:creationId xmlns:a16="http://schemas.microsoft.com/office/drawing/2014/main" id="{79624735-252F-D517-3B29-59068742DED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/>
          <a:srcRect l="100" r="100"/>
          <a:stretch>
            <a:fillRect/>
          </a:stretch>
        </p:blipFill>
        <p:spPr/>
      </p:pic>
      <p:pic>
        <p:nvPicPr>
          <p:cNvPr id="39" name="Picture Placeholder 38">
            <a:extLst>
              <a:ext uri="{FF2B5EF4-FFF2-40B4-BE49-F238E27FC236}">
                <a16:creationId xmlns:a16="http://schemas.microsoft.com/office/drawing/2014/main" id="{BD999028-0E13-1F6F-7EB0-26954E93010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5"/>
          <a:srcRect l="100" r="10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1987939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2148FDC9-A8E5-9683-D26D-3572E817D25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 t="41" b="41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ED2A4DD-F037-895D-ADE4-E9F9B690B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perational </a:t>
            </a:r>
            <a:br>
              <a:rPr lang="en-GB" dirty="0"/>
            </a:br>
            <a:r>
              <a:rPr lang="en-GB" dirty="0"/>
              <a:t>Overview </a:t>
            </a:r>
          </a:p>
        </p:txBody>
      </p:sp>
      <p:pic>
        <p:nvPicPr>
          <p:cNvPr id="24" name="Picture Placeholder 23">
            <a:extLst>
              <a:ext uri="{FF2B5EF4-FFF2-40B4-BE49-F238E27FC236}">
                <a16:creationId xmlns:a16="http://schemas.microsoft.com/office/drawing/2014/main" id="{BD2BEE4B-C7E2-0D0C-1FA2-C767AEE8CEB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 rot="20987314">
            <a:off x="425822" y="3547280"/>
            <a:ext cx="2722560" cy="2722560"/>
          </a:xfrm>
        </p:spPr>
      </p:pic>
      <p:sp>
        <p:nvSpPr>
          <p:cNvPr id="28" name="AutoShape 3">
            <a:extLst>
              <a:ext uri="{FF2B5EF4-FFF2-40B4-BE49-F238E27FC236}">
                <a16:creationId xmlns:a16="http://schemas.microsoft.com/office/drawing/2014/main" id="{05939D08-2921-191D-2242-6B8CFD42303C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4114800" y="2011363"/>
            <a:ext cx="17335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1" name="AutoShape 7">
            <a:extLst>
              <a:ext uri="{FF2B5EF4-FFF2-40B4-BE49-F238E27FC236}">
                <a16:creationId xmlns:a16="http://schemas.microsoft.com/office/drawing/2014/main" id="{BADF3CC5-AE12-8A81-7223-0E3D197C4B9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 rot="20974205">
            <a:off x="1018558" y="3298779"/>
            <a:ext cx="1124417" cy="411514"/>
          </a:xfrm>
          <a:prstGeom prst="rect">
            <a:avLst/>
          </a:prstGeom>
          <a:solidFill>
            <a:srgbClr val="BDAC9A">
              <a:alpha val="69804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FCD3434-D957-E89A-9E9B-916ECD61DA32}"/>
              </a:ext>
            </a:extLst>
          </p:cNvPr>
          <p:cNvGrpSpPr/>
          <p:nvPr/>
        </p:nvGrpSpPr>
        <p:grpSpPr>
          <a:xfrm>
            <a:off x="1828800" y="2854910"/>
            <a:ext cx="6341468" cy="3173650"/>
            <a:chOff x="3048000" y="2617550"/>
            <a:chExt cx="7917518" cy="3962400"/>
          </a:xfrm>
          <a:solidFill>
            <a:srgbClr val="FFFFFF">
              <a:alpha val="50196"/>
            </a:srgbClr>
          </a:solidFill>
        </p:grpSpPr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FF5C2B39-C379-0898-0934-6A8AC0AAE6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3690" y="4382500"/>
              <a:ext cx="2597913" cy="2197450"/>
            </a:xfrm>
            <a:custGeom>
              <a:avLst/>
              <a:gdLst>
                <a:gd name="T0" fmla="*/ 5715 w 7856"/>
                <a:gd name="T1" fmla="*/ 363 h 6643"/>
                <a:gd name="T2" fmla="*/ 1841 w 7856"/>
                <a:gd name="T3" fmla="*/ 1263 h 6643"/>
                <a:gd name="T4" fmla="*/ 1046 w 7856"/>
                <a:gd name="T5" fmla="*/ 6643 h 6643"/>
                <a:gd name="T6" fmla="*/ 2414 w 7856"/>
                <a:gd name="T7" fmla="*/ 6643 h 6643"/>
                <a:gd name="T8" fmla="*/ 1541 w 7856"/>
                <a:gd name="T9" fmla="*/ 4801 h 6643"/>
                <a:gd name="T10" fmla="*/ 5501 w 7856"/>
                <a:gd name="T11" fmla="*/ 819 h 6643"/>
                <a:gd name="T12" fmla="*/ 6192 w 7856"/>
                <a:gd name="T13" fmla="*/ 2676 h 6643"/>
                <a:gd name="T14" fmla="*/ 4593 w 7856"/>
                <a:gd name="T15" fmla="*/ 3100 h 6643"/>
                <a:gd name="T16" fmla="*/ 5460 w 7856"/>
                <a:gd name="T17" fmla="*/ 3953 h 6643"/>
                <a:gd name="T18" fmla="*/ 7240 w 7856"/>
                <a:gd name="T19" fmla="*/ 2910 h 6643"/>
                <a:gd name="T20" fmla="*/ 5715 w 7856"/>
                <a:gd name="T21" fmla="*/ 363 h 6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856" h="6643">
                  <a:moveTo>
                    <a:pt x="5715" y="363"/>
                  </a:moveTo>
                  <a:cubicBezTo>
                    <a:pt x="4064" y="0"/>
                    <a:pt x="2671" y="589"/>
                    <a:pt x="1841" y="1263"/>
                  </a:cubicBezTo>
                  <a:cubicBezTo>
                    <a:pt x="57" y="2712"/>
                    <a:pt x="0" y="4898"/>
                    <a:pt x="1046" y="6643"/>
                  </a:cubicBezTo>
                  <a:lnTo>
                    <a:pt x="2414" y="6643"/>
                  </a:lnTo>
                  <a:cubicBezTo>
                    <a:pt x="2067" y="6203"/>
                    <a:pt x="1687" y="5572"/>
                    <a:pt x="1541" y="4801"/>
                  </a:cubicBezTo>
                  <a:cubicBezTo>
                    <a:pt x="1014" y="2036"/>
                    <a:pt x="3424" y="438"/>
                    <a:pt x="5501" y="819"/>
                  </a:cubicBezTo>
                  <a:cubicBezTo>
                    <a:pt x="6686" y="1036"/>
                    <a:pt x="6776" y="2152"/>
                    <a:pt x="6192" y="2676"/>
                  </a:cubicBezTo>
                  <a:cubicBezTo>
                    <a:pt x="5662" y="3149"/>
                    <a:pt x="4954" y="3142"/>
                    <a:pt x="4593" y="3100"/>
                  </a:cubicBezTo>
                  <a:cubicBezTo>
                    <a:pt x="4904" y="3280"/>
                    <a:pt x="5213" y="3572"/>
                    <a:pt x="5460" y="3953"/>
                  </a:cubicBezTo>
                  <a:cubicBezTo>
                    <a:pt x="5460" y="3953"/>
                    <a:pt x="6583" y="3827"/>
                    <a:pt x="7240" y="2910"/>
                  </a:cubicBezTo>
                  <a:cubicBezTo>
                    <a:pt x="7856" y="2052"/>
                    <a:pt x="7363" y="725"/>
                    <a:pt x="5715" y="3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59C3297B-A7DD-2456-8A12-C396EA36A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8000" y="2617550"/>
              <a:ext cx="7917518" cy="3962400"/>
            </a:xfrm>
            <a:custGeom>
              <a:avLst/>
              <a:gdLst>
                <a:gd name="T0" fmla="*/ 23949 w 23949"/>
                <a:gd name="T1" fmla="*/ 11464 h 11980"/>
                <a:gd name="T2" fmla="*/ 22494 w 23949"/>
                <a:gd name="T3" fmla="*/ 10819 h 11980"/>
                <a:gd name="T4" fmla="*/ 15834 w 23949"/>
                <a:gd name="T5" fmla="*/ 2827 h 11980"/>
                <a:gd name="T6" fmla="*/ 7611 w 23949"/>
                <a:gd name="T7" fmla="*/ 1097 h 11980"/>
                <a:gd name="T8" fmla="*/ 5202 w 23949"/>
                <a:gd name="T9" fmla="*/ 9514 h 11980"/>
                <a:gd name="T10" fmla="*/ 3946 w 23949"/>
                <a:gd name="T11" fmla="*/ 5020 h 11980"/>
                <a:gd name="T12" fmla="*/ 3575 w 23949"/>
                <a:gd name="T13" fmla="*/ 5124 h 11980"/>
                <a:gd name="T14" fmla="*/ 5 w 23949"/>
                <a:gd name="T15" fmla="*/ 4187 h 11980"/>
                <a:gd name="T16" fmla="*/ 10 w 23949"/>
                <a:gd name="T17" fmla="*/ 4235 h 11980"/>
                <a:gd name="T18" fmla="*/ 2628 w 23949"/>
                <a:gd name="T19" fmla="*/ 5915 h 11980"/>
                <a:gd name="T20" fmla="*/ 6475 w 23949"/>
                <a:gd name="T21" fmla="*/ 10224 h 11980"/>
                <a:gd name="T22" fmla="*/ 5965 w 23949"/>
                <a:gd name="T23" fmla="*/ 5977 h 11980"/>
                <a:gd name="T24" fmla="*/ 10769 w 23949"/>
                <a:gd name="T25" fmla="*/ 1291 h 11980"/>
                <a:gd name="T26" fmla="*/ 17039 w 23949"/>
                <a:gd name="T27" fmla="*/ 6163 h 11980"/>
                <a:gd name="T28" fmla="*/ 23412 w 23949"/>
                <a:gd name="T29" fmla="*/ 11832 h 11980"/>
                <a:gd name="T30" fmla="*/ 23923 w 23949"/>
                <a:gd name="T31" fmla="*/ 11980 h 11980"/>
                <a:gd name="T32" fmla="*/ 23949 w 23949"/>
                <a:gd name="T33" fmla="*/ 11980 h 11980"/>
                <a:gd name="T34" fmla="*/ 23949 w 23949"/>
                <a:gd name="T35" fmla="*/ 11464 h 119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3949" h="11980">
                  <a:moveTo>
                    <a:pt x="23949" y="11464"/>
                  </a:moveTo>
                  <a:cubicBezTo>
                    <a:pt x="23366" y="11292"/>
                    <a:pt x="22833" y="11046"/>
                    <a:pt x="22494" y="10819"/>
                  </a:cubicBezTo>
                  <a:cubicBezTo>
                    <a:pt x="19416" y="8749"/>
                    <a:pt x="17585" y="4813"/>
                    <a:pt x="15834" y="2827"/>
                  </a:cubicBezTo>
                  <a:cubicBezTo>
                    <a:pt x="13391" y="58"/>
                    <a:pt x="9802" y="0"/>
                    <a:pt x="7611" y="1097"/>
                  </a:cubicBezTo>
                  <a:cubicBezTo>
                    <a:pt x="4876" y="2469"/>
                    <a:pt x="4208" y="6296"/>
                    <a:pt x="5202" y="9514"/>
                  </a:cubicBezTo>
                  <a:cubicBezTo>
                    <a:pt x="3880" y="9118"/>
                    <a:pt x="3314" y="6534"/>
                    <a:pt x="3946" y="5020"/>
                  </a:cubicBezTo>
                  <a:cubicBezTo>
                    <a:pt x="3826" y="5059"/>
                    <a:pt x="3702" y="5094"/>
                    <a:pt x="3575" y="5124"/>
                  </a:cubicBezTo>
                  <a:cubicBezTo>
                    <a:pt x="2168" y="5450"/>
                    <a:pt x="789" y="5046"/>
                    <a:pt x="5" y="4187"/>
                  </a:cubicBezTo>
                  <a:cubicBezTo>
                    <a:pt x="0" y="4203"/>
                    <a:pt x="2" y="4219"/>
                    <a:pt x="10" y="4235"/>
                  </a:cubicBezTo>
                  <a:cubicBezTo>
                    <a:pt x="448" y="5248"/>
                    <a:pt x="1347" y="5889"/>
                    <a:pt x="2628" y="5915"/>
                  </a:cubicBezTo>
                  <a:cubicBezTo>
                    <a:pt x="2546" y="9338"/>
                    <a:pt x="4456" y="10391"/>
                    <a:pt x="6475" y="10224"/>
                  </a:cubicBezTo>
                  <a:cubicBezTo>
                    <a:pt x="5921" y="9178"/>
                    <a:pt x="5776" y="7348"/>
                    <a:pt x="5965" y="5977"/>
                  </a:cubicBezTo>
                  <a:cubicBezTo>
                    <a:pt x="6141" y="4696"/>
                    <a:pt x="7263" y="1392"/>
                    <a:pt x="10769" y="1291"/>
                  </a:cubicBezTo>
                  <a:cubicBezTo>
                    <a:pt x="14142" y="1193"/>
                    <a:pt x="15406" y="4103"/>
                    <a:pt x="17039" y="6163"/>
                  </a:cubicBezTo>
                  <a:cubicBezTo>
                    <a:pt x="18446" y="7942"/>
                    <a:pt x="20683" y="10910"/>
                    <a:pt x="23412" y="11832"/>
                  </a:cubicBezTo>
                  <a:cubicBezTo>
                    <a:pt x="23575" y="11887"/>
                    <a:pt x="23746" y="11936"/>
                    <a:pt x="23923" y="11980"/>
                  </a:cubicBezTo>
                  <a:lnTo>
                    <a:pt x="23949" y="11980"/>
                  </a:lnTo>
                  <a:lnTo>
                    <a:pt x="23949" y="114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5761137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Footer Placeholder 58">
            <a:extLst>
              <a:ext uri="{FF2B5EF4-FFF2-40B4-BE49-F238E27FC236}">
                <a16:creationId xmlns:a16="http://schemas.microsoft.com/office/drawing/2014/main" id="{97C646C4-6561-B2D0-2CD7-36809EAF4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* FSG sale completed in February 2023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FF1AE4-61BB-AEEA-B181-0A5314B91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VERSE PORTFOLIO OF COMPANIES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2611E9A-39AF-3CEC-9DDC-0A4C2650E0B0}"/>
              </a:ext>
            </a:extLst>
          </p:cNvPr>
          <p:cNvSpPr/>
          <p:nvPr/>
        </p:nvSpPr>
        <p:spPr>
          <a:xfrm>
            <a:off x="8253466" y="3775302"/>
            <a:ext cx="3672541" cy="3156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tshego 		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7.91%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A8A3097-80BD-B971-2EA5-897A986EFD3F}"/>
              </a:ext>
            </a:extLst>
          </p:cNvPr>
          <p:cNvSpPr/>
          <p:nvPr/>
        </p:nvSpPr>
        <p:spPr>
          <a:xfrm>
            <a:off x="8278858" y="4277144"/>
            <a:ext cx="3672541" cy="3156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C 			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.00%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8EF2B6E-4723-23F0-48B6-04E4408FDF3D}"/>
              </a:ext>
            </a:extLst>
          </p:cNvPr>
          <p:cNvSpPr/>
          <p:nvPr/>
        </p:nvSpPr>
        <p:spPr>
          <a:xfrm>
            <a:off x="8301972" y="5266182"/>
            <a:ext cx="3672541" cy="3156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SG* 			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7.62%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185D20-6DBA-1222-2ED1-DD93758F123F}"/>
              </a:ext>
            </a:extLst>
          </p:cNvPr>
          <p:cNvSpPr/>
          <p:nvPr/>
        </p:nvSpPr>
        <p:spPr>
          <a:xfrm>
            <a:off x="8278858" y="5807494"/>
            <a:ext cx="3655847" cy="3156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CO 			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5.10%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8BD97E4-9226-EA4B-5C1C-CD7D7949B48A}"/>
              </a:ext>
            </a:extLst>
          </p:cNvPr>
          <p:cNvSpPr/>
          <p:nvPr/>
        </p:nvSpPr>
        <p:spPr>
          <a:xfrm>
            <a:off x="215899" y="4295108"/>
            <a:ext cx="4595814" cy="3156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HL top shareholder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768F093-2688-FE39-2AF7-959D4D9F084D}"/>
              </a:ext>
            </a:extLst>
          </p:cNvPr>
          <p:cNvSpPr/>
          <p:nvPr/>
        </p:nvSpPr>
        <p:spPr>
          <a:xfrm>
            <a:off x="474540" y="4696503"/>
            <a:ext cx="4166061" cy="3156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nlam			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8.43%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203B297-E954-988A-805C-8D45C9D7772B}"/>
              </a:ext>
            </a:extLst>
          </p:cNvPr>
          <p:cNvSpPr/>
          <p:nvPr/>
        </p:nvSpPr>
        <p:spPr>
          <a:xfrm>
            <a:off x="474539" y="5077555"/>
            <a:ext cx="4166061" cy="3156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POPF			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.05%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AE32A88-92F0-23E3-7946-817CC7CC726E}"/>
              </a:ext>
            </a:extLst>
          </p:cNvPr>
          <p:cNvSpPr/>
          <p:nvPr/>
        </p:nvSpPr>
        <p:spPr>
          <a:xfrm>
            <a:off x="474539" y="5442145"/>
            <a:ext cx="4166061" cy="3156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VA 			  </a:t>
            </a:r>
            <a:r>
              <a:rPr lang="en-US" b="1" dirty="0">
                <a:solidFill>
                  <a:schemeClr val="tx2"/>
                </a:solidFill>
                <a:latin typeface="Arial"/>
              </a:rPr>
              <a:t>4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04%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224D3D4-75B3-36BE-B979-BADCA84C7E5C}"/>
              </a:ext>
            </a:extLst>
          </p:cNvPr>
          <p:cNvSpPr/>
          <p:nvPr/>
        </p:nvSpPr>
        <p:spPr>
          <a:xfrm>
            <a:off x="474539" y="5841027"/>
            <a:ext cx="4166061" cy="3156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her			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5.49%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A84AF659-91F8-A2EE-8E03-6A7BD4A59E0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760" b="23760"/>
          <a:stretch/>
        </p:blipFill>
        <p:spPr>
          <a:xfrm>
            <a:off x="807600" y="3265725"/>
            <a:ext cx="893050" cy="56079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690B52CC-4E3C-3A73-A8D3-1752AE52F5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7515" b="16687"/>
          <a:stretch/>
        </p:blipFill>
        <p:spPr>
          <a:xfrm>
            <a:off x="3111178" y="3164506"/>
            <a:ext cx="786029" cy="618196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0481D45B-4F09-20C2-CCC5-FFC8CBC5C3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00926" y="3860398"/>
            <a:ext cx="962864" cy="207004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41E9FB85-6693-E305-7E50-615B4D79AB9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710" b="8878"/>
          <a:stretch/>
        </p:blipFill>
        <p:spPr>
          <a:xfrm>
            <a:off x="9806352" y="4235720"/>
            <a:ext cx="552013" cy="460446"/>
          </a:xfrm>
          <a:prstGeom prst="rect">
            <a:avLst/>
          </a:prstGeom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49FE45F7-38C7-62DD-564F-95738E45648D}"/>
              </a:ext>
            </a:extLst>
          </p:cNvPr>
          <p:cNvSpPr/>
          <p:nvPr/>
        </p:nvSpPr>
        <p:spPr>
          <a:xfrm>
            <a:off x="8280862" y="4781830"/>
            <a:ext cx="3693650" cy="3096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and Re Tanzania        	</a:t>
            </a:r>
            <a:r>
              <a:rPr lang="en-US" b="1" dirty="0">
                <a:solidFill>
                  <a:schemeClr val="tx2"/>
                </a:solidFill>
                <a:latin typeface="Arial"/>
              </a:rPr>
              <a:t>33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00%</a:t>
            </a:r>
          </a:p>
        </p:txBody>
      </p:sp>
      <p:sp>
        <p:nvSpPr>
          <p:cNvPr id="52" name="Left Brace 51">
            <a:extLst>
              <a:ext uri="{FF2B5EF4-FFF2-40B4-BE49-F238E27FC236}">
                <a16:creationId xmlns:a16="http://schemas.microsoft.com/office/drawing/2014/main" id="{9D2E26F6-1DC5-51EA-B4F5-0734B7072F91}"/>
              </a:ext>
            </a:extLst>
          </p:cNvPr>
          <p:cNvSpPr/>
          <p:nvPr/>
        </p:nvSpPr>
        <p:spPr>
          <a:xfrm>
            <a:off x="8156865" y="4316197"/>
            <a:ext cx="148935" cy="782447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BBC8982-5F45-4DC4-6202-3B99F0D05F4D}"/>
              </a:ext>
            </a:extLst>
          </p:cNvPr>
          <p:cNvSpPr txBox="1"/>
          <p:nvPr/>
        </p:nvSpPr>
        <p:spPr>
          <a:xfrm>
            <a:off x="7494587" y="4331998"/>
            <a:ext cx="683053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wned via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ledimo</a:t>
            </a: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616626A3-0DD3-E9F1-A0E1-C5AF6FED558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40852" y="5666504"/>
            <a:ext cx="483012" cy="483011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704D10B1-D6C8-20FE-B135-EC1590E998F2}"/>
              </a:ext>
            </a:extLst>
          </p:cNvPr>
          <p:cNvSpPr txBox="1"/>
          <p:nvPr/>
        </p:nvSpPr>
        <p:spPr>
          <a:xfrm>
            <a:off x="2818393" y="3883079"/>
            <a:ext cx="1371600" cy="46044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flife Zambia 49.0%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tx2"/>
                </a:solidFill>
                <a:latin typeface="Arial"/>
              </a:rPr>
              <a:t>Khumo PAM 50%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0FA0175-0F91-4853-A7B8-1D0835C2E839}"/>
              </a:ext>
            </a:extLst>
          </p:cNvPr>
          <p:cNvSpPr/>
          <p:nvPr/>
        </p:nvSpPr>
        <p:spPr>
          <a:xfrm>
            <a:off x="-6350" y="2246662"/>
            <a:ext cx="12192000" cy="334331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243024F2-A6F1-BF88-A0E1-7F2F6BC098B7}"/>
              </a:ext>
            </a:extLst>
          </p:cNvPr>
          <p:cNvGrpSpPr/>
          <p:nvPr/>
        </p:nvGrpSpPr>
        <p:grpSpPr>
          <a:xfrm>
            <a:off x="5257800" y="1674536"/>
            <a:ext cx="1676400" cy="1906864"/>
            <a:chOff x="5257800" y="1371600"/>
            <a:chExt cx="1676400" cy="1906864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65863E8-79FB-E7DA-22A7-EC58E9840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0302" y="2935923"/>
              <a:ext cx="691397" cy="342541"/>
            </a:xfrm>
            <a:custGeom>
              <a:avLst/>
              <a:gdLst>
                <a:gd name="T0" fmla="*/ 961 w 1922"/>
                <a:gd name="T1" fmla="*/ 954 h 954"/>
                <a:gd name="T2" fmla="*/ 0 w 1922"/>
                <a:gd name="T3" fmla="*/ 0 h 954"/>
                <a:gd name="T4" fmla="*/ 1922 w 1922"/>
                <a:gd name="T5" fmla="*/ 0 h 954"/>
                <a:gd name="T6" fmla="*/ 961 w 1922"/>
                <a:gd name="T7" fmla="*/ 954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22" h="954">
                  <a:moveTo>
                    <a:pt x="961" y="954"/>
                  </a:moveTo>
                  <a:lnTo>
                    <a:pt x="0" y="0"/>
                  </a:lnTo>
                  <a:lnTo>
                    <a:pt x="1922" y="0"/>
                  </a:lnTo>
                  <a:lnTo>
                    <a:pt x="961" y="95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" name="Oval 6">
              <a:extLst>
                <a:ext uri="{FF2B5EF4-FFF2-40B4-BE49-F238E27FC236}">
                  <a16:creationId xmlns:a16="http://schemas.microsoft.com/office/drawing/2014/main" id="{9310424A-243C-225C-6736-1E77D6159F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7800" y="1371600"/>
              <a:ext cx="1676400" cy="1677978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" name="Oval 7">
              <a:extLst>
                <a:ext uri="{FF2B5EF4-FFF2-40B4-BE49-F238E27FC236}">
                  <a16:creationId xmlns:a16="http://schemas.microsoft.com/office/drawing/2014/main" id="{FDA5D39A-3248-6D9B-F567-0A430862E1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7800" y="1371600"/>
              <a:ext cx="1676400" cy="1677978"/>
            </a:xfrm>
            <a:prstGeom prst="ellipse">
              <a:avLst/>
            </a:prstGeom>
            <a:noFill/>
            <a:ln w="12700" cap="flat">
              <a:solidFill>
                <a:srgbClr val="FEFEF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87E92D6C-30E9-E665-4805-52CF6BF1EA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8044" y="2313982"/>
              <a:ext cx="154696" cy="151539"/>
            </a:xfrm>
            <a:custGeom>
              <a:avLst/>
              <a:gdLst>
                <a:gd name="T0" fmla="*/ 426 w 429"/>
                <a:gd name="T1" fmla="*/ 200 h 422"/>
                <a:gd name="T2" fmla="*/ 215 w 429"/>
                <a:gd name="T3" fmla="*/ 0 h 422"/>
                <a:gd name="T4" fmla="*/ 0 w 429"/>
                <a:gd name="T5" fmla="*/ 212 h 422"/>
                <a:gd name="T6" fmla="*/ 213 w 429"/>
                <a:gd name="T7" fmla="*/ 422 h 422"/>
                <a:gd name="T8" fmla="*/ 363 w 429"/>
                <a:gd name="T9" fmla="*/ 367 h 422"/>
                <a:gd name="T10" fmla="*/ 426 w 429"/>
                <a:gd name="T11" fmla="*/ 200 h 422"/>
                <a:gd name="T12" fmla="*/ 328 w 429"/>
                <a:gd name="T13" fmla="*/ 337 h 422"/>
                <a:gd name="T14" fmla="*/ 214 w 429"/>
                <a:gd name="T15" fmla="*/ 398 h 422"/>
                <a:gd name="T16" fmla="*/ 73 w 429"/>
                <a:gd name="T17" fmla="*/ 273 h 422"/>
                <a:gd name="T18" fmla="*/ 67 w 429"/>
                <a:gd name="T19" fmla="*/ 208 h 422"/>
                <a:gd name="T20" fmla="*/ 150 w 429"/>
                <a:gd name="T21" fmla="*/ 38 h 422"/>
                <a:gd name="T22" fmla="*/ 212 w 429"/>
                <a:gd name="T23" fmla="*/ 24 h 422"/>
                <a:gd name="T24" fmla="*/ 323 w 429"/>
                <a:gd name="T25" fmla="*/ 79 h 422"/>
                <a:gd name="T26" fmla="*/ 359 w 429"/>
                <a:gd name="T27" fmla="*/ 203 h 422"/>
                <a:gd name="T28" fmla="*/ 328 w 429"/>
                <a:gd name="T29" fmla="*/ 337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9" h="422">
                  <a:moveTo>
                    <a:pt x="426" y="200"/>
                  </a:moveTo>
                  <a:cubicBezTo>
                    <a:pt x="421" y="101"/>
                    <a:pt x="354" y="0"/>
                    <a:pt x="215" y="0"/>
                  </a:cubicBezTo>
                  <a:cubicBezTo>
                    <a:pt x="86" y="0"/>
                    <a:pt x="0" y="85"/>
                    <a:pt x="0" y="212"/>
                  </a:cubicBezTo>
                  <a:cubicBezTo>
                    <a:pt x="0" y="357"/>
                    <a:pt x="107" y="422"/>
                    <a:pt x="213" y="422"/>
                  </a:cubicBezTo>
                  <a:cubicBezTo>
                    <a:pt x="272" y="422"/>
                    <a:pt x="324" y="403"/>
                    <a:pt x="363" y="367"/>
                  </a:cubicBezTo>
                  <a:cubicBezTo>
                    <a:pt x="407" y="326"/>
                    <a:pt x="429" y="267"/>
                    <a:pt x="426" y="200"/>
                  </a:cubicBezTo>
                  <a:close/>
                  <a:moveTo>
                    <a:pt x="328" y="337"/>
                  </a:moveTo>
                  <a:cubicBezTo>
                    <a:pt x="291" y="393"/>
                    <a:pt x="236" y="398"/>
                    <a:pt x="214" y="398"/>
                  </a:cubicBezTo>
                  <a:cubicBezTo>
                    <a:pt x="195" y="398"/>
                    <a:pt x="98" y="392"/>
                    <a:pt x="73" y="273"/>
                  </a:cubicBezTo>
                  <a:cubicBezTo>
                    <a:pt x="69" y="254"/>
                    <a:pt x="67" y="232"/>
                    <a:pt x="67" y="208"/>
                  </a:cubicBezTo>
                  <a:cubicBezTo>
                    <a:pt x="67" y="123"/>
                    <a:pt x="95" y="66"/>
                    <a:pt x="150" y="38"/>
                  </a:cubicBezTo>
                  <a:cubicBezTo>
                    <a:pt x="168" y="29"/>
                    <a:pt x="190" y="24"/>
                    <a:pt x="212" y="24"/>
                  </a:cubicBezTo>
                  <a:cubicBezTo>
                    <a:pt x="269" y="24"/>
                    <a:pt x="304" y="54"/>
                    <a:pt x="323" y="79"/>
                  </a:cubicBezTo>
                  <a:cubicBezTo>
                    <a:pt x="353" y="120"/>
                    <a:pt x="358" y="170"/>
                    <a:pt x="359" y="203"/>
                  </a:cubicBezTo>
                  <a:cubicBezTo>
                    <a:pt x="360" y="259"/>
                    <a:pt x="349" y="304"/>
                    <a:pt x="328" y="337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1AD44EE3-EB11-39D2-6774-45DCFC2F87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7428" y="2315561"/>
              <a:ext cx="108919" cy="149961"/>
            </a:xfrm>
            <a:custGeom>
              <a:avLst/>
              <a:gdLst>
                <a:gd name="T0" fmla="*/ 0 w 305"/>
                <a:gd name="T1" fmla="*/ 414 h 414"/>
                <a:gd name="T2" fmla="*/ 0 w 305"/>
                <a:gd name="T3" fmla="*/ 0 h 414"/>
                <a:gd name="T4" fmla="*/ 118 w 305"/>
                <a:gd name="T5" fmla="*/ 0 h 414"/>
                <a:gd name="T6" fmla="*/ 305 w 305"/>
                <a:gd name="T7" fmla="*/ 113 h 414"/>
                <a:gd name="T8" fmla="*/ 120 w 305"/>
                <a:gd name="T9" fmla="*/ 227 h 414"/>
                <a:gd name="T10" fmla="*/ 60 w 305"/>
                <a:gd name="T11" fmla="*/ 227 h 414"/>
                <a:gd name="T12" fmla="*/ 60 w 305"/>
                <a:gd name="T13" fmla="*/ 414 h 414"/>
                <a:gd name="T14" fmla="*/ 0 w 305"/>
                <a:gd name="T15" fmla="*/ 414 h 414"/>
                <a:gd name="T16" fmla="*/ 112 w 305"/>
                <a:gd name="T17" fmla="*/ 20 h 414"/>
                <a:gd name="T18" fmla="*/ 60 w 305"/>
                <a:gd name="T19" fmla="*/ 24 h 414"/>
                <a:gd name="T20" fmla="*/ 60 w 305"/>
                <a:gd name="T21" fmla="*/ 203 h 414"/>
                <a:gd name="T22" fmla="*/ 107 w 305"/>
                <a:gd name="T23" fmla="*/ 203 h 414"/>
                <a:gd name="T24" fmla="*/ 240 w 305"/>
                <a:gd name="T25" fmla="*/ 114 h 414"/>
                <a:gd name="T26" fmla="*/ 112 w 305"/>
                <a:gd name="T27" fmla="*/ 20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5" h="414">
                  <a:moveTo>
                    <a:pt x="0" y="414"/>
                  </a:moveTo>
                  <a:lnTo>
                    <a:pt x="0" y="0"/>
                  </a:lnTo>
                  <a:lnTo>
                    <a:pt x="118" y="0"/>
                  </a:lnTo>
                  <a:cubicBezTo>
                    <a:pt x="244" y="0"/>
                    <a:pt x="305" y="38"/>
                    <a:pt x="305" y="113"/>
                  </a:cubicBezTo>
                  <a:cubicBezTo>
                    <a:pt x="305" y="220"/>
                    <a:pt x="175" y="227"/>
                    <a:pt x="120" y="227"/>
                  </a:cubicBezTo>
                  <a:lnTo>
                    <a:pt x="60" y="227"/>
                  </a:lnTo>
                  <a:lnTo>
                    <a:pt x="60" y="414"/>
                  </a:lnTo>
                  <a:lnTo>
                    <a:pt x="0" y="414"/>
                  </a:lnTo>
                  <a:close/>
                  <a:moveTo>
                    <a:pt x="112" y="20"/>
                  </a:moveTo>
                  <a:cubicBezTo>
                    <a:pt x="81" y="20"/>
                    <a:pt x="60" y="24"/>
                    <a:pt x="60" y="24"/>
                  </a:cubicBezTo>
                  <a:lnTo>
                    <a:pt x="60" y="203"/>
                  </a:lnTo>
                  <a:lnTo>
                    <a:pt x="107" y="203"/>
                  </a:lnTo>
                  <a:cubicBezTo>
                    <a:pt x="195" y="203"/>
                    <a:pt x="240" y="181"/>
                    <a:pt x="240" y="114"/>
                  </a:cubicBezTo>
                  <a:cubicBezTo>
                    <a:pt x="240" y="69"/>
                    <a:pt x="218" y="20"/>
                    <a:pt x="112" y="2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3211ECDE-D13B-2767-D15D-D921500AEC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7468" y="2315561"/>
              <a:ext cx="110497" cy="149961"/>
            </a:xfrm>
            <a:custGeom>
              <a:avLst/>
              <a:gdLst>
                <a:gd name="T0" fmla="*/ 166 w 311"/>
                <a:gd name="T1" fmla="*/ 418 h 418"/>
                <a:gd name="T2" fmla="*/ 15 w 311"/>
                <a:gd name="T3" fmla="*/ 360 h 418"/>
                <a:gd name="T4" fmla="*/ 0 w 311"/>
                <a:gd name="T5" fmla="*/ 292 h 418"/>
                <a:gd name="T6" fmla="*/ 0 w 311"/>
                <a:gd name="T7" fmla="*/ 0 h 418"/>
                <a:gd name="T8" fmla="*/ 60 w 311"/>
                <a:gd name="T9" fmla="*/ 0 h 418"/>
                <a:gd name="T10" fmla="*/ 60 w 311"/>
                <a:gd name="T11" fmla="*/ 290 h 418"/>
                <a:gd name="T12" fmla="*/ 166 w 311"/>
                <a:gd name="T13" fmla="*/ 394 h 418"/>
                <a:gd name="T14" fmla="*/ 269 w 311"/>
                <a:gd name="T15" fmla="*/ 296 h 418"/>
                <a:gd name="T16" fmla="*/ 269 w 311"/>
                <a:gd name="T17" fmla="*/ 0 h 418"/>
                <a:gd name="T18" fmla="*/ 311 w 311"/>
                <a:gd name="T19" fmla="*/ 0 h 418"/>
                <a:gd name="T20" fmla="*/ 311 w 311"/>
                <a:gd name="T21" fmla="*/ 300 h 418"/>
                <a:gd name="T22" fmla="*/ 298 w 311"/>
                <a:gd name="T23" fmla="*/ 358 h 418"/>
                <a:gd name="T24" fmla="*/ 166 w 311"/>
                <a:gd name="T25" fmla="*/ 418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1" h="418">
                  <a:moveTo>
                    <a:pt x="166" y="418"/>
                  </a:moveTo>
                  <a:cubicBezTo>
                    <a:pt x="117" y="418"/>
                    <a:pt x="43" y="412"/>
                    <a:pt x="15" y="360"/>
                  </a:cubicBezTo>
                  <a:cubicBezTo>
                    <a:pt x="5" y="344"/>
                    <a:pt x="0" y="321"/>
                    <a:pt x="0" y="292"/>
                  </a:cubicBezTo>
                  <a:lnTo>
                    <a:pt x="0" y="0"/>
                  </a:lnTo>
                  <a:lnTo>
                    <a:pt x="60" y="0"/>
                  </a:lnTo>
                  <a:lnTo>
                    <a:pt x="60" y="290"/>
                  </a:lnTo>
                  <a:cubicBezTo>
                    <a:pt x="61" y="316"/>
                    <a:pt x="63" y="394"/>
                    <a:pt x="166" y="394"/>
                  </a:cubicBezTo>
                  <a:cubicBezTo>
                    <a:pt x="197" y="394"/>
                    <a:pt x="269" y="385"/>
                    <a:pt x="269" y="296"/>
                  </a:cubicBezTo>
                  <a:lnTo>
                    <a:pt x="269" y="0"/>
                  </a:lnTo>
                  <a:lnTo>
                    <a:pt x="311" y="0"/>
                  </a:lnTo>
                  <a:lnTo>
                    <a:pt x="311" y="300"/>
                  </a:lnTo>
                  <a:cubicBezTo>
                    <a:pt x="310" y="318"/>
                    <a:pt x="310" y="338"/>
                    <a:pt x="298" y="358"/>
                  </a:cubicBezTo>
                  <a:cubicBezTo>
                    <a:pt x="285" y="380"/>
                    <a:pt x="261" y="418"/>
                    <a:pt x="166" y="418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666474C1-577F-DFB7-6FE9-ACAC75F986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916" y="2313982"/>
              <a:ext cx="135754" cy="151539"/>
            </a:xfrm>
            <a:custGeom>
              <a:avLst/>
              <a:gdLst>
                <a:gd name="T0" fmla="*/ 225 w 378"/>
                <a:gd name="T1" fmla="*/ 422 h 422"/>
                <a:gd name="T2" fmla="*/ 0 w 378"/>
                <a:gd name="T3" fmla="*/ 211 h 422"/>
                <a:gd name="T4" fmla="*/ 218 w 378"/>
                <a:gd name="T5" fmla="*/ 0 h 422"/>
                <a:gd name="T6" fmla="*/ 378 w 378"/>
                <a:gd name="T7" fmla="*/ 77 h 422"/>
                <a:gd name="T8" fmla="*/ 353 w 378"/>
                <a:gd name="T9" fmla="*/ 103 h 422"/>
                <a:gd name="T10" fmla="*/ 321 w 378"/>
                <a:gd name="T11" fmla="*/ 80 h 422"/>
                <a:gd name="T12" fmla="*/ 217 w 378"/>
                <a:gd name="T13" fmla="*/ 24 h 422"/>
                <a:gd name="T14" fmla="*/ 70 w 378"/>
                <a:gd name="T15" fmla="*/ 201 h 422"/>
                <a:gd name="T16" fmla="*/ 232 w 378"/>
                <a:gd name="T17" fmla="*/ 399 h 422"/>
                <a:gd name="T18" fmla="*/ 295 w 378"/>
                <a:gd name="T19" fmla="*/ 384 h 422"/>
                <a:gd name="T20" fmla="*/ 320 w 378"/>
                <a:gd name="T21" fmla="*/ 330 h 422"/>
                <a:gd name="T22" fmla="*/ 320 w 378"/>
                <a:gd name="T23" fmla="*/ 231 h 422"/>
                <a:gd name="T24" fmla="*/ 267 w 378"/>
                <a:gd name="T25" fmla="*/ 231 h 422"/>
                <a:gd name="T26" fmla="*/ 288 w 378"/>
                <a:gd name="T27" fmla="*/ 207 h 422"/>
                <a:gd name="T28" fmla="*/ 377 w 378"/>
                <a:gd name="T29" fmla="*/ 207 h 422"/>
                <a:gd name="T30" fmla="*/ 377 w 378"/>
                <a:gd name="T31" fmla="*/ 368 h 422"/>
                <a:gd name="T32" fmla="*/ 355 w 378"/>
                <a:gd name="T33" fmla="*/ 389 h 422"/>
                <a:gd name="T34" fmla="*/ 225 w 378"/>
                <a:gd name="T35" fmla="*/ 422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8" h="422">
                  <a:moveTo>
                    <a:pt x="225" y="422"/>
                  </a:moveTo>
                  <a:cubicBezTo>
                    <a:pt x="16" y="422"/>
                    <a:pt x="0" y="261"/>
                    <a:pt x="0" y="211"/>
                  </a:cubicBezTo>
                  <a:cubicBezTo>
                    <a:pt x="0" y="85"/>
                    <a:pt x="88" y="0"/>
                    <a:pt x="218" y="0"/>
                  </a:cubicBezTo>
                  <a:cubicBezTo>
                    <a:pt x="330" y="0"/>
                    <a:pt x="378" y="55"/>
                    <a:pt x="378" y="77"/>
                  </a:cubicBezTo>
                  <a:cubicBezTo>
                    <a:pt x="378" y="90"/>
                    <a:pt x="365" y="103"/>
                    <a:pt x="353" y="103"/>
                  </a:cubicBezTo>
                  <a:cubicBezTo>
                    <a:pt x="338" y="103"/>
                    <a:pt x="332" y="95"/>
                    <a:pt x="321" y="80"/>
                  </a:cubicBezTo>
                  <a:cubicBezTo>
                    <a:pt x="305" y="59"/>
                    <a:pt x="278" y="24"/>
                    <a:pt x="217" y="24"/>
                  </a:cubicBezTo>
                  <a:cubicBezTo>
                    <a:pt x="127" y="24"/>
                    <a:pt x="70" y="90"/>
                    <a:pt x="70" y="201"/>
                  </a:cubicBezTo>
                  <a:cubicBezTo>
                    <a:pt x="70" y="323"/>
                    <a:pt x="132" y="399"/>
                    <a:pt x="232" y="399"/>
                  </a:cubicBezTo>
                  <a:cubicBezTo>
                    <a:pt x="257" y="399"/>
                    <a:pt x="280" y="393"/>
                    <a:pt x="295" y="384"/>
                  </a:cubicBezTo>
                  <a:cubicBezTo>
                    <a:pt x="320" y="369"/>
                    <a:pt x="320" y="348"/>
                    <a:pt x="320" y="330"/>
                  </a:cubicBezTo>
                  <a:lnTo>
                    <a:pt x="320" y="231"/>
                  </a:lnTo>
                  <a:lnTo>
                    <a:pt x="267" y="231"/>
                  </a:lnTo>
                  <a:lnTo>
                    <a:pt x="288" y="207"/>
                  </a:lnTo>
                  <a:lnTo>
                    <a:pt x="377" y="207"/>
                  </a:lnTo>
                  <a:lnTo>
                    <a:pt x="377" y="368"/>
                  </a:lnTo>
                  <a:cubicBezTo>
                    <a:pt x="372" y="374"/>
                    <a:pt x="365" y="382"/>
                    <a:pt x="355" y="389"/>
                  </a:cubicBezTo>
                  <a:cubicBezTo>
                    <a:pt x="336" y="403"/>
                    <a:pt x="302" y="422"/>
                    <a:pt x="225" y="422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09F2C8B9-B346-2E10-DE9C-E311C7E2EC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93868" y="2315561"/>
              <a:ext cx="113654" cy="149961"/>
            </a:xfrm>
            <a:custGeom>
              <a:avLst/>
              <a:gdLst>
                <a:gd name="T0" fmla="*/ 318 w 318"/>
                <a:gd name="T1" fmla="*/ 414 h 414"/>
                <a:gd name="T2" fmla="*/ 176 w 318"/>
                <a:gd name="T3" fmla="*/ 222 h 414"/>
                <a:gd name="T4" fmla="*/ 202 w 318"/>
                <a:gd name="T5" fmla="*/ 217 h 414"/>
                <a:gd name="T6" fmla="*/ 296 w 318"/>
                <a:gd name="T7" fmla="*/ 113 h 414"/>
                <a:gd name="T8" fmla="*/ 253 w 318"/>
                <a:gd name="T9" fmla="*/ 29 h 414"/>
                <a:gd name="T10" fmla="*/ 114 w 318"/>
                <a:gd name="T11" fmla="*/ 0 h 414"/>
                <a:gd name="T12" fmla="*/ 0 w 318"/>
                <a:gd name="T13" fmla="*/ 0 h 414"/>
                <a:gd name="T14" fmla="*/ 0 w 318"/>
                <a:gd name="T15" fmla="*/ 414 h 414"/>
                <a:gd name="T16" fmla="*/ 59 w 318"/>
                <a:gd name="T17" fmla="*/ 414 h 414"/>
                <a:gd name="T18" fmla="*/ 59 w 318"/>
                <a:gd name="T19" fmla="*/ 260 h 414"/>
                <a:gd name="T20" fmla="*/ 96 w 318"/>
                <a:gd name="T21" fmla="*/ 227 h 414"/>
                <a:gd name="T22" fmla="*/ 137 w 318"/>
                <a:gd name="T23" fmla="*/ 251 h 414"/>
                <a:gd name="T24" fmla="*/ 252 w 318"/>
                <a:gd name="T25" fmla="*/ 414 h 414"/>
                <a:gd name="T26" fmla="*/ 318 w 318"/>
                <a:gd name="T27" fmla="*/ 414 h 414"/>
                <a:gd name="T28" fmla="*/ 127 w 318"/>
                <a:gd name="T29" fmla="*/ 202 h 414"/>
                <a:gd name="T30" fmla="*/ 103 w 318"/>
                <a:gd name="T31" fmla="*/ 203 h 414"/>
                <a:gd name="T32" fmla="*/ 59 w 318"/>
                <a:gd name="T33" fmla="*/ 203 h 414"/>
                <a:gd name="T34" fmla="*/ 59 w 318"/>
                <a:gd name="T35" fmla="*/ 24 h 414"/>
                <a:gd name="T36" fmla="*/ 110 w 318"/>
                <a:gd name="T37" fmla="*/ 20 h 414"/>
                <a:gd name="T38" fmla="*/ 231 w 318"/>
                <a:gd name="T39" fmla="*/ 115 h 414"/>
                <a:gd name="T40" fmla="*/ 127 w 318"/>
                <a:gd name="T41" fmla="*/ 20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8" h="414">
                  <a:moveTo>
                    <a:pt x="318" y="414"/>
                  </a:moveTo>
                  <a:lnTo>
                    <a:pt x="176" y="222"/>
                  </a:lnTo>
                  <a:cubicBezTo>
                    <a:pt x="176" y="222"/>
                    <a:pt x="196" y="219"/>
                    <a:pt x="202" y="217"/>
                  </a:cubicBezTo>
                  <a:cubicBezTo>
                    <a:pt x="226" y="211"/>
                    <a:pt x="296" y="192"/>
                    <a:pt x="296" y="113"/>
                  </a:cubicBezTo>
                  <a:cubicBezTo>
                    <a:pt x="296" y="75"/>
                    <a:pt x="279" y="46"/>
                    <a:pt x="253" y="29"/>
                  </a:cubicBezTo>
                  <a:cubicBezTo>
                    <a:pt x="217" y="4"/>
                    <a:pt x="162" y="0"/>
                    <a:pt x="114" y="0"/>
                  </a:cubicBezTo>
                  <a:lnTo>
                    <a:pt x="0" y="0"/>
                  </a:lnTo>
                  <a:lnTo>
                    <a:pt x="0" y="414"/>
                  </a:lnTo>
                  <a:lnTo>
                    <a:pt x="59" y="414"/>
                  </a:lnTo>
                  <a:lnTo>
                    <a:pt x="59" y="260"/>
                  </a:lnTo>
                  <a:cubicBezTo>
                    <a:pt x="59" y="234"/>
                    <a:pt x="75" y="227"/>
                    <a:pt x="96" y="227"/>
                  </a:cubicBezTo>
                  <a:cubicBezTo>
                    <a:pt x="108" y="227"/>
                    <a:pt x="125" y="231"/>
                    <a:pt x="137" y="251"/>
                  </a:cubicBezTo>
                  <a:lnTo>
                    <a:pt x="252" y="414"/>
                  </a:lnTo>
                  <a:lnTo>
                    <a:pt x="318" y="414"/>
                  </a:lnTo>
                  <a:close/>
                  <a:moveTo>
                    <a:pt x="127" y="202"/>
                  </a:moveTo>
                  <a:cubicBezTo>
                    <a:pt x="119" y="203"/>
                    <a:pt x="112" y="203"/>
                    <a:pt x="103" y="203"/>
                  </a:cubicBezTo>
                  <a:lnTo>
                    <a:pt x="59" y="203"/>
                  </a:lnTo>
                  <a:lnTo>
                    <a:pt x="59" y="24"/>
                  </a:lnTo>
                  <a:cubicBezTo>
                    <a:pt x="59" y="24"/>
                    <a:pt x="80" y="20"/>
                    <a:pt x="110" y="20"/>
                  </a:cubicBezTo>
                  <a:cubicBezTo>
                    <a:pt x="190" y="20"/>
                    <a:pt x="231" y="54"/>
                    <a:pt x="231" y="115"/>
                  </a:cubicBezTo>
                  <a:cubicBezTo>
                    <a:pt x="231" y="177"/>
                    <a:pt x="192" y="196"/>
                    <a:pt x="127" y="202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87102200-151A-2727-2338-3D8F107CB3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166" y="1946185"/>
              <a:ext cx="612470" cy="262036"/>
            </a:xfrm>
            <a:custGeom>
              <a:avLst/>
              <a:gdLst>
                <a:gd name="T0" fmla="*/ 1661 w 1702"/>
                <a:gd name="T1" fmla="*/ 563 h 731"/>
                <a:gd name="T2" fmla="*/ 1632 w 1702"/>
                <a:gd name="T3" fmla="*/ 559 h 731"/>
                <a:gd name="T4" fmla="*/ 1591 w 1702"/>
                <a:gd name="T5" fmla="*/ 564 h 731"/>
                <a:gd name="T6" fmla="*/ 1602 w 1702"/>
                <a:gd name="T7" fmla="*/ 646 h 731"/>
                <a:gd name="T8" fmla="*/ 1341 w 1702"/>
                <a:gd name="T9" fmla="*/ 639 h 731"/>
                <a:gd name="T10" fmla="*/ 944 w 1702"/>
                <a:gd name="T11" fmla="*/ 167 h 731"/>
                <a:gd name="T12" fmla="*/ 454 w 1702"/>
                <a:gd name="T13" fmla="*/ 65 h 731"/>
                <a:gd name="T14" fmla="*/ 310 w 1702"/>
                <a:gd name="T15" fmla="*/ 562 h 731"/>
                <a:gd name="T16" fmla="*/ 235 w 1702"/>
                <a:gd name="T17" fmla="*/ 297 h 731"/>
                <a:gd name="T18" fmla="*/ 213 w 1702"/>
                <a:gd name="T19" fmla="*/ 303 h 731"/>
                <a:gd name="T20" fmla="*/ 0 w 1702"/>
                <a:gd name="T21" fmla="*/ 248 h 731"/>
                <a:gd name="T22" fmla="*/ 0 w 1702"/>
                <a:gd name="T23" fmla="*/ 251 h 731"/>
                <a:gd name="T24" fmla="*/ 156 w 1702"/>
                <a:gd name="T25" fmla="*/ 350 h 731"/>
                <a:gd name="T26" fmla="*/ 386 w 1702"/>
                <a:gd name="T27" fmla="*/ 604 h 731"/>
                <a:gd name="T28" fmla="*/ 355 w 1702"/>
                <a:gd name="T29" fmla="*/ 354 h 731"/>
                <a:gd name="T30" fmla="*/ 642 w 1702"/>
                <a:gd name="T31" fmla="*/ 77 h 731"/>
                <a:gd name="T32" fmla="*/ 1016 w 1702"/>
                <a:gd name="T33" fmla="*/ 365 h 731"/>
                <a:gd name="T34" fmla="*/ 1396 w 1702"/>
                <a:gd name="T35" fmla="*/ 699 h 731"/>
                <a:gd name="T36" fmla="*/ 1643 w 1702"/>
                <a:gd name="T37" fmla="*/ 692 h 731"/>
                <a:gd name="T38" fmla="*/ 1661 w 1702"/>
                <a:gd name="T39" fmla="*/ 563 h 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02" h="731">
                  <a:moveTo>
                    <a:pt x="1661" y="563"/>
                  </a:moveTo>
                  <a:cubicBezTo>
                    <a:pt x="1654" y="561"/>
                    <a:pt x="1639" y="560"/>
                    <a:pt x="1632" y="559"/>
                  </a:cubicBezTo>
                  <a:cubicBezTo>
                    <a:pt x="1617" y="559"/>
                    <a:pt x="1604" y="560"/>
                    <a:pt x="1591" y="564"/>
                  </a:cubicBezTo>
                  <a:cubicBezTo>
                    <a:pt x="1617" y="586"/>
                    <a:pt x="1616" y="620"/>
                    <a:pt x="1602" y="646"/>
                  </a:cubicBezTo>
                  <a:cubicBezTo>
                    <a:pt x="1561" y="728"/>
                    <a:pt x="1401" y="679"/>
                    <a:pt x="1341" y="639"/>
                  </a:cubicBezTo>
                  <a:cubicBezTo>
                    <a:pt x="1157" y="517"/>
                    <a:pt x="1048" y="285"/>
                    <a:pt x="944" y="167"/>
                  </a:cubicBezTo>
                  <a:cubicBezTo>
                    <a:pt x="798" y="4"/>
                    <a:pt x="584" y="0"/>
                    <a:pt x="454" y="65"/>
                  </a:cubicBezTo>
                  <a:cubicBezTo>
                    <a:pt x="291" y="146"/>
                    <a:pt x="251" y="372"/>
                    <a:pt x="310" y="562"/>
                  </a:cubicBezTo>
                  <a:cubicBezTo>
                    <a:pt x="231" y="539"/>
                    <a:pt x="197" y="386"/>
                    <a:pt x="235" y="297"/>
                  </a:cubicBezTo>
                  <a:cubicBezTo>
                    <a:pt x="228" y="299"/>
                    <a:pt x="220" y="301"/>
                    <a:pt x="213" y="303"/>
                  </a:cubicBezTo>
                  <a:cubicBezTo>
                    <a:pt x="129" y="322"/>
                    <a:pt x="47" y="299"/>
                    <a:pt x="0" y="248"/>
                  </a:cubicBezTo>
                  <a:cubicBezTo>
                    <a:pt x="0" y="249"/>
                    <a:pt x="0" y="250"/>
                    <a:pt x="0" y="251"/>
                  </a:cubicBezTo>
                  <a:cubicBezTo>
                    <a:pt x="26" y="310"/>
                    <a:pt x="80" y="348"/>
                    <a:pt x="156" y="350"/>
                  </a:cubicBezTo>
                  <a:cubicBezTo>
                    <a:pt x="152" y="552"/>
                    <a:pt x="265" y="614"/>
                    <a:pt x="386" y="604"/>
                  </a:cubicBezTo>
                  <a:cubicBezTo>
                    <a:pt x="353" y="543"/>
                    <a:pt x="344" y="434"/>
                    <a:pt x="355" y="354"/>
                  </a:cubicBezTo>
                  <a:cubicBezTo>
                    <a:pt x="366" y="278"/>
                    <a:pt x="433" y="83"/>
                    <a:pt x="642" y="77"/>
                  </a:cubicBezTo>
                  <a:cubicBezTo>
                    <a:pt x="843" y="71"/>
                    <a:pt x="918" y="243"/>
                    <a:pt x="1016" y="365"/>
                  </a:cubicBezTo>
                  <a:cubicBezTo>
                    <a:pt x="1100" y="470"/>
                    <a:pt x="1233" y="645"/>
                    <a:pt x="1396" y="699"/>
                  </a:cubicBezTo>
                  <a:cubicBezTo>
                    <a:pt x="1471" y="724"/>
                    <a:pt x="1576" y="731"/>
                    <a:pt x="1643" y="692"/>
                  </a:cubicBezTo>
                  <a:cubicBezTo>
                    <a:pt x="1685" y="668"/>
                    <a:pt x="1702" y="600"/>
                    <a:pt x="1661" y="563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E18C50EC-8410-2738-5F35-525601679C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6616" y="2151394"/>
              <a:ext cx="243094" cy="134176"/>
            </a:xfrm>
            <a:custGeom>
              <a:avLst/>
              <a:gdLst>
                <a:gd name="T0" fmla="*/ 621 w 676"/>
                <a:gd name="T1" fmla="*/ 348 h 372"/>
                <a:gd name="T2" fmla="*/ 494 w 676"/>
                <a:gd name="T3" fmla="*/ 263 h 372"/>
                <a:gd name="T4" fmla="*/ 450 w 676"/>
                <a:gd name="T5" fmla="*/ 143 h 372"/>
                <a:gd name="T6" fmla="*/ 452 w 676"/>
                <a:gd name="T7" fmla="*/ 125 h 372"/>
                <a:gd name="T8" fmla="*/ 419 w 676"/>
                <a:gd name="T9" fmla="*/ 122 h 372"/>
                <a:gd name="T10" fmla="*/ 377 w 676"/>
                <a:gd name="T11" fmla="*/ 126 h 372"/>
                <a:gd name="T12" fmla="*/ 208 w 676"/>
                <a:gd name="T13" fmla="*/ 174 h 372"/>
                <a:gd name="T14" fmla="*/ 67 w 676"/>
                <a:gd name="T15" fmla="*/ 10 h 372"/>
                <a:gd name="T16" fmla="*/ 57 w 676"/>
                <a:gd name="T17" fmla="*/ 0 h 372"/>
                <a:gd name="T18" fmla="*/ 0 w 676"/>
                <a:gd name="T19" fmla="*/ 18 h 372"/>
                <a:gd name="T20" fmla="*/ 42 w 676"/>
                <a:gd name="T21" fmla="*/ 83 h 372"/>
                <a:gd name="T22" fmla="*/ 188 w 676"/>
                <a:gd name="T23" fmla="*/ 192 h 372"/>
                <a:gd name="T24" fmla="*/ 379 w 676"/>
                <a:gd name="T25" fmla="*/ 176 h 372"/>
                <a:gd name="T26" fmla="*/ 433 w 676"/>
                <a:gd name="T27" fmla="*/ 279 h 372"/>
                <a:gd name="T28" fmla="*/ 572 w 676"/>
                <a:gd name="T29" fmla="*/ 360 h 372"/>
                <a:gd name="T30" fmla="*/ 676 w 676"/>
                <a:gd name="T31" fmla="*/ 362 h 372"/>
                <a:gd name="T32" fmla="*/ 621 w 676"/>
                <a:gd name="T33" fmla="*/ 34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76" h="372">
                  <a:moveTo>
                    <a:pt x="621" y="348"/>
                  </a:moveTo>
                  <a:cubicBezTo>
                    <a:pt x="567" y="330"/>
                    <a:pt x="524" y="300"/>
                    <a:pt x="494" y="263"/>
                  </a:cubicBezTo>
                  <a:cubicBezTo>
                    <a:pt x="466" y="229"/>
                    <a:pt x="450" y="184"/>
                    <a:pt x="450" y="143"/>
                  </a:cubicBezTo>
                  <a:cubicBezTo>
                    <a:pt x="450" y="137"/>
                    <a:pt x="452" y="125"/>
                    <a:pt x="452" y="125"/>
                  </a:cubicBezTo>
                  <a:cubicBezTo>
                    <a:pt x="452" y="125"/>
                    <a:pt x="436" y="122"/>
                    <a:pt x="419" y="122"/>
                  </a:cubicBezTo>
                  <a:cubicBezTo>
                    <a:pt x="391" y="122"/>
                    <a:pt x="377" y="126"/>
                    <a:pt x="377" y="126"/>
                  </a:cubicBezTo>
                  <a:cubicBezTo>
                    <a:pt x="377" y="126"/>
                    <a:pt x="312" y="200"/>
                    <a:pt x="208" y="174"/>
                  </a:cubicBezTo>
                  <a:cubicBezTo>
                    <a:pt x="109" y="149"/>
                    <a:pt x="111" y="62"/>
                    <a:pt x="67" y="10"/>
                  </a:cubicBezTo>
                  <a:cubicBezTo>
                    <a:pt x="64" y="6"/>
                    <a:pt x="61" y="3"/>
                    <a:pt x="57" y="0"/>
                  </a:cubicBezTo>
                  <a:lnTo>
                    <a:pt x="0" y="18"/>
                  </a:lnTo>
                  <a:cubicBezTo>
                    <a:pt x="14" y="33"/>
                    <a:pt x="29" y="54"/>
                    <a:pt x="42" y="83"/>
                  </a:cubicBezTo>
                  <a:cubicBezTo>
                    <a:pt x="61" y="125"/>
                    <a:pt x="106" y="174"/>
                    <a:pt x="188" y="192"/>
                  </a:cubicBezTo>
                  <a:cubicBezTo>
                    <a:pt x="249" y="206"/>
                    <a:pt x="315" y="202"/>
                    <a:pt x="379" y="176"/>
                  </a:cubicBezTo>
                  <a:cubicBezTo>
                    <a:pt x="386" y="213"/>
                    <a:pt x="405" y="249"/>
                    <a:pt x="433" y="279"/>
                  </a:cubicBezTo>
                  <a:cubicBezTo>
                    <a:pt x="465" y="314"/>
                    <a:pt x="517" y="344"/>
                    <a:pt x="572" y="360"/>
                  </a:cubicBezTo>
                  <a:cubicBezTo>
                    <a:pt x="611" y="372"/>
                    <a:pt x="656" y="371"/>
                    <a:pt x="676" y="362"/>
                  </a:cubicBezTo>
                  <a:cubicBezTo>
                    <a:pt x="657" y="359"/>
                    <a:pt x="638" y="354"/>
                    <a:pt x="621" y="348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55A70F1C-EFE5-98EF-4790-2693C350C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9283" y="2059839"/>
              <a:ext cx="172060" cy="162589"/>
            </a:xfrm>
            <a:custGeom>
              <a:avLst/>
              <a:gdLst>
                <a:gd name="T0" fmla="*/ 351 w 479"/>
                <a:gd name="T1" fmla="*/ 21 h 453"/>
                <a:gd name="T2" fmla="*/ 120 w 479"/>
                <a:gd name="T3" fmla="*/ 74 h 453"/>
                <a:gd name="T4" fmla="*/ 102 w 479"/>
                <a:gd name="T5" fmla="*/ 433 h 453"/>
                <a:gd name="T6" fmla="*/ 118 w 479"/>
                <a:gd name="T7" fmla="*/ 450 h 453"/>
                <a:gd name="T8" fmla="*/ 154 w 479"/>
                <a:gd name="T9" fmla="*/ 450 h 453"/>
                <a:gd name="T10" fmla="*/ 195 w 479"/>
                <a:gd name="T11" fmla="*/ 433 h 453"/>
                <a:gd name="T12" fmla="*/ 103 w 479"/>
                <a:gd name="T13" fmla="*/ 283 h 453"/>
                <a:gd name="T14" fmla="*/ 339 w 479"/>
                <a:gd name="T15" fmla="*/ 48 h 453"/>
                <a:gd name="T16" fmla="*/ 380 w 479"/>
                <a:gd name="T17" fmla="*/ 158 h 453"/>
                <a:gd name="T18" fmla="*/ 285 w 479"/>
                <a:gd name="T19" fmla="*/ 183 h 453"/>
                <a:gd name="T20" fmla="*/ 336 w 479"/>
                <a:gd name="T21" fmla="*/ 233 h 453"/>
                <a:gd name="T22" fmla="*/ 442 w 479"/>
                <a:gd name="T23" fmla="*/ 172 h 453"/>
                <a:gd name="T24" fmla="*/ 351 w 479"/>
                <a:gd name="T25" fmla="*/ 21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9" h="453">
                  <a:moveTo>
                    <a:pt x="351" y="21"/>
                  </a:moveTo>
                  <a:cubicBezTo>
                    <a:pt x="253" y="0"/>
                    <a:pt x="170" y="35"/>
                    <a:pt x="120" y="74"/>
                  </a:cubicBezTo>
                  <a:cubicBezTo>
                    <a:pt x="0" y="172"/>
                    <a:pt x="12" y="325"/>
                    <a:pt x="102" y="433"/>
                  </a:cubicBezTo>
                  <a:cubicBezTo>
                    <a:pt x="107" y="438"/>
                    <a:pt x="118" y="450"/>
                    <a:pt x="118" y="450"/>
                  </a:cubicBezTo>
                  <a:cubicBezTo>
                    <a:pt x="118" y="450"/>
                    <a:pt x="130" y="453"/>
                    <a:pt x="154" y="450"/>
                  </a:cubicBezTo>
                  <a:cubicBezTo>
                    <a:pt x="171" y="447"/>
                    <a:pt x="195" y="433"/>
                    <a:pt x="195" y="433"/>
                  </a:cubicBezTo>
                  <a:cubicBezTo>
                    <a:pt x="195" y="433"/>
                    <a:pt x="120" y="375"/>
                    <a:pt x="103" y="283"/>
                  </a:cubicBezTo>
                  <a:cubicBezTo>
                    <a:pt x="71" y="120"/>
                    <a:pt x="215" y="26"/>
                    <a:pt x="339" y="48"/>
                  </a:cubicBezTo>
                  <a:cubicBezTo>
                    <a:pt x="409" y="61"/>
                    <a:pt x="415" y="127"/>
                    <a:pt x="380" y="158"/>
                  </a:cubicBezTo>
                  <a:cubicBezTo>
                    <a:pt x="348" y="186"/>
                    <a:pt x="306" y="185"/>
                    <a:pt x="285" y="183"/>
                  </a:cubicBezTo>
                  <a:cubicBezTo>
                    <a:pt x="303" y="193"/>
                    <a:pt x="321" y="211"/>
                    <a:pt x="336" y="233"/>
                  </a:cubicBezTo>
                  <a:cubicBezTo>
                    <a:pt x="336" y="233"/>
                    <a:pt x="403" y="226"/>
                    <a:pt x="442" y="172"/>
                  </a:cubicBezTo>
                  <a:cubicBezTo>
                    <a:pt x="479" y="121"/>
                    <a:pt x="450" y="43"/>
                    <a:pt x="351" y="2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Rectangle 16">
              <a:extLst>
                <a:ext uri="{FF2B5EF4-FFF2-40B4-BE49-F238E27FC236}">
                  <a16:creationId xmlns:a16="http://schemas.microsoft.com/office/drawing/2014/main" id="{6E29E488-310F-183B-3629-D631799F2F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0341" y="2315561"/>
              <a:ext cx="29993" cy="149961"/>
            </a:xfrm>
            <a:prstGeom prst="rect">
              <a:avLst/>
            </a:pr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217F341A-6D9A-ACFA-54F4-CD5A00A0E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2906" y="2315561"/>
              <a:ext cx="99448" cy="149961"/>
            </a:xfrm>
            <a:custGeom>
              <a:avLst/>
              <a:gdLst>
                <a:gd name="T0" fmla="*/ 0 w 277"/>
                <a:gd name="T1" fmla="*/ 414 h 414"/>
                <a:gd name="T2" fmla="*/ 0 w 277"/>
                <a:gd name="T3" fmla="*/ 0 h 414"/>
                <a:gd name="T4" fmla="*/ 81 w 277"/>
                <a:gd name="T5" fmla="*/ 0 h 414"/>
                <a:gd name="T6" fmla="*/ 81 w 277"/>
                <a:gd name="T7" fmla="*/ 373 h 414"/>
                <a:gd name="T8" fmla="*/ 239 w 277"/>
                <a:gd name="T9" fmla="*/ 373 h 414"/>
                <a:gd name="T10" fmla="*/ 277 w 277"/>
                <a:gd name="T11" fmla="*/ 414 h 414"/>
                <a:gd name="T12" fmla="*/ 0 w 277"/>
                <a:gd name="T13" fmla="*/ 414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414">
                  <a:moveTo>
                    <a:pt x="0" y="414"/>
                  </a:moveTo>
                  <a:lnTo>
                    <a:pt x="0" y="0"/>
                  </a:lnTo>
                  <a:lnTo>
                    <a:pt x="81" y="0"/>
                  </a:lnTo>
                  <a:lnTo>
                    <a:pt x="81" y="373"/>
                  </a:lnTo>
                  <a:lnTo>
                    <a:pt x="239" y="373"/>
                  </a:lnTo>
                  <a:lnTo>
                    <a:pt x="277" y="414"/>
                  </a:lnTo>
                  <a:lnTo>
                    <a:pt x="0" y="414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EC7AC573-5635-BCF4-110B-FA0B6104D5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4595" y="2313982"/>
              <a:ext cx="124704" cy="151539"/>
            </a:xfrm>
            <a:custGeom>
              <a:avLst/>
              <a:gdLst>
                <a:gd name="T0" fmla="*/ 0 w 344"/>
                <a:gd name="T1" fmla="*/ 422 h 422"/>
                <a:gd name="T2" fmla="*/ 0 w 344"/>
                <a:gd name="T3" fmla="*/ 0 h 422"/>
                <a:gd name="T4" fmla="*/ 123 w 344"/>
                <a:gd name="T5" fmla="*/ 0 h 422"/>
                <a:gd name="T6" fmla="*/ 264 w 344"/>
                <a:gd name="T7" fmla="*/ 22 h 422"/>
                <a:gd name="T8" fmla="*/ 316 w 344"/>
                <a:gd name="T9" fmla="*/ 97 h 422"/>
                <a:gd name="T10" fmla="*/ 240 w 344"/>
                <a:gd name="T11" fmla="*/ 187 h 422"/>
                <a:gd name="T12" fmla="*/ 218 w 344"/>
                <a:gd name="T13" fmla="*/ 195 h 422"/>
                <a:gd name="T14" fmla="*/ 247 w 344"/>
                <a:gd name="T15" fmla="*/ 204 h 422"/>
                <a:gd name="T16" fmla="*/ 344 w 344"/>
                <a:gd name="T17" fmla="*/ 311 h 422"/>
                <a:gd name="T18" fmla="*/ 266 w 344"/>
                <a:gd name="T19" fmla="*/ 405 h 422"/>
                <a:gd name="T20" fmla="*/ 123 w 344"/>
                <a:gd name="T21" fmla="*/ 422 h 422"/>
                <a:gd name="T22" fmla="*/ 0 w 344"/>
                <a:gd name="T23" fmla="*/ 422 h 422"/>
                <a:gd name="T24" fmla="*/ 79 w 344"/>
                <a:gd name="T25" fmla="*/ 351 h 422"/>
                <a:gd name="T26" fmla="*/ 87 w 344"/>
                <a:gd name="T27" fmla="*/ 376 h 422"/>
                <a:gd name="T28" fmla="*/ 136 w 344"/>
                <a:gd name="T29" fmla="*/ 387 h 422"/>
                <a:gd name="T30" fmla="*/ 260 w 344"/>
                <a:gd name="T31" fmla="*/ 305 h 422"/>
                <a:gd name="T32" fmla="*/ 131 w 344"/>
                <a:gd name="T33" fmla="*/ 215 h 422"/>
                <a:gd name="T34" fmla="*/ 123 w 344"/>
                <a:gd name="T35" fmla="*/ 215 h 422"/>
                <a:gd name="T36" fmla="*/ 79 w 344"/>
                <a:gd name="T37" fmla="*/ 215 h 422"/>
                <a:gd name="T38" fmla="*/ 79 w 344"/>
                <a:gd name="T39" fmla="*/ 351 h 422"/>
                <a:gd name="T40" fmla="*/ 145 w 344"/>
                <a:gd name="T41" fmla="*/ 184 h 422"/>
                <a:gd name="T42" fmla="*/ 236 w 344"/>
                <a:gd name="T43" fmla="*/ 109 h 422"/>
                <a:gd name="T44" fmla="*/ 128 w 344"/>
                <a:gd name="T45" fmla="*/ 32 h 422"/>
                <a:gd name="T46" fmla="*/ 87 w 344"/>
                <a:gd name="T47" fmla="*/ 35 h 422"/>
                <a:gd name="T48" fmla="*/ 79 w 344"/>
                <a:gd name="T49" fmla="*/ 36 h 422"/>
                <a:gd name="T50" fmla="*/ 79 w 344"/>
                <a:gd name="T51" fmla="*/ 184 h 422"/>
                <a:gd name="T52" fmla="*/ 145 w 344"/>
                <a:gd name="T53" fmla="*/ 184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44" h="422">
                  <a:moveTo>
                    <a:pt x="0" y="422"/>
                  </a:moveTo>
                  <a:lnTo>
                    <a:pt x="0" y="0"/>
                  </a:lnTo>
                  <a:lnTo>
                    <a:pt x="123" y="0"/>
                  </a:lnTo>
                  <a:cubicBezTo>
                    <a:pt x="168" y="0"/>
                    <a:pt x="225" y="3"/>
                    <a:pt x="264" y="22"/>
                  </a:cubicBezTo>
                  <a:cubicBezTo>
                    <a:pt x="298" y="39"/>
                    <a:pt x="316" y="65"/>
                    <a:pt x="316" y="97"/>
                  </a:cubicBezTo>
                  <a:cubicBezTo>
                    <a:pt x="316" y="143"/>
                    <a:pt x="277" y="173"/>
                    <a:pt x="240" y="187"/>
                  </a:cubicBezTo>
                  <a:cubicBezTo>
                    <a:pt x="230" y="191"/>
                    <a:pt x="223" y="193"/>
                    <a:pt x="218" y="195"/>
                  </a:cubicBezTo>
                  <a:cubicBezTo>
                    <a:pt x="226" y="197"/>
                    <a:pt x="236" y="200"/>
                    <a:pt x="247" y="204"/>
                  </a:cubicBezTo>
                  <a:cubicBezTo>
                    <a:pt x="331" y="237"/>
                    <a:pt x="344" y="285"/>
                    <a:pt x="344" y="311"/>
                  </a:cubicBezTo>
                  <a:cubicBezTo>
                    <a:pt x="344" y="365"/>
                    <a:pt x="301" y="392"/>
                    <a:pt x="266" y="405"/>
                  </a:cubicBezTo>
                  <a:cubicBezTo>
                    <a:pt x="232" y="417"/>
                    <a:pt x="188" y="422"/>
                    <a:pt x="123" y="422"/>
                  </a:cubicBezTo>
                  <a:lnTo>
                    <a:pt x="0" y="422"/>
                  </a:lnTo>
                  <a:close/>
                  <a:moveTo>
                    <a:pt x="79" y="351"/>
                  </a:moveTo>
                  <a:cubicBezTo>
                    <a:pt x="79" y="359"/>
                    <a:pt x="78" y="369"/>
                    <a:pt x="87" y="376"/>
                  </a:cubicBezTo>
                  <a:cubicBezTo>
                    <a:pt x="95" y="384"/>
                    <a:pt x="111" y="387"/>
                    <a:pt x="136" y="387"/>
                  </a:cubicBezTo>
                  <a:cubicBezTo>
                    <a:pt x="216" y="387"/>
                    <a:pt x="260" y="358"/>
                    <a:pt x="260" y="305"/>
                  </a:cubicBezTo>
                  <a:cubicBezTo>
                    <a:pt x="260" y="249"/>
                    <a:pt x="217" y="218"/>
                    <a:pt x="131" y="215"/>
                  </a:cubicBezTo>
                  <a:cubicBezTo>
                    <a:pt x="130" y="215"/>
                    <a:pt x="124" y="215"/>
                    <a:pt x="123" y="215"/>
                  </a:cubicBezTo>
                  <a:lnTo>
                    <a:pt x="79" y="215"/>
                  </a:lnTo>
                  <a:lnTo>
                    <a:pt x="79" y="351"/>
                  </a:lnTo>
                  <a:close/>
                  <a:moveTo>
                    <a:pt x="145" y="184"/>
                  </a:moveTo>
                  <a:cubicBezTo>
                    <a:pt x="209" y="184"/>
                    <a:pt x="236" y="131"/>
                    <a:pt x="236" y="109"/>
                  </a:cubicBezTo>
                  <a:cubicBezTo>
                    <a:pt x="236" y="60"/>
                    <a:pt x="196" y="32"/>
                    <a:pt x="128" y="32"/>
                  </a:cubicBezTo>
                  <a:cubicBezTo>
                    <a:pt x="112" y="32"/>
                    <a:pt x="102" y="33"/>
                    <a:pt x="87" y="35"/>
                  </a:cubicBezTo>
                  <a:lnTo>
                    <a:pt x="79" y="36"/>
                  </a:lnTo>
                  <a:lnTo>
                    <a:pt x="79" y="184"/>
                  </a:lnTo>
                  <a:lnTo>
                    <a:pt x="145" y="184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48E68C05-91B6-1661-C29D-03225E83AE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7689" y="2315561"/>
              <a:ext cx="127862" cy="149961"/>
            </a:xfrm>
            <a:custGeom>
              <a:avLst/>
              <a:gdLst>
                <a:gd name="T0" fmla="*/ 275 w 356"/>
                <a:gd name="T1" fmla="*/ 0 h 414"/>
                <a:gd name="T2" fmla="*/ 275 w 356"/>
                <a:gd name="T3" fmla="*/ 180 h 414"/>
                <a:gd name="T4" fmla="*/ 81 w 356"/>
                <a:gd name="T5" fmla="*/ 180 h 414"/>
                <a:gd name="T6" fmla="*/ 81 w 356"/>
                <a:gd name="T7" fmla="*/ 0 h 414"/>
                <a:gd name="T8" fmla="*/ 0 w 356"/>
                <a:gd name="T9" fmla="*/ 0 h 414"/>
                <a:gd name="T10" fmla="*/ 0 w 356"/>
                <a:gd name="T11" fmla="*/ 414 h 414"/>
                <a:gd name="T12" fmla="*/ 81 w 356"/>
                <a:gd name="T13" fmla="*/ 414 h 414"/>
                <a:gd name="T14" fmla="*/ 81 w 356"/>
                <a:gd name="T15" fmla="*/ 237 h 414"/>
                <a:gd name="T16" fmla="*/ 104 w 356"/>
                <a:gd name="T17" fmla="*/ 218 h 414"/>
                <a:gd name="T18" fmla="*/ 252 w 356"/>
                <a:gd name="T19" fmla="*/ 218 h 414"/>
                <a:gd name="T20" fmla="*/ 275 w 356"/>
                <a:gd name="T21" fmla="*/ 237 h 414"/>
                <a:gd name="T22" fmla="*/ 275 w 356"/>
                <a:gd name="T23" fmla="*/ 414 h 414"/>
                <a:gd name="T24" fmla="*/ 356 w 356"/>
                <a:gd name="T25" fmla="*/ 414 h 414"/>
                <a:gd name="T26" fmla="*/ 356 w 356"/>
                <a:gd name="T27" fmla="*/ 0 h 414"/>
                <a:gd name="T28" fmla="*/ 275 w 356"/>
                <a:gd name="T29" fmla="*/ 0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6" h="414">
                  <a:moveTo>
                    <a:pt x="275" y="0"/>
                  </a:moveTo>
                  <a:lnTo>
                    <a:pt x="275" y="180"/>
                  </a:lnTo>
                  <a:lnTo>
                    <a:pt x="81" y="180"/>
                  </a:lnTo>
                  <a:lnTo>
                    <a:pt x="81" y="0"/>
                  </a:lnTo>
                  <a:lnTo>
                    <a:pt x="0" y="0"/>
                  </a:lnTo>
                  <a:lnTo>
                    <a:pt x="0" y="414"/>
                  </a:lnTo>
                  <a:lnTo>
                    <a:pt x="81" y="414"/>
                  </a:lnTo>
                  <a:lnTo>
                    <a:pt x="81" y="237"/>
                  </a:lnTo>
                  <a:cubicBezTo>
                    <a:pt x="81" y="224"/>
                    <a:pt x="93" y="218"/>
                    <a:pt x="104" y="218"/>
                  </a:cubicBezTo>
                  <a:lnTo>
                    <a:pt x="252" y="218"/>
                  </a:lnTo>
                  <a:cubicBezTo>
                    <a:pt x="263" y="218"/>
                    <a:pt x="275" y="224"/>
                    <a:pt x="275" y="237"/>
                  </a:cubicBezTo>
                  <a:lnTo>
                    <a:pt x="275" y="414"/>
                  </a:lnTo>
                  <a:lnTo>
                    <a:pt x="356" y="414"/>
                  </a:lnTo>
                  <a:lnTo>
                    <a:pt x="356" y="0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71" name="Rectangle 70">
            <a:extLst>
              <a:ext uri="{FF2B5EF4-FFF2-40B4-BE49-F238E27FC236}">
                <a16:creationId xmlns:a16="http://schemas.microsoft.com/office/drawing/2014/main" id="{9C669295-03C9-1FD6-7436-60E5500F11C2}"/>
              </a:ext>
            </a:extLst>
          </p:cNvPr>
          <p:cNvSpPr/>
          <p:nvPr/>
        </p:nvSpPr>
        <p:spPr>
          <a:xfrm>
            <a:off x="268346" y="2246662"/>
            <a:ext cx="4543368" cy="33433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bg2">
                    <a:lumMod val="60000"/>
                    <a:lumOff val="40000"/>
                  </a:schemeClr>
                </a:solidFill>
              </a:rPr>
              <a:t>SUBSIDIARIES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4F8D65F6-2529-6CDC-AE6B-D0EC30BB1F72}"/>
              </a:ext>
            </a:extLst>
          </p:cNvPr>
          <p:cNvSpPr/>
          <p:nvPr/>
        </p:nvSpPr>
        <p:spPr>
          <a:xfrm>
            <a:off x="7380286" y="2246662"/>
            <a:ext cx="4594226" cy="33433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bg1">
                    <a:lumMod val="85000"/>
                  </a:schemeClr>
                </a:solidFill>
              </a:rPr>
              <a:t>ASSOCIATES</a:t>
            </a:r>
          </a:p>
        </p:txBody>
      </p:sp>
      <p:pic>
        <p:nvPicPr>
          <p:cNvPr id="76" name="Picture 75" descr="A picture containing text&#10;&#10;Description automatically generated">
            <a:extLst>
              <a:ext uri="{FF2B5EF4-FFF2-40B4-BE49-F238E27FC236}">
                <a16:creationId xmlns:a16="http://schemas.microsoft.com/office/drawing/2014/main" id="{15DE9DE6-B4AE-ACB7-AB02-B74DC3B7D5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7399" y="5166344"/>
            <a:ext cx="755297" cy="45139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1046BEF-D5D0-06A3-4D1B-F958344BD75E}"/>
              </a:ext>
            </a:extLst>
          </p:cNvPr>
          <p:cNvSpPr txBox="1"/>
          <p:nvPr/>
        </p:nvSpPr>
        <p:spPr>
          <a:xfrm>
            <a:off x="568325" y="2700142"/>
            <a:ext cx="1371600" cy="56079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0% BIHL ownership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DB8B890-C958-3CF1-FBBB-A69BDB2C35F0}"/>
              </a:ext>
            </a:extLst>
          </p:cNvPr>
          <p:cNvSpPr txBox="1"/>
          <p:nvPr/>
        </p:nvSpPr>
        <p:spPr>
          <a:xfrm>
            <a:off x="2818392" y="2824019"/>
            <a:ext cx="1371600" cy="33433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HL 74.9%</a:t>
            </a: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fm CEE </a:t>
            </a:r>
            <a:r>
              <a:rPr lang="en-US" sz="1200" dirty="0">
                <a:solidFill>
                  <a:schemeClr val="tx2"/>
                </a:solidFill>
                <a:latin typeface="Arial"/>
              </a:rPr>
              <a:t>25.1%</a:t>
            </a:r>
          </a:p>
        </p:txBody>
      </p:sp>
    </p:spTree>
    <p:extLst>
      <p:ext uri="{BB962C8B-B14F-4D97-AF65-F5344CB8AC3E}">
        <p14:creationId xmlns:p14="http://schemas.microsoft.com/office/powerpoint/2010/main" val="8319558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5EAAA7-E0D0-D9C1-54D3-D3A095989A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eadwinds</a:t>
            </a:r>
            <a:endParaRPr lang="en-BW" dirty="0"/>
          </a:p>
        </p:txBody>
      </p:sp>
      <p:graphicFrame>
        <p:nvGraphicFramePr>
          <p:cNvPr id="3" name="Table 21">
            <a:extLst>
              <a:ext uri="{FF2B5EF4-FFF2-40B4-BE49-F238E27FC236}">
                <a16:creationId xmlns:a16="http://schemas.microsoft.com/office/drawing/2014/main" id="{72F4FFBB-A433-E8A7-4515-7F80929BB6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5248038"/>
              </p:ext>
            </p:extLst>
          </p:nvPr>
        </p:nvGraphicFramePr>
        <p:xfrm>
          <a:off x="4876800" y="2041524"/>
          <a:ext cx="7098506" cy="35869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98506">
                  <a:extLst>
                    <a:ext uri="{9D8B030D-6E8A-4147-A177-3AD203B41FA5}">
                      <a16:colId xmlns:a16="http://schemas.microsoft.com/office/drawing/2014/main" val="927036601"/>
                    </a:ext>
                  </a:extLst>
                </a:gridCol>
              </a:tblGrid>
              <a:tr h="475897">
                <a:tc>
                  <a:txBody>
                    <a:bodyPr/>
                    <a:lstStyle/>
                    <a:p>
                      <a:r>
                        <a:rPr lang="en-GB" sz="1600" b="1" dirty="0">
                          <a:solidFill>
                            <a:schemeClr val="tx2"/>
                          </a:solidFill>
                        </a:rPr>
                        <a:t>Earnings strength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612919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 </a:t>
                      </a: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Core earnings P481m</a:t>
                      </a:r>
                      <a:endParaRPr lang="en-US" sz="1600" b="0" dirty="0">
                        <a:solidFill>
                          <a:schemeClr val="tx2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2458057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Wingdings" panose="05000000000000000000" pitchFamily="2" charset="2"/>
                        <a:buChar char="þ"/>
                        <a:tabLst/>
                        <a:defRPr/>
                      </a:pPr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>
                            <a:outerShdw sx="0" sy="0">
                              <a:srgbClr val="000000"/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Final dividend net of tax (285m) 55% increase from Dec 2021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Wingdings" panose="05000000000000000000" pitchFamily="2" charset="2"/>
                        <a:buChar char="þ"/>
                        <a:tabLst/>
                        <a:defRPr/>
                      </a:pPr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>
                            <a:outerShdw sx="0" sy="0">
                              <a:srgbClr val="000000"/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Special dividend of P257 million net of tax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BW" sz="1600" u="none" strike="noStrike" kern="1200" dirty="0">
                        <a:solidFill>
                          <a:schemeClr val="dk1"/>
                        </a:solidFill>
                        <a:effectLst>
                          <a:outerShdw sx="0" sy="0">
                            <a:srgbClr val="000000"/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9841180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 ROGEV 16.9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5468932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GB" sz="16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0188011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600" b="1" kern="1200" noProof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Capital strength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3213048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3" panose="05040102010807070707" pitchFamily="18" charset="2"/>
                        </a:rPr>
                        <a:t> C</a:t>
                      </a:r>
                      <a:r>
                        <a:rPr lang="en-GB" sz="1600" b="0" dirty="0" err="1">
                          <a:solidFill>
                            <a:schemeClr val="tx2"/>
                          </a:solidFill>
                        </a:rPr>
                        <a:t>apital</a:t>
                      </a:r>
                      <a:r>
                        <a:rPr lang="en-GB" sz="1600" b="0" dirty="0">
                          <a:solidFill>
                            <a:schemeClr val="tx2"/>
                          </a:solidFill>
                        </a:rPr>
                        <a:t> cover above regulatory prescription at 7.7 times cover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8897925"/>
                  </a:ext>
                </a:extLst>
              </a:tr>
            </a:tbl>
          </a:graphicData>
        </a:graphic>
      </p:graphicFrame>
      <p:sp>
        <p:nvSpPr>
          <p:cNvPr id="25" name="Freeform 7">
            <a:extLst>
              <a:ext uri="{FF2B5EF4-FFF2-40B4-BE49-F238E27FC236}">
                <a16:creationId xmlns:a16="http://schemas.microsoft.com/office/drawing/2014/main" id="{6121B95E-AF81-1559-280C-1607FAD678FE}"/>
              </a:ext>
            </a:extLst>
          </p:cNvPr>
          <p:cNvSpPr>
            <a:spLocks/>
          </p:cNvSpPr>
          <p:nvPr/>
        </p:nvSpPr>
        <p:spPr bwMode="auto">
          <a:xfrm>
            <a:off x="1740565" y="1909466"/>
            <a:ext cx="1617328" cy="1511900"/>
          </a:xfrm>
          <a:custGeom>
            <a:avLst/>
            <a:gdLst>
              <a:gd name="T0" fmla="*/ 1908 w 4177"/>
              <a:gd name="T1" fmla="*/ 0 h 4126"/>
              <a:gd name="T2" fmla="*/ 4177 w 4177"/>
              <a:gd name="T3" fmla="*/ 3122 h 4126"/>
              <a:gd name="T4" fmla="*/ 1088 w 4177"/>
              <a:gd name="T5" fmla="*/ 4126 h 4126"/>
              <a:gd name="T6" fmla="*/ 0 w 4177"/>
              <a:gd name="T7" fmla="*/ 2627 h 4126"/>
              <a:gd name="T8" fmla="*/ 1908 w 4177"/>
              <a:gd name="T9" fmla="*/ 0 h 4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77" h="4126">
                <a:moveTo>
                  <a:pt x="1908" y="0"/>
                </a:moveTo>
                <a:cubicBezTo>
                  <a:pt x="2975" y="775"/>
                  <a:pt x="3769" y="1868"/>
                  <a:pt x="4177" y="3122"/>
                </a:cubicBezTo>
                <a:lnTo>
                  <a:pt x="1088" y="4126"/>
                </a:lnTo>
                <a:cubicBezTo>
                  <a:pt x="893" y="3523"/>
                  <a:pt x="512" y="2999"/>
                  <a:pt x="0" y="2627"/>
                </a:cubicBezTo>
                <a:lnTo>
                  <a:pt x="1908" y="0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" name="Freeform 8">
            <a:extLst>
              <a:ext uri="{FF2B5EF4-FFF2-40B4-BE49-F238E27FC236}">
                <a16:creationId xmlns:a16="http://schemas.microsoft.com/office/drawing/2014/main" id="{E33C6D74-9E02-396D-A43F-071A5EE6CE57}"/>
              </a:ext>
            </a:extLst>
          </p:cNvPr>
          <p:cNvSpPr>
            <a:spLocks/>
          </p:cNvSpPr>
          <p:nvPr/>
        </p:nvSpPr>
        <p:spPr bwMode="auto">
          <a:xfrm>
            <a:off x="1740565" y="1909466"/>
            <a:ext cx="1617328" cy="1511900"/>
          </a:xfrm>
          <a:custGeom>
            <a:avLst/>
            <a:gdLst>
              <a:gd name="T0" fmla="*/ 1908 w 4177"/>
              <a:gd name="T1" fmla="*/ 0 h 4126"/>
              <a:gd name="T2" fmla="*/ 4177 w 4177"/>
              <a:gd name="T3" fmla="*/ 3122 h 4126"/>
              <a:gd name="T4" fmla="*/ 1088 w 4177"/>
              <a:gd name="T5" fmla="*/ 4126 h 4126"/>
              <a:gd name="T6" fmla="*/ 0 w 4177"/>
              <a:gd name="T7" fmla="*/ 2627 h 4126"/>
              <a:gd name="T8" fmla="*/ 1908 w 4177"/>
              <a:gd name="T9" fmla="*/ 0 h 4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77" h="4126">
                <a:moveTo>
                  <a:pt x="1908" y="0"/>
                </a:moveTo>
                <a:cubicBezTo>
                  <a:pt x="2975" y="775"/>
                  <a:pt x="3769" y="1868"/>
                  <a:pt x="4177" y="3122"/>
                </a:cubicBezTo>
                <a:lnTo>
                  <a:pt x="1088" y="4126"/>
                </a:lnTo>
                <a:cubicBezTo>
                  <a:pt x="893" y="3523"/>
                  <a:pt x="512" y="2999"/>
                  <a:pt x="0" y="2627"/>
                </a:cubicBezTo>
                <a:lnTo>
                  <a:pt x="1908" y="0"/>
                </a:lnTo>
                <a:close/>
              </a:path>
            </a:pathLst>
          </a:custGeom>
          <a:noFill/>
          <a:ln w="19050" cap="flat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7" name="Freeform 9">
            <a:extLst>
              <a:ext uri="{FF2B5EF4-FFF2-40B4-BE49-F238E27FC236}">
                <a16:creationId xmlns:a16="http://schemas.microsoft.com/office/drawing/2014/main" id="{F4D99ABB-9274-75C6-A102-FA17E8C54936}"/>
              </a:ext>
            </a:extLst>
          </p:cNvPr>
          <p:cNvSpPr>
            <a:spLocks/>
          </p:cNvSpPr>
          <p:nvPr/>
        </p:nvSpPr>
        <p:spPr bwMode="auto">
          <a:xfrm>
            <a:off x="2200124" y="3162009"/>
            <a:ext cx="1352880" cy="1412734"/>
          </a:xfrm>
          <a:custGeom>
            <a:avLst/>
            <a:gdLst>
              <a:gd name="T0" fmla="*/ 3088 w 3496"/>
              <a:gd name="T1" fmla="*/ 0 h 3859"/>
              <a:gd name="T2" fmla="*/ 3088 w 3496"/>
              <a:gd name="T3" fmla="*/ 3859 h 3859"/>
              <a:gd name="T4" fmla="*/ 0 w 3496"/>
              <a:gd name="T5" fmla="*/ 2856 h 3859"/>
              <a:gd name="T6" fmla="*/ 0 w 3496"/>
              <a:gd name="T7" fmla="*/ 1003 h 3859"/>
              <a:gd name="T8" fmla="*/ 3088 w 3496"/>
              <a:gd name="T9" fmla="*/ 0 h 3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96" h="3859">
                <a:moveTo>
                  <a:pt x="3088" y="0"/>
                </a:moveTo>
                <a:cubicBezTo>
                  <a:pt x="3496" y="1254"/>
                  <a:pt x="3496" y="2605"/>
                  <a:pt x="3088" y="3859"/>
                </a:cubicBezTo>
                <a:lnTo>
                  <a:pt x="0" y="2856"/>
                </a:lnTo>
                <a:cubicBezTo>
                  <a:pt x="195" y="2254"/>
                  <a:pt x="195" y="1605"/>
                  <a:pt x="0" y="1003"/>
                </a:cubicBezTo>
                <a:lnTo>
                  <a:pt x="3088" y="0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8" name="Freeform 10">
            <a:extLst>
              <a:ext uri="{FF2B5EF4-FFF2-40B4-BE49-F238E27FC236}">
                <a16:creationId xmlns:a16="http://schemas.microsoft.com/office/drawing/2014/main" id="{45309AB8-CBE0-9C7C-B7D2-CC40A9A70886}"/>
              </a:ext>
            </a:extLst>
          </p:cNvPr>
          <p:cNvSpPr>
            <a:spLocks/>
          </p:cNvSpPr>
          <p:nvPr/>
        </p:nvSpPr>
        <p:spPr bwMode="auto">
          <a:xfrm>
            <a:off x="2200124" y="3162009"/>
            <a:ext cx="1352880" cy="1412734"/>
          </a:xfrm>
          <a:custGeom>
            <a:avLst/>
            <a:gdLst>
              <a:gd name="T0" fmla="*/ 3088 w 3496"/>
              <a:gd name="T1" fmla="*/ 0 h 3859"/>
              <a:gd name="T2" fmla="*/ 3088 w 3496"/>
              <a:gd name="T3" fmla="*/ 3859 h 3859"/>
              <a:gd name="T4" fmla="*/ 0 w 3496"/>
              <a:gd name="T5" fmla="*/ 2856 h 3859"/>
              <a:gd name="T6" fmla="*/ 0 w 3496"/>
              <a:gd name="T7" fmla="*/ 1003 h 3859"/>
              <a:gd name="T8" fmla="*/ 3088 w 3496"/>
              <a:gd name="T9" fmla="*/ 0 h 3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96" h="3859">
                <a:moveTo>
                  <a:pt x="3088" y="0"/>
                </a:moveTo>
                <a:cubicBezTo>
                  <a:pt x="3496" y="1254"/>
                  <a:pt x="3496" y="2605"/>
                  <a:pt x="3088" y="3859"/>
                </a:cubicBezTo>
                <a:lnTo>
                  <a:pt x="0" y="2856"/>
                </a:lnTo>
                <a:cubicBezTo>
                  <a:pt x="195" y="2254"/>
                  <a:pt x="195" y="1605"/>
                  <a:pt x="0" y="1003"/>
                </a:cubicBezTo>
                <a:lnTo>
                  <a:pt x="3088" y="0"/>
                </a:lnTo>
                <a:close/>
              </a:path>
            </a:pathLst>
          </a:custGeom>
          <a:noFill/>
          <a:ln w="19050" cap="flat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9" name="Freeform 11">
            <a:extLst>
              <a:ext uri="{FF2B5EF4-FFF2-40B4-BE49-F238E27FC236}">
                <a16:creationId xmlns:a16="http://schemas.microsoft.com/office/drawing/2014/main" id="{A183AB25-831F-8924-28A9-616C57784EEF}"/>
              </a:ext>
            </a:extLst>
          </p:cNvPr>
          <p:cNvSpPr>
            <a:spLocks/>
          </p:cNvSpPr>
          <p:nvPr/>
        </p:nvSpPr>
        <p:spPr bwMode="auto">
          <a:xfrm>
            <a:off x="1740565" y="4315385"/>
            <a:ext cx="1617328" cy="1510374"/>
          </a:xfrm>
          <a:custGeom>
            <a:avLst/>
            <a:gdLst>
              <a:gd name="T0" fmla="*/ 4177 w 4177"/>
              <a:gd name="T1" fmla="*/ 1004 h 4126"/>
              <a:gd name="T2" fmla="*/ 1908 w 4177"/>
              <a:gd name="T3" fmla="*/ 4126 h 4126"/>
              <a:gd name="T4" fmla="*/ 0 w 4177"/>
              <a:gd name="T5" fmla="*/ 1499 h 4126"/>
              <a:gd name="T6" fmla="*/ 1088 w 4177"/>
              <a:gd name="T7" fmla="*/ 0 h 4126"/>
              <a:gd name="T8" fmla="*/ 4177 w 4177"/>
              <a:gd name="T9" fmla="*/ 1004 h 4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77" h="4126">
                <a:moveTo>
                  <a:pt x="4177" y="1004"/>
                </a:moveTo>
                <a:cubicBezTo>
                  <a:pt x="3769" y="2258"/>
                  <a:pt x="2975" y="3351"/>
                  <a:pt x="1908" y="4126"/>
                </a:cubicBezTo>
                <a:lnTo>
                  <a:pt x="0" y="1499"/>
                </a:lnTo>
                <a:cubicBezTo>
                  <a:pt x="512" y="1127"/>
                  <a:pt x="893" y="602"/>
                  <a:pt x="1088" y="0"/>
                </a:cubicBezTo>
                <a:lnTo>
                  <a:pt x="4177" y="1004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0" name="Freeform 12">
            <a:extLst>
              <a:ext uri="{FF2B5EF4-FFF2-40B4-BE49-F238E27FC236}">
                <a16:creationId xmlns:a16="http://schemas.microsoft.com/office/drawing/2014/main" id="{2151BB2D-7FF8-8E01-2437-26F8AF886A6F}"/>
              </a:ext>
            </a:extLst>
          </p:cNvPr>
          <p:cNvSpPr>
            <a:spLocks/>
          </p:cNvSpPr>
          <p:nvPr/>
        </p:nvSpPr>
        <p:spPr bwMode="auto">
          <a:xfrm>
            <a:off x="1740565" y="4315385"/>
            <a:ext cx="1617328" cy="1510374"/>
          </a:xfrm>
          <a:custGeom>
            <a:avLst/>
            <a:gdLst>
              <a:gd name="T0" fmla="*/ 4177 w 4177"/>
              <a:gd name="T1" fmla="*/ 1004 h 4126"/>
              <a:gd name="T2" fmla="*/ 1908 w 4177"/>
              <a:gd name="T3" fmla="*/ 4126 h 4126"/>
              <a:gd name="T4" fmla="*/ 0 w 4177"/>
              <a:gd name="T5" fmla="*/ 1499 h 4126"/>
              <a:gd name="T6" fmla="*/ 1088 w 4177"/>
              <a:gd name="T7" fmla="*/ 0 h 4126"/>
              <a:gd name="T8" fmla="*/ 4177 w 4177"/>
              <a:gd name="T9" fmla="*/ 1004 h 4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77" h="4126">
                <a:moveTo>
                  <a:pt x="4177" y="1004"/>
                </a:moveTo>
                <a:cubicBezTo>
                  <a:pt x="3769" y="2258"/>
                  <a:pt x="2975" y="3351"/>
                  <a:pt x="1908" y="4126"/>
                </a:cubicBezTo>
                <a:lnTo>
                  <a:pt x="0" y="1499"/>
                </a:lnTo>
                <a:cubicBezTo>
                  <a:pt x="512" y="1127"/>
                  <a:pt x="893" y="602"/>
                  <a:pt x="1088" y="0"/>
                </a:cubicBezTo>
                <a:lnTo>
                  <a:pt x="4177" y="1004"/>
                </a:lnTo>
                <a:close/>
              </a:path>
            </a:pathLst>
          </a:custGeom>
          <a:noFill/>
          <a:ln w="19050" cap="flat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1" name="Freeform 13">
            <a:extLst>
              <a:ext uri="{FF2B5EF4-FFF2-40B4-BE49-F238E27FC236}">
                <a16:creationId xmlns:a16="http://schemas.microsoft.com/office/drawing/2014/main" id="{07C4FE72-5F1D-1E7B-0FCC-E089B798A7FD}"/>
              </a:ext>
            </a:extLst>
          </p:cNvPr>
          <p:cNvSpPr>
            <a:spLocks/>
          </p:cNvSpPr>
          <p:nvPr/>
        </p:nvSpPr>
        <p:spPr bwMode="auto">
          <a:xfrm>
            <a:off x="961732" y="4930215"/>
            <a:ext cx="1420604" cy="1399003"/>
          </a:xfrm>
          <a:custGeom>
            <a:avLst/>
            <a:gdLst>
              <a:gd name="T0" fmla="*/ 7341 w 7341"/>
              <a:gd name="T1" fmla="*/ 5254 h 7639"/>
              <a:gd name="T2" fmla="*/ 0 w 7341"/>
              <a:gd name="T3" fmla="*/ 7639 h 7639"/>
              <a:gd name="T4" fmla="*/ 0 w 7341"/>
              <a:gd name="T5" fmla="*/ 1145 h 7639"/>
              <a:gd name="T6" fmla="*/ 3524 w 7341"/>
              <a:gd name="T7" fmla="*/ 0 h 7639"/>
              <a:gd name="T8" fmla="*/ 7341 w 7341"/>
              <a:gd name="T9" fmla="*/ 5254 h 76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341" h="7639">
                <a:moveTo>
                  <a:pt x="7341" y="5254"/>
                </a:moveTo>
                <a:cubicBezTo>
                  <a:pt x="5208" y="6804"/>
                  <a:pt x="2638" y="7639"/>
                  <a:pt x="0" y="7639"/>
                </a:cubicBezTo>
                <a:lnTo>
                  <a:pt x="0" y="1145"/>
                </a:lnTo>
                <a:cubicBezTo>
                  <a:pt x="1266" y="1145"/>
                  <a:pt x="2500" y="744"/>
                  <a:pt x="3524" y="0"/>
                </a:cubicBezTo>
                <a:lnTo>
                  <a:pt x="7341" y="5254"/>
                </a:ln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2" name="Freeform 14">
            <a:extLst>
              <a:ext uri="{FF2B5EF4-FFF2-40B4-BE49-F238E27FC236}">
                <a16:creationId xmlns:a16="http://schemas.microsoft.com/office/drawing/2014/main" id="{F2A7FEFE-95C2-BB21-C13C-70241BA1A471}"/>
              </a:ext>
            </a:extLst>
          </p:cNvPr>
          <p:cNvSpPr>
            <a:spLocks/>
          </p:cNvSpPr>
          <p:nvPr/>
        </p:nvSpPr>
        <p:spPr bwMode="auto">
          <a:xfrm>
            <a:off x="961732" y="4930215"/>
            <a:ext cx="1420604" cy="1399003"/>
          </a:xfrm>
          <a:custGeom>
            <a:avLst/>
            <a:gdLst>
              <a:gd name="T0" fmla="*/ 7341 w 7341"/>
              <a:gd name="T1" fmla="*/ 5254 h 7639"/>
              <a:gd name="T2" fmla="*/ 0 w 7341"/>
              <a:gd name="T3" fmla="*/ 7639 h 7639"/>
              <a:gd name="T4" fmla="*/ 0 w 7341"/>
              <a:gd name="T5" fmla="*/ 1145 h 7639"/>
              <a:gd name="T6" fmla="*/ 3524 w 7341"/>
              <a:gd name="T7" fmla="*/ 0 h 7639"/>
              <a:gd name="T8" fmla="*/ 7341 w 7341"/>
              <a:gd name="T9" fmla="*/ 5254 h 76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341" h="7639">
                <a:moveTo>
                  <a:pt x="7341" y="5254"/>
                </a:moveTo>
                <a:cubicBezTo>
                  <a:pt x="5208" y="6804"/>
                  <a:pt x="2638" y="7639"/>
                  <a:pt x="0" y="7639"/>
                </a:cubicBezTo>
                <a:lnTo>
                  <a:pt x="0" y="1145"/>
                </a:lnTo>
                <a:cubicBezTo>
                  <a:pt x="1266" y="1145"/>
                  <a:pt x="2500" y="744"/>
                  <a:pt x="3524" y="0"/>
                </a:cubicBezTo>
                <a:lnTo>
                  <a:pt x="7341" y="5254"/>
                </a:lnTo>
                <a:close/>
              </a:path>
            </a:pathLst>
          </a:custGeom>
          <a:noFill/>
          <a:ln w="19050" cap="flat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B880E4CD-A25E-FB29-41D3-B287911D7A11}"/>
              </a:ext>
            </a:extLst>
          </p:cNvPr>
          <p:cNvSpPr/>
          <p:nvPr/>
        </p:nvSpPr>
        <p:spPr>
          <a:xfrm>
            <a:off x="228600" y="3127303"/>
            <a:ext cx="1480618" cy="1480618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800" b="1" dirty="0">
                <a:solidFill>
                  <a:schemeClr val="accent3"/>
                </a:solidFill>
              </a:rPr>
              <a:t>2022 </a:t>
            </a:r>
            <a:endParaRPr lang="en-BW" sz="1800" b="1" dirty="0">
              <a:solidFill>
                <a:schemeClr val="accent3"/>
              </a:solidFill>
            </a:endParaRP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E5C3C800-2A57-B4DB-13D8-F277EB845F75}"/>
              </a:ext>
            </a:extLst>
          </p:cNvPr>
          <p:cNvSpPr/>
          <p:nvPr/>
        </p:nvSpPr>
        <p:spPr>
          <a:xfrm>
            <a:off x="961732" y="1406008"/>
            <a:ext cx="1420604" cy="1399003"/>
          </a:xfrm>
          <a:custGeom>
            <a:avLst/>
            <a:gdLst>
              <a:gd name="connsiteX0" fmla="*/ 0 w 1420604"/>
              <a:gd name="connsiteY0" fmla="*/ 0 h 1399003"/>
              <a:gd name="connsiteX1" fmla="*/ 1420604 w 1420604"/>
              <a:gd name="connsiteY1" fmla="*/ 436914 h 1399003"/>
              <a:gd name="connsiteX2" fmla="*/ 681952 w 1420604"/>
              <a:gd name="connsiteY2" fmla="*/ 1399003 h 1399003"/>
              <a:gd name="connsiteX3" fmla="*/ 0 w 1420604"/>
              <a:gd name="connsiteY3" fmla="*/ 1189336 h 1399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20604" h="1399003">
                <a:moveTo>
                  <a:pt x="0" y="0"/>
                </a:moveTo>
                <a:cubicBezTo>
                  <a:pt x="510496" y="0"/>
                  <a:pt x="1007834" y="152902"/>
                  <a:pt x="1420604" y="436914"/>
                </a:cubicBezTo>
                <a:lnTo>
                  <a:pt x="681952" y="1399003"/>
                </a:lnTo>
                <a:cubicBezTo>
                  <a:pt x="483791" y="1262765"/>
                  <a:pt x="244992" y="1189336"/>
                  <a:pt x="0" y="118933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60" name="Isosceles Triangle 59">
            <a:extLst>
              <a:ext uri="{FF2B5EF4-FFF2-40B4-BE49-F238E27FC236}">
                <a16:creationId xmlns:a16="http://schemas.microsoft.com/office/drawing/2014/main" id="{A6BF4F25-98FB-D2EB-951C-D956AB15A4F0}"/>
              </a:ext>
            </a:extLst>
          </p:cNvPr>
          <p:cNvSpPr/>
          <p:nvPr/>
        </p:nvSpPr>
        <p:spPr>
          <a:xfrm rot="11759096">
            <a:off x="1161832" y="2571100"/>
            <a:ext cx="228600" cy="197069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1" name="Isosceles Triangle 60">
            <a:extLst>
              <a:ext uri="{FF2B5EF4-FFF2-40B4-BE49-F238E27FC236}">
                <a16:creationId xmlns:a16="http://schemas.microsoft.com/office/drawing/2014/main" id="{8EED2B50-C0D1-8462-1D46-207266940A87}"/>
              </a:ext>
            </a:extLst>
          </p:cNvPr>
          <p:cNvSpPr/>
          <p:nvPr/>
        </p:nvSpPr>
        <p:spPr>
          <a:xfrm rot="14273321">
            <a:off x="1858884" y="3029293"/>
            <a:ext cx="228600" cy="197069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2" name="Isosceles Triangle 61">
            <a:extLst>
              <a:ext uri="{FF2B5EF4-FFF2-40B4-BE49-F238E27FC236}">
                <a16:creationId xmlns:a16="http://schemas.microsoft.com/office/drawing/2014/main" id="{BF77A7FD-F07E-80CA-9A65-8E05CAC3C644}"/>
              </a:ext>
            </a:extLst>
          </p:cNvPr>
          <p:cNvSpPr/>
          <p:nvPr/>
        </p:nvSpPr>
        <p:spPr>
          <a:xfrm rot="16200000">
            <a:off x="2112928" y="3788469"/>
            <a:ext cx="228600" cy="197069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3" name="Isosceles Triangle 62">
            <a:extLst>
              <a:ext uri="{FF2B5EF4-FFF2-40B4-BE49-F238E27FC236}">
                <a16:creationId xmlns:a16="http://schemas.microsoft.com/office/drawing/2014/main" id="{A53761E3-2838-9F3E-4CAB-495E87609931}"/>
              </a:ext>
            </a:extLst>
          </p:cNvPr>
          <p:cNvSpPr/>
          <p:nvPr/>
        </p:nvSpPr>
        <p:spPr>
          <a:xfrm rot="18346435">
            <a:off x="1875958" y="4494868"/>
            <a:ext cx="228600" cy="197069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4" name="Isosceles Triangle 63">
            <a:extLst>
              <a:ext uri="{FF2B5EF4-FFF2-40B4-BE49-F238E27FC236}">
                <a16:creationId xmlns:a16="http://schemas.microsoft.com/office/drawing/2014/main" id="{45E55E1E-E9CB-F6A7-554B-7F0A37E82938}"/>
              </a:ext>
            </a:extLst>
          </p:cNvPr>
          <p:cNvSpPr/>
          <p:nvPr/>
        </p:nvSpPr>
        <p:spPr>
          <a:xfrm rot="20323619">
            <a:off x="1191813" y="4989116"/>
            <a:ext cx="228600" cy="197069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4EF709F-229E-06F0-ABCF-C14FC706C754}"/>
              </a:ext>
            </a:extLst>
          </p:cNvPr>
          <p:cNvSpPr/>
          <p:nvPr/>
        </p:nvSpPr>
        <p:spPr>
          <a:xfrm>
            <a:off x="1755555" y="1283969"/>
            <a:ext cx="1339777" cy="2260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kern="1200" dirty="0">
                <a:solidFill>
                  <a:schemeClr val="tx1"/>
                </a:solidFill>
              </a:rPr>
              <a:t>Global </a:t>
            </a:r>
            <a:br>
              <a:rPr lang="en-US" sz="1200" b="1" kern="1200" dirty="0">
                <a:solidFill>
                  <a:schemeClr val="tx1"/>
                </a:solidFill>
              </a:rPr>
            </a:br>
            <a:r>
              <a:rPr lang="en-US" sz="1200" b="1" kern="1200" dirty="0">
                <a:solidFill>
                  <a:schemeClr val="tx1"/>
                </a:solidFill>
              </a:rPr>
              <a:t>uncertainties</a:t>
            </a:r>
            <a:endParaRPr lang="en-BW" sz="1200" kern="1200" dirty="0">
              <a:solidFill>
                <a:schemeClr val="tx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DEF6E56F-5340-B9B4-9F87-CAB834B15F70}"/>
              </a:ext>
            </a:extLst>
          </p:cNvPr>
          <p:cNvSpPr/>
          <p:nvPr/>
        </p:nvSpPr>
        <p:spPr>
          <a:xfrm>
            <a:off x="2911541" y="2191166"/>
            <a:ext cx="1560147" cy="287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kern="1200" dirty="0">
                <a:solidFill>
                  <a:schemeClr val="tx1"/>
                </a:solidFill>
              </a:rPr>
              <a:t>Rising </a:t>
            </a:r>
            <a:br>
              <a:rPr lang="en-US" sz="1200" b="1" kern="1200" dirty="0">
                <a:solidFill>
                  <a:schemeClr val="tx1"/>
                </a:solidFill>
              </a:rPr>
            </a:br>
            <a:r>
              <a:rPr lang="en-US" sz="1200" b="1" kern="1200" dirty="0">
                <a:solidFill>
                  <a:schemeClr val="tx1"/>
                </a:solidFill>
              </a:rPr>
              <a:t>cost of living </a:t>
            </a:r>
            <a:br>
              <a:rPr lang="en-US" sz="1200" b="1" kern="1200" dirty="0">
                <a:solidFill>
                  <a:schemeClr val="tx1"/>
                </a:solidFill>
              </a:rPr>
            </a:br>
            <a:r>
              <a:rPr lang="en-US" sz="1200" b="1" kern="1200" dirty="0">
                <a:solidFill>
                  <a:schemeClr val="tx1"/>
                </a:solidFill>
              </a:rPr>
              <a:t>and inflationary pressures on households</a:t>
            </a:r>
            <a:endParaRPr lang="en-BW" sz="1200" b="1" kern="1200" dirty="0">
              <a:solidFill>
                <a:schemeClr val="tx1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68642DCE-2BCD-4430-77F0-199E89E82E0B}"/>
              </a:ext>
            </a:extLst>
          </p:cNvPr>
          <p:cNvSpPr/>
          <p:nvPr/>
        </p:nvSpPr>
        <p:spPr>
          <a:xfrm>
            <a:off x="3525322" y="3713809"/>
            <a:ext cx="1184050" cy="287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dirty="0">
                <a:solidFill>
                  <a:schemeClr val="tx1"/>
                </a:solidFill>
              </a:rPr>
              <a:t>Growing competition</a:t>
            </a:r>
            <a:r>
              <a:rPr lang="en-US" sz="1200" b="1" kern="1200" dirty="0">
                <a:solidFill>
                  <a:schemeClr val="tx1"/>
                </a:solidFill>
              </a:rPr>
              <a:t> in some segments</a:t>
            </a:r>
            <a:endParaRPr lang="en-BW" sz="1200" b="1" kern="1200" dirty="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64A10973-385D-9D46-D867-571C4E171895}"/>
              </a:ext>
            </a:extLst>
          </p:cNvPr>
          <p:cNvSpPr/>
          <p:nvPr/>
        </p:nvSpPr>
        <p:spPr>
          <a:xfrm>
            <a:off x="2748152" y="5148231"/>
            <a:ext cx="1705824" cy="2440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dirty="0">
                <a:solidFill>
                  <a:schemeClr val="tx1"/>
                </a:solidFill>
              </a:rPr>
              <a:t>Regulatory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shifts</a:t>
            </a:r>
            <a:endParaRPr lang="en-BW" sz="1200" b="1" kern="1200" dirty="0">
              <a:solidFill>
                <a:schemeClr val="tx1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F6A9C5D-4F3F-4146-C1FB-D5E2BA7878C7}"/>
              </a:ext>
            </a:extLst>
          </p:cNvPr>
          <p:cNvSpPr/>
          <p:nvPr/>
        </p:nvSpPr>
        <p:spPr>
          <a:xfrm>
            <a:off x="1755555" y="6073416"/>
            <a:ext cx="1263577" cy="4035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kern="1200" dirty="0">
                <a:solidFill>
                  <a:schemeClr val="tx1"/>
                </a:solidFill>
              </a:rPr>
              <a:t>Changing</a:t>
            </a:r>
            <a:br>
              <a:rPr lang="en-US" sz="1200" b="1" kern="1200" dirty="0">
                <a:solidFill>
                  <a:schemeClr val="tx1"/>
                </a:solidFill>
              </a:rPr>
            </a:br>
            <a:r>
              <a:rPr lang="en-US" sz="1200" b="1" kern="1200" dirty="0">
                <a:solidFill>
                  <a:schemeClr val="tx1"/>
                </a:solidFill>
              </a:rPr>
              <a:t> client needs</a:t>
            </a:r>
            <a:endParaRPr lang="en-BW" sz="1200" b="1" kern="1200" dirty="0">
              <a:solidFill>
                <a:schemeClr val="tx1"/>
              </a:solidFill>
            </a:endParaRPr>
          </a:p>
        </p:txBody>
      </p:sp>
      <p:grpSp>
        <p:nvGrpSpPr>
          <p:cNvPr id="71" name="Graphic 61" descr="Badge Question Mark outline">
            <a:extLst>
              <a:ext uri="{FF2B5EF4-FFF2-40B4-BE49-F238E27FC236}">
                <a16:creationId xmlns:a16="http://schemas.microsoft.com/office/drawing/2014/main" id="{E0D5355C-8FC3-4AD4-10BB-443F13F099C5}"/>
              </a:ext>
            </a:extLst>
          </p:cNvPr>
          <p:cNvGrpSpPr/>
          <p:nvPr/>
        </p:nvGrpSpPr>
        <p:grpSpPr>
          <a:xfrm>
            <a:off x="1226708" y="1753789"/>
            <a:ext cx="541987" cy="541987"/>
            <a:chOff x="857250" y="4000259"/>
            <a:chExt cx="723499" cy="723499"/>
          </a:xfrm>
          <a:solidFill>
            <a:schemeClr val="bg1"/>
          </a:solidFill>
        </p:grpSpPr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0A00066D-1146-486D-9CE5-AD0E9623B16E}"/>
                </a:ext>
              </a:extLst>
            </p:cNvPr>
            <p:cNvSpPr/>
            <p:nvPr/>
          </p:nvSpPr>
          <p:spPr>
            <a:xfrm>
              <a:off x="857250" y="4000259"/>
              <a:ext cx="723499" cy="723499"/>
            </a:xfrm>
            <a:custGeom>
              <a:avLst/>
              <a:gdLst>
                <a:gd name="connsiteX0" fmla="*/ 361750 w 723499"/>
                <a:gd name="connsiteY0" fmla="*/ 0 h 723499"/>
                <a:gd name="connsiteX1" fmla="*/ 0 w 723499"/>
                <a:gd name="connsiteY1" fmla="*/ 361750 h 723499"/>
                <a:gd name="connsiteX2" fmla="*/ 361750 w 723499"/>
                <a:gd name="connsiteY2" fmla="*/ 723500 h 723499"/>
                <a:gd name="connsiteX3" fmla="*/ 723500 w 723499"/>
                <a:gd name="connsiteY3" fmla="*/ 361750 h 723499"/>
                <a:gd name="connsiteX4" fmla="*/ 362074 w 723499"/>
                <a:gd name="connsiteY4" fmla="*/ 0 h 723499"/>
                <a:gd name="connsiteX5" fmla="*/ 361750 w 723499"/>
                <a:gd name="connsiteY5" fmla="*/ 0 h 723499"/>
                <a:gd name="connsiteX6" fmla="*/ 361750 w 723499"/>
                <a:gd name="connsiteY6" fmla="*/ 704450 h 723499"/>
                <a:gd name="connsiteX7" fmla="*/ 19050 w 723499"/>
                <a:gd name="connsiteY7" fmla="*/ 361750 h 723499"/>
                <a:gd name="connsiteX8" fmla="*/ 361750 w 723499"/>
                <a:gd name="connsiteY8" fmla="*/ 19050 h 723499"/>
                <a:gd name="connsiteX9" fmla="*/ 704450 w 723499"/>
                <a:gd name="connsiteY9" fmla="*/ 361750 h 723499"/>
                <a:gd name="connsiteX10" fmla="*/ 361750 w 723499"/>
                <a:gd name="connsiteY10" fmla="*/ 704450 h 72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3499" h="723499">
                  <a:moveTo>
                    <a:pt x="361750" y="0"/>
                  </a:moveTo>
                  <a:cubicBezTo>
                    <a:pt x="161961" y="0"/>
                    <a:pt x="0" y="161961"/>
                    <a:pt x="0" y="361750"/>
                  </a:cubicBezTo>
                  <a:cubicBezTo>
                    <a:pt x="0" y="561539"/>
                    <a:pt x="161961" y="723500"/>
                    <a:pt x="361750" y="723500"/>
                  </a:cubicBezTo>
                  <a:cubicBezTo>
                    <a:pt x="561539" y="723500"/>
                    <a:pt x="723500" y="561539"/>
                    <a:pt x="723500" y="361750"/>
                  </a:cubicBezTo>
                  <a:cubicBezTo>
                    <a:pt x="723590" y="162051"/>
                    <a:pt x="561773" y="90"/>
                    <a:pt x="362074" y="0"/>
                  </a:cubicBezTo>
                  <a:cubicBezTo>
                    <a:pt x="361966" y="0"/>
                    <a:pt x="361858" y="0"/>
                    <a:pt x="361750" y="0"/>
                  </a:cubicBezTo>
                  <a:close/>
                  <a:moveTo>
                    <a:pt x="361750" y="704450"/>
                  </a:moveTo>
                  <a:cubicBezTo>
                    <a:pt x="172482" y="704450"/>
                    <a:pt x="19050" y="551018"/>
                    <a:pt x="19050" y="361750"/>
                  </a:cubicBezTo>
                  <a:cubicBezTo>
                    <a:pt x="19050" y="172482"/>
                    <a:pt x="172482" y="19050"/>
                    <a:pt x="361750" y="19050"/>
                  </a:cubicBezTo>
                  <a:cubicBezTo>
                    <a:pt x="551018" y="19050"/>
                    <a:pt x="704450" y="172482"/>
                    <a:pt x="704450" y="361750"/>
                  </a:cubicBezTo>
                  <a:cubicBezTo>
                    <a:pt x="704235" y="550929"/>
                    <a:pt x="550929" y="704235"/>
                    <a:pt x="361750" y="7044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0D20576E-9D9A-33E8-0EC6-2063B3E82D09}"/>
                </a:ext>
              </a:extLst>
            </p:cNvPr>
            <p:cNvSpPr/>
            <p:nvPr/>
          </p:nvSpPr>
          <p:spPr>
            <a:xfrm>
              <a:off x="1104423" y="4162190"/>
              <a:ext cx="229235" cy="301907"/>
            </a:xfrm>
            <a:custGeom>
              <a:avLst/>
              <a:gdLst>
                <a:gd name="connsiteX0" fmla="*/ 127587 w 229235"/>
                <a:gd name="connsiteY0" fmla="*/ 746 h 301907"/>
                <a:gd name="connsiteX1" fmla="*/ 735 w 229235"/>
                <a:gd name="connsiteY1" fmla="*/ 101671 h 301907"/>
                <a:gd name="connsiteX2" fmla="*/ 0 w 229235"/>
                <a:gd name="connsiteY2" fmla="*/ 114608 h 301907"/>
                <a:gd name="connsiteX3" fmla="*/ 19050 w 229235"/>
                <a:gd name="connsiteY3" fmla="*/ 114608 h 301907"/>
                <a:gd name="connsiteX4" fmla="*/ 114624 w 229235"/>
                <a:gd name="connsiteY4" fmla="*/ 19110 h 301907"/>
                <a:gd name="connsiteX5" fmla="*/ 210121 w 229235"/>
                <a:gd name="connsiteY5" fmla="*/ 114685 h 301907"/>
                <a:gd name="connsiteX6" fmla="*/ 165364 w 229235"/>
                <a:gd name="connsiteY6" fmla="*/ 195570 h 301907"/>
                <a:gd name="connsiteX7" fmla="*/ 105051 w 229235"/>
                <a:gd name="connsiteY7" fmla="*/ 301907 h 301907"/>
                <a:gd name="connsiteX8" fmla="*/ 124101 w 229235"/>
                <a:gd name="connsiteY8" fmla="*/ 301907 h 301907"/>
                <a:gd name="connsiteX9" fmla="*/ 175536 w 229235"/>
                <a:gd name="connsiteY9" fmla="*/ 211706 h 301907"/>
                <a:gd name="connsiteX10" fmla="*/ 211691 w 229235"/>
                <a:gd name="connsiteY10" fmla="*/ 53728 h 301907"/>
                <a:gd name="connsiteX11" fmla="*/ 127625 w 229235"/>
                <a:gd name="connsiteY11" fmla="*/ 784 h 301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9235" h="301907">
                  <a:moveTo>
                    <a:pt x="127587" y="746"/>
                  </a:moveTo>
                  <a:cubicBezTo>
                    <a:pt x="64688" y="-6414"/>
                    <a:pt x="7895" y="38772"/>
                    <a:pt x="735" y="101671"/>
                  </a:cubicBezTo>
                  <a:cubicBezTo>
                    <a:pt x="247" y="105966"/>
                    <a:pt x="1" y="110285"/>
                    <a:pt x="0" y="114608"/>
                  </a:cubicBezTo>
                  <a:lnTo>
                    <a:pt x="19050" y="114608"/>
                  </a:lnTo>
                  <a:cubicBezTo>
                    <a:pt x="19071" y="61845"/>
                    <a:pt x="61861" y="19089"/>
                    <a:pt x="114624" y="19110"/>
                  </a:cubicBezTo>
                  <a:cubicBezTo>
                    <a:pt x="167388" y="19132"/>
                    <a:pt x="210142" y="61922"/>
                    <a:pt x="210121" y="114685"/>
                  </a:cubicBezTo>
                  <a:cubicBezTo>
                    <a:pt x="210108" y="147550"/>
                    <a:pt x="193202" y="178102"/>
                    <a:pt x="165364" y="195570"/>
                  </a:cubicBezTo>
                  <a:cubicBezTo>
                    <a:pt x="128221" y="218199"/>
                    <a:pt x="105409" y="258416"/>
                    <a:pt x="105051" y="301907"/>
                  </a:cubicBezTo>
                  <a:lnTo>
                    <a:pt x="124101" y="301907"/>
                  </a:lnTo>
                  <a:cubicBezTo>
                    <a:pt x="124497" y="264970"/>
                    <a:pt x="143948" y="230857"/>
                    <a:pt x="175536" y="211706"/>
                  </a:cubicBezTo>
                  <a:cubicBezTo>
                    <a:pt x="229145" y="178065"/>
                    <a:pt x="245332" y="107336"/>
                    <a:pt x="211691" y="53728"/>
                  </a:cubicBezTo>
                  <a:cubicBezTo>
                    <a:pt x="193174" y="24219"/>
                    <a:pt x="162238" y="4736"/>
                    <a:pt x="127625" y="7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FA4DDBC2-ED88-117B-EB1F-4839CB78F7C4}"/>
                </a:ext>
              </a:extLst>
            </p:cNvPr>
            <p:cNvSpPr/>
            <p:nvPr/>
          </p:nvSpPr>
          <p:spPr>
            <a:xfrm>
              <a:off x="1200150" y="4524134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3F795E6-E913-21F2-DDFD-9D64413682A4}"/>
              </a:ext>
            </a:extLst>
          </p:cNvPr>
          <p:cNvGrpSpPr/>
          <p:nvPr/>
        </p:nvGrpSpPr>
        <p:grpSpPr>
          <a:xfrm>
            <a:off x="2358602" y="2498700"/>
            <a:ext cx="479347" cy="481980"/>
            <a:chOff x="331788" y="4432300"/>
            <a:chExt cx="288925" cy="290512"/>
          </a:xfrm>
          <a:solidFill>
            <a:schemeClr val="bg1"/>
          </a:solidFill>
        </p:grpSpPr>
        <p:sp>
          <p:nvSpPr>
            <p:cNvPr id="76" name="Freeform 5">
              <a:extLst>
                <a:ext uri="{FF2B5EF4-FFF2-40B4-BE49-F238E27FC236}">
                  <a16:creationId xmlns:a16="http://schemas.microsoft.com/office/drawing/2014/main" id="{D23D332C-478D-9FB3-0F1A-E8AD8DDF6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275" y="4470400"/>
              <a:ext cx="58738" cy="9525"/>
            </a:xfrm>
            <a:custGeom>
              <a:avLst/>
              <a:gdLst>
                <a:gd name="T0" fmla="*/ 163 w 163"/>
                <a:gd name="T1" fmla="*/ 12 h 24"/>
                <a:gd name="T2" fmla="*/ 152 w 163"/>
                <a:gd name="T3" fmla="*/ 0 h 24"/>
                <a:gd name="T4" fmla="*/ 15 w 163"/>
                <a:gd name="T5" fmla="*/ 0 h 24"/>
                <a:gd name="T6" fmla="*/ 15 w 163"/>
                <a:gd name="T7" fmla="*/ 24 h 24"/>
                <a:gd name="T8" fmla="*/ 152 w 163"/>
                <a:gd name="T9" fmla="*/ 24 h 24"/>
                <a:gd name="T10" fmla="*/ 163 w 163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3" h="24">
                  <a:moveTo>
                    <a:pt x="163" y="12"/>
                  </a:moveTo>
                  <a:cubicBezTo>
                    <a:pt x="163" y="5"/>
                    <a:pt x="158" y="0"/>
                    <a:pt x="152" y="0"/>
                  </a:cubicBezTo>
                  <a:lnTo>
                    <a:pt x="15" y="0"/>
                  </a:lnTo>
                  <a:cubicBezTo>
                    <a:pt x="1" y="0"/>
                    <a:pt x="0" y="24"/>
                    <a:pt x="15" y="24"/>
                  </a:cubicBezTo>
                  <a:lnTo>
                    <a:pt x="152" y="24"/>
                  </a:lnTo>
                  <a:cubicBezTo>
                    <a:pt x="158" y="24"/>
                    <a:pt x="163" y="18"/>
                    <a:pt x="16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7" name="Freeform 6">
              <a:extLst>
                <a:ext uri="{FF2B5EF4-FFF2-40B4-BE49-F238E27FC236}">
                  <a16:creationId xmlns:a16="http://schemas.microsoft.com/office/drawing/2014/main" id="{C3E9007B-0A20-FA2A-4106-083C09476F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275" y="4500563"/>
              <a:ext cx="39688" cy="9525"/>
            </a:xfrm>
            <a:custGeom>
              <a:avLst/>
              <a:gdLst>
                <a:gd name="T0" fmla="*/ 15 w 111"/>
                <a:gd name="T1" fmla="*/ 0 h 24"/>
                <a:gd name="T2" fmla="*/ 15 w 111"/>
                <a:gd name="T3" fmla="*/ 24 h 24"/>
                <a:gd name="T4" fmla="*/ 96 w 111"/>
                <a:gd name="T5" fmla="*/ 24 h 24"/>
                <a:gd name="T6" fmla="*/ 96 w 111"/>
                <a:gd name="T7" fmla="*/ 0 h 24"/>
                <a:gd name="T8" fmla="*/ 15 w 111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4">
                  <a:moveTo>
                    <a:pt x="15" y="0"/>
                  </a:moveTo>
                  <a:cubicBezTo>
                    <a:pt x="1" y="0"/>
                    <a:pt x="0" y="24"/>
                    <a:pt x="15" y="24"/>
                  </a:cubicBezTo>
                  <a:lnTo>
                    <a:pt x="96" y="24"/>
                  </a:lnTo>
                  <a:cubicBezTo>
                    <a:pt x="110" y="24"/>
                    <a:pt x="111" y="0"/>
                    <a:pt x="96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8" name="Freeform 7">
              <a:extLst>
                <a:ext uri="{FF2B5EF4-FFF2-40B4-BE49-F238E27FC236}">
                  <a16:creationId xmlns:a16="http://schemas.microsoft.com/office/drawing/2014/main" id="{E566CE81-2EDB-4D48-3C54-3D8503900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50" y="4640263"/>
              <a:ext cx="66675" cy="9525"/>
            </a:xfrm>
            <a:custGeom>
              <a:avLst/>
              <a:gdLst>
                <a:gd name="T0" fmla="*/ 170 w 185"/>
                <a:gd name="T1" fmla="*/ 24 h 24"/>
                <a:gd name="T2" fmla="*/ 170 w 185"/>
                <a:gd name="T3" fmla="*/ 0 h 24"/>
                <a:gd name="T4" fmla="*/ 16 w 185"/>
                <a:gd name="T5" fmla="*/ 0 h 24"/>
                <a:gd name="T6" fmla="*/ 16 w 185"/>
                <a:gd name="T7" fmla="*/ 24 h 24"/>
                <a:gd name="T8" fmla="*/ 170 w 185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24">
                  <a:moveTo>
                    <a:pt x="170" y="24"/>
                  </a:moveTo>
                  <a:cubicBezTo>
                    <a:pt x="184" y="24"/>
                    <a:pt x="185" y="0"/>
                    <a:pt x="170" y="0"/>
                  </a:cubicBezTo>
                  <a:lnTo>
                    <a:pt x="16" y="0"/>
                  </a:lnTo>
                  <a:cubicBezTo>
                    <a:pt x="1" y="0"/>
                    <a:pt x="0" y="24"/>
                    <a:pt x="16" y="24"/>
                  </a:cubicBezTo>
                  <a:lnTo>
                    <a:pt x="17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9" name="Freeform 8">
              <a:extLst>
                <a:ext uri="{FF2B5EF4-FFF2-40B4-BE49-F238E27FC236}">
                  <a16:creationId xmlns:a16="http://schemas.microsoft.com/office/drawing/2014/main" id="{E7DFF413-0481-2915-559C-95E2CC167B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363" y="4459288"/>
              <a:ext cx="46038" cy="87312"/>
            </a:xfrm>
            <a:custGeom>
              <a:avLst/>
              <a:gdLst>
                <a:gd name="T0" fmla="*/ 63 w 124"/>
                <a:gd name="T1" fmla="*/ 241 h 241"/>
                <a:gd name="T2" fmla="*/ 75 w 124"/>
                <a:gd name="T3" fmla="*/ 229 h 241"/>
                <a:gd name="T4" fmla="*/ 75 w 124"/>
                <a:gd name="T5" fmla="*/ 216 h 241"/>
                <a:gd name="T6" fmla="*/ 120 w 124"/>
                <a:gd name="T7" fmla="*/ 168 h 241"/>
                <a:gd name="T8" fmla="*/ 85 w 124"/>
                <a:gd name="T9" fmla="*/ 110 h 241"/>
                <a:gd name="T10" fmla="*/ 75 w 124"/>
                <a:gd name="T11" fmla="*/ 107 h 241"/>
                <a:gd name="T12" fmla="*/ 75 w 124"/>
                <a:gd name="T13" fmla="*/ 51 h 241"/>
                <a:gd name="T14" fmla="*/ 89 w 124"/>
                <a:gd name="T15" fmla="*/ 58 h 241"/>
                <a:gd name="T16" fmla="*/ 105 w 124"/>
                <a:gd name="T17" fmla="*/ 41 h 241"/>
                <a:gd name="T18" fmla="*/ 75 w 124"/>
                <a:gd name="T19" fmla="*/ 27 h 241"/>
                <a:gd name="T20" fmla="*/ 75 w 124"/>
                <a:gd name="T21" fmla="*/ 16 h 241"/>
                <a:gd name="T22" fmla="*/ 51 w 124"/>
                <a:gd name="T23" fmla="*/ 16 h 241"/>
                <a:gd name="T24" fmla="*/ 51 w 124"/>
                <a:gd name="T25" fmla="*/ 28 h 241"/>
                <a:gd name="T26" fmla="*/ 13 w 124"/>
                <a:gd name="T27" fmla="*/ 67 h 241"/>
                <a:gd name="T28" fmla="*/ 27 w 124"/>
                <a:gd name="T29" fmla="*/ 108 h 241"/>
                <a:gd name="T30" fmla="*/ 51 w 124"/>
                <a:gd name="T31" fmla="*/ 122 h 241"/>
                <a:gd name="T32" fmla="*/ 51 w 124"/>
                <a:gd name="T33" fmla="*/ 193 h 241"/>
                <a:gd name="T34" fmla="*/ 25 w 124"/>
                <a:gd name="T35" fmla="*/ 183 h 241"/>
                <a:gd name="T36" fmla="*/ 13 w 124"/>
                <a:gd name="T37" fmla="*/ 203 h 241"/>
                <a:gd name="T38" fmla="*/ 51 w 124"/>
                <a:gd name="T39" fmla="*/ 217 h 241"/>
                <a:gd name="T40" fmla="*/ 51 w 124"/>
                <a:gd name="T41" fmla="*/ 229 h 241"/>
                <a:gd name="T42" fmla="*/ 63 w 124"/>
                <a:gd name="T43" fmla="*/ 241 h 241"/>
                <a:gd name="T44" fmla="*/ 75 w 124"/>
                <a:gd name="T45" fmla="*/ 132 h 241"/>
                <a:gd name="T46" fmla="*/ 77 w 124"/>
                <a:gd name="T47" fmla="*/ 133 h 241"/>
                <a:gd name="T48" fmla="*/ 97 w 124"/>
                <a:gd name="T49" fmla="*/ 164 h 241"/>
                <a:gd name="T50" fmla="*/ 75 w 124"/>
                <a:gd name="T51" fmla="*/ 191 h 241"/>
                <a:gd name="T52" fmla="*/ 75 w 124"/>
                <a:gd name="T53" fmla="*/ 132 h 241"/>
                <a:gd name="T54" fmla="*/ 41 w 124"/>
                <a:gd name="T55" fmla="*/ 90 h 241"/>
                <a:gd name="T56" fmla="*/ 36 w 124"/>
                <a:gd name="T57" fmla="*/ 71 h 241"/>
                <a:gd name="T58" fmla="*/ 51 w 124"/>
                <a:gd name="T59" fmla="*/ 52 h 241"/>
                <a:gd name="T60" fmla="*/ 51 w 124"/>
                <a:gd name="T61" fmla="*/ 96 h 241"/>
                <a:gd name="T62" fmla="*/ 41 w 124"/>
                <a:gd name="T63" fmla="*/ 9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24" h="241">
                  <a:moveTo>
                    <a:pt x="63" y="241"/>
                  </a:moveTo>
                  <a:cubicBezTo>
                    <a:pt x="69" y="241"/>
                    <a:pt x="75" y="236"/>
                    <a:pt x="75" y="229"/>
                  </a:cubicBezTo>
                  <a:lnTo>
                    <a:pt x="75" y="216"/>
                  </a:lnTo>
                  <a:cubicBezTo>
                    <a:pt x="101" y="210"/>
                    <a:pt x="116" y="189"/>
                    <a:pt x="120" y="168"/>
                  </a:cubicBezTo>
                  <a:cubicBezTo>
                    <a:pt x="124" y="142"/>
                    <a:pt x="111" y="119"/>
                    <a:pt x="85" y="110"/>
                  </a:cubicBezTo>
                  <a:cubicBezTo>
                    <a:pt x="82" y="109"/>
                    <a:pt x="78" y="108"/>
                    <a:pt x="75" y="107"/>
                  </a:cubicBezTo>
                  <a:lnTo>
                    <a:pt x="75" y="51"/>
                  </a:lnTo>
                  <a:cubicBezTo>
                    <a:pt x="84" y="53"/>
                    <a:pt x="89" y="58"/>
                    <a:pt x="89" y="58"/>
                  </a:cubicBezTo>
                  <a:cubicBezTo>
                    <a:pt x="100" y="68"/>
                    <a:pt x="116" y="51"/>
                    <a:pt x="105" y="41"/>
                  </a:cubicBezTo>
                  <a:cubicBezTo>
                    <a:pt x="104" y="40"/>
                    <a:pt x="93" y="30"/>
                    <a:pt x="75" y="27"/>
                  </a:cubicBezTo>
                  <a:lnTo>
                    <a:pt x="75" y="16"/>
                  </a:lnTo>
                  <a:cubicBezTo>
                    <a:pt x="75" y="1"/>
                    <a:pt x="51" y="0"/>
                    <a:pt x="51" y="16"/>
                  </a:cubicBezTo>
                  <a:lnTo>
                    <a:pt x="51" y="28"/>
                  </a:lnTo>
                  <a:cubicBezTo>
                    <a:pt x="32" y="32"/>
                    <a:pt x="17" y="47"/>
                    <a:pt x="13" y="67"/>
                  </a:cubicBezTo>
                  <a:cubicBezTo>
                    <a:pt x="10" y="83"/>
                    <a:pt x="15" y="99"/>
                    <a:pt x="27" y="108"/>
                  </a:cubicBezTo>
                  <a:cubicBezTo>
                    <a:pt x="33" y="113"/>
                    <a:pt x="41" y="118"/>
                    <a:pt x="51" y="122"/>
                  </a:cubicBezTo>
                  <a:lnTo>
                    <a:pt x="51" y="193"/>
                  </a:lnTo>
                  <a:cubicBezTo>
                    <a:pt x="42" y="192"/>
                    <a:pt x="36" y="190"/>
                    <a:pt x="25" y="183"/>
                  </a:cubicBezTo>
                  <a:cubicBezTo>
                    <a:pt x="13" y="175"/>
                    <a:pt x="0" y="195"/>
                    <a:pt x="13" y="203"/>
                  </a:cubicBezTo>
                  <a:cubicBezTo>
                    <a:pt x="28" y="213"/>
                    <a:pt x="38" y="216"/>
                    <a:pt x="51" y="217"/>
                  </a:cubicBezTo>
                  <a:lnTo>
                    <a:pt x="51" y="229"/>
                  </a:lnTo>
                  <a:cubicBezTo>
                    <a:pt x="51" y="236"/>
                    <a:pt x="57" y="241"/>
                    <a:pt x="63" y="241"/>
                  </a:cubicBezTo>
                  <a:close/>
                  <a:moveTo>
                    <a:pt x="75" y="132"/>
                  </a:moveTo>
                  <a:cubicBezTo>
                    <a:pt x="76" y="132"/>
                    <a:pt x="76" y="132"/>
                    <a:pt x="77" y="133"/>
                  </a:cubicBezTo>
                  <a:cubicBezTo>
                    <a:pt x="99" y="140"/>
                    <a:pt x="98" y="159"/>
                    <a:pt x="97" y="164"/>
                  </a:cubicBezTo>
                  <a:cubicBezTo>
                    <a:pt x="95" y="175"/>
                    <a:pt x="87" y="187"/>
                    <a:pt x="75" y="191"/>
                  </a:cubicBezTo>
                  <a:lnTo>
                    <a:pt x="75" y="132"/>
                  </a:lnTo>
                  <a:close/>
                  <a:moveTo>
                    <a:pt x="41" y="90"/>
                  </a:moveTo>
                  <a:cubicBezTo>
                    <a:pt x="37" y="86"/>
                    <a:pt x="35" y="79"/>
                    <a:pt x="36" y="71"/>
                  </a:cubicBezTo>
                  <a:cubicBezTo>
                    <a:pt x="37" y="64"/>
                    <a:pt x="42" y="56"/>
                    <a:pt x="51" y="52"/>
                  </a:cubicBezTo>
                  <a:lnTo>
                    <a:pt x="51" y="96"/>
                  </a:lnTo>
                  <a:cubicBezTo>
                    <a:pt x="48" y="94"/>
                    <a:pt x="44" y="92"/>
                    <a:pt x="41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0" name="Freeform 9">
              <a:extLst>
                <a:ext uri="{FF2B5EF4-FFF2-40B4-BE49-F238E27FC236}">
                  <a16:creationId xmlns:a16="http://schemas.microsoft.com/office/drawing/2014/main" id="{57EF5EFA-06B7-D568-837A-6B2DF4CA85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788" y="4432300"/>
              <a:ext cx="288925" cy="290512"/>
            </a:xfrm>
            <a:custGeom>
              <a:avLst/>
              <a:gdLst>
                <a:gd name="T0" fmla="*/ 663 w 800"/>
                <a:gd name="T1" fmla="*/ 496 h 800"/>
                <a:gd name="T2" fmla="*/ 594 w 800"/>
                <a:gd name="T3" fmla="*/ 419 h 800"/>
                <a:gd name="T4" fmla="*/ 513 w 800"/>
                <a:gd name="T5" fmla="*/ 339 h 800"/>
                <a:gd name="T6" fmla="*/ 490 w 800"/>
                <a:gd name="T7" fmla="*/ 339 h 800"/>
                <a:gd name="T8" fmla="*/ 340 w 800"/>
                <a:gd name="T9" fmla="*/ 406 h 800"/>
                <a:gd name="T10" fmla="*/ 340 w 800"/>
                <a:gd name="T11" fmla="*/ 430 h 800"/>
                <a:gd name="T12" fmla="*/ 102 w 800"/>
                <a:gd name="T13" fmla="*/ 514 h 800"/>
                <a:gd name="T14" fmla="*/ 27 w 800"/>
                <a:gd name="T15" fmla="*/ 691 h 800"/>
                <a:gd name="T16" fmla="*/ 27 w 800"/>
                <a:gd name="T17" fmla="*/ 24 h 800"/>
                <a:gd name="T18" fmla="*/ 490 w 800"/>
                <a:gd name="T19" fmla="*/ 125 h 800"/>
                <a:gd name="T20" fmla="*/ 486 w 800"/>
                <a:gd name="T21" fmla="*/ 0 h 800"/>
                <a:gd name="T22" fmla="*/ 0 w 800"/>
                <a:gd name="T23" fmla="*/ 687 h 800"/>
                <a:gd name="T24" fmla="*/ 340 w 800"/>
                <a:gd name="T25" fmla="*/ 721 h 800"/>
                <a:gd name="T26" fmla="*/ 689 w 800"/>
                <a:gd name="T27" fmla="*/ 800 h 800"/>
                <a:gd name="T28" fmla="*/ 663 w 800"/>
                <a:gd name="T29" fmla="*/ 749 h 800"/>
                <a:gd name="T30" fmla="*/ 773 w 800"/>
                <a:gd name="T31" fmla="*/ 777 h 800"/>
                <a:gd name="T32" fmla="*/ 773 w 800"/>
                <a:gd name="T33" fmla="*/ 800 h 800"/>
                <a:gd name="T34" fmla="*/ 773 w 800"/>
                <a:gd name="T35" fmla="*/ 623 h 800"/>
                <a:gd name="T36" fmla="*/ 571 w 800"/>
                <a:gd name="T37" fmla="*/ 406 h 800"/>
                <a:gd name="T38" fmla="*/ 363 w 800"/>
                <a:gd name="T39" fmla="*/ 367 h 800"/>
                <a:gd name="T40" fmla="*/ 363 w 800"/>
                <a:gd name="T41" fmla="*/ 406 h 800"/>
                <a:gd name="T42" fmla="*/ 363 w 800"/>
                <a:gd name="T43" fmla="*/ 773 h 800"/>
                <a:gd name="T44" fmla="*/ 367 w 800"/>
                <a:gd name="T45" fmla="*/ 777 h 800"/>
                <a:gd name="T46" fmla="*/ 419 w 800"/>
                <a:gd name="T47" fmla="*/ 570 h 800"/>
                <a:gd name="T48" fmla="*/ 503 w 800"/>
                <a:gd name="T49" fmla="*/ 602 h 800"/>
                <a:gd name="T50" fmla="*/ 503 w 800"/>
                <a:gd name="T51" fmla="*/ 496 h 800"/>
                <a:gd name="T52" fmla="*/ 395 w 800"/>
                <a:gd name="T53" fmla="*/ 570 h 800"/>
                <a:gd name="T54" fmla="*/ 503 w 800"/>
                <a:gd name="T55" fmla="*/ 777 h 800"/>
                <a:gd name="T56" fmla="*/ 363 w 800"/>
                <a:gd name="T57" fmla="*/ 429 h 800"/>
                <a:gd name="T58" fmla="*/ 571 w 800"/>
                <a:gd name="T59" fmla="*/ 429 h 800"/>
                <a:gd name="T60" fmla="*/ 503 w 800"/>
                <a:gd name="T61" fmla="*/ 496 h 800"/>
                <a:gd name="T62" fmla="*/ 526 w 800"/>
                <a:gd name="T63" fmla="*/ 773 h 800"/>
                <a:gd name="T64" fmla="*/ 640 w 800"/>
                <a:gd name="T65" fmla="*/ 777 h 800"/>
                <a:gd name="T66" fmla="*/ 526 w 800"/>
                <a:gd name="T67" fmla="*/ 697 h 800"/>
                <a:gd name="T68" fmla="*/ 640 w 800"/>
                <a:gd name="T69" fmla="*/ 674 h 800"/>
                <a:gd name="T70" fmla="*/ 640 w 800"/>
                <a:gd name="T71" fmla="*/ 646 h 800"/>
                <a:gd name="T72" fmla="*/ 526 w 800"/>
                <a:gd name="T73" fmla="*/ 623 h 800"/>
                <a:gd name="T74" fmla="*/ 640 w 800"/>
                <a:gd name="T75" fmla="*/ 623 h 800"/>
                <a:gd name="T76" fmla="*/ 526 w 800"/>
                <a:gd name="T77" fmla="*/ 543 h 800"/>
                <a:gd name="T78" fmla="*/ 640 w 800"/>
                <a:gd name="T79" fmla="*/ 520 h 800"/>
                <a:gd name="T80" fmla="*/ 530 w 800"/>
                <a:gd name="T81" fmla="*/ 492 h 800"/>
                <a:gd name="T82" fmla="*/ 640 w 800"/>
                <a:gd name="T83" fmla="*/ 520 h 800"/>
                <a:gd name="T84" fmla="*/ 663 w 800"/>
                <a:gd name="T85" fmla="*/ 697 h 800"/>
                <a:gd name="T86" fmla="*/ 777 w 800"/>
                <a:gd name="T87" fmla="*/ 674 h 800"/>
                <a:gd name="T88" fmla="*/ 773 w 800"/>
                <a:gd name="T89" fmla="*/ 646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00" h="800">
                  <a:moveTo>
                    <a:pt x="773" y="623"/>
                  </a:moveTo>
                  <a:lnTo>
                    <a:pt x="663" y="623"/>
                  </a:lnTo>
                  <a:lnTo>
                    <a:pt x="663" y="496"/>
                  </a:lnTo>
                  <a:cubicBezTo>
                    <a:pt x="663" y="481"/>
                    <a:pt x="651" y="468"/>
                    <a:pt x="636" y="468"/>
                  </a:cubicBezTo>
                  <a:lnTo>
                    <a:pt x="594" y="468"/>
                  </a:lnTo>
                  <a:lnTo>
                    <a:pt x="594" y="419"/>
                  </a:lnTo>
                  <a:lnTo>
                    <a:pt x="594" y="367"/>
                  </a:lnTo>
                  <a:cubicBezTo>
                    <a:pt x="594" y="352"/>
                    <a:pt x="582" y="339"/>
                    <a:pt x="567" y="339"/>
                  </a:cubicBezTo>
                  <a:lnTo>
                    <a:pt x="513" y="339"/>
                  </a:lnTo>
                  <a:lnTo>
                    <a:pt x="513" y="249"/>
                  </a:lnTo>
                  <a:cubicBezTo>
                    <a:pt x="513" y="234"/>
                    <a:pt x="490" y="233"/>
                    <a:pt x="490" y="249"/>
                  </a:cubicBezTo>
                  <a:lnTo>
                    <a:pt x="490" y="339"/>
                  </a:lnTo>
                  <a:lnTo>
                    <a:pt x="367" y="339"/>
                  </a:lnTo>
                  <a:cubicBezTo>
                    <a:pt x="352" y="339"/>
                    <a:pt x="340" y="352"/>
                    <a:pt x="340" y="367"/>
                  </a:cubicBezTo>
                  <a:lnTo>
                    <a:pt x="340" y="406"/>
                  </a:lnTo>
                  <a:lnTo>
                    <a:pt x="102" y="406"/>
                  </a:lnTo>
                  <a:cubicBezTo>
                    <a:pt x="87" y="406"/>
                    <a:pt x="86" y="430"/>
                    <a:pt x="102" y="430"/>
                  </a:cubicBezTo>
                  <a:lnTo>
                    <a:pt x="340" y="430"/>
                  </a:lnTo>
                  <a:lnTo>
                    <a:pt x="340" y="490"/>
                  </a:lnTo>
                  <a:lnTo>
                    <a:pt x="102" y="490"/>
                  </a:lnTo>
                  <a:cubicBezTo>
                    <a:pt x="87" y="490"/>
                    <a:pt x="86" y="514"/>
                    <a:pt x="102" y="514"/>
                  </a:cubicBezTo>
                  <a:lnTo>
                    <a:pt x="340" y="514"/>
                  </a:lnTo>
                  <a:lnTo>
                    <a:pt x="340" y="691"/>
                  </a:lnTo>
                  <a:lnTo>
                    <a:pt x="27" y="691"/>
                  </a:lnTo>
                  <a:cubicBezTo>
                    <a:pt x="25" y="691"/>
                    <a:pt x="24" y="689"/>
                    <a:pt x="24" y="687"/>
                  </a:cubicBezTo>
                  <a:lnTo>
                    <a:pt x="24" y="27"/>
                  </a:lnTo>
                  <a:cubicBezTo>
                    <a:pt x="24" y="25"/>
                    <a:pt x="25" y="24"/>
                    <a:pt x="27" y="24"/>
                  </a:cubicBezTo>
                  <a:lnTo>
                    <a:pt x="486" y="24"/>
                  </a:lnTo>
                  <a:cubicBezTo>
                    <a:pt x="488" y="24"/>
                    <a:pt x="490" y="25"/>
                    <a:pt x="490" y="27"/>
                  </a:cubicBezTo>
                  <a:lnTo>
                    <a:pt x="490" y="125"/>
                  </a:lnTo>
                  <a:cubicBezTo>
                    <a:pt x="490" y="139"/>
                    <a:pt x="513" y="140"/>
                    <a:pt x="513" y="125"/>
                  </a:cubicBezTo>
                  <a:lnTo>
                    <a:pt x="513" y="27"/>
                  </a:lnTo>
                  <a:cubicBezTo>
                    <a:pt x="513" y="12"/>
                    <a:pt x="501" y="0"/>
                    <a:pt x="486" y="0"/>
                  </a:cubicBezTo>
                  <a:lnTo>
                    <a:pt x="27" y="0"/>
                  </a:lnTo>
                  <a:cubicBezTo>
                    <a:pt x="12" y="0"/>
                    <a:pt x="0" y="12"/>
                    <a:pt x="0" y="27"/>
                  </a:cubicBezTo>
                  <a:lnTo>
                    <a:pt x="0" y="687"/>
                  </a:lnTo>
                  <a:cubicBezTo>
                    <a:pt x="0" y="702"/>
                    <a:pt x="12" y="714"/>
                    <a:pt x="27" y="714"/>
                  </a:cubicBezTo>
                  <a:lnTo>
                    <a:pt x="340" y="714"/>
                  </a:lnTo>
                  <a:lnTo>
                    <a:pt x="340" y="721"/>
                  </a:lnTo>
                  <a:lnTo>
                    <a:pt x="340" y="773"/>
                  </a:lnTo>
                  <a:cubicBezTo>
                    <a:pt x="340" y="788"/>
                    <a:pt x="352" y="800"/>
                    <a:pt x="367" y="800"/>
                  </a:cubicBezTo>
                  <a:lnTo>
                    <a:pt x="689" y="800"/>
                  </a:lnTo>
                  <a:cubicBezTo>
                    <a:pt x="703" y="800"/>
                    <a:pt x="704" y="777"/>
                    <a:pt x="689" y="777"/>
                  </a:cubicBezTo>
                  <a:lnTo>
                    <a:pt x="663" y="777"/>
                  </a:lnTo>
                  <a:lnTo>
                    <a:pt x="663" y="749"/>
                  </a:lnTo>
                  <a:lnTo>
                    <a:pt x="777" y="749"/>
                  </a:lnTo>
                  <a:lnTo>
                    <a:pt x="777" y="773"/>
                  </a:lnTo>
                  <a:cubicBezTo>
                    <a:pt x="777" y="775"/>
                    <a:pt x="775" y="777"/>
                    <a:pt x="773" y="777"/>
                  </a:cubicBezTo>
                  <a:lnTo>
                    <a:pt x="751" y="777"/>
                  </a:lnTo>
                  <a:cubicBezTo>
                    <a:pt x="736" y="777"/>
                    <a:pt x="736" y="800"/>
                    <a:pt x="751" y="800"/>
                  </a:cubicBezTo>
                  <a:lnTo>
                    <a:pt x="773" y="800"/>
                  </a:lnTo>
                  <a:cubicBezTo>
                    <a:pt x="788" y="800"/>
                    <a:pt x="800" y="788"/>
                    <a:pt x="800" y="773"/>
                  </a:cubicBezTo>
                  <a:lnTo>
                    <a:pt x="800" y="650"/>
                  </a:lnTo>
                  <a:cubicBezTo>
                    <a:pt x="800" y="635"/>
                    <a:pt x="788" y="623"/>
                    <a:pt x="773" y="623"/>
                  </a:cubicBezTo>
                  <a:close/>
                  <a:moveTo>
                    <a:pt x="567" y="363"/>
                  </a:moveTo>
                  <a:cubicBezTo>
                    <a:pt x="569" y="363"/>
                    <a:pt x="571" y="365"/>
                    <a:pt x="571" y="367"/>
                  </a:cubicBezTo>
                  <a:lnTo>
                    <a:pt x="571" y="406"/>
                  </a:lnTo>
                  <a:cubicBezTo>
                    <a:pt x="549" y="401"/>
                    <a:pt x="533" y="384"/>
                    <a:pt x="528" y="363"/>
                  </a:cubicBezTo>
                  <a:lnTo>
                    <a:pt x="567" y="363"/>
                  </a:lnTo>
                  <a:close/>
                  <a:moveTo>
                    <a:pt x="363" y="367"/>
                  </a:moveTo>
                  <a:cubicBezTo>
                    <a:pt x="363" y="365"/>
                    <a:pt x="365" y="363"/>
                    <a:pt x="367" y="363"/>
                  </a:cubicBezTo>
                  <a:lnTo>
                    <a:pt x="406" y="363"/>
                  </a:lnTo>
                  <a:cubicBezTo>
                    <a:pt x="401" y="384"/>
                    <a:pt x="385" y="401"/>
                    <a:pt x="363" y="406"/>
                  </a:cubicBezTo>
                  <a:lnTo>
                    <a:pt x="363" y="367"/>
                  </a:lnTo>
                  <a:close/>
                  <a:moveTo>
                    <a:pt x="367" y="777"/>
                  </a:moveTo>
                  <a:cubicBezTo>
                    <a:pt x="365" y="777"/>
                    <a:pt x="363" y="775"/>
                    <a:pt x="363" y="773"/>
                  </a:cubicBezTo>
                  <a:lnTo>
                    <a:pt x="363" y="734"/>
                  </a:lnTo>
                  <a:cubicBezTo>
                    <a:pt x="385" y="738"/>
                    <a:pt x="401" y="755"/>
                    <a:pt x="406" y="777"/>
                  </a:cubicBezTo>
                  <a:lnTo>
                    <a:pt x="367" y="777"/>
                  </a:lnTo>
                  <a:close/>
                  <a:moveTo>
                    <a:pt x="503" y="602"/>
                  </a:moveTo>
                  <a:cubicBezTo>
                    <a:pt x="494" y="612"/>
                    <a:pt x="481" y="618"/>
                    <a:pt x="467" y="618"/>
                  </a:cubicBezTo>
                  <a:cubicBezTo>
                    <a:pt x="440" y="618"/>
                    <a:pt x="419" y="596"/>
                    <a:pt x="419" y="570"/>
                  </a:cubicBezTo>
                  <a:cubicBezTo>
                    <a:pt x="419" y="543"/>
                    <a:pt x="440" y="522"/>
                    <a:pt x="467" y="522"/>
                  </a:cubicBezTo>
                  <a:cubicBezTo>
                    <a:pt x="481" y="522"/>
                    <a:pt x="494" y="528"/>
                    <a:pt x="503" y="538"/>
                  </a:cubicBezTo>
                  <a:lnTo>
                    <a:pt x="503" y="602"/>
                  </a:lnTo>
                  <a:close/>
                  <a:moveTo>
                    <a:pt x="503" y="777"/>
                  </a:moveTo>
                  <a:cubicBezTo>
                    <a:pt x="503" y="777"/>
                    <a:pt x="503" y="777"/>
                    <a:pt x="503" y="777"/>
                  </a:cubicBezTo>
                  <a:close/>
                  <a:moveTo>
                    <a:pt x="503" y="496"/>
                  </a:moveTo>
                  <a:lnTo>
                    <a:pt x="503" y="508"/>
                  </a:lnTo>
                  <a:cubicBezTo>
                    <a:pt x="492" y="502"/>
                    <a:pt x="480" y="498"/>
                    <a:pt x="467" y="498"/>
                  </a:cubicBezTo>
                  <a:cubicBezTo>
                    <a:pt x="428" y="498"/>
                    <a:pt x="395" y="530"/>
                    <a:pt x="395" y="570"/>
                  </a:cubicBezTo>
                  <a:cubicBezTo>
                    <a:pt x="395" y="609"/>
                    <a:pt x="428" y="641"/>
                    <a:pt x="467" y="641"/>
                  </a:cubicBezTo>
                  <a:cubicBezTo>
                    <a:pt x="480" y="641"/>
                    <a:pt x="492" y="638"/>
                    <a:pt x="503" y="632"/>
                  </a:cubicBezTo>
                  <a:lnTo>
                    <a:pt x="503" y="777"/>
                  </a:lnTo>
                  <a:lnTo>
                    <a:pt x="430" y="777"/>
                  </a:lnTo>
                  <a:cubicBezTo>
                    <a:pt x="425" y="742"/>
                    <a:pt x="398" y="715"/>
                    <a:pt x="363" y="710"/>
                  </a:cubicBezTo>
                  <a:lnTo>
                    <a:pt x="363" y="429"/>
                  </a:lnTo>
                  <a:cubicBezTo>
                    <a:pt x="398" y="424"/>
                    <a:pt x="425" y="397"/>
                    <a:pt x="430" y="363"/>
                  </a:cubicBezTo>
                  <a:lnTo>
                    <a:pt x="504" y="363"/>
                  </a:lnTo>
                  <a:cubicBezTo>
                    <a:pt x="509" y="397"/>
                    <a:pt x="537" y="424"/>
                    <a:pt x="571" y="429"/>
                  </a:cubicBezTo>
                  <a:lnTo>
                    <a:pt x="571" y="468"/>
                  </a:lnTo>
                  <a:lnTo>
                    <a:pt x="530" y="468"/>
                  </a:lnTo>
                  <a:cubicBezTo>
                    <a:pt x="515" y="468"/>
                    <a:pt x="503" y="481"/>
                    <a:pt x="503" y="496"/>
                  </a:cubicBezTo>
                  <a:close/>
                  <a:moveTo>
                    <a:pt x="640" y="777"/>
                  </a:moveTo>
                  <a:lnTo>
                    <a:pt x="530" y="777"/>
                  </a:lnTo>
                  <a:cubicBezTo>
                    <a:pt x="528" y="777"/>
                    <a:pt x="526" y="775"/>
                    <a:pt x="526" y="773"/>
                  </a:cubicBezTo>
                  <a:lnTo>
                    <a:pt x="526" y="749"/>
                  </a:lnTo>
                  <a:lnTo>
                    <a:pt x="640" y="749"/>
                  </a:lnTo>
                  <a:lnTo>
                    <a:pt x="640" y="777"/>
                  </a:lnTo>
                  <a:close/>
                  <a:moveTo>
                    <a:pt x="640" y="725"/>
                  </a:moveTo>
                  <a:lnTo>
                    <a:pt x="526" y="725"/>
                  </a:lnTo>
                  <a:lnTo>
                    <a:pt x="526" y="697"/>
                  </a:lnTo>
                  <a:lnTo>
                    <a:pt x="640" y="697"/>
                  </a:lnTo>
                  <a:lnTo>
                    <a:pt x="640" y="725"/>
                  </a:lnTo>
                  <a:close/>
                  <a:moveTo>
                    <a:pt x="640" y="674"/>
                  </a:moveTo>
                  <a:lnTo>
                    <a:pt x="526" y="674"/>
                  </a:lnTo>
                  <a:lnTo>
                    <a:pt x="526" y="646"/>
                  </a:lnTo>
                  <a:lnTo>
                    <a:pt x="640" y="646"/>
                  </a:lnTo>
                  <a:lnTo>
                    <a:pt x="640" y="674"/>
                  </a:lnTo>
                  <a:close/>
                  <a:moveTo>
                    <a:pt x="640" y="623"/>
                  </a:moveTo>
                  <a:lnTo>
                    <a:pt x="526" y="623"/>
                  </a:lnTo>
                  <a:lnTo>
                    <a:pt x="526" y="595"/>
                  </a:lnTo>
                  <a:lnTo>
                    <a:pt x="640" y="595"/>
                  </a:lnTo>
                  <a:lnTo>
                    <a:pt x="640" y="623"/>
                  </a:lnTo>
                  <a:close/>
                  <a:moveTo>
                    <a:pt x="640" y="571"/>
                  </a:moveTo>
                  <a:lnTo>
                    <a:pt x="526" y="571"/>
                  </a:lnTo>
                  <a:lnTo>
                    <a:pt x="526" y="543"/>
                  </a:lnTo>
                  <a:lnTo>
                    <a:pt x="640" y="543"/>
                  </a:lnTo>
                  <a:lnTo>
                    <a:pt x="640" y="571"/>
                  </a:lnTo>
                  <a:close/>
                  <a:moveTo>
                    <a:pt x="640" y="520"/>
                  </a:moveTo>
                  <a:lnTo>
                    <a:pt x="526" y="520"/>
                  </a:lnTo>
                  <a:lnTo>
                    <a:pt x="526" y="496"/>
                  </a:lnTo>
                  <a:cubicBezTo>
                    <a:pt x="526" y="494"/>
                    <a:pt x="528" y="492"/>
                    <a:pt x="530" y="492"/>
                  </a:cubicBezTo>
                  <a:lnTo>
                    <a:pt x="636" y="492"/>
                  </a:lnTo>
                  <a:cubicBezTo>
                    <a:pt x="638" y="492"/>
                    <a:pt x="640" y="494"/>
                    <a:pt x="640" y="496"/>
                  </a:cubicBezTo>
                  <a:lnTo>
                    <a:pt x="640" y="520"/>
                  </a:lnTo>
                  <a:close/>
                  <a:moveTo>
                    <a:pt x="777" y="725"/>
                  </a:moveTo>
                  <a:lnTo>
                    <a:pt x="663" y="725"/>
                  </a:lnTo>
                  <a:lnTo>
                    <a:pt x="663" y="697"/>
                  </a:lnTo>
                  <a:lnTo>
                    <a:pt x="777" y="697"/>
                  </a:lnTo>
                  <a:lnTo>
                    <a:pt x="777" y="725"/>
                  </a:lnTo>
                  <a:close/>
                  <a:moveTo>
                    <a:pt x="777" y="674"/>
                  </a:moveTo>
                  <a:lnTo>
                    <a:pt x="663" y="674"/>
                  </a:lnTo>
                  <a:lnTo>
                    <a:pt x="663" y="646"/>
                  </a:lnTo>
                  <a:lnTo>
                    <a:pt x="773" y="646"/>
                  </a:lnTo>
                  <a:cubicBezTo>
                    <a:pt x="775" y="646"/>
                    <a:pt x="777" y="648"/>
                    <a:pt x="777" y="650"/>
                  </a:cubicBezTo>
                  <a:lnTo>
                    <a:pt x="777" y="6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1" name="Freeform 10">
              <a:extLst>
                <a:ext uri="{FF2B5EF4-FFF2-40B4-BE49-F238E27FC236}">
                  <a16:creationId xmlns:a16="http://schemas.microsoft.com/office/drawing/2014/main" id="{2BD0E451-104B-B9C3-055F-CC9CA9E4D9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838" y="4446588"/>
              <a:ext cx="138113" cy="87312"/>
            </a:xfrm>
            <a:custGeom>
              <a:avLst/>
              <a:gdLst>
                <a:gd name="T0" fmla="*/ 5 w 382"/>
                <a:gd name="T1" fmla="*/ 236 h 241"/>
                <a:gd name="T2" fmla="*/ 22 w 382"/>
                <a:gd name="T3" fmla="*/ 236 h 241"/>
                <a:gd name="T4" fmla="*/ 157 w 382"/>
                <a:gd name="T5" fmla="*/ 101 h 241"/>
                <a:gd name="T6" fmla="*/ 219 w 382"/>
                <a:gd name="T7" fmla="*/ 164 h 241"/>
                <a:gd name="T8" fmla="*/ 235 w 382"/>
                <a:gd name="T9" fmla="*/ 164 h 241"/>
                <a:gd name="T10" fmla="*/ 359 w 382"/>
                <a:gd name="T11" fmla="*/ 40 h 241"/>
                <a:gd name="T12" fmla="*/ 359 w 382"/>
                <a:gd name="T13" fmla="*/ 72 h 241"/>
                <a:gd name="T14" fmla="*/ 382 w 382"/>
                <a:gd name="T15" fmla="*/ 72 h 241"/>
                <a:gd name="T16" fmla="*/ 382 w 382"/>
                <a:gd name="T17" fmla="*/ 12 h 241"/>
                <a:gd name="T18" fmla="*/ 370 w 382"/>
                <a:gd name="T19" fmla="*/ 0 h 241"/>
                <a:gd name="T20" fmla="*/ 310 w 382"/>
                <a:gd name="T21" fmla="*/ 0 h 241"/>
                <a:gd name="T22" fmla="*/ 310 w 382"/>
                <a:gd name="T23" fmla="*/ 24 h 241"/>
                <a:gd name="T24" fmla="*/ 342 w 382"/>
                <a:gd name="T25" fmla="*/ 24 h 241"/>
                <a:gd name="T26" fmla="*/ 227 w 382"/>
                <a:gd name="T27" fmla="*/ 139 h 241"/>
                <a:gd name="T28" fmla="*/ 165 w 382"/>
                <a:gd name="T29" fmla="*/ 77 h 241"/>
                <a:gd name="T30" fmla="*/ 148 w 382"/>
                <a:gd name="T31" fmla="*/ 77 h 241"/>
                <a:gd name="T32" fmla="*/ 5 w 382"/>
                <a:gd name="T33" fmla="*/ 220 h 241"/>
                <a:gd name="T34" fmla="*/ 5 w 382"/>
                <a:gd name="T35" fmla="*/ 23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2" h="241">
                  <a:moveTo>
                    <a:pt x="5" y="236"/>
                  </a:moveTo>
                  <a:cubicBezTo>
                    <a:pt x="11" y="241"/>
                    <a:pt x="16" y="241"/>
                    <a:pt x="22" y="236"/>
                  </a:cubicBezTo>
                  <a:lnTo>
                    <a:pt x="157" y="101"/>
                  </a:lnTo>
                  <a:lnTo>
                    <a:pt x="219" y="164"/>
                  </a:lnTo>
                  <a:cubicBezTo>
                    <a:pt x="224" y="168"/>
                    <a:pt x="230" y="168"/>
                    <a:pt x="235" y="164"/>
                  </a:cubicBezTo>
                  <a:lnTo>
                    <a:pt x="359" y="40"/>
                  </a:lnTo>
                  <a:lnTo>
                    <a:pt x="359" y="72"/>
                  </a:lnTo>
                  <a:cubicBezTo>
                    <a:pt x="359" y="87"/>
                    <a:pt x="382" y="88"/>
                    <a:pt x="382" y="72"/>
                  </a:cubicBezTo>
                  <a:lnTo>
                    <a:pt x="382" y="12"/>
                  </a:lnTo>
                  <a:cubicBezTo>
                    <a:pt x="382" y="6"/>
                    <a:pt x="377" y="0"/>
                    <a:pt x="370" y="0"/>
                  </a:cubicBezTo>
                  <a:lnTo>
                    <a:pt x="310" y="0"/>
                  </a:lnTo>
                  <a:cubicBezTo>
                    <a:pt x="295" y="0"/>
                    <a:pt x="295" y="24"/>
                    <a:pt x="310" y="24"/>
                  </a:cubicBezTo>
                  <a:lnTo>
                    <a:pt x="342" y="24"/>
                  </a:lnTo>
                  <a:lnTo>
                    <a:pt x="227" y="139"/>
                  </a:lnTo>
                  <a:lnTo>
                    <a:pt x="165" y="77"/>
                  </a:lnTo>
                  <a:cubicBezTo>
                    <a:pt x="160" y="72"/>
                    <a:pt x="153" y="72"/>
                    <a:pt x="148" y="77"/>
                  </a:cubicBezTo>
                  <a:lnTo>
                    <a:pt x="5" y="220"/>
                  </a:lnTo>
                  <a:cubicBezTo>
                    <a:pt x="0" y="225"/>
                    <a:pt x="0" y="232"/>
                    <a:pt x="5" y="2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82" name="Graphic 67" descr="Continuous Improvement outline">
            <a:extLst>
              <a:ext uri="{FF2B5EF4-FFF2-40B4-BE49-F238E27FC236}">
                <a16:creationId xmlns:a16="http://schemas.microsoft.com/office/drawing/2014/main" id="{81446F8E-8EDA-56AA-3EA2-4C8FCF1ACD4A}"/>
              </a:ext>
            </a:extLst>
          </p:cNvPr>
          <p:cNvGrpSpPr/>
          <p:nvPr/>
        </p:nvGrpSpPr>
        <p:grpSpPr>
          <a:xfrm>
            <a:off x="1252179" y="5413688"/>
            <a:ext cx="605311" cy="587086"/>
            <a:chOff x="784887" y="4044820"/>
            <a:chExt cx="617477" cy="598886"/>
          </a:xfrm>
          <a:solidFill>
            <a:schemeClr val="bg1"/>
          </a:solidFill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8D3807FF-71C4-A169-5799-AD9C122E2C37}"/>
                </a:ext>
              </a:extLst>
            </p:cNvPr>
            <p:cNvSpPr/>
            <p:nvPr/>
          </p:nvSpPr>
          <p:spPr>
            <a:xfrm>
              <a:off x="784887" y="4210115"/>
              <a:ext cx="250850" cy="433591"/>
            </a:xfrm>
            <a:custGeom>
              <a:avLst/>
              <a:gdLst>
                <a:gd name="connsiteX0" fmla="*/ 201303 w 250850"/>
                <a:gd name="connsiteY0" fmla="*/ 285804 h 433591"/>
                <a:gd name="connsiteX1" fmla="*/ 188320 w 250850"/>
                <a:gd name="connsiteY1" fmla="*/ 282194 h 433591"/>
                <a:gd name="connsiteX2" fmla="*/ 184710 w 250850"/>
                <a:gd name="connsiteY2" fmla="*/ 295176 h 433591"/>
                <a:gd name="connsiteX3" fmla="*/ 222696 w 250850"/>
                <a:gd name="connsiteY3" fmla="*/ 362337 h 433591"/>
                <a:gd name="connsiteX4" fmla="*/ 222581 w 250850"/>
                <a:gd name="connsiteY4" fmla="*/ 362480 h 433591"/>
                <a:gd name="connsiteX5" fmla="*/ 24835 w 250850"/>
                <a:gd name="connsiteY5" fmla="*/ 56947 h 433591"/>
                <a:gd name="connsiteX6" fmla="*/ 38387 w 250850"/>
                <a:gd name="connsiteY6" fmla="*/ 13160 h 433591"/>
                <a:gd name="connsiteX7" fmla="*/ 33205 w 250850"/>
                <a:gd name="connsiteY7" fmla="*/ 721 h 433591"/>
                <a:gd name="connsiteX8" fmla="*/ 20766 w 250850"/>
                <a:gd name="connsiteY8" fmla="*/ 5902 h 433591"/>
                <a:gd name="connsiteX9" fmla="*/ 171590 w 250850"/>
                <a:gd name="connsiteY9" fmla="*/ 366618 h 433591"/>
                <a:gd name="connsiteX10" fmla="*/ 214057 w 250850"/>
                <a:gd name="connsiteY10" fmla="*/ 380158 h 433591"/>
                <a:gd name="connsiteX11" fmla="*/ 214057 w 250850"/>
                <a:gd name="connsiteY11" fmla="*/ 380320 h 433591"/>
                <a:gd name="connsiteX12" fmla="*/ 151420 w 250850"/>
                <a:gd name="connsiteY12" fmla="*/ 415763 h 433591"/>
                <a:gd name="connsiteX13" fmla="*/ 147815 w 250850"/>
                <a:gd name="connsiteY13" fmla="*/ 428750 h 433591"/>
                <a:gd name="connsiteX14" fmla="*/ 160802 w 250850"/>
                <a:gd name="connsiteY14" fmla="*/ 432356 h 433591"/>
                <a:gd name="connsiteX15" fmla="*/ 246013 w 250850"/>
                <a:gd name="connsiteY15" fmla="*/ 384159 h 433591"/>
                <a:gd name="connsiteX16" fmla="*/ 249615 w 250850"/>
                <a:gd name="connsiteY16" fmla="*/ 371179 h 433591"/>
                <a:gd name="connsiteX17" fmla="*/ 249613 w 250850"/>
                <a:gd name="connsiteY17" fmla="*/ 371176 h 433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0850" h="433591">
                  <a:moveTo>
                    <a:pt x="201303" y="285804"/>
                  </a:moveTo>
                  <a:cubicBezTo>
                    <a:pt x="198715" y="281222"/>
                    <a:pt x="192901" y="279606"/>
                    <a:pt x="188320" y="282194"/>
                  </a:cubicBezTo>
                  <a:cubicBezTo>
                    <a:pt x="183738" y="284782"/>
                    <a:pt x="182122" y="290595"/>
                    <a:pt x="184710" y="295176"/>
                  </a:cubicBezTo>
                  <a:lnTo>
                    <a:pt x="222696" y="362337"/>
                  </a:lnTo>
                  <a:cubicBezTo>
                    <a:pt x="222753" y="362442"/>
                    <a:pt x="222696" y="362499"/>
                    <a:pt x="222581" y="362480"/>
                  </a:cubicBezTo>
                  <a:cubicBezTo>
                    <a:pt x="83604" y="332715"/>
                    <a:pt x="-4930" y="195924"/>
                    <a:pt x="24835" y="56947"/>
                  </a:cubicBezTo>
                  <a:cubicBezTo>
                    <a:pt x="28041" y="41977"/>
                    <a:pt x="32576" y="27324"/>
                    <a:pt x="38387" y="13160"/>
                  </a:cubicBezTo>
                  <a:cubicBezTo>
                    <a:pt x="40391" y="8294"/>
                    <a:pt x="38072" y="2725"/>
                    <a:pt x="33205" y="721"/>
                  </a:cubicBezTo>
                  <a:cubicBezTo>
                    <a:pt x="28339" y="-1283"/>
                    <a:pt x="22770" y="1036"/>
                    <a:pt x="20766" y="5902"/>
                  </a:cubicBezTo>
                  <a:cubicBezTo>
                    <a:pt x="-37194" y="147160"/>
                    <a:pt x="30333" y="308658"/>
                    <a:pt x="171590" y="366618"/>
                  </a:cubicBezTo>
                  <a:cubicBezTo>
                    <a:pt x="185358" y="372267"/>
                    <a:pt x="199559" y="376795"/>
                    <a:pt x="214057" y="380158"/>
                  </a:cubicBezTo>
                  <a:cubicBezTo>
                    <a:pt x="214190" y="380158"/>
                    <a:pt x="214199" y="380263"/>
                    <a:pt x="214057" y="380320"/>
                  </a:cubicBezTo>
                  <a:lnTo>
                    <a:pt x="151420" y="415763"/>
                  </a:lnTo>
                  <a:cubicBezTo>
                    <a:pt x="146839" y="418354"/>
                    <a:pt x="145224" y="424169"/>
                    <a:pt x="147815" y="428750"/>
                  </a:cubicBezTo>
                  <a:cubicBezTo>
                    <a:pt x="150406" y="433332"/>
                    <a:pt x="156221" y="434946"/>
                    <a:pt x="160802" y="432356"/>
                  </a:cubicBezTo>
                  <a:lnTo>
                    <a:pt x="246013" y="384159"/>
                  </a:lnTo>
                  <a:cubicBezTo>
                    <a:pt x="250592" y="381569"/>
                    <a:pt x="252204" y="375758"/>
                    <a:pt x="249615" y="371179"/>
                  </a:cubicBezTo>
                  <a:cubicBezTo>
                    <a:pt x="249614" y="371178"/>
                    <a:pt x="249614" y="371177"/>
                    <a:pt x="249613" y="3711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49C23ED5-C2F8-411E-9AC1-614F585BAC11}"/>
                </a:ext>
              </a:extLst>
            </p:cNvPr>
            <p:cNvSpPr/>
            <p:nvPr/>
          </p:nvSpPr>
          <p:spPr>
            <a:xfrm>
              <a:off x="1087123" y="4209535"/>
              <a:ext cx="315241" cy="385415"/>
            </a:xfrm>
            <a:custGeom>
              <a:avLst/>
              <a:gdLst>
                <a:gd name="connsiteX0" fmla="*/ 310194 w 315241"/>
                <a:gd name="connsiteY0" fmla="*/ 50840 h 385415"/>
                <a:gd name="connsiteX1" fmla="*/ 225764 w 315241"/>
                <a:gd name="connsiteY1" fmla="*/ 1310 h 385415"/>
                <a:gd name="connsiteX2" fmla="*/ 212734 w 315241"/>
                <a:gd name="connsiteY2" fmla="*/ 4701 h 385415"/>
                <a:gd name="connsiteX3" fmla="*/ 163119 w 315241"/>
                <a:gd name="connsiteY3" fmla="*/ 89273 h 385415"/>
                <a:gd name="connsiteX4" fmla="*/ 166509 w 315241"/>
                <a:gd name="connsiteY4" fmla="*/ 102303 h 385415"/>
                <a:gd name="connsiteX5" fmla="*/ 171320 w 315241"/>
                <a:gd name="connsiteY5" fmla="*/ 103618 h 385415"/>
                <a:gd name="connsiteX6" fmla="*/ 179540 w 315241"/>
                <a:gd name="connsiteY6" fmla="*/ 98913 h 385415"/>
                <a:gd name="connsiteX7" fmla="*/ 218545 w 315241"/>
                <a:gd name="connsiteY7" fmla="*/ 32476 h 385415"/>
                <a:gd name="connsiteX8" fmla="*/ 218726 w 315241"/>
                <a:gd name="connsiteY8" fmla="*/ 32476 h 385415"/>
                <a:gd name="connsiteX9" fmla="*/ 102549 w 315241"/>
                <a:gd name="connsiteY9" fmla="*/ 334228 h 385415"/>
                <a:gd name="connsiteX10" fmla="*/ 8252 w 315241"/>
                <a:gd name="connsiteY10" fmla="*/ 366451 h 385415"/>
                <a:gd name="connsiteX11" fmla="*/ 87 w 315241"/>
                <a:gd name="connsiteY11" fmla="*/ 377165 h 385415"/>
                <a:gd name="connsiteX12" fmla="*/ 9499 w 315241"/>
                <a:gd name="connsiteY12" fmla="*/ 385415 h 385415"/>
                <a:gd name="connsiteX13" fmla="*/ 10785 w 315241"/>
                <a:gd name="connsiteY13" fmla="*/ 385339 h 385415"/>
                <a:gd name="connsiteX14" fmla="*/ 247711 w 315241"/>
                <a:gd name="connsiteY14" fmla="*/ 74341 h 385415"/>
                <a:gd name="connsiteX15" fmla="*/ 238214 w 315241"/>
                <a:gd name="connsiteY15" fmla="*/ 30847 h 385415"/>
                <a:gd name="connsiteX16" fmla="*/ 238347 w 315241"/>
                <a:gd name="connsiteY16" fmla="*/ 30742 h 385415"/>
                <a:gd name="connsiteX17" fmla="*/ 300583 w 315241"/>
                <a:gd name="connsiteY17" fmla="*/ 67271 h 385415"/>
                <a:gd name="connsiteX18" fmla="*/ 313739 w 315241"/>
                <a:gd name="connsiteY18" fmla="*/ 64378 h 385415"/>
                <a:gd name="connsiteX19" fmla="*/ 310847 w 315241"/>
                <a:gd name="connsiteY19" fmla="*/ 51222 h 385415"/>
                <a:gd name="connsiteX20" fmla="*/ 310194 w 315241"/>
                <a:gd name="connsiteY20" fmla="*/ 50840 h 38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15241" h="385415">
                  <a:moveTo>
                    <a:pt x="310194" y="50840"/>
                  </a:moveTo>
                  <a:lnTo>
                    <a:pt x="225764" y="1310"/>
                  </a:lnTo>
                  <a:cubicBezTo>
                    <a:pt x="221230" y="-1349"/>
                    <a:pt x="215397" y="169"/>
                    <a:pt x="212734" y="4701"/>
                  </a:cubicBezTo>
                  <a:lnTo>
                    <a:pt x="163119" y="89273"/>
                  </a:lnTo>
                  <a:cubicBezTo>
                    <a:pt x="160459" y="93808"/>
                    <a:pt x="161977" y="99640"/>
                    <a:pt x="166509" y="102303"/>
                  </a:cubicBezTo>
                  <a:cubicBezTo>
                    <a:pt x="167966" y="103166"/>
                    <a:pt x="169627" y="103620"/>
                    <a:pt x="171320" y="103618"/>
                  </a:cubicBezTo>
                  <a:cubicBezTo>
                    <a:pt x="174701" y="103620"/>
                    <a:pt x="177829" y="101829"/>
                    <a:pt x="179540" y="98913"/>
                  </a:cubicBezTo>
                  <a:lnTo>
                    <a:pt x="218545" y="32476"/>
                  </a:lnTo>
                  <a:cubicBezTo>
                    <a:pt x="218602" y="32371"/>
                    <a:pt x="218687" y="32380"/>
                    <a:pt x="218726" y="32476"/>
                  </a:cubicBezTo>
                  <a:cubicBezTo>
                    <a:pt x="255581" y="147859"/>
                    <a:pt x="207265" y="273351"/>
                    <a:pt x="102549" y="334228"/>
                  </a:cubicBezTo>
                  <a:cubicBezTo>
                    <a:pt x="73536" y="351053"/>
                    <a:pt x="41494" y="362002"/>
                    <a:pt x="8252" y="366451"/>
                  </a:cubicBezTo>
                  <a:cubicBezTo>
                    <a:pt x="3039" y="367155"/>
                    <a:pt x="-617" y="371951"/>
                    <a:pt x="87" y="377165"/>
                  </a:cubicBezTo>
                  <a:cubicBezTo>
                    <a:pt x="724" y="381879"/>
                    <a:pt x="4742" y="385402"/>
                    <a:pt x="9499" y="385415"/>
                  </a:cubicBezTo>
                  <a:cubicBezTo>
                    <a:pt x="9929" y="385413"/>
                    <a:pt x="10359" y="385388"/>
                    <a:pt x="10785" y="385339"/>
                  </a:cubicBezTo>
                  <a:cubicBezTo>
                    <a:pt x="162090" y="364885"/>
                    <a:pt x="268165" y="225647"/>
                    <a:pt x="247711" y="74341"/>
                  </a:cubicBezTo>
                  <a:cubicBezTo>
                    <a:pt x="245719" y="59612"/>
                    <a:pt x="242544" y="45066"/>
                    <a:pt x="238214" y="30847"/>
                  </a:cubicBezTo>
                  <a:cubicBezTo>
                    <a:pt x="238214" y="30723"/>
                    <a:pt x="238214" y="30676"/>
                    <a:pt x="238347" y="30742"/>
                  </a:cubicBezTo>
                  <a:lnTo>
                    <a:pt x="300583" y="67271"/>
                  </a:lnTo>
                  <a:cubicBezTo>
                    <a:pt x="305015" y="70104"/>
                    <a:pt x="310906" y="68810"/>
                    <a:pt x="313739" y="64378"/>
                  </a:cubicBezTo>
                  <a:cubicBezTo>
                    <a:pt x="316574" y="59946"/>
                    <a:pt x="315279" y="54056"/>
                    <a:pt x="310847" y="51222"/>
                  </a:cubicBezTo>
                  <a:cubicBezTo>
                    <a:pt x="310634" y="51086"/>
                    <a:pt x="310416" y="50958"/>
                    <a:pt x="310194" y="5084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E47AC8B4-7E30-3AA8-6882-CBCC8DE5E16B}"/>
                </a:ext>
              </a:extLst>
            </p:cNvPr>
            <p:cNvSpPr/>
            <p:nvPr/>
          </p:nvSpPr>
          <p:spPr>
            <a:xfrm>
              <a:off x="839647" y="4044820"/>
              <a:ext cx="442275" cy="123219"/>
            </a:xfrm>
            <a:custGeom>
              <a:avLst/>
              <a:gdLst>
                <a:gd name="connsiteX0" fmla="*/ 9477 w 442275"/>
                <a:gd name="connsiteY0" fmla="*/ 122724 h 123219"/>
                <a:gd name="connsiteX1" fmla="*/ 107585 w 442275"/>
                <a:gd name="connsiteY1" fmla="*/ 123219 h 123219"/>
                <a:gd name="connsiteX2" fmla="*/ 107585 w 442275"/>
                <a:gd name="connsiteY2" fmla="*/ 123219 h 123219"/>
                <a:gd name="connsiteX3" fmla="*/ 117134 w 442275"/>
                <a:gd name="connsiteY3" fmla="*/ 113718 h 123219"/>
                <a:gd name="connsiteX4" fmla="*/ 107632 w 442275"/>
                <a:gd name="connsiteY4" fmla="*/ 104169 h 123219"/>
                <a:gd name="connsiteX5" fmla="*/ 31052 w 442275"/>
                <a:gd name="connsiteY5" fmla="*/ 103779 h 123219"/>
                <a:gd name="connsiteX6" fmla="*/ 30975 w 442275"/>
                <a:gd name="connsiteY6" fmla="*/ 103617 h 123219"/>
                <a:gd name="connsiteX7" fmla="*/ 394343 w 442275"/>
                <a:gd name="connsiteY7" fmla="*/ 85717 h 123219"/>
                <a:gd name="connsiteX8" fmla="*/ 425177 w 442275"/>
                <a:gd name="connsiteY8" fmla="*/ 119066 h 123219"/>
                <a:gd name="connsiteX9" fmla="*/ 438527 w 442275"/>
                <a:gd name="connsiteY9" fmla="*/ 120863 h 123219"/>
                <a:gd name="connsiteX10" fmla="*/ 440324 w 442275"/>
                <a:gd name="connsiteY10" fmla="*/ 107513 h 123219"/>
                <a:gd name="connsiteX11" fmla="*/ 440265 w 442275"/>
                <a:gd name="connsiteY11" fmla="*/ 107436 h 123219"/>
                <a:gd name="connsiteX12" fmla="*/ 52489 w 442275"/>
                <a:gd name="connsiteY12" fmla="*/ 57704 h 123219"/>
                <a:gd name="connsiteX13" fmla="*/ 19336 w 442275"/>
                <a:gd name="connsiteY13" fmla="*/ 87920 h 123219"/>
                <a:gd name="connsiteX14" fmla="*/ 19174 w 442275"/>
                <a:gd name="connsiteY14" fmla="*/ 87863 h 123219"/>
                <a:gd name="connsiteX15" fmla="*/ 19536 w 442275"/>
                <a:gd name="connsiteY15" fmla="*/ 15358 h 123219"/>
                <a:gd name="connsiteX16" fmla="*/ 10011 w 442275"/>
                <a:gd name="connsiteY16" fmla="*/ 5833 h 123219"/>
                <a:gd name="connsiteX17" fmla="*/ 10011 w 442275"/>
                <a:gd name="connsiteY17" fmla="*/ 5833 h 123219"/>
                <a:gd name="connsiteX18" fmla="*/ 486 w 442275"/>
                <a:gd name="connsiteY18" fmla="*/ 15311 h 123219"/>
                <a:gd name="connsiteX19" fmla="*/ 0 w 442275"/>
                <a:gd name="connsiteY19" fmla="*/ 113199 h 123219"/>
                <a:gd name="connsiteX20" fmla="*/ 9477 w 442275"/>
                <a:gd name="connsiteY20" fmla="*/ 122724 h 123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2275" h="123219">
                  <a:moveTo>
                    <a:pt x="9477" y="122724"/>
                  </a:moveTo>
                  <a:lnTo>
                    <a:pt x="107585" y="123219"/>
                  </a:lnTo>
                  <a:lnTo>
                    <a:pt x="107585" y="123219"/>
                  </a:lnTo>
                  <a:cubicBezTo>
                    <a:pt x="112846" y="123233"/>
                    <a:pt x="117120" y="118979"/>
                    <a:pt x="117134" y="113718"/>
                  </a:cubicBezTo>
                  <a:cubicBezTo>
                    <a:pt x="117147" y="108458"/>
                    <a:pt x="112893" y="104183"/>
                    <a:pt x="107632" y="104169"/>
                  </a:cubicBezTo>
                  <a:lnTo>
                    <a:pt x="31052" y="103779"/>
                  </a:lnTo>
                  <a:cubicBezTo>
                    <a:pt x="30928" y="103779"/>
                    <a:pt x="30899" y="103712"/>
                    <a:pt x="30975" y="103617"/>
                  </a:cubicBezTo>
                  <a:cubicBezTo>
                    <a:pt x="126374" y="-1668"/>
                    <a:pt x="289059" y="-9681"/>
                    <a:pt x="394343" y="85717"/>
                  </a:cubicBezTo>
                  <a:cubicBezTo>
                    <a:pt x="405584" y="95903"/>
                    <a:pt x="415902" y="107062"/>
                    <a:pt x="425177" y="119066"/>
                  </a:cubicBezTo>
                  <a:cubicBezTo>
                    <a:pt x="428368" y="123249"/>
                    <a:pt x="434345" y="124054"/>
                    <a:pt x="438527" y="120863"/>
                  </a:cubicBezTo>
                  <a:cubicBezTo>
                    <a:pt x="442710" y="117673"/>
                    <a:pt x="443514" y="111696"/>
                    <a:pt x="440324" y="107513"/>
                  </a:cubicBezTo>
                  <a:cubicBezTo>
                    <a:pt x="440304" y="107487"/>
                    <a:pt x="440285" y="107462"/>
                    <a:pt x="440265" y="107436"/>
                  </a:cubicBezTo>
                  <a:cubicBezTo>
                    <a:pt x="346917" y="-13378"/>
                    <a:pt x="173304" y="-35644"/>
                    <a:pt x="52489" y="57704"/>
                  </a:cubicBezTo>
                  <a:cubicBezTo>
                    <a:pt x="40638" y="66861"/>
                    <a:pt x="29550" y="76966"/>
                    <a:pt x="19336" y="87920"/>
                  </a:cubicBezTo>
                  <a:cubicBezTo>
                    <a:pt x="19250" y="88015"/>
                    <a:pt x="19174" y="87986"/>
                    <a:pt x="19174" y="87863"/>
                  </a:cubicBezTo>
                  <a:lnTo>
                    <a:pt x="19536" y="15358"/>
                  </a:lnTo>
                  <a:cubicBezTo>
                    <a:pt x="19536" y="10098"/>
                    <a:pt x="15271" y="5833"/>
                    <a:pt x="10011" y="5833"/>
                  </a:cubicBezTo>
                  <a:lnTo>
                    <a:pt x="10011" y="5833"/>
                  </a:lnTo>
                  <a:cubicBezTo>
                    <a:pt x="4769" y="5833"/>
                    <a:pt x="512" y="10069"/>
                    <a:pt x="486" y="15311"/>
                  </a:cubicBezTo>
                  <a:lnTo>
                    <a:pt x="0" y="113199"/>
                  </a:lnTo>
                  <a:cubicBezTo>
                    <a:pt x="0" y="118441"/>
                    <a:pt x="4236" y="122697"/>
                    <a:pt x="9477" y="1227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F4EC2C1D-E0BE-DC71-3600-F929F314D3A4}"/>
                </a:ext>
              </a:extLst>
            </p:cNvPr>
            <p:cNvSpPr/>
            <p:nvPr/>
          </p:nvSpPr>
          <p:spPr>
            <a:xfrm>
              <a:off x="1108090" y="4329546"/>
              <a:ext cx="28936" cy="45472"/>
            </a:xfrm>
            <a:custGeom>
              <a:avLst/>
              <a:gdLst>
                <a:gd name="connsiteX0" fmla="*/ 0 w 28936"/>
                <a:gd name="connsiteY0" fmla="*/ 45472 h 45472"/>
                <a:gd name="connsiteX1" fmla="*/ 28937 w 28936"/>
                <a:gd name="connsiteY1" fmla="*/ 28937 h 45472"/>
                <a:gd name="connsiteX2" fmla="*/ 28937 w 28936"/>
                <a:gd name="connsiteY2" fmla="*/ 0 h 45472"/>
                <a:gd name="connsiteX3" fmla="*/ 0 w 28936"/>
                <a:gd name="connsiteY3" fmla="*/ 16535 h 45472"/>
                <a:gd name="connsiteX4" fmla="*/ 0 w 28936"/>
                <a:gd name="connsiteY4" fmla="*/ 45472 h 45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36" h="45472">
                  <a:moveTo>
                    <a:pt x="0" y="45472"/>
                  </a:moveTo>
                  <a:lnTo>
                    <a:pt x="28937" y="28937"/>
                  </a:lnTo>
                  <a:lnTo>
                    <a:pt x="28937" y="0"/>
                  </a:lnTo>
                  <a:lnTo>
                    <a:pt x="0" y="16535"/>
                  </a:lnTo>
                  <a:lnTo>
                    <a:pt x="0" y="454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2D35DEDB-5F18-AB13-3B14-B1EBC8175803}"/>
                </a:ext>
              </a:extLst>
            </p:cNvPr>
            <p:cNvSpPr/>
            <p:nvPr/>
          </p:nvSpPr>
          <p:spPr>
            <a:xfrm>
              <a:off x="926353" y="4149466"/>
              <a:ext cx="292103" cy="343280"/>
            </a:xfrm>
            <a:custGeom>
              <a:avLst/>
              <a:gdLst>
                <a:gd name="connsiteX0" fmla="*/ 292103 w 292103"/>
                <a:gd name="connsiteY0" fmla="*/ 88659 h 343280"/>
                <a:gd name="connsiteX1" fmla="*/ 146056 w 292103"/>
                <a:gd name="connsiteY1" fmla="*/ 0 h 343280"/>
                <a:gd name="connsiteX2" fmla="*/ 0 w 292103"/>
                <a:gd name="connsiteY2" fmla="*/ 88659 h 343280"/>
                <a:gd name="connsiteX3" fmla="*/ 0 w 292103"/>
                <a:gd name="connsiteY3" fmla="*/ 254641 h 343280"/>
                <a:gd name="connsiteX4" fmla="*/ 146056 w 292103"/>
                <a:gd name="connsiteY4" fmla="*/ 343281 h 343280"/>
                <a:gd name="connsiteX5" fmla="*/ 292103 w 292103"/>
                <a:gd name="connsiteY5" fmla="*/ 254641 h 343280"/>
                <a:gd name="connsiteX6" fmla="*/ 264271 w 292103"/>
                <a:gd name="connsiteY6" fmla="*/ 94021 h 343280"/>
                <a:gd name="connsiteX7" fmla="*/ 220180 w 292103"/>
                <a:gd name="connsiteY7" fmla="*/ 120767 h 343280"/>
                <a:gd name="connsiteX8" fmla="*/ 101327 w 292103"/>
                <a:gd name="connsiteY8" fmla="*/ 49444 h 343280"/>
                <a:gd name="connsiteX9" fmla="*/ 146094 w 292103"/>
                <a:gd name="connsiteY9" fmla="*/ 22289 h 343280"/>
                <a:gd name="connsiteX10" fmla="*/ 146104 w 292103"/>
                <a:gd name="connsiteY10" fmla="*/ 165745 h 343280"/>
                <a:gd name="connsiteX11" fmla="*/ 27937 w 292103"/>
                <a:gd name="connsiteY11" fmla="*/ 94021 h 343280"/>
                <a:gd name="connsiteX12" fmla="*/ 82972 w 292103"/>
                <a:gd name="connsiteY12" fmla="*/ 60617 h 343280"/>
                <a:gd name="connsiteX13" fmla="*/ 201825 w 292103"/>
                <a:gd name="connsiteY13" fmla="*/ 131921 h 343280"/>
                <a:gd name="connsiteX14" fmla="*/ 19050 w 292103"/>
                <a:gd name="connsiteY14" fmla="*/ 110938 h 343280"/>
                <a:gd name="connsiteX15" fmla="*/ 136531 w 292103"/>
                <a:gd name="connsiteY15" fmla="*/ 182251 h 343280"/>
                <a:gd name="connsiteX16" fmla="*/ 136531 w 292103"/>
                <a:gd name="connsiteY16" fmla="*/ 315220 h 343280"/>
                <a:gd name="connsiteX17" fmla="*/ 19050 w 292103"/>
                <a:gd name="connsiteY17" fmla="*/ 243916 h 343280"/>
                <a:gd name="connsiteX18" fmla="*/ 155581 w 292103"/>
                <a:gd name="connsiteY18" fmla="*/ 315220 h 343280"/>
                <a:gd name="connsiteX19" fmla="*/ 155581 w 292103"/>
                <a:gd name="connsiteY19" fmla="*/ 182251 h 343280"/>
                <a:gd name="connsiteX20" fmla="*/ 273053 w 292103"/>
                <a:gd name="connsiteY20" fmla="*/ 110938 h 343280"/>
                <a:gd name="connsiteX21" fmla="*/ 273053 w 292103"/>
                <a:gd name="connsiteY21" fmla="*/ 243916 h 343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92103" h="343280">
                  <a:moveTo>
                    <a:pt x="292103" y="88659"/>
                  </a:moveTo>
                  <a:lnTo>
                    <a:pt x="146056" y="0"/>
                  </a:lnTo>
                  <a:lnTo>
                    <a:pt x="0" y="88659"/>
                  </a:lnTo>
                  <a:lnTo>
                    <a:pt x="0" y="254641"/>
                  </a:lnTo>
                  <a:lnTo>
                    <a:pt x="146056" y="343281"/>
                  </a:lnTo>
                  <a:lnTo>
                    <a:pt x="292103" y="254641"/>
                  </a:lnTo>
                  <a:close/>
                  <a:moveTo>
                    <a:pt x="264271" y="94021"/>
                  </a:moveTo>
                  <a:lnTo>
                    <a:pt x="220180" y="120767"/>
                  </a:lnTo>
                  <a:lnTo>
                    <a:pt x="101327" y="49444"/>
                  </a:lnTo>
                  <a:lnTo>
                    <a:pt x="146094" y="22289"/>
                  </a:lnTo>
                  <a:close/>
                  <a:moveTo>
                    <a:pt x="146104" y="165745"/>
                  </a:moveTo>
                  <a:lnTo>
                    <a:pt x="27937" y="94021"/>
                  </a:lnTo>
                  <a:lnTo>
                    <a:pt x="82972" y="60617"/>
                  </a:lnTo>
                  <a:lnTo>
                    <a:pt x="201825" y="131921"/>
                  </a:lnTo>
                  <a:close/>
                  <a:moveTo>
                    <a:pt x="19050" y="110938"/>
                  </a:moveTo>
                  <a:lnTo>
                    <a:pt x="136531" y="182251"/>
                  </a:lnTo>
                  <a:lnTo>
                    <a:pt x="136531" y="315220"/>
                  </a:lnTo>
                  <a:lnTo>
                    <a:pt x="19050" y="243916"/>
                  </a:lnTo>
                  <a:close/>
                  <a:moveTo>
                    <a:pt x="155581" y="315220"/>
                  </a:moveTo>
                  <a:lnTo>
                    <a:pt x="155581" y="182251"/>
                  </a:lnTo>
                  <a:lnTo>
                    <a:pt x="273053" y="110938"/>
                  </a:lnTo>
                  <a:lnTo>
                    <a:pt x="273053" y="2439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90" name="Graphic 88" descr="Gavel outline">
            <a:extLst>
              <a:ext uri="{FF2B5EF4-FFF2-40B4-BE49-F238E27FC236}">
                <a16:creationId xmlns:a16="http://schemas.microsoft.com/office/drawing/2014/main" id="{C807FE93-1574-215D-35B3-7DE5A1FE769A}"/>
              </a:ext>
            </a:extLst>
          </p:cNvPr>
          <p:cNvGrpSpPr/>
          <p:nvPr/>
        </p:nvGrpSpPr>
        <p:grpSpPr>
          <a:xfrm>
            <a:off x="2258234" y="4656599"/>
            <a:ext cx="533367" cy="601492"/>
            <a:chOff x="4038600" y="926351"/>
            <a:chExt cx="755595" cy="762000"/>
          </a:xfrm>
          <a:solidFill>
            <a:schemeClr val="bg1"/>
          </a:solidFill>
        </p:grpSpPr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4FDE6211-A70E-273E-FC78-FB1B284BE0E7}"/>
                </a:ext>
              </a:extLst>
            </p:cNvPr>
            <p:cNvSpPr/>
            <p:nvPr/>
          </p:nvSpPr>
          <p:spPr>
            <a:xfrm>
              <a:off x="4152900" y="926351"/>
              <a:ext cx="641295" cy="641295"/>
            </a:xfrm>
            <a:custGeom>
              <a:avLst/>
              <a:gdLst>
                <a:gd name="connsiteX0" fmla="*/ 457991 w 641295"/>
                <a:gd name="connsiteY0" fmla="*/ 235734 h 641295"/>
                <a:gd name="connsiteX1" fmla="*/ 498401 w 641295"/>
                <a:gd name="connsiteY1" fmla="*/ 235738 h 641295"/>
                <a:gd name="connsiteX2" fmla="*/ 498405 w 641295"/>
                <a:gd name="connsiteY2" fmla="*/ 235734 h 641295"/>
                <a:gd name="connsiteX3" fmla="*/ 538820 w 641295"/>
                <a:gd name="connsiteY3" fmla="*/ 195320 h 641295"/>
                <a:gd name="connsiteX4" fmla="*/ 343500 w 641295"/>
                <a:gd name="connsiteY4" fmla="*/ 0 h 641295"/>
                <a:gd name="connsiteX5" fmla="*/ 303086 w 641295"/>
                <a:gd name="connsiteY5" fmla="*/ 40415 h 641295"/>
                <a:gd name="connsiteX6" fmla="*/ 303086 w 641295"/>
                <a:gd name="connsiteY6" fmla="*/ 80820 h 641295"/>
                <a:gd name="connsiteX7" fmla="*/ 80820 w 641295"/>
                <a:gd name="connsiteY7" fmla="*/ 303086 h 641295"/>
                <a:gd name="connsiteX8" fmla="*/ 40415 w 641295"/>
                <a:gd name="connsiteY8" fmla="*/ 303086 h 641295"/>
                <a:gd name="connsiteX9" fmla="*/ 0 w 641295"/>
                <a:gd name="connsiteY9" fmla="*/ 343500 h 641295"/>
                <a:gd name="connsiteX10" fmla="*/ 195320 w 641295"/>
                <a:gd name="connsiteY10" fmla="*/ 538820 h 641295"/>
                <a:gd name="connsiteX11" fmla="*/ 235734 w 641295"/>
                <a:gd name="connsiteY11" fmla="*/ 498405 h 641295"/>
                <a:gd name="connsiteX12" fmla="*/ 235738 w 641295"/>
                <a:gd name="connsiteY12" fmla="*/ 457994 h 641295"/>
                <a:gd name="connsiteX13" fmla="*/ 235734 w 641295"/>
                <a:gd name="connsiteY13" fmla="*/ 457991 h 641295"/>
                <a:gd name="connsiteX14" fmla="*/ 319926 w 641295"/>
                <a:gd name="connsiteY14" fmla="*/ 373809 h 641295"/>
                <a:gd name="connsiteX15" fmla="*/ 576529 w 641295"/>
                <a:gd name="connsiteY15" fmla="*/ 630412 h 641295"/>
                <a:gd name="connsiteX16" fmla="*/ 629063 w 641295"/>
                <a:gd name="connsiteY16" fmla="*/ 630418 h 641295"/>
                <a:gd name="connsiteX17" fmla="*/ 629069 w 641295"/>
                <a:gd name="connsiteY17" fmla="*/ 630412 h 641295"/>
                <a:gd name="connsiteX18" fmla="*/ 630412 w 641295"/>
                <a:gd name="connsiteY18" fmla="*/ 629069 h 641295"/>
                <a:gd name="connsiteX19" fmla="*/ 630418 w 641295"/>
                <a:gd name="connsiteY19" fmla="*/ 576535 h 641295"/>
                <a:gd name="connsiteX20" fmla="*/ 630412 w 641295"/>
                <a:gd name="connsiteY20" fmla="*/ 576529 h 641295"/>
                <a:gd name="connsiteX21" fmla="*/ 373799 w 641295"/>
                <a:gd name="connsiteY21" fmla="*/ 319926 h 641295"/>
                <a:gd name="connsiteX22" fmla="*/ 316554 w 641295"/>
                <a:gd name="connsiteY22" fmla="*/ 53883 h 641295"/>
                <a:gd name="connsiteX23" fmla="*/ 343500 w 641295"/>
                <a:gd name="connsiteY23" fmla="*/ 26937 h 641295"/>
                <a:gd name="connsiteX24" fmla="*/ 511873 w 641295"/>
                <a:gd name="connsiteY24" fmla="*/ 195320 h 641295"/>
                <a:gd name="connsiteX25" fmla="*/ 484937 w 641295"/>
                <a:gd name="connsiteY25" fmla="*/ 222256 h 641295"/>
                <a:gd name="connsiteX26" fmla="*/ 471467 w 641295"/>
                <a:gd name="connsiteY26" fmla="*/ 222264 h 641295"/>
                <a:gd name="connsiteX27" fmla="*/ 471459 w 641295"/>
                <a:gd name="connsiteY27" fmla="*/ 222256 h 641295"/>
                <a:gd name="connsiteX28" fmla="*/ 457991 w 641295"/>
                <a:gd name="connsiteY28" fmla="*/ 208788 h 641295"/>
                <a:gd name="connsiteX29" fmla="*/ 457991 w 641295"/>
                <a:gd name="connsiteY29" fmla="*/ 208788 h 641295"/>
                <a:gd name="connsiteX30" fmla="*/ 323288 w 641295"/>
                <a:gd name="connsiteY30" fmla="*/ 74085 h 641295"/>
                <a:gd name="connsiteX31" fmla="*/ 323288 w 641295"/>
                <a:gd name="connsiteY31" fmla="*/ 74085 h 641295"/>
                <a:gd name="connsiteX32" fmla="*/ 316554 w 641295"/>
                <a:gd name="connsiteY32" fmla="*/ 67351 h 641295"/>
                <a:gd name="connsiteX33" fmla="*/ 316554 w 641295"/>
                <a:gd name="connsiteY33" fmla="*/ 53883 h 641295"/>
                <a:gd name="connsiteX34" fmla="*/ 222256 w 641295"/>
                <a:gd name="connsiteY34" fmla="*/ 484937 h 641295"/>
                <a:gd name="connsiteX35" fmla="*/ 195320 w 641295"/>
                <a:gd name="connsiteY35" fmla="*/ 511874 h 641295"/>
                <a:gd name="connsiteX36" fmla="*/ 26937 w 641295"/>
                <a:gd name="connsiteY36" fmla="*/ 343500 h 641295"/>
                <a:gd name="connsiteX37" fmla="*/ 53883 w 641295"/>
                <a:gd name="connsiteY37" fmla="*/ 316554 h 641295"/>
                <a:gd name="connsiteX38" fmla="*/ 67351 w 641295"/>
                <a:gd name="connsiteY38" fmla="*/ 316554 h 641295"/>
                <a:gd name="connsiteX39" fmla="*/ 80820 w 641295"/>
                <a:gd name="connsiteY39" fmla="*/ 330022 h 641295"/>
                <a:gd name="connsiteX40" fmla="*/ 80820 w 641295"/>
                <a:gd name="connsiteY40" fmla="*/ 330022 h 641295"/>
                <a:gd name="connsiteX41" fmla="*/ 208798 w 641295"/>
                <a:gd name="connsiteY41" fmla="*/ 457991 h 641295"/>
                <a:gd name="connsiteX42" fmla="*/ 208798 w 641295"/>
                <a:gd name="connsiteY42" fmla="*/ 457991 h 641295"/>
                <a:gd name="connsiteX43" fmla="*/ 222266 w 641295"/>
                <a:gd name="connsiteY43" fmla="*/ 471488 h 641295"/>
                <a:gd name="connsiteX44" fmla="*/ 222266 w 641295"/>
                <a:gd name="connsiteY44" fmla="*/ 484937 h 641295"/>
                <a:gd name="connsiteX45" fmla="*/ 222256 w 641295"/>
                <a:gd name="connsiteY45" fmla="*/ 444522 h 641295"/>
                <a:gd name="connsiteX46" fmla="*/ 94298 w 641295"/>
                <a:gd name="connsiteY46" fmla="*/ 316554 h 641295"/>
                <a:gd name="connsiteX47" fmla="*/ 316554 w 641295"/>
                <a:gd name="connsiteY47" fmla="*/ 94298 h 641295"/>
                <a:gd name="connsiteX48" fmla="*/ 316554 w 641295"/>
                <a:gd name="connsiteY48" fmla="*/ 94298 h 641295"/>
                <a:gd name="connsiteX49" fmla="*/ 444522 w 641295"/>
                <a:gd name="connsiteY49" fmla="*/ 222256 h 641295"/>
                <a:gd name="connsiteX50" fmla="*/ 616944 w 641295"/>
                <a:gd name="connsiteY50" fmla="*/ 590007 h 641295"/>
                <a:gd name="connsiteX51" fmla="*/ 616953 w 641295"/>
                <a:gd name="connsiteY51" fmla="*/ 615601 h 641295"/>
                <a:gd name="connsiteX52" fmla="*/ 616944 w 641295"/>
                <a:gd name="connsiteY52" fmla="*/ 615610 h 641295"/>
                <a:gd name="connsiteX53" fmla="*/ 615610 w 641295"/>
                <a:gd name="connsiteY53" fmla="*/ 616944 h 641295"/>
                <a:gd name="connsiteX54" fmla="*/ 590017 w 641295"/>
                <a:gd name="connsiteY54" fmla="*/ 616944 h 641295"/>
                <a:gd name="connsiteX55" fmla="*/ 333375 w 641295"/>
                <a:gd name="connsiteY55" fmla="*/ 360331 h 641295"/>
                <a:gd name="connsiteX56" fmla="*/ 360331 w 641295"/>
                <a:gd name="connsiteY56" fmla="*/ 333375 h 641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641295" h="641295">
                  <a:moveTo>
                    <a:pt x="457991" y="235734"/>
                  </a:moveTo>
                  <a:cubicBezTo>
                    <a:pt x="469149" y="246895"/>
                    <a:pt x="487242" y="246896"/>
                    <a:pt x="498401" y="235738"/>
                  </a:cubicBezTo>
                  <a:cubicBezTo>
                    <a:pt x="498403" y="235736"/>
                    <a:pt x="498404" y="235735"/>
                    <a:pt x="498405" y="235734"/>
                  </a:cubicBezTo>
                  <a:lnTo>
                    <a:pt x="538820" y="195320"/>
                  </a:lnTo>
                  <a:lnTo>
                    <a:pt x="343500" y="0"/>
                  </a:lnTo>
                  <a:lnTo>
                    <a:pt x="303086" y="40415"/>
                  </a:lnTo>
                  <a:cubicBezTo>
                    <a:pt x="291931" y="51573"/>
                    <a:pt x="291931" y="69661"/>
                    <a:pt x="303086" y="80820"/>
                  </a:cubicBezTo>
                  <a:lnTo>
                    <a:pt x="80820" y="303086"/>
                  </a:lnTo>
                  <a:cubicBezTo>
                    <a:pt x="69661" y="291931"/>
                    <a:pt x="51573" y="291931"/>
                    <a:pt x="40415" y="303086"/>
                  </a:cubicBezTo>
                  <a:lnTo>
                    <a:pt x="0" y="343500"/>
                  </a:lnTo>
                  <a:lnTo>
                    <a:pt x="195320" y="538820"/>
                  </a:lnTo>
                  <a:lnTo>
                    <a:pt x="235734" y="498405"/>
                  </a:lnTo>
                  <a:cubicBezTo>
                    <a:pt x="246895" y="487247"/>
                    <a:pt x="246896" y="469154"/>
                    <a:pt x="235738" y="457994"/>
                  </a:cubicBezTo>
                  <a:cubicBezTo>
                    <a:pt x="235736" y="457992"/>
                    <a:pt x="235735" y="457992"/>
                    <a:pt x="235734" y="457991"/>
                  </a:cubicBezTo>
                  <a:lnTo>
                    <a:pt x="319926" y="373809"/>
                  </a:lnTo>
                  <a:lnTo>
                    <a:pt x="576529" y="630412"/>
                  </a:lnTo>
                  <a:cubicBezTo>
                    <a:pt x="591035" y="644921"/>
                    <a:pt x="614555" y="644924"/>
                    <a:pt x="629063" y="630418"/>
                  </a:cubicBezTo>
                  <a:cubicBezTo>
                    <a:pt x="629065" y="630416"/>
                    <a:pt x="629067" y="630414"/>
                    <a:pt x="629069" y="630412"/>
                  </a:cubicBezTo>
                  <a:lnTo>
                    <a:pt x="630412" y="629069"/>
                  </a:lnTo>
                  <a:cubicBezTo>
                    <a:pt x="644921" y="614564"/>
                    <a:pt x="644924" y="591043"/>
                    <a:pt x="630418" y="576535"/>
                  </a:cubicBezTo>
                  <a:cubicBezTo>
                    <a:pt x="630416" y="576533"/>
                    <a:pt x="630414" y="576531"/>
                    <a:pt x="630412" y="576529"/>
                  </a:cubicBezTo>
                  <a:lnTo>
                    <a:pt x="373799" y="319926"/>
                  </a:lnTo>
                  <a:close/>
                  <a:moveTo>
                    <a:pt x="316554" y="53883"/>
                  </a:moveTo>
                  <a:lnTo>
                    <a:pt x="343500" y="26937"/>
                  </a:lnTo>
                  <a:lnTo>
                    <a:pt x="511873" y="195320"/>
                  </a:lnTo>
                  <a:lnTo>
                    <a:pt x="484937" y="222256"/>
                  </a:lnTo>
                  <a:cubicBezTo>
                    <a:pt x="481219" y="225978"/>
                    <a:pt x="475188" y="225982"/>
                    <a:pt x="471467" y="222264"/>
                  </a:cubicBezTo>
                  <a:cubicBezTo>
                    <a:pt x="471464" y="222261"/>
                    <a:pt x="471462" y="222259"/>
                    <a:pt x="471459" y="222256"/>
                  </a:cubicBezTo>
                  <a:lnTo>
                    <a:pt x="457991" y="208788"/>
                  </a:lnTo>
                  <a:lnTo>
                    <a:pt x="457991" y="208788"/>
                  </a:lnTo>
                  <a:lnTo>
                    <a:pt x="323288" y="74085"/>
                  </a:lnTo>
                  <a:lnTo>
                    <a:pt x="323288" y="74085"/>
                  </a:lnTo>
                  <a:lnTo>
                    <a:pt x="316554" y="67351"/>
                  </a:lnTo>
                  <a:cubicBezTo>
                    <a:pt x="312835" y="63632"/>
                    <a:pt x="312835" y="57602"/>
                    <a:pt x="316554" y="53883"/>
                  </a:cubicBezTo>
                  <a:close/>
                  <a:moveTo>
                    <a:pt x="222256" y="484937"/>
                  </a:moveTo>
                  <a:lnTo>
                    <a:pt x="195320" y="511874"/>
                  </a:lnTo>
                  <a:lnTo>
                    <a:pt x="26937" y="343500"/>
                  </a:lnTo>
                  <a:lnTo>
                    <a:pt x="53883" y="316554"/>
                  </a:lnTo>
                  <a:cubicBezTo>
                    <a:pt x="57602" y="312835"/>
                    <a:pt x="63632" y="312835"/>
                    <a:pt x="67351" y="316554"/>
                  </a:cubicBezTo>
                  <a:lnTo>
                    <a:pt x="80820" y="330022"/>
                  </a:lnTo>
                  <a:lnTo>
                    <a:pt x="80820" y="330022"/>
                  </a:lnTo>
                  <a:lnTo>
                    <a:pt x="208798" y="457991"/>
                  </a:lnTo>
                  <a:lnTo>
                    <a:pt x="208798" y="457991"/>
                  </a:lnTo>
                  <a:lnTo>
                    <a:pt x="222266" y="471488"/>
                  </a:lnTo>
                  <a:cubicBezTo>
                    <a:pt x="225971" y="475205"/>
                    <a:pt x="225971" y="481219"/>
                    <a:pt x="222266" y="484937"/>
                  </a:cubicBezTo>
                  <a:close/>
                  <a:moveTo>
                    <a:pt x="222256" y="444522"/>
                  </a:moveTo>
                  <a:lnTo>
                    <a:pt x="94298" y="316554"/>
                  </a:lnTo>
                  <a:lnTo>
                    <a:pt x="316554" y="94298"/>
                  </a:lnTo>
                  <a:lnTo>
                    <a:pt x="316554" y="94298"/>
                  </a:lnTo>
                  <a:lnTo>
                    <a:pt x="444522" y="222256"/>
                  </a:lnTo>
                  <a:close/>
                  <a:moveTo>
                    <a:pt x="616944" y="590007"/>
                  </a:moveTo>
                  <a:cubicBezTo>
                    <a:pt x="624014" y="597072"/>
                    <a:pt x="624018" y="608530"/>
                    <a:pt x="616953" y="615601"/>
                  </a:cubicBezTo>
                  <a:cubicBezTo>
                    <a:pt x="616950" y="615604"/>
                    <a:pt x="616947" y="615607"/>
                    <a:pt x="616944" y="615610"/>
                  </a:cubicBezTo>
                  <a:lnTo>
                    <a:pt x="615610" y="616944"/>
                  </a:lnTo>
                  <a:cubicBezTo>
                    <a:pt x="608543" y="624011"/>
                    <a:pt x="597084" y="624011"/>
                    <a:pt x="590017" y="616944"/>
                  </a:cubicBezTo>
                  <a:lnTo>
                    <a:pt x="333375" y="360331"/>
                  </a:lnTo>
                  <a:lnTo>
                    <a:pt x="360331" y="3333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2BCB42C-7DEA-6E9F-1EBF-E9F0828480C3}"/>
                </a:ext>
              </a:extLst>
            </p:cNvPr>
            <p:cNvSpPr/>
            <p:nvPr/>
          </p:nvSpPr>
          <p:spPr>
            <a:xfrm>
              <a:off x="4038600" y="1564526"/>
              <a:ext cx="381000" cy="123825"/>
            </a:xfrm>
            <a:custGeom>
              <a:avLst/>
              <a:gdLst>
                <a:gd name="connsiteX0" fmla="*/ 37147 w 381000"/>
                <a:gd name="connsiteY0" fmla="*/ 123825 h 123825"/>
                <a:gd name="connsiteX1" fmla="*/ 343853 w 381000"/>
                <a:gd name="connsiteY1" fmla="*/ 123825 h 123825"/>
                <a:gd name="connsiteX2" fmla="*/ 381000 w 381000"/>
                <a:gd name="connsiteY2" fmla="*/ 86677 h 123825"/>
                <a:gd name="connsiteX3" fmla="*/ 381000 w 381000"/>
                <a:gd name="connsiteY3" fmla="*/ 84773 h 123825"/>
                <a:gd name="connsiteX4" fmla="*/ 343853 w 381000"/>
                <a:gd name="connsiteY4" fmla="*/ 47625 h 123825"/>
                <a:gd name="connsiteX5" fmla="*/ 323850 w 381000"/>
                <a:gd name="connsiteY5" fmla="*/ 47625 h 123825"/>
                <a:gd name="connsiteX6" fmla="*/ 323850 w 381000"/>
                <a:gd name="connsiteY6" fmla="*/ 0 h 123825"/>
                <a:gd name="connsiteX7" fmla="*/ 57150 w 381000"/>
                <a:gd name="connsiteY7" fmla="*/ 0 h 123825"/>
                <a:gd name="connsiteX8" fmla="*/ 57150 w 381000"/>
                <a:gd name="connsiteY8" fmla="*/ 47625 h 123825"/>
                <a:gd name="connsiteX9" fmla="*/ 37147 w 381000"/>
                <a:gd name="connsiteY9" fmla="*/ 47625 h 123825"/>
                <a:gd name="connsiteX10" fmla="*/ 0 w 381000"/>
                <a:gd name="connsiteY10" fmla="*/ 84773 h 123825"/>
                <a:gd name="connsiteX11" fmla="*/ 0 w 381000"/>
                <a:gd name="connsiteY11" fmla="*/ 86677 h 123825"/>
                <a:gd name="connsiteX12" fmla="*/ 37147 w 381000"/>
                <a:gd name="connsiteY12" fmla="*/ 123825 h 123825"/>
                <a:gd name="connsiteX13" fmla="*/ 76200 w 381000"/>
                <a:gd name="connsiteY13" fmla="*/ 19050 h 123825"/>
                <a:gd name="connsiteX14" fmla="*/ 304800 w 381000"/>
                <a:gd name="connsiteY14" fmla="*/ 19050 h 123825"/>
                <a:gd name="connsiteX15" fmla="*/ 304800 w 381000"/>
                <a:gd name="connsiteY15" fmla="*/ 47625 h 123825"/>
                <a:gd name="connsiteX16" fmla="*/ 76200 w 381000"/>
                <a:gd name="connsiteY16" fmla="*/ 47625 h 123825"/>
                <a:gd name="connsiteX17" fmla="*/ 19050 w 381000"/>
                <a:gd name="connsiteY17" fmla="*/ 84773 h 123825"/>
                <a:gd name="connsiteX18" fmla="*/ 37147 w 381000"/>
                <a:gd name="connsiteY18" fmla="*/ 66675 h 123825"/>
                <a:gd name="connsiteX19" fmla="*/ 343853 w 381000"/>
                <a:gd name="connsiteY19" fmla="*/ 66675 h 123825"/>
                <a:gd name="connsiteX20" fmla="*/ 361950 w 381000"/>
                <a:gd name="connsiteY20" fmla="*/ 84773 h 123825"/>
                <a:gd name="connsiteX21" fmla="*/ 361950 w 381000"/>
                <a:gd name="connsiteY21" fmla="*/ 86677 h 123825"/>
                <a:gd name="connsiteX22" fmla="*/ 343853 w 381000"/>
                <a:gd name="connsiteY22" fmla="*/ 104775 h 123825"/>
                <a:gd name="connsiteX23" fmla="*/ 37147 w 381000"/>
                <a:gd name="connsiteY23" fmla="*/ 104775 h 123825"/>
                <a:gd name="connsiteX24" fmla="*/ 19050 w 381000"/>
                <a:gd name="connsiteY24" fmla="*/ 86677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81000" h="123825">
                  <a:moveTo>
                    <a:pt x="37147" y="123825"/>
                  </a:moveTo>
                  <a:lnTo>
                    <a:pt x="343853" y="123825"/>
                  </a:lnTo>
                  <a:cubicBezTo>
                    <a:pt x="364358" y="123798"/>
                    <a:pt x="380973" y="107183"/>
                    <a:pt x="381000" y="86677"/>
                  </a:cubicBezTo>
                  <a:lnTo>
                    <a:pt x="381000" y="84773"/>
                  </a:lnTo>
                  <a:cubicBezTo>
                    <a:pt x="380973" y="64267"/>
                    <a:pt x="364358" y="47652"/>
                    <a:pt x="343853" y="47625"/>
                  </a:cubicBezTo>
                  <a:lnTo>
                    <a:pt x="323850" y="47625"/>
                  </a:lnTo>
                  <a:lnTo>
                    <a:pt x="323850" y="0"/>
                  </a:lnTo>
                  <a:lnTo>
                    <a:pt x="57150" y="0"/>
                  </a:lnTo>
                  <a:lnTo>
                    <a:pt x="57150" y="47625"/>
                  </a:lnTo>
                  <a:lnTo>
                    <a:pt x="37147" y="47625"/>
                  </a:lnTo>
                  <a:cubicBezTo>
                    <a:pt x="16642" y="47652"/>
                    <a:pt x="26" y="64267"/>
                    <a:pt x="0" y="84773"/>
                  </a:cubicBezTo>
                  <a:lnTo>
                    <a:pt x="0" y="86677"/>
                  </a:lnTo>
                  <a:cubicBezTo>
                    <a:pt x="26" y="107183"/>
                    <a:pt x="16642" y="123798"/>
                    <a:pt x="37147" y="123825"/>
                  </a:cubicBezTo>
                  <a:close/>
                  <a:moveTo>
                    <a:pt x="76200" y="19050"/>
                  </a:moveTo>
                  <a:lnTo>
                    <a:pt x="304800" y="19050"/>
                  </a:lnTo>
                  <a:lnTo>
                    <a:pt x="304800" y="47625"/>
                  </a:lnTo>
                  <a:lnTo>
                    <a:pt x="76200" y="47625"/>
                  </a:lnTo>
                  <a:close/>
                  <a:moveTo>
                    <a:pt x="19050" y="84773"/>
                  </a:moveTo>
                  <a:cubicBezTo>
                    <a:pt x="19050" y="74778"/>
                    <a:pt x="27153" y="66675"/>
                    <a:pt x="37147" y="66675"/>
                  </a:cubicBezTo>
                  <a:lnTo>
                    <a:pt x="343853" y="66675"/>
                  </a:lnTo>
                  <a:cubicBezTo>
                    <a:pt x="353847" y="66675"/>
                    <a:pt x="361950" y="74778"/>
                    <a:pt x="361950" y="84773"/>
                  </a:cubicBezTo>
                  <a:lnTo>
                    <a:pt x="361950" y="86677"/>
                  </a:lnTo>
                  <a:cubicBezTo>
                    <a:pt x="361950" y="96672"/>
                    <a:pt x="353847" y="104775"/>
                    <a:pt x="343853" y="104775"/>
                  </a:cubicBezTo>
                  <a:lnTo>
                    <a:pt x="37147" y="104775"/>
                  </a:lnTo>
                  <a:cubicBezTo>
                    <a:pt x="27153" y="104775"/>
                    <a:pt x="19050" y="96672"/>
                    <a:pt x="19050" y="8667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95" name="Graphic 93" descr="Factory outline">
            <a:extLst>
              <a:ext uri="{FF2B5EF4-FFF2-40B4-BE49-F238E27FC236}">
                <a16:creationId xmlns:a16="http://schemas.microsoft.com/office/drawing/2014/main" id="{5DFDCD93-B574-B78E-9E7A-4493B495206D}"/>
              </a:ext>
            </a:extLst>
          </p:cNvPr>
          <p:cNvGrpSpPr/>
          <p:nvPr/>
        </p:nvGrpSpPr>
        <p:grpSpPr>
          <a:xfrm>
            <a:off x="2680010" y="3522540"/>
            <a:ext cx="548580" cy="548580"/>
            <a:chOff x="5762625" y="3095625"/>
            <a:chExt cx="666750" cy="666750"/>
          </a:xfrm>
          <a:solidFill>
            <a:schemeClr val="bg1"/>
          </a:solidFill>
        </p:grpSpPr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AB1EFC27-DAE5-4907-0552-2EF44F250747}"/>
                </a:ext>
              </a:extLst>
            </p:cNvPr>
            <p:cNvSpPr/>
            <p:nvPr/>
          </p:nvSpPr>
          <p:spPr>
            <a:xfrm>
              <a:off x="5762625" y="3095625"/>
              <a:ext cx="666750" cy="666750"/>
            </a:xfrm>
            <a:custGeom>
              <a:avLst/>
              <a:gdLst>
                <a:gd name="connsiteX0" fmla="*/ 409575 w 666750"/>
                <a:gd name="connsiteY0" fmla="*/ 384381 h 666750"/>
                <a:gd name="connsiteX1" fmla="*/ 409575 w 666750"/>
                <a:gd name="connsiteY1" fmla="*/ 251031 h 666750"/>
                <a:gd name="connsiteX2" fmla="*/ 151324 w 666750"/>
                <a:gd name="connsiteY2" fmla="*/ 384943 h 666750"/>
                <a:gd name="connsiteX3" fmla="*/ 123158 w 666750"/>
                <a:gd name="connsiteY3" fmla="*/ 0 h 666750"/>
                <a:gd name="connsiteX4" fmla="*/ 29242 w 666750"/>
                <a:gd name="connsiteY4" fmla="*/ 0 h 666750"/>
                <a:gd name="connsiteX5" fmla="*/ 0 w 666750"/>
                <a:gd name="connsiteY5" fmla="*/ 400050 h 666750"/>
                <a:gd name="connsiteX6" fmla="*/ 0 w 666750"/>
                <a:gd name="connsiteY6" fmla="*/ 666750 h 666750"/>
                <a:gd name="connsiteX7" fmla="*/ 666750 w 666750"/>
                <a:gd name="connsiteY7" fmla="*/ 666750 h 666750"/>
                <a:gd name="connsiteX8" fmla="*/ 666750 w 666750"/>
                <a:gd name="connsiteY8" fmla="*/ 251031 h 666750"/>
                <a:gd name="connsiteX9" fmla="*/ 105442 w 666750"/>
                <a:gd name="connsiteY9" fmla="*/ 19050 h 666750"/>
                <a:gd name="connsiteX10" fmla="*/ 108928 w 666750"/>
                <a:gd name="connsiteY10" fmla="*/ 66675 h 666750"/>
                <a:gd name="connsiteX11" fmla="*/ 43472 w 666750"/>
                <a:gd name="connsiteY11" fmla="*/ 66675 h 666750"/>
                <a:gd name="connsiteX12" fmla="*/ 46958 w 666750"/>
                <a:gd name="connsiteY12" fmla="*/ 19050 h 666750"/>
                <a:gd name="connsiteX13" fmla="*/ 42072 w 666750"/>
                <a:gd name="connsiteY13" fmla="*/ 85725 h 666750"/>
                <a:gd name="connsiteX14" fmla="*/ 110328 w 666750"/>
                <a:gd name="connsiteY14" fmla="*/ 85725 h 666750"/>
                <a:gd name="connsiteX15" fmla="*/ 132626 w 666750"/>
                <a:gd name="connsiteY15" fmla="*/ 390525 h 666750"/>
                <a:gd name="connsiteX16" fmla="*/ 19774 w 666750"/>
                <a:gd name="connsiteY16" fmla="*/ 390525 h 666750"/>
                <a:gd name="connsiteX17" fmla="*/ 145733 w 666750"/>
                <a:gd name="connsiteY17" fmla="*/ 409280 h 666750"/>
                <a:gd name="connsiteX18" fmla="*/ 390525 w 666750"/>
                <a:gd name="connsiteY18" fmla="*/ 282369 h 666750"/>
                <a:gd name="connsiteX19" fmla="*/ 390525 w 666750"/>
                <a:gd name="connsiteY19" fmla="*/ 415719 h 666750"/>
                <a:gd name="connsiteX20" fmla="*/ 647700 w 666750"/>
                <a:gd name="connsiteY20" fmla="*/ 282369 h 666750"/>
                <a:gd name="connsiteX21" fmla="*/ 647700 w 666750"/>
                <a:gd name="connsiteY21" fmla="*/ 647700 h 666750"/>
                <a:gd name="connsiteX22" fmla="*/ 19050 w 666750"/>
                <a:gd name="connsiteY22" fmla="*/ 647700 h 666750"/>
                <a:gd name="connsiteX23" fmla="*/ 19050 w 666750"/>
                <a:gd name="connsiteY23" fmla="*/ 409575 h 666750"/>
                <a:gd name="connsiteX24" fmla="*/ 134017 w 666750"/>
                <a:gd name="connsiteY24" fmla="*/ 409575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66750" h="666750">
                  <a:moveTo>
                    <a:pt x="409575" y="384381"/>
                  </a:moveTo>
                  <a:lnTo>
                    <a:pt x="409575" y="251031"/>
                  </a:lnTo>
                  <a:lnTo>
                    <a:pt x="151324" y="384943"/>
                  </a:lnTo>
                  <a:lnTo>
                    <a:pt x="123158" y="0"/>
                  </a:lnTo>
                  <a:lnTo>
                    <a:pt x="29242" y="0"/>
                  </a:lnTo>
                  <a:lnTo>
                    <a:pt x="0" y="400050"/>
                  </a:lnTo>
                  <a:lnTo>
                    <a:pt x="0" y="666750"/>
                  </a:lnTo>
                  <a:lnTo>
                    <a:pt x="666750" y="666750"/>
                  </a:lnTo>
                  <a:lnTo>
                    <a:pt x="666750" y="251031"/>
                  </a:lnTo>
                  <a:close/>
                  <a:moveTo>
                    <a:pt x="105442" y="19050"/>
                  </a:moveTo>
                  <a:lnTo>
                    <a:pt x="108928" y="66675"/>
                  </a:lnTo>
                  <a:lnTo>
                    <a:pt x="43472" y="66675"/>
                  </a:lnTo>
                  <a:lnTo>
                    <a:pt x="46958" y="19050"/>
                  </a:lnTo>
                  <a:close/>
                  <a:moveTo>
                    <a:pt x="42072" y="85725"/>
                  </a:moveTo>
                  <a:lnTo>
                    <a:pt x="110328" y="85725"/>
                  </a:lnTo>
                  <a:lnTo>
                    <a:pt x="132626" y="390525"/>
                  </a:lnTo>
                  <a:lnTo>
                    <a:pt x="19774" y="390525"/>
                  </a:lnTo>
                  <a:close/>
                  <a:moveTo>
                    <a:pt x="145733" y="409280"/>
                  </a:moveTo>
                  <a:lnTo>
                    <a:pt x="390525" y="282369"/>
                  </a:lnTo>
                  <a:lnTo>
                    <a:pt x="390525" y="415719"/>
                  </a:lnTo>
                  <a:lnTo>
                    <a:pt x="647700" y="282369"/>
                  </a:lnTo>
                  <a:lnTo>
                    <a:pt x="647700" y="647700"/>
                  </a:lnTo>
                  <a:lnTo>
                    <a:pt x="19050" y="647700"/>
                  </a:lnTo>
                  <a:lnTo>
                    <a:pt x="19050" y="409575"/>
                  </a:lnTo>
                  <a:lnTo>
                    <a:pt x="134017" y="4095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088BAC8F-72EA-E056-891E-F92C3D984B19}"/>
                </a:ext>
              </a:extLst>
            </p:cNvPr>
            <p:cNvSpPr/>
            <p:nvPr/>
          </p:nvSpPr>
          <p:spPr>
            <a:xfrm>
              <a:off x="5829300" y="3590925"/>
              <a:ext cx="152400" cy="95250"/>
            </a:xfrm>
            <a:custGeom>
              <a:avLst/>
              <a:gdLst>
                <a:gd name="connsiteX0" fmla="*/ 0 w 152400"/>
                <a:gd name="connsiteY0" fmla="*/ 95250 h 95250"/>
                <a:gd name="connsiteX1" fmla="*/ 152400 w 152400"/>
                <a:gd name="connsiteY1" fmla="*/ 95250 h 95250"/>
                <a:gd name="connsiteX2" fmla="*/ 152400 w 152400"/>
                <a:gd name="connsiteY2" fmla="*/ 0 h 95250"/>
                <a:gd name="connsiteX3" fmla="*/ 0 w 152400"/>
                <a:gd name="connsiteY3" fmla="*/ 0 h 95250"/>
                <a:gd name="connsiteX4" fmla="*/ 133350 w 152400"/>
                <a:gd name="connsiteY4" fmla="*/ 76200 h 95250"/>
                <a:gd name="connsiteX5" fmla="*/ 85725 w 152400"/>
                <a:gd name="connsiteY5" fmla="*/ 76200 h 95250"/>
                <a:gd name="connsiteX6" fmla="*/ 85725 w 152400"/>
                <a:gd name="connsiteY6" fmla="*/ 19050 h 95250"/>
                <a:gd name="connsiteX7" fmla="*/ 133350 w 152400"/>
                <a:gd name="connsiteY7" fmla="*/ 19050 h 95250"/>
                <a:gd name="connsiteX8" fmla="*/ 19050 w 152400"/>
                <a:gd name="connsiteY8" fmla="*/ 19050 h 95250"/>
                <a:gd name="connsiteX9" fmla="*/ 66675 w 152400"/>
                <a:gd name="connsiteY9" fmla="*/ 19050 h 95250"/>
                <a:gd name="connsiteX10" fmla="*/ 66675 w 152400"/>
                <a:gd name="connsiteY10" fmla="*/ 76200 h 95250"/>
                <a:gd name="connsiteX11" fmla="*/ 19050 w 152400"/>
                <a:gd name="connsiteY11" fmla="*/ 7620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2400" h="95250">
                  <a:moveTo>
                    <a:pt x="0" y="95250"/>
                  </a:moveTo>
                  <a:lnTo>
                    <a:pt x="152400" y="95250"/>
                  </a:lnTo>
                  <a:lnTo>
                    <a:pt x="152400" y="0"/>
                  </a:lnTo>
                  <a:lnTo>
                    <a:pt x="0" y="0"/>
                  </a:lnTo>
                  <a:close/>
                  <a:moveTo>
                    <a:pt x="133350" y="76200"/>
                  </a:moveTo>
                  <a:lnTo>
                    <a:pt x="85725" y="76200"/>
                  </a:lnTo>
                  <a:lnTo>
                    <a:pt x="85725" y="19050"/>
                  </a:lnTo>
                  <a:lnTo>
                    <a:pt x="133350" y="19050"/>
                  </a:lnTo>
                  <a:close/>
                  <a:moveTo>
                    <a:pt x="19050" y="19050"/>
                  </a:moveTo>
                  <a:lnTo>
                    <a:pt x="66675" y="19050"/>
                  </a:lnTo>
                  <a:lnTo>
                    <a:pt x="66675" y="76200"/>
                  </a:lnTo>
                  <a:lnTo>
                    <a:pt x="19050" y="762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2F73ABE8-5D6F-C3CE-C693-D042F7D37A17}"/>
                </a:ext>
              </a:extLst>
            </p:cNvPr>
            <p:cNvSpPr/>
            <p:nvPr/>
          </p:nvSpPr>
          <p:spPr>
            <a:xfrm>
              <a:off x="6019800" y="3590925"/>
              <a:ext cx="152400" cy="95250"/>
            </a:xfrm>
            <a:custGeom>
              <a:avLst/>
              <a:gdLst>
                <a:gd name="connsiteX0" fmla="*/ 0 w 152400"/>
                <a:gd name="connsiteY0" fmla="*/ 95250 h 95250"/>
                <a:gd name="connsiteX1" fmla="*/ 152400 w 152400"/>
                <a:gd name="connsiteY1" fmla="*/ 95250 h 95250"/>
                <a:gd name="connsiteX2" fmla="*/ 152400 w 152400"/>
                <a:gd name="connsiteY2" fmla="*/ 0 h 95250"/>
                <a:gd name="connsiteX3" fmla="*/ 0 w 152400"/>
                <a:gd name="connsiteY3" fmla="*/ 0 h 95250"/>
                <a:gd name="connsiteX4" fmla="*/ 133350 w 152400"/>
                <a:gd name="connsiteY4" fmla="*/ 76200 h 95250"/>
                <a:gd name="connsiteX5" fmla="*/ 85725 w 152400"/>
                <a:gd name="connsiteY5" fmla="*/ 76200 h 95250"/>
                <a:gd name="connsiteX6" fmla="*/ 85725 w 152400"/>
                <a:gd name="connsiteY6" fmla="*/ 19050 h 95250"/>
                <a:gd name="connsiteX7" fmla="*/ 133350 w 152400"/>
                <a:gd name="connsiteY7" fmla="*/ 19050 h 95250"/>
                <a:gd name="connsiteX8" fmla="*/ 19050 w 152400"/>
                <a:gd name="connsiteY8" fmla="*/ 19050 h 95250"/>
                <a:gd name="connsiteX9" fmla="*/ 66675 w 152400"/>
                <a:gd name="connsiteY9" fmla="*/ 19050 h 95250"/>
                <a:gd name="connsiteX10" fmla="*/ 66675 w 152400"/>
                <a:gd name="connsiteY10" fmla="*/ 76200 h 95250"/>
                <a:gd name="connsiteX11" fmla="*/ 19050 w 152400"/>
                <a:gd name="connsiteY11" fmla="*/ 7620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2400" h="95250">
                  <a:moveTo>
                    <a:pt x="0" y="95250"/>
                  </a:moveTo>
                  <a:lnTo>
                    <a:pt x="152400" y="95250"/>
                  </a:lnTo>
                  <a:lnTo>
                    <a:pt x="152400" y="0"/>
                  </a:lnTo>
                  <a:lnTo>
                    <a:pt x="0" y="0"/>
                  </a:lnTo>
                  <a:close/>
                  <a:moveTo>
                    <a:pt x="133350" y="76200"/>
                  </a:moveTo>
                  <a:lnTo>
                    <a:pt x="85725" y="76200"/>
                  </a:lnTo>
                  <a:lnTo>
                    <a:pt x="85725" y="19050"/>
                  </a:lnTo>
                  <a:lnTo>
                    <a:pt x="133350" y="19050"/>
                  </a:lnTo>
                  <a:close/>
                  <a:moveTo>
                    <a:pt x="19050" y="19050"/>
                  </a:moveTo>
                  <a:lnTo>
                    <a:pt x="66675" y="19050"/>
                  </a:lnTo>
                  <a:lnTo>
                    <a:pt x="66675" y="76200"/>
                  </a:lnTo>
                  <a:lnTo>
                    <a:pt x="19050" y="762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2C4414BD-05C2-990F-036E-63D1D1D4BFE7}"/>
                </a:ext>
              </a:extLst>
            </p:cNvPr>
            <p:cNvSpPr/>
            <p:nvPr/>
          </p:nvSpPr>
          <p:spPr>
            <a:xfrm>
              <a:off x="6210300" y="3590925"/>
              <a:ext cx="152400" cy="95250"/>
            </a:xfrm>
            <a:custGeom>
              <a:avLst/>
              <a:gdLst>
                <a:gd name="connsiteX0" fmla="*/ 152400 w 152400"/>
                <a:gd name="connsiteY0" fmla="*/ 0 h 95250"/>
                <a:gd name="connsiteX1" fmla="*/ 0 w 152400"/>
                <a:gd name="connsiteY1" fmla="*/ 0 h 95250"/>
                <a:gd name="connsiteX2" fmla="*/ 0 w 152400"/>
                <a:gd name="connsiteY2" fmla="*/ 95250 h 95250"/>
                <a:gd name="connsiteX3" fmla="*/ 152400 w 152400"/>
                <a:gd name="connsiteY3" fmla="*/ 95250 h 95250"/>
                <a:gd name="connsiteX4" fmla="*/ 19050 w 152400"/>
                <a:gd name="connsiteY4" fmla="*/ 19050 h 95250"/>
                <a:gd name="connsiteX5" fmla="*/ 66675 w 152400"/>
                <a:gd name="connsiteY5" fmla="*/ 19050 h 95250"/>
                <a:gd name="connsiteX6" fmla="*/ 66675 w 152400"/>
                <a:gd name="connsiteY6" fmla="*/ 76200 h 95250"/>
                <a:gd name="connsiteX7" fmla="*/ 19050 w 152400"/>
                <a:gd name="connsiteY7" fmla="*/ 76200 h 95250"/>
                <a:gd name="connsiteX8" fmla="*/ 133350 w 152400"/>
                <a:gd name="connsiteY8" fmla="*/ 76200 h 95250"/>
                <a:gd name="connsiteX9" fmla="*/ 85725 w 152400"/>
                <a:gd name="connsiteY9" fmla="*/ 76200 h 95250"/>
                <a:gd name="connsiteX10" fmla="*/ 85725 w 152400"/>
                <a:gd name="connsiteY10" fmla="*/ 19050 h 95250"/>
                <a:gd name="connsiteX11" fmla="*/ 133350 w 152400"/>
                <a:gd name="connsiteY11" fmla="*/ 1905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2400" h="95250">
                  <a:moveTo>
                    <a:pt x="152400" y="0"/>
                  </a:moveTo>
                  <a:lnTo>
                    <a:pt x="0" y="0"/>
                  </a:lnTo>
                  <a:lnTo>
                    <a:pt x="0" y="95250"/>
                  </a:lnTo>
                  <a:lnTo>
                    <a:pt x="152400" y="95250"/>
                  </a:lnTo>
                  <a:close/>
                  <a:moveTo>
                    <a:pt x="19050" y="19050"/>
                  </a:moveTo>
                  <a:lnTo>
                    <a:pt x="66675" y="19050"/>
                  </a:lnTo>
                  <a:lnTo>
                    <a:pt x="66675" y="76200"/>
                  </a:lnTo>
                  <a:lnTo>
                    <a:pt x="19050" y="76200"/>
                  </a:lnTo>
                  <a:close/>
                  <a:moveTo>
                    <a:pt x="133350" y="76200"/>
                  </a:moveTo>
                  <a:lnTo>
                    <a:pt x="85725" y="76200"/>
                  </a:lnTo>
                  <a:lnTo>
                    <a:pt x="85725" y="19050"/>
                  </a:lnTo>
                  <a:lnTo>
                    <a:pt x="13335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075005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CD76A8E-22FE-7029-1918-0517DD531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ONG OPERATING PERFORMANC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3EE0EF-E2BD-DD5B-E28A-59CFBFE196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21" name="Table 21">
            <a:extLst>
              <a:ext uri="{FF2B5EF4-FFF2-40B4-BE49-F238E27FC236}">
                <a16:creationId xmlns:a16="http://schemas.microsoft.com/office/drawing/2014/main" id="{A0FC5244-38C4-D8DB-A5A7-4B5425C3DD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1575647"/>
              </p:ext>
            </p:extLst>
          </p:nvPr>
        </p:nvGraphicFramePr>
        <p:xfrm>
          <a:off x="216693" y="2041524"/>
          <a:ext cx="11758613" cy="42830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58613">
                  <a:extLst>
                    <a:ext uri="{9D8B030D-6E8A-4147-A177-3AD203B41FA5}">
                      <a16:colId xmlns:a16="http://schemas.microsoft.com/office/drawing/2014/main" val="927036601"/>
                    </a:ext>
                  </a:extLst>
                </a:gridCol>
              </a:tblGrid>
              <a:tr h="475897">
                <a:tc>
                  <a:txBody>
                    <a:bodyPr/>
                    <a:lstStyle/>
                    <a:p>
                      <a:r>
                        <a:rPr lang="en-GB" sz="1600" b="0" dirty="0">
                          <a:solidFill>
                            <a:schemeClr val="accent5"/>
                          </a:solidFill>
                          <a:sym typeface="Wingdings" panose="05000000000000000000" pitchFamily="2" charset="2"/>
                        </a:rPr>
                        <a:t></a:t>
                      </a:r>
                      <a:r>
                        <a:rPr lang="en-GB" sz="1600" b="0" dirty="0">
                          <a:solidFill>
                            <a:schemeClr val="accent5"/>
                          </a:solidFill>
                          <a:sym typeface="Wingdings 3" panose="05040102010807070707" pitchFamily="18" charset="2"/>
                        </a:rPr>
                        <a:t> </a:t>
                      </a: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Portfolio delivered strong return – </a:t>
                      </a:r>
                      <a:r>
                        <a:rPr lang="en-GB" sz="1600" b="1" dirty="0">
                          <a:solidFill>
                            <a:schemeClr val="tx2"/>
                          </a:solidFill>
                        </a:rPr>
                        <a:t>ROGEV 16.9%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612919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 </a:t>
                      </a:r>
                      <a:r>
                        <a:rPr lang="en-US" sz="1600" b="1" dirty="0">
                          <a:solidFill>
                            <a:schemeClr val="tx2"/>
                          </a:solidFill>
                        </a:rPr>
                        <a:t>Claims normalised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to pre pandemic levels, positively affecting 2022 performance </a:t>
                      </a:r>
                      <a:endParaRPr lang="en-GB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2458057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</a:t>
                      </a: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Positive AUM and operating profit  </a:t>
                      </a: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in the asset management business</a:t>
                      </a:r>
                      <a:endParaRPr lang="en-GB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9841180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 Strong operating profit result from the </a:t>
                      </a: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life business</a:t>
                      </a:r>
                      <a:endParaRPr lang="en-GB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5468932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Strong operating profit </a:t>
                      </a: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results from Nico Holdings and BIC</a:t>
                      </a:r>
                      <a:endParaRPr lang="en-GB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3213048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3" panose="05040102010807070707" pitchFamily="18" charset="2"/>
                        </a:rPr>
                        <a:t> </a:t>
                      </a:r>
                      <a:r>
                        <a:rPr lang="en-US" sz="1600" b="1" dirty="0">
                          <a:solidFill>
                            <a:schemeClr val="tx2"/>
                          </a:solidFill>
                        </a:rPr>
                        <a:t>Disposal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 of 37.62% in FSG limited concluded</a:t>
                      </a:r>
                      <a:endParaRPr lang="en-BW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8897925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3" panose="05040102010807070707" pitchFamily="18" charset="2"/>
                        </a:rPr>
                        <a:t>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Balanced sheet remained </a:t>
                      </a:r>
                      <a:r>
                        <a:rPr lang="en-US" sz="1600" b="1" dirty="0">
                          <a:solidFill>
                            <a:schemeClr val="tx2"/>
                          </a:solidFill>
                        </a:rPr>
                        <a:t>strong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  </a:t>
                      </a:r>
                      <a:endParaRPr lang="en-BW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2729986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3" panose="05040102010807070707" pitchFamily="18" charset="2"/>
                        </a:rPr>
                        <a:t> </a:t>
                      </a: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BIHL Trust donation spend – </a:t>
                      </a:r>
                      <a:r>
                        <a:rPr lang="en-GB" sz="1600" b="1" dirty="0">
                          <a:solidFill>
                            <a:schemeClr val="tx2"/>
                          </a:solidFill>
                        </a:rPr>
                        <a:t>P2m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5094877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3" panose="05040102010807070707" pitchFamily="18" charset="2"/>
                        </a:rPr>
                        <a:t> Attractive </a:t>
                      </a:r>
                      <a:r>
                        <a:rPr lang="en-GB" sz="1600" b="1" dirty="0">
                          <a:solidFill>
                            <a:schemeClr val="tx2"/>
                          </a:solidFill>
                        </a:rPr>
                        <a:t>Dividend policy maintained over the year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32213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59121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CD76A8E-22FE-7029-1918-0517DD531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ough with challenges</a:t>
            </a:r>
            <a:endParaRPr lang="en-GB" dirty="0"/>
          </a:p>
        </p:txBody>
      </p:sp>
      <p:graphicFrame>
        <p:nvGraphicFramePr>
          <p:cNvPr id="5" name="Table 21">
            <a:extLst>
              <a:ext uri="{FF2B5EF4-FFF2-40B4-BE49-F238E27FC236}">
                <a16:creationId xmlns:a16="http://schemas.microsoft.com/office/drawing/2014/main" id="{96B46F61-98D0-3099-0485-DFC762977D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8128714"/>
              </p:ext>
            </p:extLst>
          </p:nvPr>
        </p:nvGraphicFramePr>
        <p:xfrm>
          <a:off x="216693" y="2041524"/>
          <a:ext cx="11758613" cy="19035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58613">
                  <a:extLst>
                    <a:ext uri="{9D8B030D-6E8A-4147-A177-3AD203B41FA5}">
                      <a16:colId xmlns:a16="http://schemas.microsoft.com/office/drawing/2014/main" val="927036601"/>
                    </a:ext>
                  </a:extLst>
                </a:gridCol>
              </a:tblGrid>
              <a:tr h="475897">
                <a:tc>
                  <a:txBody>
                    <a:bodyPr/>
                    <a:lstStyle/>
                    <a:p>
                      <a:r>
                        <a:rPr lang="en-GB" sz="1600" b="0" dirty="0">
                          <a:solidFill>
                            <a:schemeClr val="accent5"/>
                          </a:solidFill>
                          <a:sym typeface="Wingdings" panose="05000000000000000000" pitchFamily="2" charset="2"/>
                        </a:rPr>
                        <a:t></a:t>
                      </a:r>
                      <a:r>
                        <a:rPr lang="en-GB" sz="1600" b="0" dirty="0">
                          <a:solidFill>
                            <a:schemeClr val="tx1"/>
                          </a:solidFill>
                          <a:sym typeface="Wingdings 3" panose="05040102010807070707" pitchFamily="18" charset="2"/>
                        </a:rPr>
                        <a:t> BLIL </a:t>
                      </a:r>
                      <a:r>
                        <a:rPr lang="en-GB" sz="1600" b="1" dirty="0">
                          <a:solidFill>
                            <a:schemeClr val="tx1"/>
                          </a:solidFill>
                          <a:sym typeface="Wingdings 3" panose="05040102010807070707" pitchFamily="18" charset="2"/>
                        </a:rPr>
                        <a:t>muted top line growth </a:t>
                      </a:r>
                      <a:r>
                        <a:rPr lang="en-GB" sz="1600" b="0" dirty="0">
                          <a:solidFill>
                            <a:schemeClr val="tx1"/>
                          </a:solidFill>
                          <a:sym typeface="Wingdings 3" panose="05040102010807070707" pitchFamily="18" charset="2"/>
                        </a:rPr>
                        <a:t>with lower new business productvity</a:t>
                      </a:r>
                      <a:endParaRPr lang="en-GB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612919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6.5k net decline in BLIL </a:t>
                      </a: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file size </a:t>
                      </a: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with above expectation lapses and cancellations</a:t>
                      </a:r>
                      <a:endParaRPr lang="en-GB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2458057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3" panose="05040102010807070707" pitchFamily="18" charset="2"/>
                        </a:rPr>
                        <a:t> Sluggish </a:t>
                      </a: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3" panose="05040102010807070707" pitchFamily="18" charset="2"/>
                        </a:rPr>
                        <a:t>unit trust </a:t>
                      </a: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3" panose="05040102010807070707" pitchFamily="18" charset="2"/>
                        </a:rPr>
                        <a:t>growth</a:t>
                      </a:r>
                      <a:endParaRPr lang="en-GB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9841180"/>
                  </a:ext>
                </a:extLst>
              </a:tr>
              <a:tr h="4758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</a:t>
                      </a: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</a:t>
                      </a:r>
                      <a:r>
                        <a:rPr kumimoji="0" lang="en-GB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Letshego</a:t>
                      </a: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 growth declining</a:t>
                      </a:r>
                      <a:endParaRPr lang="en-BW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54689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63230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E33FA72-61BD-42F9-90B8-CC38B36BD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roup PERFORMANCE highlight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8071854-E2E3-4BFF-B877-42717D6A77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he Group remains well positioned in terms of capital management and solvency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10F8624-0A70-B012-613A-1BF8F45AF4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Net insurance </a:t>
            </a:r>
            <a:br>
              <a:rPr lang="en-US" dirty="0"/>
            </a:br>
            <a:r>
              <a:rPr lang="en-US" dirty="0"/>
              <a:t>premium income</a:t>
            </a:r>
          </a:p>
          <a:p>
            <a:pPr lvl="1"/>
            <a:r>
              <a:rPr lang="en-GB" dirty="0"/>
              <a:t>P3.01 billion</a:t>
            </a:r>
          </a:p>
          <a:p>
            <a:pPr lvl="2"/>
            <a:r>
              <a:rPr lang="en-BW" dirty="0"/>
              <a:t>(</a:t>
            </a:r>
            <a:r>
              <a:rPr lang="en-US" dirty="0"/>
              <a:t>2</a:t>
            </a:r>
            <a:r>
              <a:rPr lang="en-BW" dirty="0"/>
              <a:t>%)</a:t>
            </a:r>
            <a:r>
              <a:rPr lang="en-BW" dirty="0">
                <a:sym typeface="Wingdings 3" panose="05040102010807070707" pitchFamily="18" charset="2"/>
              </a:rPr>
              <a:t> </a:t>
            </a:r>
            <a:r>
              <a:rPr lang="en-BW" dirty="0">
                <a:solidFill>
                  <a:schemeClr val="accent2"/>
                </a:solidFill>
                <a:sym typeface="Wingdings 3" panose="05040102010807070707" pitchFamily="18" charset="2"/>
              </a:rPr>
              <a:t></a:t>
            </a:r>
            <a:endParaRPr lang="en-BW" dirty="0">
              <a:solidFill>
                <a:schemeClr val="accent2"/>
              </a:solidFill>
            </a:endParaRPr>
          </a:p>
          <a:p>
            <a:endParaRPr lang="en-GB" dirty="0"/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0347674D-DA14-8148-7F04-BC60AB09FA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Value of </a:t>
            </a:r>
            <a:br>
              <a:rPr lang="en-GB" dirty="0"/>
            </a:br>
            <a:r>
              <a:rPr lang="en-GB" dirty="0"/>
              <a:t>new business</a:t>
            </a:r>
          </a:p>
          <a:p>
            <a:pPr lvl="1"/>
            <a:r>
              <a:rPr lang="en-GB" dirty="0"/>
              <a:t>P 160 million</a:t>
            </a:r>
          </a:p>
          <a:p>
            <a:pPr lvl="2"/>
            <a:r>
              <a:rPr lang="en-GB" dirty="0"/>
              <a:t>(9%) </a:t>
            </a:r>
            <a:r>
              <a:rPr lang="en-BW" dirty="0">
                <a:solidFill>
                  <a:schemeClr val="accent2"/>
                </a:solidFill>
                <a:sym typeface="Wingdings 3" panose="05040102010807070707" pitchFamily="18" charset="2"/>
              </a:rPr>
              <a:t></a:t>
            </a:r>
            <a:r>
              <a:rPr lang="en-GB" dirty="0"/>
              <a:t> 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1E750C75-CBC5-A907-608C-7943BE9FB8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Fee </a:t>
            </a:r>
            <a:br>
              <a:rPr lang="en-US" dirty="0"/>
            </a:br>
            <a:r>
              <a:rPr lang="en-US" dirty="0"/>
              <a:t>revenue</a:t>
            </a:r>
          </a:p>
          <a:p>
            <a:pPr lvl="1"/>
            <a:r>
              <a:rPr lang="en-US" dirty="0"/>
              <a:t>P139 million </a:t>
            </a:r>
          </a:p>
          <a:p>
            <a:pPr lvl="2"/>
            <a:r>
              <a:rPr lang="en-US" dirty="0"/>
              <a:t>9% </a:t>
            </a:r>
            <a:r>
              <a:rPr lang="en-US" dirty="0">
                <a:solidFill>
                  <a:schemeClr val="accent6"/>
                </a:solidFill>
                <a:sym typeface="Wingdings 3" panose="05040102010807070707" pitchFamily="18" charset="2"/>
              </a:rPr>
              <a:t>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A027EC38-B1EC-0D1B-CC8F-18EBFF6105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hare of profits of associates</a:t>
            </a:r>
          </a:p>
          <a:p>
            <a:pPr lvl="1"/>
            <a:r>
              <a:rPr lang="en-US" dirty="0"/>
              <a:t>P237 million</a:t>
            </a:r>
          </a:p>
          <a:p>
            <a:pPr lvl="2"/>
            <a:r>
              <a:rPr lang="en-US" dirty="0"/>
              <a:t>(22%)</a:t>
            </a:r>
            <a:r>
              <a:rPr lang="en-BW" dirty="0">
                <a:sym typeface="Wingdings 3" panose="05040102010807070707" pitchFamily="18" charset="2"/>
              </a:rPr>
              <a:t> </a:t>
            </a:r>
            <a:r>
              <a:rPr lang="en-BW" dirty="0">
                <a:solidFill>
                  <a:schemeClr val="accent2"/>
                </a:solidFill>
                <a:sym typeface="Wingdings 3" panose="05040102010807070707" pitchFamily="18" charset="2"/>
              </a:rPr>
              <a:t>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F6D18E69-C4FB-F371-FAA1-8E912B859D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Operating </a:t>
            </a:r>
            <a:br>
              <a:rPr lang="en-GB" dirty="0"/>
            </a:br>
            <a:r>
              <a:rPr lang="en-GB" dirty="0"/>
              <a:t>profit</a:t>
            </a:r>
          </a:p>
          <a:p>
            <a:pPr lvl="1"/>
            <a:r>
              <a:rPr lang="en-GB" dirty="0"/>
              <a:t>P408 million</a:t>
            </a:r>
          </a:p>
          <a:p>
            <a:pPr lvl="2"/>
            <a:r>
              <a:rPr lang="en-GB" dirty="0"/>
              <a:t>132% </a:t>
            </a:r>
            <a:r>
              <a:rPr lang="en-US" dirty="0">
                <a:solidFill>
                  <a:schemeClr val="accent6"/>
                </a:solidFill>
                <a:sym typeface="Wingdings 3" panose="05040102010807070707" pitchFamily="18" charset="2"/>
              </a:rPr>
              <a:t></a:t>
            </a:r>
            <a:endParaRPr lang="en-GB" dirty="0">
              <a:solidFill>
                <a:schemeClr val="accent6"/>
              </a:solidFill>
            </a:endParaRPr>
          </a:p>
        </p:txBody>
      </p:sp>
      <p:sp>
        <p:nvSpPr>
          <p:cNvPr id="50" name="Text Placeholder 49">
            <a:extLst>
              <a:ext uri="{FF2B5EF4-FFF2-40B4-BE49-F238E27FC236}">
                <a16:creationId xmlns:a16="http://schemas.microsoft.com/office/drawing/2014/main" id="{BEA1FDF0-2340-5D39-9ABA-EAAE3AAB133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Core </a:t>
            </a:r>
            <a:br>
              <a:rPr lang="en-GB" dirty="0"/>
            </a:br>
            <a:r>
              <a:rPr lang="en-GB" dirty="0"/>
              <a:t>earnings</a:t>
            </a:r>
          </a:p>
          <a:p>
            <a:pPr lvl="1"/>
            <a:r>
              <a:rPr lang="en-GB" dirty="0"/>
              <a:t>P481 million</a:t>
            </a:r>
          </a:p>
          <a:p>
            <a:pPr lvl="2"/>
            <a:r>
              <a:rPr lang="en-GB" dirty="0"/>
              <a:t>138% </a:t>
            </a:r>
            <a:r>
              <a:rPr lang="en-US" dirty="0">
                <a:solidFill>
                  <a:schemeClr val="accent6"/>
                </a:solidFill>
                <a:sym typeface="Wingdings 3" panose="05040102010807070707" pitchFamily="18" charset="2"/>
              </a:rPr>
              <a:t></a:t>
            </a:r>
            <a:endParaRPr lang="en-GB" dirty="0">
              <a:solidFill>
                <a:schemeClr val="accent6"/>
              </a:solidFill>
            </a:endParaRP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BAC45B54-19B0-468D-1B44-22BF493DEE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nb-NO" dirty="0"/>
              <a:t>ROGEV (Target 14.5%.  Dec 2021 11.3%)</a:t>
            </a:r>
          </a:p>
          <a:p>
            <a:pPr lvl="1"/>
            <a:r>
              <a:rPr lang="nb-NO" dirty="0"/>
              <a:t>16.9%</a:t>
            </a:r>
          </a:p>
          <a:p>
            <a:pPr lvl="1"/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 3" panose="05040102010807070707" pitchFamily="18" charset="2"/>
              </a:rPr>
              <a:t>49%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98904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 3" panose="05040102010807070707" pitchFamily="18" charset="2"/>
              </a:rPr>
              <a:t></a:t>
            </a:r>
            <a:r>
              <a:rPr lang="en-GB" dirty="0">
                <a:sym typeface="Wingdings 3" panose="05040102010807070707" pitchFamily="18" charset="2"/>
              </a:rPr>
              <a:t> </a:t>
            </a:r>
            <a:endParaRPr lang="en-GB" dirty="0"/>
          </a:p>
        </p:txBody>
      </p:sp>
      <p:sp>
        <p:nvSpPr>
          <p:cNvPr id="15" name="Text Placeholder 50">
            <a:extLst>
              <a:ext uri="{FF2B5EF4-FFF2-40B4-BE49-F238E27FC236}">
                <a16:creationId xmlns:a16="http://schemas.microsoft.com/office/drawing/2014/main" id="{540EAF33-47A0-4CB2-9B16-B47C107FC1B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Assets under management</a:t>
            </a:r>
          </a:p>
          <a:p>
            <a:pPr lvl="1"/>
            <a:r>
              <a:rPr lang="en-GB" dirty="0"/>
              <a:t>P38.5 billion</a:t>
            </a:r>
          </a:p>
          <a:p>
            <a:pPr lvl="2"/>
            <a:r>
              <a:rPr lang="en-GB" dirty="0"/>
              <a:t>7% </a:t>
            </a:r>
            <a:r>
              <a:rPr lang="en-US" dirty="0">
                <a:solidFill>
                  <a:schemeClr val="accent6"/>
                </a:solidFill>
                <a:sym typeface="Wingdings 3" panose="05040102010807070707" pitchFamily="18" charset="2"/>
              </a:rPr>
              <a:t></a:t>
            </a:r>
            <a:endParaRPr lang="en-GB" dirty="0">
              <a:solidFill>
                <a:schemeClr val="accent6"/>
              </a:solidFill>
            </a:endParaRPr>
          </a:p>
        </p:txBody>
      </p:sp>
      <p:sp>
        <p:nvSpPr>
          <p:cNvPr id="16" name="Text Placeholder 52">
            <a:extLst>
              <a:ext uri="{FF2B5EF4-FFF2-40B4-BE49-F238E27FC236}">
                <a16:creationId xmlns:a16="http://schemas.microsoft.com/office/drawing/2014/main" id="{FF429CBD-C83D-4D7C-8B10-DC4D374140D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Required capital cover (Dec 2021: 6.8 times)</a:t>
            </a:r>
          </a:p>
          <a:p>
            <a:pPr lvl="1"/>
            <a:r>
              <a:rPr lang="en-US" dirty="0"/>
              <a:t>7.7 times</a:t>
            </a:r>
          </a:p>
          <a:p>
            <a:pPr lvl="1"/>
            <a:r>
              <a:rPr lang="en-US" sz="1800" dirty="0">
                <a:solidFill>
                  <a:schemeClr val="tx1"/>
                </a:solidFill>
                <a:sym typeface="Wingdings 3" panose="05040102010807070707" pitchFamily="18" charset="2"/>
              </a:rPr>
              <a:t>14%</a:t>
            </a:r>
            <a:r>
              <a:rPr lang="en-US" dirty="0">
                <a:solidFill>
                  <a:schemeClr val="accent6"/>
                </a:solidFill>
                <a:sym typeface="Wingdings 3" panose="05040102010807070707" pitchFamily="18" charset="2"/>
              </a:rPr>
              <a:t></a:t>
            </a:r>
            <a:endParaRPr lang="en-GB" dirty="0">
              <a:solidFill>
                <a:schemeClr val="accent2"/>
              </a:solidFill>
            </a:endParaRP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17" name="Text Placeholder 51">
            <a:extLst>
              <a:ext uri="{FF2B5EF4-FFF2-40B4-BE49-F238E27FC236}">
                <a16:creationId xmlns:a16="http://schemas.microsoft.com/office/drawing/2014/main" id="{AB3F9FCB-3786-4BB7-AF52-9C4F1B0A73E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Embedded value </a:t>
            </a:r>
            <a:br>
              <a:rPr lang="en-GB" dirty="0"/>
            </a:br>
            <a:r>
              <a:rPr lang="en-GB" dirty="0"/>
              <a:t>(Dec 2021 5.29 billion)</a:t>
            </a:r>
          </a:p>
          <a:p>
            <a:pPr lvl="1"/>
            <a:r>
              <a:rPr lang="en-GB" dirty="0"/>
              <a:t>P5.76 billion</a:t>
            </a:r>
          </a:p>
          <a:p>
            <a:pPr lvl="2"/>
            <a:r>
              <a:rPr lang="en-GB" dirty="0"/>
              <a:t>9% </a:t>
            </a:r>
            <a:r>
              <a:rPr lang="en-US" dirty="0">
                <a:solidFill>
                  <a:schemeClr val="accent6"/>
                </a:solidFill>
                <a:sym typeface="Wingdings 3" panose="05040102010807070707" pitchFamily="18" charset="2"/>
              </a:rPr>
              <a:t></a:t>
            </a:r>
            <a:endParaRPr lang="en-GB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494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CD76A8E-22FE-7029-1918-0517DD531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RATIONAL EFFICIENCIES PROGRESS</a:t>
            </a:r>
            <a:endParaRPr lang="en-GB" dirty="0"/>
          </a:p>
        </p:txBody>
      </p:sp>
      <p:graphicFrame>
        <p:nvGraphicFramePr>
          <p:cNvPr id="21" name="Table 21">
            <a:extLst>
              <a:ext uri="{FF2B5EF4-FFF2-40B4-BE49-F238E27FC236}">
                <a16:creationId xmlns:a16="http://schemas.microsoft.com/office/drawing/2014/main" id="{A0FC5244-38C4-D8DB-A5A7-4B5425C3DD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7820799"/>
              </p:ext>
            </p:extLst>
          </p:nvPr>
        </p:nvGraphicFramePr>
        <p:xfrm>
          <a:off x="818354" y="2212974"/>
          <a:ext cx="4584704" cy="41036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84704">
                  <a:extLst>
                    <a:ext uri="{9D8B030D-6E8A-4147-A177-3AD203B41FA5}">
                      <a16:colId xmlns:a16="http://schemas.microsoft.com/office/drawing/2014/main" val="927036601"/>
                    </a:ext>
                  </a:extLst>
                </a:gridCol>
              </a:tblGrid>
              <a:tr h="820738">
                <a:tc>
                  <a:txBody>
                    <a:bodyPr/>
                    <a:lstStyle/>
                    <a:p>
                      <a:r>
                        <a:rPr lang="en-GB" sz="1500" b="1" dirty="0">
                          <a:solidFill>
                            <a:schemeClr val="tx2"/>
                          </a:solidFill>
                        </a:rPr>
                        <a:t>5 minute onboarding </a:t>
                      </a:r>
                      <a:r>
                        <a:rPr lang="en-GB" sz="1500" b="0" dirty="0">
                          <a:solidFill>
                            <a:schemeClr val="tx2"/>
                          </a:solidFill>
                        </a:rPr>
                        <a:t>– Mosako clients now  onboarded within 5 minutes of capturing and with immediate sms confirmation</a:t>
                      </a:r>
                    </a:p>
                  </a:txBody>
                  <a:tcPr marL="36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612919"/>
                  </a:ext>
                </a:extLst>
              </a:tr>
              <a:tr h="820738">
                <a:tc>
                  <a:txBody>
                    <a:bodyPr/>
                    <a:lstStyle/>
                    <a:p>
                      <a:r>
                        <a:rPr lang="en-GB" sz="1500" b="1" dirty="0">
                          <a:solidFill>
                            <a:schemeClr val="tx2"/>
                          </a:solidFill>
                        </a:rPr>
                        <a:t>Online access to policies </a:t>
                      </a:r>
                      <a:r>
                        <a:rPr lang="en-GB" sz="1500" b="0" dirty="0">
                          <a:solidFill>
                            <a:schemeClr val="tx2"/>
                          </a:solidFill>
                        </a:rPr>
                        <a:t>– WhatsApp feature enhancement. Enabling better client interaction with their policies</a:t>
                      </a:r>
                    </a:p>
                  </a:txBody>
                  <a:tcPr marL="36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9841180"/>
                  </a:ext>
                </a:extLst>
              </a:tr>
              <a:tr h="8207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 dirty="0">
                          <a:solidFill>
                            <a:schemeClr val="tx2"/>
                          </a:solidFill>
                        </a:rPr>
                        <a:t>Zero data charges </a:t>
                      </a:r>
                      <a:r>
                        <a:rPr lang="en-GB" sz="1500" b="0" dirty="0">
                          <a:solidFill>
                            <a:schemeClr val="tx2"/>
                          </a:solidFill>
                        </a:rPr>
                        <a:t>– Client can now access digital platforms for free without data charges</a:t>
                      </a:r>
                    </a:p>
                  </a:txBody>
                  <a:tcPr marL="36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9114923"/>
                  </a:ext>
                </a:extLst>
              </a:tr>
              <a:tr h="8207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 dirty="0">
                          <a:solidFill>
                            <a:schemeClr val="tx2"/>
                          </a:solidFill>
                        </a:rPr>
                        <a:t>Convenient payment options </a:t>
                      </a:r>
                      <a:r>
                        <a:rPr lang="en-GB" sz="1500" b="0" dirty="0">
                          <a:solidFill>
                            <a:schemeClr val="tx2"/>
                          </a:solidFill>
                        </a:rPr>
                        <a:t>– MNO and prepaid vendor collection partnerships.  New premium collection options for clients</a:t>
                      </a:r>
                    </a:p>
                  </a:txBody>
                  <a:tcPr marL="36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6448674"/>
                  </a:ext>
                </a:extLst>
              </a:tr>
              <a:tr h="8207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dirty="0">
                          <a:solidFill>
                            <a:schemeClr val="tx2"/>
                          </a:solidFill>
                        </a:rPr>
                        <a:t>Affluent proposition repositioning </a:t>
                      </a:r>
                    </a:p>
                  </a:txBody>
                  <a:tcPr marL="36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8897925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FD89B06-2A59-DBC3-B21E-4644F8065B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7844915"/>
              </p:ext>
            </p:extLst>
          </p:nvPr>
        </p:nvGraphicFramePr>
        <p:xfrm>
          <a:off x="215899" y="1371600"/>
          <a:ext cx="5789614" cy="6842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89614">
                  <a:extLst>
                    <a:ext uri="{9D8B030D-6E8A-4147-A177-3AD203B41FA5}">
                      <a16:colId xmlns:a16="http://schemas.microsoft.com/office/drawing/2014/main" val="4274532184"/>
                    </a:ext>
                  </a:extLst>
                </a:gridCol>
              </a:tblGrid>
              <a:tr h="684213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solidFill>
                            <a:schemeClr val="tx2"/>
                          </a:solidFill>
                          <a:sym typeface="Wingdings" panose="05000000000000000000" pitchFamily="2" charset="2"/>
                        </a:rPr>
                        <a:t>ALTERNATIVE SERVICING</a:t>
                      </a:r>
                      <a:endParaRPr lang="en-GB" sz="1600" b="1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72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8076914"/>
                  </a:ext>
                </a:extLst>
              </a:tr>
            </a:tbl>
          </a:graphicData>
        </a:graphic>
      </p:graphicFrame>
      <p:graphicFrame>
        <p:nvGraphicFramePr>
          <p:cNvPr id="6" name="Table 21">
            <a:extLst>
              <a:ext uri="{FF2B5EF4-FFF2-40B4-BE49-F238E27FC236}">
                <a16:creationId xmlns:a16="http://schemas.microsoft.com/office/drawing/2014/main" id="{F23CAEE5-B9B3-9EAC-16EF-F45283D697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8536768"/>
              </p:ext>
            </p:extLst>
          </p:nvPr>
        </p:nvGraphicFramePr>
        <p:xfrm>
          <a:off x="6788943" y="2212973"/>
          <a:ext cx="4584704" cy="4109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84704">
                  <a:extLst>
                    <a:ext uri="{9D8B030D-6E8A-4147-A177-3AD203B41FA5}">
                      <a16:colId xmlns:a16="http://schemas.microsoft.com/office/drawing/2014/main" val="927036601"/>
                    </a:ext>
                  </a:extLst>
                </a:gridCol>
              </a:tblGrid>
              <a:tr h="821880">
                <a:tc>
                  <a:txBody>
                    <a:bodyPr/>
                    <a:lstStyle/>
                    <a:p>
                      <a:r>
                        <a:rPr lang="en-GB" sz="1500" b="1" dirty="0">
                          <a:solidFill>
                            <a:schemeClr val="accent5"/>
                          </a:solidFill>
                        </a:rPr>
                        <a:t>KYC solution </a:t>
                      </a:r>
                      <a:r>
                        <a:rPr lang="en-GB" sz="1500" b="0" dirty="0">
                          <a:solidFill>
                            <a:schemeClr val="accent5"/>
                          </a:solidFill>
                        </a:rPr>
                        <a:t>rolled out to Bifm and BIHL and rolling out to BLIL soon</a:t>
                      </a:r>
                    </a:p>
                  </a:txBody>
                  <a:tcPr marL="36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612919"/>
                  </a:ext>
                </a:extLst>
              </a:tr>
              <a:tr h="8218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 dirty="0">
                          <a:solidFill>
                            <a:schemeClr val="accent5"/>
                          </a:solidFill>
                        </a:rPr>
                        <a:t>Leads</a:t>
                      </a:r>
                      <a:r>
                        <a:rPr lang="en-GB" sz="1500" b="0" dirty="0">
                          <a:solidFill>
                            <a:schemeClr val="accent5"/>
                          </a:solidFill>
                        </a:rPr>
                        <a:t> opportunities within book including lapses for possible reinstatement</a:t>
                      </a:r>
                    </a:p>
                    <a:p>
                      <a:endParaRPr lang="en-GB" sz="1500" b="0" dirty="0">
                        <a:solidFill>
                          <a:schemeClr val="accent3"/>
                        </a:solidFill>
                      </a:endParaRPr>
                    </a:p>
                  </a:txBody>
                  <a:tcPr marL="36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9841180"/>
                  </a:ext>
                </a:extLst>
              </a:tr>
              <a:tr h="8218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 dirty="0">
                          <a:solidFill>
                            <a:schemeClr val="accent5"/>
                          </a:solidFill>
                        </a:rPr>
                        <a:t>Proactive </a:t>
                      </a:r>
                      <a:r>
                        <a:rPr lang="en-GB" sz="1500" b="1" dirty="0">
                          <a:solidFill>
                            <a:schemeClr val="accent5"/>
                          </a:solidFill>
                        </a:rPr>
                        <a:t>lapse prediction model  </a:t>
                      </a:r>
                      <a:r>
                        <a:rPr lang="en-GB" sz="1500" b="0" dirty="0">
                          <a:solidFill>
                            <a:schemeClr val="accent5"/>
                          </a:solidFill>
                        </a:rPr>
                        <a:t>launched improving lapse avoidanc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00" b="0" dirty="0">
                        <a:solidFill>
                          <a:schemeClr val="accent5"/>
                        </a:solidFill>
                      </a:endParaRPr>
                    </a:p>
                  </a:txBody>
                  <a:tcPr marL="36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9114923"/>
                  </a:ext>
                </a:extLst>
              </a:tr>
              <a:tr h="8218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0" dirty="0">
                          <a:solidFill>
                            <a:schemeClr val="accent5"/>
                          </a:solidFill>
                        </a:rPr>
                        <a:t>Coursera average of </a:t>
                      </a:r>
                      <a:r>
                        <a:rPr lang="en-GB" sz="1500" b="1" dirty="0">
                          <a:solidFill>
                            <a:schemeClr val="accent5"/>
                          </a:solidFill>
                        </a:rPr>
                        <a:t>2.5 courses </a:t>
                      </a:r>
                      <a:r>
                        <a:rPr lang="en-GB" sz="1500" b="0" dirty="0">
                          <a:solidFill>
                            <a:schemeClr val="accent5"/>
                          </a:solidFill>
                        </a:rPr>
                        <a:t>completed per employee since launching in July 2022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00" b="0" dirty="0">
                        <a:solidFill>
                          <a:schemeClr val="accent5"/>
                        </a:solidFill>
                      </a:endParaRPr>
                    </a:p>
                  </a:txBody>
                  <a:tcPr marL="36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6448674"/>
                  </a:ext>
                </a:extLst>
              </a:tr>
              <a:tr h="8218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00" b="0" dirty="0">
                        <a:solidFill>
                          <a:schemeClr val="accent5"/>
                        </a:solidFill>
                      </a:endParaRPr>
                    </a:p>
                  </a:txBody>
                  <a:tcPr marL="36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8897925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70E73BF-F34A-2E95-9471-38D5FC0E13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5531302"/>
              </p:ext>
            </p:extLst>
          </p:nvPr>
        </p:nvGraphicFramePr>
        <p:xfrm>
          <a:off x="6186488" y="1371600"/>
          <a:ext cx="5789614" cy="6842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89614">
                  <a:extLst>
                    <a:ext uri="{9D8B030D-6E8A-4147-A177-3AD203B41FA5}">
                      <a16:colId xmlns:a16="http://schemas.microsoft.com/office/drawing/2014/main" val="4274532184"/>
                    </a:ext>
                  </a:extLst>
                </a:gridCol>
              </a:tblGrid>
              <a:tr h="684213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solidFill>
                            <a:schemeClr val="accent5"/>
                          </a:solidFill>
                          <a:sym typeface="Wingdings" panose="05000000000000000000" pitchFamily="2" charset="2"/>
                        </a:rPr>
                        <a:t>BUSINESS EFFECTIVENESS </a:t>
                      </a:r>
                      <a:br>
                        <a:rPr lang="en-GB" sz="1600" b="1" dirty="0">
                          <a:solidFill>
                            <a:schemeClr val="accent5"/>
                          </a:solidFill>
                          <a:sym typeface="Wingdings" panose="05000000000000000000" pitchFamily="2" charset="2"/>
                        </a:rPr>
                      </a:br>
                      <a:r>
                        <a:rPr lang="en-GB" sz="1600" b="1" dirty="0">
                          <a:solidFill>
                            <a:schemeClr val="accent5"/>
                          </a:solidFill>
                          <a:sym typeface="Wingdings" panose="05000000000000000000" pitchFamily="2" charset="2"/>
                        </a:rPr>
                        <a:t>AND WORKFORCE DEVELOPMENT</a:t>
                      </a:r>
                    </a:p>
                  </a:txBody>
                  <a:tcPr marL="0" marR="0" marT="0" marB="72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8076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5337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IHL 2022">
  <a:themeElements>
    <a:clrScheme name="BIHL 2021">
      <a:dk1>
        <a:srgbClr val="221F20"/>
      </a:dk1>
      <a:lt1>
        <a:sysClr val="window" lastClr="FFFFFF"/>
      </a:lt1>
      <a:dk2>
        <a:srgbClr val="0C2D3A"/>
      </a:dk2>
      <a:lt2>
        <a:srgbClr val="BDAC9A"/>
      </a:lt2>
      <a:accent1>
        <a:srgbClr val="52463E"/>
      </a:accent1>
      <a:accent2>
        <a:srgbClr val="A01E21"/>
      </a:accent2>
      <a:accent3>
        <a:srgbClr val="C95427"/>
      </a:accent3>
      <a:accent4>
        <a:srgbClr val="6A7F90"/>
      </a:accent4>
      <a:accent5>
        <a:srgbClr val="3D6C89"/>
      </a:accent5>
      <a:accent6>
        <a:srgbClr val="989041"/>
      </a:accent6>
      <a:hlink>
        <a:srgbClr val="989041"/>
      </a:hlink>
      <a:folHlink>
        <a:srgbClr val="039CDC"/>
      </a:folHlink>
    </a:clrScheme>
    <a:fontScheme name="ARIAL x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90</Words>
  <Application>Microsoft Office PowerPoint</Application>
  <PresentationFormat>Widescreen</PresentationFormat>
  <Paragraphs>184</Paragraphs>
  <Slides>2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5" baseType="lpstr">
      <vt:lpstr>Arial</vt:lpstr>
      <vt:lpstr>Calibri</vt:lpstr>
      <vt:lpstr>DM Sans</vt:lpstr>
      <vt:lpstr>Wingdings</vt:lpstr>
      <vt:lpstr>Wingdings 3</vt:lpstr>
      <vt:lpstr>1_BIHL 2022</vt:lpstr>
      <vt:lpstr>think-cell Slide</vt:lpstr>
      <vt:lpstr>FULL YEAR RESULTS   31 DECEMBER 2022</vt:lpstr>
      <vt:lpstr> agenda</vt:lpstr>
      <vt:lpstr>Operational  Overview </vt:lpstr>
      <vt:lpstr>DIVERSE PORTFOLIO OF COMPANIES </vt:lpstr>
      <vt:lpstr>Headwinds</vt:lpstr>
      <vt:lpstr>STRONG OPERATING PERFORMANCE</vt:lpstr>
      <vt:lpstr>Though with challenges</vt:lpstr>
      <vt:lpstr>Group PERFORMANCE highlights</vt:lpstr>
      <vt:lpstr>OPERATIONAL EFFICIENCIES PROGRESS</vt:lpstr>
      <vt:lpstr>Looking  ahead</vt:lpstr>
      <vt:lpstr>Committed to optimising Stakeholder VALUE</vt:lpstr>
      <vt:lpstr>Financial  performance</vt:lpstr>
      <vt:lpstr>Revenue</vt:lpstr>
      <vt:lpstr>REVENUE CONTRIBUTION</vt:lpstr>
      <vt:lpstr>expenses</vt:lpstr>
      <vt:lpstr>sustainability</vt:lpstr>
      <vt:lpstr>profitability</vt:lpstr>
      <vt:lpstr>Sources of profits</vt:lpstr>
      <vt:lpstr>Subsidiaries contribution to OP</vt:lpstr>
      <vt:lpstr>ASSOCIATES contribution to OP</vt:lpstr>
      <vt:lpstr>Profit aftertax</vt:lpstr>
      <vt:lpstr>dividends</vt:lpstr>
      <vt:lpstr>Value of new business</vt:lpstr>
      <vt:lpstr>Embedded value</vt:lpstr>
      <vt:lpstr>Financial position</vt:lpstr>
      <vt:lpstr>Embedded Value earnings</vt:lpstr>
      <vt:lpstr>Return on Embedded Value</vt:lpstr>
      <vt:lpstr>QUES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3-09T16:19:32Z</dcterms:created>
  <dcterms:modified xsi:type="dcterms:W3CDTF">2023-03-08T04:04:59Z</dcterms:modified>
</cp:coreProperties>
</file>